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charts/chart1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3.xml" ContentType="application/vnd.openxmlformats-officedocument.drawingml.chart+xml"/>
  <Override PartName="/ppt/tags/tag1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670" r:id="rId2"/>
  </p:sldMasterIdLst>
  <p:notesMasterIdLst>
    <p:notesMasterId r:id="rId26"/>
  </p:notesMasterIdLst>
  <p:sldIdLst>
    <p:sldId id="5052" r:id="rId3"/>
    <p:sldId id="5291" r:id="rId4"/>
    <p:sldId id="5281" r:id="rId5"/>
    <p:sldId id="5056" r:id="rId6"/>
    <p:sldId id="5282" r:id="rId7"/>
    <p:sldId id="5068" r:id="rId8"/>
    <p:sldId id="5283" r:id="rId9"/>
    <p:sldId id="5284" r:id="rId10"/>
    <p:sldId id="5196" r:id="rId11"/>
    <p:sldId id="5158" r:id="rId12"/>
    <p:sldId id="5285" r:id="rId13"/>
    <p:sldId id="5225" r:id="rId14"/>
    <p:sldId id="5230" r:id="rId15"/>
    <p:sldId id="5290" r:id="rId16"/>
    <p:sldId id="5280" r:id="rId17"/>
    <p:sldId id="5072" r:id="rId18"/>
    <p:sldId id="5286" r:id="rId19"/>
    <p:sldId id="5277" r:id="rId20"/>
    <p:sldId id="5278" r:id="rId21"/>
    <p:sldId id="5276" r:id="rId22"/>
    <p:sldId id="5288" r:id="rId23"/>
    <p:sldId id="5287" r:id="rId24"/>
    <p:sldId id="5289" r:id="rId25"/>
  </p:sldIdLst>
  <p:sldSz cx="12192000" cy="6858000"/>
  <p:notesSz cx="6797675" cy="9926638"/>
  <p:custDataLst>
    <p:tags r:id="rId2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reza Klečková" initials="TK" lastIdx="1" clrIdx="0">
    <p:extLst>
      <p:ext uri="{19B8F6BF-5375-455C-9EA6-DF929625EA0E}">
        <p15:presenceInfo xmlns:p15="http://schemas.microsoft.com/office/powerpoint/2012/main" userId="Tereza Klečková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B05"/>
    <a:srgbClr val="FF6600"/>
    <a:srgbClr val="D71440"/>
    <a:srgbClr val="00FF00"/>
    <a:srgbClr val="808080"/>
    <a:srgbClr val="9A3503"/>
    <a:srgbClr val="DAEDEF"/>
    <a:srgbClr val="99CC00"/>
    <a:srgbClr val="00B0F0"/>
    <a:srgbClr val="CC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Střední styl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88" autoAdjust="0"/>
    <p:restoredTop sz="95097" autoAdjust="0"/>
  </p:normalViewPr>
  <p:slideViewPr>
    <p:cSldViewPr snapToGrid="0">
      <p:cViewPr varScale="1">
        <p:scale>
          <a:sx n="76" d="100"/>
          <a:sy n="76" d="100"/>
        </p:scale>
        <p:origin x="734" y="29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7" d="100"/>
        <a:sy n="107" d="100"/>
      </p:scale>
      <p:origin x="0" y="-67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0501193317422"/>
          <c:y val="6.4308681672025719E-2"/>
          <c:w val="0.85680190930787592"/>
          <c:h val="0.7588424437299035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25380">
              <a:solidFill>
                <a:srgbClr val="CC9900"/>
              </a:solidFill>
              <a:prstDash val="solid"/>
            </a:ln>
          </c:spPr>
          <c:marker>
            <c:symbol val="none"/>
          </c:marker>
          <c:cat>
            <c:numRef>
              <c:f>Sheet1!$D$1:$AT$1</c:f>
              <c:numCache>
                <c:formatCode>General</c:formatCode>
                <c:ptCount val="43"/>
                <c:pt idx="0">
                  <c:v>1978</c:v>
                </c:pt>
                <c:pt idx="1">
                  <c:v>1979</c:v>
                </c:pt>
                <c:pt idx="2">
                  <c:v>1980</c:v>
                </c:pt>
                <c:pt idx="3">
                  <c:v>1981</c:v>
                </c:pt>
                <c:pt idx="4">
                  <c:v>1982</c:v>
                </c:pt>
                <c:pt idx="5">
                  <c:v>1983</c:v>
                </c:pt>
                <c:pt idx="6">
                  <c:v>1984</c:v>
                </c:pt>
                <c:pt idx="7">
                  <c:v>1985</c:v>
                </c:pt>
                <c:pt idx="8">
                  <c:v>1986</c:v>
                </c:pt>
                <c:pt idx="9">
                  <c:v>1987</c:v>
                </c:pt>
                <c:pt idx="10">
                  <c:v>1988</c:v>
                </c:pt>
                <c:pt idx="11">
                  <c:v>1989</c:v>
                </c:pt>
                <c:pt idx="12">
                  <c:v>1990</c:v>
                </c:pt>
                <c:pt idx="13">
                  <c:v>1991</c:v>
                </c:pt>
                <c:pt idx="14">
                  <c:v>1992</c:v>
                </c:pt>
                <c:pt idx="15">
                  <c:v>1993</c:v>
                </c:pt>
                <c:pt idx="16">
                  <c:v>1994</c:v>
                </c:pt>
                <c:pt idx="17">
                  <c:v>1995</c:v>
                </c:pt>
                <c:pt idx="18">
                  <c:v>1996</c:v>
                </c:pt>
                <c:pt idx="19">
                  <c:v>1997</c:v>
                </c:pt>
                <c:pt idx="20">
                  <c:v>1998</c:v>
                </c:pt>
                <c:pt idx="21">
                  <c:v>1999</c:v>
                </c:pt>
                <c:pt idx="22">
                  <c:v>2000</c:v>
                </c:pt>
                <c:pt idx="23">
                  <c:v>2001</c:v>
                </c:pt>
                <c:pt idx="24">
                  <c:v>2002</c:v>
                </c:pt>
                <c:pt idx="25">
                  <c:v>2003</c:v>
                </c:pt>
                <c:pt idx="26">
                  <c:v>2004</c:v>
                </c:pt>
                <c:pt idx="27">
                  <c:v>2005</c:v>
                </c:pt>
                <c:pt idx="28">
                  <c:v>2006</c:v>
                </c:pt>
                <c:pt idx="29">
                  <c:v>2007</c:v>
                </c:pt>
                <c:pt idx="30">
                  <c:v>2008</c:v>
                </c:pt>
                <c:pt idx="31">
                  <c:v>2009</c:v>
                </c:pt>
                <c:pt idx="32">
                  <c:v>2010</c:v>
                </c:pt>
                <c:pt idx="33">
                  <c:v>2011</c:v>
                </c:pt>
                <c:pt idx="34">
                  <c:v>2012</c:v>
                </c:pt>
                <c:pt idx="35">
                  <c:v>2013</c:v>
                </c:pt>
                <c:pt idx="36">
                  <c:v>2014</c:v>
                </c:pt>
                <c:pt idx="37">
                  <c:v>2015</c:v>
                </c:pt>
                <c:pt idx="38">
                  <c:v>2016</c:v>
                </c:pt>
                <c:pt idx="39">
                  <c:v>2017</c:v>
                </c:pt>
                <c:pt idx="40">
                  <c:v>2018</c:v>
                </c:pt>
                <c:pt idx="41">
                  <c:v>2019</c:v>
                </c:pt>
                <c:pt idx="42">
                  <c:v>2020</c:v>
                </c:pt>
              </c:numCache>
            </c:numRef>
          </c:cat>
          <c:val>
            <c:numRef>
              <c:f>Sheet1!$D$2:$AT$2</c:f>
              <c:numCache>
                <c:formatCode>General</c:formatCode>
                <c:ptCount val="43"/>
                <c:pt idx="0">
                  <c:v>303.93950000000001</c:v>
                </c:pt>
                <c:pt idx="1">
                  <c:v>301.79239999999999</c:v>
                </c:pt>
                <c:pt idx="2">
                  <c:v>316.32459999999998</c:v>
                </c:pt>
                <c:pt idx="3">
                  <c:v>319.79219999999998</c:v>
                </c:pt>
                <c:pt idx="4">
                  <c:v>316.82979999999998</c:v>
                </c:pt>
                <c:pt idx="5">
                  <c:v>321.14839999999998</c:v>
                </c:pt>
                <c:pt idx="6">
                  <c:v>312.53149999999999</c:v>
                </c:pt>
                <c:pt idx="7">
                  <c:v>328.5591</c:v>
                </c:pt>
                <c:pt idx="8">
                  <c:v>340.10809999999998</c:v>
                </c:pt>
                <c:pt idx="9">
                  <c:v>339.42689999999999</c:v>
                </c:pt>
                <c:pt idx="10">
                  <c:v>353.17970000000003</c:v>
                </c:pt>
                <c:pt idx="11">
                  <c:v>347.57830000000001</c:v>
                </c:pt>
                <c:pt idx="12">
                  <c:v>338.86739999999998</c:v>
                </c:pt>
                <c:pt idx="13">
                  <c:v>369.70749999999998</c:v>
                </c:pt>
                <c:pt idx="14">
                  <c:v>389.92189999999999</c:v>
                </c:pt>
                <c:pt idx="15">
                  <c:v>390.88010000000003</c:v>
                </c:pt>
                <c:pt idx="16">
                  <c:v>402.65870000000001</c:v>
                </c:pt>
                <c:pt idx="17">
                  <c:v>414.05110000000002</c:v>
                </c:pt>
                <c:pt idx="18">
                  <c:v>446.93790000000001</c:v>
                </c:pt>
                <c:pt idx="19">
                  <c:v>448.34899999999999</c:v>
                </c:pt>
                <c:pt idx="20">
                  <c:v>457.72198300000002</c:v>
                </c:pt>
                <c:pt idx="21">
                  <c:v>449.28352899999999</c:v>
                </c:pt>
                <c:pt idx="22">
                  <c:v>442.77722399999999</c:v>
                </c:pt>
                <c:pt idx="23">
                  <c:v>453.165235</c:v>
                </c:pt>
                <c:pt idx="24">
                  <c:v>467.954387</c:v>
                </c:pt>
                <c:pt idx="25">
                  <c:v>475.71966400000002</c:v>
                </c:pt>
                <c:pt idx="26">
                  <c:v>490.29259999999999</c:v>
                </c:pt>
                <c:pt idx="27">
                  <c:v>502.08708999999999</c:v>
                </c:pt>
                <c:pt idx="28">
                  <c:v>509.55357700000002</c:v>
                </c:pt>
                <c:pt idx="29">
                  <c:v>543.85109999999997</c:v>
                </c:pt>
                <c:pt idx="30">
                  <c:v>502.79160000000002</c:v>
                </c:pt>
                <c:pt idx="31">
                  <c:v>515.0394</c:v>
                </c:pt>
                <c:pt idx="32">
                  <c:v>537.31679999999994</c:v>
                </c:pt>
                <c:pt idx="33">
                  <c:v>524.62879999999996</c:v>
                </c:pt>
                <c:pt idx="34">
                  <c:v>535.49609999999996</c:v>
                </c:pt>
                <c:pt idx="35">
                  <c:v>534.23950000000002</c:v>
                </c:pt>
                <c:pt idx="36">
                  <c:v>548.82730000000004</c:v>
                </c:pt>
                <c:pt idx="37">
                  <c:v>561.11180000000002</c:v>
                </c:pt>
                <c:pt idx="38">
                  <c:v>580.21770000000004</c:v>
                </c:pt>
                <c:pt idx="39">
                  <c:v>565.78819999999996</c:v>
                </c:pt>
                <c:pt idx="40">
                  <c:v>547.29819999999995</c:v>
                </c:pt>
                <c:pt idx="41">
                  <c:v>568.62789999999995</c:v>
                </c:pt>
                <c:pt idx="42">
                  <c:v>523.79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8E2-448E-B90F-0959A7B52FBA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25380">
              <a:solidFill>
                <a:srgbClr val="00000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80808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D$1:$AT$1</c:f>
              <c:numCache>
                <c:formatCode>General</c:formatCode>
                <c:ptCount val="43"/>
                <c:pt idx="0">
                  <c:v>1978</c:v>
                </c:pt>
                <c:pt idx="1">
                  <c:v>1979</c:v>
                </c:pt>
                <c:pt idx="2">
                  <c:v>1980</c:v>
                </c:pt>
                <c:pt idx="3">
                  <c:v>1981</c:v>
                </c:pt>
                <c:pt idx="4">
                  <c:v>1982</c:v>
                </c:pt>
                <c:pt idx="5">
                  <c:v>1983</c:v>
                </c:pt>
                <c:pt idx="6">
                  <c:v>1984</c:v>
                </c:pt>
                <c:pt idx="7">
                  <c:v>1985</c:v>
                </c:pt>
                <c:pt idx="8">
                  <c:v>1986</c:v>
                </c:pt>
                <c:pt idx="9">
                  <c:v>1987</c:v>
                </c:pt>
                <c:pt idx="10">
                  <c:v>1988</c:v>
                </c:pt>
                <c:pt idx="11">
                  <c:v>1989</c:v>
                </c:pt>
                <c:pt idx="12">
                  <c:v>1990</c:v>
                </c:pt>
                <c:pt idx="13">
                  <c:v>1991</c:v>
                </c:pt>
                <c:pt idx="14">
                  <c:v>1992</c:v>
                </c:pt>
                <c:pt idx="15">
                  <c:v>1993</c:v>
                </c:pt>
                <c:pt idx="16">
                  <c:v>1994</c:v>
                </c:pt>
                <c:pt idx="17">
                  <c:v>1995</c:v>
                </c:pt>
                <c:pt idx="18">
                  <c:v>1996</c:v>
                </c:pt>
                <c:pt idx="19">
                  <c:v>1997</c:v>
                </c:pt>
                <c:pt idx="20">
                  <c:v>1998</c:v>
                </c:pt>
                <c:pt idx="21">
                  <c:v>1999</c:v>
                </c:pt>
                <c:pt idx="22">
                  <c:v>2000</c:v>
                </c:pt>
                <c:pt idx="23">
                  <c:v>2001</c:v>
                </c:pt>
                <c:pt idx="24">
                  <c:v>2002</c:v>
                </c:pt>
                <c:pt idx="25">
                  <c:v>2003</c:v>
                </c:pt>
                <c:pt idx="26">
                  <c:v>2004</c:v>
                </c:pt>
                <c:pt idx="27">
                  <c:v>2005</c:v>
                </c:pt>
                <c:pt idx="28">
                  <c:v>2006</c:v>
                </c:pt>
                <c:pt idx="29">
                  <c:v>2007</c:v>
                </c:pt>
                <c:pt idx="30">
                  <c:v>2008</c:v>
                </c:pt>
                <c:pt idx="31">
                  <c:v>2009</c:v>
                </c:pt>
                <c:pt idx="32">
                  <c:v>2010</c:v>
                </c:pt>
                <c:pt idx="33">
                  <c:v>2011</c:v>
                </c:pt>
                <c:pt idx="34">
                  <c:v>2012</c:v>
                </c:pt>
                <c:pt idx="35">
                  <c:v>2013</c:v>
                </c:pt>
                <c:pt idx="36">
                  <c:v>2014</c:v>
                </c:pt>
                <c:pt idx="37">
                  <c:v>2015</c:v>
                </c:pt>
                <c:pt idx="38">
                  <c:v>2016</c:v>
                </c:pt>
                <c:pt idx="39">
                  <c:v>2017</c:v>
                </c:pt>
                <c:pt idx="40">
                  <c:v>2018</c:v>
                </c:pt>
                <c:pt idx="41">
                  <c:v>2019</c:v>
                </c:pt>
                <c:pt idx="42">
                  <c:v>2020</c:v>
                </c:pt>
              </c:numCache>
            </c:numRef>
          </c:cat>
          <c:val>
            <c:numRef>
              <c:f>Sheet1!$D$3:$AT$3</c:f>
              <c:numCache>
                <c:formatCode>General</c:formatCode>
                <c:ptCount val="4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8E2-448E-B90F-0959A7B52FBA}"/>
            </c:ext>
          </c:extLst>
        </c:ser>
        <c:ser>
          <c:idx val="3"/>
          <c:order val="2"/>
          <c:tx>
            <c:strRef>
              <c:f>Sheet1!$A$4</c:f>
              <c:strCache>
                <c:ptCount val="1"/>
              </c:strCache>
            </c:strRef>
          </c:tx>
          <c:spPr>
            <a:ln w="25400">
              <a:solidFill>
                <a:srgbClr val="000000"/>
              </a:solidFill>
              <a:prstDash val="solid"/>
            </a:ln>
          </c:spPr>
          <c:marker>
            <c:symbol val="none"/>
          </c:marker>
          <c:cat>
            <c:numRef>
              <c:f>Sheet1!$D$1:$AT$1</c:f>
              <c:numCache>
                <c:formatCode>General</c:formatCode>
                <c:ptCount val="43"/>
                <c:pt idx="0">
                  <c:v>1978</c:v>
                </c:pt>
                <c:pt idx="1">
                  <c:v>1979</c:v>
                </c:pt>
                <c:pt idx="2">
                  <c:v>1980</c:v>
                </c:pt>
                <c:pt idx="3">
                  <c:v>1981</c:v>
                </c:pt>
                <c:pt idx="4">
                  <c:v>1982</c:v>
                </c:pt>
                <c:pt idx="5">
                  <c:v>1983</c:v>
                </c:pt>
                <c:pt idx="6">
                  <c:v>1984</c:v>
                </c:pt>
                <c:pt idx="7">
                  <c:v>1985</c:v>
                </c:pt>
                <c:pt idx="8">
                  <c:v>1986</c:v>
                </c:pt>
                <c:pt idx="9">
                  <c:v>1987</c:v>
                </c:pt>
                <c:pt idx="10">
                  <c:v>1988</c:v>
                </c:pt>
                <c:pt idx="11">
                  <c:v>1989</c:v>
                </c:pt>
                <c:pt idx="12">
                  <c:v>1990</c:v>
                </c:pt>
                <c:pt idx="13">
                  <c:v>1991</c:v>
                </c:pt>
                <c:pt idx="14">
                  <c:v>1992</c:v>
                </c:pt>
                <c:pt idx="15">
                  <c:v>1993</c:v>
                </c:pt>
                <c:pt idx="16">
                  <c:v>1994</c:v>
                </c:pt>
                <c:pt idx="17">
                  <c:v>1995</c:v>
                </c:pt>
                <c:pt idx="18">
                  <c:v>1996</c:v>
                </c:pt>
                <c:pt idx="19">
                  <c:v>1997</c:v>
                </c:pt>
                <c:pt idx="20">
                  <c:v>1998</c:v>
                </c:pt>
                <c:pt idx="21">
                  <c:v>1999</c:v>
                </c:pt>
                <c:pt idx="22">
                  <c:v>2000</c:v>
                </c:pt>
                <c:pt idx="23">
                  <c:v>2001</c:v>
                </c:pt>
                <c:pt idx="24">
                  <c:v>2002</c:v>
                </c:pt>
                <c:pt idx="25">
                  <c:v>2003</c:v>
                </c:pt>
                <c:pt idx="26">
                  <c:v>2004</c:v>
                </c:pt>
                <c:pt idx="27">
                  <c:v>2005</c:v>
                </c:pt>
                <c:pt idx="28">
                  <c:v>2006</c:v>
                </c:pt>
                <c:pt idx="29">
                  <c:v>2007</c:v>
                </c:pt>
                <c:pt idx="30">
                  <c:v>2008</c:v>
                </c:pt>
                <c:pt idx="31">
                  <c:v>2009</c:v>
                </c:pt>
                <c:pt idx="32">
                  <c:v>2010</c:v>
                </c:pt>
                <c:pt idx="33">
                  <c:v>2011</c:v>
                </c:pt>
                <c:pt idx="34">
                  <c:v>2012</c:v>
                </c:pt>
                <c:pt idx="35">
                  <c:v>2013</c:v>
                </c:pt>
                <c:pt idx="36">
                  <c:v>2014</c:v>
                </c:pt>
                <c:pt idx="37">
                  <c:v>2015</c:v>
                </c:pt>
                <c:pt idx="38">
                  <c:v>2016</c:v>
                </c:pt>
                <c:pt idx="39">
                  <c:v>2017</c:v>
                </c:pt>
                <c:pt idx="40">
                  <c:v>2018</c:v>
                </c:pt>
                <c:pt idx="41">
                  <c:v>2019</c:v>
                </c:pt>
                <c:pt idx="42">
                  <c:v>2020</c:v>
                </c:pt>
              </c:numCache>
            </c:numRef>
          </c:cat>
          <c:val>
            <c:numRef>
              <c:f>Sheet1!$D$4:$AT$4</c:f>
              <c:numCache>
                <c:formatCode>General</c:formatCode>
                <c:ptCount val="43"/>
                <c:pt idx="2">
                  <c:v>209.3622</c:v>
                </c:pt>
                <c:pt idx="3">
                  <c:v>219.9889</c:v>
                </c:pt>
                <c:pt idx="4">
                  <c:v>214.93209999999999</c:v>
                </c:pt>
                <c:pt idx="5">
                  <c:v>228.0898</c:v>
                </c:pt>
                <c:pt idx="6">
                  <c:v>225.1627</c:v>
                </c:pt>
                <c:pt idx="7">
                  <c:v>218.92269999999999</c:v>
                </c:pt>
                <c:pt idx="8">
                  <c:v>236.1327</c:v>
                </c:pt>
                <c:pt idx="9">
                  <c:v>232.29470000000001</c:v>
                </c:pt>
                <c:pt idx="10">
                  <c:v>248.95840000000001</c:v>
                </c:pt>
                <c:pt idx="11">
                  <c:v>241.60720000000001</c:v>
                </c:pt>
                <c:pt idx="12">
                  <c:v>234.68799999999999</c:v>
                </c:pt>
                <c:pt idx="13">
                  <c:v>242.7799</c:v>
                </c:pt>
                <c:pt idx="14">
                  <c:v>251.19720000000001</c:v>
                </c:pt>
                <c:pt idx="15">
                  <c:v>255.44399999999999</c:v>
                </c:pt>
                <c:pt idx="16">
                  <c:v>247.91800000000001</c:v>
                </c:pt>
                <c:pt idx="17">
                  <c:v>249.8494</c:v>
                </c:pt>
                <c:pt idx="18">
                  <c:v>257.35969999999998</c:v>
                </c:pt>
                <c:pt idx="19">
                  <c:v>255.7354</c:v>
                </c:pt>
                <c:pt idx="20">
                  <c:v>256.31025699999998</c:v>
                </c:pt>
                <c:pt idx="21">
                  <c:v>255.013014</c:v>
                </c:pt>
                <c:pt idx="22">
                  <c:v>268.41114900000002</c:v>
                </c:pt>
                <c:pt idx="23">
                  <c:v>258.39380599999998</c:v>
                </c:pt>
                <c:pt idx="24">
                  <c:v>269.24745200000001</c:v>
                </c:pt>
                <c:pt idx="25">
                  <c:v>262.73347999999999</c:v>
                </c:pt>
                <c:pt idx="26">
                  <c:v>253.12035</c:v>
                </c:pt>
                <c:pt idx="27">
                  <c:v>263.20865099999997</c:v>
                </c:pt>
                <c:pt idx="28">
                  <c:v>260.56817480000001</c:v>
                </c:pt>
                <c:pt idx="29">
                  <c:v>248.1018</c:v>
                </c:pt>
                <c:pt idx="30">
                  <c:v>241.34</c:v>
                </c:pt>
                <c:pt idx="31">
                  <c:v>247.1285</c:v>
                </c:pt>
                <c:pt idx="32">
                  <c:v>247.49189999999999</c:v>
                </c:pt>
                <c:pt idx="33">
                  <c:v>245.39920000000001</c:v>
                </c:pt>
                <c:pt idx="34">
                  <c:v>252.06870000000001</c:v>
                </c:pt>
                <c:pt idx="35">
                  <c:v>242.5172</c:v>
                </c:pt>
                <c:pt idx="36">
                  <c:v>248.06139999999999</c:v>
                </c:pt>
                <c:pt idx="37">
                  <c:v>239.953</c:v>
                </c:pt>
                <c:pt idx="38">
                  <c:v>248.85890000000001</c:v>
                </c:pt>
                <c:pt idx="39">
                  <c:v>244.47739999999999</c:v>
                </c:pt>
                <c:pt idx="40">
                  <c:v>252.46279999999999</c:v>
                </c:pt>
                <c:pt idx="41">
                  <c:v>251.61199999999999</c:v>
                </c:pt>
                <c:pt idx="42">
                  <c:v>248.6632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8E2-448E-B90F-0959A7B52FBA}"/>
            </c:ext>
          </c:extLst>
        </c:ser>
        <c:ser>
          <c:idx val="1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 w="12690">
              <a:solidFill>
                <a:srgbClr val="000000"/>
              </a:solidFill>
              <a:prstDash val="solid"/>
            </a:ln>
          </c:spPr>
          <c:marker>
            <c:symbol val="square"/>
            <c:size val="4"/>
            <c:spPr>
              <a:solidFill>
                <a:srgbClr val="80808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D$1:$AT$1</c:f>
              <c:numCache>
                <c:formatCode>General</c:formatCode>
                <c:ptCount val="43"/>
                <c:pt idx="0">
                  <c:v>1978</c:v>
                </c:pt>
                <c:pt idx="1">
                  <c:v>1979</c:v>
                </c:pt>
                <c:pt idx="2">
                  <c:v>1980</c:v>
                </c:pt>
                <c:pt idx="3">
                  <c:v>1981</c:v>
                </c:pt>
                <c:pt idx="4">
                  <c:v>1982</c:v>
                </c:pt>
                <c:pt idx="5">
                  <c:v>1983</c:v>
                </c:pt>
                <c:pt idx="6">
                  <c:v>1984</c:v>
                </c:pt>
                <c:pt idx="7">
                  <c:v>1985</c:v>
                </c:pt>
                <c:pt idx="8">
                  <c:v>1986</c:v>
                </c:pt>
                <c:pt idx="9">
                  <c:v>1987</c:v>
                </c:pt>
                <c:pt idx="10">
                  <c:v>1988</c:v>
                </c:pt>
                <c:pt idx="11">
                  <c:v>1989</c:v>
                </c:pt>
                <c:pt idx="12">
                  <c:v>1990</c:v>
                </c:pt>
                <c:pt idx="13">
                  <c:v>1991</c:v>
                </c:pt>
                <c:pt idx="14">
                  <c:v>1992</c:v>
                </c:pt>
                <c:pt idx="15">
                  <c:v>1993</c:v>
                </c:pt>
                <c:pt idx="16">
                  <c:v>1994</c:v>
                </c:pt>
                <c:pt idx="17">
                  <c:v>1995</c:v>
                </c:pt>
                <c:pt idx="18">
                  <c:v>1996</c:v>
                </c:pt>
                <c:pt idx="19">
                  <c:v>1997</c:v>
                </c:pt>
                <c:pt idx="20">
                  <c:v>1998</c:v>
                </c:pt>
                <c:pt idx="21">
                  <c:v>1999</c:v>
                </c:pt>
                <c:pt idx="22">
                  <c:v>2000</c:v>
                </c:pt>
                <c:pt idx="23">
                  <c:v>2001</c:v>
                </c:pt>
                <c:pt idx="24">
                  <c:v>2002</c:v>
                </c:pt>
                <c:pt idx="25">
                  <c:v>2003</c:v>
                </c:pt>
                <c:pt idx="26">
                  <c:v>2004</c:v>
                </c:pt>
                <c:pt idx="27">
                  <c:v>2005</c:v>
                </c:pt>
                <c:pt idx="28">
                  <c:v>2006</c:v>
                </c:pt>
                <c:pt idx="29">
                  <c:v>2007</c:v>
                </c:pt>
                <c:pt idx="30">
                  <c:v>2008</c:v>
                </c:pt>
                <c:pt idx="31">
                  <c:v>2009</c:v>
                </c:pt>
                <c:pt idx="32">
                  <c:v>2010</c:v>
                </c:pt>
                <c:pt idx="33">
                  <c:v>2011</c:v>
                </c:pt>
                <c:pt idx="34">
                  <c:v>2012</c:v>
                </c:pt>
                <c:pt idx="35">
                  <c:v>2013</c:v>
                </c:pt>
                <c:pt idx="36">
                  <c:v>2014</c:v>
                </c:pt>
                <c:pt idx="37">
                  <c:v>2015</c:v>
                </c:pt>
                <c:pt idx="38">
                  <c:v>2016</c:v>
                </c:pt>
                <c:pt idx="39">
                  <c:v>2017</c:v>
                </c:pt>
                <c:pt idx="40">
                  <c:v>2018</c:v>
                </c:pt>
                <c:pt idx="41">
                  <c:v>2019</c:v>
                </c:pt>
                <c:pt idx="42">
                  <c:v>2020</c:v>
                </c:pt>
              </c:numCache>
            </c:numRef>
          </c:cat>
          <c:val>
            <c:numRef>
              <c:f>Sheet1!$D$5:$AT$5</c:f>
              <c:numCache>
                <c:formatCode>General</c:formatCode>
                <c:ptCount val="4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8E2-448E-B90F-0959A7B52F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4248272"/>
        <c:axId val="1"/>
      </c:lineChart>
      <c:catAx>
        <c:axId val="394248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2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1"/>
        <c:crossesAt val="0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  <c:max val="600"/>
          <c:min val="0"/>
        </c:scaling>
        <c:delete val="0"/>
        <c:axPos val="l"/>
        <c:numFmt formatCode="General" sourceLinked="1"/>
        <c:majorTickMark val="in"/>
        <c:minorTickMark val="in"/>
        <c:tickLblPos val="nextTo"/>
        <c:spPr>
          <a:ln w="317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394248272"/>
        <c:crosses val="autoZero"/>
        <c:crossBetween val="midCat"/>
      </c:valAx>
      <c:spPr>
        <a:noFill/>
        <a:ln w="2538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OC</c:v>
                </c:pt>
              </c:strCache>
            </c:strRef>
          </c:tx>
          <c:spPr>
            <a:solidFill>
              <a:srgbClr val="808080"/>
            </a:solidFill>
            <a:ln>
              <a:noFill/>
            </a:ln>
            <a:effectLst/>
          </c:spPr>
          <c:invertIfNegative val="0"/>
          <c:cat>
            <c:numRef>
              <c:f>List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List1!$B$2:$B$10</c:f>
              <c:numCache>
                <c:formatCode>General</c:formatCode>
                <c:ptCount val="9"/>
                <c:pt idx="0">
                  <c:v>1784</c:v>
                </c:pt>
                <c:pt idx="1">
                  <c:v>1201.4000000000001</c:v>
                </c:pt>
                <c:pt idx="2">
                  <c:v>1064.4000000000001</c:v>
                </c:pt>
                <c:pt idx="3">
                  <c:v>891.6</c:v>
                </c:pt>
                <c:pt idx="4">
                  <c:v>869.8</c:v>
                </c:pt>
                <c:pt idx="5">
                  <c:v>612.6</c:v>
                </c:pt>
                <c:pt idx="6">
                  <c:v>464.4</c:v>
                </c:pt>
                <c:pt idx="7">
                  <c:v>291.2</c:v>
                </c:pt>
                <c:pt idx="8">
                  <c:v>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BB-4D51-997B-4A4AA1A34A6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Hodnocené ZZ</c:v>
                </c:pt>
              </c:strCache>
            </c:strRef>
          </c:tx>
          <c:spPr>
            <a:solidFill>
              <a:srgbClr val="D71440"/>
            </a:solidFill>
            <a:ln>
              <a:noFill/>
            </a:ln>
            <a:effectLst/>
          </c:spPr>
          <c:invertIfNegative val="0"/>
          <c:cat>
            <c:numRef>
              <c:f>List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List1!$C$2:$C$10</c:f>
              <c:numCache>
                <c:formatCode>General</c:formatCode>
                <c:ptCount val="9"/>
                <c:pt idx="0">
                  <c:v>17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BB-4D51-997B-4A4AA1A34A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322999679"/>
        <c:axId val="323002175"/>
      </c:barChart>
      <c:catAx>
        <c:axId val="3229996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3002175"/>
        <c:crosses val="autoZero"/>
        <c:auto val="1"/>
        <c:lblAlgn val="ctr"/>
        <c:lblOffset val="100"/>
        <c:noMultiLvlLbl val="0"/>
      </c:catAx>
      <c:valAx>
        <c:axId val="3230021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29996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3263736522671056"/>
          <c:y val="0.15573555555555554"/>
          <c:w val="0.61189273984018822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at1 </c:v>
                </c:pt>
              </c:strCache>
            </c:strRef>
          </c:tx>
          <c:spPr>
            <a:solidFill>
              <a:srgbClr val="296AA2"/>
            </a:solidFill>
            <a:ln w="3175">
              <a:solidFill>
                <a:srgbClr val="296AA2"/>
              </a:solidFill>
            </a:ln>
            <a:effectLst/>
          </c:spPr>
          <c:invertIfNegative val="0"/>
          <c:dLbls>
            <c:numFmt formatCode="#,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Břeclav</c:v>
                </c:pt>
                <c:pt idx="6">
                  <c:v>Znojmo</c:v>
                </c:pt>
                <c:pt idx="7">
                  <c:v>Vyškov</c:v>
                </c:pt>
                <c:pt idx="8">
                  <c:v>Kraj Vysočina</c:v>
                </c:pt>
                <c:pt idx="9">
                  <c:v>Moravskoslezský kraj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Pardubický kraj</c:v>
                </c:pt>
                <c:pt idx="13">
                  <c:v>Hlavní město Praha</c:v>
                </c:pt>
                <c:pt idx="14">
                  <c:v>Jihočeský kraj</c:v>
                </c:pt>
                <c:pt idx="15">
                  <c:v>Královéhradecký kraj</c:v>
                </c:pt>
                <c:pt idx="16">
                  <c:v>Středočeský kraj</c:v>
                </c:pt>
                <c:pt idx="17">
                  <c:v>Ústecký kraj</c:v>
                </c:pt>
                <c:pt idx="18">
                  <c:v>Plzeňský kraj</c:v>
                </c:pt>
                <c:pt idx="19">
                  <c:v>Karlovarský kraj</c:v>
                </c:pt>
                <c:pt idx="20">
                  <c:v>Liberecký kraj</c:v>
                </c:pt>
                <c:pt idx="21">
                  <c:v>Neuvedeno</c:v>
                </c:pt>
              </c:strCache>
            </c:strRef>
          </c:cat>
          <c:val>
            <c:numRef>
              <c:f>List1!$B$2:$B$23</c:f>
              <c:numCache>
                <c:formatCode>General</c:formatCode>
                <c:ptCount val="22"/>
                <c:pt idx="0">
                  <c:v>0.76031920748486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B0-401D-9617-AC0704C4626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kat2</c:v>
                </c:pt>
              </c:strCache>
            </c:strRef>
          </c:tx>
          <c:spPr>
            <a:solidFill>
              <a:srgbClr val="6BAFD6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#,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Břeclav</c:v>
                </c:pt>
                <c:pt idx="6">
                  <c:v>Znojmo</c:v>
                </c:pt>
                <c:pt idx="7">
                  <c:v>Vyškov</c:v>
                </c:pt>
                <c:pt idx="8">
                  <c:v>Kraj Vysočina</c:v>
                </c:pt>
                <c:pt idx="9">
                  <c:v>Moravskoslezský kraj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Pardubický kraj</c:v>
                </c:pt>
                <c:pt idx="13">
                  <c:v>Hlavní město Praha</c:v>
                </c:pt>
                <c:pt idx="14">
                  <c:v>Jihočeský kraj</c:v>
                </c:pt>
                <c:pt idx="15">
                  <c:v>Královéhradecký kraj</c:v>
                </c:pt>
                <c:pt idx="16">
                  <c:v>Středočeský kraj</c:v>
                </c:pt>
                <c:pt idx="17">
                  <c:v>Ústecký kraj</c:v>
                </c:pt>
                <c:pt idx="18">
                  <c:v>Plzeňský kraj</c:v>
                </c:pt>
                <c:pt idx="19">
                  <c:v>Karlovarský kraj</c:v>
                </c:pt>
                <c:pt idx="20">
                  <c:v>Liberecký kraj</c:v>
                </c:pt>
                <c:pt idx="21">
                  <c:v>Neuvedeno</c:v>
                </c:pt>
              </c:strCache>
            </c:strRef>
          </c:cat>
          <c:val>
            <c:numRef>
              <c:f>List1!$C$2:$C$23</c:f>
              <c:numCache>
                <c:formatCode>General</c:formatCode>
                <c:ptCount val="22"/>
              </c:numCache>
            </c:numRef>
          </c:val>
          <c:extLst>
            <c:ext xmlns:c16="http://schemas.microsoft.com/office/drawing/2014/chart" uri="{C3380CC4-5D6E-409C-BE32-E72D297353CC}">
              <c16:uniqueId val="{00000001-A9B0-401D-9617-AC0704C4626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kat3</c:v>
                </c:pt>
              </c:strCache>
            </c:strRef>
          </c:tx>
          <c:spPr>
            <a:solidFill>
              <a:srgbClr val="BED8E8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#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Břeclav</c:v>
                </c:pt>
                <c:pt idx="6">
                  <c:v>Znojmo</c:v>
                </c:pt>
                <c:pt idx="7">
                  <c:v>Vyškov</c:v>
                </c:pt>
                <c:pt idx="8">
                  <c:v>Kraj Vysočina</c:v>
                </c:pt>
                <c:pt idx="9">
                  <c:v>Moravskoslezský kraj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Pardubický kraj</c:v>
                </c:pt>
                <c:pt idx="13">
                  <c:v>Hlavní město Praha</c:v>
                </c:pt>
                <c:pt idx="14">
                  <c:v>Jihočeský kraj</c:v>
                </c:pt>
                <c:pt idx="15">
                  <c:v>Královéhradecký kraj</c:v>
                </c:pt>
                <c:pt idx="16">
                  <c:v>Středočeský kraj</c:v>
                </c:pt>
                <c:pt idx="17">
                  <c:v>Ústecký kraj</c:v>
                </c:pt>
                <c:pt idx="18">
                  <c:v>Plzeňský kraj</c:v>
                </c:pt>
                <c:pt idx="19">
                  <c:v>Karlovarský kraj</c:v>
                </c:pt>
                <c:pt idx="20">
                  <c:v>Liberecký kraj</c:v>
                </c:pt>
                <c:pt idx="21">
                  <c:v>Neuvedeno</c:v>
                </c:pt>
              </c:strCache>
            </c:strRef>
          </c:cat>
          <c:val>
            <c:numRef>
              <c:f>List1!$D$2:$D$23</c:f>
              <c:numCache>
                <c:formatCode>General</c:formatCode>
                <c:ptCount val="22"/>
                <c:pt idx="8">
                  <c:v>8.3104017611447437E-2</c:v>
                </c:pt>
                <c:pt idx="9">
                  <c:v>5.5861309851403411E-2</c:v>
                </c:pt>
                <c:pt idx="10">
                  <c:v>4.45789763346175E-2</c:v>
                </c:pt>
                <c:pt idx="11">
                  <c:v>2.0363236103467255E-2</c:v>
                </c:pt>
                <c:pt idx="12">
                  <c:v>1.2658227848101266E-2</c:v>
                </c:pt>
                <c:pt idx="13">
                  <c:v>3.5773252614199232E-3</c:v>
                </c:pt>
                <c:pt idx="14">
                  <c:v>2.4766097963676388E-3</c:v>
                </c:pt>
                <c:pt idx="15">
                  <c:v>2.4766097963676388E-3</c:v>
                </c:pt>
                <c:pt idx="16">
                  <c:v>8.2553659878921296E-4</c:v>
                </c:pt>
                <c:pt idx="17">
                  <c:v>2.7517886626307099E-4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B0-401D-9617-AC0704C4626F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kat4</c:v>
                </c:pt>
              </c:strCache>
            </c:strRef>
          </c:tx>
          <c:spPr>
            <a:solidFill>
              <a:srgbClr val="A2A2A2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#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Břeclav</c:v>
                </c:pt>
                <c:pt idx="6">
                  <c:v>Znojmo</c:v>
                </c:pt>
                <c:pt idx="7">
                  <c:v>Vyškov</c:v>
                </c:pt>
                <c:pt idx="8">
                  <c:v>Kraj Vysočina</c:v>
                </c:pt>
                <c:pt idx="9">
                  <c:v>Moravskoslezský kraj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Pardubický kraj</c:v>
                </c:pt>
                <c:pt idx="13">
                  <c:v>Hlavní město Praha</c:v>
                </c:pt>
                <c:pt idx="14">
                  <c:v>Jihočeský kraj</c:v>
                </c:pt>
                <c:pt idx="15">
                  <c:v>Královéhradecký kraj</c:v>
                </c:pt>
                <c:pt idx="16">
                  <c:v>Středočeský kraj</c:v>
                </c:pt>
                <c:pt idx="17">
                  <c:v>Ústecký kraj</c:v>
                </c:pt>
                <c:pt idx="18">
                  <c:v>Plzeňský kraj</c:v>
                </c:pt>
                <c:pt idx="19">
                  <c:v>Karlovarský kraj</c:v>
                </c:pt>
                <c:pt idx="20">
                  <c:v>Liberecký kraj</c:v>
                </c:pt>
                <c:pt idx="21">
                  <c:v>Neuvedeno</c:v>
                </c:pt>
              </c:strCache>
            </c:strRef>
          </c:cat>
          <c:val>
            <c:numRef>
              <c:f>List1!$E$2:$E$23</c:f>
              <c:numCache>
                <c:formatCode>General</c:formatCode>
                <c:ptCount val="22"/>
                <c:pt idx="21">
                  <c:v>1.34837644468904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9B0-401D-9617-AC0704C4626F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kat1jhm</c:v>
                </c:pt>
              </c:strCache>
            </c:strRef>
          </c:tx>
          <c:spPr>
            <a:pattFill prst="wdUpDiag">
              <a:fgClr>
                <a:srgbClr val="3284C8"/>
              </a:fgClr>
              <a:bgClr>
                <a:sysClr val="window" lastClr="FFFFFF"/>
              </a:bgClr>
            </a:pattFill>
            <a:ln>
              <a:solidFill>
                <a:srgbClr val="296AA2"/>
              </a:solidFill>
            </a:ln>
            <a:effectLst/>
          </c:spPr>
          <c:invertIfNegative val="0"/>
          <c:dLbls>
            <c:numFmt formatCode="#,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Břeclav</c:v>
                </c:pt>
                <c:pt idx="6">
                  <c:v>Znojmo</c:v>
                </c:pt>
                <c:pt idx="7">
                  <c:v>Vyškov</c:v>
                </c:pt>
                <c:pt idx="8">
                  <c:v>Kraj Vysočina</c:v>
                </c:pt>
                <c:pt idx="9">
                  <c:v>Moravskoslezský kraj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Pardubický kraj</c:v>
                </c:pt>
                <c:pt idx="13">
                  <c:v>Hlavní město Praha</c:v>
                </c:pt>
                <c:pt idx="14">
                  <c:v>Jihočeský kraj</c:v>
                </c:pt>
                <c:pt idx="15">
                  <c:v>Královéhradecký kraj</c:v>
                </c:pt>
                <c:pt idx="16">
                  <c:v>Středočeský kraj</c:v>
                </c:pt>
                <c:pt idx="17">
                  <c:v>Ústecký kraj</c:v>
                </c:pt>
                <c:pt idx="18">
                  <c:v>Plzeňský kraj</c:v>
                </c:pt>
                <c:pt idx="19">
                  <c:v>Karlovarský kraj</c:v>
                </c:pt>
                <c:pt idx="20">
                  <c:v>Liberecký kraj</c:v>
                </c:pt>
                <c:pt idx="21">
                  <c:v>Neuvedeno</c:v>
                </c:pt>
              </c:strCache>
            </c:strRef>
          </c:cat>
          <c:val>
            <c:numRef>
              <c:f>List1!$F$2:$F$23</c:f>
              <c:numCache>
                <c:formatCode>General</c:formatCode>
                <c:ptCount val="22"/>
                <c:pt idx="1">
                  <c:v>0.35332966428178314</c:v>
                </c:pt>
                <c:pt idx="2">
                  <c:v>0.20005503577325262</c:v>
                </c:pt>
                <c:pt idx="3">
                  <c:v>5.0908090258668132E-2</c:v>
                </c:pt>
                <c:pt idx="4">
                  <c:v>4.6505228398458998E-2</c:v>
                </c:pt>
                <c:pt idx="5">
                  <c:v>4.1827187671986794E-2</c:v>
                </c:pt>
                <c:pt idx="6">
                  <c:v>3.4122179416620803E-2</c:v>
                </c:pt>
                <c:pt idx="7">
                  <c:v>3.357182168409466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9B0-401D-9617-AC0704C4626F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kta2jhm</c:v>
                </c:pt>
              </c:strCache>
            </c:strRef>
          </c:tx>
          <c:spPr>
            <a:pattFill prst="wdUpDiag">
              <a:fgClr>
                <a:srgbClr val="6BAFD6"/>
              </a:fgClr>
              <a:bgClr>
                <a:sysClr val="window" lastClr="FFFFFF"/>
              </a:bgClr>
            </a:pattFill>
            <a:ln>
              <a:solidFill>
                <a:srgbClr val="6BAFD6"/>
              </a:solidFill>
            </a:ln>
            <a:effectLst/>
          </c:spPr>
          <c:invertIfNegative val="0"/>
          <c:dLbls>
            <c:numFmt formatCode="#,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Břeclav</c:v>
                </c:pt>
                <c:pt idx="6">
                  <c:v>Znojmo</c:v>
                </c:pt>
                <c:pt idx="7">
                  <c:v>Vyškov</c:v>
                </c:pt>
                <c:pt idx="8">
                  <c:v>Kraj Vysočina</c:v>
                </c:pt>
                <c:pt idx="9">
                  <c:v>Moravskoslezský kraj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Pardubický kraj</c:v>
                </c:pt>
                <c:pt idx="13">
                  <c:v>Hlavní město Praha</c:v>
                </c:pt>
                <c:pt idx="14">
                  <c:v>Jihočeský kraj</c:v>
                </c:pt>
                <c:pt idx="15">
                  <c:v>Královéhradecký kraj</c:v>
                </c:pt>
                <c:pt idx="16">
                  <c:v>Středočeský kraj</c:v>
                </c:pt>
                <c:pt idx="17">
                  <c:v>Ústecký kraj</c:v>
                </c:pt>
                <c:pt idx="18">
                  <c:v>Plzeňský kraj</c:v>
                </c:pt>
                <c:pt idx="19">
                  <c:v>Karlovarský kraj</c:v>
                </c:pt>
                <c:pt idx="20">
                  <c:v>Liberecký kraj</c:v>
                </c:pt>
                <c:pt idx="21">
                  <c:v>Neuvedeno</c:v>
                </c:pt>
              </c:strCache>
            </c:strRef>
          </c:cat>
          <c:val>
            <c:numRef>
              <c:f>List1!$G$2:$G$23</c:f>
              <c:numCache>
                <c:formatCode>General</c:formatCode>
                <c:ptCount val="22"/>
              </c:numCache>
            </c:numRef>
          </c:val>
          <c:extLst>
            <c:ext xmlns:c16="http://schemas.microsoft.com/office/drawing/2014/chart" uri="{C3380CC4-5D6E-409C-BE32-E72D297353CC}">
              <c16:uniqueId val="{00000005-A9B0-401D-9617-AC0704C4626F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kat3jhm</c:v>
                </c:pt>
              </c:strCache>
            </c:strRef>
          </c:tx>
          <c:spPr>
            <a:solidFill>
              <a:srgbClr val="BED8E8"/>
            </a:solidFill>
            <a:ln>
              <a:noFill/>
            </a:ln>
            <a:effectLst/>
          </c:spPr>
          <c:invertIfNegative val="0"/>
          <c:dLbls>
            <c:numFmt formatCode="#,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Břeclav</c:v>
                </c:pt>
                <c:pt idx="6">
                  <c:v>Znojmo</c:v>
                </c:pt>
                <c:pt idx="7">
                  <c:v>Vyškov</c:v>
                </c:pt>
                <c:pt idx="8">
                  <c:v>Kraj Vysočina</c:v>
                </c:pt>
                <c:pt idx="9">
                  <c:v>Moravskoslezský kraj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Pardubický kraj</c:v>
                </c:pt>
                <c:pt idx="13">
                  <c:v>Hlavní město Praha</c:v>
                </c:pt>
                <c:pt idx="14">
                  <c:v>Jihočeský kraj</c:v>
                </c:pt>
                <c:pt idx="15">
                  <c:v>Královéhradecký kraj</c:v>
                </c:pt>
                <c:pt idx="16">
                  <c:v>Středočeský kraj</c:v>
                </c:pt>
                <c:pt idx="17">
                  <c:v>Ústecký kraj</c:v>
                </c:pt>
                <c:pt idx="18">
                  <c:v>Plzeňský kraj</c:v>
                </c:pt>
                <c:pt idx="19">
                  <c:v>Karlovarský kraj</c:v>
                </c:pt>
                <c:pt idx="20">
                  <c:v>Liberecký kraj</c:v>
                </c:pt>
                <c:pt idx="21">
                  <c:v>Neuvedeno</c:v>
                </c:pt>
              </c:strCache>
            </c:strRef>
          </c:cat>
          <c:val>
            <c:numRef>
              <c:f>List1!$H$2:$H$23</c:f>
              <c:numCache>
                <c:formatCode>General</c:formatCode>
                <c:ptCount val="22"/>
              </c:numCache>
            </c:numRef>
          </c:val>
          <c:extLst>
            <c:ext xmlns:c16="http://schemas.microsoft.com/office/drawing/2014/chart" uri="{C3380CC4-5D6E-409C-BE32-E72D297353CC}">
              <c16:uniqueId val="{00000006-A9B0-401D-9617-AC0704C4626F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kat4jhm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Břeclav</c:v>
                </c:pt>
                <c:pt idx="6">
                  <c:v>Znojmo</c:v>
                </c:pt>
                <c:pt idx="7">
                  <c:v>Vyškov</c:v>
                </c:pt>
                <c:pt idx="8">
                  <c:v>Kraj Vysočina</c:v>
                </c:pt>
                <c:pt idx="9">
                  <c:v>Moravskoslezský kraj</c:v>
                </c:pt>
                <c:pt idx="10">
                  <c:v>Zlínský kraj</c:v>
                </c:pt>
                <c:pt idx="11">
                  <c:v>Olomoucký kraj</c:v>
                </c:pt>
                <c:pt idx="12">
                  <c:v>Pardubický kraj</c:v>
                </c:pt>
                <c:pt idx="13">
                  <c:v>Hlavní město Praha</c:v>
                </c:pt>
                <c:pt idx="14">
                  <c:v>Jihočeský kraj</c:v>
                </c:pt>
                <c:pt idx="15">
                  <c:v>Královéhradecký kraj</c:v>
                </c:pt>
                <c:pt idx="16">
                  <c:v>Středočeský kraj</c:v>
                </c:pt>
                <c:pt idx="17">
                  <c:v>Ústecký kraj</c:v>
                </c:pt>
                <c:pt idx="18">
                  <c:v>Plzeňský kraj</c:v>
                </c:pt>
                <c:pt idx="19">
                  <c:v>Karlovarský kraj</c:v>
                </c:pt>
                <c:pt idx="20">
                  <c:v>Liberecký kraj</c:v>
                </c:pt>
                <c:pt idx="21">
                  <c:v>Neuvedeno</c:v>
                </c:pt>
              </c:strCache>
            </c:strRef>
          </c:cat>
          <c:val>
            <c:numRef>
              <c:f>List1!$I$2:$I$23</c:f>
              <c:numCache>
                <c:formatCode>General</c:formatCode>
                <c:ptCount val="22"/>
              </c:numCache>
            </c:numRef>
          </c:val>
          <c:extLst>
            <c:ext xmlns:c16="http://schemas.microsoft.com/office/drawing/2014/chart" uri="{C3380CC4-5D6E-409C-BE32-E72D297353CC}">
              <c16:uniqueId val="{00000007-A9B0-401D-9617-AC0704C4626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334930680"/>
        <c:axId val="334940088"/>
      </c:barChart>
      <c:catAx>
        <c:axId val="33493068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34940088"/>
        <c:crosses val="autoZero"/>
        <c:auto val="1"/>
        <c:lblAlgn val="ctr"/>
        <c:lblOffset val="100"/>
        <c:noMultiLvlLbl val="0"/>
      </c:catAx>
      <c:valAx>
        <c:axId val="334940088"/>
        <c:scaling>
          <c:orientation val="minMax"/>
          <c:max val="1"/>
          <c:min val="0"/>
        </c:scaling>
        <c:delete val="0"/>
        <c:axPos val="t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dirty="0">
                    <a:solidFill>
                      <a:schemeClr val="tx1"/>
                    </a:solidFill>
                  </a:rPr>
                  <a:t>Podíl hospitalizací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&quot; &quot;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34930680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3263736522671056"/>
          <c:y val="0.15573555555555554"/>
          <c:w val="0.61189273984018822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at1 </c:v>
                </c:pt>
              </c:strCache>
            </c:strRef>
          </c:tx>
          <c:spPr>
            <a:solidFill>
              <a:srgbClr val="296AA2"/>
            </a:solidFill>
            <a:ln w="3175">
              <a:solidFill>
                <a:srgbClr val="296AA2"/>
              </a:solidFill>
            </a:ln>
            <a:effectLst/>
          </c:spPr>
          <c:invertIfNegative val="0"/>
          <c:dLbls>
            <c:numFmt formatCode="#,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Vyškov</c:v>
                </c:pt>
                <c:pt idx="6">
                  <c:v>Břeclav</c:v>
                </c:pt>
                <c:pt idx="7">
                  <c:v>Znojmo</c:v>
                </c:pt>
                <c:pt idx="8">
                  <c:v>Kraj Vysočina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Středočeský kraj</c:v>
                </c:pt>
                <c:pt idx="15">
                  <c:v>Hlavní město Praha</c:v>
                </c:pt>
                <c:pt idx="16">
                  <c:v>Plzeňský kraj</c:v>
                </c:pt>
                <c:pt idx="17">
                  <c:v>Karlovarský kraj</c:v>
                </c:pt>
                <c:pt idx="18">
                  <c:v>Ústecký kraj</c:v>
                </c:pt>
                <c:pt idx="19">
                  <c:v>Liberecký kraj</c:v>
                </c:pt>
                <c:pt idx="20">
                  <c:v>Královéhradecký kraj</c:v>
                </c:pt>
                <c:pt idx="21">
                  <c:v>Neuvedeno</c:v>
                </c:pt>
              </c:strCache>
            </c:strRef>
          </c:cat>
          <c:val>
            <c:numRef>
              <c:f>List1!$B$2:$B$23</c:f>
              <c:numCache>
                <c:formatCode>General</c:formatCode>
                <c:ptCount val="22"/>
                <c:pt idx="0" formatCode="0%">
                  <c:v>0.609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AF-4EA2-9706-246BE65DA9D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kat2</c:v>
                </c:pt>
              </c:strCache>
            </c:strRef>
          </c:tx>
          <c:spPr>
            <a:solidFill>
              <a:srgbClr val="6BAFD6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#,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Vyškov</c:v>
                </c:pt>
                <c:pt idx="6">
                  <c:v>Břeclav</c:v>
                </c:pt>
                <c:pt idx="7">
                  <c:v>Znojmo</c:v>
                </c:pt>
                <c:pt idx="8">
                  <c:v>Kraj Vysočina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Středočeský kraj</c:v>
                </c:pt>
                <c:pt idx="15">
                  <c:v>Hlavní město Praha</c:v>
                </c:pt>
                <c:pt idx="16">
                  <c:v>Plzeňský kraj</c:v>
                </c:pt>
                <c:pt idx="17">
                  <c:v>Karlovarský kraj</c:v>
                </c:pt>
                <c:pt idx="18">
                  <c:v>Ústecký kraj</c:v>
                </c:pt>
                <c:pt idx="19">
                  <c:v>Liberecký kraj</c:v>
                </c:pt>
                <c:pt idx="20">
                  <c:v>Královéhradecký kraj</c:v>
                </c:pt>
                <c:pt idx="21">
                  <c:v>Neuvedeno</c:v>
                </c:pt>
              </c:strCache>
            </c:strRef>
          </c:cat>
          <c:val>
            <c:numRef>
              <c:f>List1!$C$2:$C$23</c:f>
              <c:numCache>
                <c:formatCode>General</c:formatCode>
                <c:ptCount val="22"/>
              </c:numCache>
            </c:numRef>
          </c:val>
          <c:extLst>
            <c:ext xmlns:c16="http://schemas.microsoft.com/office/drawing/2014/chart" uri="{C3380CC4-5D6E-409C-BE32-E72D297353CC}">
              <c16:uniqueId val="{00000001-39AF-4EA2-9706-246BE65DA9D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kat3</c:v>
                </c:pt>
              </c:strCache>
            </c:strRef>
          </c:tx>
          <c:spPr>
            <a:solidFill>
              <a:srgbClr val="BED8E8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#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Vyškov</c:v>
                </c:pt>
                <c:pt idx="6">
                  <c:v>Břeclav</c:v>
                </c:pt>
                <c:pt idx="7">
                  <c:v>Znojmo</c:v>
                </c:pt>
                <c:pt idx="8">
                  <c:v>Kraj Vysočina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Středočeský kraj</c:v>
                </c:pt>
                <c:pt idx="15">
                  <c:v>Hlavní město Praha</c:v>
                </c:pt>
                <c:pt idx="16">
                  <c:v>Plzeňský kraj</c:v>
                </c:pt>
                <c:pt idx="17">
                  <c:v>Karlovarský kraj</c:v>
                </c:pt>
                <c:pt idx="18">
                  <c:v>Ústecký kraj</c:v>
                </c:pt>
                <c:pt idx="19">
                  <c:v>Liberecký kraj</c:v>
                </c:pt>
                <c:pt idx="20">
                  <c:v>Královéhradecký kraj</c:v>
                </c:pt>
                <c:pt idx="21">
                  <c:v>Neuvedeno</c:v>
                </c:pt>
              </c:strCache>
            </c:strRef>
          </c:cat>
          <c:val>
            <c:numRef>
              <c:f>List1!$D$2:$D$23</c:f>
              <c:numCache>
                <c:formatCode>General</c:formatCode>
                <c:ptCount val="22"/>
                <c:pt idx="8" formatCode="0%">
                  <c:v>0.14673913043478262</c:v>
                </c:pt>
                <c:pt idx="9" formatCode="0%">
                  <c:v>0.14266304347826086</c:v>
                </c:pt>
                <c:pt idx="10" formatCode="0%">
                  <c:v>4.4836956521739128E-2</c:v>
                </c:pt>
                <c:pt idx="11" formatCode="0%">
                  <c:v>1.8342391304347828E-2</c:v>
                </c:pt>
                <c:pt idx="12" formatCode="0%">
                  <c:v>1.154891304347826E-2</c:v>
                </c:pt>
                <c:pt idx="13" formatCode="0%">
                  <c:v>1.0190217391304348E-2</c:v>
                </c:pt>
                <c:pt idx="14" formatCode="0%">
                  <c:v>4.076086956521739E-3</c:v>
                </c:pt>
                <c:pt idx="15" formatCode="0%">
                  <c:v>6.793478260869565E-4</c:v>
                </c:pt>
                <c:pt idx="16" formatCode="0%">
                  <c:v>6.793478260869565E-4</c:v>
                </c:pt>
                <c:pt idx="17" formatCode="0%">
                  <c:v>0</c:v>
                </c:pt>
                <c:pt idx="18" formatCode="0%">
                  <c:v>0</c:v>
                </c:pt>
                <c:pt idx="19" formatCode="0%">
                  <c:v>0</c:v>
                </c:pt>
                <c:pt idx="20" formatCode="0%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AF-4EA2-9706-246BE65DA9DB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kat4</c:v>
                </c:pt>
              </c:strCache>
            </c:strRef>
          </c:tx>
          <c:spPr>
            <a:solidFill>
              <a:srgbClr val="A2A2A2"/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#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Vyškov</c:v>
                </c:pt>
                <c:pt idx="6">
                  <c:v>Břeclav</c:v>
                </c:pt>
                <c:pt idx="7">
                  <c:v>Znojmo</c:v>
                </c:pt>
                <c:pt idx="8">
                  <c:v>Kraj Vysočina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Středočeský kraj</c:v>
                </c:pt>
                <c:pt idx="15">
                  <c:v>Hlavní město Praha</c:v>
                </c:pt>
                <c:pt idx="16">
                  <c:v>Plzeňský kraj</c:v>
                </c:pt>
                <c:pt idx="17">
                  <c:v>Karlovarský kraj</c:v>
                </c:pt>
                <c:pt idx="18">
                  <c:v>Ústecký kraj</c:v>
                </c:pt>
                <c:pt idx="19">
                  <c:v>Liberecký kraj</c:v>
                </c:pt>
                <c:pt idx="20">
                  <c:v>Královéhradecký kraj</c:v>
                </c:pt>
                <c:pt idx="21">
                  <c:v>Neuvedeno</c:v>
                </c:pt>
              </c:strCache>
            </c:strRef>
          </c:cat>
          <c:val>
            <c:numRef>
              <c:f>List1!$E$2:$E$23</c:f>
              <c:numCache>
                <c:formatCode>General</c:formatCode>
                <c:ptCount val="22"/>
                <c:pt idx="21" formatCode="0%">
                  <c:v>1.08695652173913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AF-4EA2-9706-246BE65DA9DB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kat1jhm</c:v>
                </c:pt>
              </c:strCache>
            </c:strRef>
          </c:tx>
          <c:spPr>
            <a:pattFill prst="wdUpDiag">
              <a:fgClr>
                <a:srgbClr val="3284C8"/>
              </a:fgClr>
              <a:bgClr>
                <a:sysClr val="window" lastClr="FFFFFF"/>
              </a:bgClr>
            </a:pattFill>
            <a:ln>
              <a:solidFill>
                <a:srgbClr val="296AA2"/>
              </a:solidFill>
            </a:ln>
            <a:effectLst/>
          </c:spPr>
          <c:invertIfNegative val="0"/>
          <c:dLbls>
            <c:numFmt formatCode="#,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Vyškov</c:v>
                </c:pt>
                <c:pt idx="6">
                  <c:v>Břeclav</c:v>
                </c:pt>
                <c:pt idx="7">
                  <c:v>Znojmo</c:v>
                </c:pt>
                <c:pt idx="8">
                  <c:v>Kraj Vysočina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Středočeský kraj</c:v>
                </c:pt>
                <c:pt idx="15">
                  <c:v>Hlavní město Praha</c:v>
                </c:pt>
                <c:pt idx="16">
                  <c:v>Plzeňský kraj</c:v>
                </c:pt>
                <c:pt idx="17">
                  <c:v>Karlovarský kraj</c:v>
                </c:pt>
                <c:pt idx="18">
                  <c:v>Ústecký kraj</c:v>
                </c:pt>
                <c:pt idx="19">
                  <c:v>Liberecký kraj</c:v>
                </c:pt>
                <c:pt idx="20">
                  <c:v>Královéhradecký kraj</c:v>
                </c:pt>
                <c:pt idx="21">
                  <c:v>Neuvedeno</c:v>
                </c:pt>
              </c:strCache>
            </c:strRef>
          </c:cat>
          <c:val>
            <c:numRef>
              <c:f>List1!$F$2:$F$23</c:f>
              <c:numCache>
                <c:formatCode>0.00%</c:formatCode>
                <c:ptCount val="22"/>
                <c:pt idx="1">
                  <c:v>0.1875</c:v>
                </c:pt>
                <c:pt idx="2">
                  <c:v>0.13451086956521738</c:v>
                </c:pt>
                <c:pt idx="3">
                  <c:v>8.8315217391304351E-2</c:v>
                </c:pt>
                <c:pt idx="4">
                  <c:v>5.5706521739130432E-2</c:v>
                </c:pt>
                <c:pt idx="5">
                  <c:v>5.502717391304348E-2</c:v>
                </c:pt>
                <c:pt idx="6">
                  <c:v>5.2309782608695655E-2</c:v>
                </c:pt>
                <c:pt idx="7">
                  <c:v>3.60054347826086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AF-4EA2-9706-246BE65DA9DB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kta2jhm</c:v>
                </c:pt>
              </c:strCache>
            </c:strRef>
          </c:tx>
          <c:spPr>
            <a:pattFill prst="wdUpDiag">
              <a:fgClr>
                <a:srgbClr val="6BAFD6"/>
              </a:fgClr>
              <a:bgClr>
                <a:sysClr val="window" lastClr="FFFFFF"/>
              </a:bgClr>
            </a:pattFill>
            <a:ln>
              <a:solidFill>
                <a:srgbClr val="6BAFD6"/>
              </a:solidFill>
            </a:ln>
            <a:effectLst/>
          </c:spPr>
          <c:invertIfNegative val="0"/>
          <c:dLbls>
            <c:numFmt formatCode="#,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Vyškov</c:v>
                </c:pt>
                <c:pt idx="6">
                  <c:v>Břeclav</c:v>
                </c:pt>
                <c:pt idx="7">
                  <c:v>Znojmo</c:v>
                </c:pt>
                <c:pt idx="8">
                  <c:v>Kraj Vysočina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Středočeský kraj</c:v>
                </c:pt>
                <c:pt idx="15">
                  <c:v>Hlavní město Praha</c:v>
                </c:pt>
                <c:pt idx="16">
                  <c:v>Plzeňský kraj</c:v>
                </c:pt>
                <c:pt idx="17">
                  <c:v>Karlovarský kraj</c:v>
                </c:pt>
                <c:pt idx="18">
                  <c:v>Ústecký kraj</c:v>
                </c:pt>
                <c:pt idx="19">
                  <c:v>Liberecký kraj</c:v>
                </c:pt>
                <c:pt idx="20">
                  <c:v>Královéhradecký kraj</c:v>
                </c:pt>
                <c:pt idx="21">
                  <c:v>Neuvedeno</c:v>
                </c:pt>
              </c:strCache>
            </c:strRef>
          </c:cat>
          <c:val>
            <c:numRef>
              <c:f>List1!$G$2:$G$23</c:f>
              <c:numCache>
                <c:formatCode>General</c:formatCode>
                <c:ptCount val="22"/>
              </c:numCache>
            </c:numRef>
          </c:val>
          <c:extLst>
            <c:ext xmlns:c16="http://schemas.microsoft.com/office/drawing/2014/chart" uri="{C3380CC4-5D6E-409C-BE32-E72D297353CC}">
              <c16:uniqueId val="{00000005-39AF-4EA2-9706-246BE65DA9DB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kat3jhm</c:v>
                </c:pt>
              </c:strCache>
            </c:strRef>
          </c:tx>
          <c:spPr>
            <a:solidFill>
              <a:srgbClr val="BED8E8"/>
            </a:solidFill>
            <a:ln>
              <a:noFill/>
            </a:ln>
            <a:effectLst/>
          </c:spPr>
          <c:invertIfNegative val="0"/>
          <c:dLbls>
            <c:numFmt formatCode="#,##0.0&quot; &quot;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Vyškov</c:v>
                </c:pt>
                <c:pt idx="6">
                  <c:v>Břeclav</c:v>
                </c:pt>
                <c:pt idx="7">
                  <c:v>Znojmo</c:v>
                </c:pt>
                <c:pt idx="8">
                  <c:v>Kraj Vysočina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Středočeský kraj</c:v>
                </c:pt>
                <c:pt idx="15">
                  <c:v>Hlavní město Praha</c:v>
                </c:pt>
                <c:pt idx="16">
                  <c:v>Plzeňský kraj</c:v>
                </c:pt>
                <c:pt idx="17">
                  <c:v>Karlovarský kraj</c:v>
                </c:pt>
                <c:pt idx="18">
                  <c:v>Ústecký kraj</c:v>
                </c:pt>
                <c:pt idx="19">
                  <c:v>Liberecký kraj</c:v>
                </c:pt>
                <c:pt idx="20">
                  <c:v>Královéhradecký kraj</c:v>
                </c:pt>
                <c:pt idx="21">
                  <c:v>Neuvedeno</c:v>
                </c:pt>
              </c:strCache>
            </c:strRef>
          </c:cat>
          <c:val>
            <c:numRef>
              <c:f>List1!$H$2:$H$23</c:f>
              <c:numCache>
                <c:formatCode>General</c:formatCode>
                <c:ptCount val="22"/>
              </c:numCache>
            </c:numRef>
          </c:val>
          <c:extLst>
            <c:ext xmlns:c16="http://schemas.microsoft.com/office/drawing/2014/chart" uri="{C3380CC4-5D6E-409C-BE32-E72D297353CC}">
              <c16:uniqueId val="{00000006-39AF-4EA2-9706-246BE65DA9DB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kat4jhm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3</c:f>
              <c:strCache>
                <c:ptCount val="22"/>
                <c:pt idx="0">
                  <c:v>Jihomoravský kraj</c:v>
                </c:pt>
                <c:pt idx="1">
                  <c:v>Brno-město</c:v>
                </c:pt>
                <c:pt idx="2">
                  <c:v>Brno-venkov</c:v>
                </c:pt>
                <c:pt idx="3">
                  <c:v>Hodonín</c:v>
                </c:pt>
                <c:pt idx="4">
                  <c:v>Blansko</c:v>
                </c:pt>
                <c:pt idx="5">
                  <c:v>Vyškov</c:v>
                </c:pt>
                <c:pt idx="6">
                  <c:v>Břeclav</c:v>
                </c:pt>
                <c:pt idx="7">
                  <c:v>Znojmo</c:v>
                </c:pt>
                <c:pt idx="8">
                  <c:v>Kraj Vysočina</c:v>
                </c:pt>
                <c:pt idx="9">
                  <c:v>Zlíns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Jihočeský kraj</c:v>
                </c:pt>
                <c:pt idx="13">
                  <c:v>Olomoucký kraj</c:v>
                </c:pt>
                <c:pt idx="14">
                  <c:v>Středočeský kraj</c:v>
                </c:pt>
                <c:pt idx="15">
                  <c:v>Hlavní město Praha</c:v>
                </c:pt>
                <c:pt idx="16">
                  <c:v>Plzeňský kraj</c:v>
                </c:pt>
                <c:pt idx="17">
                  <c:v>Karlovarský kraj</c:v>
                </c:pt>
                <c:pt idx="18">
                  <c:v>Ústecký kraj</c:v>
                </c:pt>
                <c:pt idx="19">
                  <c:v>Liberecký kraj</c:v>
                </c:pt>
                <c:pt idx="20">
                  <c:v>Královéhradecký kraj</c:v>
                </c:pt>
                <c:pt idx="21">
                  <c:v>Neuvedeno</c:v>
                </c:pt>
              </c:strCache>
            </c:strRef>
          </c:cat>
          <c:val>
            <c:numRef>
              <c:f>List1!$I$2:$I$23</c:f>
              <c:numCache>
                <c:formatCode>General</c:formatCode>
                <c:ptCount val="22"/>
              </c:numCache>
            </c:numRef>
          </c:val>
          <c:extLst>
            <c:ext xmlns:c16="http://schemas.microsoft.com/office/drawing/2014/chart" uri="{C3380CC4-5D6E-409C-BE32-E72D297353CC}">
              <c16:uniqueId val="{00000007-39AF-4EA2-9706-246BE65DA9D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334930680"/>
        <c:axId val="334940088"/>
      </c:barChart>
      <c:catAx>
        <c:axId val="33493068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34940088"/>
        <c:crosses val="autoZero"/>
        <c:auto val="1"/>
        <c:lblAlgn val="ctr"/>
        <c:lblOffset val="100"/>
        <c:noMultiLvlLbl val="0"/>
      </c:catAx>
      <c:valAx>
        <c:axId val="334940088"/>
        <c:scaling>
          <c:orientation val="minMax"/>
          <c:max val="1"/>
          <c:min val="0"/>
        </c:scaling>
        <c:delete val="0"/>
        <c:axPos val="t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100" dirty="0">
                    <a:solidFill>
                      <a:schemeClr val="tx1"/>
                    </a:solidFill>
                  </a:rPr>
                  <a:t>Podíl hospitalizací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#,##0&quot; &quot;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34930680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779507511164039E-2"/>
          <c:y val="4.8674588750571325E-2"/>
          <c:w val="0.87668593448940269"/>
          <c:h val="0.8883928571428571"/>
        </c:manualLayout>
      </c:layout>
      <c:scatterChart>
        <c:scatterStyle val="lineMarker"/>
        <c:varyColors val="0"/>
        <c:ser>
          <c:idx val="8"/>
          <c:order val="0"/>
          <c:tx>
            <c:strRef>
              <c:f>Sheet1!$B$1</c:f>
              <c:strCache>
                <c:ptCount val="1"/>
                <c:pt idx="0">
                  <c:v>stred</c:v>
                </c:pt>
              </c:strCache>
            </c:strRef>
          </c:tx>
          <c:spPr>
            <a:ln w="19050">
              <a:noFill/>
            </a:ln>
          </c:spPr>
          <c:marker>
            <c:symbol val="star"/>
            <c:size val="10"/>
            <c:spPr>
              <a:solidFill>
                <a:srgbClr val="800080"/>
              </a:solidFill>
              <a:ln w="12700">
                <a:solidFill>
                  <a:srgbClr val="800080"/>
                </a:solidFill>
                <a:prstDash val="solid"/>
              </a:ln>
            </c:spPr>
          </c:marker>
          <c:xVal>
            <c:numRef>
              <c:f>Sheet1!$A$2:$A$26</c:f>
              <c:numCache>
                <c:formatCode>General</c:formatCode>
                <c:ptCount val="25"/>
                <c:pt idx="0">
                  <c:v>0.98858207724917579</c:v>
                </c:pt>
                <c:pt idx="1">
                  <c:v>0.96931605263157905</c:v>
                </c:pt>
                <c:pt idx="2">
                  <c:v>0.92302393761686219</c:v>
                </c:pt>
                <c:pt idx="3">
                  <c:v>0.91276040402458603</c:v>
                </c:pt>
                <c:pt idx="4">
                  <c:v>0.92048633818589021</c:v>
                </c:pt>
                <c:pt idx="5">
                  <c:v>0.87303011156292343</c:v>
                </c:pt>
                <c:pt idx="6">
                  <c:v>0.82813929467521608</c:v>
                </c:pt>
                <c:pt idx="7">
                  <c:v>0.80605813012243233</c:v>
                </c:pt>
                <c:pt idx="8">
                  <c:v>0.71466375411635574</c:v>
                </c:pt>
                <c:pt idx="9">
                  <c:v>0.66571334305504926</c:v>
                </c:pt>
                <c:pt idx="10">
                  <c:v>0.69934718208389934</c:v>
                </c:pt>
                <c:pt idx="11">
                  <c:v>0.69683765091863537</c:v>
                </c:pt>
                <c:pt idx="12">
                  <c:v>0.69375648574057047</c:v>
                </c:pt>
                <c:pt idx="13">
                  <c:v>0.75629821222606686</c:v>
                </c:pt>
                <c:pt idx="14">
                  <c:v>0.49724134566862915</c:v>
                </c:pt>
                <c:pt idx="15">
                  <c:v>0.52295219557770167</c:v>
                </c:pt>
                <c:pt idx="16">
                  <c:v>0.46252903981264637</c:v>
                </c:pt>
                <c:pt idx="17">
                  <c:v>0.49626138441445339</c:v>
                </c:pt>
                <c:pt idx="18">
                  <c:v>0.38379487704918053</c:v>
                </c:pt>
                <c:pt idx="19">
                  <c:v>0.23384336167429695</c:v>
                </c:pt>
                <c:pt idx="20">
                  <c:v>0.19905537766830883</c:v>
                </c:pt>
                <c:pt idx="21">
                  <c:v>0.22891489484114305</c:v>
                </c:pt>
                <c:pt idx="22">
                  <c:v>0.22992178804026048</c:v>
                </c:pt>
                <c:pt idx="23">
                  <c:v>0.21609970126960429</c:v>
                </c:pt>
                <c:pt idx="24">
                  <c:v>0.13697073525843237</c:v>
                </c:pt>
              </c:numCache>
            </c:numRef>
          </c:xVal>
          <c:yVal>
            <c:numRef>
              <c:f>Sheet1!$B$2:$B$2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D4C-4761-8E8E-5708AE15D5FD}"/>
            </c:ext>
          </c:extLst>
        </c:ser>
        <c:ser>
          <c:idx val="2"/>
          <c:order val="1"/>
          <c:tx>
            <c:strRef>
              <c:f>Sheet1!$E$1</c:f>
              <c:strCache>
                <c:ptCount val="1"/>
                <c:pt idx="0">
                  <c:v>bench</c:v>
                </c:pt>
              </c:strCache>
            </c:strRef>
          </c:tx>
          <c:spPr>
            <a:ln w="19050">
              <a:noFill/>
            </a:ln>
          </c:spPr>
          <c:marker>
            <c:symbol val="diamond"/>
            <c:size val="12"/>
            <c:spPr>
              <a:solidFill>
                <a:schemeClr val="tx1"/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c:spPr>
          </c:marker>
          <c:xVal>
            <c:numRef>
              <c:f>Sheet1!$A$77:$A$101</c:f>
              <c:numCache>
                <c:formatCode>General</c:formatCode>
                <c:ptCount val="25"/>
                <c:pt idx="0">
                  <c:v>0.97690784267545927</c:v>
                </c:pt>
                <c:pt idx="1">
                  <c:v>0.96318268421052633</c:v>
                </c:pt>
                <c:pt idx="2">
                  <c:v>0.92838789733129357</c:v>
                </c:pt>
                <c:pt idx="3">
                  <c:v>0.89447070821751562</c:v>
                </c:pt>
                <c:pt idx="4">
                  <c:v>0.88749496080627099</c:v>
                </c:pt>
                <c:pt idx="5">
                  <c:v>0.87434737774997384</c:v>
                </c:pt>
                <c:pt idx="6">
                  <c:v>0.84048718985224424</c:v>
                </c:pt>
                <c:pt idx="7">
                  <c:v>0.79903366386724672</c:v>
                </c:pt>
                <c:pt idx="8">
                  <c:v>0.70268032930845237</c:v>
                </c:pt>
                <c:pt idx="9">
                  <c:v>0.68180411957710541</c:v>
                </c:pt>
                <c:pt idx="10">
                  <c:v>0.6525433699724178</c:v>
                </c:pt>
                <c:pt idx="11">
                  <c:v>0.63899211286089264</c:v>
                </c:pt>
                <c:pt idx="12">
                  <c:v>0.59640395584176631</c:v>
                </c:pt>
                <c:pt idx="13">
                  <c:v>0.54347900807381788</c:v>
                </c:pt>
                <c:pt idx="14">
                  <c:v>0.53432114381833473</c:v>
                </c:pt>
                <c:pt idx="15">
                  <c:v>0.49297056991591409</c:v>
                </c:pt>
                <c:pt idx="16">
                  <c:v>0.44476352459016394</c:v>
                </c:pt>
                <c:pt idx="17">
                  <c:v>0.43565559425337375</c:v>
                </c:pt>
                <c:pt idx="18">
                  <c:v>0.31561937939110085</c:v>
                </c:pt>
                <c:pt idx="19">
                  <c:v>0.20210065402223681</c:v>
                </c:pt>
                <c:pt idx="20">
                  <c:v>0.18846715927750424</c:v>
                </c:pt>
                <c:pt idx="21">
                  <c:v>0.18787236463593945</c:v>
                </c:pt>
                <c:pt idx="22">
                  <c:v>0.16156210775606869</c:v>
                </c:pt>
                <c:pt idx="23">
                  <c:v>0.16148640776699036</c:v>
                </c:pt>
                <c:pt idx="24">
                  <c:v>0.11303220092210624</c:v>
                </c:pt>
              </c:numCache>
            </c:numRef>
          </c:xVal>
          <c:yVal>
            <c:numRef>
              <c:f>Sheet1!$E$77:$E$101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D4C-4761-8E8E-5708AE15D5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8932352"/>
        <c:axId val="1"/>
        <c:extLst/>
      </c:scatterChart>
      <c:valAx>
        <c:axId val="1458932352"/>
        <c:scaling>
          <c:orientation val="minMax"/>
          <c:max val="1"/>
          <c:min val="0"/>
        </c:scaling>
        <c:delete val="0"/>
        <c:axPos val="t"/>
        <c:majorGridlines>
          <c:spPr>
            <a:ln w="9525">
              <a:solidFill>
                <a:srgbClr val="C0C0C0"/>
              </a:solidFill>
              <a:prstDash val="sysDash"/>
            </a:ln>
          </c:spPr>
        </c:majorGridlines>
        <c:numFmt formatCode="0\ %" sourceLinked="0"/>
        <c:majorTickMark val="out"/>
        <c:minorTickMark val="none"/>
        <c:tickLblPos val="nextTo"/>
        <c:spPr>
          <a:ln w="316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crossBetween val="midCat"/>
        <c:majorUnit val="0.2"/>
      </c:valAx>
      <c:valAx>
        <c:axId val="1"/>
        <c:scaling>
          <c:orientation val="maxMin"/>
          <c:max val="25"/>
          <c:min val="0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6330">
            <a:noFill/>
          </a:ln>
        </c:spPr>
        <c:crossAx val="1458932352"/>
        <c:crosses val="autoZero"/>
        <c:crossBetween val="midCat"/>
        <c:majorUnit val="1"/>
      </c:valAx>
      <c:spPr>
        <a:noFill/>
        <a:ln w="253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7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176151761517614"/>
          <c:y val="6.4308681672025719E-2"/>
          <c:w val="0.82926829268292679"/>
          <c:h val="0.7588424437299035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25400">
              <a:solidFill>
                <a:srgbClr val="339966"/>
              </a:solidFill>
              <a:prstDash val="solid"/>
            </a:ln>
          </c:spPr>
          <c:marker>
            <c:symbol val="none"/>
          </c:marker>
          <c:cat>
            <c:numRef>
              <c:f>Sheet1!$B$1:$AF$1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Sheet1!$B$2:$AF$2</c:f>
              <c:numCache>
                <c:formatCode>General</c:formatCode>
                <c:ptCount val="31"/>
                <c:pt idx="0">
                  <c:v>1088.8542890000001</c:v>
                </c:pt>
                <c:pt idx="1">
                  <c:v>1158.962</c:v>
                </c:pt>
                <c:pt idx="2">
                  <c:v>1235.0889999999999</c:v>
                </c:pt>
                <c:pt idx="3">
                  <c:v>1305.271</c:v>
                </c:pt>
                <c:pt idx="4">
                  <c:v>1394.5060000000001</c:v>
                </c:pt>
                <c:pt idx="5">
                  <c:v>1485.4349999999999</c:v>
                </c:pt>
                <c:pt idx="6">
                  <c:v>1590.808</c:v>
                </c:pt>
                <c:pt idx="7">
                  <c:v>1701.04</c:v>
                </c:pt>
                <c:pt idx="8">
                  <c:v>1806.4690000000001</c:v>
                </c:pt>
                <c:pt idx="9">
                  <c:v>1904.115</c:v>
                </c:pt>
                <c:pt idx="10">
                  <c:v>1993.9490000000001</c:v>
                </c:pt>
                <c:pt idx="11">
                  <c:v>2113.3809999999999</c:v>
                </c:pt>
                <c:pt idx="12">
                  <c:v>2227.5479999999998</c:v>
                </c:pt>
                <c:pt idx="13">
                  <c:v>2352.4769999999999</c:v>
                </c:pt>
                <c:pt idx="14">
                  <c:v>2488.527</c:v>
                </c:pt>
                <c:pt idx="15">
                  <c:v>2598.732</c:v>
                </c:pt>
                <c:pt idx="16">
                  <c:v>2721.1559999999999</c:v>
                </c:pt>
                <c:pt idx="17">
                  <c:v>2857.442</c:v>
                </c:pt>
                <c:pt idx="18">
                  <c:v>2966.9079999999999</c:v>
                </c:pt>
                <c:pt idx="19">
                  <c:v>3081.8890000000001</c:v>
                </c:pt>
                <c:pt idx="20">
                  <c:v>3214.4450000000002</c:v>
                </c:pt>
                <c:pt idx="21">
                  <c:v>3317.8692299999998</c:v>
                </c:pt>
                <c:pt idx="22">
                  <c:v>3452.4505199999999</c:v>
                </c:pt>
                <c:pt idx="23">
                  <c:v>3588.3814200000002</c:v>
                </c:pt>
                <c:pt idx="24">
                  <c:v>3717.9309800000001</c:v>
                </c:pt>
                <c:pt idx="25">
                  <c:v>3859.3582099999999</c:v>
                </c:pt>
                <c:pt idx="26">
                  <c:v>3997.46128</c:v>
                </c:pt>
                <c:pt idx="27">
                  <c:v>4124.3496999999998</c:v>
                </c:pt>
                <c:pt idx="28">
                  <c:v>4219.4459699999998</c:v>
                </c:pt>
                <c:pt idx="29">
                  <c:v>4330.8701760000004</c:v>
                </c:pt>
                <c:pt idx="30" formatCode="#,##0">
                  <c:v>43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47-410F-957F-E1AE0DC66252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25400">
              <a:solidFill>
                <a:srgbClr val="000000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80808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B$1:$AF$1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Sheet1!$B$3:$AF$3</c:f>
              <c:numCache>
                <c:formatCode>General</c:formatCode>
                <c:ptCount val="3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47-410F-957F-E1AE0DC662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04271776"/>
        <c:axId val="1"/>
      </c:lineChart>
      <c:catAx>
        <c:axId val="1204271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1"/>
        <c:crossesAt val="0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  <c:max val="5000"/>
          <c:min val="0"/>
        </c:scaling>
        <c:delete val="0"/>
        <c:axPos val="l"/>
        <c:numFmt formatCode="#,##0" sourceLinked="0"/>
        <c:majorTickMark val="in"/>
        <c:minorTickMark val="in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1204271776"/>
        <c:crosses val="autoZero"/>
        <c:crossBetween val="midCat"/>
        <c:majorUnit val="100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176151761517614"/>
          <c:y val="6.4308681672025719E-2"/>
          <c:w val="0.82926829268292679"/>
          <c:h val="0.7588424437299035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25400">
              <a:solidFill>
                <a:srgbClr val="339966"/>
              </a:solidFill>
              <a:prstDash val="solid"/>
            </a:ln>
          </c:spPr>
          <c:marker>
            <c:symbol val="none"/>
          </c:marker>
          <c:cat>
            <c:numRef>
              <c:f>Sheet1!$B$1:$AB$1</c:f>
              <c:numCache>
                <c:formatCode>General</c:formatCode>
                <c:ptCount val="27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</c:numCache>
            </c:numRef>
          </c:cat>
          <c:val>
            <c:numRef>
              <c:f>Sheet1!$B$2:$AB$2</c:f>
              <c:numCache>
                <c:formatCode>General</c:formatCode>
                <c:ptCount val="27"/>
                <c:pt idx="0">
                  <c:v>105.61252639999999</c:v>
                </c:pt>
                <c:pt idx="1">
                  <c:v>116.6489</c:v>
                </c:pt>
                <c:pt idx="2">
                  <c:v>124.3394</c:v>
                </c:pt>
                <c:pt idx="3">
                  <c:v>133.17910000000001</c:v>
                </c:pt>
                <c:pt idx="4">
                  <c:v>144.05369999999999</c:v>
                </c:pt>
                <c:pt idx="5">
                  <c:v>156.91079999999999</c:v>
                </c:pt>
                <c:pt idx="6">
                  <c:v>165.12870000000001</c:v>
                </c:pt>
                <c:pt idx="7">
                  <c:v>176.04849999999999</c:v>
                </c:pt>
                <c:pt idx="8">
                  <c:v>182.94220000000001</c:v>
                </c:pt>
                <c:pt idx="9">
                  <c:v>191.76779999999999</c:v>
                </c:pt>
                <c:pt idx="10">
                  <c:v>203.316</c:v>
                </c:pt>
                <c:pt idx="11">
                  <c:v>213.6635</c:v>
                </c:pt>
                <c:pt idx="12">
                  <c:v>224.40520000000001</c:v>
                </c:pt>
                <c:pt idx="13">
                  <c:v>239.9991</c:v>
                </c:pt>
                <c:pt idx="14">
                  <c:v>249.1223</c:v>
                </c:pt>
                <c:pt idx="15">
                  <c:v>259.82409999999999</c:v>
                </c:pt>
                <c:pt idx="16">
                  <c:v>280.45609999999999</c:v>
                </c:pt>
                <c:pt idx="17">
                  <c:v>296.31650000000002</c:v>
                </c:pt>
                <c:pt idx="18">
                  <c:v>316.07119999999998</c:v>
                </c:pt>
                <c:pt idx="19">
                  <c:v>329.2038</c:v>
                </c:pt>
                <c:pt idx="20">
                  <c:v>344.15949999999998</c:v>
                </c:pt>
                <c:pt idx="21">
                  <c:v>362.40066000000002</c:v>
                </c:pt>
                <c:pt idx="22">
                  <c:v>379.61820699999998</c:v>
                </c:pt>
                <c:pt idx="23">
                  <c:v>396.78875599999998</c:v>
                </c:pt>
                <c:pt idx="24">
                  <c:v>414.27195599999999</c:v>
                </c:pt>
                <c:pt idx="25">
                  <c:v>437.39964500000002</c:v>
                </c:pt>
                <c:pt idx="26">
                  <c:v>450.759809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47-410F-957F-E1AE0DC66252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25400">
              <a:solidFill>
                <a:srgbClr val="000000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80808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B$1:$AB$1</c:f>
              <c:numCache>
                <c:formatCode>General</c:formatCode>
                <c:ptCount val="27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</c:numCache>
            </c:numRef>
          </c:cat>
          <c:val>
            <c:numRef>
              <c:f>Sheet1!$B$3:$AB$3</c:f>
              <c:numCache>
                <c:formatCode>General</c:formatCode>
                <c:ptCount val="2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47-410F-957F-E1AE0DC662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04271776"/>
        <c:axId val="1"/>
      </c:lineChart>
      <c:catAx>
        <c:axId val="1204271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1"/>
        <c:crossesAt val="0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numFmt formatCode="#,##0" sourceLinked="0"/>
        <c:majorTickMark val="in"/>
        <c:minorTickMark val="in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1204271776"/>
        <c:crosses val="autoZero"/>
        <c:crossBetween val="midCat"/>
        <c:majorUnit val="5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0501193317422"/>
          <c:y val="6.4308681672025719E-2"/>
          <c:w val="0.85680190930787592"/>
          <c:h val="0.7588424437299035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25380">
              <a:solidFill>
                <a:srgbClr val="CC9900"/>
              </a:solidFill>
              <a:prstDash val="solid"/>
            </a:ln>
          </c:spPr>
          <c:marker>
            <c:symbol val="none"/>
          </c:marker>
          <c:cat>
            <c:numRef>
              <c:f>Sheet1!$C$1:$AC$1</c:f>
              <c:numCache>
                <c:formatCode>General</c:formatCode>
                <c:ptCount val="27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</c:numCache>
            </c:numRef>
          </c:cat>
          <c:val>
            <c:numRef>
              <c:f>Sheet1!$C$2:$AC$2</c:f>
              <c:numCache>
                <c:formatCode>General</c:formatCode>
                <c:ptCount val="27"/>
                <c:pt idx="0">
                  <c:v>31.70127243</c:v>
                </c:pt>
                <c:pt idx="1">
                  <c:v>33.103070000000002</c:v>
                </c:pt>
                <c:pt idx="2">
                  <c:v>33.408540000000002</c:v>
                </c:pt>
                <c:pt idx="3">
                  <c:v>33.887349999999998</c:v>
                </c:pt>
                <c:pt idx="4">
                  <c:v>36.10127</c:v>
                </c:pt>
                <c:pt idx="5">
                  <c:v>39.908969999999997</c:v>
                </c:pt>
                <c:pt idx="6">
                  <c:v>34.662080000000003</c:v>
                </c:pt>
                <c:pt idx="7">
                  <c:v>35.582389999999997</c:v>
                </c:pt>
                <c:pt idx="8">
                  <c:v>31.35134</c:v>
                </c:pt>
                <c:pt idx="9">
                  <c:v>35.57199</c:v>
                </c:pt>
                <c:pt idx="10">
                  <c:v>36.261870000000002</c:v>
                </c:pt>
                <c:pt idx="11">
                  <c:v>36.008710000000001</c:v>
                </c:pt>
                <c:pt idx="12">
                  <c:v>36.16301</c:v>
                </c:pt>
                <c:pt idx="13">
                  <c:v>44.388820000000003</c:v>
                </c:pt>
                <c:pt idx="14">
                  <c:v>37.949829999999999</c:v>
                </c:pt>
                <c:pt idx="15">
                  <c:v>40.1736</c:v>
                </c:pt>
                <c:pt idx="16">
                  <c:v>48.578850000000003</c:v>
                </c:pt>
                <c:pt idx="17">
                  <c:v>48.598999999999997</c:v>
                </c:pt>
                <c:pt idx="18">
                  <c:v>49.436999999999998</c:v>
                </c:pt>
                <c:pt idx="19">
                  <c:v>43.813969999999998</c:v>
                </c:pt>
                <c:pt idx="20">
                  <c:v>47.920949999999998</c:v>
                </c:pt>
                <c:pt idx="21">
                  <c:v>49.336933999999999</c:v>
                </c:pt>
                <c:pt idx="22">
                  <c:v>54.461788400000003</c:v>
                </c:pt>
                <c:pt idx="23">
                  <c:v>57.349698500000002</c:v>
                </c:pt>
                <c:pt idx="24">
                  <c:v>55.793350199999999</c:v>
                </c:pt>
                <c:pt idx="25">
                  <c:v>60.2759073</c:v>
                </c:pt>
                <c:pt idx="26">
                  <c:v>54.4395905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8E2-448E-B90F-0959A7B52FBA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25380">
              <a:solidFill>
                <a:srgbClr val="00000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80808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C$1:$AC$1</c:f>
              <c:numCache>
                <c:formatCode>General</c:formatCode>
                <c:ptCount val="27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</c:numCache>
            </c:numRef>
          </c:cat>
          <c:val>
            <c:numRef>
              <c:f>Sheet1!$C$3:$AC$3</c:f>
              <c:numCache>
                <c:formatCode>General</c:formatCode>
                <c:ptCount val="2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8E2-448E-B90F-0959A7B52FBA}"/>
            </c:ext>
          </c:extLst>
        </c:ser>
        <c:ser>
          <c:idx val="3"/>
          <c:order val="2"/>
          <c:tx>
            <c:strRef>
              <c:f>Sheet1!$A$4</c:f>
              <c:strCache>
                <c:ptCount val="1"/>
              </c:strCache>
            </c:strRef>
          </c:tx>
          <c:spPr>
            <a:ln w="25400">
              <a:solidFill>
                <a:srgbClr val="000000"/>
              </a:solidFill>
              <a:prstDash val="solid"/>
            </a:ln>
          </c:spPr>
          <c:marker>
            <c:symbol val="none"/>
          </c:marker>
          <c:cat>
            <c:numRef>
              <c:f>Sheet1!$C$1:$AC$1</c:f>
              <c:numCache>
                <c:formatCode>General</c:formatCode>
                <c:ptCount val="27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</c:numCache>
            </c:numRef>
          </c:cat>
          <c:val>
            <c:numRef>
              <c:f>Sheet1!$C$4:$AC$4</c:f>
              <c:numCache>
                <c:formatCode>General</c:formatCode>
                <c:ptCount val="27"/>
                <c:pt idx="0">
                  <c:v>16.901507120000002</c:v>
                </c:pt>
                <c:pt idx="1">
                  <c:v>16.989409999999999</c:v>
                </c:pt>
                <c:pt idx="2">
                  <c:v>19.29102</c:v>
                </c:pt>
                <c:pt idx="3">
                  <c:v>20.27974</c:v>
                </c:pt>
                <c:pt idx="4">
                  <c:v>18.445910000000001</c:v>
                </c:pt>
                <c:pt idx="5">
                  <c:v>20.042390000000001</c:v>
                </c:pt>
                <c:pt idx="6">
                  <c:v>21.905729999999998</c:v>
                </c:pt>
                <c:pt idx="7">
                  <c:v>22.094799999999999</c:v>
                </c:pt>
                <c:pt idx="8">
                  <c:v>20.930579999999999</c:v>
                </c:pt>
                <c:pt idx="9">
                  <c:v>21.664149999999999</c:v>
                </c:pt>
                <c:pt idx="10">
                  <c:v>20.135590000000001</c:v>
                </c:pt>
                <c:pt idx="11">
                  <c:v>17.429279999999999</c:v>
                </c:pt>
                <c:pt idx="12">
                  <c:v>18.037289999999999</c:v>
                </c:pt>
                <c:pt idx="13">
                  <c:v>16.029299999999999</c:v>
                </c:pt>
                <c:pt idx="14">
                  <c:v>17.66329</c:v>
                </c:pt>
                <c:pt idx="15">
                  <c:v>18.08681</c:v>
                </c:pt>
                <c:pt idx="16">
                  <c:v>19.08455</c:v>
                </c:pt>
                <c:pt idx="17">
                  <c:v>19.491119999999999</c:v>
                </c:pt>
                <c:pt idx="18">
                  <c:v>20.99145</c:v>
                </c:pt>
                <c:pt idx="19">
                  <c:v>19.425339999999998</c:v>
                </c:pt>
                <c:pt idx="20">
                  <c:v>21.18431</c:v>
                </c:pt>
                <c:pt idx="21">
                  <c:v>18.916751999999999</c:v>
                </c:pt>
                <c:pt idx="22">
                  <c:v>22.430440099999998</c:v>
                </c:pt>
                <c:pt idx="23">
                  <c:v>23.8039369</c:v>
                </c:pt>
                <c:pt idx="24">
                  <c:v>21.523909700000001</c:v>
                </c:pt>
                <c:pt idx="25">
                  <c:v>23.2024413</c:v>
                </c:pt>
                <c:pt idx="26">
                  <c:v>23.03213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8E2-448E-B90F-0959A7B52FBA}"/>
            </c:ext>
          </c:extLst>
        </c:ser>
        <c:ser>
          <c:idx val="1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 w="12690">
              <a:solidFill>
                <a:srgbClr val="000000"/>
              </a:solidFill>
              <a:prstDash val="solid"/>
            </a:ln>
          </c:spPr>
          <c:marker>
            <c:symbol val="square"/>
            <c:size val="4"/>
            <c:spPr>
              <a:solidFill>
                <a:srgbClr val="80808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C$1:$AC$1</c:f>
              <c:numCache>
                <c:formatCode>General</c:formatCode>
                <c:ptCount val="27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</c:numCache>
            </c:numRef>
          </c:cat>
          <c:val>
            <c:numRef>
              <c:f>Sheet1!$C$5:$AC$5</c:f>
              <c:numCache>
                <c:formatCode>General</c:formatCode>
                <c:ptCount val="2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8E2-448E-B90F-0959A7B52F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4248272"/>
        <c:axId val="1"/>
      </c:lineChart>
      <c:catAx>
        <c:axId val="394248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2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1"/>
        <c:crossesAt val="0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  <c:max val="70"/>
          <c:min val="0"/>
        </c:scaling>
        <c:delete val="0"/>
        <c:axPos val="l"/>
        <c:numFmt formatCode="General" sourceLinked="1"/>
        <c:majorTickMark val="in"/>
        <c:minorTickMark val="in"/>
        <c:tickLblPos val="nextTo"/>
        <c:spPr>
          <a:ln w="317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394248272"/>
        <c:crosses val="autoZero"/>
        <c:crossBetween val="midCat"/>
      </c:valAx>
      <c:spPr>
        <a:noFill/>
        <a:ln w="2538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56914697373464"/>
          <c:y val="9.5982142857142863E-2"/>
          <c:w val="0.78270063975706416"/>
          <c:h val="0.8883928571428571"/>
        </c:manualLayout>
      </c:layout>
      <c:scatterChart>
        <c:scatterStyle val="lineMarker"/>
        <c:varyColors val="0"/>
        <c:ser>
          <c:idx val="8"/>
          <c:order val="0"/>
          <c:tx>
            <c:strRef>
              <c:f>Sheet1!$B$1</c:f>
              <c:strCache>
                <c:ptCount val="1"/>
                <c:pt idx="0">
                  <c:v>Kohorta 2000-2004</c:v>
                </c:pt>
              </c:strCache>
            </c:strRef>
          </c:tx>
          <c:spPr>
            <a:ln w="19050">
              <a:noFill/>
            </a:ln>
          </c:spPr>
          <c:marker>
            <c:symbol val="circle"/>
            <c:size val="8"/>
            <c:spPr>
              <a:solidFill>
                <a:srgbClr val="C00000"/>
              </a:solidFill>
              <a:ln>
                <a:solidFill>
                  <a:srgbClr val="C00000"/>
                </a:solidFill>
                <a:prstDash val="solid"/>
              </a:ln>
            </c:spPr>
          </c:marker>
          <c:xVal>
            <c:numRef>
              <c:f>Sheet1!$A$2:$A$26</c:f>
              <c:numCache>
                <c:formatCode>General</c:formatCode>
                <c:ptCount val="25"/>
                <c:pt idx="0">
                  <c:v>0.91520000000000001</c:v>
                </c:pt>
                <c:pt idx="1">
                  <c:v>0.88700000000000001</c:v>
                </c:pt>
                <c:pt idx="2">
                  <c:v>0.82099999999999995</c:v>
                </c:pt>
                <c:pt idx="3">
                  <c:v>0.90200000000000002</c:v>
                </c:pt>
                <c:pt idx="4">
                  <c:v>0.81</c:v>
                </c:pt>
                <c:pt idx="5">
                  <c:v>0.77200000000000002</c:v>
                </c:pt>
                <c:pt idx="6">
                  <c:v>0.76700000000000002</c:v>
                </c:pt>
                <c:pt idx="7">
                  <c:v>0.61299999999999999</c:v>
                </c:pt>
                <c:pt idx="8">
                  <c:v>0.52100000000000002</c:v>
                </c:pt>
                <c:pt idx="9">
                  <c:v>0.67700000000000005</c:v>
                </c:pt>
                <c:pt idx="10">
                  <c:v>0.66900000000000004</c:v>
                </c:pt>
                <c:pt idx="11">
                  <c:v>0.58599999999999997</c:v>
                </c:pt>
                <c:pt idx="12">
                  <c:v>0.50600000000000001</c:v>
                </c:pt>
                <c:pt idx="13">
                  <c:v>0.58299999999999996</c:v>
                </c:pt>
                <c:pt idx="14">
                  <c:v>0.40200000000000002</c:v>
                </c:pt>
                <c:pt idx="15">
                  <c:v>0.371</c:v>
                </c:pt>
                <c:pt idx="16">
                  <c:v>0.33800000000000002</c:v>
                </c:pt>
                <c:pt idx="17">
                  <c:v>0.30399999999999999</c:v>
                </c:pt>
                <c:pt idx="18">
                  <c:v>0.183</c:v>
                </c:pt>
                <c:pt idx="19">
                  <c:v>0.16</c:v>
                </c:pt>
                <c:pt idx="20">
                  <c:v>9.5000000000000001E-2</c:v>
                </c:pt>
                <c:pt idx="21">
                  <c:v>2.4E-2</c:v>
                </c:pt>
                <c:pt idx="22">
                  <c:v>7.0000000000000007E-2</c:v>
                </c:pt>
                <c:pt idx="23">
                  <c:v>5.7000000000000002E-2</c:v>
                </c:pt>
                <c:pt idx="24">
                  <c:v>2.8000000000000001E-2</c:v>
                </c:pt>
              </c:numCache>
            </c:numRef>
          </c:xVal>
          <c:yVal>
            <c:numRef>
              <c:f>Sheet1!$B$2:$B$2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55-4B86-BABD-9343ACD16095}"/>
            </c:ext>
          </c:extLst>
        </c:ser>
        <c:ser>
          <c:idx val="0"/>
          <c:order val="1"/>
          <c:tx>
            <c:strRef>
              <c:f>Sheet1!$D$1</c:f>
              <c:strCache>
                <c:ptCount val="1"/>
                <c:pt idx="0">
                  <c:v>Perioda 2015-2019</c:v>
                </c:pt>
              </c:strCache>
            </c:strRef>
          </c:tx>
          <c:spPr>
            <a:ln w="19050">
              <a:noFill/>
            </a:ln>
          </c:spPr>
          <c:marker>
            <c:symbol val="square"/>
            <c:size val="8"/>
            <c:spPr>
              <a:solidFill>
                <a:srgbClr val="FFC000"/>
              </a:solidFill>
              <a:ln>
                <a:solidFill>
                  <a:srgbClr val="C00000"/>
                </a:solidFill>
                <a:prstDash val="solid"/>
              </a:ln>
            </c:spPr>
          </c:marker>
          <c:xVal>
            <c:numRef>
              <c:f>Sheet1!$A$52:$A$76</c:f>
              <c:numCache>
                <c:formatCode>General</c:formatCode>
                <c:ptCount val="25"/>
                <c:pt idx="0">
                  <c:v>0.96099999999999997</c:v>
                </c:pt>
                <c:pt idx="1">
                  <c:v>0.96</c:v>
                </c:pt>
                <c:pt idx="2">
                  <c:v>0.95399999999999996</c:v>
                </c:pt>
                <c:pt idx="3">
                  <c:v>0.91600000000000004</c:v>
                </c:pt>
                <c:pt idx="4">
                  <c:v>0.89700000000000002</c:v>
                </c:pt>
                <c:pt idx="5">
                  <c:v>0.86299999999999999</c:v>
                </c:pt>
                <c:pt idx="6">
                  <c:v>0.80800000000000005</c:v>
                </c:pt>
                <c:pt idx="7">
                  <c:v>0.73499999999999999</c:v>
                </c:pt>
                <c:pt idx="8">
                  <c:v>0.70799999999999996</c:v>
                </c:pt>
                <c:pt idx="9">
                  <c:v>0.67200000000000004</c:v>
                </c:pt>
                <c:pt idx="10">
                  <c:v>0.61699999999999999</c:v>
                </c:pt>
                <c:pt idx="11">
                  <c:v>0.61199999999999999</c:v>
                </c:pt>
                <c:pt idx="12">
                  <c:v>0.60899999999999999</c:v>
                </c:pt>
                <c:pt idx="13">
                  <c:v>0.57399999999999995</c:v>
                </c:pt>
                <c:pt idx="14">
                  <c:v>0.47699999999999998</c:v>
                </c:pt>
                <c:pt idx="15">
                  <c:v>0.44700000000000001</c:v>
                </c:pt>
                <c:pt idx="16">
                  <c:v>0.41399999999999998</c:v>
                </c:pt>
                <c:pt idx="17">
                  <c:v>0.39400000000000002</c:v>
                </c:pt>
                <c:pt idx="18">
                  <c:v>0.28199999999999997</c:v>
                </c:pt>
                <c:pt idx="19">
                  <c:v>0.17899999999999999</c:v>
                </c:pt>
                <c:pt idx="20">
                  <c:v>0.17</c:v>
                </c:pt>
                <c:pt idx="21">
                  <c:v>0.13300000000000001</c:v>
                </c:pt>
                <c:pt idx="22">
                  <c:v>0.111</c:v>
                </c:pt>
                <c:pt idx="23">
                  <c:v>0.107</c:v>
                </c:pt>
                <c:pt idx="24">
                  <c:v>5.7000000000000002E-2</c:v>
                </c:pt>
              </c:numCache>
            </c:numRef>
          </c:xVal>
          <c:yVal>
            <c:numRef>
              <c:f>Sheet1!$D$52:$D$76</c:f>
              <c:numCache>
                <c:formatCode>General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455-4B86-BABD-9343ACD16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8932352"/>
        <c:axId val="1"/>
        <c:extLst>
          <c:ext xmlns:c15="http://schemas.microsoft.com/office/drawing/2012/chart" uri="{02D57815-91ED-43cb-92C2-25804820EDAC}">
            <c15:filteredScatte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plus"/>
                  <c:size val="6"/>
                  <c:spPr>
                    <a:noFill/>
                    <a:ln>
                      <a:solidFill>
                        <a:srgbClr val="C00000"/>
                      </a:solidFill>
                    </a:ln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Sheet1!$A$59:$A$77</c15:sqref>
                        </c15:formulaRef>
                      </c:ext>
                    </c:extLst>
                    <c:numCache>
                      <c:formatCode>General</c:formatCode>
                      <c:ptCount val="19"/>
                      <c:pt idx="0">
                        <c:v>0.73499999999999999</c:v>
                      </c:pt>
                      <c:pt idx="1">
                        <c:v>0.70799999999999996</c:v>
                      </c:pt>
                      <c:pt idx="2">
                        <c:v>0.67200000000000004</c:v>
                      </c:pt>
                      <c:pt idx="3">
                        <c:v>0.61699999999999999</c:v>
                      </c:pt>
                      <c:pt idx="4">
                        <c:v>0.61199999999999999</c:v>
                      </c:pt>
                      <c:pt idx="5">
                        <c:v>0.60899999999999999</c:v>
                      </c:pt>
                      <c:pt idx="6">
                        <c:v>0.57399999999999995</c:v>
                      </c:pt>
                      <c:pt idx="7">
                        <c:v>0.47699999999999998</c:v>
                      </c:pt>
                      <c:pt idx="8">
                        <c:v>0.44700000000000001</c:v>
                      </c:pt>
                      <c:pt idx="9">
                        <c:v>0.41399999999999998</c:v>
                      </c:pt>
                      <c:pt idx="10">
                        <c:v>0.39400000000000002</c:v>
                      </c:pt>
                      <c:pt idx="11">
                        <c:v>0.28199999999999997</c:v>
                      </c:pt>
                      <c:pt idx="12">
                        <c:v>0.17899999999999999</c:v>
                      </c:pt>
                      <c:pt idx="13">
                        <c:v>0.17</c:v>
                      </c:pt>
                      <c:pt idx="14">
                        <c:v>0.13300000000000001</c:v>
                      </c:pt>
                      <c:pt idx="15">
                        <c:v>0.111</c:v>
                      </c:pt>
                      <c:pt idx="16">
                        <c:v>0.107</c:v>
                      </c:pt>
                      <c:pt idx="17">
                        <c:v>5.7000000000000002E-2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20F5-4966-9C6C-4ADAFC8366C3}"/>
                  </c:ext>
                </c:extLst>
              </c15:ser>
            </c15:filteredScatterSeries>
            <c15:filteredScatterSeries>
              <c15:ser>
                <c:idx val="1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19050">
                    <a:noFill/>
                  </a:ln>
                </c:spPr>
                <c:marker>
                  <c:symbol val="plus"/>
                  <c:size val="6"/>
                  <c:spPr>
                    <a:noFill/>
                    <a:ln>
                      <a:solidFill>
                        <a:srgbClr val="C00000"/>
                      </a:solidFill>
                    </a:ln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78:$A$96</c15:sqref>
                        </c15:formulaRef>
                      </c:ext>
                    </c:extLst>
                    <c:numCache>
                      <c:formatCode>General</c:formatCode>
                      <c:ptCount val="19"/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1-0E0A-45F8-A7D3-F9E8CAE758E8}"/>
                  </c:ext>
                </c:extLst>
              </c15:ser>
            </c15:filteredScatterSeries>
          </c:ext>
        </c:extLst>
      </c:scatterChart>
      <c:valAx>
        <c:axId val="1458932352"/>
        <c:scaling>
          <c:orientation val="minMax"/>
          <c:max val="1"/>
          <c:min val="0"/>
        </c:scaling>
        <c:delete val="0"/>
        <c:axPos val="t"/>
        <c:majorGridlines>
          <c:spPr>
            <a:ln w="9525">
              <a:solidFill>
                <a:srgbClr val="C0C0C0"/>
              </a:solidFill>
              <a:prstDash val="sysDash"/>
            </a:ln>
          </c:spPr>
        </c:majorGridlines>
        <c:numFmt formatCode="0\ %" sourceLinked="0"/>
        <c:majorTickMark val="out"/>
        <c:minorTickMark val="none"/>
        <c:tickLblPos val="nextTo"/>
        <c:spPr>
          <a:ln w="316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cs-CZ"/>
          </a:p>
        </c:txPr>
        <c:crossAx val="1"/>
        <c:crosses val="autoZero"/>
        <c:crossBetween val="midCat"/>
        <c:majorUnit val="0.2"/>
      </c:valAx>
      <c:valAx>
        <c:axId val="1"/>
        <c:scaling>
          <c:orientation val="maxMin"/>
          <c:max val="25"/>
          <c:min val="0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6330">
            <a:noFill/>
          </a:ln>
        </c:spPr>
        <c:crossAx val="1458932352"/>
        <c:crosses val="autoZero"/>
        <c:crossBetween val="midCat"/>
        <c:majorUnit val="1"/>
      </c:valAx>
      <c:spPr>
        <a:noFill/>
        <a:ln w="253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7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B$2:$B$781</c:f>
              <c:numCache>
                <c:formatCode>General</c:formatCode>
                <c:ptCount val="78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81D-44D2-A874-08A3AF9633F1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C$2:$C$781</c:f>
              <c:numCache>
                <c:formatCode>General</c:formatCode>
                <c:ptCount val="780"/>
                <c:pt idx="26">
                  <c:v>1</c:v>
                </c:pt>
                <c:pt idx="27">
                  <c:v>2</c:v>
                </c:pt>
                <c:pt idx="28">
                  <c:v>3</c:v>
                </c:pt>
                <c:pt idx="29">
                  <c:v>4</c:v>
                </c:pt>
                <c:pt idx="30">
                  <c:v>5</c:v>
                </c:pt>
                <c:pt idx="31">
                  <c:v>6</c:v>
                </c:pt>
                <c:pt idx="32">
                  <c:v>7</c:v>
                </c:pt>
                <c:pt idx="33">
                  <c:v>8</c:v>
                </c:pt>
                <c:pt idx="34">
                  <c:v>9</c:v>
                </c:pt>
                <c:pt idx="35">
                  <c:v>10</c:v>
                </c:pt>
                <c:pt idx="36">
                  <c:v>11</c:v>
                </c:pt>
                <c:pt idx="37">
                  <c:v>12</c:v>
                </c:pt>
                <c:pt idx="38">
                  <c:v>13</c:v>
                </c:pt>
                <c:pt idx="39">
                  <c:v>14</c:v>
                </c:pt>
                <c:pt idx="40">
                  <c:v>15</c:v>
                </c:pt>
                <c:pt idx="41">
                  <c:v>16</c:v>
                </c:pt>
                <c:pt idx="42">
                  <c:v>17</c:v>
                </c:pt>
                <c:pt idx="43">
                  <c:v>18</c:v>
                </c:pt>
                <c:pt idx="44">
                  <c:v>19</c:v>
                </c:pt>
                <c:pt idx="45">
                  <c:v>20</c:v>
                </c:pt>
                <c:pt idx="46">
                  <c:v>21</c:v>
                </c:pt>
                <c:pt idx="47">
                  <c:v>22</c:v>
                </c:pt>
                <c:pt idx="48">
                  <c:v>23</c:v>
                </c:pt>
                <c:pt idx="49">
                  <c:v>24</c:v>
                </c:pt>
                <c:pt idx="50">
                  <c:v>25</c:v>
                </c:pt>
                <c:pt idx="51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81D-44D2-A874-08A3AF9633F1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3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D$2:$D$781</c:f>
              <c:numCache>
                <c:formatCode>General</c:formatCode>
                <c:ptCount val="780"/>
                <c:pt idx="52">
                  <c:v>1</c:v>
                </c:pt>
                <c:pt idx="53">
                  <c:v>2</c:v>
                </c:pt>
                <c:pt idx="54">
                  <c:v>3</c:v>
                </c:pt>
                <c:pt idx="55">
                  <c:v>4</c:v>
                </c:pt>
                <c:pt idx="56">
                  <c:v>5</c:v>
                </c:pt>
                <c:pt idx="57">
                  <c:v>6</c:v>
                </c:pt>
                <c:pt idx="58">
                  <c:v>7</c:v>
                </c:pt>
                <c:pt idx="59">
                  <c:v>8</c:v>
                </c:pt>
                <c:pt idx="60">
                  <c:v>9</c:v>
                </c:pt>
                <c:pt idx="61">
                  <c:v>10</c:v>
                </c:pt>
                <c:pt idx="62">
                  <c:v>11</c:v>
                </c:pt>
                <c:pt idx="63">
                  <c:v>12</c:v>
                </c:pt>
                <c:pt idx="64">
                  <c:v>13</c:v>
                </c:pt>
                <c:pt idx="65">
                  <c:v>14</c:v>
                </c:pt>
                <c:pt idx="66">
                  <c:v>15</c:v>
                </c:pt>
                <c:pt idx="67">
                  <c:v>16</c:v>
                </c:pt>
                <c:pt idx="68">
                  <c:v>17</c:v>
                </c:pt>
                <c:pt idx="69">
                  <c:v>18</c:v>
                </c:pt>
                <c:pt idx="70">
                  <c:v>19</c:v>
                </c:pt>
                <c:pt idx="71">
                  <c:v>20</c:v>
                </c:pt>
                <c:pt idx="72">
                  <c:v>21</c:v>
                </c:pt>
                <c:pt idx="73">
                  <c:v>22</c:v>
                </c:pt>
                <c:pt idx="74">
                  <c:v>23</c:v>
                </c:pt>
                <c:pt idx="75">
                  <c:v>24</c:v>
                </c:pt>
                <c:pt idx="76">
                  <c:v>25</c:v>
                </c:pt>
                <c:pt idx="77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81D-44D2-A874-08A3AF9633F1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4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E$2:$E$781</c:f>
              <c:numCache>
                <c:formatCode>General</c:formatCode>
                <c:ptCount val="780"/>
                <c:pt idx="78">
                  <c:v>1</c:v>
                </c:pt>
                <c:pt idx="79">
                  <c:v>2</c:v>
                </c:pt>
                <c:pt idx="80">
                  <c:v>3</c:v>
                </c:pt>
                <c:pt idx="81">
                  <c:v>4</c:v>
                </c:pt>
                <c:pt idx="82">
                  <c:v>5</c:v>
                </c:pt>
                <c:pt idx="83">
                  <c:v>6</c:v>
                </c:pt>
                <c:pt idx="84">
                  <c:v>7</c:v>
                </c:pt>
                <c:pt idx="85">
                  <c:v>8</c:v>
                </c:pt>
                <c:pt idx="86">
                  <c:v>9</c:v>
                </c:pt>
                <c:pt idx="87">
                  <c:v>10</c:v>
                </c:pt>
                <c:pt idx="88">
                  <c:v>11</c:v>
                </c:pt>
                <c:pt idx="89">
                  <c:v>12</c:v>
                </c:pt>
                <c:pt idx="90">
                  <c:v>13</c:v>
                </c:pt>
                <c:pt idx="91">
                  <c:v>14</c:v>
                </c:pt>
                <c:pt idx="92">
                  <c:v>15</c:v>
                </c:pt>
                <c:pt idx="93">
                  <c:v>16</c:v>
                </c:pt>
                <c:pt idx="94">
                  <c:v>17</c:v>
                </c:pt>
                <c:pt idx="95">
                  <c:v>18</c:v>
                </c:pt>
                <c:pt idx="96">
                  <c:v>19</c:v>
                </c:pt>
                <c:pt idx="97">
                  <c:v>20</c:v>
                </c:pt>
                <c:pt idx="98">
                  <c:v>21</c:v>
                </c:pt>
                <c:pt idx="99">
                  <c:v>22</c:v>
                </c:pt>
                <c:pt idx="100">
                  <c:v>23</c:v>
                </c:pt>
                <c:pt idx="101">
                  <c:v>24</c:v>
                </c:pt>
                <c:pt idx="102">
                  <c:v>25</c:v>
                </c:pt>
                <c:pt idx="103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081D-44D2-A874-08A3AF9633F1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5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F$2:$F$781</c:f>
              <c:numCache>
                <c:formatCode>General</c:formatCode>
                <c:ptCount val="780"/>
                <c:pt idx="104">
                  <c:v>1</c:v>
                </c:pt>
                <c:pt idx="105">
                  <c:v>2</c:v>
                </c:pt>
                <c:pt idx="106">
                  <c:v>3</c:v>
                </c:pt>
                <c:pt idx="107">
                  <c:v>4</c:v>
                </c:pt>
                <c:pt idx="108">
                  <c:v>5</c:v>
                </c:pt>
                <c:pt idx="109">
                  <c:v>6</c:v>
                </c:pt>
                <c:pt idx="110">
                  <c:v>7</c:v>
                </c:pt>
                <c:pt idx="111">
                  <c:v>8</c:v>
                </c:pt>
                <c:pt idx="112">
                  <c:v>9</c:v>
                </c:pt>
                <c:pt idx="113">
                  <c:v>10</c:v>
                </c:pt>
                <c:pt idx="114">
                  <c:v>11</c:v>
                </c:pt>
                <c:pt idx="115">
                  <c:v>12</c:v>
                </c:pt>
                <c:pt idx="116">
                  <c:v>13</c:v>
                </c:pt>
                <c:pt idx="117">
                  <c:v>14</c:v>
                </c:pt>
                <c:pt idx="118">
                  <c:v>15</c:v>
                </c:pt>
                <c:pt idx="119">
                  <c:v>16</c:v>
                </c:pt>
                <c:pt idx="120">
                  <c:v>17</c:v>
                </c:pt>
                <c:pt idx="121">
                  <c:v>18</c:v>
                </c:pt>
                <c:pt idx="122">
                  <c:v>19</c:v>
                </c:pt>
                <c:pt idx="123">
                  <c:v>20</c:v>
                </c:pt>
                <c:pt idx="124">
                  <c:v>21</c:v>
                </c:pt>
                <c:pt idx="125">
                  <c:v>22</c:v>
                </c:pt>
                <c:pt idx="126">
                  <c:v>23</c:v>
                </c:pt>
                <c:pt idx="127">
                  <c:v>24</c:v>
                </c:pt>
                <c:pt idx="128">
                  <c:v>25</c:v>
                </c:pt>
                <c:pt idx="129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081D-44D2-A874-08A3AF9633F1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6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G$2:$G$781</c:f>
              <c:numCache>
                <c:formatCode>General</c:formatCode>
                <c:ptCount val="780"/>
                <c:pt idx="130">
                  <c:v>1</c:v>
                </c:pt>
                <c:pt idx="131">
                  <c:v>2</c:v>
                </c:pt>
                <c:pt idx="132">
                  <c:v>3</c:v>
                </c:pt>
                <c:pt idx="133">
                  <c:v>4</c:v>
                </c:pt>
                <c:pt idx="134">
                  <c:v>5</c:v>
                </c:pt>
                <c:pt idx="135">
                  <c:v>6</c:v>
                </c:pt>
                <c:pt idx="136">
                  <c:v>7</c:v>
                </c:pt>
                <c:pt idx="137">
                  <c:v>8</c:v>
                </c:pt>
                <c:pt idx="138">
                  <c:v>9</c:v>
                </c:pt>
                <c:pt idx="139">
                  <c:v>10</c:v>
                </c:pt>
                <c:pt idx="140">
                  <c:v>11</c:v>
                </c:pt>
                <c:pt idx="141">
                  <c:v>12</c:v>
                </c:pt>
                <c:pt idx="142">
                  <c:v>13</c:v>
                </c:pt>
                <c:pt idx="143">
                  <c:v>14</c:v>
                </c:pt>
                <c:pt idx="144">
                  <c:v>15</c:v>
                </c:pt>
                <c:pt idx="145">
                  <c:v>16</c:v>
                </c:pt>
                <c:pt idx="146">
                  <c:v>17</c:v>
                </c:pt>
                <c:pt idx="147">
                  <c:v>18</c:v>
                </c:pt>
                <c:pt idx="148">
                  <c:v>19</c:v>
                </c:pt>
                <c:pt idx="149">
                  <c:v>20</c:v>
                </c:pt>
                <c:pt idx="150">
                  <c:v>21</c:v>
                </c:pt>
                <c:pt idx="151">
                  <c:v>22</c:v>
                </c:pt>
                <c:pt idx="152">
                  <c:v>23</c:v>
                </c:pt>
                <c:pt idx="153">
                  <c:v>24</c:v>
                </c:pt>
                <c:pt idx="154">
                  <c:v>25</c:v>
                </c:pt>
                <c:pt idx="155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081D-44D2-A874-08A3AF9633F1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7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H$2:$H$781</c:f>
              <c:numCache>
                <c:formatCode>General</c:formatCode>
                <c:ptCount val="780"/>
                <c:pt idx="156">
                  <c:v>1</c:v>
                </c:pt>
                <c:pt idx="157">
                  <c:v>2</c:v>
                </c:pt>
                <c:pt idx="158">
                  <c:v>3</c:v>
                </c:pt>
                <c:pt idx="159">
                  <c:v>4</c:v>
                </c:pt>
                <c:pt idx="160">
                  <c:v>5</c:v>
                </c:pt>
                <c:pt idx="161">
                  <c:v>6</c:v>
                </c:pt>
                <c:pt idx="162">
                  <c:v>7</c:v>
                </c:pt>
                <c:pt idx="163">
                  <c:v>8</c:v>
                </c:pt>
                <c:pt idx="164">
                  <c:v>9</c:v>
                </c:pt>
                <c:pt idx="165">
                  <c:v>10</c:v>
                </c:pt>
                <c:pt idx="166">
                  <c:v>11</c:v>
                </c:pt>
                <c:pt idx="167">
                  <c:v>12</c:v>
                </c:pt>
                <c:pt idx="168">
                  <c:v>13</c:v>
                </c:pt>
                <c:pt idx="169">
                  <c:v>14</c:v>
                </c:pt>
                <c:pt idx="170">
                  <c:v>15</c:v>
                </c:pt>
                <c:pt idx="171">
                  <c:v>16</c:v>
                </c:pt>
                <c:pt idx="172">
                  <c:v>17</c:v>
                </c:pt>
                <c:pt idx="173">
                  <c:v>18</c:v>
                </c:pt>
                <c:pt idx="174">
                  <c:v>19</c:v>
                </c:pt>
                <c:pt idx="175">
                  <c:v>20</c:v>
                </c:pt>
                <c:pt idx="176">
                  <c:v>21</c:v>
                </c:pt>
                <c:pt idx="177">
                  <c:v>22</c:v>
                </c:pt>
                <c:pt idx="178">
                  <c:v>23</c:v>
                </c:pt>
                <c:pt idx="179">
                  <c:v>24</c:v>
                </c:pt>
                <c:pt idx="180">
                  <c:v>25</c:v>
                </c:pt>
                <c:pt idx="181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081D-44D2-A874-08A3AF9633F1}"/>
            </c:ext>
          </c:extLst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8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I$2:$I$781</c:f>
              <c:numCache>
                <c:formatCode>General</c:formatCode>
                <c:ptCount val="780"/>
                <c:pt idx="182">
                  <c:v>1</c:v>
                </c:pt>
                <c:pt idx="183">
                  <c:v>2</c:v>
                </c:pt>
                <c:pt idx="184">
                  <c:v>3</c:v>
                </c:pt>
                <c:pt idx="185">
                  <c:v>4</c:v>
                </c:pt>
                <c:pt idx="186">
                  <c:v>5</c:v>
                </c:pt>
                <c:pt idx="187">
                  <c:v>6</c:v>
                </c:pt>
                <c:pt idx="188">
                  <c:v>7</c:v>
                </c:pt>
                <c:pt idx="189">
                  <c:v>8</c:v>
                </c:pt>
                <c:pt idx="190">
                  <c:v>9</c:v>
                </c:pt>
                <c:pt idx="191">
                  <c:v>10</c:v>
                </c:pt>
                <c:pt idx="192">
                  <c:v>11</c:v>
                </c:pt>
                <c:pt idx="193">
                  <c:v>12</c:v>
                </c:pt>
                <c:pt idx="194">
                  <c:v>13</c:v>
                </c:pt>
                <c:pt idx="195">
                  <c:v>14</c:v>
                </c:pt>
                <c:pt idx="196">
                  <c:v>15</c:v>
                </c:pt>
                <c:pt idx="197">
                  <c:v>16</c:v>
                </c:pt>
                <c:pt idx="198">
                  <c:v>17</c:v>
                </c:pt>
                <c:pt idx="199">
                  <c:v>18</c:v>
                </c:pt>
                <c:pt idx="200">
                  <c:v>19</c:v>
                </c:pt>
                <c:pt idx="201">
                  <c:v>20</c:v>
                </c:pt>
                <c:pt idx="202">
                  <c:v>21</c:v>
                </c:pt>
                <c:pt idx="203">
                  <c:v>22</c:v>
                </c:pt>
                <c:pt idx="204">
                  <c:v>23</c:v>
                </c:pt>
                <c:pt idx="205">
                  <c:v>24</c:v>
                </c:pt>
                <c:pt idx="206">
                  <c:v>25</c:v>
                </c:pt>
                <c:pt idx="207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081D-44D2-A874-08A3AF9633F1}"/>
            </c:ext>
          </c:extLst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9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J$2:$J$781</c:f>
              <c:numCache>
                <c:formatCode>General</c:formatCode>
                <c:ptCount val="780"/>
                <c:pt idx="208">
                  <c:v>1</c:v>
                </c:pt>
                <c:pt idx="209">
                  <c:v>2</c:v>
                </c:pt>
                <c:pt idx="210">
                  <c:v>3</c:v>
                </c:pt>
                <c:pt idx="211">
                  <c:v>4</c:v>
                </c:pt>
                <c:pt idx="212">
                  <c:v>5</c:v>
                </c:pt>
                <c:pt idx="213">
                  <c:v>6</c:v>
                </c:pt>
                <c:pt idx="214">
                  <c:v>7</c:v>
                </c:pt>
                <c:pt idx="215">
                  <c:v>8</c:v>
                </c:pt>
                <c:pt idx="216">
                  <c:v>9</c:v>
                </c:pt>
                <c:pt idx="217">
                  <c:v>10</c:v>
                </c:pt>
                <c:pt idx="218">
                  <c:v>11</c:v>
                </c:pt>
                <c:pt idx="219">
                  <c:v>12</c:v>
                </c:pt>
                <c:pt idx="220">
                  <c:v>13</c:v>
                </c:pt>
                <c:pt idx="221">
                  <c:v>14</c:v>
                </c:pt>
                <c:pt idx="222">
                  <c:v>15</c:v>
                </c:pt>
                <c:pt idx="223">
                  <c:v>16</c:v>
                </c:pt>
                <c:pt idx="224">
                  <c:v>17</c:v>
                </c:pt>
                <c:pt idx="225">
                  <c:v>18</c:v>
                </c:pt>
                <c:pt idx="226">
                  <c:v>19</c:v>
                </c:pt>
                <c:pt idx="227">
                  <c:v>20</c:v>
                </c:pt>
                <c:pt idx="228">
                  <c:v>21</c:v>
                </c:pt>
                <c:pt idx="229">
                  <c:v>22</c:v>
                </c:pt>
                <c:pt idx="230">
                  <c:v>23</c:v>
                </c:pt>
                <c:pt idx="231">
                  <c:v>24</c:v>
                </c:pt>
                <c:pt idx="232">
                  <c:v>25</c:v>
                </c:pt>
                <c:pt idx="233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081D-44D2-A874-08A3AF9633F1}"/>
            </c:ext>
          </c:extLst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10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K$2:$K$781</c:f>
              <c:numCache>
                <c:formatCode>General</c:formatCode>
                <c:ptCount val="780"/>
                <c:pt idx="234">
                  <c:v>1</c:v>
                </c:pt>
                <c:pt idx="235">
                  <c:v>2</c:v>
                </c:pt>
                <c:pt idx="236">
                  <c:v>3</c:v>
                </c:pt>
                <c:pt idx="237">
                  <c:v>4</c:v>
                </c:pt>
                <c:pt idx="238">
                  <c:v>5</c:v>
                </c:pt>
                <c:pt idx="239">
                  <c:v>6</c:v>
                </c:pt>
                <c:pt idx="240">
                  <c:v>7</c:v>
                </c:pt>
                <c:pt idx="241">
                  <c:v>8</c:v>
                </c:pt>
                <c:pt idx="242">
                  <c:v>9</c:v>
                </c:pt>
                <c:pt idx="243">
                  <c:v>10</c:v>
                </c:pt>
                <c:pt idx="244">
                  <c:v>11</c:v>
                </c:pt>
                <c:pt idx="245">
                  <c:v>12</c:v>
                </c:pt>
                <c:pt idx="246">
                  <c:v>13</c:v>
                </c:pt>
                <c:pt idx="247">
                  <c:v>14</c:v>
                </c:pt>
                <c:pt idx="248">
                  <c:v>15</c:v>
                </c:pt>
                <c:pt idx="249">
                  <c:v>16</c:v>
                </c:pt>
                <c:pt idx="250">
                  <c:v>17</c:v>
                </c:pt>
                <c:pt idx="251">
                  <c:v>18</c:v>
                </c:pt>
                <c:pt idx="252">
                  <c:v>19</c:v>
                </c:pt>
                <c:pt idx="253">
                  <c:v>20</c:v>
                </c:pt>
                <c:pt idx="254">
                  <c:v>21</c:v>
                </c:pt>
                <c:pt idx="255">
                  <c:v>22</c:v>
                </c:pt>
                <c:pt idx="256">
                  <c:v>23</c:v>
                </c:pt>
                <c:pt idx="257">
                  <c:v>24</c:v>
                </c:pt>
                <c:pt idx="258">
                  <c:v>25</c:v>
                </c:pt>
                <c:pt idx="259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081D-44D2-A874-08A3AF9633F1}"/>
            </c:ext>
          </c:extLst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11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dPt>
            <c:idx val="260"/>
            <c:marker>
              <c:symbol val="plus"/>
              <c:size val="5"/>
              <c:spPr>
                <a:noFill/>
                <a:ln w="9525">
                  <a:solidFill>
                    <a:schemeClr val="tx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8A7-4023-BA05-C1FD8DB7AD0B}"/>
              </c:ext>
            </c:extLst>
          </c:dPt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L$2:$L$781</c:f>
              <c:numCache>
                <c:formatCode>General</c:formatCode>
                <c:ptCount val="780"/>
                <c:pt idx="260">
                  <c:v>1</c:v>
                </c:pt>
                <c:pt idx="261">
                  <c:v>2</c:v>
                </c:pt>
                <c:pt idx="262">
                  <c:v>3</c:v>
                </c:pt>
                <c:pt idx="263">
                  <c:v>4</c:v>
                </c:pt>
                <c:pt idx="264">
                  <c:v>5</c:v>
                </c:pt>
                <c:pt idx="265">
                  <c:v>6</c:v>
                </c:pt>
                <c:pt idx="266">
                  <c:v>7</c:v>
                </c:pt>
                <c:pt idx="267">
                  <c:v>8</c:v>
                </c:pt>
                <c:pt idx="268">
                  <c:v>9</c:v>
                </c:pt>
                <c:pt idx="269">
                  <c:v>10</c:v>
                </c:pt>
                <c:pt idx="270">
                  <c:v>11</c:v>
                </c:pt>
                <c:pt idx="271">
                  <c:v>12</c:v>
                </c:pt>
                <c:pt idx="272">
                  <c:v>13</c:v>
                </c:pt>
                <c:pt idx="273">
                  <c:v>14</c:v>
                </c:pt>
                <c:pt idx="274">
                  <c:v>15</c:v>
                </c:pt>
                <c:pt idx="275">
                  <c:v>16</c:v>
                </c:pt>
                <c:pt idx="276">
                  <c:v>17</c:v>
                </c:pt>
                <c:pt idx="277">
                  <c:v>18</c:v>
                </c:pt>
                <c:pt idx="278">
                  <c:v>19</c:v>
                </c:pt>
                <c:pt idx="279">
                  <c:v>20</c:v>
                </c:pt>
                <c:pt idx="280">
                  <c:v>21</c:v>
                </c:pt>
                <c:pt idx="281">
                  <c:v>22</c:v>
                </c:pt>
                <c:pt idx="282">
                  <c:v>23</c:v>
                </c:pt>
                <c:pt idx="283">
                  <c:v>24</c:v>
                </c:pt>
                <c:pt idx="284">
                  <c:v>25</c:v>
                </c:pt>
                <c:pt idx="285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081D-44D2-A874-08A3AF9633F1}"/>
            </c:ext>
          </c:extLst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12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M$2:$M$781</c:f>
              <c:numCache>
                <c:formatCode>General</c:formatCode>
                <c:ptCount val="780"/>
                <c:pt idx="286">
                  <c:v>1</c:v>
                </c:pt>
                <c:pt idx="287">
                  <c:v>2</c:v>
                </c:pt>
                <c:pt idx="288">
                  <c:v>3</c:v>
                </c:pt>
                <c:pt idx="289">
                  <c:v>4</c:v>
                </c:pt>
                <c:pt idx="290">
                  <c:v>5</c:v>
                </c:pt>
                <c:pt idx="291">
                  <c:v>6</c:v>
                </c:pt>
                <c:pt idx="292">
                  <c:v>7</c:v>
                </c:pt>
                <c:pt idx="293">
                  <c:v>8</c:v>
                </c:pt>
                <c:pt idx="294">
                  <c:v>9</c:v>
                </c:pt>
                <c:pt idx="295">
                  <c:v>10</c:v>
                </c:pt>
                <c:pt idx="296">
                  <c:v>11</c:v>
                </c:pt>
                <c:pt idx="297">
                  <c:v>12</c:v>
                </c:pt>
                <c:pt idx="298">
                  <c:v>13</c:v>
                </c:pt>
                <c:pt idx="299">
                  <c:v>14</c:v>
                </c:pt>
                <c:pt idx="300">
                  <c:v>15</c:v>
                </c:pt>
                <c:pt idx="301">
                  <c:v>16</c:v>
                </c:pt>
                <c:pt idx="302">
                  <c:v>17</c:v>
                </c:pt>
                <c:pt idx="303">
                  <c:v>18</c:v>
                </c:pt>
                <c:pt idx="304">
                  <c:v>19</c:v>
                </c:pt>
                <c:pt idx="305">
                  <c:v>20</c:v>
                </c:pt>
                <c:pt idx="306">
                  <c:v>21</c:v>
                </c:pt>
                <c:pt idx="307">
                  <c:v>22</c:v>
                </c:pt>
                <c:pt idx="308">
                  <c:v>23</c:v>
                </c:pt>
                <c:pt idx="309">
                  <c:v>24</c:v>
                </c:pt>
                <c:pt idx="310">
                  <c:v>25</c:v>
                </c:pt>
                <c:pt idx="311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081D-44D2-A874-08A3AF9633F1}"/>
            </c:ext>
          </c:extLst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13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N$2:$N$781</c:f>
              <c:numCache>
                <c:formatCode>General</c:formatCode>
                <c:ptCount val="780"/>
                <c:pt idx="312">
                  <c:v>1</c:v>
                </c:pt>
                <c:pt idx="313">
                  <c:v>2</c:v>
                </c:pt>
                <c:pt idx="314">
                  <c:v>3</c:v>
                </c:pt>
                <c:pt idx="315">
                  <c:v>4</c:v>
                </c:pt>
                <c:pt idx="316">
                  <c:v>5</c:v>
                </c:pt>
                <c:pt idx="317">
                  <c:v>6</c:v>
                </c:pt>
                <c:pt idx="318">
                  <c:v>7</c:v>
                </c:pt>
                <c:pt idx="319">
                  <c:v>8</c:v>
                </c:pt>
                <c:pt idx="320">
                  <c:v>9</c:v>
                </c:pt>
                <c:pt idx="321">
                  <c:v>10</c:v>
                </c:pt>
                <c:pt idx="322">
                  <c:v>11</c:v>
                </c:pt>
                <c:pt idx="323">
                  <c:v>12</c:v>
                </c:pt>
                <c:pt idx="324">
                  <c:v>13</c:v>
                </c:pt>
                <c:pt idx="325">
                  <c:v>14</c:v>
                </c:pt>
                <c:pt idx="326">
                  <c:v>15</c:v>
                </c:pt>
                <c:pt idx="327">
                  <c:v>16</c:v>
                </c:pt>
                <c:pt idx="328">
                  <c:v>17</c:v>
                </c:pt>
                <c:pt idx="329">
                  <c:v>18</c:v>
                </c:pt>
                <c:pt idx="330">
                  <c:v>19</c:v>
                </c:pt>
                <c:pt idx="331">
                  <c:v>20</c:v>
                </c:pt>
                <c:pt idx="332">
                  <c:v>21</c:v>
                </c:pt>
                <c:pt idx="333">
                  <c:v>22</c:v>
                </c:pt>
                <c:pt idx="334">
                  <c:v>23</c:v>
                </c:pt>
                <c:pt idx="335">
                  <c:v>24</c:v>
                </c:pt>
                <c:pt idx="336">
                  <c:v>25</c:v>
                </c:pt>
                <c:pt idx="337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081D-44D2-A874-08A3AF9633F1}"/>
            </c:ext>
          </c:extLst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14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O$2:$O$781</c:f>
              <c:numCache>
                <c:formatCode>General</c:formatCode>
                <c:ptCount val="780"/>
                <c:pt idx="338">
                  <c:v>1</c:v>
                </c:pt>
                <c:pt idx="339">
                  <c:v>2</c:v>
                </c:pt>
                <c:pt idx="340">
                  <c:v>3</c:v>
                </c:pt>
                <c:pt idx="341">
                  <c:v>4</c:v>
                </c:pt>
                <c:pt idx="342">
                  <c:v>5</c:v>
                </c:pt>
                <c:pt idx="343">
                  <c:v>6</c:v>
                </c:pt>
                <c:pt idx="344">
                  <c:v>7</c:v>
                </c:pt>
                <c:pt idx="345">
                  <c:v>8</c:v>
                </c:pt>
                <c:pt idx="346">
                  <c:v>9</c:v>
                </c:pt>
                <c:pt idx="347">
                  <c:v>10</c:v>
                </c:pt>
                <c:pt idx="348">
                  <c:v>11</c:v>
                </c:pt>
                <c:pt idx="349">
                  <c:v>12</c:v>
                </c:pt>
                <c:pt idx="350">
                  <c:v>13</c:v>
                </c:pt>
                <c:pt idx="351">
                  <c:v>14</c:v>
                </c:pt>
                <c:pt idx="352">
                  <c:v>15</c:v>
                </c:pt>
                <c:pt idx="353">
                  <c:v>16</c:v>
                </c:pt>
                <c:pt idx="354">
                  <c:v>17</c:v>
                </c:pt>
                <c:pt idx="355">
                  <c:v>18</c:v>
                </c:pt>
                <c:pt idx="356">
                  <c:v>19</c:v>
                </c:pt>
                <c:pt idx="357">
                  <c:v>20</c:v>
                </c:pt>
                <c:pt idx="358">
                  <c:v>21</c:v>
                </c:pt>
                <c:pt idx="359">
                  <c:v>22</c:v>
                </c:pt>
                <c:pt idx="360">
                  <c:v>23</c:v>
                </c:pt>
                <c:pt idx="361">
                  <c:v>24</c:v>
                </c:pt>
                <c:pt idx="362">
                  <c:v>25</c:v>
                </c:pt>
                <c:pt idx="363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081D-44D2-A874-08A3AF9633F1}"/>
            </c:ext>
          </c:extLst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15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P$2:$P$781</c:f>
              <c:numCache>
                <c:formatCode>General</c:formatCode>
                <c:ptCount val="780"/>
                <c:pt idx="364">
                  <c:v>1</c:v>
                </c:pt>
                <c:pt idx="365">
                  <c:v>2</c:v>
                </c:pt>
                <c:pt idx="366">
                  <c:v>3</c:v>
                </c:pt>
                <c:pt idx="367">
                  <c:v>4</c:v>
                </c:pt>
                <c:pt idx="368">
                  <c:v>5</c:v>
                </c:pt>
                <c:pt idx="369">
                  <c:v>6</c:v>
                </c:pt>
                <c:pt idx="370">
                  <c:v>7</c:v>
                </c:pt>
                <c:pt idx="371">
                  <c:v>8</c:v>
                </c:pt>
                <c:pt idx="372">
                  <c:v>9</c:v>
                </c:pt>
                <c:pt idx="373">
                  <c:v>10</c:v>
                </c:pt>
                <c:pt idx="374">
                  <c:v>11</c:v>
                </c:pt>
                <c:pt idx="375">
                  <c:v>12</c:v>
                </c:pt>
                <c:pt idx="376">
                  <c:v>13</c:v>
                </c:pt>
                <c:pt idx="377">
                  <c:v>14</c:v>
                </c:pt>
                <c:pt idx="378">
                  <c:v>15</c:v>
                </c:pt>
                <c:pt idx="379">
                  <c:v>16</c:v>
                </c:pt>
                <c:pt idx="380">
                  <c:v>17</c:v>
                </c:pt>
                <c:pt idx="381">
                  <c:v>18</c:v>
                </c:pt>
                <c:pt idx="382">
                  <c:v>19</c:v>
                </c:pt>
                <c:pt idx="383">
                  <c:v>20</c:v>
                </c:pt>
                <c:pt idx="384">
                  <c:v>21</c:v>
                </c:pt>
                <c:pt idx="385">
                  <c:v>22</c:v>
                </c:pt>
                <c:pt idx="386">
                  <c:v>23</c:v>
                </c:pt>
                <c:pt idx="387">
                  <c:v>24</c:v>
                </c:pt>
                <c:pt idx="388">
                  <c:v>25</c:v>
                </c:pt>
                <c:pt idx="389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081D-44D2-A874-08A3AF9633F1}"/>
            </c:ext>
          </c:extLst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16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Q$2:$Q$781</c:f>
              <c:numCache>
                <c:formatCode>General</c:formatCode>
                <c:ptCount val="780"/>
                <c:pt idx="390">
                  <c:v>1</c:v>
                </c:pt>
                <c:pt idx="391">
                  <c:v>2</c:v>
                </c:pt>
                <c:pt idx="392">
                  <c:v>3</c:v>
                </c:pt>
                <c:pt idx="393">
                  <c:v>4</c:v>
                </c:pt>
                <c:pt idx="394">
                  <c:v>5</c:v>
                </c:pt>
                <c:pt idx="395">
                  <c:v>6</c:v>
                </c:pt>
                <c:pt idx="396">
                  <c:v>7</c:v>
                </c:pt>
                <c:pt idx="397">
                  <c:v>8</c:v>
                </c:pt>
                <c:pt idx="398">
                  <c:v>9</c:v>
                </c:pt>
                <c:pt idx="399">
                  <c:v>10</c:v>
                </c:pt>
                <c:pt idx="400">
                  <c:v>11</c:v>
                </c:pt>
                <c:pt idx="401">
                  <c:v>12</c:v>
                </c:pt>
                <c:pt idx="402">
                  <c:v>13</c:v>
                </c:pt>
                <c:pt idx="403">
                  <c:v>14</c:v>
                </c:pt>
                <c:pt idx="404">
                  <c:v>15</c:v>
                </c:pt>
                <c:pt idx="405">
                  <c:v>16</c:v>
                </c:pt>
                <c:pt idx="406">
                  <c:v>17</c:v>
                </c:pt>
                <c:pt idx="407">
                  <c:v>18</c:v>
                </c:pt>
                <c:pt idx="408">
                  <c:v>19</c:v>
                </c:pt>
                <c:pt idx="409">
                  <c:v>20</c:v>
                </c:pt>
                <c:pt idx="410">
                  <c:v>21</c:v>
                </c:pt>
                <c:pt idx="411">
                  <c:v>22</c:v>
                </c:pt>
                <c:pt idx="412">
                  <c:v>23</c:v>
                </c:pt>
                <c:pt idx="413">
                  <c:v>24</c:v>
                </c:pt>
                <c:pt idx="414">
                  <c:v>25</c:v>
                </c:pt>
                <c:pt idx="415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081D-44D2-A874-08A3AF9633F1}"/>
            </c:ext>
          </c:extLst>
        </c:ser>
        <c:ser>
          <c:idx val="16"/>
          <c:order val="16"/>
          <c:tx>
            <c:strRef>
              <c:f>List1!$R$1</c:f>
              <c:strCache>
                <c:ptCount val="1"/>
                <c:pt idx="0">
                  <c:v>17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R$2:$R$781</c:f>
              <c:numCache>
                <c:formatCode>General</c:formatCode>
                <c:ptCount val="780"/>
                <c:pt idx="416">
                  <c:v>1</c:v>
                </c:pt>
                <c:pt idx="417">
                  <c:v>2</c:v>
                </c:pt>
                <c:pt idx="418">
                  <c:v>3</c:v>
                </c:pt>
                <c:pt idx="419">
                  <c:v>4</c:v>
                </c:pt>
                <c:pt idx="420">
                  <c:v>5</c:v>
                </c:pt>
                <c:pt idx="421">
                  <c:v>6</c:v>
                </c:pt>
                <c:pt idx="422">
                  <c:v>7</c:v>
                </c:pt>
                <c:pt idx="423">
                  <c:v>8</c:v>
                </c:pt>
                <c:pt idx="424">
                  <c:v>9</c:v>
                </c:pt>
                <c:pt idx="425">
                  <c:v>10</c:v>
                </c:pt>
                <c:pt idx="426">
                  <c:v>11</c:v>
                </c:pt>
                <c:pt idx="427">
                  <c:v>12</c:v>
                </c:pt>
                <c:pt idx="428">
                  <c:v>13</c:v>
                </c:pt>
                <c:pt idx="429">
                  <c:v>14</c:v>
                </c:pt>
                <c:pt idx="430">
                  <c:v>15</c:v>
                </c:pt>
                <c:pt idx="431">
                  <c:v>16</c:v>
                </c:pt>
                <c:pt idx="432">
                  <c:v>17</c:v>
                </c:pt>
                <c:pt idx="433">
                  <c:v>18</c:v>
                </c:pt>
                <c:pt idx="434">
                  <c:v>19</c:v>
                </c:pt>
                <c:pt idx="435">
                  <c:v>20</c:v>
                </c:pt>
                <c:pt idx="436">
                  <c:v>21</c:v>
                </c:pt>
                <c:pt idx="437">
                  <c:v>22</c:v>
                </c:pt>
                <c:pt idx="438">
                  <c:v>23</c:v>
                </c:pt>
                <c:pt idx="439">
                  <c:v>24</c:v>
                </c:pt>
                <c:pt idx="440">
                  <c:v>25</c:v>
                </c:pt>
                <c:pt idx="441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081D-44D2-A874-08A3AF9633F1}"/>
            </c:ext>
          </c:extLst>
        </c:ser>
        <c:ser>
          <c:idx val="17"/>
          <c:order val="17"/>
          <c:tx>
            <c:strRef>
              <c:f>List1!$S$1</c:f>
              <c:strCache>
                <c:ptCount val="1"/>
                <c:pt idx="0">
                  <c:v>18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S$2:$S$781</c:f>
              <c:numCache>
                <c:formatCode>General</c:formatCode>
                <c:ptCount val="780"/>
                <c:pt idx="442">
                  <c:v>1</c:v>
                </c:pt>
                <c:pt idx="443">
                  <c:v>2</c:v>
                </c:pt>
                <c:pt idx="444">
                  <c:v>3</c:v>
                </c:pt>
                <c:pt idx="445">
                  <c:v>4</c:v>
                </c:pt>
                <c:pt idx="446">
                  <c:v>5</c:v>
                </c:pt>
                <c:pt idx="447">
                  <c:v>6</c:v>
                </c:pt>
                <c:pt idx="448">
                  <c:v>7</c:v>
                </c:pt>
                <c:pt idx="449">
                  <c:v>8</c:v>
                </c:pt>
                <c:pt idx="450">
                  <c:v>9</c:v>
                </c:pt>
                <c:pt idx="451">
                  <c:v>10</c:v>
                </c:pt>
                <c:pt idx="452">
                  <c:v>11</c:v>
                </c:pt>
                <c:pt idx="453">
                  <c:v>12</c:v>
                </c:pt>
                <c:pt idx="454">
                  <c:v>13</c:v>
                </c:pt>
                <c:pt idx="455">
                  <c:v>14</c:v>
                </c:pt>
                <c:pt idx="456">
                  <c:v>15</c:v>
                </c:pt>
                <c:pt idx="457">
                  <c:v>16</c:v>
                </c:pt>
                <c:pt idx="458">
                  <c:v>17</c:v>
                </c:pt>
                <c:pt idx="459">
                  <c:v>18</c:v>
                </c:pt>
                <c:pt idx="460">
                  <c:v>19</c:v>
                </c:pt>
                <c:pt idx="461">
                  <c:v>20</c:v>
                </c:pt>
                <c:pt idx="462">
                  <c:v>21</c:v>
                </c:pt>
                <c:pt idx="463">
                  <c:v>22</c:v>
                </c:pt>
                <c:pt idx="464">
                  <c:v>23</c:v>
                </c:pt>
                <c:pt idx="465">
                  <c:v>24</c:v>
                </c:pt>
                <c:pt idx="466">
                  <c:v>25</c:v>
                </c:pt>
                <c:pt idx="467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081D-44D2-A874-08A3AF9633F1}"/>
            </c:ext>
          </c:extLst>
        </c:ser>
        <c:ser>
          <c:idx val="18"/>
          <c:order val="18"/>
          <c:tx>
            <c:strRef>
              <c:f>List1!$T$1</c:f>
              <c:strCache>
                <c:ptCount val="1"/>
                <c:pt idx="0">
                  <c:v>19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T$2:$T$781</c:f>
              <c:numCache>
                <c:formatCode>General</c:formatCode>
                <c:ptCount val="780"/>
                <c:pt idx="468">
                  <c:v>1</c:v>
                </c:pt>
                <c:pt idx="469">
                  <c:v>2</c:v>
                </c:pt>
                <c:pt idx="470">
                  <c:v>3</c:v>
                </c:pt>
                <c:pt idx="471">
                  <c:v>4</c:v>
                </c:pt>
                <c:pt idx="472">
                  <c:v>5</c:v>
                </c:pt>
                <c:pt idx="473">
                  <c:v>6</c:v>
                </c:pt>
                <c:pt idx="474">
                  <c:v>7</c:v>
                </c:pt>
                <c:pt idx="475">
                  <c:v>8</c:v>
                </c:pt>
                <c:pt idx="476">
                  <c:v>9</c:v>
                </c:pt>
                <c:pt idx="477">
                  <c:v>10</c:v>
                </c:pt>
                <c:pt idx="478">
                  <c:v>11</c:v>
                </c:pt>
                <c:pt idx="479">
                  <c:v>12</c:v>
                </c:pt>
                <c:pt idx="480">
                  <c:v>13</c:v>
                </c:pt>
                <c:pt idx="481">
                  <c:v>14</c:v>
                </c:pt>
                <c:pt idx="482">
                  <c:v>15</c:v>
                </c:pt>
                <c:pt idx="483">
                  <c:v>16</c:v>
                </c:pt>
                <c:pt idx="484">
                  <c:v>17</c:v>
                </c:pt>
                <c:pt idx="485">
                  <c:v>18</c:v>
                </c:pt>
                <c:pt idx="486">
                  <c:v>19</c:v>
                </c:pt>
                <c:pt idx="487">
                  <c:v>20</c:v>
                </c:pt>
                <c:pt idx="488">
                  <c:v>21</c:v>
                </c:pt>
                <c:pt idx="489">
                  <c:v>22</c:v>
                </c:pt>
                <c:pt idx="490">
                  <c:v>23</c:v>
                </c:pt>
                <c:pt idx="491">
                  <c:v>24</c:v>
                </c:pt>
                <c:pt idx="492">
                  <c:v>25</c:v>
                </c:pt>
                <c:pt idx="493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081D-44D2-A874-08A3AF9633F1}"/>
            </c:ext>
          </c:extLst>
        </c:ser>
        <c:ser>
          <c:idx val="19"/>
          <c:order val="19"/>
          <c:tx>
            <c:strRef>
              <c:f>List1!$U$1</c:f>
              <c:strCache>
                <c:ptCount val="1"/>
                <c:pt idx="0">
                  <c:v>20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U$2:$U$781</c:f>
              <c:numCache>
                <c:formatCode>General</c:formatCode>
                <c:ptCount val="780"/>
                <c:pt idx="494">
                  <c:v>1</c:v>
                </c:pt>
                <c:pt idx="495">
                  <c:v>2</c:v>
                </c:pt>
                <c:pt idx="496">
                  <c:v>3</c:v>
                </c:pt>
                <c:pt idx="497">
                  <c:v>4</c:v>
                </c:pt>
                <c:pt idx="498">
                  <c:v>5</c:v>
                </c:pt>
                <c:pt idx="499">
                  <c:v>6</c:v>
                </c:pt>
                <c:pt idx="500">
                  <c:v>7</c:v>
                </c:pt>
                <c:pt idx="501">
                  <c:v>8</c:v>
                </c:pt>
                <c:pt idx="502">
                  <c:v>9</c:v>
                </c:pt>
                <c:pt idx="503">
                  <c:v>10</c:v>
                </c:pt>
                <c:pt idx="504">
                  <c:v>11</c:v>
                </c:pt>
                <c:pt idx="505">
                  <c:v>12</c:v>
                </c:pt>
                <c:pt idx="506">
                  <c:v>13</c:v>
                </c:pt>
                <c:pt idx="507">
                  <c:v>14</c:v>
                </c:pt>
                <c:pt idx="508">
                  <c:v>15</c:v>
                </c:pt>
                <c:pt idx="509">
                  <c:v>16</c:v>
                </c:pt>
                <c:pt idx="510">
                  <c:v>17</c:v>
                </c:pt>
                <c:pt idx="511">
                  <c:v>18</c:v>
                </c:pt>
                <c:pt idx="512">
                  <c:v>19</c:v>
                </c:pt>
                <c:pt idx="513">
                  <c:v>20</c:v>
                </c:pt>
                <c:pt idx="514">
                  <c:v>21</c:v>
                </c:pt>
                <c:pt idx="515">
                  <c:v>22</c:v>
                </c:pt>
                <c:pt idx="516">
                  <c:v>23</c:v>
                </c:pt>
                <c:pt idx="517">
                  <c:v>24</c:v>
                </c:pt>
                <c:pt idx="518">
                  <c:v>25</c:v>
                </c:pt>
                <c:pt idx="519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081D-44D2-A874-08A3AF9633F1}"/>
            </c:ext>
          </c:extLst>
        </c:ser>
        <c:ser>
          <c:idx val="20"/>
          <c:order val="20"/>
          <c:tx>
            <c:strRef>
              <c:f>List1!$V$1</c:f>
              <c:strCache>
                <c:ptCount val="1"/>
                <c:pt idx="0">
                  <c:v>21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V$2:$V$781</c:f>
              <c:numCache>
                <c:formatCode>General</c:formatCode>
                <c:ptCount val="780"/>
                <c:pt idx="520">
                  <c:v>1</c:v>
                </c:pt>
                <c:pt idx="521">
                  <c:v>2</c:v>
                </c:pt>
                <c:pt idx="522">
                  <c:v>3</c:v>
                </c:pt>
                <c:pt idx="523">
                  <c:v>4</c:v>
                </c:pt>
                <c:pt idx="524">
                  <c:v>5</c:v>
                </c:pt>
                <c:pt idx="525">
                  <c:v>6</c:v>
                </c:pt>
                <c:pt idx="526">
                  <c:v>7</c:v>
                </c:pt>
                <c:pt idx="527">
                  <c:v>8</c:v>
                </c:pt>
                <c:pt idx="528">
                  <c:v>9</c:v>
                </c:pt>
                <c:pt idx="529">
                  <c:v>10</c:v>
                </c:pt>
                <c:pt idx="530">
                  <c:v>11</c:v>
                </c:pt>
                <c:pt idx="531">
                  <c:v>12</c:v>
                </c:pt>
                <c:pt idx="532">
                  <c:v>13</c:v>
                </c:pt>
                <c:pt idx="533">
                  <c:v>14</c:v>
                </c:pt>
                <c:pt idx="534">
                  <c:v>15</c:v>
                </c:pt>
                <c:pt idx="535">
                  <c:v>16</c:v>
                </c:pt>
                <c:pt idx="536">
                  <c:v>17</c:v>
                </c:pt>
                <c:pt idx="537">
                  <c:v>18</c:v>
                </c:pt>
                <c:pt idx="538">
                  <c:v>19</c:v>
                </c:pt>
                <c:pt idx="539">
                  <c:v>20</c:v>
                </c:pt>
                <c:pt idx="540">
                  <c:v>21</c:v>
                </c:pt>
                <c:pt idx="541">
                  <c:v>22</c:v>
                </c:pt>
                <c:pt idx="542">
                  <c:v>23</c:v>
                </c:pt>
                <c:pt idx="543">
                  <c:v>24</c:v>
                </c:pt>
                <c:pt idx="544">
                  <c:v>25</c:v>
                </c:pt>
                <c:pt idx="545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081D-44D2-A874-08A3AF9633F1}"/>
            </c:ext>
          </c:extLst>
        </c:ser>
        <c:ser>
          <c:idx val="21"/>
          <c:order val="21"/>
          <c:tx>
            <c:strRef>
              <c:f>List1!$W$1</c:f>
              <c:strCache>
                <c:ptCount val="1"/>
                <c:pt idx="0">
                  <c:v>22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W$2:$W$781</c:f>
              <c:numCache>
                <c:formatCode>General</c:formatCode>
                <c:ptCount val="780"/>
                <c:pt idx="546">
                  <c:v>1</c:v>
                </c:pt>
                <c:pt idx="547">
                  <c:v>2</c:v>
                </c:pt>
                <c:pt idx="548">
                  <c:v>3</c:v>
                </c:pt>
                <c:pt idx="549">
                  <c:v>4</c:v>
                </c:pt>
                <c:pt idx="550">
                  <c:v>5</c:v>
                </c:pt>
                <c:pt idx="551">
                  <c:v>6</c:v>
                </c:pt>
                <c:pt idx="552">
                  <c:v>7</c:v>
                </c:pt>
                <c:pt idx="553">
                  <c:v>8</c:v>
                </c:pt>
                <c:pt idx="554">
                  <c:v>9</c:v>
                </c:pt>
                <c:pt idx="555">
                  <c:v>10</c:v>
                </c:pt>
                <c:pt idx="556">
                  <c:v>11</c:v>
                </c:pt>
                <c:pt idx="557">
                  <c:v>12</c:v>
                </c:pt>
                <c:pt idx="558">
                  <c:v>13</c:v>
                </c:pt>
                <c:pt idx="559">
                  <c:v>14</c:v>
                </c:pt>
                <c:pt idx="560">
                  <c:v>15</c:v>
                </c:pt>
                <c:pt idx="561">
                  <c:v>16</c:v>
                </c:pt>
                <c:pt idx="562">
                  <c:v>17</c:v>
                </c:pt>
                <c:pt idx="563">
                  <c:v>18</c:v>
                </c:pt>
                <c:pt idx="564">
                  <c:v>19</c:v>
                </c:pt>
                <c:pt idx="565">
                  <c:v>20</c:v>
                </c:pt>
                <c:pt idx="566">
                  <c:v>21</c:v>
                </c:pt>
                <c:pt idx="567">
                  <c:v>22</c:v>
                </c:pt>
                <c:pt idx="568">
                  <c:v>23</c:v>
                </c:pt>
                <c:pt idx="569">
                  <c:v>24</c:v>
                </c:pt>
                <c:pt idx="570">
                  <c:v>25</c:v>
                </c:pt>
                <c:pt idx="571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081D-44D2-A874-08A3AF9633F1}"/>
            </c:ext>
          </c:extLst>
        </c:ser>
        <c:ser>
          <c:idx val="22"/>
          <c:order val="22"/>
          <c:tx>
            <c:strRef>
              <c:f>List1!$X$1</c:f>
              <c:strCache>
                <c:ptCount val="1"/>
                <c:pt idx="0">
                  <c:v>23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X$2:$X$781</c:f>
              <c:numCache>
                <c:formatCode>General</c:formatCode>
                <c:ptCount val="780"/>
                <c:pt idx="572">
                  <c:v>1</c:v>
                </c:pt>
                <c:pt idx="573">
                  <c:v>2</c:v>
                </c:pt>
                <c:pt idx="574">
                  <c:v>3</c:v>
                </c:pt>
                <c:pt idx="575">
                  <c:v>4</c:v>
                </c:pt>
                <c:pt idx="576">
                  <c:v>5</c:v>
                </c:pt>
                <c:pt idx="577">
                  <c:v>6</c:v>
                </c:pt>
                <c:pt idx="578">
                  <c:v>7</c:v>
                </c:pt>
                <c:pt idx="579">
                  <c:v>8</c:v>
                </c:pt>
                <c:pt idx="580">
                  <c:v>9</c:v>
                </c:pt>
                <c:pt idx="581">
                  <c:v>10</c:v>
                </c:pt>
                <c:pt idx="582">
                  <c:v>11</c:v>
                </c:pt>
                <c:pt idx="583">
                  <c:v>12</c:v>
                </c:pt>
                <c:pt idx="584">
                  <c:v>13</c:v>
                </c:pt>
                <c:pt idx="585">
                  <c:v>14</c:v>
                </c:pt>
                <c:pt idx="586">
                  <c:v>15</c:v>
                </c:pt>
                <c:pt idx="587">
                  <c:v>16</c:v>
                </c:pt>
                <c:pt idx="588">
                  <c:v>17</c:v>
                </c:pt>
                <c:pt idx="589">
                  <c:v>18</c:v>
                </c:pt>
                <c:pt idx="590">
                  <c:v>19</c:v>
                </c:pt>
                <c:pt idx="591">
                  <c:v>20</c:v>
                </c:pt>
                <c:pt idx="592">
                  <c:v>21</c:v>
                </c:pt>
                <c:pt idx="593">
                  <c:v>22</c:v>
                </c:pt>
                <c:pt idx="594">
                  <c:v>23</c:v>
                </c:pt>
                <c:pt idx="595">
                  <c:v>24</c:v>
                </c:pt>
                <c:pt idx="596">
                  <c:v>25</c:v>
                </c:pt>
                <c:pt idx="597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081D-44D2-A874-08A3AF9633F1}"/>
            </c:ext>
          </c:extLst>
        </c:ser>
        <c:ser>
          <c:idx val="23"/>
          <c:order val="23"/>
          <c:tx>
            <c:strRef>
              <c:f>List1!$Y$1</c:f>
              <c:strCache>
                <c:ptCount val="1"/>
                <c:pt idx="0">
                  <c:v>24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Y$2:$Y$781</c:f>
              <c:numCache>
                <c:formatCode>General</c:formatCode>
                <c:ptCount val="780"/>
                <c:pt idx="598">
                  <c:v>1</c:v>
                </c:pt>
                <c:pt idx="599">
                  <c:v>2</c:v>
                </c:pt>
                <c:pt idx="600">
                  <c:v>3</c:v>
                </c:pt>
                <c:pt idx="601">
                  <c:v>4</c:v>
                </c:pt>
                <c:pt idx="602">
                  <c:v>5</c:v>
                </c:pt>
                <c:pt idx="603">
                  <c:v>6</c:v>
                </c:pt>
                <c:pt idx="604">
                  <c:v>7</c:v>
                </c:pt>
                <c:pt idx="605">
                  <c:v>8</c:v>
                </c:pt>
                <c:pt idx="606">
                  <c:v>9</c:v>
                </c:pt>
                <c:pt idx="607">
                  <c:v>10</c:v>
                </c:pt>
                <c:pt idx="608">
                  <c:v>11</c:v>
                </c:pt>
                <c:pt idx="609">
                  <c:v>12</c:v>
                </c:pt>
                <c:pt idx="610">
                  <c:v>13</c:v>
                </c:pt>
                <c:pt idx="611">
                  <c:v>14</c:v>
                </c:pt>
                <c:pt idx="612">
                  <c:v>15</c:v>
                </c:pt>
                <c:pt idx="613">
                  <c:v>16</c:v>
                </c:pt>
                <c:pt idx="614">
                  <c:v>17</c:v>
                </c:pt>
                <c:pt idx="615">
                  <c:v>18</c:v>
                </c:pt>
                <c:pt idx="616">
                  <c:v>19</c:v>
                </c:pt>
                <c:pt idx="617">
                  <c:v>20</c:v>
                </c:pt>
                <c:pt idx="618">
                  <c:v>21</c:v>
                </c:pt>
                <c:pt idx="619">
                  <c:v>22</c:v>
                </c:pt>
                <c:pt idx="620">
                  <c:v>23</c:v>
                </c:pt>
                <c:pt idx="621">
                  <c:v>24</c:v>
                </c:pt>
                <c:pt idx="622">
                  <c:v>25</c:v>
                </c:pt>
                <c:pt idx="623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081D-44D2-A874-08A3AF9633F1}"/>
            </c:ext>
          </c:extLst>
        </c:ser>
        <c:ser>
          <c:idx val="24"/>
          <c:order val="24"/>
          <c:tx>
            <c:strRef>
              <c:f>List1!$Z$1</c:f>
              <c:strCache>
                <c:ptCount val="1"/>
                <c:pt idx="0">
                  <c:v>25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Z$2:$Z$781</c:f>
              <c:numCache>
                <c:formatCode>General</c:formatCode>
                <c:ptCount val="780"/>
                <c:pt idx="624">
                  <c:v>1</c:v>
                </c:pt>
                <c:pt idx="625">
                  <c:v>2</c:v>
                </c:pt>
                <c:pt idx="626">
                  <c:v>3</c:v>
                </c:pt>
                <c:pt idx="627">
                  <c:v>4</c:v>
                </c:pt>
                <c:pt idx="628">
                  <c:v>5</c:v>
                </c:pt>
                <c:pt idx="629">
                  <c:v>6</c:v>
                </c:pt>
                <c:pt idx="630">
                  <c:v>7</c:v>
                </c:pt>
                <c:pt idx="631">
                  <c:v>8</c:v>
                </c:pt>
                <c:pt idx="632">
                  <c:v>9</c:v>
                </c:pt>
                <c:pt idx="633">
                  <c:v>10</c:v>
                </c:pt>
                <c:pt idx="634">
                  <c:v>11</c:v>
                </c:pt>
                <c:pt idx="635">
                  <c:v>12</c:v>
                </c:pt>
                <c:pt idx="636">
                  <c:v>13</c:v>
                </c:pt>
                <c:pt idx="637">
                  <c:v>14</c:v>
                </c:pt>
                <c:pt idx="638">
                  <c:v>15</c:v>
                </c:pt>
                <c:pt idx="639">
                  <c:v>16</c:v>
                </c:pt>
                <c:pt idx="640">
                  <c:v>17</c:v>
                </c:pt>
                <c:pt idx="641">
                  <c:v>18</c:v>
                </c:pt>
                <c:pt idx="642">
                  <c:v>19</c:v>
                </c:pt>
                <c:pt idx="643">
                  <c:v>20</c:v>
                </c:pt>
                <c:pt idx="644">
                  <c:v>21</c:v>
                </c:pt>
                <c:pt idx="645">
                  <c:v>22</c:v>
                </c:pt>
                <c:pt idx="646">
                  <c:v>23</c:v>
                </c:pt>
                <c:pt idx="647">
                  <c:v>24</c:v>
                </c:pt>
                <c:pt idx="648">
                  <c:v>25</c:v>
                </c:pt>
                <c:pt idx="649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081D-44D2-A874-08A3AF9633F1}"/>
            </c:ext>
          </c:extLst>
        </c:ser>
        <c:ser>
          <c:idx val="25"/>
          <c:order val="25"/>
          <c:tx>
            <c:strRef>
              <c:f>List1!$AA$1</c:f>
              <c:strCache>
                <c:ptCount val="1"/>
                <c:pt idx="0">
                  <c:v>26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AA$2:$AA$781</c:f>
              <c:numCache>
                <c:formatCode>General</c:formatCode>
                <c:ptCount val="780"/>
                <c:pt idx="650">
                  <c:v>1</c:v>
                </c:pt>
                <c:pt idx="651">
                  <c:v>2</c:v>
                </c:pt>
                <c:pt idx="652">
                  <c:v>3</c:v>
                </c:pt>
                <c:pt idx="653">
                  <c:v>4</c:v>
                </c:pt>
                <c:pt idx="654">
                  <c:v>5</c:v>
                </c:pt>
                <c:pt idx="655">
                  <c:v>6</c:v>
                </c:pt>
                <c:pt idx="656">
                  <c:v>7</c:v>
                </c:pt>
                <c:pt idx="657">
                  <c:v>8</c:v>
                </c:pt>
                <c:pt idx="658">
                  <c:v>9</c:v>
                </c:pt>
                <c:pt idx="659">
                  <c:v>10</c:v>
                </c:pt>
                <c:pt idx="660">
                  <c:v>11</c:v>
                </c:pt>
                <c:pt idx="661">
                  <c:v>12</c:v>
                </c:pt>
                <c:pt idx="662">
                  <c:v>13</c:v>
                </c:pt>
                <c:pt idx="663">
                  <c:v>14</c:v>
                </c:pt>
                <c:pt idx="664">
                  <c:v>15</c:v>
                </c:pt>
                <c:pt idx="665">
                  <c:v>16</c:v>
                </c:pt>
                <c:pt idx="666">
                  <c:v>17</c:v>
                </c:pt>
                <c:pt idx="667">
                  <c:v>18</c:v>
                </c:pt>
                <c:pt idx="668">
                  <c:v>19</c:v>
                </c:pt>
                <c:pt idx="669">
                  <c:v>20</c:v>
                </c:pt>
                <c:pt idx="670">
                  <c:v>21</c:v>
                </c:pt>
                <c:pt idx="671">
                  <c:v>22</c:v>
                </c:pt>
                <c:pt idx="672">
                  <c:v>23</c:v>
                </c:pt>
                <c:pt idx="673">
                  <c:v>24</c:v>
                </c:pt>
                <c:pt idx="674">
                  <c:v>25</c:v>
                </c:pt>
                <c:pt idx="675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A-081D-44D2-A874-08A3AF9633F1}"/>
            </c:ext>
          </c:extLst>
        </c:ser>
        <c:ser>
          <c:idx val="26"/>
          <c:order val="26"/>
          <c:tx>
            <c:strRef>
              <c:f>List1!$AB$1</c:f>
              <c:strCache>
                <c:ptCount val="1"/>
                <c:pt idx="0">
                  <c:v>27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AB$2:$AB$781</c:f>
              <c:numCache>
                <c:formatCode>General</c:formatCode>
                <c:ptCount val="780"/>
                <c:pt idx="676">
                  <c:v>1</c:v>
                </c:pt>
                <c:pt idx="677">
                  <c:v>2</c:v>
                </c:pt>
                <c:pt idx="678">
                  <c:v>3</c:v>
                </c:pt>
                <c:pt idx="679">
                  <c:v>4</c:v>
                </c:pt>
                <c:pt idx="680">
                  <c:v>5</c:v>
                </c:pt>
                <c:pt idx="681">
                  <c:v>6</c:v>
                </c:pt>
                <c:pt idx="682">
                  <c:v>7</c:v>
                </c:pt>
                <c:pt idx="683">
                  <c:v>8</c:v>
                </c:pt>
                <c:pt idx="684">
                  <c:v>9</c:v>
                </c:pt>
                <c:pt idx="685">
                  <c:v>10</c:v>
                </c:pt>
                <c:pt idx="686">
                  <c:v>11</c:v>
                </c:pt>
                <c:pt idx="687">
                  <c:v>12</c:v>
                </c:pt>
                <c:pt idx="688">
                  <c:v>13</c:v>
                </c:pt>
                <c:pt idx="689">
                  <c:v>14</c:v>
                </c:pt>
                <c:pt idx="690">
                  <c:v>15</c:v>
                </c:pt>
                <c:pt idx="691">
                  <c:v>16</c:v>
                </c:pt>
                <c:pt idx="692">
                  <c:v>17</c:v>
                </c:pt>
                <c:pt idx="693">
                  <c:v>18</c:v>
                </c:pt>
                <c:pt idx="694">
                  <c:v>19</c:v>
                </c:pt>
                <c:pt idx="695">
                  <c:v>20</c:v>
                </c:pt>
                <c:pt idx="696">
                  <c:v>21</c:v>
                </c:pt>
                <c:pt idx="697">
                  <c:v>22</c:v>
                </c:pt>
                <c:pt idx="698">
                  <c:v>23</c:v>
                </c:pt>
                <c:pt idx="699">
                  <c:v>24</c:v>
                </c:pt>
                <c:pt idx="700">
                  <c:v>25</c:v>
                </c:pt>
                <c:pt idx="701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B-081D-44D2-A874-08A3AF9633F1}"/>
            </c:ext>
          </c:extLst>
        </c:ser>
        <c:ser>
          <c:idx val="27"/>
          <c:order val="27"/>
          <c:tx>
            <c:strRef>
              <c:f>List1!$AC$1</c:f>
              <c:strCache>
                <c:ptCount val="1"/>
                <c:pt idx="0">
                  <c:v>28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AC$2:$AC$781</c:f>
              <c:numCache>
                <c:formatCode>General</c:formatCode>
                <c:ptCount val="780"/>
                <c:pt idx="702">
                  <c:v>1</c:v>
                </c:pt>
                <c:pt idx="703">
                  <c:v>2</c:v>
                </c:pt>
                <c:pt idx="704">
                  <c:v>3</c:v>
                </c:pt>
                <c:pt idx="705">
                  <c:v>4</c:v>
                </c:pt>
                <c:pt idx="706">
                  <c:v>5</c:v>
                </c:pt>
                <c:pt idx="707">
                  <c:v>6</c:v>
                </c:pt>
                <c:pt idx="708">
                  <c:v>7</c:v>
                </c:pt>
                <c:pt idx="709">
                  <c:v>8</c:v>
                </c:pt>
                <c:pt idx="710">
                  <c:v>9</c:v>
                </c:pt>
                <c:pt idx="711">
                  <c:v>10</c:v>
                </c:pt>
                <c:pt idx="712">
                  <c:v>11</c:v>
                </c:pt>
                <c:pt idx="713">
                  <c:v>12</c:v>
                </c:pt>
                <c:pt idx="714">
                  <c:v>13</c:v>
                </c:pt>
                <c:pt idx="715">
                  <c:v>14</c:v>
                </c:pt>
                <c:pt idx="716">
                  <c:v>15</c:v>
                </c:pt>
                <c:pt idx="717">
                  <c:v>16</c:v>
                </c:pt>
                <c:pt idx="718">
                  <c:v>17</c:v>
                </c:pt>
                <c:pt idx="719">
                  <c:v>18</c:v>
                </c:pt>
                <c:pt idx="720">
                  <c:v>19</c:v>
                </c:pt>
                <c:pt idx="721">
                  <c:v>20</c:v>
                </c:pt>
                <c:pt idx="722">
                  <c:v>21</c:v>
                </c:pt>
                <c:pt idx="723">
                  <c:v>22</c:v>
                </c:pt>
                <c:pt idx="724">
                  <c:v>23</c:v>
                </c:pt>
                <c:pt idx="725">
                  <c:v>24</c:v>
                </c:pt>
                <c:pt idx="726">
                  <c:v>25</c:v>
                </c:pt>
                <c:pt idx="727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C-081D-44D2-A874-08A3AF9633F1}"/>
            </c:ext>
          </c:extLst>
        </c:ser>
        <c:ser>
          <c:idx val="28"/>
          <c:order val="28"/>
          <c:tx>
            <c:strRef>
              <c:f>List1!$AD$1</c:f>
              <c:strCache>
                <c:ptCount val="1"/>
                <c:pt idx="0">
                  <c:v>29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9525">
                <a:solidFill>
                  <a:schemeClr val="tx1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AD$2:$AD$781</c:f>
              <c:numCache>
                <c:formatCode>General</c:formatCode>
                <c:ptCount val="780"/>
                <c:pt idx="728">
                  <c:v>1</c:v>
                </c:pt>
                <c:pt idx="729">
                  <c:v>2</c:v>
                </c:pt>
                <c:pt idx="730">
                  <c:v>3</c:v>
                </c:pt>
                <c:pt idx="731">
                  <c:v>4</c:v>
                </c:pt>
                <c:pt idx="732">
                  <c:v>5</c:v>
                </c:pt>
                <c:pt idx="733">
                  <c:v>6</c:v>
                </c:pt>
                <c:pt idx="734">
                  <c:v>7</c:v>
                </c:pt>
                <c:pt idx="735">
                  <c:v>8</c:v>
                </c:pt>
                <c:pt idx="736">
                  <c:v>9</c:v>
                </c:pt>
                <c:pt idx="737">
                  <c:v>10</c:v>
                </c:pt>
                <c:pt idx="738">
                  <c:v>11</c:v>
                </c:pt>
                <c:pt idx="739">
                  <c:v>12</c:v>
                </c:pt>
                <c:pt idx="740">
                  <c:v>13</c:v>
                </c:pt>
                <c:pt idx="741">
                  <c:v>14</c:v>
                </c:pt>
                <c:pt idx="742">
                  <c:v>15</c:v>
                </c:pt>
                <c:pt idx="743">
                  <c:v>16</c:v>
                </c:pt>
                <c:pt idx="744">
                  <c:v>17</c:v>
                </c:pt>
                <c:pt idx="745">
                  <c:v>18</c:v>
                </c:pt>
                <c:pt idx="746">
                  <c:v>19</c:v>
                </c:pt>
                <c:pt idx="747">
                  <c:v>20</c:v>
                </c:pt>
                <c:pt idx="748">
                  <c:v>21</c:v>
                </c:pt>
                <c:pt idx="749">
                  <c:v>22</c:v>
                </c:pt>
                <c:pt idx="750">
                  <c:v>23</c:v>
                </c:pt>
                <c:pt idx="751">
                  <c:v>24</c:v>
                </c:pt>
                <c:pt idx="752">
                  <c:v>25</c:v>
                </c:pt>
                <c:pt idx="753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D-081D-44D2-A874-08A3AF9633F1}"/>
            </c:ext>
          </c:extLst>
        </c:ser>
        <c:ser>
          <c:idx val="29"/>
          <c:order val="29"/>
          <c:tx>
            <c:strRef>
              <c:f>List1!$AE$1</c:f>
              <c:strCache>
                <c:ptCount val="1"/>
                <c:pt idx="0">
                  <c:v>30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0"/>
            <c:spPr>
              <a:solidFill>
                <a:srgbClr val="FF6600"/>
              </a:solidFill>
              <a:ln w="9525">
                <a:solidFill>
                  <a:srgbClr val="FF6600"/>
                </a:solidFill>
              </a:ln>
              <a:effectLst/>
            </c:spPr>
          </c:marker>
          <c:xVal>
            <c:numRef>
              <c:f>List1!$A$2:$A$781</c:f>
              <c:numCache>
                <c:formatCode>General</c:formatCode>
                <c:ptCount val="780"/>
                <c:pt idx="0">
                  <c:v>80.090909090908994</c:v>
                </c:pt>
                <c:pt idx="1">
                  <c:v>62.363636363636303</c:v>
                </c:pt>
                <c:pt idx="2">
                  <c:v>61.363636363636303</c:v>
                </c:pt>
                <c:pt idx="3">
                  <c:v>11.363636363636299</c:v>
                </c:pt>
                <c:pt idx="4">
                  <c:v>26.636363636363601</c:v>
                </c:pt>
                <c:pt idx="5">
                  <c:v>2.9090909090908998</c:v>
                </c:pt>
                <c:pt idx="6">
                  <c:v>5.9090909090909003</c:v>
                </c:pt>
                <c:pt idx="7">
                  <c:v>6.4545454545454497</c:v>
                </c:pt>
                <c:pt idx="8">
                  <c:v>14.1818181818181</c:v>
                </c:pt>
                <c:pt idx="9">
                  <c:v>16.181818181818102</c:v>
                </c:pt>
                <c:pt idx="10">
                  <c:v>31.363636363636299</c:v>
                </c:pt>
                <c:pt idx="11">
                  <c:v>0.90909090909090895</c:v>
                </c:pt>
                <c:pt idx="12">
                  <c:v>50.636363636363598</c:v>
                </c:pt>
                <c:pt idx="13">
                  <c:v>6.3636363636363598</c:v>
                </c:pt>
                <c:pt idx="14">
                  <c:v>8.1818181818181799</c:v>
                </c:pt>
                <c:pt idx="15">
                  <c:v>5.0909090909090899</c:v>
                </c:pt>
                <c:pt idx="16">
                  <c:v>0.81818181818181801</c:v>
                </c:pt>
                <c:pt idx="17">
                  <c:v>4.2727272727272698</c:v>
                </c:pt>
                <c:pt idx="18">
                  <c:v>2.63636363636363</c:v>
                </c:pt>
                <c:pt idx="19">
                  <c:v>2.2727272727272698</c:v>
                </c:pt>
                <c:pt idx="20">
                  <c:v>6.3636363636363598</c:v>
                </c:pt>
                <c:pt idx="21">
                  <c:v>0.63636363636363602</c:v>
                </c:pt>
                <c:pt idx="22">
                  <c:v>4.6363636363636296</c:v>
                </c:pt>
                <c:pt idx="23">
                  <c:v>0.63636363636363602</c:v>
                </c:pt>
                <c:pt idx="24">
                  <c:v>0.72727272727272696</c:v>
                </c:pt>
                <c:pt idx="25">
                  <c:v>130.81818181818099</c:v>
                </c:pt>
                <c:pt idx="26">
                  <c:v>301.81818181818102</c:v>
                </c:pt>
                <c:pt idx="27">
                  <c:v>128.636363636363</c:v>
                </c:pt>
                <c:pt idx="28">
                  <c:v>163.54545454545399</c:v>
                </c:pt>
                <c:pt idx="29">
                  <c:v>40.090909090909001</c:v>
                </c:pt>
                <c:pt idx="30">
                  <c:v>72.181818181818102</c:v>
                </c:pt>
                <c:pt idx="31">
                  <c:v>225.09090909090901</c:v>
                </c:pt>
                <c:pt idx="32">
                  <c:v>173.72727272727201</c:v>
                </c:pt>
                <c:pt idx="33">
                  <c:v>74.818181818181799</c:v>
                </c:pt>
                <c:pt idx="34">
                  <c:v>11.636363636363599</c:v>
                </c:pt>
                <c:pt idx="35">
                  <c:v>93.272727272727195</c:v>
                </c:pt>
                <c:pt idx="36">
                  <c:v>59.545454545454497</c:v>
                </c:pt>
                <c:pt idx="37">
                  <c:v>59.181818181818102</c:v>
                </c:pt>
                <c:pt idx="38">
                  <c:v>2.2727272727272698</c:v>
                </c:pt>
                <c:pt idx="39">
                  <c:v>74.454545454545396</c:v>
                </c:pt>
                <c:pt idx="40">
                  <c:v>31.4545454545454</c:v>
                </c:pt>
                <c:pt idx="41">
                  <c:v>56.818181818181799</c:v>
                </c:pt>
                <c:pt idx="42">
                  <c:v>61.272727272727202</c:v>
                </c:pt>
                <c:pt idx="43">
                  <c:v>2.8181818181818099</c:v>
                </c:pt>
                <c:pt idx="44">
                  <c:v>14.636363636363599</c:v>
                </c:pt>
                <c:pt idx="45">
                  <c:v>15</c:v>
                </c:pt>
                <c:pt idx="46">
                  <c:v>13.090909090908999</c:v>
                </c:pt>
                <c:pt idx="47">
                  <c:v>27.727272727272702</c:v>
                </c:pt>
                <c:pt idx="48">
                  <c:v>10</c:v>
                </c:pt>
                <c:pt idx="49">
                  <c:v>7.8181818181818103</c:v>
                </c:pt>
                <c:pt idx="50">
                  <c:v>13.545454545454501</c:v>
                </c:pt>
                <c:pt idx="51">
                  <c:v>447.45454545454498</c:v>
                </c:pt>
                <c:pt idx="52">
                  <c:v>179.272727272727</c:v>
                </c:pt>
                <c:pt idx="53">
                  <c:v>158.81818181818099</c:v>
                </c:pt>
                <c:pt idx="54">
                  <c:v>28.636363636363601</c:v>
                </c:pt>
                <c:pt idx="55">
                  <c:v>87</c:v>
                </c:pt>
                <c:pt idx="56">
                  <c:v>74.636363636363598</c:v>
                </c:pt>
                <c:pt idx="57">
                  <c:v>102.72727272727199</c:v>
                </c:pt>
                <c:pt idx="58">
                  <c:v>68.909090909090907</c:v>
                </c:pt>
                <c:pt idx="59">
                  <c:v>42.363636363636303</c:v>
                </c:pt>
                <c:pt idx="60">
                  <c:v>16.545454545454501</c:v>
                </c:pt>
                <c:pt idx="61">
                  <c:v>69.909090909090907</c:v>
                </c:pt>
                <c:pt idx="62">
                  <c:v>57.909090909090899</c:v>
                </c:pt>
                <c:pt idx="63">
                  <c:v>21.727272727272702</c:v>
                </c:pt>
                <c:pt idx="64">
                  <c:v>21.181818181818102</c:v>
                </c:pt>
                <c:pt idx="65">
                  <c:v>45.909090909090899</c:v>
                </c:pt>
                <c:pt idx="66">
                  <c:v>26.090909090909001</c:v>
                </c:pt>
                <c:pt idx="67">
                  <c:v>44.909090909090899</c:v>
                </c:pt>
                <c:pt idx="68">
                  <c:v>13.818181818181801</c:v>
                </c:pt>
                <c:pt idx="69">
                  <c:v>16.363636363636299</c:v>
                </c:pt>
                <c:pt idx="70">
                  <c:v>8.3636363636363598</c:v>
                </c:pt>
                <c:pt idx="71">
                  <c:v>17.636363636363601</c:v>
                </c:pt>
                <c:pt idx="72">
                  <c:v>19</c:v>
                </c:pt>
                <c:pt idx="73">
                  <c:v>45.909090909090899</c:v>
                </c:pt>
                <c:pt idx="74">
                  <c:v>5.8181818181818103</c:v>
                </c:pt>
                <c:pt idx="75">
                  <c:v>5</c:v>
                </c:pt>
                <c:pt idx="76">
                  <c:v>11.909090909090899</c:v>
                </c:pt>
                <c:pt idx="77">
                  <c:v>759.81818181818096</c:v>
                </c:pt>
                <c:pt idx="78">
                  <c:v>185.72727272727201</c:v>
                </c:pt>
                <c:pt idx="79">
                  <c:v>162</c:v>
                </c:pt>
                <c:pt idx="80">
                  <c:v>265.09090909090901</c:v>
                </c:pt>
                <c:pt idx="81">
                  <c:v>59.636363636363598</c:v>
                </c:pt>
                <c:pt idx="82">
                  <c:v>65.727272727272705</c:v>
                </c:pt>
                <c:pt idx="83">
                  <c:v>6.0909090909090899</c:v>
                </c:pt>
                <c:pt idx="84">
                  <c:v>19.4545454545454</c:v>
                </c:pt>
                <c:pt idx="85">
                  <c:v>25.818181818181799</c:v>
                </c:pt>
                <c:pt idx="86">
                  <c:v>6.0909090909090899</c:v>
                </c:pt>
                <c:pt idx="87">
                  <c:v>29.636363636363601</c:v>
                </c:pt>
                <c:pt idx="88">
                  <c:v>48.727272727272698</c:v>
                </c:pt>
                <c:pt idx="89">
                  <c:v>3.5454545454545401</c:v>
                </c:pt>
                <c:pt idx="90">
                  <c:v>7.9090909090909003</c:v>
                </c:pt>
                <c:pt idx="91">
                  <c:v>12.363636363636299</c:v>
                </c:pt>
                <c:pt idx="92">
                  <c:v>31.909090909090899</c:v>
                </c:pt>
                <c:pt idx="93">
                  <c:v>7.2727272727272698</c:v>
                </c:pt>
                <c:pt idx="94">
                  <c:v>2.0909090909090899</c:v>
                </c:pt>
                <c:pt idx="95">
                  <c:v>10</c:v>
                </c:pt>
                <c:pt idx="96">
                  <c:v>15</c:v>
                </c:pt>
                <c:pt idx="97">
                  <c:v>42.363636363636303</c:v>
                </c:pt>
                <c:pt idx="98">
                  <c:v>15.4545454545454</c:v>
                </c:pt>
                <c:pt idx="99">
                  <c:v>5.5454545454545396</c:v>
                </c:pt>
                <c:pt idx="100">
                  <c:v>10.1818181818181</c:v>
                </c:pt>
                <c:pt idx="101">
                  <c:v>4.0909090909090899</c:v>
                </c:pt>
                <c:pt idx="102">
                  <c:v>2</c:v>
                </c:pt>
                <c:pt idx="103">
                  <c:v>239.09090909090901</c:v>
                </c:pt>
                <c:pt idx="104">
                  <c:v>222.272727272727</c:v>
                </c:pt>
                <c:pt idx="105">
                  <c:v>234.09090909090901</c:v>
                </c:pt>
                <c:pt idx="106">
                  <c:v>187.90909090909</c:v>
                </c:pt>
                <c:pt idx="107">
                  <c:v>69.363636363636303</c:v>
                </c:pt>
                <c:pt idx="108">
                  <c:v>98.818181818181799</c:v>
                </c:pt>
                <c:pt idx="109">
                  <c:v>21.727272727272702</c:v>
                </c:pt>
                <c:pt idx="110">
                  <c:v>64.818181818181799</c:v>
                </c:pt>
                <c:pt idx="111">
                  <c:v>147</c:v>
                </c:pt>
                <c:pt idx="112">
                  <c:v>351.45454545454498</c:v>
                </c:pt>
                <c:pt idx="113">
                  <c:v>86.909090909090907</c:v>
                </c:pt>
                <c:pt idx="114">
                  <c:v>62.454545454545404</c:v>
                </c:pt>
                <c:pt idx="115">
                  <c:v>28.181818181818102</c:v>
                </c:pt>
                <c:pt idx="116">
                  <c:v>57.636363636363598</c:v>
                </c:pt>
                <c:pt idx="117">
                  <c:v>51.454545454545404</c:v>
                </c:pt>
                <c:pt idx="118">
                  <c:v>60.545454545454497</c:v>
                </c:pt>
                <c:pt idx="119">
                  <c:v>69.636363636363598</c:v>
                </c:pt>
                <c:pt idx="120">
                  <c:v>12.636363636363599</c:v>
                </c:pt>
                <c:pt idx="121">
                  <c:v>54.181818181818102</c:v>
                </c:pt>
                <c:pt idx="122">
                  <c:v>54.818181818181799</c:v>
                </c:pt>
                <c:pt idx="123">
                  <c:v>23.363636363636299</c:v>
                </c:pt>
                <c:pt idx="124">
                  <c:v>18.4545454545454</c:v>
                </c:pt>
                <c:pt idx="125">
                  <c:v>19</c:v>
                </c:pt>
                <c:pt idx="126">
                  <c:v>16.272727272727199</c:v>
                </c:pt>
                <c:pt idx="127">
                  <c:v>37.909090909090899</c:v>
                </c:pt>
                <c:pt idx="128">
                  <c:v>17.272727272727199</c:v>
                </c:pt>
                <c:pt idx="129">
                  <c:v>414</c:v>
                </c:pt>
                <c:pt idx="130">
                  <c:v>275.27272727272702</c:v>
                </c:pt>
                <c:pt idx="131">
                  <c:v>134.272727272727</c:v>
                </c:pt>
                <c:pt idx="132">
                  <c:v>235.72727272727201</c:v>
                </c:pt>
                <c:pt idx="133">
                  <c:v>34</c:v>
                </c:pt>
                <c:pt idx="134">
                  <c:v>48.818181818181799</c:v>
                </c:pt>
                <c:pt idx="135">
                  <c:v>38.454545454545404</c:v>
                </c:pt>
                <c:pt idx="136">
                  <c:v>18.090909090909001</c:v>
                </c:pt>
                <c:pt idx="137">
                  <c:v>83.727272727272705</c:v>
                </c:pt>
                <c:pt idx="138">
                  <c:v>5.3636363636363598</c:v>
                </c:pt>
                <c:pt idx="139">
                  <c:v>58.090909090909001</c:v>
                </c:pt>
                <c:pt idx="140">
                  <c:v>29.090909090909001</c:v>
                </c:pt>
                <c:pt idx="141">
                  <c:v>10.909090909090899</c:v>
                </c:pt>
                <c:pt idx="142">
                  <c:v>35.727272727272698</c:v>
                </c:pt>
                <c:pt idx="143">
                  <c:v>21.181818181818102</c:v>
                </c:pt>
                <c:pt idx="144">
                  <c:v>19.272727272727199</c:v>
                </c:pt>
                <c:pt idx="145">
                  <c:v>43.909090909090899</c:v>
                </c:pt>
                <c:pt idx="146">
                  <c:v>4.4545454545454497</c:v>
                </c:pt>
                <c:pt idx="147">
                  <c:v>22.090909090909001</c:v>
                </c:pt>
                <c:pt idx="148">
                  <c:v>18.363636363636299</c:v>
                </c:pt>
                <c:pt idx="149">
                  <c:v>12.272727272727201</c:v>
                </c:pt>
                <c:pt idx="150">
                  <c:v>9.5454545454545396</c:v>
                </c:pt>
                <c:pt idx="151">
                  <c:v>13.1818181818181</c:v>
                </c:pt>
                <c:pt idx="152">
                  <c:v>7.3636363636363598</c:v>
                </c:pt>
                <c:pt idx="153">
                  <c:v>26</c:v>
                </c:pt>
                <c:pt idx="154">
                  <c:v>5.5454545454545396</c:v>
                </c:pt>
                <c:pt idx="155">
                  <c:v>517</c:v>
                </c:pt>
                <c:pt idx="156">
                  <c:v>118.636363636363</c:v>
                </c:pt>
                <c:pt idx="157">
                  <c:v>104.272727272727</c:v>
                </c:pt>
                <c:pt idx="158">
                  <c:v>80.272727272727195</c:v>
                </c:pt>
                <c:pt idx="159">
                  <c:v>21.818181818181799</c:v>
                </c:pt>
                <c:pt idx="160">
                  <c:v>35.363636363636303</c:v>
                </c:pt>
                <c:pt idx="161">
                  <c:v>15.272727272727201</c:v>
                </c:pt>
                <c:pt idx="162">
                  <c:v>13.272727272727201</c:v>
                </c:pt>
                <c:pt idx="163">
                  <c:v>24.636363636363601</c:v>
                </c:pt>
                <c:pt idx="164">
                  <c:v>4.3636363636363598</c:v>
                </c:pt>
                <c:pt idx="165">
                  <c:v>41</c:v>
                </c:pt>
                <c:pt idx="166">
                  <c:v>23.727272727272702</c:v>
                </c:pt>
                <c:pt idx="167">
                  <c:v>2.4545454545454501</c:v>
                </c:pt>
                <c:pt idx="168">
                  <c:v>12</c:v>
                </c:pt>
                <c:pt idx="169">
                  <c:v>14.545454545454501</c:v>
                </c:pt>
                <c:pt idx="170">
                  <c:v>14.272727272727201</c:v>
                </c:pt>
                <c:pt idx="171">
                  <c:v>13.363636363636299</c:v>
                </c:pt>
                <c:pt idx="172">
                  <c:v>2</c:v>
                </c:pt>
                <c:pt idx="173">
                  <c:v>9.0909090909090899</c:v>
                </c:pt>
                <c:pt idx="174">
                  <c:v>7</c:v>
                </c:pt>
                <c:pt idx="175">
                  <c:v>10.363636363636299</c:v>
                </c:pt>
                <c:pt idx="176">
                  <c:v>8.3636363636363598</c:v>
                </c:pt>
                <c:pt idx="177">
                  <c:v>3.5454545454545401</c:v>
                </c:pt>
                <c:pt idx="178">
                  <c:v>6</c:v>
                </c:pt>
                <c:pt idx="179">
                  <c:v>3.63636363636363</c:v>
                </c:pt>
                <c:pt idx="180">
                  <c:v>4.5454545454545396</c:v>
                </c:pt>
                <c:pt idx="181">
                  <c:v>204.72727272727201</c:v>
                </c:pt>
                <c:pt idx="182">
                  <c:v>251.636363636363</c:v>
                </c:pt>
                <c:pt idx="183">
                  <c:v>196.636363636363</c:v>
                </c:pt>
                <c:pt idx="184">
                  <c:v>217.272727272727</c:v>
                </c:pt>
                <c:pt idx="185">
                  <c:v>61.181818181818102</c:v>
                </c:pt>
                <c:pt idx="186">
                  <c:v>122.363636363636</c:v>
                </c:pt>
                <c:pt idx="187">
                  <c:v>75.727272727272705</c:v>
                </c:pt>
                <c:pt idx="188">
                  <c:v>89.090909090908994</c:v>
                </c:pt>
                <c:pt idx="189">
                  <c:v>78.454545454545396</c:v>
                </c:pt>
                <c:pt idx="190">
                  <c:v>66.636363636363598</c:v>
                </c:pt>
                <c:pt idx="191">
                  <c:v>55.727272727272698</c:v>
                </c:pt>
                <c:pt idx="192">
                  <c:v>92</c:v>
                </c:pt>
                <c:pt idx="193">
                  <c:v>56.363636363636303</c:v>
                </c:pt>
                <c:pt idx="194">
                  <c:v>38.818181818181799</c:v>
                </c:pt>
                <c:pt idx="195">
                  <c:v>30</c:v>
                </c:pt>
                <c:pt idx="196">
                  <c:v>56.818181818181799</c:v>
                </c:pt>
                <c:pt idx="197">
                  <c:v>27.272727272727199</c:v>
                </c:pt>
                <c:pt idx="198">
                  <c:v>36.090909090909001</c:v>
                </c:pt>
                <c:pt idx="199">
                  <c:v>18.727272727272702</c:v>
                </c:pt>
                <c:pt idx="200">
                  <c:v>49.545454545454497</c:v>
                </c:pt>
                <c:pt idx="201">
                  <c:v>20.181818181818102</c:v>
                </c:pt>
                <c:pt idx="202">
                  <c:v>29</c:v>
                </c:pt>
                <c:pt idx="203">
                  <c:v>18.181818181818102</c:v>
                </c:pt>
                <c:pt idx="204">
                  <c:v>14.363636363636299</c:v>
                </c:pt>
                <c:pt idx="205">
                  <c:v>7.8181818181818103</c:v>
                </c:pt>
                <c:pt idx="206">
                  <c:v>5.9090909090909003</c:v>
                </c:pt>
                <c:pt idx="207">
                  <c:v>587.90909090908997</c:v>
                </c:pt>
                <c:pt idx="208">
                  <c:v>12.272727272727201</c:v>
                </c:pt>
                <c:pt idx="209">
                  <c:v>76.272727272727195</c:v>
                </c:pt>
                <c:pt idx="210">
                  <c:v>51.454545454545404</c:v>
                </c:pt>
                <c:pt idx="211">
                  <c:v>33.909090909090899</c:v>
                </c:pt>
                <c:pt idx="212">
                  <c:v>53.727272727272698</c:v>
                </c:pt>
                <c:pt idx="213">
                  <c:v>8.9090909090908994</c:v>
                </c:pt>
                <c:pt idx="214">
                  <c:v>11.545454545454501</c:v>
                </c:pt>
                <c:pt idx="215">
                  <c:v>46.909090909090899</c:v>
                </c:pt>
                <c:pt idx="216">
                  <c:v>18.818181818181799</c:v>
                </c:pt>
                <c:pt idx="217">
                  <c:v>1.0909090909090899</c:v>
                </c:pt>
                <c:pt idx="218">
                  <c:v>25.090909090909001</c:v>
                </c:pt>
                <c:pt idx="219">
                  <c:v>1.27272727272727</c:v>
                </c:pt>
                <c:pt idx="220">
                  <c:v>23.636363636363601</c:v>
                </c:pt>
                <c:pt idx="221">
                  <c:v>1.0909090909090899</c:v>
                </c:pt>
                <c:pt idx="222">
                  <c:v>12.272727272727201</c:v>
                </c:pt>
                <c:pt idx="223">
                  <c:v>1.4545454545454499</c:v>
                </c:pt>
                <c:pt idx="224">
                  <c:v>1.36363636363636</c:v>
                </c:pt>
                <c:pt idx="225">
                  <c:v>21.727272727272702</c:v>
                </c:pt>
                <c:pt idx="226">
                  <c:v>9.9090909090908994</c:v>
                </c:pt>
                <c:pt idx="227">
                  <c:v>7.1818181818181799</c:v>
                </c:pt>
                <c:pt idx="228">
                  <c:v>9.1818181818181799</c:v>
                </c:pt>
                <c:pt idx="229">
                  <c:v>0.81818181818181801</c:v>
                </c:pt>
                <c:pt idx="230">
                  <c:v>5.7272727272727204</c:v>
                </c:pt>
                <c:pt idx="231">
                  <c:v>31.090909090909001</c:v>
                </c:pt>
                <c:pt idx="232">
                  <c:v>0.36363636363636298</c:v>
                </c:pt>
                <c:pt idx="233">
                  <c:v>576.90909090908997</c:v>
                </c:pt>
                <c:pt idx="234">
                  <c:v>256.81818181818102</c:v>
                </c:pt>
                <c:pt idx="235">
                  <c:v>196.09090909090901</c:v>
                </c:pt>
                <c:pt idx="236">
                  <c:v>165.72727272727201</c:v>
                </c:pt>
                <c:pt idx="237">
                  <c:v>37.818181818181799</c:v>
                </c:pt>
                <c:pt idx="238">
                  <c:v>85</c:v>
                </c:pt>
                <c:pt idx="239">
                  <c:v>65.272727272727195</c:v>
                </c:pt>
                <c:pt idx="240">
                  <c:v>136.636363636363</c:v>
                </c:pt>
                <c:pt idx="241">
                  <c:v>75</c:v>
                </c:pt>
                <c:pt idx="242">
                  <c:v>82.818181818181799</c:v>
                </c:pt>
                <c:pt idx="243">
                  <c:v>64.818181818181799</c:v>
                </c:pt>
                <c:pt idx="244">
                  <c:v>70.909090909090907</c:v>
                </c:pt>
                <c:pt idx="245">
                  <c:v>65.818181818181799</c:v>
                </c:pt>
                <c:pt idx="246">
                  <c:v>48.909090909090899</c:v>
                </c:pt>
                <c:pt idx="247">
                  <c:v>33.727272727272698</c:v>
                </c:pt>
                <c:pt idx="248">
                  <c:v>36.181818181818102</c:v>
                </c:pt>
                <c:pt idx="249">
                  <c:v>33.090909090909001</c:v>
                </c:pt>
                <c:pt idx="250">
                  <c:v>46.909090909090899</c:v>
                </c:pt>
                <c:pt idx="251">
                  <c:v>22.727272727272702</c:v>
                </c:pt>
                <c:pt idx="252">
                  <c:v>21.818181818181799</c:v>
                </c:pt>
                <c:pt idx="253">
                  <c:v>17.4545454545454</c:v>
                </c:pt>
                <c:pt idx="254">
                  <c:v>26.636363636363601</c:v>
                </c:pt>
                <c:pt idx="255">
                  <c:v>22</c:v>
                </c:pt>
                <c:pt idx="256">
                  <c:v>21.636363636363601</c:v>
                </c:pt>
                <c:pt idx="257">
                  <c:v>12.090909090908999</c:v>
                </c:pt>
                <c:pt idx="258">
                  <c:v>8.4545454545454497</c:v>
                </c:pt>
                <c:pt idx="259">
                  <c:v>432.72727272727201</c:v>
                </c:pt>
                <c:pt idx="260">
                  <c:v>695.90909090908997</c:v>
                </c:pt>
                <c:pt idx="261">
                  <c:v>284.36363636363598</c:v>
                </c:pt>
                <c:pt idx="262">
                  <c:v>146.272727272727</c:v>
                </c:pt>
                <c:pt idx="263">
                  <c:v>38</c:v>
                </c:pt>
                <c:pt idx="264">
                  <c:v>79.090909090908994</c:v>
                </c:pt>
                <c:pt idx="265">
                  <c:v>183.09090909090901</c:v>
                </c:pt>
                <c:pt idx="266">
                  <c:v>8.8181818181818095</c:v>
                </c:pt>
                <c:pt idx="267">
                  <c:v>94.090909090908994</c:v>
                </c:pt>
                <c:pt idx="268">
                  <c:v>4.1818181818181799</c:v>
                </c:pt>
                <c:pt idx="269">
                  <c:v>106.272727272727</c:v>
                </c:pt>
                <c:pt idx="270">
                  <c:v>68.272727272727195</c:v>
                </c:pt>
                <c:pt idx="271">
                  <c:v>9.1818181818181799</c:v>
                </c:pt>
                <c:pt idx="272">
                  <c:v>54.636363636363598</c:v>
                </c:pt>
                <c:pt idx="273">
                  <c:v>57.181818181818102</c:v>
                </c:pt>
                <c:pt idx="274">
                  <c:v>62.545454545454497</c:v>
                </c:pt>
                <c:pt idx="275">
                  <c:v>52.636363636363598</c:v>
                </c:pt>
                <c:pt idx="276">
                  <c:v>10</c:v>
                </c:pt>
                <c:pt idx="277">
                  <c:v>23.272727272727199</c:v>
                </c:pt>
                <c:pt idx="278">
                  <c:v>31.090909090909001</c:v>
                </c:pt>
                <c:pt idx="279">
                  <c:v>54.636363636363598</c:v>
                </c:pt>
                <c:pt idx="280">
                  <c:v>17.363636363636299</c:v>
                </c:pt>
                <c:pt idx="281">
                  <c:v>6.2727272727272698</c:v>
                </c:pt>
                <c:pt idx="282">
                  <c:v>26.727272727272702</c:v>
                </c:pt>
                <c:pt idx="283">
                  <c:v>20.818181818181799</c:v>
                </c:pt>
                <c:pt idx="284">
                  <c:v>14.4545454545454</c:v>
                </c:pt>
                <c:pt idx="285">
                  <c:v>369.45454545454498</c:v>
                </c:pt>
                <c:pt idx="286">
                  <c:v>374.90909090909003</c:v>
                </c:pt>
                <c:pt idx="287">
                  <c:v>303.27272727272702</c:v>
                </c:pt>
                <c:pt idx="288">
                  <c:v>249.09090909090901</c:v>
                </c:pt>
                <c:pt idx="289">
                  <c:v>86</c:v>
                </c:pt>
                <c:pt idx="290">
                  <c:v>164</c:v>
                </c:pt>
                <c:pt idx="291">
                  <c:v>83.636363636363598</c:v>
                </c:pt>
                <c:pt idx="292">
                  <c:v>96.818181818181799</c:v>
                </c:pt>
                <c:pt idx="293">
                  <c:v>81.818181818181799</c:v>
                </c:pt>
                <c:pt idx="294">
                  <c:v>34.545454545454497</c:v>
                </c:pt>
                <c:pt idx="295">
                  <c:v>75.636363636363598</c:v>
                </c:pt>
                <c:pt idx="296">
                  <c:v>82.636363636363598</c:v>
                </c:pt>
                <c:pt idx="297">
                  <c:v>59.363636363636303</c:v>
                </c:pt>
                <c:pt idx="298">
                  <c:v>48.636363636363598</c:v>
                </c:pt>
                <c:pt idx="299">
                  <c:v>42.272727272727202</c:v>
                </c:pt>
                <c:pt idx="300">
                  <c:v>50.545454545454497</c:v>
                </c:pt>
                <c:pt idx="301">
                  <c:v>42.727272727272698</c:v>
                </c:pt>
                <c:pt idx="302">
                  <c:v>44.090909090909001</c:v>
                </c:pt>
                <c:pt idx="303">
                  <c:v>25.636363636363601</c:v>
                </c:pt>
                <c:pt idx="304">
                  <c:v>30.181818181818102</c:v>
                </c:pt>
                <c:pt idx="305">
                  <c:v>24.818181818181799</c:v>
                </c:pt>
                <c:pt idx="306">
                  <c:v>33.272727272727202</c:v>
                </c:pt>
                <c:pt idx="307">
                  <c:v>21.818181818181799</c:v>
                </c:pt>
                <c:pt idx="308">
                  <c:v>34.636363636363598</c:v>
                </c:pt>
                <c:pt idx="309">
                  <c:v>13.090909090908999</c:v>
                </c:pt>
                <c:pt idx="310">
                  <c:v>15.545454545454501</c:v>
                </c:pt>
                <c:pt idx="311">
                  <c:v>693.09090909090901</c:v>
                </c:pt>
                <c:pt idx="312">
                  <c:v>51.272727272727202</c:v>
                </c:pt>
                <c:pt idx="313">
                  <c:v>66.090909090908994</c:v>
                </c:pt>
                <c:pt idx="314">
                  <c:v>14.636363636363599</c:v>
                </c:pt>
                <c:pt idx="315">
                  <c:v>28.090909090909001</c:v>
                </c:pt>
                <c:pt idx="316">
                  <c:v>26.272727272727199</c:v>
                </c:pt>
                <c:pt idx="317">
                  <c:v>6.4545454545454497</c:v>
                </c:pt>
                <c:pt idx="318">
                  <c:v>6.5454545454545396</c:v>
                </c:pt>
                <c:pt idx="319">
                  <c:v>7.4545454545454497</c:v>
                </c:pt>
                <c:pt idx="320">
                  <c:v>3.1818181818181799</c:v>
                </c:pt>
                <c:pt idx="321">
                  <c:v>12.4545454545454</c:v>
                </c:pt>
                <c:pt idx="322">
                  <c:v>51.181818181818102</c:v>
                </c:pt>
                <c:pt idx="323">
                  <c:v>0.90909090909090895</c:v>
                </c:pt>
                <c:pt idx="324">
                  <c:v>1.63636363636363</c:v>
                </c:pt>
                <c:pt idx="325">
                  <c:v>5.3636363636363598</c:v>
                </c:pt>
                <c:pt idx="326">
                  <c:v>9.8181818181818095</c:v>
                </c:pt>
                <c:pt idx="327">
                  <c:v>4.5454545454545396</c:v>
                </c:pt>
                <c:pt idx="328">
                  <c:v>0.72727272727272696</c:v>
                </c:pt>
                <c:pt idx="329">
                  <c:v>3.5454545454545401</c:v>
                </c:pt>
                <c:pt idx="330">
                  <c:v>6.3636363636363598</c:v>
                </c:pt>
                <c:pt idx="331">
                  <c:v>4.5454545454545396</c:v>
                </c:pt>
                <c:pt idx="332">
                  <c:v>11.1818181818181</c:v>
                </c:pt>
                <c:pt idx="333">
                  <c:v>1</c:v>
                </c:pt>
                <c:pt idx="334">
                  <c:v>4.2727272727272698</c:v>
                </c:pt>
                <c:pt idx="335">
                  <c:v>1</c:v>
                </c:pt>
                <c:pt idx="336">
                  <c:v>0.54545454545454497</c:v>
                </c:pt>
                <c:pt idx="337">
                  <c:v>112.72727272727199</c:v>
                </c:pt>
                <c:pt idx="338">
                  <c:v>203.18181818181799</c:v>
                </c:pt>
                <c:pt idx="339">
                  <c:v>160.09090909090901</c:v>
                </c:pt>
                <c:pt idx="340">
                  <c:v>258.81818181818102</c:v>
                </c:pt>
                <c:pt idx="341">
                  <c:v>45.818181818181799</c:v>
                </c:pt>
                <c:pt idx="342">
                  <c:v>68.363636363636303</c:v>
                </c:pt>
                <c:pt idx="343">
                  <c:v>156.90909090909</c:v>
                </c:pt>
                <c:pt idx="344">
                  <c:v>60.181818181818102</c:v>
                </c:pt>
                <c:pt idx="345">
                  <c:v>126.272727272727</c:v>
                </c:pt>
                <c:pt idx="346">
                  <c:v>77.727272727272705</c:v>
                </c:pt>
                <c:pt idx="347">
                  <c:v>87</c:v>
                </c:pt>
                <c:pt idx="348">
                  <c:v>38.636363636363598</c:v>
                </c:pt>
                <c:pt idx="349">
                  <c:v>38.454545454545404</c:v>
                </c:pt>
                <c:pt idx="350">
                  <c:v>52</c:v>
                </c:pt>
                <c:pt idx="351">
                  <c:v>49.363636363636303</c:v>
                </c:pt>
                <c:pt idx="352">
                  <c:v>27.272727272727199</c:v>
                </c:pt>
                <c:pt idx="353">
                  <c:v>47.545454545454497</c:v>
                </c:pt>
                <c:pt idx="354">
                  <c:v>32.727272727272698</c:v>
                </c:pt>
                <c:pt idx="355">
                  <c:v>38</c:v>
                </c:pt>
                <c:pt idx="356">
                  <c:v>21.909090909090899</c:v>
                </c:pt>
                <c:pt idx="357">
                  <c:v>34.090909090909001</c:v>
                </c:pt>
                <c:pt idx="358">
                  <c:v>11.909090909090899</c:v>
                </c:pt>
                <c:pt idx="359">
                  <c:v>13</c:v>
                </c:pt>
                <c:pt idx="360">
                  <c:v>14.636363636363599</c:v>
                </c:pt>
                <c:pt idx="361">
                  <c:v>7.1818181818181799</c:v>
                </c:pt>
                <c:pt idx="362">
                  <c:v>11.7272727272727</c:v>
                </c:pt>
                <c:pt idx="363">
                  <c:v>664.45454545454504</c:v>
                </c:pt>
                <c:pt idx="364">
                  <c:v>368.36363636363598</c:v>
                </c:pt>
                <c:pt idx="365">
                  <c:v>358.36363636363598</c:v>
                </c:pt>
                <c:pt idx="366">
                  <c:v>355.09090909090901</c:v>
                </c:pt>
                <c:pt idx="367">
                  <c:v>136.18181818181799</c:v>
                </c:pt>
                <c:pt idx="368">
                  <c:v>124.90909090909</c:v>
                </c:pt>
                <c:pt idx="369">
                  <c:v>81.272727272727195</c:v>
                </c:pt>
                <c:pt idx="370">
                  <c:v>44.818181818181799</c:v>
                </c:pt>
                <c:pt idx="371">
                  <c:v>96.090909090908994</c:v>
                </c:pt>
                <c:pt idx="372">
                  <c:v>7.9090909090909003</c:v>
                </c:pt>
                <c:pt idx="373">
                  <c:v>93.727272727272705</c:v>
                </c:pt>
                <c:pt idx="374">
                  <c:v>65</c:v>
                </c:pt>
                <c:pt idx="375">
                  <c:v>14.818181818181801</c:v>
                </c:pt>
                <c:pt idx="376">
                  <c:v>41.909090909090899</c:v>
                </c:pt>
                <c:pt idx="377">
                  <c:v>42.818181818181799</c:v>
                </c:pt>
                <c:pt idx="378">
                  <c:v>46.636363636363598</c:v>
                </c:pt>
                <c:pt idx="379">
                  <c:v>54.545454545454497</c:v>
                </c:pt>
                <c:pt idx="380">
                  <c:v>13.909090909090899</c:v>
                </c:pt>
                <c:pt idx="381">
                  <c:v>37.909090909090899</c:v>
                </c:pt>
                <c:pt idx="382">
                  <c:v>25.363636363636299</c:v>
                </c:pt>
                <c:pt idx="383">
                  <c:v>25.818181818181799</c:v>
                </c:pt>
                <c:pt idx="384">
                  <c:v>24.363636363636299</c:v>
                </c:pt>
                <c:pt idx="385">
                  <c:v>7.1818181818181799</c:v>
                </c:pt>
                <c:pt idx="386">
                  <c:v>15.7272727272727</c:v>
                </c:pt>
                <c:pt idx="387">
                  <c:v>7.3636363636363598</c:v>
                </c:pt>
                <c:pt idx="388">
                  <c:v>11</c:v>
                </c:pt>
                <c:pt idx="389">
                  <c:v>769.72727272727195</c:v>
                </c:pt>
                <c:pt idx="390">
                  <c:v>348</c:v>
                </c:pt>
                <c:pt idx="391">
                  <c:v>237.45454545454501</c:v>
                </c:pt>
                <c:pt idx="392">
                  <c:v>162.18181818181799</c:v>
                </c:pt>
                <c:pt idx="393">
                  <c:v>29.818181818181799</c:v>
                </c:pt>
                <c:pt idx="394">
                  <c:v>36.636363636363598</c:v>
                </c:pt>
                <c:pt idx="395">
                  <c:v>17.636363636363601</c:v>
                </c:pt>
                <c:pt idx="396">
                  <c:v>24.272727272727199</c:v>
                </c:pt>
                <c:pt idx="397">
                  <c:v>48</c:v>
                </c:pt>
                <c:pt idx="398">
                  <c:v>4.4545454545454497</c:v>
                </c:pt>
                <c:pt idx="399">
                  <c:v>107.09090909090899</c:v>
                </c:pt>
                <c:pt idx="400">
                  <c:v>50.727272727272698</c:v>
                </c:pt>
                <c:pt idx="401">
                  <c:v>8</c:v>
                </c:pt>
                <c:pt idx="402">
                  <c:v>11.090909090908999</c:v>
                </c:pt>
                <c:pt idx="403">
                  <c:v>57</c:v>
                </c:pt>
                <c:pt idx="404">
                  <c:v>51.363636363636303</c:v>
                </c:pt>
                <c:pt idx="405">
                  <c:v>36.363636363636303</c:v>
                </c:pt>
                <c:pt idx="406">
                  <c:v>6.7272727272727204</c:v>
                </c:pt>
                <c:pt idx="407">
                  <c:v>16.181818181818102</c:v>
                </c:pt>
                <c:pt idx="408">
                  <c:v>28</c:v>
                </c:pt>
                <c:pt idx="409">
                  <c:v>11.818181818181801</c:v>
                </c:pt>
                <c:pt idx="410">
                  <c:v>17.363636363636299</c:v>
                </c:pt>
                <c:pt idx="411">
                  <c:v>3.8181818181818099</c:v>
                </c:pt>
                <c:pt idx="412">
                  <c:v>19.272727272727199</c:v>
                </c:pt>
                <c:pt idx="413">
                  <c:v>7.0909090909090899</c:v>
                </c:pt>
                <c:pt idx="414">
                  <c:v>7.7272727272727204</c:v>
                </c:pt>
                <c:pt idx="415">
                  <c:v>337.636363636363</c:v>
                </c:pt>
                <c:pt idx="416">
                  <c:v>198.90909090909</c:v>
                </c:pt>
                <c:pt idx="417">
                  <c:v>173.18181818181799</c:v>
                </c:pt>
                <c:pt idx="418">
                  <c:v>110.363636363636</c:v>
                </c:pt>
                <c:pt idx="419">
                  <c:v>62.454545454545404</c:v>
                </c:pt>
                <c:pt idx="420">
                  <c:v>132.90909090909</c:v>
                </c:pt>
                <c:pt idx="421">
                  <c:v>81.909090909090907</c:v>
                </c:pt>
                <c:pt idx="422">
                  <c:v>48.454545454545404</c:v>
                </c:pt>
                <c:pt idx="423">
                  <c:v>61.909090909090899</c:v>
                </c:pt>
                <c:pt idx="424">
                  <c:v>27.181818181818102</c:v>
                </c:pt>
                <c:pt idx="425">
                  <c:v>57.727272727272698</c:v>
                </c:pt>
                <c:pt idx="426">
                  <c:v>34.454545454545404</c:v>
                </c:pt>
                <c:pt idx="427">
                  <c:v>13.090909090908999</c:v>
                </c:pt>
                <c:pt idx="428">
                  <c:v>30.363636363636299</c:v>
                </c:pt>
                <c:pt idx="429">
                  <c:v>30.727272727272702</c:v>
                </c:pt>
                <c:pt idx="430">
                  <c:v>28.818181818181799</c:v>
                </c:pt>
                <c:pt idx="431">
                  <c:v>25.636363636363601</c:v>
                </c:pt>
                <c:pt idx="432">
                  <c:v>20.636363636363601</c:v>
                </c:pt>
                <c:pt idx="433">
                  <c:v>23.727272727272702</c:v>
                </c:pt>
                <c:pt idx="434">
                  <c:v>12.090909090908999</c:v>
                </c:pt>
                <c:pt idx="435">
                  <c:v>18.727272727272702</c:v>
                </c:pt>
                <c:pt idx="436">
                  <c:v>13.090909090908999</c:v>
                </c:pt>
                <c:pt idx="437">
                  <c:v>8.2727272727272698</c:v>
                </c:pt>
                <c:pt idx="438">
                  <c:v>6.5454545454545396</c:v>
                </c:pt>
                <c:pt idx="439">
                  <c:v>6.7272727272727204</c:v>
                </c:pt>
                <c:pt idx="440">
                  <c:v>8.9090909090908994</c:v>
                </c:pt>
                <c:pt idx="441">
                  <c:v>521.90909090908997</c:v>
                </c:pt>
                <c:pt idx="442">
                  <c:v>95.545454545454504</c:v>
                </c:pt>
                <c:pt idx="443">
                  <c:v>73.818181818181799</c:v>
                </c:pt>
                <c:pt idx="444">
                  <c:v>48.545454545454497</c:v>
                </c:pt>
                <c:pt idx="445">
                  <c:v>29.090909090909001</c:v>
                </c:pt>
                <c:pt idx="446">
                  <c:v>25.363636363636299</c:v>
                </c:pt>
                <c:pt idx="447">
                  <c:v>19.363636363636299</c:v>
                </c:pt>
                <c:pt idx="448">
                  <c:v>9.8181818181818095</c:v>
                </c:pt>
                <c:pt idx="449">
                  <c:v>18.090909090909001</c:v>
                </c:pt>
                <c:pt idx="450">
                  <c:v>17.909090909090899</c:v>
                </c:pt>
                <c:pt idx="451">
                  <c:v>13.7272727272727</c:v>
                </c:pt>
                <c:pt idx="452">
                  <c:v>17.090909090909001</c:v>
                </c:pt>
                <c:pt idx="453">
                  <c:v>4.8181818181818103</c:v>
                </c:pt>
                <c:pt idx="454">
                  <c:v>8.7272727272727195</c:v>
                </c:pt>
                <c:pt idx="455">
                  <c:v>7.1818181818181799</c:v>
                </c:pt>
                <c:pt idx="456">
                  <c:v>10.1818181818181</c:v>
                </c:pt>
                <c:pt idx="457">
                  <c:v>10.636363636363599</c:v>
                </c:pt>
                <c:pt idx="458">
                  <c:v>5</c:v>
                </c:pt>
                <c:pt idx="459">
                  <c:v>9.7272727272727195</c:v>
                </c:pt>
                <c:pt idx="460">
                  <c:v>6.3636363636363598</c:v>
                </c:pt>
                <c:pt idx="461">
                  <c:v>7</c:v>
                </c:pt>
                <c:pt idx="462">
                  <c:v>4.9090909090909003</c:v>
                </c:pt>
                <c:pt idx="463">
                  <c:v>2.4545454545454501</c:v>
                </c:pt>
                <c:pt idx="464">
                  <c:v>2.4545454545454501</c:v>
                </c:pt>
                <c:pt idx="465">
                  <c:v>1.8181818181818099</c:v>
                </c:pt>
                <c:pt idx="466">
                  <c:v>1.8181818181818099</c:v>
                </c:pt>
                <c:pt idx="467">
                  <c:v>154.81818181818099</c:v>
                </c:pt>
                <c:pt idx="468">
                  <c:v>211.45454545454501</c:v>
                </c:pt>
                <c:pt idx="469">
                  <c:v>107.454545454545</c:v>
                </c:pt>
                <c:pt idx="470">
                  <c:v>113.454545454545</c:v>
                </c:pt>
                <c:pt idx="471">
                  <c:v>20.818181818181799</c:v>
                </c:pt>
                <c:pt idx="472">
                  <c:v>10.545454545454501</c:v>
                </c:pt>
                <c:pt idx="473">
                  <c:v>3.3636363636363602</c:v>
                </c:pt>
                <c:pt idx="474">
                  <c:v>1.27272727272727</c:v>
                </c:pt>
                <c:pt idx="475">
                  <c:v>45.545454545454497</c:v>
                </c:pt>
                <c:pt idx="476">
                  <c:v>1.27272727272727</c:v>
                </c:pt>
                <c:pt idx="477">
                  <c:v>32.090909090909001</c:v>
                </c:pt>
                <c:pt idx="478">
                  <c:v>29.818181818181799</c:v>
                </c:pt>
                <c:pt idx="479">
                  <c:v>9.0909090909090898E-2</c:v>
                </c:pt>
                <c:pt idx="480">
                  <c:v>14.909090909090899</c:v>
                </c:pt>
                <c:pt idx="481">
                  <c:v>19.727272727272702</c:v>
                </c:pt>
                <c:pt idx="482">
                  <c:v>14.818181818181801</c:v>
                </c:pt>
                <c:pt idx="483">
                  <c:v>12.909090909090899</c:v>
                </c:pt>
                <c:pt idx="484">
                  <c:v>0.27272727272727199</c:v>
                </c:pt>
                <c:pt idx="485">
                  <c:v>13.090909090908999</c:v>
                </c:pt>
                <c:pt idx="486">
                  <c:v>13.1818181818181</c:v>
                </c:pt>
                <c:pt idx="487">
                  <c:v>12.7272727272727</c:v>
                </c:pt>
                <c:pt idx="488">
                  <c:v>5.4545454545454497</c:v>
                </c:pt>
                <c:pt idx="489">
                  <c:v>0</c:v>
                </c:pt>
                <c:pt idx="490">
                  <c:v>8.2727272727272698</c:v>
                </c:pt>
                <c:pt idx="491">
                  <c:v>2.2727272727272698</c:v>
                </c:pt>
                <c:pt idx="492">
                  <c:v>2.2727272727272698</c:v>
                </c:pt>
                <c:pt idx="493">
                  <c:v>116.54545454545401</c:v>
                </c:pt>
                <c:pt idx="494">
                  <c:v>77.636363636363598</c:v>
                </c:pt>
                <c:pt idx="495">
                  <c:v>56.545454545454497</c:v>
                </c:pt>
                <c:pt idx="496">
                  <c:v>34.545454545454497</c:v>
                </c:pt>
                <c:pt idx="497">
                  <c:v>19.909090909090899</c:v>
                </c:pt>
                <c:pt idx="498">
                  <c:v>23.363636363636299</c:v>
                </c:pt>
                <c:pt idx="499">
                  <c:v>9.3636363636363598</c:v>
                </c:pt>
                <c:pt idx="500">
                  <c:v>15</c:v>
                </c:pt>
                <c:pt idx="501">
                  <c:v>14.7272727272727</c:v>
                </c:pt>
                <c:pt idx="502">
                  <c:v>8.6363636363636296</c:v>
                </c:pt>
                <c:pt idx="503">
                  <c:v>15.545454545454501</c:v>
                </c:pt>
                <c:pt idx="504">
                  <c:v>23.818181818181799</c:v>
                </c:pt>
                <c:pt idx="505">
                  <c:v>4.5454545454545396</c:v>
                </c:pt>
                <c:pt idx="506">
                  <c:v>3.9090909090908998</c:v>
                </c:pt>
                <c:pt idx="507">
                  <c:v>5.7272727272727204</c:v>
                </c:pt>
                <c:pt idx="508">
                  <c:v>9.0909090909090899</c:v>
                </c:pt>
                <c:pt idx="509">
                  <c:v>5.3636363636363598</c:v>
                </c:pt>
                <c:pt idx="510">
                  <c:v>2.1818181818181799</c:v>
                </c:pt>
                <c:pt idx="511">
                  <c:v>5.8181818181818103</c:v>
                </c:pt>
                <c:pt idx="512">
                  <c:v>4.6363636363636296</c:v>
                </c:pt>
                <c:pt idx="513">
                  <c:v>6.1818181818181799</c:v>
                </c:pt>
                <c:pt idx="514">
                  <c:v>7.4545454545454497</c:v>
                </c:pt>
                <c:pt idx="515">
                  <c:v>3</c:v>
                </c:pt>
                <c:pt idx="516">
                  <c:v>4.2727272727272698</c:v>
                </c:pt>
                <c:pt idx="517">
                  <c:v>1.36363636363636</c:v>
                </c:pt>
                <c:pt idx="518">
                  <c:v>1.27272727272727</c:v>
                </c:pt>
                <c:pt idx="519">
                  <c:v>168.18181818181799</c:v>
                </c:pt>
                <c:pt idx="520">
                  <c:v>35.727272727272698</c:v>
                </c:pt>
                <c:pt idx="521">
                  <c:v>58.545454545454497</c:v>
                </c:pt>
                <c:pt idx="522">
                  <c:v>76.545454545454504</c:v>
                </c:pt>
                <c:pt idx="523">
                  <c:v>39.545454545454497</c:v>
                </c:pt>
                <c:pt idx="524">
                  <c:v>28.363636363636299</c:v>
                </c:pt>
                <c:pt idx="525">
                  <c:v>3.4545454545454501</c:v>
                </c:pt>
                <c:pt idx="526">
                  <c:v>8</c:v>
                </c:pt>
                <c:pt idx="527">
                  <c:v>12.4545454545454</c:v>
                </c:pt>
                <c:pt idx="528">
                  <c:v>2.8181818181818099</c:v>
                </c:pt>
                <c:pt idx="529">
                  <c:v>13.090909090908999</c:v>
                </c:pt>
                <c:pt idx="530">
                  <c:v>13</c:v>
                </c:pt>
                <c:pt idx="531">
                  <c:v>1.72727272727272</c:v>
                </c:pt>
                <c:pt idx="532">
                  <c:v>6.2727272727272698</c:v>
                </c:pt>
                <c:pt idx="533">
                  <c:v>4.4545454545454497</c:v>
                </c:pt>
                <c:pt idx="534">
                  <c:v>10.1818181818181</c:v>
                </c:pt>
                <c:pt idx="535">
                  <c:v>5.6363636363636296</c:v>
                </c:pt>
                <c:pt idx="536">
                  <c:v>1.63636363636363</c:v>
                </c:pt>
                <c:pt idx="537">
                  <c:v>5.9090909090909003</c:v>
                </c:pt>
                <c:pt idx="538">
                  <c:v>4.5454545454545396</c:v>
                </c:pt>
                <c:pt idx="539">
                  <c:v>5.4545454545454497</c:v>
                </c:pt>
                <c:pt idx="540">
                  <c:v>4.2727272727272698</c:v>
                </c:pt>
                <c:pt idx="541">
                  <c:v>1.5454545454545401</c:v>
                </c:pt>
                <c:pt idx="542">
                  <c:v>2.2727272727272698</c:v>
                </c:pt>
                <c:pt idx="543">
                  <c:v>1.36363636363636</c:v>
                </c:pt>
                <c:pt idx="544">
                  <c:v>1.5454545454545401</c:v>
                </c:pt>
                <c:pt idx="545">
                  <c:v>117.90909090909</c:v>
                </c:pt>
                <c:pt idx="546">
                  <c:v>218</c:v>
                </c:pt>
                <c:pt idx="547">
                  <c:v>166.81818181818099</c:v>
                </c:pt>
                <c:pt idx="548">
                  <c:v>175.363636363636</c:v>
                </c:pt>
                <c:pt idx="549">
                  <c:v>68.727272727272705</c:v>
                </c:pt>
                <c:pt idx="550">
                  <c:v>57.454545454545404</c:v>
                </c:pt>
                <c:pt idx="551">
                  <c:v>17.272727272727199</c:v>
                </c:pt>
                <c:pt idx="552">
                  <c:v>38.636363636363598</c:v>
                </c:pt>
                <c:pt idx="553">
                  <c:v>46.909090909090899</c:v>
                </c:pt>
                <c:pt idx="554">
                  <c:v>6.9090909090909003</c:v>
                </c:pt>
                <c:pt idx="555">
                  <c:v>31.181818181818102</c:v>
                </c:pt>
                <c:pt idx="556">
                  <c:v>36</c:v>
                </c:pt>
                <c:pt idx="557">
                  <c:v>9.8181818181818095</c:v>
                </c:pt>
                <c:pt idx="558">
                  <c:v>27.363636363636299</c:v>
                </c:pt>
                <c:pt idx="559">
                  <c:v>20.818181818181799</c:v>
                </c:pt>
                <c:pt idx="560">
                  <c:v>30</c:v>
                </c:pt>
                <c:pt idx="561">
                  <c:v>15.545454545454501</c:v>
                </c:pt>
                <c:pt idx="562">
                  <c:v>11.909090909090899</c:v>
                </c:pt>
                <c:pt idx="563">
                  <c:v>15.545454545454501</c:v>
                </c:pt>
                <c:pt idx="564">
                  <c:v>15.363636363636299</c:v>
                </c:pt>
                <c:pt idx="565">
                  <c:v>13.1818181818181</c:v>
                </c:pt>
                <c:pt idx="566">
                  <c:v>12.272727272727201</c:v>
                </c:pt>
                <c:pt idx="567">
                  <c:v>5.5454545454545396</c:v>
                </c:pt>
                <c:pt idx="568">
                  <c:v>10.818181818181801</c:v>
                </c:pt>
                <c:pt idx="569">
                  <c:v>4.9090909090909003</c:v>
                </c:pt>
                <c:pt idx="570">
                  <c:v>4.2727272727272698</c:v>
                </c:pt>
                <c:pt idx="571">
                  <c:v>341</c:v>
                </c:pt>
                <c:pt idx="572">
                  <c:v>253.54545454545399</c:v>
                </c:pt>
                <c:pt idx="573">
                  <c:v>249.72727272727201</c:v>
                </c:pt>
                <c:pt idx="574">
                  <c:v>91</c:v>
                </c:pt>
                <c:pt idx="575">
                  <c:v>85.363636363636303</c:v>
                </c:pt>
                <c:pt idx="576">
                  <c:v>76.454545454545396</c:v>
                </c:pt>
                <c:pt idx="577">
                  <c:v>54.636363636363598</c:v>
                </c:pt>
                <c:pt idx="578">
                  <c:v>27.363636363636299</c:v>
                </c:pt>
                <c:pt idx="579">
                  <c:v>70.909090909090907</c:v>
                </c:pt>
                <c:pt idx="580">
                  <c:v>29.909090909090899</c:v>
                </c:pt>
                <c:pt idx="581">
                  <c:v>73.090909090908994</c:v>
                </c:pt>
                <c:pt idx="582">
                  <c:v>61.363636363636303</c:v>
                </c:pt>
                <c:pt idx="583">
                  <c:v>7.4545454545454497</c:v>
                </c:pt>
                <c:pt idx="584">
                  <c:v>17.636363636363601</c:v>
                </c:pt>
                <c:pt idx="585">
                  <c:v>28.636363636363601</c:v>
                </c:pt>
                <c:pt idx="586">
                  <c:v>34.181818181818102</c:v>
                </c:pt>
                <c:pt idx="587">
                  <c:v>16.545454545454501</c:v>
                </c:pt>
                <c:pt idx="588">
                  <c:v>2.63636363636363</c:v>
                </c:pt>
                <c:pt idx="589">
                  <c:v>21.363636363636299</c:v>
                </c:pt>
                <c:pt idx="590">
                  <c:v>25.818181818181799</c:v>
                </c:pt>
                <c:pt idx="591">
                  <c:v>20.090909090909001</c:v>
                </c:pt>
                <c:pt idx="592">
                  <c:v>18.4545454545454</c:v>
                </c:pt>
                <c:pt idx="593">
                  <c:v>6.8181818181818103</c:v>
                </c:pt>
                <c:pt idx="594">
                  <c:v>9.2727272727272698</c:v>
                </c:pt>
                <c:pt idx="595">
                  <c:v>5.2727272727272698</c:v>
                </c:pt>
                <c:pt idx="596">
                  <c:v>7.4545454545454497</c:v>
                </c:pt>
                <c:pt idx="597">
                  <c:v>572</c:v>
                </c:pt>
                <c:pt idx="598">
                  <c:v>129.45454545454501</c:v>
                </c:pt>
                <c:pt idx="599">
                  <c:v>125.181818181818</c:v>
                </c:pt>
                <c:pt idx="600">
                  <c:v>87.090909090908994</c:v>
                </c:pt>
                <c:pt idx="601">
                  <c:v>40.545454545454497</c:v>
                </c:pt>
                <c:pt idx="602">
                  <c:v>49.090909090909001</c:v>
                </c:pt>
                <c:pt idx="603">
                  <c:v>54.454545454545404</c:v>
                </c:pt>
                <c:pt idx="604">
                  <c:v>19.181818181818102</c:v>
                </c:pt>
                <c:pt idx="605">
                  <c:v>52.636363636363598</c:v>
                </c:pt>
                <c:pt idx="606">
                  <c:v>4.8181818181818103</c:v>
                </c:pt>
                <c:pt idx="607">
                  <c:v>49.272727272727202</c:v>
                </c:pt>
                <c:pt idx="608">
                  <c:v>38.363636363636303</c:v>
                </c:pt>
                <c:pt idx="609">
                  <c:v>4.1818181818181799</c:v>
                </c:pt>
                <c:pt idx="610">
                  <c:v>22.4545454545454</c:v>
                </c:pt>
                <c:pt idx="611">
                  <c:v>30.909090909090899</c:v>
                </c:pt>
                <c:pt idx="612">
                  <c:v>25.090909090909001</c:v>
                </c:pt>
                <c:pt idx="613">
                  <c:v>22.181818181818102</c:v>
                </c:pt>
                <c:pt idx="614">
                  <c:v>2.5454545454545401</c:v>
                </c:pt>
                <c:pt idx="615">
                  <c:v>14.272727272727201</c:v>
                </c:pt>
                <c:pt idx="616">
                  <c:v>14.272727272727201</c:v>
                </c:pt>
                <c:pt idx="617">
                  <c:v>12.7272727272727</c:v>
                </c:pt>
                <c:pt idx="618">
                  <c:v>10.818181818181801</c:v>
                </c:pt>
                <c:pt idx="619">
                  <c:v>4.0909090909090899</c:v>
                </c:pt>
                <c:pt idx="620">
                  <c:v>8.9090909090908994</c:v>
                </c:pt>
                <c:pt idx="621">
                  <c:v>5.7272727272727204</c:v>
                </c:pt>
                <c:pt idx="622">
                  <c:v>5.5454545454545396</c:v>
                </c:pt>
                <c:pt idx="623">
                  <c:v>323.636363636363</c:v>
                </c:pt>
                <c:pt idx="624">
                  <c:v>82.090909090908994</c:v>
                </c:pt>
                <c:pt idx="625">
                  <c:v>89.454545454545396</c:v>
                </c:pt>
                <c:pt idx="626">
                  <c:v>23.090909090909001</c:v>
                </c:pt>
                <c:pt idx="627">
                  <c:v>17.909090909090899</c:v>
                </c:pt>
                <c:pt idx="628">
                  <c:v>9.8181818181818095</c:v>
                </c:pt>
                <c:pt idx="629">
                  <c:v>6.9090909090909003</c:v>
                </c:pt>
                <c:pt idx="630">
                  <c:v>5.7272727272727204</c:v>
                </c:pt>
                <c:pt idx="631">
                  <c:v>5.7272727272727204</c:v>
                </c:pt>
                <c:pt idx="632">
                  <c:v>1.9090909090909001</c:v>
                </c:pt>
                <c:pt idx="633">
                  <c:v>12.909090909090899</c:v>
                </c:pt>
                <c:pt idx="634">
                  <c:v>14.363636363636299</c:v>
                </c:pt>
                <c:pt idx="635">
                  <c:v>2.4545454545454501</c:v>
                </c:pt>
                <c:pt idx="636">
                  <c:v>4.2727272727272698</c:v>
                </c:pt>
                <c:pt idx="637">
                  <c:v>8.4545454545454497</c:v>
                </c:pt>
                <c:pt idx="638">
                  <c:v>8.7272727272727195</c:v>
                </c:pt>
                <c:pt idx="639">
                  <c:v>4.7272727272727204</c:v>
                </c:pt>
                <c:pt idx="640">
                  <c:v>1.27272727272727</c:v>
                </c:pt>
                <c:pt idx="641">
                  <c:v>4.6363636363636296</c:v>
                </c:pt>
                <c:pt idx="642">
                  <c:v>2.9090909090908998</c:v>
                </c:pt>
                <c:pt idx="643">
                  <c:v>4.1818181818181799</c:v>
                </c:pt>
                <c:pt idx="644">
                  <c:v>7.2727272727272698</c:v>
                </c:pt>
                <c:pt idx="645">
                  <c:v>0.63636363636363602</c:v>
                </c:pt>
                <c:pt idx="646">
                  <c:v>3.0909090909090899</c:v>
                </c:pt>
                <c:pt idx="647">
                  <c:v>1.0909090909090899</c:v>
                </c:pt>
                <c:pt idx="648">
                  <c:v>1.5454545454545401</c:v>
                </c:pt>
                <c:pt idx="649">
                  <c:v>106.90909090909</c:v>
                </c:pt>
                <c:pt idx="650">
                  <c:v>634.09090909090901</c:v>
                </c:pt>
                <c:pt idx="651">
                  <c:v>178.09090909090901</c:v>
                </c:pt>
                <c:pt idx="652">
                  <c:v>305.45454545454498</c:v>
                </c:pt>
                <c:pt idx="653">
                  <c:v>43.727272727272698</c:v>
                </c:pt>
                <c:pt idx="654">
                  <c:v>51.909090909090899</c:v>
                </c:pt>
                <c:pt idx="655">
                  <c:v>34.727272727272698</c:v>
                </c:pt>
                <c:pt idx="656">
                  <c:v>146.45454545454501</c:v>
                </c:pt>
                <c:pt idx="657">
                  <c:v>32.818181818181799</c:v>
                </c:pt>
                <c:pt idx="658">
                  <c:v>89.272727272727195</c:v>
                </c:pt>
                <c:pt idx="659">
                  <c:v>71.272727272727195</c:v>
                </c:pt>
                <c:pt idx="660">
                  <c:v>51.363636363636303</c:v>
                </c:pt>
                <c:pt idx="661">
                  <c:v>35.636363636363598</c:v>
                </c:pt>
                <c:pt idx="662">
                  <c:v>97.727272727272705</c:v>
                </c:pt>
                <c:pt idx="663">
                  <c:v>66.454545454545396</c:v>
                </c:pt>
                <c:pt idx="664">
                  <c:v>30.545454545454501</c:v>
                </c:pt>
                <c:pt idx="665">
                  <c:v>18.272727272727199</c:v>
                </c:pt>
                <c:pt idx="666">
                  <c:v>39.363636363636303</c:v>
                </c:pt>
                <c:pt idx="667">
                  <c:v>9</c:v>
                </c:pt>
                <c:pt idx="668">
                  <c:v>11.545454545454501</c:v>
                </c:pt>
                <c:pt idx="669">
                  <c:v>4.8181818181818103</c:v>
                </c:pt>
                <c:pt idx="670">
                  <c:v>12.363636363636299</c:v>
                </c:pt>
                <c:pt idx="671">
                  <c:v>26.272727272727199</c:v>
                </c:pt>
                <c:pt idx="672">
                  <c:v>11.4545454545454</c:v>
                </c:pt>
                <c:pt idx="673">
                  <c:v>5.4545454545454497</c:v>
                </c:pt>
                <c:pt idx="674">
                  <c:v>6</c:v>
                </c:pt>
                <c:pt idx="675">
                  <c:v>545.36363636363603</c:v>
                </c:pt>
                <c:pt idx="676">
                  <c:v>66.090909090908994</c:v>
                </c:pt>
                <c:pt idx="677">
                  <c:v>45.636363636363598</c:v>
                </c:pt>
                <c:pt idx="678">
                  <c:v>20</c:v>
                </c:pt>
                <c:pt idx="679">
                  <c:v>24.272727272727199</c:v>
                </c:pt>
                <c:pt idx="680">
                  <c:v>21.909090909090899</c:v>
                </c:pt>
                <c:pt idx="681">
                  <c:v>6.4545454545454497</c:v>
                </c:pt>
                <c:pt idx="682">
                  <c:v>14.090909090908999</c:v>
                </c:pt>
                <c:pt idx="683">
                  <c:v>23.4545454545454</c:v>
                </c:pt>
                <c:pt idx="684">
                  <c:v>0.63636363636363602</c:v>
                </c:pt>
                <c:pt idx="685">
                  <c:v>13.363636363636299</c:v>
                </c:pt>
                <c:pt idx="686">
                  <c:v>12.545454545454501</c:v>
                </c:pt>
                <c:pt idx="687">
                  <c:v>5.9090909090909003</c:v>
                </c:pt>
                <c:pt idx="688">
                  <c:v>3.8181818181818099</c:v>
                </c:pt>
                <c:pt idx="689">
                  <c:v>3.72727272727272</c:v>
                </c:pt>
                <c:pt idx="690">
                  <c:v>8.3636363636363598</c:v>
                </c:pt>
                <c:pt idx="691">
                  <c:v>3</c:v>
                </c:pt>
                <c:pt idx="692">
                  <c:v>5.2727272727272698</c:v>
                </c:pt>
                <c:pt idx="693">
                  <c:v>10.545454545454501</c:v>
                </c:pt>
                <c:pt idx="694">
                  <c:v>3</c:v>
                </c:pt>
                <c:pt idx="695">
                  <c:v>5.5454545454545396</c:v>
                </c:pt>
                <c:pt idx="696">
                  <c:v>3</c:v>
                </c:pt>
                <c:pt idx="697">
                  <c:v>2.63636363636363</c:v>
                </c:pt>
                <c:pt idx="698">
                  <c:v>3</c:v>
                </c:pt>
                <c:pt idx="699">
                  <c:v>0.90909090909090895</c:v>
                </c:pt>
                <c:pt idx="700">
                  <c:v>0.72727272727272696</c:v>
                </c:pt>
                <c:pt idx="701">
                  <c:v>172.636363636363</c:v>
                </c:pt>
                <c:pt idx="702">
                  <c:v>154</c:v>
                </c:pt>
                <c:pt idx="703">
                  <c:v>36.181818181818102</c:v>
                </c:pt>
                <c:pt idx="704">
                  <c:v>62.909090909090899</c:v>
                </c:pt>
                <c:pt idx="705">
                  <c:v>9.7272727272727195</c:v>
                </c:pt>
                <c:pt idx="706">
                  <c:v>11.1818181818181</c:v>
                </c:pt>
                <c:pt idx="707">
                  <c:v>7.9090909090909003</c:v>
                </c:pt>
                <c:pt idx="708">
                  <c:v>33.636363636363598</c:v>
                </c:pt>
                <c:pt idx="709">
                  <c:v>7.6363636363636296</c:v>
                </c:pt>
                <c:pt idx="710">
                  <c:v>26.727272727272702</c:v>
                </c:pt>
                <c:pt idx="711">
                  <c:v>12.4545454545454</c:v>
                </c:pt>
                <c:pt idx="712">
                  <c:v>8.2727272727272698</c:v>
                </c:pt>
                <c:pt idx="713">
                  <c:v>5.6363636363636296</c:v>
                </c:pt>
                <c:pt idx="714">
                  <c:v>27.272727272727199</c:v>
                </c:pt>
                <c:pt idx="715">
                  <c:v>11.090909090908999</c:v>
                </c:pt>
                <c:pt idx="716">
                  <c:v>5.8181818181818103</c:v>
                </c:pt>
                <c:pt idx="717">
                  <c:v>5.8181818181818103</c:v>
                </c:pt>
                <c:pt idx="718">
                  <c:v>7.4545454545454497</c:v>
                </c:pt>
                <c:pt idx="719">
                  <c:v>1.4545454545454499</c:v>
                </c:pt>
                <c:pt idx="720">
                  <c:v>2.72727272727272</c:v>
                </c:pt>
                <c:pt idx="721">
                  <c:v>1</c:v>
                </c:pt>
                <c:pt idx="722">
                  <c:v>3.5454545454545401</c:v>
                </c:pt>
                <c:pt idx="723">
                  <c:v>7.0909090909090899</c:v>
                </c:pt>
                <c:pt idx="724">
                  <c:v>1.36363636363636</c:v>
                </c:pt>
                <c:pt idx="725">
                  <c:v>1.27272727272727</c:v>
                </c:pt>
                <c:pt idx="726">
                  <c:v>1.0909090909090899</c:v>
                </c:pt>
                <c:pt idx="727">
                  <c:v>109.272727272727</c:v>
                </c:pt>
                <c:pt idx="728">
                  <c:v>69.545454545454504</c:v>
                </c:pt>
                <c:pt idx="729">
                  <c:v>147.45454545454501</c:v>
                </c:pt>
                <c:pt idx="730">
                  <c:v>17.272727272727199</c:v>
                </c:pt>
                <c:pt idx="731">
                  <c:v>28.636363636363601</c:v>
                </c:pt>
                <c:pt idx="732">
                  <c:v>55.363636363636303</c:v>
                </c:pt>
                <c:pt idx="733">
                  <c:v>6.6363636363636296</c:v>
                </c:pt>
                <c:pt idx="734">
                  <c:v>11.7272727272727</c:v>
                </c:pt>
                <c:pt idx="735">
                  <c:v>19.545454545454501</c:v>
                </c:pt>
                <c:pt idx="736">
                  <c:v>47</c:v>
                </c:pt>
                <c:pt idx="737">
                  <c:v>14.7272727272727</c:v>
                </c:pt>
                <c:pt idx="738">
                  <c:v>83.545454545454504</c:v>
                </c:pt>
                <c:pt idx="739">
                  <c:v>2.63636363636363</c:v>
                </c:pt>
                <c:pt idx="740">
                  <c:v>88.818181818181799</c:v>
                </c:pt>
                <c:pt idx="741">
                  <c:v>9.2727272727272698</c:v>
                </c:pt>
                <c:pt idx="742">
                  <c:v>21.4545454545454</c:v>
                </c:pt>
                <c:pt idx="743">
                  <c:v>5</c:v>
                </c:pt>
                <c:pt idx="744">
                  <c:v>1.9090909090909001</c:v>
                </c:pt>
                <c:pt idx="745">
                  <c:v>7.0909090909090899</c:v>
                </c:pt>
                <c:pt idx="746">
                  <c:v>7.0909090909090899</c:v>
                </c:pt>
                <c:pt idx="747">
                  <c:v>7.3636363636363598</c:v>
                </c:pt>
                <c:pt idx="748">
                  <c:v>19.090909090909001</c:v>
                </c:pt>
                <c:pt idx="749">
                  <c:v>2.9090909090908998</c:v>
                </c:pt>
                <c:pt idx="750">
                  <c:v>13.636363636363599</c:v>
                </c:pt>
                <c:pt idx="751">
                  <c:v>2.1818181818181799</c:v>
                </c:pt>
                <c:pt idx="752">
                  <c:v>0.72727272727272696</c:v>
                </c:pt>
                <c:pt idx="753">
                  <c:v>346.09090909090901</c:v>
                </c:pt>
                <c:pt idx="754">
                  <c:v>83.090909090908994</c:v>
                </c:pt>
                <c:pt idx="755">
                  <c:v>139.45454545454501</c:v>
                </c:pt>
                <c:pt idx="756">
                  <c:v>198.18181818181799</c:v>
                </c:pt>
                <c:pt idx="757">
                  <c:v>34</c:v>
                </c:pt>
                <c:pt idx="758">
                  <c:v>45.909090909090899</c:v>
                </c:pt>
                <c:pt idx="759">
                  <c:v>9</c:v>
                </c:pt>
                <c:pt idx="760">
                  <c:v>197.45454545454501</c:v>
                </c:pt>
                <c:pt idx="761">
                  <c:v>70.636363636363598</c:v>
                </c:pt>
                <c:pt idx="762">
                  <c:v>38.181818181818102</c:v>
                </c:pt>
                <c:pt idx="763">
                  <c:v>62.545454545454497</c:v>
                </c:pt>
                <c:pt idx="764">
                  <c:v>72.181818181818102</c:v>
                </c:pt>
                <c:pt idx="765">
                  <c:v>121.181818181818</c:v>
                </c:pt>
                <c:pt idx="766">
                  <c:v>62.454545454545404</c:v>
                </c:pt>
                <c:pt idx="767">
                  <c:v>27.909090909090899</c:v>
                </c:pt>
                <c:pt idx="768">
                  <c:v>29.636363636363601</c:v>
                </c:pt>
                <c:pt idx="769">
                  <c:v>21.909090909090899</c:v>
                </c:pt>
                <c:pt idx="770">
                  <c:v>88.545454545454504</c:v>
                </c:pt>
                <c:pt idx="771">
                  <c:v>11.1818181818181</c:v>
                </c:pt>
                <c:pt idx="772">
                  <c:v>26.181818181818102</c:v>
                </c:pt>
                <c:pt idx="773">
                  <c:v>13.636363636363599</c:v>
                </c:pt>
                <c:pt idx="774">
                  <c:v>27.181818181818102</c:v>
                </c:pt>
                <c:pt idx="775">
                  <c:v>45.909090909090899</c:v>
                </c:pt>
                <c:pt idx="776">
                  <c:v>28.181818181818102</c:v>
                </c:pt>
                <c:pt idx="777">
                  <c:v>5.7272727272727204</c:v>
                </c:pt>
                <c:pt idx="778">
                  <c:v>6.1818181818181799</c:v>
                </c:pt>
                <c:pt idx="779">
                  <c:v>409.54545454545399</c:v>
                </c:pt>
              </c:numCache>
            </c:numRef>
          </c:xVal>
          <c:yVal>
            <c:numRef>
              <c:f>List1!$AE$2:$AE$781</c:f>
              <c:numCache>
                <c:formatCode>General</c:formatCode>
                <c:ptCount val="780"/>
                <c:pt idx="754">
                  <c:v>1</c:v>
                </c:pt>
                <c:pt idx="755">
                  <c:v>2</c:v>
                </c:pt>
                <c:pt idx="756">
                  <c:v>3</c:v>
                </c:pt>
                <c:pt idx="757">
                  <c:v>4</c:v>
                </c:pt>
                <c:pt idx="758">
                  <c:v>5</c:v>
                </c:pt>
                <c:pt idx="759">
                  <c:v>6</c:v>
                </c:pt>
                <c:pt idx="760">
                  <c:v>7</c:v>
                </c:pt>
                <c:pt idx="761">
                  <c:v>8</c:v>
                </c:pt>
                <c:pt idx="762">
                  <c:v>9</c:v>
                </c:pt>
                <c:pt idx="763">
                  <c:v>10</c:v>
                </c:pt>
                <c:pt idx="764">
                  <c:v>11</c:v>
                </c:pt>
                <c:pt idx="765">
                  <c:v>12</c:v>
                </c:pt>
                <c:pt idx="766">
                  <c:v>13</c:v>
                </c:pt>
                <c:pt idx="767">
                  <c:v>14</c:v>
                </c:pt>
                <c:pt idx="768">
                  <c:v>15</c:v>
                </c:pt>
                <c:pt idx="769">
                  <c:v>16</c:v>
                </c:pt>
                <c:pt idx="770">
                  <c:v>17</c:v>
                </c:pt>
                <c:pt idx="771">
                  <c:v>18</c:v>
                </c:pt>
                <c:pt idx="772">
                  <c:v>19</c:v>
                </c:pt>
                <c:pt idx="773">
                  <c:v>20</c:v>
                </c:pt>
                <c:pt idx="774">
                  <c:v>21</c:v>
                </c:pt>
                <c:pt idx="775">
                  <c:v>22</c:v>
                </c:pt>
                <c:pt idx="776">
                  <c:v>23</c:v>
                </c:pt>
                <c:pt idx="777">
                  <c:v>24</c:v>
                </c:pt>
                <c:pt idx="778">
                  <c:v>25</c:v>
                </c:pt>
                <c:pt idx="779">
                  <c:v>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E-081D-44D2-A874-08A3AF9633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91843264"/>
        <c:axId val="1391830784"/>
      </c:scatterChart>
      <c:valAx>
        <c:axId val="1391843264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alpha val="10000"/>
                </a:schemeClr>
              </a:solidFill>
              <a:prstDash val="dash"/>
              <a:round/>
            </a:ln>
            <a:effectLst>
              <a:outerShdw blurRad="50800" dist="50800" dir="5400000" algn="ctr" rotWithShape="0">
                <a:schemeClr val="bg1"/>
              </a:outerShdw>
            </a:effectLst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391830784"/>
        <c:crosses val="autoZero"/>
        <c:crossBetween val="midCat"/>
      </c:valAx>
      <c:valAx>
        <c:axId val="1391830784"/>
        <c:scaling>
          <c:orientation val="maxMin"/>
          <c:max val="26.9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391843264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808080"/>
            </a:solidFill>
            <a:ln>
              <a:noFill/>
            </a:ln>
            <a:effectLst/>
          </c:spPr>
          <c:invertIfNegative val="0"/>
          <c:cat>
            <c:numRef>
              <c:f>List1!$A$2:$A$52</c:f>
              <c:numCache>
                <c:formatCode>General</c:formatCode>
                <c:ptCount val="5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</c:numCache>
            </c:numRef>
          </c:cat>
          <c:val>
            <c:numRef>
              <c:f>List1!$B$2:$B$52</c:f>
              <c:numCache>
                <c:formatCode>General</c:formatCode>
                <c:ptCount val="51"/>
                <c:pt idx="0">
                  <c:v>2375.54545854763</c:v>
                </c:pt>
                <c:pt idx="1">
                  <c:v>2371.0909117281799</c:v>
                </c:pt>
                <c:pt idx="2">
                  <c:v>2318.7272759736002</c:v>
                </c:pt>
                <c:pt idx="3">
                  <c:v>1980.8181911228801</c:v>
                </c:pt>
                <c:pt idx="4">
                  <c:v>1903.6363659225301</c:v>
                </c:pt>
                <c:pt idx="5">
                  <c:v>1885.6363705819999</c:v>
                </c:pt>
                <c:pt idx="6">
                  <c:v>1863.72727729607</c:v>
                </c:pt>
                <c:pt idx="7">
                  <c:v>1812.1818245987599</c:v>
                </c:pt>
                <c:pt idx="8">
                  <c:v>1619.3636425561899</c:v>
                </c:pt>
                <c:pt idx="9">
                  <c:v>1444.27273453713</c:v>
                </c:pt>
                <c:pt idx="10">
                  <c:v>1391.1818225945001</c:v>
                </c:pt>
                <c:pt idx="11">
                  <c:v>1331.6363683903201</c:v>
                </c:pt>
                <c:pt idx="12">
                  <c:v>1198.3636396357001</c:v>
                </c:pt>
                <c:pt idx="13">
                  <c:v>1174.36364448073</c:v>
                </c:pt>
                <c:pt idx="14">
                  <c:v>965.63637138109902</c:v>
                </c:pt>
                <c:pt idx="15">
                  <c:v>941.45455075159202</c:v>
                </c:pt>
                <c:pt idx="16">
                  <c:v>917.54545986463199</c:v>
                </c:pt>
                <c:pt idx="17">
                  <c:v>827.00000559616797</c:v>
                </c:pt>
                <c:pt idx="18">
                  <c:v>679.27273449996596</c:v>
                </c:pt>
                <c:pt idx="19">
                  <c:v>635.000006646271</c:v>
                </c:pt>
                <c:pt idx="20">
                  <c:v>606.818182332947</c:v>
                </c:pt>
                <c:pt idx="21">
                  <c:v>523.45455180241595</c:v>
                </c:pt>
                <c:pt idx="22">
                  <c:v>508.454546833633</c:v>
                </c:pt>
                <c:pt idx="23">
                  <c:v>486.90909103313498</c:v>
                </c:pt>
                <c:pt idx="24">
                  <c:v>427.27273320443601</c:v>
                </c:pt>
                <c:pt idx="25">
                  <c:v>413.18182225279702</c:v>
                </c:pt>
                <c:pt idx="26">
                  <c:v>396.36364359840098</c:v>
                </c:pt>
                <c:pt idx="27">
                  <c:v>369.81819043923002</c:v>
                </c:pt>
                <c:pt idx="28">
                  <c:v>361.63637165924598</c:v>
                </c:pt>
                <c:pt idx="29">
                  <c:v>360.00000037505799</c:v>
                </c:pt>
                <c:pt idx="30">
                  <c:v>359.81818249838602</c:v>
                </c:pt>
                <c:pt idx="31">
                  <c:v>357.45454824336599</c:v>
                </c:pt>
                <c:pt idx="32">
                  <c:v>285.27272735652502</c:v>
                </c:pt>
                <c:pt idx="33">
                  <c:v>279.36363675193297</c:v>
                </c:pt>
                <c:pt idx="34">
                  <c:v>270.18182256932602</c:v>
                </c:pt>
                <c:pt idx="35">
                  <c:v>264.27272983097703</c:v>
                </c:pt>
                <c:pt idx="36">
                  <c:v>259.81818570688802</c:v>
                </c:pt>
                <c:pt idx="37">
                  <c:v>255.727279308958</c:v>
                </c:pt>
                <c:pt idx="38">
                  <c:v>254.00000655888999</c:v>
                </c:pt>
                <c:pt idx="39">
                  <c:v>248.363642157627</c:v>
                </c:pt>
                <c:pt idx="40">
                  <c:v>243.72727765866401</c:v>
                </c:pt>
                <c:pt idx="41">
                  <c:v>236.45454638002701</c:v>
                </c:pt>
                <c:pt idx="42">
                  <c:v>232.00000481933799</c:v>
                </c:pt>
                <c:pt idx="43">
                  <c:v>228.63636397584801</c:v>
                </c:pt>
                <c:pt idx="44">
                  <c:v>227.727272795743</c:v>
                </c:pt>
                <c:pt idx="45">
                  <c:v>221.727274925459</c:v>
                </c:pt>
                <c:pt idx="46">
                  <c:v>217.45455331253601</c:v>
                </c:pt>
                <c:pt idx="47">
                  <c:v>198.54545884889299</c:v>
                </c:pt>
                <c:pt idx="48">
                  <c:v>194.90909936674399</c:v>
                </c:pt>
                <c:pt idx="49">
                  <c:v>188.36364209029799</c:v>
                </c:pt>
                <c:pt idx="50">
                  <c:v>184.18182802462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D0-4E1E-826F-4EC16431DAD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MOU</c:v>
                </c:pt>
              </c:strCache>
            </c:strRef>
          </c:tx>
          <c:spPr>
            <a:solidFill>
              <a:srgbClr val="FFCC99"/>
            </a:solidFill>
            <a:ln>
              <a:noFill/>
            </a:ln>
            <a:effectLst/>
          </c:spPr>
          <c:invertIfNegative val="0"/>
          <c:cat>
            <c:numRef>
              <c:f>List1!$A$2:$A$52</c:f>
              <c:numCache>
                <c:formatCode>General</c:formatCode>
                <c:ptCount val="5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</c:numCache>
            </c:numRef>
          </c:cat>
          <c:val>
            <c:numRef>
              <c:f>List1!$C$2:$C$52</c:f>
              <c:numCache>
                <c:formatCode>General</c:formatCode>
                <c:ptCount val="51"/>
                <c:pt idx="0">
                  <c:v>2375.54545854763</c:v>
                </c:pt>
                <c:pt idx="1">
                  <c:v>2371.0909117281799</c:v>
                </c:pt>
                <c:pt idx="2">
                  <c:v>2318.7272759736002</c:v>
                </c:pt>
                <c:pt idx="3">
                  <c:v>1980.8181911228801</c:v>
                </c:pt>
                <c:pt idx="4">
                  <c:v>1903.6363659225301</c:v>
                </c:pt>
                <c:pt idx="5">
                  <c:v>1885.6363705819999</c:v>
                </c:pt>
                <c:pt idx="6">
                  <c:v>1863.72727729607</c:v>
                </c:pt>
                <c:pt idx="7">
                  <c:v>1812.1818245987599</c:v>
                </c:pt>
                <c:pt idx="8">
                  <c:v>1619.3636425561899</c:v>
                </c:pt>
                <c:pt idx="9">
                  <c:v>1444.27273453713</c:v>
                </c:pt>
                <c:pt idx="10">
                  <c:v>1391.1818225945001</c:v>
                </c:pt>
                <c:pt idx="11">
                  <c:v>1331.6363683903201</c:v>
                </c:pt>
                <c:pt idx="12">
                  <c:v>1198.3636396357001</c:v>
                </c:pt>
                <c:pt idx="13">
                  <c:v>1174.36364448073</c:v>
                </c:pt>
                <c:pt idx="14">
                  <c:v>965.63637138109902</c:v>
                </c:pt>
                <c:pt idx="15">
                  <c:v>941.45455075159202</c:v>
                </c:pt>
                <c:pt idx="16">
                  <c:v>917.54545986463199</c:v>
                </c:pt>
                <c:pt idx="17">
                  <c:v>827.00000559616797</c:v>
                </c:pt>
                <c:pt idx="18">
                  <c:v>679.27273449996596</c:v>
                </c:pt>
                <c:pt idx="19">
                  <c:v>0</c:v>
                </c:pt>
                <c:pt idx="20">
                  <c:v>606.818182332947</c:v>
                </c:pt>
                <c:pt idx="21">
                  <c:v>0</c:v>
                </c:pt>
                <c:pt idx="22">
                  <c:v>0</c:v>
                </c:pt>
                <c:pt idx="23">
                  <c:v>486.90909103313498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D0-4E1E-826F-4EC16431DAD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ABD-44BE-822A-E8171F6E0022}"/>
              </c:ext>
            </c:extLst>
          </c:dPt>
          <c:dPt>
            <c:idx val="8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DBF-4CC7-87CC-3B60879024A9}"/>
              </c:ext>
            </c:extLst>
          </c:dPt>
          <c:cat>
            <c:numRef>
              <c:f>List1!$A$2:$A$52</c:f>
              <c:numCache>
                <c:formatCode>General</c:formatCode>
                <c:ptCount val="5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</c:numCache>
            </c:numRef>
          </c:cat>
          <c:val>
            <c:numRef>
              <c:f>List1!$D$2:$D$52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619.3636425561899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BD-44BE-822A-E8171F6E0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69217983"/>
        <c:axId val="69200927"/>
      </c:barChart>
      <c:catAx>
        <c:axId val="69217983"/>
        <c:scaling>
          <c:orientation val="minMax"/>
        </c:scaling>
        <c:delete val="0"/>
        <c:axPos val="b"/>
        <c:numFmt formatCode="#,##0" sourceLinked="0"/>
        <c:majorTickMark val="none"/>
        <c:minorTickMark val="out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00927"/>
        <c:crosses val="autoZero"/>
        <c:auto val="1"/>
        <c:lblAlgn val="ctr"/>
        <c:lblOffset val="100"/>
        <c:tickLblSkip val="5"/>
        <c:noMultiLvlLbl val="0"/>
      </c:catAx>
      <c:valAx>
        <c:axId val="692009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7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179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80808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List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List1!$B$2:$B$16</c:f>
              <c:numCache>
                <c:formatCode>General</c:formatCode>
                <c:ptCount val="15"/>
                <c:pt idx="0">
                  <c:v>4284.5454596920999</c:v>
                </c:pt>
                <c:pt idx="1">
                  <c:v>4168.2727291826704</c:v>
                </c:pt>
                <c:pt idx="2">
                  <c:v>3534.2727327334101</c:v>
                </c:pt>
                <c:pt idx="3">
                  <c:v>2365.1818264006802</c:v>
                </c:pt>
                <c:pt idx="4">
                  <c:v>1971.2727343936001</c:v>
                </c:pt>
                <c:pt idx="5">
                  <c:v>1867.81818693985</c:v>
                </c:pt>
                <c:pt idx="6">
                  <c:v>1849.6363665281699</c:v>
                </c:pt>
                <c:pt idx="7">
                  <c:v>1798.2727286843501</c:v>
                </c:pt>
                <c:pt idx="8">
                  <c:v>1437.2727347770999</c:v>
                </c:pt>
                <c:pt idx="9">
                  <c:v>1324.18182567195</c:v>
                </c:pt>
                <c:pt idx="10">
                  <c:v>1169.0909181515799</c:v>
                </c:pt>
                <c:pt idx="11">
                  <c:v>955.54545751960597</c:v>
                </c:pt>
                <c:pt idx="12">
                  <c:v>934.81818729399095</c:v>
                </c:pt>
                <c:pt idx="13">
                  <c:v>824.90909957724102</c:v>
                </c:pt>
                <c:pt idx="14">
                  <c:v>674.09091844368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FDE-44A9-A312-631CE374162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MOU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List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List1!$C$2:$C$16</c:f>
              <c:numCache>
                <c:formatCode>General</c:formatCode>
                <c:ptCount val="15"/>
                <c:pt idx="0">
                  <c:v>0</c:v>
                </c:pt>
                <c:pt idx="1">
                  <c:v>4168.272729182670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FDE-44A9-A312-631CE374162A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100"/>
        <c:axId val="69217983"/>
        <c:axId val="69200927"/>
      </c:barChart>
      <c:catAx>
        <c:axId val="69217983"/>
        <c:scaling>
          <c:orientation val="minMax"/>
        </c:scaling>
        <c:delete val="0"/>
        <c:axPos val="b"/>
        <c:numFmt formatCode="#,##0" sourceLinked="0"/>
        <c:majorTickMark val="none"/>
        <c:minorTickMark val="out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00927"/>
        <c:crosses val="autoZero"/>
        <c:auto val="1"/>
        <c:lblAlgn val="ctr"/>
        <c:lblOffset val="100"/>
        <c:noMultiLvlLbl val="0"/>
      </c:catAx>
      <c:valAx>
        <c:axId val="692009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7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92179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KOC</c:v>
                </c:pt>
              </c:strCache>
            </c:strRef>
          </c:tx>
          <c:spPr>
            <a:solidFill>
              <a:srgbClr val="808080"/>
            </a:solidFill>
            <a:ln>
              <a:noFill/>
            </a:ln>
            <a:effectLst/>
          </c:spPr>
          <c:invertIfNegative val="0"/>
          <c:cat>
            <c:numRef>
              <c:f>List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List1!$B$2:$B$10</c:f>
              <c:numCache>
                <c:formatCode>General</c:formatCode>
                <c:ptCount val="9"/>
                <c:pt idx="0">
                  <c:v>487.2</c:v>
                </c:pt>
                <c:pt idx="1">
                  <c:v>336.2</c:v>
                </c:pt>
                <c:pt idx="2">
                  <c:v>321.39999999999998</c:v>
                </c:pt>
                <c:pt idx="3">
                  <c:v>246</c:v>
                </c:pt>
                <c:pt idx="4">
                  <c:v>201.2</c:v>
                </c:pt>
                <c:pt idx="5">
                  <c:v>178</c:v>
                </c:pt>
                <c:pt idx="6">
                  <c:v>131.4</c:v>
                </c:pt>
                <c:pt idx="7">
                  <c:v>93</c:v>
                </c:pt>
                <c:pt idx="8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96-4CA2-9E00-6E56F26B07D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Hodnocené ZZ</c:v>
                </c:pt>
              </c:strCache>
            </c:strRef>
          </c:tx>
          <c:spPr>
            <a:solidFill>
              <a:srgbClr val="D71440"/>
            </a:solidFill>
            <a:ln>
              <a:noFill/>
            </a:ln>
            <a:effectLst/>
          </c:spPr>
          <c:invertIfNegative val="0"/>
          <c:cat>
            <c:numRef>
              <c:f>List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List1!$C$2:$C$10</c:f>
              <c:numCache>
                <c:formatCode>General</c:formatCode>
                <c:ptCount val="9"/>
                <c:pt idx="0">
                  <c:v>487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96-4CA2-9E00-6E56F26B07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322999679"/>
        <c:axId val="323002175"/>
      </c:barChart>
      <c:catAx>
        <c:axId val="3229996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3002175"/>
        <c:crosses val="autoZero"/>
        <c:auto val="1"/>
        <c:lblAlgn val="ctr"/>
        <c:lblOffset val="100"/>
        <c:noMultiLvlLbl val="0"/>
      </c:catAx>
      <c:valAx>
        <c:axId val="3230021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229996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715494-898A-4609-973F-F31EEEAEE1B9}" type="datetimeFigureOut">
              <a:rPr lang="en-US" smtClean="0"/>
              <a:t>10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2C68A-7414-47CD-B786-53FC7BDEE6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1619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4F1BDA-FCB1-4778-9DC0-2705F6BC990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102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578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468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61330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6689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11.emf"/><Relationship Id="rId3" Type="http://schemas.openxmlformats.org/officeDocument/2006/relationships/image" Target="../media/image1.emf"/><Relationship Id="rId7" Type="http://schemas.openxmlformats.org/officeDocument/2006/relationships/image" Target="../media/image5.emf"/><Relationship Id="rId12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11" Type="http://schemas.openxmlformats.org/officeDocument/2006/relationships/image" Target="../media/image9.emf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emf"/><Relationship Id="rId4" Type="http://schemas.openxmlformats.org/officeDocument/2006/relationships/image" Target="../media/image2.emf"/><Relationship Id="rId9" Type="http://schemas.openxmlformats.org/officeDocument/2006/relationships/image" Target="../media/image7.emf"/><Relationship Id="rId14" Type="http://schemas.openxmlformats.org/officeDocument/2006/relationships/image" Target="../media/image12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5.tiff"/><Relationship Id="rId7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10" Type="http://schemas.microsoft.com/office/2007/relationships/hdphoto" Target="../media/hdphoto1.wdp"/><Relationship Id="rId4" Type="http://schemas.openxmlformats.org/officeDocument/2006/relationships/image" Target="../media/image2.emf"/><Relationship Id="rId9" Type="http://schemas.openxmlformats.org/officeDocument/2006/relationships/image" Target="../media/image19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jp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jp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11.emf"/><Relationship Id="rId3" Type="http://schemas.openxmlformats.org/officeDocument/2006/relationships/image" Target="../media/image1.emf"/><Relationship Id="rId7" Type="http://schemas.openxmlformats.org/officeDocument/2006/relationships/image" Target="../media/image5.emf"/><Relationship Id="rId12" Type="http://schemas.openxmlformats.org/officeDocument/2006/relationships/image" Target="../media/image10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11" Type="http://schemas.openxmlformats.org/officeDocument/2006/relationships/image" Target="../media/image9.emf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emf"/><Relationship Id="rId4" Type="http://schemas.openxmlformats.org/officeDocument/2006/relationships/image" Target="../media/image2.emf"/><Relationship Id="rId9" Type="http://schemas.openxmlformats.org/officeDocument/2006/relationships/image" Target="../media/image7.emf"/><Relationship Id="rId14" Type="http://schemas.openxmlformats.org/officeDocument/2006/relationships/image" Target="../media/image12.jpe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5.tiff"/><Relationship Id="rId7" Type="http://schemas.openxmlformats.org/officeDocument/2006/relationships/image" Target="../media/image2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5.jpe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2" name="Ovál 21">
            <a:extLst>
              <a:ext uri="{FF2B5EF4-FFF2-40B4-BE49-F238E27FC236}">
                <a16:creationId xmlns:a16="http://schemas.microsoft.com/office/drawing/2014/main" id="{2FAE9F5A-29A9-43B9-A1BF-17CD7EF80001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Ovál 26">
            <a:extLst>
              <a:ext uri="{FF2B5EF4-FFF2-40B4-BE49-F238E27FC236}">
                <a16:creationId xmlns:a16="http://schemas.microsoft.com/office/drawing/2014/main" id="{7C0115F9-6CBE-470E-B98C-F1F950C1FEB2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34" name="Obrázek 4">
            <a:extLst>
              <a:ext uri="{FF2B5EF4-FFF2-40B4-BE49-F238E27FC236}">
                <a16:creationId xmlns:a16="http://schemas.microsoft.com/office/drawing/2014/main" id="{42AA1EFA-8364-42B4-897A-A09D06392D6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0729" y="1265655"/>
            <a:ext cx="1500937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280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522" y="911736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sp>
        <p:nvSpPr>
          <p:cNvPr id="44" name="Rovnoramenný trojúhelník 4">
            <a:extLst>
              <a:ext uri="{FF2B5EF4-FFF2-40B4-BE49-F238E27FC236}">
                <a16:creationId xmlns:a16="http://schemas.microsoft.com/office/drawing/2014/main" id="{4AB29714-EE53-4BBC-9B55-AF20BCD41E26}"/>
              </a:ext>
            </a:extLst>
          </p:cNvPr>
          <p:cNvSpPr/>
          <p:nvPr userDrawn="1"/>
        </p:nvSpPr>
        <p:spPr>
          <a:xfrm rot="1106797">
            <a:off x="9789833" y="3795732"/>
            <a:ext cx="962460" cy="1369198"/>
          </a:xfrm>
          <a:prstGeom prst="triangle">
            <a:avLst>
              <a:gd name="adj" fmla="val 58782"/>
            </a:avLst>
          </a:prstGeom>
          <a:solidFill>
            <a:srgbClr val="FFC000">
              <a:alpha val="44000"/>
            </a:srgbClr>
          </a:solidFill>
          <a:ln w="15875">
            <a:solidFill>
              <a:srgbClr val="2E5980"/>
            </a:solidFill>
          </a:ln>
          <a:effectLst>
            <a:outerShdw blurRad="50800" dist="50800" dir="5400000" algn="ctr" rotWithShape="0">
              <a:srgbClr val="2E598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B0559EA0-0893-4946-96F8-0625BF60769F}"/>
              </a:ext>
            </a:extLst>
          </p:cNvPr>
          <p:cNvSpPr txBox="1"/>
          <p:nvPr userDrawn="1"/>
        </p:nvSpPr>
        <p:spPr>
          <a:xfrm>
            <a:off x="294261" y="6301408"/>
            <a:ext cx="609437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onkologický plán České republiky (NOP ČR 2030) </a:t>
            </a: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A738347C-0C7E-4C25-8ACF-FCE3AA4CFB4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4000" y="60218"/>
            <a:ext cx="2017971" cy="516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B3B13D04-4B02-4E11-B151-7C164983196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190083" y="83401"/>
            <a:ext cx="675997" cy="46503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C877D71C-5486-47A5-9564-A3E2A2C83D8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9938" b="89752" l="9121" r="90000">
                        <a14:foregroundMark x1="9121" y1="27640" x2="9121" y2="33230"/>
                        <a14:foregroundMark x1="29451" y1="25776" x2="29231" y2="28882"/>
                        <a14:foregroundMark x1="32088" y1="28882" x2="32088" y2="28882"/>
                        <a14:foregroundMark x1="35934" y1="21429" x2="35934" y2="21429"/>
                        <a14:foregroundMark x1="36593" y1="23913" x2="36593" y2="23913"/>
                        <a14:foregroundMark x1="36593" y1="26708" x2="36593" y2="26708"/>
                        <a14:foregroundMark x1="41429" y1="29503" x2="41429" y2="29503"/>
                        <a14:foregroundMark x1="47582" y1="27640" x2="47582" y2="27640"/>
                        <a14:foregroundMark x1="54725" y1="28571" x2="54725" y2="28571"/>
                        <a14:foregroundMark x1="60110" y1="22981" x2="60110" y2="22981"/>
                        <a14:foregroundMark x1="64835" y1="23602" x2="64835" y2="23602"/>
                        <a14:foregroundMark x1="70769" y1="27329" x2="70769" y2="27329"/>
                        <a14:foregroundMark x1="71758" y1="16770" x2="71758" y2="16770"/>
                        <a14:foregroundMark x1="88791" y1="48447" x2="88791" y2="48447"/>
                        <a14:foregroundMark x1="85495" y1="43478" x2="85495" y2="43478"/>
                        <a14:foregroundMark x1="78132" y1="44410" x2="78132" y2="44410"/>
                        <a14:foregroundMark x1="75824" y1="47516" x2="75824" y2="47516"/>
                        <a14:foregroundMark x1="78352" y1="52484" x2="78352" y2="52484"/>
                        <a14:foregroundMark x1="65055" y1="49689" x2="65055" y2="49689"/>
                        <a14:foregroundMark x1="61978" y1="49379" x2="61978" y2="49379"/>
                        <a14:foregroundMark x1="54835" y1="47516" x2="54835" y2="47516"/>
                        <a14:foregroundMark x1="46154" y1="48758" x2="46154" y2="48758"/>
                        <a14:foregroundMark x1="40440" y1="50311" x2="40440" y2="50311"/>
                        <a14:foregroundMark x1="39560" y1="65217" x2="39560" y2="65217"/>
                        <a14:foregroundMark x1="43956" y1="69876" x2="43956" y2="69876"/>
                        <a14:foregroundMark x1="48791" y1="72360" x2="48791" y2="72360"/>
                        <a14:foregroundMark x1="32857" y1="65217" x2="32857" y2="65217"/>
                        <a14:backgroundMark x1="35934" y1="29814" x2="35934" y2="29814"/>
                        <a14:backgroundMark x1="37912" y1="67081" x2="37912" y2="67081"/>
                        <a14:backgroundMark x1="31209" y1="66770" x2="31209" y2="66770"/>
                        <a14:backgroundMark x1="31429" y1="73602" x2="31429" y2="7360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47385">
            <a:off x="8987508" y="5100584"/>
            <a:ext cx="2114659" cy="7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777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extLst>
              <a:ext uri="{FF2B5EF4-FFF2-40B4-BE49-F238E27FC236}">
                <a16:creationId xmlns:a16="http://schemas.microsoft.com/office/drawing/2014/main" id="{C9E02D01-49BC-4C87-91DE-07F5EEC466F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10180" y="266721"/>
            <a:ext cx="924019" cy="326960"/>
          </a:xfrm>
          <a:prstGeom prst="rect">
            <a:avLst/>
          </a:prstGeom>
        </p:spPr>
      </p:pic>
      <p:sp>
        <p:nvSpPr>
          <p:cNvPr id="11" name="Obdélník 14">
            <a:extLst>
              <a:ext uri="{FF2B5EF4-FFF2-40B4-BE49-F238E27FC236}">
                <a16:creationId xmlns:a16="http://schemas.microsoft.com/office/drawing/2014/main" id="{1DC581EF-8200-4735-B5EA-119E4D7043AB}"/>
              </a:ext>
            </a:extLst>
          </p:cNvPr>
          <p:cNvSpPr/>
          <p:nvPr userDrawn="1"/>
        </p:nvSpPr>
        <p:spPr>
          <a:xfrm>
            <a:off x="1535268" y="6539370"/>
            <a:ext cx="75057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analytická studie pro jednotlivé nemocnice a centra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0295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9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783F1126-E11F-4EBA-8A92-816815F438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11" name="Logo MZ CR">
            <a:extLst>
              <a:ext uri="{FF2B5EF4-FFF2-40B4-BE49-F238E27FC236}">
                <a16:creationId xmlns:a16="http://schemas.microsoft.com/office/drawing/2014/main" id="{19532CD8-3BF9-40D3-BD63-F855DFEE03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2" name="Logo UZIS">
            <a:extLst>
              <a:ext uri="{FF2B5EF4-FFF2-40B4-BE49-F238E27FC236}">
                <a16:creationId xmlns:a16="http://schemas.microsoft.com/office/drawing/2014/main" id="{459C120A-6579-4DBD-B96B-54B65A94403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3" name="Přímá spojnice 3">
            <a:extLst>
              <a:ext uri="{FF2B5EF4-FFF2-40B4-BE49-F238E27FC236}">
                <a16:creationId xmlns:a16="http://schemas.microsoft.com/office/drawing/2014/main" id="{87BE9CF6-1778-43A4-A3A5-662550311866}"/>
              </a:ext>
            </a:extLst>
          </p:cNvPr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4">
            <a:extLst>
              <a:ext uri="{FF2B5EF4-FFF2-40B4-BE49-F238E27FC236}">
                <a16:creationId xmlns:a16="http://schemas.microsoft.com/office/drawing/2014/main" id="{7A4C8749-8367-4AE8-AFF9-483AF561B988}"/>
              </a:ext>
            </a:extLst>
          </p:cNvPr>
          <p:cNvSpPr/>
          <p:nvPr userDrawn="1"/>
        </p:nvSpPr>
        <p:spPr>
          <a:xfrm>
            <a:off x="1535268" y="6539370"/>
            <a:ext cx="75057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analytická studie pro jednotlivé nemocnice a centra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5" name="Graphic 12">
            <a:extLst>
              <a:ext uri="{FF2B5EF4-FFF2-40B4-BE49-F238E27FC236}">
                <a16:creationId xmlns:a16="http://schemas.microsoft.com/office/drawing/2014/main" id="{E2E92F36-E8CD-40EB-BD11-6641DE7BF4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10180" y="266721"/>
            <a:ext cx="924019" cy="32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2807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2" name="Ovál 21">
            <a:extLst>
              <a:ext uri="{FF2B5EF4-FFF2-40B4-BE49-F238E27FC236}">
                <a16:creationId xmlns:a16="http://schemas.microsoft.com/office/drawing/2014/main" id="{2FAE9F5A-29A9-43B9-A1BF-17CD7EF80001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Ovál 26">
            <a:extLst>
              <a:ext uri="{FF2B5EF4-FFF2-40B4-BE49-F238E27FC236}">
                <a16:creationId xmlns:a16="http://schemas.microsoft.com/office/drawing/2014/main" id="{7C0115F9-6CBE-470E-B98C-F1F950C1FEB2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34" name="Obrázek 4">
            <a:extLst>
              <a:ext uri="{FF2B5EF4-FFF2-40B4-BE49-F238E27FC236}">
                <a16:creationId xmlns:a16="http://schemas.microsoft.com/office/drawing/2014/main" id="{42AA1EFA-8364-42B4-897A-A09D06392D6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0729" y="1265655"/>
            <a:ext cx="1500937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460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pic>
        <p:nvPicPr>
          <p:cNvPr id="46" name="Obrázek 6">
            <a:extLst>
              <a:ext uri="{FF2B5EF4-FFF2-40B4-BE49-F238E27FC236}">
                <a16:creationId xmlns:a16="http://schemas.microsoft.com/office/drawing/2014/main" id="{05F30CBD-276E-4592-A53F-00AD748AB5F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129" y="4967569"/>
            <a:ext cx="855153" cy="801706"/>
          </a:xfrm>
          <a:prstGeom prst="rect">
            <a:avLst/>
          </a:prstGeom>
        </p:spPr>
      </p:pic>
      <p:sp>
        <p:nvSpPr>
          <p:cNvPr id="21" name="TextovéPole 20">
            <a:extLst>
              <a:ext uri="{FF2B5EF4-FFF2-40B4-BE49-F238E27FC236}">
                <a16:creationId xmlns:a16="http://schemas.microsoft.com/office/drawing/2014/main" id="{B0559EA0-0893-4946-96F8-0625BF60769F}"/>
              </a:ext>
            </a:extLst>
          </p:cNvPr>
          <p:cNvSpPr txBox="1"/>
          <p:nvPr userDrawn="1"/>
        </p:nvSpPr>
        <p:spPr>
          <a:xfrm>
            <a:off x="294261" y="6301408"/>
            <a:ext cx="609437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onkologický plán České republiky (NOP ČR 2030) </a:t>
            </a:r>
          </a:p>
        </p:txBody>
      </p:sp>
      <p:pic>
        <p:nvPicPr>
          <p:cNvPr id="19" name="Obrázek 17">
            <a:extLst>
              <a:ext uri="{FF2B5EF4-FFF2-40B4-BE49-F238E27FC236}">
                <a16:creationId xmlns:a16="http://schemas.microsoft.com/office/drawing/2014/main" id="{4FE1DB9D-E657-414E-8E14-187B76BE6E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5" b="13017"/>
          <a:stretch/>
        </p:blipFill>
        <p:spPr>
          <a:xfrm>
            <a:off x="9055762" y="0"/>
            <a:ext cx="2795971" cy="543593"/>
          </a:xfrm>
          <a:prstGeom prst="rect">
            <a:avLst/>
          </a:prstGeom>
        </p:spPr>
      </p:pic>
      <p:sp>
        <p:nvSpPr>
          <p:cNvPr id="20" name="Rovnoramenný trojúhelník 4">
            <a:extLst>
              <a:ext uri="{FF2B5EF4-FFF2-40B4-BE49-F238E27FC236}">
                <a16:creationId xmlns:a16="http://schemas.microsoft.com/office/drawing/2014/main" id="{C2D4EC65-AF4E-49CA-A386-C9323F5E788D}"/>
              </a:ext>
            </a:extLst>
          </p:cNvPr>
          <p:cNvSpPr/>
          <p:nvPr userDrawn="1"/>
        </p:nvSpPr>
        <p:spPr>
          <a:xfrm rot="1106797">
            <a:off x="9886179" y="3906438"/>
            <a:ext cx="925689" cy="1307747"/>
          </a:xfrm>
          <a:prstGeom prst="triangle">
            <a:avLst>
              <a:gd name="adj" fmla="val 54766"/>
            </a:avLst>
          </a:prstGeom>
          <a:solidFill>
            <a:srgbClr val="FFC000">
              <a:alpha val="44000"/>
            </a:srgbClr>
          </a:solidFill>
          <a:ln w="15875">
            <a:solidFill>
              <a:srgbClr val="2E5980"/>
            </a:solidFill>
          </a:ln>
          <a:effectLst>
            <a:outerShdw blurRad="50800" dist="50800" dir="5400000" algn="ctr" rotWithShape="0">
              <a:srgbClr val="2E598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22" name="Skupina 2">
            <a:extLst>
              <a:ext uri="{FF2B5EF4-FFF2-40B4-BE49-F238E27FC236}">
                <a16:creationId xmlns:a16="http://schemas.microsoft.com/office/drawing/2014/main" id="{0521A6AD-0200-4377-9DDB-C56F13A12D4C}"/>
              </a:ext>
            </a:extLst>
          </p:cNvPr>
          <p:cNvGrpSpPr/>
          <p:nvPr userDrawn="1"/>
        </p:nvGrpSpPr>
        <p:grpSpPr>
          <a:xfrm>
            <a:off x="9556683" y="4836400"/>
            <a:ext cx="1028535" cy="1028535"/>
            <a:chOff x="9594309" y="4436915"/>
            <a:chExt cx="1747911" cy="1747911"/>
          </a:xfrm>
        </p:grpSpPr>
        <p:sp>
          <p:nvSpPr>
            <p:cNvPr id="23" name="Ovál 12">
              <a:extLst>
                <a:ext uri="{FF2B5EF4-FFF2-40B4-BE49-F238E27FC236}">
                  <a16:creationId xmlns:a16="http://schemas.microsoft.com/office/drawing/2014/main" id="{3C14C6F4-AA75-44A4-9D64-F2CD3D361252}"/>
                </a:ext>
              </a:extLst>
            </p:cNvPr>
            <p:cNvSpPr/>
            <p:nvPr userDrawn="1"/>
          </p:nvSpPr>
          <p:spPr>
            <a:xfrm>
              <a:off x="9594309" y="4436915"/>
              <a:ext cx="1747911" cy="1747911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D714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4" name="Ovál 14">
              <a:extLst>
                <a:ext uri="{FF2B5EF4-FFF2-40B4-BE49-F238E27FC236}">
                  <a16:creationId xmlns:a16="http://schemas.microsoft.com/office/drawing/2014/main" id="{FB1A7373-AC48-47B1-B464-6AF14DB90C29}"/>
                </a:ext>
              </a:extLst>
            </p:cNvPr>
            <p:cNvSpPr/>
            <p:nvPr userDrawn="1"/>
          </p:nvSpPr>
          <p:spPr>
            <a:xfrm>
              <a:off x="9711679" y="4554285"/>
              <a:ext cx="1513171" cy="1513171"/>
            </a:xfrm>
            <a:prstGeom prst="ellipse">
              <a:avLst/>
            </a:prstGeom>
            <a:solidFill>
              <a:srgbClr val="D714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25" name="Obrázek 15">
              <a:extLst>
                <a:ext uri="{FF2B5EF4-FFF2-40B4-BE49-F238E27FC236}">
                  <a16:creationId xmlns:a16="http://schemas.microsoft.com/office/drawing/2014/main" id="{129E856B-D003-4600-8356-1C9DF67AB5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11679" y="4712795"/>
              <a:ext cx="1508136" cy="10911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6287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noProof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délník 14">
            <a:extLst>
              <a:ext uri="{FF2B5EF4-FFF2-40B4-BE49-F238E27FC236}">
                <a16:creationId xmlns:a16="http://schemas.microsoft.com/office/drawing/2014/main" id="{7523AB9F-9E3E-40BD-86A9-0B51B2CACB49}"/>
              </a:ext>
            </a:extLst>
          </p:cNvPr>
          <p:cNvSpPr/>
          <p:nvPr userDrawn="1"/>
        </p:nvSpPr>
        <p:spPr>
          <a:xfrm>
            <a:off x="1535268" y="6539370"/>
            <a:ext cx="75057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noProof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Jihomoravský kraj</a:t>
            </a:r>
          </a:p>
        </p:txBody>
      </p:sp>
      <p:pic>
        <p:nvPicPr>
          <p:cNvPr id="11" name="Obrázek 9">
            <a:extLst>
              <a:ext uri="{FF2B5EF4-FFF2-40B4-BE49-F238E27FC236}">
                <a16:creationId xmlns:a16="http://schemas.microsoft.com/office/drawing/2014/main" id="{294412E3-8106-40D4-8B54-D9EE18117E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9768" y="177453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5290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6" name="Obrázek 9">
            <a:extLst>
              <a:ext uri="{FF2B5EF4-FFF2-40B4-BE49-F238E27FC236}">
                <a16:creationId xmlns:a16="http://schemas.microsoft.com/office/drawing/2014/main" id="{7BFA2B8D-2C23-4BB2-8354-8D84A07C13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9768" y="177453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556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02.10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57997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02.10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19623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chart" Target="../charts/chart5.xml"/><Relationship Id="rId5" Type="http://schemas.openxmlformats.org/officeDocument/2006/relationships/tags" Target="../tags/tag62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61.xml"/><Relationship Id="rId9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6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chart" Target="../charts/chart6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chart" Target="../charts/chart8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chart" Target="../charts/chart7.xml"/><Relationship Id="rId5" Type="http://schemas.openxmlformats.org/officeDocument/2006/relationships/tags" Target="../tags/tag82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81.xml"/><Relationship Id="rId9" Type="http://schemas.openxmlformats.org/officeDocument/2006/relationships/tags" Target="../tags/tag8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chart" Target="../charts/chart9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92.xml"/><Relationship Id="rId10" Type="http://schemas.openxmlformats.org/officeDocument/2006/relationships/tags" Target="../tags/tag97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9.xml"/><Relationship Id="rId1" Type="http://schemas.openxmlformats.org/officeDocument/2006/relationships/tags" Target="../tags/tag9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3" Type="http://schemas.openxmlformats.org/officeDocument/2006/relationships/tags" Target="../tags/tag103.xml"/><Relationship Id="rId21" Type="http://schemas.openxmlformats.org/officeDocument/2006/relationships/chart" Target="../charts/chart11.xml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notesSlide" Target="../notesSlides/notesSlide4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10" Type="http://schemas.openxmlformats.org/officeDocument/2006/relationships/tags" Target="../tags/tag110.xml"/><Relationship Id="rId19" Type="http://schemas.openxmlformats.org/officeDocument/2006/relationships/slideLayout" Target="../slideLayouts/slideLayout4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tags" Target="../tags/tag131.xml"/><Relationship Id="rId18" Type="http://schemas.openxmlformats.org/officeDocument/2006/relationships/tags" Target="../tags/tag13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chart" Target="../charts/chart12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10" Type="http://schemas.openxmlformats.org/officeDocument/2006/relationships/tags" Target="../tags/tag128.xml"/><Relationship Id="rId19" Type="http://schemas.openxmlformats.org/officeDocument/2006/relationships/slideLayout" Target="../slideLayouts/slideLayout4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8.xml"/><Relationship Id="rId1" Type="http://schemas.openxmlformats.org/officeDocument/2006/relationships/tags" Target="../tags/tag13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chart" Target="../charts/chart13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144.xml"/><Relationship Id="rId10" Type="http://schemas.openxmlformats.org/officeDocument/2006/relationships/tags" Target="../tags/tag149.xml"/><Relationship Id="rId4" Type="http://schemas.openxmlformats.org/officeDocument/2006/relationships/tags" Target="../tags/tag143.xml"/><Relationship Id="rId9" Type="http://schemas.openxmlformats.org/officeDocument/2006/relationships/tags" Target="../tags/tag14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" Type="http://schemas.openxmlformats.org/officeDocument/2006/relationships/tags" Target="../tags/tag10.xml"/><Relationship Id="rId21" Type="http://schemas.openxmlformats.org/officeDocument/2006/relationships/slideLayout" Target="../slideLayouts/slideLayout8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chart" Target="../charts/chart2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2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chart" Target="../charts/chart4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chart" Target="../charts/chart3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notesSlide" Target="../notesSlides/notesSlide1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5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text 6">
            <a:extLst>
              <a:ext uri="{FF2B5EF4-FFF2-40B4-BE49-F238E27FC236}">
                <a16:creationId xmlns:a16="http://schemas.microsoft.com/office/drawing/2014/main" id="{5DCF0AB6-68C2-4761-9566-86C1FAD4A8F2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320172" y="4255970"/>
            <a:ext cx="9130443" cy="1897403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cs-CZ" sz="4800" dirty="0"/>
              <a:t>Onkologická péče v JMK </a:t>
            </a:r>
          </a:p>
          <a:p>
            <a:pPr marL="0" indent="0">
              <a:spcBef>
                <a:spcPts val="0"/>
              </a:spcBef>
              <a:buNone/>
            </a:pPr>
            <a:r>
              <a:rPr lang="cs-CZ" sz="4800" dirty="0"/>
              <a:t>a ve Fakultní nemocnici Brno </a:t>
            </a:r>
          </a:p>
          <a:p>
            <a:pPr marL="0" indent="0">
              <a:spcBef>
                <a:spcPts val="0"/>
              </a:spcBef>
              <a:buNone/>
            </a:pPr>
            <a:r>
              <a:rPr lang="cs-CZ" sz="4800" dirty="0"/>
              <a:t>dle celostátních dat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21760E22-BC66-421F-A112-28895738BB4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15034" y="1197550"/>
            <a:ext cx="5246408" cy="1404481"/>
          </a:xfrm>
        </p:spPr>
        <p:txBody>
          <a:bodyPr>
            <a:normAutofit/>
          </a:bodyPr>
          <a:lstStyle/>
          <a:p>
            <a:r>
              <a:rPr lang="cs-CZ" sz="4400" dirty="0"/>
              <a:t>NOP ČR 2030: </a:t>
            </a:r>
            <a:br>
              <a:rPr lang="cs-CZ" sz="5400" dirty="0"/>
            </a:br>
            <a:r>
              <a:rPr lang="cs-CZ" sz="3600" dirty="0"/>
              <a:t>Fakultní nemocnice Brno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501888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B32EF47-F251-4798-8509-3D9DC37CC8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/>
              <a:t>Vývoj 5letého relativního přežití pacientů v JMK</a:t>
            </a:r>
          </a:p>
        </p:txBody>
      </p:sp>
      <p:sp>
        <p:nvSpPr>
          <p:cNvPr id="3" name="TextovéPole 20">
            <a:extLst>
              <a:ext uri="{FF2B5EF4-FFF2-40B4-BE49-F238E27FC236}">
                <a16:creationId xmlns:a16="http://schemas.microsoft.com/office/drawing/2014/main" id="{5E71DC4B-3B54-4FCB-8BD9-8A49465B98B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7998" y="703701"/>
            <a:ext cx="533848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agnózy jsou řazeny sestupně dle 5letého přežití pro analýzu periody 2015</a:t>
            </a:r>
            <a:r>
              <a:rPr kumimoji="0" lang="cs-CZ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–</a:t>
            </a: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19.</a:t>
            </a:r>
          </a:p>
        </p:txBody>
      </p:sp>
      <p:graphicFrame>
        <p:nvGraphicFramePr>
          <p:cNvPr id="5" name="Group 392">
            <a:extLst>
              <a:ext uri="{FF2B5EF4-FFF2-40B4-BE49-F238E27FC236}">
                <a16:creationId xmlns:a16="http://schemas.microsoft.com/office/drawing/2014/main" id="{E6EBBA63-5700-4BE9-B1DC-58FC1E36FAD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078063"/>
              </p:ext>
            </p:extLst>
          </p:nvPr>
        </p:nvGraphicFramePr>
        <p:xfrm>
          <a:off x="941338" y="855800"/>
          <a:ext cx="7698204" cy="5560915"/>
        </p:xfrm>
        <a:graphic>
          <a:graphicData uri="http://schemas.openxmlformats.org/drawingml/2006/table">
            <a:tbl>
              <a:tblPr/>
              <a:tblGrid>
                <a:gridCol w="28675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306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13015"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rlete (C62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štítné žlázy (C73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ostaty (C61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ymfom (C81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su (C50) u žen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houbný melanom kůže (C43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dělohy (C54, C55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ledviny (C64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gkinův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ymfom (C82–C86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dla děložního (C53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čového měchýře (C67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ojivových a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k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tkání (C47, C49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tlustého střeva a konečníku (C18–C20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rtanu (C32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hlavy a krku (C00–C14, C30–C31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vaječníku (C56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nohočetný myelom (C90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ukémie (C91–C95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aludku (C16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020682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mozku, míchy a jiných částí CNS (C70–C72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143575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žlučníku a žlučových cest (C23, C24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7667510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ater a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rahepat</a:t>
                      </a: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žluč. cest (C22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3675180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průdušnice, průdušky a plíce (C33, C34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2989520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jícnu (C15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cs-CZ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242486"/>
                  </a:ext>
                </a:extLst>
              </a:tr>
              <a:tr h="19791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 slinivky břišní (C25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cs-CZ" sz="1200" b="1" i="0" u="none" strike="noStrike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389BE572-0A6D-44CB-A7E7-2A21ACAD857A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69507072"/>
              </p:ext>
            </p:extLst>
          </p:nvPr>
        </p:nvGraphicFramePr>
        <p:xfrm>
          <a:off x="3035324" y="878194"/>
          <a:ext cx="5540228" cy="5528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5" name="TextovéPole 20">
            <a:extLst>
              <a:ext uri="{FF2B5EF4-FFF2-40B4-BE49-F238E27FC236}">
                <a16:creationId xmlns:a16="http://schemas.microsoft.com/office/drawing/2014/main" id="{D1EA6079-E23B-4338-BC0D-0326DB5CC6A9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36801" y="891040"/>
            <a:ext cx="30257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lativní 5leté přežití [%]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08ECA76C-4649-43C8-9380-0BA5E9B3FC59}"/>
              </a:ext>
            </a:extLst>
          </p:cNvPr>
          <p:cNvSpPr/>
          <p:nvPr/>
        </p:nvSpPr>
        <p:spPr>
          <a:xfrm>
            <a:off x="271398" y="883273"/>
            <a:ext cx="293542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droj: Národní onkologický registr, ÚZIS ČR</a:t>
            </a:r>
          </a:p>
        </p:txBody>
      </p:sp>
      <p:sp>
        <p:nvSpPr>
          <p:cNvPr id="18" name="Text Box 4">
            <a:extLst>
              <a:ext uri="{FF2B5EF4-FFF2-40B4-BE49-F238E27FC236}">
                <a16:creationId xmlns:a16="http://schemas.microsoft.com/office/drawing/2014/main" id="{232CFFF3-BC01-473A-A980-39DAF219E248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8000" y="530262"/>
            <a:ext cx="5674925" cy="261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10" rIns="91420" bIns="4571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šichni pacienti s diagnostikovaným onemocněním.</a:t>
            </a:r>
          </a:p>
        </p:txBody>
      </p: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1FAE6AF6-CE04-41BD-B1D5-1BF7A37968E5}"/>
              </a:ext>
            </a:extLst>
          </p:cNvPr>
          <p:cNvGrpSpPr/>
          <p:nvPr/>
        </p:nvGrpSpPr>
        <p:grpSpPr>
          <a:xfrm>
            <a:off x="271398" y="1324455"/>
            <a:ext cx="2633835" cy="1013441"/>
            <a:chOff x="375844" y="1054128"/>
            <a:chExt cx="2709297" cy="1013441"/>
          </a:xfrm>
        </p:grpSpPr>
        <p:sp>
          <p:nvSpPr>
            <p:cNvPr id="28" name="Ovál 27">
              <a:extLst>
                <a:ext uri="{FF2B5EF4-FFF2-40B4-BE49-F238E27FC236}">
                  <a16:creationId xmlns:a16="http://schemas.microsoft.com/office/drawing/2014/main" id="{F5EA4DF1-319F-41D0-BED4-C081388FE8DE}"/>
                </a:ext>
              </a:extLst>
            </p:cNvPr>
            <p:cNvSpPr/>
            <p:nvPr/>
          </p:nvSpPr>
          <p:spPr>
            <a:xfrm>
              <a:off x="375844" y="1186793"/>
              <a:ext cx="180000" cy="180000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ovéPole 29">
              <a:extLst>
                <a:ext uri="{FF2B5EF4-FFF2-40B4-BE49-F238E27FC236}">
                  <a16:creationId xmlns:a16="http://schemas.microsoft.com/office/drawing/2014/main" id="{7F4AC1DF-FDB7-489B-9548-846304F83F10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55844" y="1054128"/>
              <a:ext cx="2529297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</a:t>
              </a:r>
              <a:r>
                <a:rPr kumimoji="0" lang="en-US" altLang="cs-CZ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</a:t>
              </a:r>
              <a:r>
                <a:rPr kumimoji="0" lang="pl-PL" altLang="cs-CZ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</a:t>
              </a:r>
              <a:r>
                <a:rPr kumimoji="0" lang="cs-CZ" altLang="cs-CZ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20</a:t>
              </a:r>
              <a:r>
                <a:rPr kumimoji="0" lang="en-US" altLang="cs-CZ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</a:t>
              </a:r>
              <a:r>
                <a:rPr kumimoji="0" lang="cs-CZ" altLang="cs-CZ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</a:t>
              </a:r>
              <a:endParaRPr kumimoji="0" lang="pl-PL" alt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ovéPole 29">
              <a:extLst>
                <a:ext uri="{FF2B5EF4-FFF2-40B4-BE49-F238E27FC236}">
                  <a16:creationId xmlns:a16="http://schemas.microsoft.com/office/drawing/2014/main" id="{5B0FB45E-40FD-42BF-913F-D6C1A7BD76C4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45883" y="1605904"/>
              <a:ext cx="2539258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15</a:t>
              </a:r>
              <a:r>
                <a:rPr kumimoji="0" lang="cs-CZ" altLang="cs-CZ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–</a:t>
              </a:r>
              <a:r>
                <a:rPr kumimoji="0" lang="pl-PL" altLang="cs-CZ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19</a:t>
              </a:r>
            </a:p>
          </p:txBody>
        </p:sp>
        <p:grpSp>
          <p:nvGrpSpPr>
            <p:cNvPr id="33" name="Skupina 34">
              <a:extLst>
                <a:ext uri="{FF2B5EF4-FFF2-40B4-BE49-F238E27FC236}">
                  <a16:creationId xmlns:a16="http://schemas.microsoft.com/office/drawing/2014/main" id="{7A13C0A8-C820-4AEB-AE5F-9D3F346DF6D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5947" y="1748951"/>
              <a:ext cx="161925" cy="176077"/>
              <a:chOff x="4508326" y="837418"/>
              <a:chExt cx="161925" cy="162000"/>
            </a:xfrm>
          </p:grpSpPr>
          <p:sp>
            <p:nvSpPr>
              <p:cNvPr id="37" name="Obdélník 36">
                <a:extLst>
                  <a:ext uri="{FF2B5EF4-FFF2-40B4-BE49-F238E27FC236}">
                    <a16:creationId xmlns:a16="http://schemas.microsoft.com/office/drawing/2014/main" id="{E0C20506-83C1-4379-A8C8-3AB439C29691}"/>
                  </a:ext>
                </a:extLst>
              </p:cNvPr>
              <p:cNvSpPr/>
              <p:nvPr/>
            </p:nvSpPr>
            <p:spPr bwMode="auto">
              <a:xfrm>
                <a:off x="4508326" y="837418"/>
                <a:ext cx="161925" cy="162000"/>
              </a:xfrm>
              <a:prstGeom prst="rect">
                <a:avLst/>
              </a:prstGeom>
              <a:solidFill>
                <a:srgbClr val="99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2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Obdélník 37">
                <a:extLst>
                  <a:ext uri="{FF2B5EF4-FFF2-40B4-BE49-F238E27FC236}">
                    <a16:creationId xmlns:a16="http://schemas.microsoft.com/office/drawing/2014/main" id="{FB485362-B801-4076-8A6D-67AF7079222D}"/>
                  </a:ext>
                </a:extLst>
              </p:cNvPr>
              <p:cNvSpPr/>
              <p:nvPr/>
            </p:nvSpPr>
            <p:spPr bwMode="auto">
              <a:xfrm>
                <a:off x="4521737" y="851649"/>
                <a:ext cx="136525" cy="136588"/>
              </a:xfrm>
              <a:prstGeom prst="rect">
                <a:avLst/>
              </a:pr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2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TextovéPole 3">
            <a:extLst>
              <a:ext uri="{FF2B5EF4-FFF2-40B4-BE49-F238E27FC236}">
                <a16:creationId xmlns:a16="http://schemas.microsoft.com/office/drawing/2014/main" id="{E41FAF18-BFCF-436F-8D38-F3A752E58AA9}"/>
              </a:ext>
            </a:extLst>
          </p:cNvPr>
          <p:cNvSpPr txBox="1"/>
          <p:nvPr/>
        </p:nvSpPr>
        <p:spPr>
          <a:xfrm>
            <a:off x="8575552" y="983456"/>
            <a:ext cx="3504234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/>
              <a:t>Výsledky onkologické léčby se v JMK dlouhodobě a významně zlepšují. </a:t>
            </a:r>
          </a:p>
          <a:p>
            <a:endParaRPr lang="cs-CZ" sz="2000" b="1" dirty="0"/>
          </a:p>
          <a:p>
            <a:r>
              <a:rPr lang="cs-CZ" sz="2000" b="1" dirty="0"/>
              <a:t>Největší nárůst přežití pacientů registrujeme u </a:t>
            </a:r>
            <a:r>
              <a:rPr lang="cs-CZ" sz="2000" b="1" dirty="0" err="1"/>
              <a:t>hematoonkologických</a:t>
            </a:r>
            <a:r>
              <a:rPr lang="cs-CZ" sz="2000" b="1" dirty="0"/>
              <a:t> onemocnění (lymfomy, leukémie, myelom), ale také u řady významných solidních nádorů dospělých:</a:t>
            </a:r>
          </a:p>
          <a:p>
            <a:pPr marL="285750" indent="-285750">
              <a:buFontTx/>
              <a:buChar char="-"/>
            </a:pPr>
            <a:r>
              <a:rPr lang="cs-CZ" sz="2000" b="1" dirty="0"/>
              <a:t>ZN tlustého střeva</a:t>
            </a:r>
          </a:p>
          <a:p>
            <a:pPr marL="285750" indent="-285750">
              <a:buFontTx/>
              <a:buChar char="-"/>
            </a:pPr>
            <a:r>
              <a:rPr lang="cs-CZ" sz="2000" b="1" dirty="0"/>
              <a:t>ZN prostaty</a:t>
            </a:r>
          </a:p>
          <a:p>
            <a:pPr marL="285750" indent="-285750">
              <a:buFontTx/>
              <a:buChar char="-"/>
            </a:pPr>
            <a:r>
              <a:rPr lang="cs-CZ" sz="2000" b="1" dirty="0"/>
              <a:t>ZN ledviny</a:t>
            </a:r>
          </a:p>
          <a:p>
            <a:pPr marL="285750" indent="-285750">
              <a:buFontTx/>
              <a:buChar char="-"/>
            </a:pPr>
            <a:r>
              <a:rPr lang="cs-CZ" sz="2000" b="1" dirty="0"/>
              <a:t>ZN vaječníku</a:t>
            </a:r>
          </a:p>
          <a:p>
            <a:pPr marL="285750" indent="-285750">
              <a:buFontTx/>
              <a:buChar char="-"/>
            </a:pPr>
            <a:r>
              <a:rPr lang="cs-CZ" sz="2000" b="1" dirty="0"/>
              <a:t>ZN plic</a:t>
            </a:r>
          </a:p>
          <a:p>
            <a:pPr marL="285750" indent="-285750">
              <a:buFontTx/>
              <a:buChar char="-"/>
            </a:pPr>
            <a:r>
              <a:rPr lang="cs-CZ" sz="2000" b="1" dirty="0"/>
              <a:t>ZN jater</a:t>
            </a:r>
            <a:endParaRPr lang="en-US" sz="2000" b="1" dirty="0"/>
          </a:p>
        </p:txBody>
      </p:sp>
      <p:sp>
        <p:nvSpPr>
          <p:cNvPr id="6" name="Šipka: doprava 5">
            <a:extLst>
              <a:ext uri="{FF2B5EF4-FFF2-40B4-BE49-F238E27FC236}">
                <a16:creationId xmlns:a16="http://schemas.microsoft.com/office/drawing/2014/main" id="{173F8C0A-7FB3-41D4-A3D2-675D347FEF21}"/>
              </a:ext>
            </a:extLst>
          </p:cNvPr>
          <p:cNvSpPr/>
          <p:nvPr/>
        </p:nvSpPr>
        <p:spPr>
          <a:xfrm>
            <a:off x="840826" y="3846788"/>
            <a:ext cx="252248" cy="220717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Šipka: doprava 19">
            <a:extLst>
              <a:ext uri="{FF2B5EF4-FFF2-40B4-BE49-F238E27FC236}">
                <a16:creationId xmlns:a16="http://schemas.microsoft.com/office/drawing/2014/main" id="{8ED00267-6615-4BD8-8294-8F548ADA1404}"/>
              </a:ext>
            </a:extLst>
          </p:cNvPr>
          <p:cNvSpPr/>
          <p:nvPr/>
        </p:nvSpPr>
        <p:spPr>
          <a:xfrm>
            <a:off x="1308536" y="3053259"/>
            <a:ext cx="252248" cy="220717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Šipka: doprava 20">
            <a:extLst>
              <a:ext uri="{FF2B5EF4-FFF2-40B4-BE49-F238E27FC236}">
                <a16:creationId xmlns:a16="http://schemas.microsoft.com/office/drawing/2014/main" id="{240EC427-A1FC-4346-A360-383DB0E4C4C7}"/>
              </a:ext>
            </a:extLst>
          </p:cNvPr>
          <p:cNvSpPr/>
          <p:nvPr/>
        </p:nvSpPr>
        <p:spPr>
          <a:xfrm>
            <a:off x="2448903" y="2848306"/>
            <a:ext cx="252248" cy="220717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Šipka: doprava 21">
            <a:extLst>
              <a:ext uri="{FF2B5EF4-FFF2-40B4-BE49-F238E27FC236}">
                <a16:creationId xmlns:a16="http://schemas.microsoft.com/office/drawing/2014/main" id="{E429BE14-F57E-4DE9-AEBC-62B9D4E4A8B9}"/>
              </a:ext>
            </a:extLst>
          </p:cNvPr>
          <p:cNvSpPr/>
          <p:nvPr/>
        </p:nvSpPr>
        <p:spPr>
          <a:xfrm>
            <a:off x="1150877" y="5617781"/>
            <a:ext cx="252248" cy="220717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Šipka: doprava 22">
            <a:extLst>
              <a:ext uri="{FF2B5EF4-FFF2-40B4-BE49-F238E27FC236}">
                <a16:creationId xmlns:a16="http://schemas.microsoft.com/office/drawing/2014/main" id="{26D2826A-B425-4AE4-9BAF-F47B4DCD0F35}"/>
              </a:ext>
            </a:extLst>
          </p:cNvPr>
          <p:cNvSpPr/>
          <p:nvPr/>
        </p:nvSpPr>
        <p:spPr>
          <a:xfrm>
            <a:off x="2375327" y="1860345"/>
            <a:ext cx="252248" cy="220717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Šipka: doprava 23">
            <a:extLst>
              <a:ext uri="{FF2B5EF4-FFF2-40B4-BE49-F238E27FC236}">
                <a16:creationId xmlns:a16="http://schemas.microsoft.com/office/drawing/2014/main" id="{49EDE575-10CC-4B1A-9E4F-AABDE7843F10}"/>
              </a:ext>
            </a:extLst>
          </p:cNvPr>
          <p:cNvSpPr/>
          <p:nvPr/>
        </p:nvSpPr>
        <p:spPr>
          <a:xfrm>
            <a:off x="2307012" y="2243970"/>
            <a:ext cx="252248" cy="220717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Šipka: doprava 24">
            <a:extLst>
              <a:ext uri="{FF2B5EF4-FFF2-40B4-BE49-F238E27FC236}">
                <a16:creationId xmlns:a16="http://schemas.microsoft.com/office/drawing/2014/main" id="{B5EF74CC-F19F-435A-8A56-D0CBD1BE972C}"/>
              </a:ext>
            </a:extLst>
          </p:cNvPr>
          <p:cNvSpPr/>
          <p:nvPr/>
        </p:nvSpPr>
        <p:spPr>
          <a:xfrm>
            <a:off x="2301756" y="4424864"/>
            <a:ext cx="252248" cy="220717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Šipka: doprava 26">
            <a:extLst>
              <a:ext uri="{FF2B5EF4-FFF2-40B4-BE49-F238E27FC236}">
                <a16:creationId xmlns:a16="http://schemas.microsoft.com/office/drawing/2014/main" id="{89730DA8-96B4-4E4A-A17B-66154284E965}"/>
              </a:ext>
            </a:extLst>
          </p:cNvPr>
          <p:cNvSpPr/>
          <p:nvPr/>
        </p:nvSpPr>
        <p:spPr>
          <a:xfrm>
            <a:off x="1739453" y="4629816"/>
            <a:ext cx="252248" cy="220717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Šipka: doprava 29">
            <a:extLst>
              <a:ext uri="{FF2B5EF4-FFF2-40B4-BE49-F238E27FC236}">
                <a16:creationId xmlns:a16="http://schemas.microsoft.com/office/drawing/2014/main" id="{61D082DF-C0AE-4829-AC83-847DF5E3D5BA}"/>
              </a:ext>
            </a:extLst>
          </p:cNvPr>
          <p:cNvSpPr/>
          <p:nvPr/>
        </p:nvSpPr>
        <p:spPr>
          <a:xfrm>
            <a:off x="2217670" y="4834766"/>
            <a:ext cx="252248" cy="220717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Šipka: doprava 33">
            <a:extLst>
              <a:ext uri="{FF2B5EF4-FFF2-40B4-BE49-F238E27FC236}">
                <a16:creationId xmlns:a16="http://schemas.microsoft.com/office/drawing/2014/main" id="{11DF723F-8509-41F8-AF9A-7E5484FF3357}"/>
              </a:ext>
            </a:extLst>
          </p:cNvPr>
          <p:cNvSpPr/>
          <p:nvPr/>
        </p:nvSpPr>
        <p:spPr>
          <a:xfrm>
            <a:off x="2401600" y="5008186"/>
            <a:ext cx="252248" cy="220717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Šipka: doprava 34">
            <a:extLst>
              <a:ext uri="{FF2B5EF4-FFF2-40B4-BE49-F238E27FC236}">
                <a16:creationId xmlns:a16="http://schemas.microsoft.com/office/drawing/2014/main" id="{04114C50-4EC5-4E2D-800B-A8E0B060D736}"/>
              </a:ext>
            </a:extLst>
          </p:cNvPr>
          <p:cNvSpPr/>
          <p:nvPr/>
        </p:nvSpPr>
        <p:spPr>
          <a:xfrm>
            <a:off x="1213943" y="4230415"/>
            <a:ext cx="252248" cy="220717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2049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7978" y="1786760"/>
            <a:ext cx="11117744" cy="2060026"/>
          </a:xfrm>
        </p:spPr>
        <p:txBody>
          <a:bodyPr>
            <a:noAutofit/>
          </a:bodyPr>
          <a:lstStyle/>
          <a:p>
            <a:pPr algn="ctr"/>
            <a:r>
              <a:rPr lang="cs-CZ" sz="3400" dirty="0"/>
              <a:t>Fakultní nemocnice Brno (FNB) je součástí Národního onkologického centra Brno (NOC Brno) a objemem léčby patří mezi deset největších onkologických center ČR. </a:t>
            </a:r>
            <a:br>
              <a:rPr lang="cs-CZ" sz="3400" dirty="0"/>
            </a:br>
            <a:br>
              <a:rPr lang="cs-CZ" sz="3400" dirty="0"/>
            </a:br>
            <a:r>
              <a:rPr lang="cs-CZ" sz="3400" dirty="0"/>
              <a:t>U </a:t>
            </a:r>
            <a:r>
              <a:rPr lang="cs-CZ" sz="3400" dirty="0" err="1"/>
              <a:t>hematoonkologických</a:t>
            </a:r>
            <a:r>
              <a:rPr lang="cs-CZ" sz="3400" dirty="0"/>
              <a:t> diagnóz je FNB kapacitně </a:t>
            </a:r>
            <a:br>
              <a:rPr lang="cs-CZ" sz="3400" dirty="0"/>
            </a:br>
            <a:r>
              <a:rPr lang="cs-CZ" sz="3400" dirty="0"/>
              <a:t>největším centrem ČR. </a:t>
            </a:r>
            <a:endParaRPr lang="en-US" sz="3400" dirty="0"/>
          </a:p>
        </p:txBody>
      </p:sp>
      <p:sp>
        <p:nvSpPr>
          <p:cNvPr id="3" name="Šipka: dolů 2">
            <a:extLst>
              <a:ext uri="{FF2B5EF4-FFF2-40B4-BE49-F238E27FC236}">
                <a16:creationId xmlns:a16="http://schemas.microsoft.com/office/drawing/2014/main" id="{8B1F4CE3-976E-4EC3-ADFE-BAAE096C5523}"/>
              </a:ext>
            </a:extLst>
          </p:cNvPr>
          <p:cNvSpPr/>
          <p:nvPr/>
        </p:nvSpPr>
        <p:spPr>
          <a:xfrm>
            <a:off x="5141788" y="4740165"/>
            <a:ext cx="1650124" cy="7252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3487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C8CBDB91-A46F-47B9-A06A-98A85B5A30DC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615702"/>
              </p:ext>
            </p:extLst>
          </p:nvPr>
        </p:nvGraphicFramePr>
        <p:xfrm>
          <a:off x="327546" y="1464864"/>
          <a:ext cx="9360000" cy="472667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556000">
                  <a:extLst>
                    <a:ext uri="{9D8B030D-6E8A-4147-A177-3AD203B41FA5}">
                      <a16:colId xmlns:a16="http://schemas.microsoft.com/office/drawing/2014/main" val="1013864984"/>
                    </a:ext>
                  </a:extLst>
                </a:gridCol>
                <a:gridCol w="5940000">
                  <a:extLst>
                    <a:ext uri="{9D8B030D-6E8A-4147-A177-3AD203B41FA5}">
                      <a16:colId xmlns:a16="http://schemas.microsoft.com/office/drawing/2014/main" val="186667669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403924656"/>
                    </a:ext>
                  </a:extLst>
                </a:gridCol>
              </a:tblGrid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prs – ženy (C50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33982732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tlusté střevo a konečník (C18–C20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00489849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průdušnice, průdušky a plíce (C33, C34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45690564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močový měchýř (C67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93847762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ledvina (C64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9133210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melanom kůže (C43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41839508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non-</a:t>
                      </a:r>
                      <a:r>
                        <a:rPr lang="cs-CZ" sz="1100" b="1" u="none" strike="noStrike" dirty="0" err="1">
                          <a:effectLst/>
                          <a:highlight>
                            <a:srgbClr val="FF9B05"/>
                          </a:highlight>
                        </a:rPr>
                        <a:t>Hodgkinův</a:t>
                      </a:r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 lymfom (C82–C85, C96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45189321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pt-BR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dutina ústní a hltan (C00–C14)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pt-BR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63211110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štítná žláza (C73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61764010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děloha (C54, C55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63385133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slinivka břišní (C25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29911341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leukémie (C91–C95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94563026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mozek a mícha (C70–C72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97809643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>
                          <a:effectLst/>
                        </a:rPr>
                        <a:t>vaječník (C56)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21962847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žaludek (C16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81389998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hrdlo děložní – </a:t>
                      </a:r>
                      <a:r>
                        <a:rPr lang="cs-CZ" sz="1100" b="1" u="none" strike="noStrike" dirty="0" err="1">
                          <a:effectLst/>
                        </a:rPr>
                        <a:t>cervicis</a:t>
                      </a:r>
                      <a:r>
                        <a:rPr lang="cs-CZ" sz="1100" b="1" u="none" strike="noStrike" dirty="0">
                          <a:effectLst/>
                        </a:rPr>
                        <a:t> </a:t>
                      </a:r>
                      <a:r>
                        <a:rPr lang="cs-CZ" sz="1100" b="1" u="none" strike="noStrike" dirty="0" err="1">
                          <a:effectLst/>
                        </a:rPr>
                        <a:t>uteri</a:t>
                      </a:r>
                      <a:r>
                        <a:rPr lang="cs-CZ" sz="1100" b="1" u="none" strike="noStrike" dirty="0">
                          <a:effectLst/>
                        </a:rPr>
                        <a:t> (C53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40040234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mnohočetný myelom (C90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97862166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hrtan (C32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49325051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jícen (C15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59175420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varle (C62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39390635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žlučník a žlučové cesty (C23, C24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12529162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 err="1">
                          <a:effectLst/>
                          <a:highlight>
                            <a:srgbClr val="FF9B05"/>
                          </a:highlight>
                        </a:rPr>
                        <a:t>Hodgkinův</a:t>
                      </a:r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 lymfom (C81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72082930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játra a </a:t>
                      </a:r>
                      <a:r>
                        <a:rPr lang="cs-CZ" sz="1100" b="1" u="none" strike="noStrike" dirty="0" err="1">
                          <a:effectLst/>
                          <a:highlight>
                            <a:srgbClr val="FF9B05"/>
                          </a:highlight>
                        </a:rPr>
                        <a:t>intrahepatální</a:t>
                      </a:r>
                      <a:r>
                        <a:rPr lang="cs-CZ" sz="1100" b="1" u="none" strike="noStrike" dirty="0">
                          <a:effectLst/>
                          <a:highlight>
                            <a:srgbClr val="FF9B05"/>
                          </a:highlight>
                        </a:rPr>
                        <a:t> žlučové cesty (C22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35701796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pojivové a měkké tkáně (C47, C49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79117250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předstojná žláza – prostata (C61)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76660348"/>
                  </a:ext>
                </a:extLst>
              </a:tr>
              <a:tr h="18179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u="none" strike="noStrike" dirty="0">
                          <a:effectLst/>
                        </a:rPr>
                        <a:t>ostatní zhoubné nádory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cs-CZ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753" marR="3753" marT="375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04303705"/>
                  </a:ext>
                </a:extLst>
              </a:tr>
            </a:tbl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EA2F717C-BD7D-4FEA-99F1-54EB48901B1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cs-CZ" dirty="0"/>
              <a:t>Primární léčba nádorů: pozice nemocnic v ČR v období 2011 - 2021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DDD2FD5E-DE66-4771-96DF-F561B210C50F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779594" y="1006273"/>
          <a:ext cx="5859439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3" name="TextovéPole 6">
            <a:extLst>
              <a:ext uri="{FF2B5EF4-FFF2-40B4-BE49-F238E27FC236}">
                <a16:creationId xmlns:a16="http://schemas.microsoft.com/office/drawing/2014/main" id="{FB2F6082-78FD-4078-8F79-53656537688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231451" y="1060495"/>
            <a:ext cx="1854579" cy="1017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vních 30 ZZ v ČR podle počtu primárně léčených pacientů ročně</a:t>
            </a:r>
          </a:p>
        </p:txBody>
      </p:sp>
      <p:sp>
        <p:nvSpPr>
          <p:cNvPr id="14" name="Rectangle 140">
            <a:extLst>
              <a:ext uri="{FF2B5EF4-FFF2-40B4-BE49-F238E27FC236}">
                <a16:creationId xmlns:a16="http://schemas.microsoft.com/office/drawing/2014/main" id="{338EB013-ADF6-4B62-AC4A-A28D1B24E1F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906988" y="2887432"/>
            <a:ext cx="144463" cy="144463"/>
          </a:xfrm>
          <a:prstGeom prst="diamond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ovéPole 6">
            <a:extLst>
              <a:ext uri="{FF2B5EF4-FFF2-40B4-BE49-F238E27FC236}">
                <a16:creationId xmlns:a16="http://schemas.microsoft.com/office/drawing/2014/main" id="{0DD46D4D-90E3-41DD-8004-F14F94925AD6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231451" y="2477639"/>
            <a:ext cx="1728788" cy="1017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NB podle počtu primárně léčených pacientů ročně</a:t>
            </a: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6BE67C6-31ED-420B-929E-B8AA069AC159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784216" y="1389260"/>
            <a:ext cx="360000" cy="360000"/>
            <a:chOff x="9203191" y="1448400"/>
            <a:chExt cx="360000" cy="360000"/>
          </a:xfrm>
        </p:grpSpPr>
        <p:sp>
          <p:nvSpPr>
            <p:cNvPr id="17" name="Line 38">
              <a:extLst>
                <a:ext uri="{FF2B5EF4-FFF2-40B4-BE49-F238E27FC236}">
                  <a16:creationId xmlns:a16="http://schemas.microsoft.com/office/drawing/2014/main" id="{1CE6309D-C034-46C7-8FCB-7DF68A964ACC}"/>
                </a:ext>
              </a:extLst>
            </p:cNvPr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9383191" y="1448400"/>
              <a:ext cx="0" cy="360000"/>
            </a:xfrm>
            <a:prstGeom prst="line">
              <a:avLst/>
            </a:prstGeom>
            <a:noFill/>
            <a:ln w="317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Line 38">
              <a:extLst>
                <a:ext uri="{FF2B5EF4-FFF2-40B4-BE49-F238E27FC236}">
                  <a16:creationId xmlns:a16="http://schemas.microsoft.com/office/drawing/2014/main" id="{F001C95E-FC52-4AAA-A819-18D867062737}"/>
                </a:ext>
              </a:extLst>
            </p:cNvPr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9383191" y="1450674"/>
              <a:ext cx="0" cy="360000"/>
            </a:xfrm>
            <a:prstGeom prst="line">
              <a:avLst/>
            </a:prstGeom>
            <a:noFill/>
            <a:ln w="317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E5C824E5-EF59-4EC0-81FC-3252ED001E5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572507" y="806912"/>
            <a:ext cx="1411698" cy="64633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řadí FN Brno v ČR</a:t>
            </a:r>
            <a:endParaRPr kumimoji="0" lang="cs-CZ" altLang="cs-CZ" sz="18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4">
            <a:extLst>
              <a:ext uri="{FF2B5EF4-FFF2-40B4-BE49-F238E27FC236}">
                <a16:creationId xmlns:a16="http://schemas.microsoft.com/office/drawing/2014/main" id="{86D98FD5-CC18-43C2-86F2-7F3CFF489C2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619494" y="654196"/>
            <a:ext cx="394499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čet primárně léčených pacientů ročně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4CC63B2A-60F7-48D4-9EE8-03178D74E88B}"/>
              </a:ext>
            </a:extLst>
          </p:cNvPr>
          <p:cNvSpPr txBox="1"/>
          <p:nvPr/>
        </p:nvSpPr>
        <p:spPr>
          <a:xfrm>
            <a:off x="9687546" y="4011623"/>
            <a:ext cx="2398484" cy="1785104"/>
          </a:xfrm>
          <a:prstGeom prst="rect">
            <a:avLst/>
          </a:prstGeom>
          <a:solidFill>
            <a:srgbClr val="FF9B05"/>
          </a:solidFill>
        </p:spPr>
        <p:txBody>
          <a:bodyPr wrap="square" rtlCol="0">
            <a:spAutoFit/>
          </a:bodyPr>
          <a:lstStyle/>
          <a:p>
            <a:r>
              <a:rPr lang="cs-CZ" sz="2200" b="1" dirty="0"/>
              <a:t>FNB patří objemem léčby u řady diagnóz mezi deset největších center ČR. </a:t>
            </a:r>
            <a:endParaRPr lang="en-US" sz="2200" b="1" dirty="0"/>
          </a:p>
        </p:txBody>
      </p:sp>
    </p:spTree>
    <p:extLst>
      <p:ext uri="{BB962C8B-B14F-4D97-AF65-F5344CB8AC3E}">
        <p14:creationId xmlns:p14="http://schemas.microsoft.com/office/powerpoint/2010/main" val="828963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79602" y="129261"/>
            <a:ext cx="11785090" cy="1138510"/>
          </a:xfrm>
        </p:spPr>
        <p:txBody>
          <a:bodyPr>
            <a:noAutofit/>
          </a:bodyPr>
          <a:lstStyle/>
          <a:p>
            <a:r>
              <a:rPr lang="cs-CZ" dirty="0"/>
              <a:t>Zastoupení NOC Brno a FN Brno v primární léčbě </a:t>
            </a:r>
            <a:br>
              <a:rPr lang="cs-CZ" dirty="0"/>
            </a:br>
            <a:r>
              <a:rPr lang="cs-CZ" dirty="0"/>
              <a:t>zhoubných nádorů dospělých (bez C44)</a:t>
            </a:r>
            <a:endParaRPr lang="en-US" dirty="0">
              <a:solidFill>
                <a:srgbClr val="DA2128"/>
              </a:solidFill>
            </a:endParaRP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75D05AE5-7B75-4CD6-9D38-6C5E9D0971A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074507" y="260607"/>
            <a:ext cx="2140973" cy="6315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ichni pacienti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1 - 2020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DA212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8" name="Graf 67">
            <a:extLst>
              <a:ext uri="{FF2B5EF4-FFF2-40B4-BE49-F238E27FC236}">
                <a16:creationId xmlns:a16="http://schemas.microsoft.com/office/drawing/2014/main" id="{64540055-E516-4992-9F0E-38CEB789003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08021821"/>
              </p:ext>
            </p:extLst>
          </p:nvPr>
        </p:nvGraphicFramePr>
        <p:xfrm>
          <a:off x="6284257" y="2218620"/>
          <a:ext cx="5545216" cy="3618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53" name="Tabulka 6">
            <a:extLst>
              <a:ext uri="{FF2B5EF4-FFF2-40B4-BE49-F238E27FC236}">
                <a16:creationId xmlns:a16="http://schemas.microsoft.com/office/drawing/2014/main" id="{09FC5A50-F2F6-4E20-98AA-4DBE2477DBB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21270270"/>
              </p:ext>
            </p:extLst>
          </p:nvPr>
        </p:nvGraphicFramePr>
        <p:xfrm>
          <a:off x="8333558" y="2130428"/>
          <a:ext cx="3589363" cy="1188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20440">
                  <a:extLst>
                    <a:ext uri="{9D8B030D-6E8A-4147-A177-3AD203B41FA5}">
                      <a16:colId xmlns:a16="http://schemas.microsoft.com/office/drawing/2014/main" val="2276139007"/>
                    </a:ext>
                  </a:extLst>
                </a:gridCol>
                <a:gridCol w="1568923">
                  <a:extLst>
                    <a:ext uri="{9D8B030D-6E8A-4147-A177-3AD203B41FA5}">
                      <a16:colId xmlns:a16="http://schemas.microsoft.com/office/drawing/2014/main" val="539040590"/>
                    </a:ext>
                  </a:extLst>
                </a:gridCol>
              </a:tblGrid>
              <a:tr h="243840">
                <a:tc>
                  <a:txBody>
                    <a:bodyPr/>
                    <a:lstStyle/>
                    <a:p>
                      <a:endParaRPr lang="cs-CZ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7905497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r>
                        <a:rPr lang="cs-CZ" sz="2000" b="1" dirty="0"/>
                        <a:t>Podíl FN Brn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01827668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r>
                        <a:rPr lang="cs-CZ" sz="2000" b="1" dirty="0">
                          <a:solidFill>
                            <a:srgbClr val="FF0000"/>
                          </a:solidFill>
                        </a:rPr>
                        <a:t>Pořadí FN Brn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9852435"/>
                  </a:ext>
                </a:extLst>
              </a:tr>
            </a:tbl>
          </a:graphicData>
        </a:graphic>
      </p:graphicFrame>
      <p:sp>
        <p:nvSpPr>
          <p:cNvPr id="57" name="Rectangle 245">
            <a:extLst>
              <a:ext uri="{FF2B5EF4-FFF2-40B4-BE49-F238E27FC236}">
                <a16:creationId xmlns:a16="http://schemas.microsoft.com/office/drawing/2014/main" id="{0AD748E8-2538-40E0-AEAB-A209894A7A27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525576" y="5890481"/>
            <a:ext cx="9140847" cy="57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cs-CZ" altLang="cs-CZ" sz="1800" dirty="0"/>
              <a:t>Zdravotnická zařízení seřazená podle počtu primárně léčených pacientů za rok</a:t>
            </a:r>
          </a:p>
        </p:txBody>
      </p:sp>
      <p:graphicFrame>
        <p:nvGraphicFramePr>
          <p:cNvPr id="59" name="Tabulka 6">
            <a:extLst>
              <a:ext uri="{FF2B5EF4-FFF2-40B4-BE49-F238E27FC236}">
                <a16:creationId xmlns:a16="http://schemas.microsoft.com/office/drawing/2014/main" id="{CDD79574-61A4-47F9-B363-D7B6229C3972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82071432"/>
              </p:ext>
            </p:extLst>
          </p:nvPr>
        </p:nvGraphicFramePr>
        <p:xfrm>
          <a:off x="2014407" y="2002783"/>
          <a:ext cx="3060673" cy="1188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09135">
                  <a:extLst>
                    <a:ext uri="{9D8B030D-6E8A-4147-A177-3AD203B41FA5}">
                      <a16:colId xmlns:a16="http://schemas.microsoft.com/office/drawing/2014/main" val="2276139007"/>
                    </a:ext>
                  </a:extLst>
                </a:gridCol>
                <a:gridCol w="951538">
                  <a:extLst>
                    <a:ext uri="{9D8B030D-6E8A-4147-A177-3AD203B41FA5}">
                      <a16:colId xmlns:a16="http://schemas.microsoft.com/office/drawing/2014/main" val="539040590"/>
                    </a:ext>
                  </a:extLst>
                </a:gridCol>
              </a:tblGrid>
              <a:tr h="243840">
                <a:tc>
                  <a:txBody>
                    <a:bodyPr/>
                    <a:lstStyle/>
                    <a:p>
                      <a:endParaRPr lang="cs-CZ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7905497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r>
                        <a:rPr lang="cs-CZ" sz="2000" b="1" dirty="0"/>
                        <a:t>Podíl NOC Brn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01827668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r>
                        <a:rPr lang="cs-CZ" sz="2000" b="1" dirty="0">
                          <a:solidFill>
                            <a:srgbClr val="FF0000"/>
                          </a:solidFill>
                        </a:rPr>
                        <a:t>Pořadí NOC Brn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9852435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CC83750B-E9D7-4245-A54E-6BF14863C27E}"/>
              </a:ext>
            </a:extLst>
          </p:cNvPr>
          <p:cNvSpPr txBox="1"/>
          <p:nvPr/>
        </p:nvSpPr>
        <p:spPr>
          <a:xfrm>
            <a:off x="403125" y="1357662"/>
            <a:ext cx="52140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Pořadí NOC Brno mezi komplexními onkologickými centry ČR </a:t>
            </a:r>
            <a:endParaRPr lang="en-US" sz="2200" b="1" dirty="0"/>
          </a:p>
        </p:txBody>
      </p: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8183F277-A738-4B3A-AE72-D5FDACA2B203}"/>
              </a:ext>
            </a:extLst>
          </p:cNvPr>
          <p:cNvSpPr txBox="1"/>
          <p:nvPr/>
        </p:nvSpPr>
        <p:spPr>
          <a:xfrm>
            <a:off x="6439323" y="1355323"/>
            <a:ext cx="52140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Pořadí FNB mezi všemi nemocnicemi </a:t>
            </a:r>
          </a:p>
          <a:p>
            <a:pPr algn="ctr"/>
            <a:r>
              <a:rPr lang="cs-CZ" sz="2200" b="1" dirty="0"/>
              <a:t>s akutní péčí v ČR </a:t>
            </a:r>
            <a:endParaRPr lang="en-US" sz="2200" b="1" dirty="0"/>
          </a:p>
        </p:txBody>
      </p:sp>
      <p:sp>
        <p:nvSpPr>
          <p:cNvPr id="65" name="Rectangle 206">
            <a:extLst>
              <a:ext uri="{FF2B5EF4-FFF2-40B4-BE49-F238E27FC236}">
                <a16:creationId xmlns:a16="http://schemas.microsoft.com/office/drawing/2014/main" id="{DAB77FEA-1534-4562-8662-FF501BA1AABB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6200000">
            <a:off x="-691224" y="3732867"/>
            <a:ext cx="1728788" cy="14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/ rok</a:t>
            </a:r>
          </a:p>
        </p:txBody>
      </p:sp>
      <p:sp>
        <p:nvSpPr>
          <p:cNvPr id="67" name="Rectangle 206">
            <a:extLst>
              <a:ext uri="{FF2B5EF4-FFF2-40B4-BE49-F238E27FC236}">
                <a16:creationId xmlns:a16="http://schemas.microsoft.com/office/drawing/2014/main" id="{E0F9735E-7573-4727-A452-764DC054341F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16200000">
            <a:off x="5307568" y="3535850"/>
            <a:ext cx="1728788" cy="14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/ rok</a:t>
            </a:r>
          </a:p>
        </p:txBody>
      </p:sp>
      <p:graphicFrame>
        <p:nvGraphicFramePr>
          <p:cNvPr id="69" name="Graf 68">
            <a:extLst>
              <a:ext uri="{FF2B5EF4-FFF2-40B4-BE49-F238E27FC236}">
                <a16:creationId xmlns:a16="http://schemas.microsoft.com/office/drawing/2014/main" id="{8505A084-71B2-4935-B8DB-2BB6D70B89EB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6977691"/>
              </p:ext>
            </p:extLst>
          </p:nvPr>
        </p:nvGraphicFramePr>
        <p:xfrm>
          <a:off x="513328" y="2278775"/>
          <a:ext cx="4699803" cy="35583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2673540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64870" y="366687"/>
            <a:ext cx="11785090" cy="1138510"/>
          </a:xfrm>
        </p:spPr>
        <p:txBody>
          <a:bodyPr>
            <a:noAutofit/>
          </a:bodyPr>
          <a:lstStyle/>
          <a:p>
            <a:r>
              <a:rPr lang="cs-CZ" sz="2800" dirty="0"/>
              <a:t>Příklad velkého objemu protinádorové chirurgické léčby ve FNB </a:t>
            </a:r>
            <a:br>
              <a:rPr lang="cs-CZ" sz="2800" dirty="0"/>
            </a:br>
            <a:br>
              <a:rPr lang="cs-CZ" sz="2800" b="1" dirty="0">
                <a:latin typeface="+mn-lt"/>
              </a:rPr>
            </a:br>
            <a:r>
              <a:rPr lang="cs-CZ" sz="2800" b="1" dirty="0">
                <a:latin typeface="+mn-lt"/>
              </a:rPr>
              <a:t>DRG báze 07-I01 Velká resekce slinivky břišní </a:t>
            </a:r>
            <a:br>
              <a:rPr lang="cs-CZ" sz="2800" b="1" dirty="0">
                <a:latin typeface="+mn-lt"/>
              </a:rPr>
            </a:br>
            <a:endParaRPr lang="en-US" dirty="0">
              <a:solidFill>
                <a:srgbClr val="DA2128"/>
              </a:solidFill>
            </a:endParaRP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BFAED74A-EE76-421C-A4AD-819E4A4699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5953794"/>
              </p:ext>
            </p:extLst>
          </p:nvPr>
        </p:nvGraphicFramePr>
        <p:xfrm>
          <a:off x="503028" y="2937310"/>
          <a:ext cx="10563687" cy="2376000"/>
        </p:xfrm>
        <a:graphic>
          <a:graphicData uri="http://schemas.openxmlformats.org/drawingml/2006/table">
            <a:tbl>
              <a:tblPr/>
              <a:tblGrid>
                <a:gridCol w="5837447">
                  <a:extLst>
                    <a:ext uri="{9D8B030D-6E8A-4147-A177-3AD203B41FA5}">
                      <a16:colId xmlns:a16="http://schemas.microsoft.com/office/drawing/2014/main" val="3429495450"/>
                    </a:ext>
                  </a:extLst>
                </a:gridCol>
                <a:gridCol w="1181560">
                  <a:extLst>
                    <a:ext uri="{9D8B030D-6E8A-4147-A177-3AD203B41FA5}">
                      <a16:colId xmlns:a16="http://schemas.microsoft.com/office/drawing/2014/main" val="4202711734"/>
                    </a:ext>
                  </a:extLst>
                </a:gridCol>
                <a:gridCol w="1181560">
                  <a:extLst>
                    <a:ext uri="{9D8B030D-6E8A-4147-A177-3AD203B41FA5}">
                      <a16:colId xmlns:a16="http://schemas.microsoft.com/office/drawing/2014/main" val="3944937048"/>
                    </a:ext>
                  </a:extLst>
                </a:gridCol>
                <a:gridCol w="1181560">
                  <a:extLst>
                    <a:ext uri="{9D8B030D-6E8A-4147-A177-3AD203B41FA5}">
                      <a16:colId xmlns:a16="http://schemas.microsoft.com/office/drawing/2014/main" val="655434190"/>
                    </a:ext>
                  </a:extLst>
                </a:gridCol>
                <a:gridCol w="1181560">
                  <a:extLst>
                    <a:ext uri="{9D8B030D-6E8A-4147-A177-3AD203B41FA5}">
                      <a16:colId xmlns:a16="http://schemas.microsoft.com/office/drawing/2014/main" val="3177693910"/>
                    </a:ext>
                  </a:extLst>
                </a:gridCol>
              </a:tblGrid>
              <a:tr h="396000">
                <a:tc rowSpan="2">
                  <a:txBody>
                    <a:bodyPr/>
                    <a:lstStyle/>
                    <a:p>
                      <a:pPr algn="just" fontAlgn="t"/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 ukončení hospitalizačního případu (HP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5772241"/>
                  </a:ext>
                </a:extLst>
              </a:tr>
              <a:tr h="3960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439286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ý počet HP v Č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623408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HP ve FN Brn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072622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180000" algn="l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Calibri" panose="020F0502020204030204" pitchFamily="34" charset="0"/>
                        </a:rPr>
                        <a:t>Pořadí FN Brno v rámci nemocnic v ČR 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9B05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Calibri" panose="020F0502020204030204" pitchFamily="34" charset="0"/>
                        </a:rPr>
                        <a:t>5. z 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Calibri" panose="020F0502020204030204" pitchFamily="34" charset="0"/>
                        </a:rPr>
                        <a:t>5. z 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Calibri" panose="020F0502020204030204" pitchFamily="34" charset="0"/>
                        </a:rPr>
                        <a:t>5. z 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Calibri" panose="020F0502020204030204" pitchFamily="34" charset="0"/>
                        </a:rPr>
                        <a:t>4. z 3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476698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180000" algn="l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HP z celkového počtu HP v ČR za rok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 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 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 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2953354"/>
                  </a:ext>
                </a:extLst>
              </a:tr>
            </a:tbl>
          </a:graphicData>
        </a:graphic>
      </p:graphicFrame>
      <p:sp>
        <p:nvSpPr>
          <p:cNvPr id="14" name="Zástupný obsah 2">
            <a:extLst>
              <a:ext uri="{FF2B5EF4-FFF2-40B4-BE49-F238E27FC236}">
                <a16:creationId xmlns:a16="http://schemas.microsoft.com/office/drawing/2014/main" id="{16744B91-3186-4F17-8B68-6084A91452CC}"/>
              </a:ext>
            </a:extLst>
          </p:cNvPr>
          <p:cNvSpPr txBox="1">
            <a:spLocks/>
          </p:cNvSpPr>
          <p:nvPr/>
        </p:nvSpPr>
        <p:spPr>
          <a:xfrm>
            <a:off x="503029" y="1954299"/>
            <a:ext cx="10515600" cy="76788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cs-CZ" sz="2000" dirty="0"/>
              <a:t>V letech 2017 až 2020 se roční produkce hodnocených výkonů pohybovala v rozmezí 22 až 33 výkonů což FNB řadí na 4. až 5. místo v rámci všech nemocnic v ČR.</a:t>
            </a:r>
          </a:p>
        </p:txBody>
      </p:sp>
    </p:spTree>
    <p:extLst>
      <p:ext uri="{BB962C8B-B14F-4D97-AF65-F5344CB8AC3E}">
        <p14:creationId xmlns:p14="http://schemas.microsoft.com/office/powerpoint/2010/main" val="7371032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Srovnání objemu léčby v </a:t>
            </a:r>
            <a:r>
              <a:rPr lang="cs-CZ" dirty="0" err="1"/>
              <a:t>hematoonkologických</a:t>
            </a:r>
            <a:r>
              <a:rPr lang="cs-CZ" dirty="0"/>
              <a:t> centrech ČR </a:t>
            </a:r>
            <a:endParaRPr lang="en-US" dirty="0"/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17035550-16EB-4111-BC1D-3C3CF48EA1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2591" y="542527"/>
            <a:ext cx="121494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OR 1977–2020 + NRHZS 2010–2020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60A090B-8F18-43E2-AB28-C02080FFD69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2591" y="965070"/>
            <a:ext cx="565175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Incidence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– průměrný roční počet nově diagnostikovaných pacientů s 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hematoonkologick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 diagnózou (C81–C96) zahajujících protinádorovou léčbu v 5letém období 2016–2020; pouze pacienti s konfirmovanou diagnózou v datech N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7E45786B-2541-4750-9E2C-72629D43A3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293356" y="960231"/>
            <a:ext cx="565175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Prevalence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–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průměrný roční počet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protinádorově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 léčených pacientů s 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hematoonkologick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 diagnózou (C81–C96) za 5leté období 2016–2020; pouze pacienti s konfirmovanou diagnózou v datech NOR</a:t>
            </a:r>
          </a:p>
        </p:txBody>
      </p:sp>
      <p:sp>
        <p:nvSpPr>
          <p:cNvPr id="16" name="Rectangle 206">
            <a:extLst>
              <a:ext uri="{FF2B5EF4-FFF2-40B4-BE49-F238E27FC236}">
                <a16:creationId xmlns:a16="http://schemas.microsoft.com/office/drawing/2014/main" id="{675A03AE-6968-4D7D-A37C-1D71B1FED447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6200000">
            <a:off x="-333208" y="4002199"/>
            <a:ext cx="1728788" cy="14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/ rok</a:t>
            </a:r>
          </a:p>
        </p:txBody>
      </p:sp>
      <p:graphicFrame>
        <p:nvGraphicFramePr>
          <p:cNvPr id="21" name="Tabulka 6">
            <a:extLst>
              <a:ext uri="{FF2B5EF4-FFF2-40B4-BE49-F238E27FC236}">
                <a16:creationId xmlns:a16="http://schemas.microsoft.com/office/drawing/2014/main" id="{61DFC72A-5115-45AD-87F0-9C9831254BEA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519868" y="2231420"/>
          <a:ext cx="2232879" cy="640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84768">
                  <a:extLst>
                    <a:ext uri="{9D8B030D-6E8A-4147-A177-3AD203B41FA5}">
                      <a16:colId xmlns:a16="http://schemas.microsoft.com/office/drawing/2014/main" val="2276139007"/>
                    </a:ext>
                  </a:extLst>
                </a:gridCol>
                <a:gridCol w="848111">
                  <a:extLst>
                    <a:ext uri="{9D8B030D-6E8A-4147-A177-3AD203B41FA5}">
                      <a16:colId xmlns:a16="http://schemas.microsoft.com/office/drawing/2014/main" val="5390405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cs-CZ" sz="1400" b="1" dirty="0">
                          <a:latin typeface="+mn-lt"/>
                        </a:rPr>
                        <a:t>N (HOC celkem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3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9790549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cs-CZ" sz="1400" b="1" dirty="0">
                          <a:latin typeface="+mn-lt"/>
                        </a:rPr>
                        <a:t>Podíl FNB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,9 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0182766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cs-CZ" sz="1400" b="1" dirty="0">
                          <a:solidFill>
                            <a:srgbClr val="D71440"/>
                          </a:solidFill>
                          <a:latin typeface="+mn-lt"/>
                        </a:rPr>
                        <a:t>Pořadí FNB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D7144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99852435"/>
                  </a:ext>
                </a:extLst>
              </a:tr>
            </a:tbl>
          </a:graphicData>
        </a:graphic>
      </p:graphicFrame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90D35562-697F-48A7-9562-1BAA10ACD391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603417" y="2796362"/>
          <a:ext cx="5055111" cy="2683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5" name="Rectangle 206">
            <a:extLst>
              <a:ext uri="{FF2B5EF4-FFF2-40B4-BE49-F238E27FC236}">
                <a16:creationId xmlns:a16="http://schemas.microsoft.com/office/drawing/2014/main" id="{80E4AE4E-DB1F-4AF6-9CF3-28391BEBABC2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16200000">
            <a:off x="5732573" y="4002199"/>
            <a:ext cx="1728788" cy="14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/ rok</a:t>
            </a:r>
          </a:p>
        </p:txBody>
      </p:sp>
      <p:graphicFrame>
        <p:nvGraphicFramePr>
          <p:cNvPr id="26" name="Tabulka 6">
            <a:extLst>
              <a:ext uri="{FF2B5EF4-FFF2-40B4-BE49-F238E27FC236}">
                <a16:creationId xmlns:a16="http://schemas.microsoft.com/office/drawing/2014/main" id="{F97F391D-047D-4738-AA6C-F6824905F910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8585649" y="2231420"/>
          <a:ext cx="2232879" cy="640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84768">
                  <a:extLst>
                    <a:ext uri="{9D8B030D-6E8A-4147-A177-3AD203B41FA5}">
                      <a16:colId xmlns:a16="http://schemas.microsoft.com/office/drawing/2014/main" val="2276139007"/>
                    </a:ext>
                  </a:extLst>
                </a:gridCol>
                <a:gridCol w="848111">
                  <a:extLst>
                    <a:ext uri="{9D8B030D-6E8A-4147-A177-3AD203B41FA5}">
                      <a16:colId xmlns:a16="http://schemas.microsoft.com/office/drawing/2014/main" val="5390405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cs-CZ" sz="1400" b="1" dirty="0">
                          <a:latin typeface="+mn-lt"/>
                        </a:rPr>
                        <a:t>N (KOC celkem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24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9790549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cs-CZ" sz="1400" b="1" dirty="0">
                          <a:latin typeface="+mn-lt"/>
                        </a:rPr>
                        <a:t>Podíl FNB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,6 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0182766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cs-CZ" sz="1400" b="1" dirty="0">
                          <a:solidFill>
                            <a:srgbClr val="D71440"/>
                          </a:solidFill>
                          <a:latin typeface="+mn-lt"/>
                        </a:rPr>
                        <a:t>Pořadí FNB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D7144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99852435"/>
                  </a:ext>
                </a:extLst>
              </a:tr>
            </a:tbl>
          </a:graphicData>
        </a:graphic>
      </p:graphicFrame>
      <p:graphicFrame>
        <p:nvGraphicFramePr>
          <p:cNvPr id="27" name="Graf 26">
            <a:extLst>
              <a:ext uri="{FF2B5EF4-FFF2-40B4-BE49-F238E27FC236}">
                <a16:creationId xmlns:a16="http://schemas.microsoft.com/office/drawing/2014/main" id="{2A441283-FF91-4794-99DB-F02F4E199B1B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6669198" y="2796362"/>
          <a:ext cx="5055111" cy="2683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89EFBF58-CFD3-4FED-92FE-63C02C2F61FC}"/>
              </a:ext>
            </a:extLst>
          </p:cNvPr>
          <p:cNvSpPr txBox="1"/>
          <p:nvPr/>
        </p:nvSpPr>
        <p:spPr>
          <a:xfrm>
            <a:off x="624281" y="5677486"/>
            <a:ext cx="11338150" cy="430887"/>
          </a:xfrm>
          <a:prstGeom prst="rect">
            <a:avLst/>
          </a:prstGeom>
          <a:solidFill>
            <a:srgbClr val="FF9B05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V segmentu </a:t>
            </a:r>
            <a:r>
              <a:rPr lang="cs-CZ" sz="2200" b="1" dirty="0" err="1"/>
              <a:t>hematoonkologie</a:t>
            </a:r>
            <a:r>
              <a:rPr lang="cs-CZ" sz="2200" b="1" dirty="0"/>
              <a:t> je FNB objemem léčby největším centrem ČR.</a:t>
            </a:r>
            <a:endParaRPr lang="en-US" sz="2200" b="1" dirty="0"/>
          </a:p>
        </p:txBody>
      </p:sp>
    </p:spTree>
    <p:extLst>
      <p:ext uri="{BB962C8B-B14F-4D97-AF65-F5344CB8AC3E}">
        <p14:creationId xmlns:p14="http://schemas.microsoft.com/office/powerpoint/2010/main" val="8318892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oup 19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1444073"/>
              </p:ext>
            </p:extLst>
          </p:nvPr>
        </p:nvGraphicFramePr>
        <p:xfrm>
          <a:off x="282912" y="1039812"/>
          <a:ext cx="11626175" cy="2389188"/>
        </p:xfrm>
        <a:graphic>
          <a:graphicData uri="http://schemas.openxmlformats.org/drawingml/2006/table">
            <a:tbl>
              <a:tblPr/>
              <a:tblGrid>
                <a:gridCol w="17267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838">
                  <a:extLst>
                    <a:ext uri="{9D8B030D-6E8A-4147-A177-3AD203B41FA5}">
                      <a16:colId xmlns:a16="http://schemas.microsoft.com/office/drawing/2014/main" val="2039928135"/>
                    </a:ext>
                  </a:extLst>
                </a:gridCol>
                <a:gridCol w="907558">
                  <a:extLst>
                    <a:ext uri="{9D8B030D-6E8A-4147-A177-3AD203B41FA5}">
                      <a16:colId xmlns:a16="http://schemas.microsoft.com/office/drawing/2014/main" val="2727641705"/>
                    </a:ext>
                  </a:extLst>
                </a:gridCol>
                <a:gridCol w="9075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75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75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075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0755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0755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0755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07558">
                  <a:extLst>
                    <a:ext uri="{9D8B030D-6E8A-4147-A177-3AD203B41FA5}">
                      <a16:colId xmlns:a16="http://schemas.microsoft.com/office/drawing/2014/main" val="3275137423"/>
                    </a:ext>
                  </a:extLst>
                </a:gridCol>
                <a:gridCol w="907558">
                  <a:extLst>
                    <a:ext uri="{9D8B030D-6E8A-4147-A177-3AD203B41FA5}">
                      <a16:colId xmlns:a16="http://schemas.microsoft.com/office/drawing/2014/main" val="3491534530"/>
                    </a:ext>
                  </a:extLst>
                </a:gridCol>
              </a:tblGrid>
              <a:tr h="4079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solutní poče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1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2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3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4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5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6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7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8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</a:t>
                      </a:r>
                      <a:r>
                        <a:rPr kumimoji="1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0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1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98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Nově </a:t>
                      </a:r>
                      <a:r>
                        <a:rPr kumimoji="1" lang="cs-CZ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tinádorově</a:t>
                      </a: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léčení pacienti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3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1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0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9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9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9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0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9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9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7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7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98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Všichni </a:t>
                      </a:r>
                      <a:r>
                        <a:rPr kumimoji="1" lang="cs-CZ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tinádorově</a:t>
                      </a: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léčení pacienti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 6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 7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 7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 7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 9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 1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 3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 4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 6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 5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 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5189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spenzarizovaní, dříve </a:t>
                      </a:r>
                      <a:r>
                        <a:rPr kumimoji="1" lang="cs-CZ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tinádorově</a:t>
                      </a: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léčení  pacienti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1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4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7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7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0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8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0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2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9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9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 3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Autofit/>
          </a:bodyPr>
          <a:lstStyle/>
          <a:p>
            <a:r>
              <a:rPr lang="cs-CZ" dirty="0"/>
              <a:t>FNB: c</a:t>
            </a:r>
            <a:r>
              <a:rPr lang="en-US" dirty="0" err="1"/>
              <a:t>elková</a:t>
            </a:r>
            <a:r>
              <a:rPr lang="en-US" dirty="0"/>
              <a:t> </a:t>
            </a:r>
            <a:r>
              <a:rPr lang="en-US" dirty="0" err="1"/>
              <a:t>zátěž</a:t>
            </a:r>
            <a:r>
              <a:rPr lang="en-US" dirty="0"/>
              <a:t> </a:t>
            </a:r>
            <a:r>
              <a:rPr lang="cs-CZ" dirty="0"/>
              <a:t>zhoubnými </a:t>
            </a:r>
            <a:r>
              <a:rPr lang="sk-SK" dirty="0"/>
              <a:t>novotvary </a:t>
            </a:r>
            <a:r>
              <a:rPr lang="en-US" dirty="0"/>
              <a:t>(C00–</a:t>
            </a:r>
            <a:r>
              <a:rPr lang="cs-CZ" dirty="0"/>
              <a:t>C97, bez C44</a:t>
            </a:r>
            <a:r>
              <a:rPr lang="en-US" dirty="0"/>
              <a:t>)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682E18A1-9397-4BC0-B0C9-33EECDF61823}"/>
              </a:ext>
            </a:extLst>
          </p:cNvPr>
          <p:cNvSpPr txBox="1"/>
          <p:nvPr/>
        </p:nvSpPr>
        <p:spPr>
          <a:xfrm>
            <a:off x="426924" y="4195528"/>
            <a:ext cx="11338150" cy="1107996"/>
          </a:xfrm>
          <a:prstGeom prst="rect">
            <a:avLst/>
          </a:prstGeom>
          <a:solidFill>
            <a:srgbClr val="FF9B05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Objem onkologické léčby ve FNB v čase narůstá, zejména v důsledku dlouhodobé a komplexní péče o onkologické pacienty centra. V důsledku epidemie COVID-19 došlo k mírnému poklesu počtu nově </a:t>
            </a:r>
            <a:r>
              <a:rPr lang="cs-CZ" sz="2200" b="1" dirty="0" err="1"/>
              <a:t>protinádorově</a:t>
            </a:r>
            <a:r>
              <a:rPr lang="cs-CZ" sz="2200" b="1" dirty="0"/>
              <a:t> léčených pacientů.  </a:t>
            </a:r>
            <a:endParaRPr lang="en-US" sz="2200" b="1" dirty="0"/>
          </a:p>
        </p:txBody>
      </p:sp>
    </p:spTree>
    <p:extLst>
      <p:ext uri="{BB962C8B-B14F-4D97-AF65-F5344CB8AC3E}">
        <p14:creationId xmlns:p14="http://schemas.microsoft.com/office/powerpoint/2010/main" val="32640507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7978" y="1786760"/>
            <a:ext cx="11117744" cy="2060026"/>
          </a:xfrm>
        </p:spPr>
        <p:txBody>
          <a:bodyPr>
            <a:noAutofit/>
          </a:bodyPr>
          <a:lstStyle/>
          <a:p>
            <a:pPr algn="ctr"/>
            <a:r>
              <a:rPr lang="cs-CZ" sz="3400" dirty="0"/>
              <a:t>Spádová oblast onkologické péče ve FNB </a:t>
            </a:r>
            <a:br>
              <a:rPr lang="cs-CZ" sz="3400" dirty="0"/>
            </a:br>
            <a:r>
              <a:rPr lang="cs-CZ" sz="3400" dirty="0"/>
              <a:t>pokrývá nejen Jihomoravský kraj.</a:t>
            </a:r>
            <a:endParaRPr lang="en-US" sz="3400" dirty="0"/>
          </a:p>
        </p:txBody>
      </p:sp>
      <p:sp>
        <p:nvSpPr>
          <p:cNvPr id="3" name="Šipka: dolů 2">
            <a:extLst>
              <a:ext uri="{FF2B5EF4-FFF2-40B4-BE49-F238E27FC236}">
                <a16:creationId xmlns:a16="http://schemas.microsoft.com/office/drawing/2014/main" id="{8B1F4CE3-976E-4EC3-ADFE-BAAE096C5523}"/>
              </a:ext>
            </a:extLst>
          </p:cNvPr>
          <p:cNvSpPr/>
          <p:nvPr/>
        </p:nvSpPr>
        <p:spPr>
          <a:xfrm>
            <a:off x="5131278" y="3268716"/>
            <a:ext cx="1650124" cy="7252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1974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Spádová oblast FNB (2021): akutní lůžková péče – solidní ZN</a:t>
            </a:r>
            <a:endParaRPr lang="en-US" dirty="0"/>
          </a:p>
        </p:txBody>
      </p:sp>
      <p:sp>
        <p:nvSpPr>
          <p:cNvPr id="91" name="Rectangle 20"/>
          <p:cNvSpPr/>
          <p:nvPr>
            <p:custDataLst>
              <p:tags r:id="rId2"/>
            </p:custDataLst>
          </p:nvPr>
        </p:nvSpPr>
        <p:spPr>
          <a:xfrm>
            <a:off x="9602617" y="3083243"/>
            <a:ext cx="2199523" cy="31360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yvatelé Jihomoravského kraje tvoří většinu hospitalizací na lůžku akutní péče ve FNB (76,0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%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.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ostatních krajů tvoří největší podíl obyvatelé Kraje Vysočina (8,3 %) a obyvatelé Moravsko-slezského kraje (5,6 %).</a:t>
            </a:r>
          </a:p>
        </p:txBody>
      </p:sp>
      <p:graphicFrame>
        <p:nvGraphicFramePr>
          <p:cNvPr id="98" name="Graf 14">
            <a:extLst>
              <a:ext uri="{FF2B5EF4-FFF2-40B4-BE49-F238E27FC236}">
                <a16:creationId xmlns:a16="http://schemas.microsoft.com/office/drawing/2014/main" id="{A1B7EDD8-E0B9-412B-87C3-815D16799B98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20983" y="953060"/>
          <a:ext cx="5111909" cy="5341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99" name="TextBox 2">
            <a:extLst>
              <a:ext uri="{FF2B5EF4-FFF2-40B4-BE49-F238E27FC236}">
                <a16:creationId xmlns:a16="http://schemas.microsoft.com/office/drawing/2014/main" id="{E39268CD-C991-4759-93C5-3721F5EB288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80856" y="1095367"/>
            <a:ext cx="39859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ace ve FNB dle kraje bydliště pacienta:</a:t>
            </a:r>
          </a:p>
        </p:txBody>
      </p:sp>
      <p:grpSp>
        <p:nvGrpSpPr>
          <p:cNvPr id="468" name="Skupina 467">
            <a:extLst>
              <a:ext uri="{FF2B5EF4-FFF2-40B4-BE49-F238E27FC236}">
                <a16:creationId xmlns:a16="http://schemas.microsoft.com/office/drawing/2014/main" id="{5412F44C-321A-4001-8723-006579287466}"/>
              </a:ext>
            </a:extLst>
          </p:cNvPr>
          <p:cNvGrpSpPr/>
          <p:nvPr/>
        </p:nvGrpSpPr>
        <p:grpSpPr>
          <a:xfrm>
            <a:off x="6094666" y="1903619"/>
            <a:ext cx="1315800" cy="596607"/>
            <a:chOff x="7037778" y="1452668"/>
            <a:chExt cx="917095" cy="597673"/>
          </a:xfrm>
        </p:grpSpPr>
        <p:sp>
          <p:nvSpPr>
            <p:cNvPr id="469" name="Text Box 58">
              <a:extLst>
                <a:ext uri="{FF2B5EF4-FFF2-40B4-BE49-F238E27FC236}">
                  <a16:creationId xmlns:a16="http://schemas.microsoft.com/office/drawing/2014/main" id="{A01335FD-99CC-452A-934E-4553DF7357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07625" y="1458587"/>
              <a:ext cx="747248" cy="5917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rPr>
                <a:t>≥ </a:t>
              </a: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,0 %</a:t>
              </a:r>
              <a:endParaRPr kumimoji="0" lang="en-US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,0</a:t>
              </a:r>
              <a:r>
                <a:rPr kumimoji="0" lang="en-US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–</a:t>
              </a: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4,9 %</a:t>
              </a:r>
              <a:endParaRPr kumimoji="0" lang="en-US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,0</a:t>
              </a:r>
              <a:r>
                <a:rPr kumimoji="0" lang="en-US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–</a:t>
              </a: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,9 % </a:t>
              </a: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lt; 1,0 %</a:t>
              </a:r>
              <a:endParaRPr kumimoji="0" lang="en-US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0" name="Rectangle 56">
              <a:extLst>
                <a:ext uri="{FF2B5EF4-FFF2-40B4-BE49-F238E27FC236}">
                  <a16:creationId xmlns:a16="http://schemas.microsoft.com/office/drawing/2014/main" id="{B9C43ACC-C9F8-4B96-A520-F96FCAAB4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7778" y="1908072"/>
              <a:ext cx="108000" cy="108193"/>
            </a:xfrm>
            <a:prstGeom prst="rect">
              <a:avLst/>
            </a:prstGeom>
            <a:solidFill>
              <a:srgbClr val="A2A2A2"/>
            </a:solidFill>
            <a:ln w="1651">
              <a:solidFill>
                <a:sysClr val="window" lastClr="FFFFFF">
                  <a:lumMod val="75000"/>
                </a:sysClr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1" name="Rectangle 56">
              <a:extLst>
                <a:ext uri="{FF2B5EF4-FFF2-40B4-BE49-F238E27FC236}">
                  <a16:creationId xmlns:a16="http://schemas.microsoft.com/office/drawing/2014/main" id="{6CDECC2D-C6F5-4410-B751-3C4681C929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7778" y="1756270"/>
              <a:ext cx="108000" cy="108193"/>
            </a:xfrm>
            <a:prstGeom prst="rect">
              <a:avLst/>
            </a:prstGeom>
            <a:solidFill>
              <a:srgbClr val="BED8E8"/>
            </a:solidFill>
            <a:ln w="1651">
              <a:solidFill>
                <a:sysClr val="window" lastClr="FFFFFF">
                  <a:lumMod val="75000"/>
                </a:sysClr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2" name="Rectangle 56">
              <a:extLst>
                <a:ext uri="{FF2B5EF4-FFF2-40B4-BE49-F238E27FC236}">
                  <a16:creationId xmlns:a16="http://schemas.microsoft.com/office/drawing/2014/main" id="{1E1E736C-FF73-41BD-85CE-932525820A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7778" y="1604469"/>
              <a:ext cx="108000" cy="108193"/>
            </a:xfrm>
            <a:prstGeom prst="rect">
              <a:avLst/>
            </a:prstGeom>
            <a:solidFill>
              <a:srgbClr val="6BAFD6"/>
            </a:solidFill>
            <a:ln w="1651">
              <a:solidFill>
                <a:sysClr val="window" lastClr="FFFFFF">
                  <a:lumMod val="75000"/>
                </a:sysClr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3" name="Rectangle 56">
              <a:extLst>
                <a:ext uri="{FF2B5EF4-FFF2-40B4-BE49-F238E27FC236}">
                  <a16:creationId xmlns:a16="http://schemas.microsoft.com/office/drawing/2014/main" id="{3385FB7D-69CE-419C-AC88-2186992C9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7778" y="1452668"/>
              <a:ext cx="108000" cy="108193"/>
            </a:xfrm>
            <a:prstGeom prst="rect">
              <a:avLst/>
            </a:prstGeom>
            <a:solidFill>
              <a:srgbClr val="296AA2"/>
            </a:solidFill>
            <a:ln w="1651">
              <a:solidFill>
                <a:sysClr val="window" lastClr="FFFFFF">
                  <a:lumMod val="75000"/>
                </a:sysClr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474" name="Freeform 224">
            <a:extLst>
              <a:ext uri="{FF2B5EF4-FFF2-40B4-BE49-F238E27FC236}">
                <a16:creationId xmlns:a16="http://schemas.microsoft.com/office/drawing/2014/main" id="{56A07CA1-9BCF-461A-BFB0-C725AC8F99F0}"/>
              </a:ext>
            </a:extLst>
          </p:cNvPr>
          <p:cNvSpPr>
            <a:spLocks/>
          </p:cNvSpPr>
          <p:nvPr/>
        </p:nvSpPr>
        <p:spPr bwMode="auto">
          <a:xfrm>
            <a:off x="8292672" y="2087513"/>
            <a:ext cx="198714" cy="152857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5" name="Freeform 225">
            <a:extLst>
              <a:ext uri="{FF2B5EF4-FFF2-40B4-BE49-F238E27FC236}">
                <a16:creationId xmlns:a16="http://schemas.microsoft.com/office/drawing/2014/main" id="{3DD0B1D3-54B8-4FD9-A475-6EC590DC8E83}"/>
              </a:ext>
            </a:extLst>
          </p:cNvPr>
          <p:cNvSpPr>
            <a:spLocks noEditPoints="1"/>
          </p:cNvSpPr>
          <p:nvPr/>
        </p:nvSpPr>
        <p:spPr bwMode="auto">
          <a:xfrm>
            <a:off x="7933968" y="1793008"/>
            <a:ext cx="915103" cy="740846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6" name="Freeform 226">
            <a:extLst>
              <a:ext uri="{FF2B5EF4-FFF2-40B4-BE49-F238E27FC236}">
                <a16:creationId xmlns:a16="http://schemas.microsoft.com/office/drawing/2014/main" id="{6673FB54-5BFC-4A28-B517-35068F489734}"/>
              </a:ext>
            </a:extLst>
          </p:cNvPr>
          <p:cNvSpPr>
            <a:spLocks/>
          </p:cNvSpPr>
          <p:nvPr/>
        </p:nvSpPr>
        <p:spPr bwMode="auto">
          <a:xfrm>
            <a:off x="8215225" y="1793008"/>
            <a:ext cx="633847" cy="739827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7" name="Freeform 227">
            <a:extLst>
              <a:ext uri="{FF2B5EF4-FFF2-40B4-BE49-F238E27FC236}">
                <a16:creationId xmlns:a16="http://schemas.microsoft.com/office/drawing/2014/main" id="{EBE2E24D-8617-4D5F-A125-B0774E05A68C}"/>
              </a:ext>
            </a:extLst>
          </p:cNvPr>
          <p:cNvSpPr>
            <a:spLocks/>
          </p:cNvSpPr>
          <p:nvPr/>
        </p:nvSpPr>
        <p:spPr bwMode="auto">
          <a:xfrm>
            <a:off x="7933968" y="1793008"/>
            <a:ext cx="651170" cy="740846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8" name="Freeform 228">
            <a:extLst>
              <a:ext uri="{FF2B5EF4-FFF2-40B4-BE49-F238E27FC236}">
                <a16:creationId xmlns:a16="http://schemas.microsoft.com/office/drawing/2014/main" id="{B53A2D0F-3420-4C93-9725-FE1BDF7E7B83}"/>
              </a:ext>
            </a:extLst>
          </p:cNvPr>
          <p:cNvSpPr>
            <a:spLocks/>
          </p:cNvSpPr>
          <p:nvPr/>
        </p:nvSpPr>
        <p:spPr bwMode="auto">
          <a:xfrm>
            <a:off x="8292672" y="2087513"/>
            <a:ext cx="198714" cy="152857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9" name="Freeform 229">
            <a:extLst>
              <a:ext uri="{FF2B5EF4-FFF2-40B4-BE49-F238E27FC236}">
                <a16:creationId xmlns:a16="http://schemas.microsoft.com/office/drawing/2014/main" id="{6981E410-8913-4AE3-BA47-EA768504C842}"/>
              </a:ext>
            </a:extLst>
          </p:cNvPr>
          <p:cNvSpPr>
            <a:spLocks/>
          </p:cNvSpPr>
          <p:nvPr/>
        </p:nvSpPr>
        <p:spPr bwMode="auto">
          <a:xfrm>
            <a:off x="7979825" y="2464560"/>
            <a:ext cx="902875" cy="703142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0" name="Freeform 230">
            <a:extLst>
              <a:ext uri="{FF2B5EF4-FFF2-40B4-BE49-F238E27FC236}">
                <a16:creationId xmlns:a16="http://schemas.microsoft.com/office/drawing/2014/main" id="{AE457720-96FC-43D5-BD44-57235E07E141}"/>
              </a:ext>
            </a:extLst>
          </p:cNvPr>
          <p:cNvSpPr>
            <a:spLocks/>
          </p:cNvSpPr>
          <p:nvPr/>
        </p:nvSpPr>
        <p:spPr bwMode="auto">
          <a:xfrm>
            <a:off x="8214206" y="2464560"/>
            <a:ext cx="668494" cy="600218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1" name="Freeform 231">
            <a:extLst>
              <a:ext uri="{FF2B5EF4-FFF2-40B4-BE49-F238E27FC236}">
                <a16:creationId xmlns:a16="http://schemas.microsoft.com/office/drawing/2014/main" id="{D36D1CC0-9F1C-470A-8413-7EFDD522D3D5}"/>
              </a:ext>
            </a:extLst>
          </p:cNvPr>
          <p:cNvSpPr>
            <a:spLocks/>
          </p:cNvSpPr>
          <p:nvPr/>
        </p:nvSpPr>
        <p:spPr bwMode="auto">
          <a:xfrm>
            <a:off x="7979825" y="2496150"/>
            <a:ext cx="541113" cy="671551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2" name="Freeform 232">
            <a:extLst>
              <a:ext uri="{FF2B5EF4-FFF2-40B4-BE49-F238E27FC236}">
                <a16:creationId xmlns:a16="http://schemas.microsoft.com/office/drawing/2014/main" id="{C43E3079-0AA6-441D-9B6B-544F229BEBD7}"/>
              </a:ext>
            </a:extLst>
          </p:cNvPr>
          <p:cNvSpPr>
            <a:spLocks/>
          </p:cNvSpPr>
          <p:nvPr/>
        </p:nvSpPr>
        <p:spPr bwMode="auto">
          <a:xfrm>
            <a:off x="7498836" y="2129294"/>
            <a:ext cx="616523" cy="774475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3" name="Freeform 233">
            <a:extLst>
              <a:ext uri="{FF2B5EF4-FFF2-40B4-BE49-F238E27FC236}">
                <a16:creationId xmlns:a16="http://schemas.microsoft.com/office/drawing/2014/main" id="{55C6F1B5-2329-4206-9005-A9400A2AD284}"/>
              </a:ext>
            </a:extLst>
          </p:cNvPr>
          <p:cNvSpPr>
            <a:spLocks/>
          </p:cNvSpPr>
          <p:nvPr/>
        </p:nvSpPr>
        <p:spPr bwMode="auto">
          <a:xfrm>
            <a:off x="7511064" y="2129294"/>
            <a:ext cx="604294" cy="774475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4" name="Freeform 234">
            <a:extLst>
              <a:ext uri="{FF2B5EF4-FFF2-40B4-BE49-F238E27FC236}">
                <a16:creationId xmlns:a16="http://schemas.microsoft.com/office/drawing/2014/main" id="{58E8D08B-1E2F-4BD5-B3B6-32082A2AFFD6}"/>
              </a:ext>
            </a:extLst>
          </p:cNvPr>
          <p:cNvSpPr>
            <a:spLocks/>
          </p:cNvSpPr>
          <p:nvPr/>
        </p:nvSpPr>
        <p:spPr bwMode="auto">
          <a:xfrm>
            <a:off x="7498836" y="2129294"/>
            <a:ext cx="402523" cy="249666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5" name="Freeform 235">
            <a:extLst>
              <a:ext uri="{FF2B5EF4-FFF2-40B4-BE49-F238E27FC236}">
                <a16:creationId xmlns:a16="http://schemas.microsoft.com/office/drawing/2014/main" id="{3FF122E1-9B8F-43B5-8061-CB15C1256F9F}"/>
              </a:ext>
            </a:extLst>
          </p:cNvPr>
          <p:cNvSpPr>
            <a:spLocks/>
          </p:cNvSpPr>
          <p:nvPr/>
        </p:nvSpPr>
        <p:spPr bwMode="auto">
          <a:xfrm>
            <a:off x="7379607" y="1885742"/>
            <a:ext cx="511561" cy="372971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6" name="Freeform 236">
            <a:extLst>
              <a:ext uri="{FF2B5EF4-FFF2-40B4-BE49-F238E27FC236}">
                <a16:creationId xmlns:a16="http://schemas.microsoft.com/office/drawing/2014/main" id="{04676F5A-00A5-42B9-8A14-243E89E38FF4}"/>
              </a:ext>
            </a:extLst>
          </p:cNvPr>
          <p:cNvSpPr>
            <a:spLocks/>
          </p:cNvSpPr>
          <p:nvPr/>
        </p:nvSpPr>
        <p:spPr bwMode="auto">
          <a:xfrm>
            <a:off x="7744426" y="1500542"/>
            <a:ext cx="728618" cy="645056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7" name="Freeform 237">
            <a:extLst>
              <a:ext uri="{FF2B5EF4-FFF2-40B4-BE49-F238E27FC236}">
                <a16:creationId xmlns:a16="http://schemas.microsoft.com/office/drawing/2014/main" id="{4D8AFC06-950D-42E8-81D8-0B89CD8BCD42}"/>
              </a:ext>
            </a:extLst>
          </p:cNvPr>
          <p:cNvSpPr>
            <a:spLocks/>
          </p:cNvSpPr>
          <p:nvPr/>
        </p:nvSpPr>
        <p:spPr bwMode="auto">
          <a:xfrm>
            <a:off x="7744426" y="1500542"/>
            <a:ext cx="728618" cy="645056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8" name="Freeform 238">
            <a:extLst>
              <a:ext uri="{FF2B5EF4-FFF2-40B4-BE49-F238E27FC236}">
                <a16:creationId xmlns:a16="http://schemas.microsoft.com/office/drawing/2014/main" id="{42A21FCE-4748-48EE-9BA3-CCC6170275B1}"/>
              </a:ext>
            </a:extLst>
          </p:cNvPr>
          <p:cNvSpPr>
            <a:spLocks/>
          </p:cNvSpPr>
          <p:nvPr/>
        </p:nvSpPr>
        <p:spPr bwMode="auto">
          <a:xfrm>
            <a:off x="7869768" y="1500542"/>
            <a:ext cx="496275" cy="312847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9" name="Freeform 239">
            <a:extLst>
              <a:ext uri="{FF2B5EF4-FFF2-40B4-BE49-F238E27FC236}">
                <a16:creationId xmlns:a16="http://schemas.microsoft.com/office/drawing/2014/main" id="{F2A2B3AC-3E14-465E-B54D-847EE3259D38}"/>
              </a:ext>
            </a:extLst>
          </p:cNvPr>
          <p:cNvSpPr>
            <a:spLocks/>
          </p:cNvSpPr>
          <p:nvPr/>
        </p:nvSpPr>
        <p:spPr bwMode="auto">
          <a:xfrm>
            <a:off x="8344644" y="1522961"/>
            <a:ext cx="542132" cy="364818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0" name="Freeform 240">
            <a:extLst>
              <a:ext uri="{FF2B5EF4-FFF2-40B4-BE49-F238E27FC236}">
                <a16:creationId xmlns:a16="http://schemas.microsoft.com/office/drawing/2014/main" id="{90BDB3A1-117A-48A5-8F24-A142FEC2869A}"/>
              </a:ext>
            </a:extLst>
          </p:cNvPr>
          <p:cNvSpPr>
            <a:spLocks/>
          </p:cNvSpPr>
          <p:nvPr/>
        </p:nvSpPr>
        <p:spPr bwMode="auto">
          <a:xfrm>
            <a:off x="8669720" y="1684990"/>
            <a:ext cx="629770" cy="488123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1" name="Freeform 241">
            <a:extLst>
              <a:ext uri="{FF2B5EF4-FFF2-40B4-BE49-F238E27FC236}">
                <a16:creationId xmlns:a16="http://schemas.microsoft.com/office/drawing/2014/main" id="{208EFEF7-2A34-472C-B115-EA9EF43BF0AC}"/>
              </a:ext>
            </a:extLst>
          </p:cNvPr>
          <p:cNvSpPr>
            <a:spLocks/>
          </p:cNvSpPr>
          <p:nvPr/>
        </p:nvSpPr>
        <p:spPr bwMode="auto">
          <a:xfrm>
            <a:off x="8669720" y="1684990"/>
            <a:ext cx="629770" cy="488123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2" name="Freeform 242">
            <a:extLst>
              <a:ext uri="{FF2B5EF4-FFF2-40B4-BE49-F238E27FC236}">
                <a16:creationId xmlns:a16="http://schemas.microsoft.com/office/drawing/2014/main" id="{0B48AE18-BEA2-4F57-95CF-1AE518645425}"/>
              </a:ext>
            </a:extLst>
          </p:cNvPr>
          <p:cNvSpPr>
            <a:spLocks/>
          </p:cNvSpPr>
          <p:nvPr/>
        </p:nvSpPr>
        <p:spPr bwMode="auto">
          <a:xfrm>
            <a:off x="8711500" y="1684990"/>
            <a:ext cx="175276" cy="198714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3" name="Freeform 243">
            <a:extLst>
              <a:ext uri="{FF2B5EF4-FFF2-40B4-BE49-F238E27FC236}">
                <a16:creationId xmlns:a16="http://schemas.microsoft.com/office/drawing/2014/main" id="{00AEB9BE-80CC-4FDB-B03C-BC77A6D68D2A}"/>
              </a:ext>
            </a:extLst>
          </p:cNvPr>
          <p:cNvSpPr>
            <a:spLocks/>
          </p:cNvSpPr>
          <p:nvPr/>
        </p:nvSpPr>
        <p:spPr bwMode="auto">
          <a:xfrm>
            <a:off x="8781815" y="2062037"/>
            <a:ext cx="637923" cy="419847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4" name="Freeform 244">
            <a:extLst>
              <a:ext uri="{FF2B5EF4-FFF2-40B4-BE49-F238E27FC236}">
                <a16:creationId xmlns:a16="http://schemas.microsoft.com/office/drawing/2014/main" id="{147F7E64-256D-4B35-B62F-496CB7D172FB}"/>
              </a:ext>
            </a:extLst>
          </p:cNvPr>
          <p:cNvSpPr>
            <a:spLocks/>
          </p:cNvSpPr>
          <p:nvPr/>
        </p:nvSpPr>
        <p:spPr bwMode="auto">
          <a:xfrm>
            <a:off x="8781815" y="2062037"/>
            <a:ext cx="637923" cy="419847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5" name="Freeform 245">
            <a:extLst>
              <a:ext uri="{FF2B5EF4-FFF2-40B4-BE49-F238E27FC236}">
                <a16:creationId xmlns:a16="http://schemas.microsoft.com/office/drawing/2014/main" id="{ACDCF889-BABF-45AA-B71E-9ED76AFB78A6}"/>
              </a:ext>
            </a:extLst>
          </p:cNvPr>
          <p:cNvSpPr>
            <a:spLocks/>
          </p:cNvSpPr>
          <p:nvPr/>
        </p:nvSpPr>
        <p:spPr bwMode="auto">
          <a:xfrm>
            <a:off x="8841938" y="2088532"/>
            <a:ext cx="114133" cy="36686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6" name="Freeform 246">
            <a:extLst>
              <a:ext uri="{FF2B5EF4-FFF2-40B4-BE49-F238E27FC236}">
                <a16:creationId xmlns:a16="http://schemas.microsoft.com/office/drawing/2014/main" id="{146B322F-4F0A-459A-BB75-94E0B84ECF35}"/>
              </a:ext>
            </a:extLst>
          </p:cNvPr>
          <p:cNvSpPr>
            <a:spLocks/>
          </p:cNvSpPr>
          <p:nvPr/>
        </p:nvSpPr>
        <p:spPr bwMode="auto">
          <a:xfrm>
            <a:off x="8574948" y="2298455"/>
            <a:ext cx="659323" cy="612447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7" name="Freeform 247">
            <a:extLst>
              <a:ext uri="{FF2B5EF4-FFF2-40B4-BE49-F238E27FC236}">
                <a16:creationId xmlns:a16="http://schemas.microsoft.com/office/drawing/2014/main" id="{AD560B32-B2E0-47CE-B4EC-A75F5EA6BC92}"/>
              </a:ext>
            </a:extLst>
          </p:cNvPr>
          <p:cNvSpPr>
            <a:spLocks/>
          </p:cNvSpPr>
          <p:nvPr/>
        </p:nvSpPr>
        <p:spPr bwMode="auto">
          <a:xfrm>
            <a:off x="8658510" y="2302531"/>
            <a:ext cx="575761" cy="60837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8" name="Freeform 248">
            <a:extLst>
              <a:ext uri="{FF2B5EF4-FFF2-40B4-BE49-F238E27FC236}">
                <a16:creationId xmlns:a16="http://schemas.microsoft.com/office/drawing/2014/main" id="{1D4594AD-F1D6-4A61-99F9-B5C0D0A29E75}"/>
              </a:ext>
            </a:extLst>
          </p:cNvPr>
          <p:cNvSpPr>
            <a:spLocks/>
          </p:cNvSpPr>
          <p:nvPr/>
        </p:nvSpPr>
        <p:spPr bwMode="auto">
          <a:xfrm>
            <a:off x="8574948" y="2298455"/>
            <a:ext cx="266990" cy="403542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9" name="Freeform 249">
            <a:extLst>
              <a:ext uri="{FF2B5EF4-FFF2-40B4-BE49-F238E27FC236}">
                <a16:creationId xmlns:a16="http://schemas.microsoft.com/office/drawing/2014/main" id="{A3CC4524-9C85-407E-B848-B2052F5A95F1}"/>
              </a:ext>
            </a:extLst>
          </p:cNvPr>
          <p:cNvSpPr>
            <a:spLocks/>
          </p:cNvSpPr>
          <p:nvPr/>
        </p:nvSpPr>
        <p:spPr bwMode="auto">
          <a:xfrm>
            <a:off x="8859262" y="2446217"/>
            <a:ext cx="928351" cy="66951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0" name="Freeform 250">
            <a:extLst>
              <a:ext uri="{FF2B5EF4-FFF2-40B4-BE49-F238E27FC236}">
                <a16:creationId xmlns:a16="http://schemas.microsoft.com/office/drawing/2014/main" id="{08392F75-9B07-4FAC-B89A-43D03206CF70}"/>
              </a:ext>
            </a:extLst>
          </p:cNvPr>
          <p:cNvSpPr>
            <a:spLocks/>
          </p:cNvSpPr>
          <p:nvPr/>
        </p:nvSpPr>
        <p:spPr bwMode="auto">
          <a:xfrm>
            <a:off x="8995814" y="2446217"/>
            <a:ext cx="791799" cy="66951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1" name="Freeform 251">
            <a:extLst>
              <a:ext uri="{FF2B5EF4-FFF2-40B4-BE49-F238E27FC236}">
                <a16:creationId xmlns:a16="http://schemas.microsoft.com/office/drawing/2014/main" id="{7F6A8FEB-C876-4427-8189-D1565CC81721}"/>
              </a:ext>
            </a:extLst>
          </p:cNvPr>
          <p:cNvSpPr>
            <a:spLocks/>
          </p:cNvSpPr>
          <p:nvPr/>
        </p:nvSpPr>
        <p:spPr bwMode="auto">
          <a:xfrm>
            <a:off x="8859262" y="2446217"/>
            <a:ext cx="438190" cy="521751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2" name="Freeform 252">
            <a:extLst>
              <a:ext uri="{FF2B5EF4-FFF2-40B4-BE49-F238E27FC236}">
                <a16:creationId xmlns:a16="http://schemas.microsoft.com/office/drawing/2014/main" id="{7660060E-BB62-4A46-8E00-4660A37385DA}"/>
              </a:ext>
            </a:extLst>
          </p:cNvPr>
          <p:cNvSpPr>
            <a:spLocks/>
          </p:cNvSpPr>
          <p:nvPr/>
        </p:nvSpPr>
        <p:spPr bwMode="auto">
          <a:xfrm>
            <a:off x="9361652" y="1895932"/>
            <a:ext cx="526847" cy="781608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3" name="Freeform 253">
            <a:extLst>
              <a:ext uri="{FF2B5EF4-FFF2-40B4-BE49-F238E27FC236}">
                <a16:creationId xmlns:a16="http://schemas.microsoft.com/office/drawing/2014/main" id="{1BA83536-B22E-439D-AA64-F0DA859D73B5}"/>
              </a:ext>
            </a:extLst>
          </p:cNvPr>
          <p:cNvSpPr>
            <a:spLocks/>
          </p:cNvSpPr>
          <p:nvPr/>
        </p:nvSpPr>
        <p:spPr bwMode="auto">
          <a:xfrm>
            <a:off x="9405471" y="1974399"/>
            <a:ext cx="483028" cy="703142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4" name="Freeform 254">
            <a:extLst>
              <a:ext uri="{FF2B5EF4-FFF2-40B4-BE49-F238E27FC236}">
                <a16:creationId xmlns:a16="http://schemas.microsoft.com/office/drawing/2014/main" id="{BB1925F5-6280-469F-AE43-70F1A6700614}"/>
              </a:ext>
            </a:extLst>
          </p:cNvPr>
          <p:cNvSpPr>
            <a:spLocks/>
          </p:cNvSpPr>
          <p:nvPr/>
        </p:nvSpPr>
        <p:spPr bwMode="auto">
          <a:xfrm>
            <a:off x="9361652" y="1895932"/>
            <a:ext cx="242533" cy="6888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5" name="Freeform 255">
            <a:extLst>
              <a:ext uri="{FF2B5EF4-FFF2-40B4-BE49-F238E27FC236}">
                <a16:creationId xmlns:a16="http://schemas.microsoft.com/office/drawing/2014/main" id="{EB9251C2-5285-43D0-B25A-81AA788BE3A2}"/>
              </a:ext>
            </a:extLst>
          </p:cNvPr>
          <p:cNvSpPr>
            <a:spLocks/>
          </p:cNvSpPr>
          <p:nvPr/>
        </p:nvSpPr>
        <p:spPr bwMode="auto">
          <a:xfrm>
            <a:off x="9549156" y="2489017"/>
            <a:ext cx="558437" cy="461628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6" name="Freeform 256">
            <a:extLst>
              <a:ext uri="{FF2B5EF4-FFF2-40B4-BE49-F238E27FC236}">
                <a16:creationId xmlns:a16="http://schemas.microsoft.com/office/drawing/2014/main" id="{2969779E-4784-4D89-889A-CB06DE946A84}"/>
              </a:ext>
            </a:extLst>
          </p:cNvPr>
          <p:cNvSpPr>
            <a:spLocks/>
          </p:cNvSpPr>
          <p:nvPr/>
        </p:nvSpPr>
        <p:spPr bwMode="auto">
          <a:xfrm>
            <a:off x="9550175" y="1971342"/>
            <a:ext cx="744923" cy="604294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7" name="Freeform 257">
            <a:extLst>
              <a:ext uri="{FF2B5EF4-FFF2-40B4-BE49-F238E27FC236}">
                <a16:creationId xmlns:a16="http://schemas.microsoft.com/office/drawing/2014/main" id="{AEC3C0C6-DC4E-46E1-935F-832A9E0E7EC1}"/>
              </a:ext>
            </a:extLst>
          </p:cNvPr>
          <p:cNvSpPr>
            <a:spLocks/>
          </p:cNvSpPr>
          <p:nvPr/>
        </p:nvSpPr>
        <p:spPr bwMode="auto">
          <a:xfrm>
            <a:off x="9648004" y="1971342"/>
            <a:ext cx="647094" cy="604294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8" name="Freeform 258">
            <a:extLst>
              <a:ext uri="{FF2B5EF4-FFF2-40B4-BE49-F238E27FC236}">
                <a16:creationId xmlns:a16="http://schemas.microsoft.com/office/drawing/2014/main" id="{9DB9720C-7D3E-4023-8033-91143E08372E}"/>
              </a:ext>
            </a:extLst>
          </p:cNvPr>
          <p:cNvSpPr>
            <a:spLocks/>
          </p:cNvSpPr>
          <p:nvPr/>
        </p:nvSpPr>
        <p:spPr bwMode="auto">
          <a:xfrm>
            <a:off x="9550175" y="1971342"/>
            <a:ext cx="226228" cy="351571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9" name="Freeform 259">
            <a:extLst>
              <a:ext uri="{FF2B5EF4-FFF2-40B4-BE49-F238E27FC236}">
                <a16:creationId xmlns:a16="http://schemas.microsoft.com/office/drawing/2014/main" id="{9FBF9E84-2DEA-4683-84DE-0B4EE4F52446}"/>
              </a:ext>
            </a:extLst>
          </p:cNvPr>
          <p:cNvSpPr>
            <a:spLocks/>
          </p:cNvSpPr>
          <p:nvPr/>
        </p:nvSpPr>
        <p:spPr bwMode="auto">
          <a:xfrm>
            <a:off x="8292672" y="2087513"/>
            <a:ext cx="198714" cy="152857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0" name="Freeform 260">
            <a:extLst>
              <a:ext uri="{FF2B5EF4-FFF2-40B4-BE49-F238E27FC236}">
                <a16:creationId xmlns:a16="http://schemas.microsoft.com/office/drawing/2014/main" id="{67F877E2-514A-48FF-9028-4ECA3DCF5F59}"/>
              </a:ext>
            </a:extLst>
          </p:cNvPr>
          <p:cNvSpPr>
            <a:spLocks noEditPoints="1"/>
          </p:cNvSpPr>
          <p:nvPr/>
        </p:nvSpPr>
        <p:spPr bwMode="auto">
          <a:xfrm>
            <a:off x="7933968" y="1793008"/>
            <a:ext cx="915103" cy="740846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A2A2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1" name="Freeform 261">
            <a:extLst>
              <a:ext uri="{FF2B5EF4-FFF2-40B4-BE49-F238E27FC236}">
                <a16:creationId xmlns:a16="http://schemas.microsoft.com/office/drawing/2014/main" id="{124720BB-EB3D-457B-A26E-6425525FD318}"/>
              </a:ext>
            </a:extLst>
          </p:cNvPr>
          <p:cNvSpPr>
            <a:spLocks/>
          </p:cNvSpPr>
          <p:nvPr/>
        </p:nvSpPr>
        <p:spPr bwMode="auto">
          <a:xfrm>
            <a:off x="8215225" y="1793008"/>
            <a:ext cx="633847" cy="739827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2" name="Freeform 262">
            <a:extLst>
              <a:ext uri="{FF2B5EF4-FFF2-40B4-BE49-F238E27FC236}">
                <a16:creationId xmlns:a16="http://schemas.microsoft.com/office/drawing/2014/main" id="{FDF1294E-7862-4270-93DD-BF5A4183A98C}"/>
              </a:ext>
            </a:extLst>
          </p:cNvPr>
          <p:cNvSpPr>
            <a:spLocks/>
          </p:cNvSpPr>
          <p:nvPr/>
        </p:nvSpPr>
        <p:spPr bwMode="auto">
          <a:xfrm>
            <a:off x="7933968" y="1793008"/>
            <a:ext cx="651170" cy="740846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3" name="Freeform 263">
            <a:extLst>
              <a:ext uri="{FF2B5EF4-FFF2-40B4-BE49-F238E27FC236}">
                <a16:creationId xmlns:a16="http://schemas.microsoft.com/office/drawing/2014/main" id="{99AEE52C-1378-4E32-AF0F-FC3FAA2A4F77}"/>
              </a:ext>
            </a:extLst>
          </p:cNvPr>
          <p:cNvSpPr>
            <a:spLocks/>
          </p:cNvSpPr>
          <p:nvPr/>
        </p:nvSpPr>
        <p:spPr bwMode="auto">
          <a:xfrm>
            <a:off x="8292672" y="2087513"/>
            <a:ext cx="198714" cy="152857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A2A2A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4" name="Freeform 264">
            <a:extLst>
              <a:ext uri="{FF2B5EF4-FFF2-40B4-BE49-F238E27FC236}">
                <a16:creationId xmlns:a16="http://schemas.microsoft.com/office/drawing/2014/main" id="{863A7722-FE1E-4E4D-96F3-F1C1681B71B6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7979825" y="2464560"/>
            <a:ext cx="902875" cy="703142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A2A2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5" name="Freeform 265">
            <a:extLst>
              <a:ext uri="{FF2B5EF4-FFF2-40B4-BE49-F238E27FC236}">
                <a16:creationId xmlns:a16="http://schemas.microsoft.com/office/drawing/2014/main" id="{1F5B7A78-5721-4501-AAB3-F6CD2236B4AC}"/>
              </a:ext>
            </a:extLst>
          </p:cNvPr>
          <p:cNvSpPr>
            <a:spLocks/>
          </p:cNvSpPr>
          <p:nvPr/>
        </p:nvSpPr>
        <p:spPr bwMode="auto">
          <a:xfrm>
            <a:off x="8214206" y="2464560"/>
            <a:ext cx="668494" cy="600218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6" name="Freeform 266">
            <a:extLst>
              <a:ext uri="{FF2B5EF4-FFF2-40B4-BE49-F238E27FC236}">
                <a16:creationId xmlns:a16="http://schemas.microsoft.com/office/drawing/2014/main" id="{CBB759B7-1DF8-4960-8CEB-468FF50A2CF1}"/>
              </a:ext>
            </a:extLst>
          </p:cNvPr>
          <p:cNvSpPr>
            <a:spLocks/>
          </p:cNvSpPr>
          <p:nvPr/>
        </p:nvSpPr>
        <p:spPr bwMode="auto">
          <a:xfrm>
            <a:off x="7979825" y="2496150"/>
            <a:ext cx="541113" cy="671551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7" name="Freeform 267">
            <a:extLst>
              <a:ext uri="{FF2B5EF4-FFF2-40B4-BE49-F238E27FC236}">
                <a16:creationId xmlns:a16="http://schemas.microsoft.com/office/drawing/2014/main" id="{2A8A235B-2E56-4A2E-AB29-CF838D47D0DD}"/>
              </a:ext>
            </a:extLst>
          </p:cNvPr>
          <p:cNvSpPr>
            <a:spLocks/>
          </p:cNvSpPr>
          <p:nvPr/>
        </p:nvSpPr>
        <p:spPr bwMode="auto">
          <a:xfrm>
            <a:off x="7498836" y="2129294"/>
            <a:ext cx="616523" cy="774475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A2A2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8" name="Freeform 268">
            <a:extLst>
              <a:ext uri="{FF2B5EF4-FFF2-40B4-BE49-F238E27FC236}">
                <a16:creationId xmlns:a16="http://schemas.microsoft.com/office/drawing/2014/main" id="{713A2E64-E3A5-482D-88F1-251F83752970}"/>
              </a:ext>
            </a:extLst>
          </p:cNvPr>
          <p:cNvSpPr>
            <a:spLocks/>
          </p:cNvSpPr>
          <p:nvPr/>
        </p:nvSpPr>
        <p:spPr bwMode="auto">
          <a:xfrm>
            <a:off x="7511064" y="2129294"/>
            <a:ext cx="604294" cy="774475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9" name="Freeform 269">
            <a:extLst>
              <a:ext uri="{FF2B5EF4-FFF2-40B4-BE49-F238E27FC236}">
                <a16:creationId xmlns:a16="http://schemas.microsoft.com/office/drawing/2014/main" id="{9D7F0B21-1570-4D43-AAEC-2BE4A528C967}"/>
              </a:ext>
            </a:extLst>
          </p:cNvPr>
          <p:cNvSpPr>
            <a:spLocks/>
          </p:cNvSpPr>
          <p:nvPr/>
        </p:nvSpPr>
        <p:spPr bwMode="auto">
          <a:xfrm>
            <a:off x="7498836" y="2129294"/>
            <a:ext cx="402523" cy="249666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0" name="Freeform 270">
            <a:extLst>
              <a:ext uri="{FF2B5EF4-FFF2-40B4-BE49-F238E27FC236}">
                <a16:creationId xmlns:a16="http://schemas.microsoft.com/office/drawing/2014/main" id="{44CA3732-6E96-4955-AE7B-4139D289B700}"/>
              </a:ext>
            </a:extLst>
          </p:cNvPr>
          <p:cNvSpPr>
            <a:spLocks/>
          </p:cNvSpPr>
          <p:nvPr/>
        </p:nvSpPr>
        <p:spPr bwMode="auto">
          <a:xfrm>
            <a:off x="7379607" y="1885742"/>
            <a:ext cx="511561" cy="372971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A2A2A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1" name="Freeform 271">
            <a:extLst>
              <a:ext uri="{FF2B5EF4-FFF2-40B4-BE49-F238E27FC236}">
                <a16:creationId xmlns:a16="http://schemas.microsoft.com/office/drawing/2014/main" id="{7C2CCA8C-E45F-4F46-9CE0-55B213981359}"/>
              </a:ext>
            </a:extLst>
          </p:cNvPr>
          <p:cNvSpPr>
            <a:spLocks/>
          </p:cNvSpPr>
          <p:nvPr/>
        </p:nvSpPr>
        <p:spPr bwMode="auto">
          <a:xfrm>
            <a:off x="7744426" y="1500542"/>
            <a:ext cx="728618" cy="645056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A2A2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2" name="Freeform 272">
            <a:extLst>
              <a:ext uri="{FF2B5EF4-FFF2-40B4-BE49-F238E27FC236}">
                <a16:creationId xmlns:a16="http://schemas.microsoft.com/office/drawing/2014/main" id="{6FE33744-A00C-470E-9CE6-94D614EF822A}"/>
              </a:ext>
            </a:extLst>
          </p:cNvPr>
          <p:cNvSpPr>
            <a:spLocks/>
          </p:cNvSpPr>
          <p:nvPr/>
        </p:nvSpPr>
        <p:spPr bwMode="auto">
          <a:xfrm>
            <a:off x="7744426" y="1500542"/>
            <a:ext cx="728618" cy="645056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3" name="Freeform 273">
            <a:extLst>
              <a:ext uri="{FF2B5EF4-FFF2-40B4-BE49-F238E27FC236}">
                <a16:creationId xmlns:a16="http://schemas.microsoft.com/office/drawing/2014/main" id="{270C171C-40A7-4740-A111-9F9D2A9581FA}"/>
              </a:ext>
            </a:extLst>
          </p:cNvPr>
          <p:cNvSpPr>
            <a:spLocks/>
          </p:cNvSpPr>
          <p:nvPr/>
        </p:nvSpPr>
        <p:spPr bwMode="auto">
          <a:xfrm>
            <a:off x="7869768" y="1500542"/>
            <a:ext cx="496275" cy="312847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4" name="Freeform 276">
            <a:extLst>
              <a:ext uri="{FF2B5EF4-FFF2-40B4-BE49-F238E27FC236}">
                <a16:creationId xmlns:a16="http://schemas.microsoft.com/office/drawing/2014/main" id="{57372085-06CB-49FA-8EC8-703B7D893F4B}"/>
              </a:ext>
            </a:extLst>
          </p:cNvPr>
          <p:cNvSpPr>
            <a:spLocks/>
          </p:cNvSpPr>
          <p:nvPr/>
        </p:nvSpPr>
        <p:spPr bwMode="auto">
          <a:xfrm>
            <a:off x="8669720" y="1684990"/>
            <a:ext cx="629770" cy="488123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solidFill>
            <a:srgbClr val="A2A2A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5" name="Freeform 274">
            <a:extLst>
              <a:ext uri="{FF2B5EF4-FFF2-40B4-BE49-F238E27FC236}">
                <a16:creationId xmlns:a16="http://schemas.microsoft.com/office/drawing/2014/main" id="{35D5A348-F58A-4C77-B41E-0745EDD98412}"/>
              </a:ext>
            </a:extLst>
          </p:cNvPr>
          <p:cNvSpPr>
            <a:spLocks/>
          </p:cNvSpPr>
          <p:nvPr/>
        </p:nvSpPr>
        <p:spPr bwMode="auto">
          <a:xfrm>
            <a:off x="8344644" y="1522961"/>
            <a:ext cx="542132" cy="364818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A2A2A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6" name="Freeform 275">
            <a:extLst>
              <a:ext uri="{FF2B5EF4-FFF2-40B4-BE49-F238E27FC236}">
                <a16:creationId xmlns:a16="http://schemas.microsoft.com/office/drawing/2014/main" id="{ECD3139D-6177-4494-89F8-B26104ED3C9B}"/>
              </a:ext>
            </a:extLst>
          </p:cNvPr>
          <p:cNvSpPr>
            <a:spLocks/>
          </p:cNvSpPr>
          <p:nvPr/>
        </p:nvSpPr>
        <p:spPr bwMode="auto">
          <a:xfrm>
            <a:off x="8701619" y="1706256"/>
            <a:ext cx="576000" cy="468000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A2A2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7" name="Freeform 277">
            <a:extLst>
              <a:ext uri="{FF2B5EF4-FFF2-40B4-BE49-F238E27FC236}">
                <a16:creationId xmlns:a16="http://schemas.microsoft.com/office/drawing/2014/main" id="{48645650-FF25-45DE-809B-80BE0AAFC14D}"/>
              </a:ext>
            </a:extLst>
          </p:cNvPr>
          <p:cNvSpPr>
            <a:spLocks/>
          </p:cNvSpPr>
          <p:nvPr/>
        </p:nvSpPr>
        <p:spPr bwMode="auto">
          <a:xfrm>
            <a:off x="8711500" y="1684990"/>
            <a:ext cx="175276" cy="198714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8" name="Freeform 278">
            <a:extLst>
              <a:ext uri="{FF2B5EF4-FFF2-40B4-BE49-F238E27FC236}">
                <a16:creationId xmlns:a16="http://schemas.microsoft.com/office/drawing/2014/main" id="{DF2099D6-46D6-47C8-A1D3-F65AC8D4B1F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8781815" y="2062037"/>
            <a:ext cx="637923" cy="419847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ED8E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9" name="Freeform 279">
            <a:extLst>
              <a:ext uri="{FF2B5EF4-FFF2-40B4-BE49-F238E27FC236}">
                <a16:creationId xmlns:a16="http://schemas.microsoft.com/office/drawing/2014/main" id="{D06BE64B-A65C-467F-A782-2524CCF21F80}"/>
              </a:ext>
            </a:extLst>
          </p:cNvPr>
          <p:cNvSpPr>
            <a:spLocks/>
          </p:cNvSpPr>
          <p:nvPr/>
        </p:nvSpPr>
        <p:spPr bwMode="auto">
          <a:xfrm>
            <a:off x="8781815" y="2062037"/>
            <a:ext cx="637923" cy="419847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0" name="Freeform 280">
            <a:extLst>
              <a:ext uri="{FF2B5EF4-FFF2-40B4-BE49-F238E27FC236}">
                <a16:creationId xmlns:a16="http://schemas.microsoft.com/office/drawing/2014/main" id="{FA6ED5DF-44C6-4164-9A5B-68BEA5A6AEA1}"/>
              </a:ext>
            </a:extLst>
          </p:cNvPr>
          <p:cNvSpPr>
            <a:spLocks/>
          </p:cNvSpPr>
          <p:nvPr/>
        </p:nvSpPr>
        <p:spPr bwMode="auto">
          <a:xfrm>
            <a:off x="8841938" y="2088532"/>
            <a:ext cx="114133" cy="36686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1" name="Freeform 281">
            <a:extLst>
              <a:ext uri="{FF2B5EF4-FFF2-40B4-BE49-F238E27FC236}">
                <a16:creationId xmlns:a16="http://schemas.microsoft.com/office/drawing/2014/main" id="{828F2EF0-EC65-4F29-8312-5064C6DC5E45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8574948" y="2298455"/>
            <a:ext cx="659323" cy="612447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6BAF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2" name="Freeform 282">
            <a:extLst>
              <a:ext uri="{FF2B5EF4-FFF2-40B4-BE49-F238E27FC236}">
                <a16:creationId xmlns:a16="http://schemas.microsoft.com/office/drawing/2014/main" id="{8ADACE52-403D-4818-99EA-58605BD261BC}"/>
              </a:ext>
            </a:extLst>
          </p:cNvPr>
          <p:cNvSpPr>
            <a:spLocks/>
          </p:cNvSpPr>
          <p:nvPr/>
        </p:nvSpPr>
        <p:spPr bwMode="auto">
          <a:xfrm>
            <a:off x="8658510" y="2302531"/>
            <a:ext cx="575761" cy="60837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3" name="Freeform 283">
            <a:extLst>
              <a:ext uri="{FF2B5EF4-FFF2-40B4-BE49-F238E27FC236}">
                <a16:creationId xmlns:a16="http://schemas.microsoft.com/office/drawing/2014/main" id="{17C7716B-FCDE-49CF-ACD5-A99F5E14CD42}"/>
              </a:ext>
            </a:extLst>
          </p:cNvPr>
          <p:cNvSpPr>
            <a:spLocks/>
          </p:cNvSpPr>
          <p:nvPr/>
        </p:nvSpPr>
        <p:spPr bwMode="auto">
          <a:xfrm>
            <a:off x="8574948" y="2298455"/>
            <a:ext cx="266990" cy="403542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4" name="Freeform 284">
            <a:extLst>
              <a:ext uri="{FF2B5EF4-FFF2-40B4-BE49-F238E27FC236}">
                <a16:creationId xmlns:a16="http://schemas.microsoft.com/office/drawing/2014/main" id="{B0F7C8EE-D0F4-401D-977D-11AEDA10F6E9}"/>
              </a:ext>
            </a:extLst>
          </p:cNvPr>
          <p:cNvSpPr>
            <a:spLocks/>
          </p:cNvSpPr>
          <p:nvPr/>
        </p:nvSpPr>
        <p:spPr bwMode="auto">
          <a:xfrm>
            <a:off x="8859262" y="2446217"/>
            <a:ext cx="928351" cy="66951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296A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5" name="Freeform 285">
            <a:extLst>
              <a:ext uri="{FF2B5EF4-FFF2-40B4-BE49-F238E27FC236}">
                <a16:creationId xmlns:a16="http://schemas.microsoft.com/office/drawing/2014/main" id="{501FC3E8-61DE-427D-ADBA-D389B92F0C1F}"/>
              </a:ext>
            </a:extLst>
          </p:cNvPr>
          <p:cNvSpPr>
            <a:spLocks/>
          </p:cNvSpPr>
          <p:nvPr/>
        </p:nvSpPr>
        <p:spPr bwMode="auto">
          <a:xfrm>
            <a:off x="8995814" y="2446217"/>
            <a:ext cx="791799" cy="66951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6" name="Freeform 286">
            <a:extLst>
              <a:ext uri="{FF2B5EF4-FFF2-40B4-BE49-F238E27FC236}">
                <a16:creationId xmlns:a16="http://schemas.microsoft.com/office/drawing/2014/main" id="{BE712E69-7E6E-46B7-8D35-0622D8801E46}"/>
              </a:ext>
            </a:extLst>
          </p:cNvPr>
          <p:cNvSpPr>
            <a:spLocks/>
          </p:cNvSpPr>
          <p:nvPr/>
        </p:nvSpPr>
        <p:spPr bwMode="auto">
          <a:xfrm>
            <a:off x="8859262" y="2446217"/>
            <a:ext cx="438190" cy="521751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7" name="Freeform 287">
            <a:extLst>
              <a:ext uri="{FF2B5EF4-FFF2-40B4-BE49-F238E27FC236}">
                <a16:creationId xmlns:a16="http://schemas.microsoft.com/office/drawing/2014/main" id="{6B3A5A79-C346-492A-82C5-865C2552CC93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9361652" y="1895932"/>
            <a:ext cx="526847" cy="781608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BED8E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8" name="Freeform 288">
            <a:extLst>
              <a:ext uri="{FF2B5EF4-FFF2-40B4-BE49-F238E27FC236}">
                <a16:creationId xmlns:a16="http://schemas.microsoft.com/office/drawing/2014/main" id="{BE7CCF85-CBB0-4997-90A1-63E4BA2D81A4}"/>
              </a:ext>
            </a:extLst>
          </p:cNvPr>
          <p:cNvSpPr>
            <a:spLocks/>
          </p:cNvSpPr>
          <p:nvPr/>
        </p:nvSpPr>
        <p:spPr bwMode="auto">
          <a:xfrm>
            <a:off x="9405471" y="1974399"/>
            <a:ext cx="483028" cy="703142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9" name="Freeform 289">
            <a:extLst>
              <a:ext uri="{FF2B5EF4-FFF2-40B4-BE49-F238E27FC236}">
                <a16:creationId xmlns:a16="http://schemas.microsoft.com/office/drawing/2014/main" id="{601EF3BA-FD19-487E-8C53-BD3BEC4E6F44}"/>
              </a:ext>
            </a:extLst>
          </p:cNvPr>
          <p:cNvSpPr>
            <a:spLocks/>
          </p:cNvSpPr>
          <p:nvPr/>
        </p:nvSpPr>
        <p:spPr bwMode="auto">
          <a:xfrm>
            <a:off x="9361652" y="1895932"/>
            <a:ext cx="242533" cy="6888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0" name="Freeform 290">
            <a:extLst>
              <a:ext uri="{FF2B5EF4-FFF2-40B4-BE49-F238E27FC236}">
                <a16:creationId xmlns:a16="http://schemas.microsoft.com/office/drawing/2014/main" id="{F10914D9-B63F-4225-B098-1FF23A318A36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9549156" y="2489017"/>
            <a:ext cx="558437" cy="461628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BED8E8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1" name="Freeform 291">
            <a:extLst>
              <a:ext uri="{FF2B5EF4-FFF2-40B4-BE49-F238E27FC236}">
                <a16:creationId xmlns:a16="http://schemas.microsoft.com/office/drawing/2014/main" id="{12B29C83-EDFE-4112-9491-66F78F1E6A44}"/>
              </a:ext>
            </a:extLst>
          </p:cNvPr>
          <p:cNvSpPr>
            <a:spLocks/>
          </p:cNvSpPr>
          <p:nvPr/>
        </p:nvSpPr>
        <p:spPr bwMode="auto">
          <a:xfrm>
            <a:off x="9550175" y="1971342"/>
            <a:ext cx="744923" cy="604294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6BAF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2" name="Freeform 292">
            <a:extLst>
              <a:ext uri="{FF2B5EF4-FFF2-40B4-BE49-F238E27FC236}">
                <a16:creationId xmlns:a16="http://schemas.microsoft.com/office/drawing/2014/main" id="{8DFB5185-5A59-449E-BC3F-7762E2CE9DDF}"/>
              </a:ext>
            </a:extLst>
          </p:cNvPr>
          <p:cNvSpPr>
            <a:spLocks/>
          </p:cNvSpPr>
          <p:nvPr/>
        </p:nvSpPr>
        <p:spPr bwMode="auto">
          <a:xfrm>
            <a:off x="9648004" y="1971342"/>
            <a:ext cx="647094" cy="604294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3" name="Freeform 293">
            <a:extLst>
              <a:ext uri="{FF2B5EF4-FFF2-40B4-BE49-F238E27FC236}">
                <a16:creationId xmlns:a16="http://schemas.microsoft.com/office/drawing/2014/main" id="{29081793-A258-486C-BFE9-97286C3EB25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9550175" y="1971342"/>
            <a:ext cx="226228" cy="351571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4" name="Rectangle 294">
            <a:extLst>
              <a:ext uri="{FF2B5EF4-FFF2-40B4-BE49-F238E27FC236}">
                <a16:creationId xmlns:a16="http://schemas.microsoft.com/office/drawing/2014/main" id="{71162034-4D12-4250-93B9-221F9750FC7F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315092" y="2320874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45" name="Rectangle 295">
            <a:extLst>
              <a:ext uri="{FF2B5EF4-FFF2-40B4-BE49-F238E27FC236}">
                <a16:creationId xmlns:a16="http://schemas.microsoft.com/office/drawing/2014/main" id="{1E61AFBF-333E-4FBC-932F-20FA82C119B7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264139" y="2776388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46" name="Rectangle 296">
            <a:extLst>
              <a:ext uri="{FF2B5EF4-FFF2-40B4-BE49-F238E27FC236}">
                <a16:creationId xmlns:a16="http://schemas.microsoft.com/office/drawing/2014/main" id="{39FCABAF-43EF-432E-9B86-A3BC2E9EA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0540" y="2453350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47" name="Rectangle 297">
            <a:extLst>
              <a:ext uri="{FF2B5EF4-FFF2-40B4-BE49-F238E27FC236}">
                <a16:creationId xmlns:a16="http://schemas.microsoft.com/office/drawing/2014/main" id="{C6699A4B-82E8-45FD-943A-A20706AA8BAD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9227875" y="2776388"/>
            <a:ext cx="26449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76 </a:t>
            </a:r>
            <a:r>
              <a:rPr kumimoji="0" lang="en-US" altLang="cs-CZ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48" name="Rectangle 298">
            <a:extLst>
              <a:ext uri="{FF2B5EF4-FFF2-40B4-BE49-F238E27FC236}">
                <a16:creationId xmlns:a16="http://schemas.microsoft.com/office/drawing/2014/main" id="{E32DC7EF-2A14-495E-B7CB-0C43E5E459E6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782834" y="2559331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8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49" name="Rectangle 299">
            <a:extLst>
              <a:ext uri="{FF2B5EF4-FFF2-40B4-BE49-F238E27FC236}">
                <a16:creationId xmlns:a16="http://schemas.microsoft.com/office/drawing/2014/main" id="{91A19CC4-96A2-43BC-ACAA-F70C3F23DB6D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716280" y="2667350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50" name="Rectangle 300">
            <a:extLst>
              <a:ext uri="{FF2B5EF4-FFF2-40B4-BE49-F238E27FC236}">
                <a16:creationId xmlns:a16="http://schemas.microsoft.com/office/drawing/2014/main" id="{8DE6B2A8-2D99-45D3-B4A7-8EAEE0BD30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7721" y="1839885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51" name="Rectangle 301">
            <a:extLst>
              <a:ext uri="{FF2B5EF4-FFF2-40B4-BE49-F238E27FC236}">
                <a16:creationId xmlns:a16="http://schemas.microsoft.com/office/drawing/2014/main" id="{E14EB4EB-923C-4876-87B9-D74CE9DDD5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5699" y="2262789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52" name="Rectangle 302">
            <a:extLst>
              <a:ext uri="{FF2B5EF4-FFF2-40B4-BE49-F238E27FC236}">
                <a16:creationId xmlns:a16="http://schemas.microsoft.com/office/drawing/2014/main" id="{BAF4ED84-696A-4F44-9E25-7082AA87C8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2851" y="2447236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53" name="Rectangle 303">
            <a:extLst>
              <a:ext uri="{FF2B5EF4-FFF2-40B4-BE49-F238E27FC236}">
                <a16:creationId xmlns:a16="http://schemas.microsoft.com/office/drawing/2014/main" id="{DBCA7944-4000-4349-9DCD-F7E40EB2B8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7214" y="2230179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54" name="Rectangle 304">
            <a:extLst>
              <a:ext uri="{FF2B5EF4-FFF2-40B4-BE49-F238E27FC236}">
                <a16:creationId xmlns:a16="http://schemas.microsoft.com/office/drawing/2014/main" id="{34B237E4-B4AC-413E-964B-1180D9F67A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7481" y="1891856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55" name="Rectangle 305">
            <a:extLst>
              <a:ext uri="{FF2B5EF4-FFF2-40B4-BE49-F238E27FC236}">
                <a16:creationId xmlns:a16="http://schemas.microsoft.com/office/drawing/2014/main" id="{7507564F-34F7-487C-BAD5-501DD1B7EA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0110" y="1673780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56" name="Rectangle 306">
            <a:extLst>
              <a:ext uri="{FF2B5EF4-FFF2-40B4-BE49-F238E27FC236}">
                <a16:creationId xmlns:a16="http://schemas.microsoft.com/office/drawing/2014/main" id="{1706D175-032B-4615-91D5-572F72335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8321" y="2033503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57" name="Rectangle 307">
            <a:extLst>
              <a:ext uri="{FF2B5EF4-FFF2-40B4-BE49-F238E27FC236}">
                <a16:creationId xmlns:a16="http://schemas.microsoft.com/office/drawing/2014/main" id="{00AC9CC9-3870-4F17-A713-0FB9E16AE043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326537" y="2093689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67" name="TextBox 6">
            <a:extLst>
              <a:ext uri="{FF2B5EF4-FFF2-40B4-BE49-F238E27FC236}">
                <a16:creationId xmlns:a16="http://schemas.microsoft.com/office/drawing/2014/main" id="{BEA89F51-9308-401D-BC19-B9C7BB4B307C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272591" y="614228"/>
            <a:ext cx="11862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; hodnocen je počet hospitalizací na lůžku akutní péče s hlavní hospitalizační diagnózou C00–C80, C97, případně s hlavní hospitalizační diagnózou Z51 (radioterapie, chemoterapie) v kombinaci s diagnózou C00–C80, C97 na pozici vedlejší hospitalizační diagnózy. Rok hospitalizace je určen dle data zahájení hospitalizačního pobytu.</a:t>
            </a:r>
          </a:p>
        </p:txBody>
      </p:sp>
      <p:grpSp>
        <p:nvGrpSpPr>
          <p:cNvPr id="368" name="Skupina 367">
            <a:extLst>
              <a:ext uri="{FF2B5EF4-FFF2-40B4-BE49-F238E27FC236}">
                <a16:creationId xmlns:a16="http://schemas.microsoft.com/office/drawing/2014/main" id="{C113EBC8-4599-406F-9E9A-E56013529553}"/>
              </a:ext>
            </a:extLst>
          </p:cNvPr>
          <p:cNvGrpSpPr/>
          <p:nvPr/>
        </p:nvGrpSpPr>
        <p:grpSpPr>
          <a:xfrm>
            <a:off x="3798821" y="2850121"/>
            <a:ext cx="5311833" cy="3037454"/>
            <a:chOff x="12475564" y="1829811"/>
            <a:chExt cx="2915491" cy="1667159"/>
          </a:xfrm>
        </p:grpSpPr>
        <p:sp>
          <p:nvSpPr>
            <p:cNvPr id="369" name="Freeform 226">
              <a:extLst>
                <a:ext uri="{FF2B5EF4-FFF2-40B4-BE49-F238E27FC236}">
                  <a16:creationId xmlns:a16="http://schemas.microsoft.com/office/drawing/2014/main" id="{A3A61C63-F639-43A9-9559-9F29DE2DB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11182" y="2122277"/>
              <a:ext cx="633847" cy="739827"/>
            </a:xfrm>
            <a:custGeom>
              <a:avLst/>
              <a:gdLst>
                <a:gd name="T0" fmla="*/ 382 w 622"/>
                <a:gd name="T1" fmla="*/ 15 h 726"/>
                <a:gd name="T2" fmla="*/ 401 w 622"/>
                <a:gd name="T3" fmla="*/ 14 h 726"/>
                <a:gd name="T4" fmla="*/ 434 w 622"/>
                <a:gd name="T5" fmla="*/ 42 h 726"/>
                <a:gd name="T6" fmla="*/ 459 w 622"/>
                <a:gd name="T7" fmla="*/ 64 h 726"/>
                <a:gd name="T8" fmla="*/ 455 w 622"/>
                <a:gd name="T9" fmla="*/ 93 h 726"/>
                <a:gd name="T10" fmla="*/ 463 w 622"/>
                <a:gd name="T11" fmla="*/ 127 h 726"/>
                <a:gd name="T12" fmla="*/ 450 w 622"/>
                <a:gd name="T13" fmla="*/ 153 h 726"/>
                <a:gd name="T14" fmla="*/ 451 w 622"/>
                <a:gd name="T15" fmla="*/ 173 h 726"/>
                <a:gd name="T16" fmla="*/ 471 w 622"/>
                <a:gd name="T17" fmla="*/ 182 h 726"/>
                <a:gd name="T18" fmla="*/ 486 w 622"/>
                <a:gd name="T19" fmla="*/ 204 h 726"/>
                <a:gd name="T20" fmla="*/ 499 w 622"/>
                <a:gd name="T21" fmla="*/ 216 h 726"/>
                <a:gd name="T22" fmla="*/ 544 w 622"/>
                <a:gd name="T23" fmla="*/ 212 h 726"/>
                <a:gd name="T24" fmla="*/ 557 w 622"/>
                <a:gd name="T25" fmla="*/ 230 h 726"/>
                <a:gd name="T26" fmla="*/ 563 w 622"/>
                <a:gd name="T27" fmla="*/ 267 h 726"/>
                <a:gd name="T28" fmla="*/ 553 w 622"/>
                <a:gd name="T29" fmla="*/ 294 h 726"/>
                <a:gd name="T30" fmla="*/ 558 w 622"/>
                <a:gd name="T31" fmla="*/ 312 h 726"/>
                <a:gd name="T32" fmla="*/ 583 w 622"/>
                <a:gd name="T33" fmla="*/ 326 h 726"/>
                <a:gd name="T34" fmla="*/ 572 w 622"/>
                <a:gd name="T35" fmla="*/ 339 h 726"/>
                <a:gd name="T36" fmla="*/ 572 w 622"/>
                <a:gd name="T37" fmla="*/ 350 h 726"/>
                <a:gd name="T38" fmla="*/ 562 w 622"/>
                <a:gd name="T39" fmla="*/ 369 h 726"/>
                <a:gd name="T40" fmla="*/ 556 w 622"/>
                <a:gd name="T41" fmla="*/ 379 h 726"/>
                <a:gd name="T42" fmla="*/ 572 w 622"/>
                <a:gd name="T43" fmla="*/ 393 h 726"/>
                <a:gd name="T44" fmla="*/ 592 w 622"/>
                <a:gd name="T45" fmla="*/ 402 h 726"/>
                <a:gd name="T46" fmla="*/ 601 w 622"/>
                <a:gd name="T47" fmla="*/ 418 h 726"/>
                <a:gd name="T48" fmla="*/ 621 w 622"/>
                <a:gd name="T49" fmla="*/ 438 h 726"/>
                <a:gd name="T50" fmla="*/ 615 w 622"/>
                <a:gd name="T51" fmla="*/ 469 h 726"/>
                <a:gd name="T52" fmla="*/ 605 w 622"/>
                <a:gd name="T53" fmla="*/ 500 h 726"/>
                <a:gd name="T54" fmla="*/ 581 w 622"/>
                <a:gd name="T55" fmla="*/ 514 h 726"/>
                <a:gd name="T56" fmla="*/ 581 w 622"/>
                <a:gd name="T57" fmla="*/ 533 h 726"/>
                <a:gd name="T58" fmla="*/ 563 w 622"/>
                <a:gd name="T59" fmla="*/ 539 h 726"/>
                <a:gd name="T60" fmla="*/ 537 w 622"/>
                <a:gd name="T61" fmla="*/ 556 h 726"/>
                <a:gd name="T62" fmla="*/ 506 w 622"/>
                <a:gd name="T63" fmla="*/ 565 h 726"/>
                <a:gd name="T64" fmla="*/ 492 w 622"/>
                <a:gd name="T65" fmla="*/ 574 h 726"/>
                <a:gd name="T66" fmla="*/ 475 w 622"/>
                <a:gd name="T67" fmla="*/ 610 h 726"/>
                <a:gd name="T68" fmla="*/ 496 w 622"/>
                <a:gd name="T69" fmla="*/ 629 h 726"/>
                <a:gd name="T70" fmla="*/ 500 w 622"/>
                <a:gd name="T71" fmla="*/ 651 h 726"/>
                <a:gd name="T72" fmla="*/ 477 w 622"/>
                <a:gd name="T73" fmla="*/ 658 h 726"/>
                <a:gd name="T74" fmla="*/ 465 w 622"/>
                <a:gd name="T75" fmla="*/ 671 h 726"/>
                <a:gd name="T76" fmla="*/ 436 w 622"/>
                <a:gd name="T77" fmla="*/ 667 h 726"/>
                <a:gd name="T78" fmla="*/ 396 w 622"/>
                <a:gd name="T79" fmla="*/ 665 h 726"/>
                <a:gd name="T80" fmla="*/ 390 w 622"/>
                <a:gd name="T81" fmla="*/ 677 h 726"/>
                <a:gd name="T82" fmla="*/ 373 w 622"/>
                <a:gd name="T83" fmla="*/ 688 h 726"/>
                <a:gd name="T84" fmla="*/ 360 w 622"/>
                <a:gd name="T85" fmla="*/ 702 h 726"/>
                <a:gd name="T86" fmla="*/ 343 w 622"/>
                <a:gd name="T87" fmla="*/ 677 h 726"/>
                <a:gd name="T88" fmla="*/ 326 w 622"/>
                <a:gd name="T89" fmla="*/ 676 h 726"/>
                <a:gd name="T90" fmla="*/ 296 w 622"/>
                <a:gd name="T91" fmla="*/ 659 h 726"/>
                <a:gd name="T92" fmla="*/ 282 w 622"/>
                <a:gd name="T93" fmla="*/ 679 h 726"/>
                <a:gd name="T94" fmla="*/ 279 w 622"/>
                <a:gd name="T95" fmla="*/ 703 h 726"/>
                <a:gd name="T96" fmla="*/ 248 w 622"/>
                <a:gd name="T97" fmla="*/ 726 h 726"/>
                <a:gd name="T98" fmla="*/ 224 w 622"/>
                <a:gd name="T99" fmla="*/ 719 h 726"/>
                <a:gd name="T100" fmla="*/ 220 w 622"/>
                <a:gd name="T101" fmla="*/ 708 h 726"/>
                <a:gd name="T102" fmla="*/ 185 w 622"/>
                <a:gd name="T103" fmla="*/ 706 h 726"/>
                <a:gd name="T104" fmla="*/ 160 w 622"/>
                <a:gd name="T105" fmla="*/ 704 h 726"/>
                <a:gd name="T106" fmla="*/ 145 w 622"/>
                <a:gd name="T107" fmla="*/ 705 h 726"/>
                <a:gd name="T108" fmla="*/ 127 w 622"/>
                <a:gd name="T109" fmla="*/ 713 h 726"/>
                <a:gd name="T110" fmla="*/ 108 w 622"/>
                <a:gd name="T111" fmla="*/ 704 h 726"/>
                <a:gd name="T112" fmla="*/ 86 w 622"/>
                <a:gd name="T113" fmla="*/ 690 h 726"/>
                <a:gd name="T114" fmla="*/ 62 w 622"/>
                <a:gd name="T115" fmla="*/ 706 h 726"/>
                <a:gd name="T116" fmla="*/ 22 w 622"/>
                <a:gd name="T117" fmla="*/ 711 h 726"/>
                <a:gd name="T118" fmla="*/ 1 w 622"/>
                <a:gd name="T119" fmla="*/ 706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22" h="726">
                  <a:moveTo>
                    <a:pt x="363" y="0"/>
                  </a:moveTo>
                  <a:lnTo>
                    <a:pt x="364" y="1"/>
                  </a:lnTo>
                  <a:lnTo>
                    <a:pt x="365" y="1"/>
                  </a:lnTo>
                  <a:lnTo>
                    <a:pt x="366" y="2"/>
                  </a:lnTo>
                  <a:lnTo>
                    <a:pt x="366" y="2"/>
                  </a:lnTo>
                  <a:lnTo>
                    <a:pt x="369" y="5"/>
                  </a:lnTo>
                  <a:lnTo>
                    <a:pt x="370" y="6"/>
                  </a:lnTo>
                  <a:lnTo>
                    <a:pt x="372" y="7"/>
                  </a:lnTo>
                  <a:lnTo>
                    <a:pt x="375" y="9"/>
                  </a:lnTo>
                  <a:lnTo>
                    <a:pt x="376" y="10"/>
                  </a:lnTo>
                  <a:lnTo>
                    <a:pt x="377" y="11"/>
                  </a:lnTo>
                  <a:lnTo>
                    <a:pt x="378" y="13"/>
                  </a:lnTo>
                  <a:lnTo>
                    <a:pt x="378" y="13"/>
                  </a:lnTo>
                  <a:lnTo>
                    <a:pt x="379" y="14"/>
                  </a:lnTo>
                  <a:lnTo>
                    <a:pt x="380" y="14"/>
                  </a:lnTo>
                  <a:lnTo>
                    <a:pt x="381" y="15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3" y="14"/>
                  </a:lnTo>
                  <a:lnTo>
                    <a:pt x="384" y="14"/>
                  </a:lnTo>
                  <a:lnTo>
                    <a:pt x="384" y="14"/>
                  </a:lnTo>
                  <a:lnTo>
                    <a:pt x="386" y="13"/>
                  </a:lnTo>
                  <a:lnTo>
                    <a:pt x="387" y="12"/>
                  </a:lnTo>
                  <a:lnTo>
                    <a:pt x="388" y="11"/>
                  </a:lnTo>
                  <a:lnTo>
                    <a:pt x="389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2" y="11"/>
                  </a:lnTo>
                  <a:lnTo>
                    <a:pt x="396" y="12"/>
                  </a:lnTo>
                  <a:lnTo>
                    <a:pt x="397" y="12"/>
                  </a:lnTo>
                  <a:lnTo>
                    <a:pt x="398" y="12"/>
                  </a:lnTo>
                  <a:lnTo>
                    <a:pt x="399" y="13"/>
                  </a:lnTo>
                  <a:lnTo>
                    <a:pt x="400" y="13"/>
                  </a:lnTo>
                  <a:lnTo>
                    <a:pt x="401" y="14"/>
                  </a:lnTo>
                  <a:lnTo>
                    <a:pt x="402" y="16"/>
                  </a:lnTo>
                  <a:lnTo>
                    <a:pt x="406" y="20"/>
                  </a:lnTo>
                  <a:lnTo>
                    <a:pt x="412" y="27"/>
                  </a:lnTo>
                  <a:lnTo>
                    <a:pt x="415" y="30"/>
                  </a:lnTo>
                  <a:lnTo>
                    <a:pt x="416" y="30"/>
                  </a:lnTo>
                  <a:lnTo>
                    <a:pt x="416" y="31"/>
                  </a:lnTo>
                  <a:lnTo>
                    <a:pt x="417" y="32"/>
                  </a:lnTo>
                  <a:lnTo>
                    <a:pt x="419" y="32"/>
                  </a:lnTo>
                  <a:lnTo>
                    <a:pt x="420" y="33"/>
                  </a:lnTo>
                  <a:lnTo>
                    <a:pt x="423" y="34"/>
                  </a:lnTo>
                  <a:lnTo>
                    <a:pt x="424" y="34"/>
                  </a:lnTo>
                  <a:lnTo>
                    <a:pt x="425" y="35"/>
                  </a:lnTo>
                  <a:lnTo>
                    <a:pt x="427" y="36"/>
                  </a:lnTo>
                  <a:lnTo>
                    <a:pt x="429" y="38"/>
                  </a:lnTo>
                  <a:lnTo>
                    <a:pt x="432" y="40"/>
                  </a:lnTo>
                  <a:lnTo>
                    <a:pt x="433" y="41"/>
                  </a:lnTo>
                  <a:lnTo>
                    <a:pt x="434" y="42"/>
                  </a:lnTo>
                  <a:lnTo>
                    <a:pt x="435" y="43"/>
                  </a:lnTo>
                  <a:lnTo>
                    <a:pt x="436" y="45"/>
                  </a:lnTo>
                  <a:lnTo>
                    <a:pt x="437" y="46"/>
                  </a:lnTo>
                  <a:lnTo>
                    <a:pt x="439" y="50"/>
                  </a:lnTo>
                  <a:lnTo>
                    <a:pt x="440" y="52"/>
                  </a:lnTo>
                  <a:lnTo>
                    <a:pt x="441" y="53"/>
                  </a:lnTo>
                  <a:lnTo>
                    <a:pt x="442" y="53"/>
                  </a:lnTo>
                  <a:lnTo>
                    <a:pt x="443" y="55"/>
                  </a:lnTo>
                  <a:lnTo>
                    <a:pt x="444" y="55"/>
                  </a:lnTo>
                  <a:lnTo>
                    <a:pt x="445" y="56"/>
                  </a:lnTo>
                  <a:lnTo>
                    <a:pt x="446" y="57"/>
                  </a:lnTo>
                  <a:lnTo>
                    <a:pt x="448" y="58"/>
                  </a:lnTo>
                  <a:lnTo>
                    <a:pt x="451" y="59"/>
                  </a:lnTo>
                  <a:lnTo>
                    <a:pt x="457" y="62"/>
                  </a:lnTo>
                  <a:lnTo>
                    <a:pt x="458" y="62"/>
                  </a:lnTo>
                  <a:lnTo>
                    <a:pt x="460" y="63"/>
                  </a:lnTo>
                  <a:lnTo>
                    <a:pt x="459" y="64"/>
                  </a:lnTo>
                  <a:lnTo>
                    <a:pt x="457" y="66"/>
                  </a:lnTo>
                  <a:lnTo>
                    <a:pt x="454" y="69"/>
                  </a:lnTo>
                  <a:lnTo>
                    <a:pt x="452" y="71"/>
                  </a:lnTo>
                  <a:lnTo>
                    <a:pt x="451" y="72"/>
                  </a:lnTo>
                  <a:lnTo>
                    <a:pt x="450" y="73"/>
                  </a:lnTo>
                  <a:lnTo>
                    <a:pt x="450" y="74"/>
                  </a:lnTo>
                  <a:lnTo>
                    <a:pt x="450" y="75"/>
                  </a:lnTo>
                  <a:lnTo>
                    <a:pt x="449" y="76"/>
                  </a:lnTo>
                  <a:lnTo>
                    <a:pt x="449" y="77"/>
                  </a:lnTo>
                  <a:lnTo>
                    <a:pt x="449" y="78"/>
                  </a:lnTo>
                  <a:lnTo>
                    <a:pt x="450" y="79"/>
                  </a:lnTo>
                  <a:lnTo>
                    <a:pt x="450" y="80"/>
                  </a:lnTo>
                  <a:lnTo>
                    <a:pt x="452" y="83"/>
                  </a:lnTo>
                  <a:lnTo>
                    <a:pt x="453" y="85"/>
                  </a:lnTo>
                  <a:lnTo>
                    <a:pt x="453" y="87"/>
                  </a:lnTo>
                  <a:lnTo>
                    <a:pt x="454" y="90"/>
                  </a:lnTo>
                  <a:lnTo>
                    <a:pt x="455" y="93"/>
                  </a:lnTo>
                  <a:lnTo>
                    <a:pt x="456" y="94"/>
                  </a:lnTo>
                  <a:lnTo>
                    <a:pt x="456" y="95"/>
                  </a:lnTo>
                  <a:lnTo>
                    <a:pt x="456" y="96"/>
                  </a:lnTo>
                  <a:lnTo>
                    <a:pt x="456" y="99"/>
                  </a:lnTo>
                  <a:lnTo>
                    <a:pt x="456" y="105"/>
                  </a:lnTo>
                  <a:lnTo>
                    <a:pt x="456" y="107"/>
                  </a:lnTo>
                  <a:lnTo>
                    <a:pt x="456" y="109"/>
                  </a:lnTo>
                  <a:lnTo>
                    <a:pt x="456" y="110"/>
                  </a:lnTo>
                  <a:lnTo>
                    <a:pt x="457" y="111"/>
                  </a:lnTo>
                  <a:lnTo>
                    <a:pt x="458" y="112"/>
                  </a:lnTo>
                  <a:lnTo>
                    <a:pt x="459" y="114"/>
                  </a:lnTo>
                  <a:lnTo>
                    <a:pt x="460" y="115"/>
                  </a:lnTo>
                  <a:lnTo>
                    <a:pt x="460" y="117"/>
                  </a:lnTo>
                  <a:lnTo>
                    <a:pt x="461" y="118"/>
                  </a:lnTo>
                  <a:lnTo>
                    <a:pt x="462" y="119"/>
                  </a:lnTo>
                  <a:lnTo>
                    <a:pt x="463" y="125"/>
                  </a:lnTo>
                  <a:lnTo>
                    <a:pt x="463" y="127"/>
                  </a:lnTo>
                  <a:lnTo>
                    <a:pt x="463" y="128"/>
                  </a:lnTo>
                  <a:lnTo>
                    <a:pt x="463" y="130"/>
                  </a:lnTo>
                  <a:lnTo>
                    <a:pt x="463" y="132"/>
                  </a:lnTo>
                  <a:lnTo>
                    <a:pt x="463" y="134"/>
                  </a:lnTo>
                  <a:lnTo>
                    <a:pt x="462" y="136"/>
                  </a:lnTo>
                  <a:lnTo>
                    <a:pt x="462" y="137"/>
                  </a:lnTo>
                  <a:lnTo>
                    <a:pt x="461" y="138"/>
                  </a:lnTo>
                  <a:lnTo>
                    <a:pt x="459" y="142"/>
                  </a:lnTo>
                  <a:lnTo>
                    <a:pt x="458" y="143"/>
                  </a:lnTo>
                  <a:lnTo>
                    <a:pt x="458" y="144"/>
                  </a:lnTo>
                  <a:lnTo>
                    <a:pt x="456" y="148"/>
                  </a:lnTo>
                  <a:lnTo>
                    <a:pt x="456" y="149"/>
                  </a:lnTo>
                  <a:lnTo>
                    <a:pt x="455" y="150"/>
                  </a:lnTo>
                  <a:lnTo>
                    <a:pt x="455" y="150"/>
                  </a:lnTo>
                  <a:lnTo>
                    <a:pt x="454" y="151"/>
                  </a:lnTo>
                  <a:lnTo>
                    <a:pt x="453" y="152"/>
                  </a:lnTo>
                  <a:lnTo>
                    <a:pt x="450" y="153"/>
                  </a:lnTo>
                  <a:lnTo>
                    <a:pt x="449" y="154"/>
                  </a:lnTo>
                  <a:lnTo>
                    <a:pt x="448" y="154"/>
                  </a:lnTo>
                  <a:lnTo>
                    <a:pt x="448" y="155"/>
                  </a:lnTo>
                  <a:lnTo>
                    <a:pt x="447" y="156"/>
                  </a:lnTo>
                  <a:lnTo>
                    <a:pt x="446" y="157"/>
                  </a:lnTo>
                  <a:lnTo>
                    <a:pt x="446" y="158"/>
                  </a:lnTo>
                  <a:lnTo>
                    <a:pt x="446" y="159"/>
                  </a:lnTo>
                  <a:lnTo>
                    <a:pt x="446" y="160"/>
                  </a:lnTo>
                  <a:lnTo>
                    <a:pt x="446" y="161"/>
                  </a:lnTo>
                  <a:lnTo>
                    <a:pt x="446" y="162"/>
                  </a:lnTo>
                  <a:lnTo>
                    <a:pt x="447" y="163"/>
                  </a:lnTo>
                  <a:lnTo>
                    <a:pt x="447" y="164"/>
                  </a:lnTo>
                  <a:lnTo>
                    <a:pt x="449" y="167"/>
                  </a:lnTo>
                  <a:lnTo>
                    <a:pt x="450" y="168"/>
                  </a:lnTo>
                  <a:lnTo>
                    <a:pt x="450" y="169"/>
                  </a:lnTo>
                  <a:lnTo>
                    <a:pt x="451" y="171"/>
                  </a:lnTo>
                  <a:lnTo>
                    <a:pt x="451" y="173"/>
                  </a:lnTo>
                  <a:lnTo>
                    <a:pt x="452" y="174"/>
                  </a:lnTo>
                  <a:lnTo>
                    <a:pt x="452" y="175"/>
                  </a:lnTo>
                  <a:lnTo>
                    <a:pt x="453" y="176"/>
                  </a:lnTo>
                  <a:lnTo>
                    <a:pt x="454" y="177"/>
                  </a:lnTo>
                  <a:lnTo>
                    <a:pt x="455" y="177"/>
                  </a:lnTo>
                  <a:lnTo>
                    <a:pt x="456" y="178"/>
                  </a:lnTo>
                  <a:lnTo>
                    <a:pt x="457" y="179"/>
                  </a:lnTo>
                  <a:lnTo>
                    <a:pt x="458" y="179"/>
                  </a:lnTo>
                  <a:lnTo>
                    <a:pt x="459" y="180"/>
                  </a:lnTo>
                  <a:lnTo>
                    <a:pt x="460" y="180"/>
                  </a:lnTo>
                  <a:lnTo>
                    <a:pt x="461" y="180"/>
                  </a:lnTo>
                  <a:lnTo>
                    <a:pt x="462" y="181"/>
                  </a:lnTo>
                  <a:lnTo>
                    <a:pt x="463" y="181"/>
                  </a:lnTo>
                  <a:lnTo>
                    <a:pt x="467" y="181"/>
                  </a:lnTo>
                  <a:lnTo>
                    <a:pt x="468" y="181"/>
                  </a:lnTo>
                  <a:lnTo>
                    <a:pt x="469" y="182"/>
                  </a:lnTo>
                  <a:lnTo>
                    <a:pt x="471" y="182"/>
                  </a:lnTo>
                  <a:lnTo>
                    <a:pt x="472" y="183"/>
                  </a:lnTo>
                  <a:lnTo>
                    <a:pt x="473" y="184"/>
                  </a:lnTo>
                  <a:lnTo>
                    <a:pt x="474" y="184"/>
                  </a:lnTo>
                  <a:lnTo>
                    <a:pt x="475" y="185"/>
                  </a:lnTo>
                  <a:lnTo>
                    <a:pt x="476" y="187"/>
                  </a:lnTo>
                  <a:lnTo>
                    <a:pt x="477" y="188"/>
                  </a:lnTo>
                  <a:lnTo>
                    <a:pt x="478" y="189"/>
                  </a:lnTo>
                  <a:lnTo>
                    <a:pt x="480" y="191"/>
                  </a:lnTo>
                  <a:lnTo>
                    <a:pt x="482" y="192"/>
                  </a:lnTo>
                  <a:lnTo>
                    <a:pt x="484" y="194"/>
                  </a:lnTo>
                  <a:lnTo>
                    <a:pt x="484" y="195"/>
                  </a:lnTo>
                  <a:lnTo>
                    <a:pt x="485" y="196"/>
                  </a:lnTo>
                  <a:lnTo>
                    <a:pt x="486" y="197"/>
                  </a:lnTo>
                  <a:lnTo>
                    <a:pt x="486" y="198"/>
                  </a:lnTo>
                  <a:lnTo>
                    <a:pt x="486" y="199"/>
                  </a:lnTo>
                  <a:lnTo>
                    <a:pt x="486" y="202"/>
                  </a:lnTo>
                  <a:lnTo>
                    <a:pt x="486" y="204"/>
                  </a:lnTo>
                  <a:lnTo>
                    <a:pt x="486" y="205"/>
                  </a:lnTo>
                  <a:lnTo>
                    <a:pt x="487" y="207"/>
                  </a:lnTo>
                  <a:lnTo>
                    <a:pt x="487" y="208"/>
                  </a:lnTo>
                  <a:lnTo>
                    <a:pt x="488" y="209"/>
                  </a:lnTo>
                  <a:lnTo>
                    <a:pt x="488" y="210"/>
                  </a:lnTo>
                  <a:lnTo>
                    <a:pt x="488" y="211"/>
                  </a:lnTo>
                  <a:lnTo>
                    <a:pt x="489" y="211"/>
                  </a:lnTo>
                  <a:lnTo>
                    <a:pt x="490" y="212"/>
                  </a:lnTo>
                  <a:lnTo>
                    <a:pt x="491" y="213"/>
                  </a:lnTo>
                  <a:lnTo>
                    <a:pt x="492" y="214"/>
                  </a:lnTo>
                  <a:lnTo>
                    <a:pt x="493" y="214"/>
                  </a:lnTo>
                  <a:lnTo>
                    <a:pt x="494" y="215"/>
                  </a:lnTo>
                  <a:lnTo>
                    <a:pt x="495" y="215"/>
                  </a:lnTo>
                  <a:lnTo>
                    <a:pt x="496" y="216"/>
                  </a:lnTo>
                  <a:lnTo>
                    <a:pt x="497" y="216"/>
                  </a:lnTo>
                  <a:lnTo>
                    <a:pt x="498" y="216"/>
                  </a:lnTo>
                  <a:lnTo>
                    <a:pt x="499" y="216"/>
                  </a:lnTo>
                  <a:lnTo>
                    <a:pt x="500" y="216"/>
                  </a:lnTo>
                  <a:lnTo>
                    <a:pt x="507" y="215"/>
                  </a:lnTo>
                  <a:lnTo>
                    <a:pt x="508" y="215"/>
                  </a:lnTo>
                  <a:lnTo>
                    <a:pt x="510" y="215"/>
                  </a:lnTo>
                  <a:lnTo>
                    <a:pt x="516" y="216"/>
                  </a:lnTo>
                  <a:lnTo>
                    <a:pt x="519" y="216"/>
                  </a:lnTo>
                  <a:lnTo>
                    <a:pt x="524" y="217"/>
                  </a:lnTo>
                  <a:lnTo>
                    <a:pt x="525" y="217"/>
                  </a:lnTo>
                  <a:lnTo>
                    <a:pt x="527" y="217"/>
                  </a:lnTo>
                  <a:lnTo>
                    <a:pt x="528" y="217"/>
                  </a:lnTo>
                  <a:lnTo>
                    <a:pt x="530" y="216"/>
                  </a:lnTo>
                  <a:lnTo>
                    <a:pt x="535" y="215"/>
                  </a:lnTo>
                  <a:lnTo>
                    <a:pt x="538" y="213"/>
                  </a:lnTo>
                  <a:lnTo>
                    <a:pt x="540" y="213"/>
                  </a:lnTo>
                  <a:lnTo>
                    <a:pt x="541" y="212"/>
                  </a:lnTo>
                  <a:lnTo>
                    <a:pt x="543" y="212"/>
                  </a:lnTo>
                  <a:lnTo>
                    <a:pt x="544" y="212"/>
                  </a:lnTo>
                  <a:lnTo>
                    <a:pt x="545" y="212"/>
                  </a:lnTo>
                  <a:lnTo>
                    <a:pt x="545" y="212"/>
                  </a:lnTo>
                  <a:lnTo>
                    <a:pt x="546" y="212"/>
                  </a:lnTo>
                  <a:lnTo>
                    <a:pt x="547" y="213"/>
                  </a:lnTo>
                  <a:lnTo>
                    <a:pt x="548" y="213"/>
                  </a:lnTo>
                  <a:lnTo>
                    <a:pt x="550" y="215"/>
                  </a:lnTo>
                  <a:lnTo>
                    <a:pt x="551" y="216"/>
                  </a:lnTo>
                  <a:lnTo>
                    <a:pt x="553" y="217"/>
                  </a:lnTo>
                  <a:lnTo>
                    <a:pt x="553" y="218"/>
                  </a:lnTo>
                  <a:lnTo>
                    <a:pt x="554" y="219"/>
                  </a:lnTo>
                  <a:lnTo>
                    <a:pt x="555" y="220"/>
                  </a:lnTo>
                  <a:lnTo>
                    <a:pt x="555" y="221"/>
                  </a:lnTo>
                  <a:lnTo>
                    <a:pt x="556" y="222"/>
                  </a:lnTo>
                  <a:lnTo>
                    <a:pt x="556" y="224"/>
                  </a:lnTo>
                  <a:lnTo>
                    <a:pt x="557" y="225"/>
                  </a:lnTo>
                  <a:lnTo>
                    <a:pt x="557" y="227"/>
                  </a:lnTo>
                  <a:lnTo>
                    <a:pt x="557" y="230"/>
                  </a:lnTo>
                  <a:lnTo>
                    <a:pt x="557" y="234"/>
                  </a:lnTo>
                  <a:lnTo>
                    <a:pt x="557" y="237"/>
                  </a:lnTo>
                  <a:lnTo>
                    <a:pt x="557" y="239"/>
                  </a:lnTo>
                  <a:lnTo>
                    <a:pt x="556" y="243"/>
                  </a:lnTo>
                  <a:lnTo>
                    <a:pt x="556" y="244"/>
                  </a:lnTo>
                  <a:lnTo>
                    <a:pt x="556" y="245"/>
                  </a:lnTo>
                  <a:lnTo>
                    <a:pt x="556" y="248"/>
                  </a:lnTo>
                  <a:lnTo>
                    <a:pt x="556" y="250"/>
                  </a:lnTo>
                  <a:lnTo>
                    <a:pt x="556" y="252"/>
                  </a:lnTo>
                  <a:lnTo>
                    <a:pt x="557" y="254"/>
                  </a:lnTo>
                  <a:lnTo>
                    <a:pt x="557" y="255"/>
                  </a:lnTo>
                  <a:lnTo>
                    <a:pt x="557" y="256"/>
                  </a:lnTo>
                  <a:lnTo>
                    <a:pt x="558" y="258"/>
                  </a:lnTo>
                  <a:lnTo>
                    <a:pt x="559" y="260"/>
                  </a:lnTo>
                  <a:lnTo>
                    <a:pt x="561" y="263"/>
                  </a:lnTo>
                  <a:lnTo>
                    <a:pt x="562" y="265"/>
                  </a:lnTo>
                  <a:lnTo>
                    <a:pt x="563" y="267"/>
                  </a:lnTo>
                  <a:lnTo>
                    <a:pt x="563" y="268"/>
                  </a:lnTo>
                  <a:lnTo>
                    <a:pt x="564" y="271"/>
                  </a:lnTo>
                  <a:lnTo>
                    <a:pt x="564" y="271"/>
                  </a:lnTo>
                  <a:lnTo>
                    <a:pt x="564" y="272"/>
                  </a:lnTo>
                  <a:lnTo>
                    <a:pt x="564" y="273"/>
                  </a:lnTo>
                  <a:lnTo>
                    <a:pt x="564" y="275"/>
                  </a:lnTo>
                  <a:lnTo>
                    <a:pt x="564" y="276"/>
                  </a:lnTo>
                  <a:lnTo>
                    <a:pt x="564" y="277"/>
                  </a:lnTo>
                  <a:lnTo>
                    <a:pt x="563" y="279"/>
                  </a:lnTo>
                  <a:lnTo>
                    <a:pt x="562" y="281"/>
                  </a:lnTo>
                  <a:lnTo>
                    <a:pt x="562" y="283"/>
                  </a:lnTo>
                  <a:lnTo>
                    <a:pt x="561" y="284"/>
                  </a:lnTo>
                  <a:lnTo>
                    <a:pt x="560" y="286"/>
                  </a:lnTo>
                  <a:lnTo>
                    <a:pt x="558" y="289"/>
                  </a:lnTo>
                  <a:lnTo>
                    <a:pt x="557" y="290"/>
                  </a:lnTo>
                  <a:lnTo>
                    <a:pt x="555" y="292"/>
                  </a:lnTo>
                  <a:lnTo>
                    <a:pt x="553" y="294"/>
                  </a:lnTo>
                  <a:lnTo>
                    <a:pt x="552" y="296"/>
                  </a:lnTo>
                  <a:lnTo>
                    <a:pt x="551" y="297"/>
                  </a:lnTo>
                  <a:lnTo>
                    <a:pt x="551" y="298"/>
                  </a:lnTo>
                  <a:lnTo>
                    <a:pt x="551" y="299"/>
                  </a:lnTo>
                  <a:lnTo>
                    <a:pt x="551" y="299"/>
                  </a:lnTo>
                  <a:lnTo>
                    <a:pt x="552" y="301"/>
                  </a:lnTo>
                  <a:lnTo>
                    <a:pt x="552" y="303"/>
                  </a:lnTo>
                  <a:lnTo>
                    <a:pt x="552" y="303"/>
                  </a:lnTo>
                  <a:lnTo>
                    <a:pt x="552" y="304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09"/>
                  </a:lnTo>
                  <a:lnTo>
                    <a:pt x="551" y="309"/>
                  </a:lnTo>
                  <a:lnTo>
                    <a:pt x="551" y="309"/>
                  </a:lnTo>
                  <a:lnTo>
                    <a:pt x="552" y="310"/>
                  </a:lnTo>
                  <a:lnTo>
                    <a:pt x="553" y="310"/>
                  </a:lnTo>
                  <a:lnTo>
                    <a:pt x="558" y="312"/>
                  </a:lnTo>
                  <a:lnTo>
                    <a:pt x="563" y="313"/>
                  </a:lnTo>
                  <a:lnTo>
                    <a:pt x="564" y="314"/>
                  </a:lnTo>
                  <a:lnTo>
                    <a:pt x="566" y="315"/>
                  </a:lnTo>
                  <a:lnTo>
                    <a:pt x="569" y="315"/>
                  </a:lnTo>
                  <a:lnTo>
                    <a:pt x="571" y="315"/>
                  </a:lnTo>
                  <a:lnTo>
                    <a:pt x="572" y="316"/>
                  </a:lnTo>
                  <a:lnTo>
                    <a:pt x="573" y="316"/>
                  </a:lnTo>
                  <a:lnTo>
                    <a:pt x="574" y="317"/>
                  </a:lnTo>
                  <a:lnTo>
                    <a:pt x="578" y="319"/>
                  </a:lnTo>
                  <a:lnTo>
                    <a:pt x="579" y="320"/>
                  </a:lnTo>
                  <a:lnTo>
                    <a:pt x="581" y="322"/>
                  </a:lnTo>
                  <a:lnTo>
                    <a:pt x="581" y="322"/>
                  </a:lnTo>
                  <a:lnTo>
                    <a:pt x="582" y="323"/>
                  </a:lnTo>
                  <a:lnTo>
                    <a:pt x="582" y="324"/>
                  </a:lnTo>
                  <a:lnTo>
                    <a:pt x="583" y="324"/>
                  </a:lnTo>
                  <a:lnTo>
                    <a:pt x="583" y="325"/>
                  </a:lnTo>
                  <a:lnTo>
                    <a:pt x="583" y="326"/>
                  </a:lnTo>
                  <a:lnTo>
                    <a:pt x="583" y="327"/>
                  </a:lnTo>
                  <a:lnTo>
                    <a:pt x="584" y="327"/>
                  </a:lnTo>
                  <a:lnTo>
                    <a:pt x="583" y="329"/>
                  </a:lnTo>
                  <a:lnTo>
                    <a:pt x="583" y="331"/>
                  </a:lnTo>
                  <a:lnTo>
                    <a:pt x="583" y="333"/>
                  </a:lnTo>
                  <a:lnTo>
                    <a:pt x="582" y="333"/>
                  </a:lnTo>
                  <a:lnTo>
                    <a:pt x="582" y="334"/>
                  </a:lnTo>
                  <a:lnTo>
                    <a:pt x="581" y="334"/>
                  </a:lnTo>
                  <a:lnTo>
                    <a:pt x="581" y="335"/>
                  </a:lnTo>
                  <a:lnTo>
                    <a:pt x="580" y="335"/>
                  </a:lnTo>
                  <a:lnTo>
                    <a:pt x="579" y="336"/>
                  </a:lnTo>
                  <a:lnTo>
                    <a:pt x="578" y="336"/>
                  </a:lnTo>
                  <a:lnTo>
                    <a:pt x="577" y="337"/>
                  </a:lnTo>
                  <a:lnTo>
                    <a:pt x="575" y="337"/>
                  </a:lnTo>
                  <a:lnTo>
                    <a:pt x="573" y="338"/>
                  </a:lnTo>
                  <a:lnTo>
                    <a:pt x="572" y="338"/>
                  </a:lnTo>
                  <a:lnTo>
                    <a:pt x="572" y="339"/>
                  </a:lnTo>
                  <a:lnTo>
                    <a:pt x="571" y="339"/>
                  </a:lnTo>
                  <a:lnTo>
                    <a:pt x="571" y="340"/>
                  </a:lnTo>
                  <a:lnTo>
                    <a:pt x="570" y="340"/>
                  </a:lnTo>
                  <a:lnTo>
                    <a:pt x="570" y="341"/>
                  </a:lnTo>
                  <a:lnTo>
                    <a:pt x="570" y="341"/>
                  </a:lnTo>
                  <a:lnTo>
                    <a:pt x="570" y="342"/>
                  </a:lnTo>
                  <a:lnTo>
                    <a:pt x="570" y="342"/>
                  </a:lnTo>
                  <a:lnTo>
                    <a:pt x="571" y="343"/>
                  </a:lnTo>
                  <a:lnTo>
                    <a:pt x="571" y="344"/>
                  </a:lnTo>
                  <a:lnTo>
                    <a:pt x="573" y="345"/>
                  </a:lnTo>
                  <a:lnTo>
                    <a:pt x="573" y="346"/>
                  </a:lnTo>
                  <a:lnTo>
                    <a:pt x="573" y="346"/>
                  </a:lnTo>
                  <a:lnTo>
                    <a:pt x="574" y="347"/>
                  </a:lnTo>
                  <a:lnTo>
                    <a:pt x="574" y="347"/>
                  </a:lnTo>
                  <a:lnTo>
                    <a:pt x="573" y="348"/>
                  </a:lnTo>
                  <a:lnTo>
                    <a:pt x="572" y="350"/>
                  </a:lnTo>
                  <a:lnTo>
                    <a:pt x="572" y="350"/>
                  </a:lnTo>
                  <a:lnTo>
                    <a:pt x="571" y="351"/>
                  </a:lnTo>
                  <a:lnTo>
                    <a:pt x="571" y="353"/>
                  </a:lnTo>
                  <a:lnTo>
                    <a:pt x="571" y="357"/>
                  </a:lnTo>
                  <a:lnTo>
                    <a:pt x="570" y="358"/>
                  </a:lnTo>
                  <a:lnTo>
                    <a:pt x="570" y="359"/>
                  </a:lnTo>
                  <a:lnTo>
                    <a:pt x="570" y="360"/>
                  </a:lnTo>
                  <a:lnTo>
                    <a:pt x="569" y="361"/>
                  </a:lnTo>
                  <a:lnTo>
                    <a:pt x="569" y="362"/>
                  </a:lnTo>
                  <a:lnTo>
                    <a:pt x="568" y="362"/>
                  </a:lnTo>
                  <a:lnTo>
                    <a:pt x="567" y="363"/>
                  </a:lnTo>
                  <a:lnTo>
                    <a:pt x="566" y="364"/>
                  </a:lnTo>
                  <a:lnTo>
                    <a:pt x="563" y="366"/>
                  </a:lnTo>
                  <a:lnTo>
                    <a:pt x="562" y="367"/>
                  </a:lnTo>
                  <a:lnTo>
                    <a:pt x="562" y="368"/>
                  </a:lnTo>
                  <a:lnTo>
                    <a:pt x="562" y="368"/>
                  </a:lnTo>
                  <a:lnTo>
                    <a:pt x="562" y="369"/>
                  </a:lnTo>
                  <a:lnTo>
                    <a:pt x="562" y="369"/>
                  </a:lnTo>
                  <a:lnTo>
                    <a:pt x="562" y="369"/>
                  </a:lnTo>
                  <a:lnTo>
                    <a:pt x="562" y="370"/>
                  </a:lnTo>
                  <a:lnTo>
                    <a:pt x="562" y="370"/>
                  </a:lnTo>
                  <a:lnTo>
                    <a:pt x="563" y="372"/>
                  </a:lnTo>
                  <a:lnTo>
                    <a:pt x="564" y="372"/>
                  </a:lnTo>
                  <a:lnTo>
                    <a:pt x="564" y="373"/>
                  </a:lnTo>
                  <a:lnTo>
                    <a:pt x="564" y="373"/>
                  </a:lnTo>
                  <a:lnTo>
                    <a:pt x="564" y="373"/>
                  </a:lnTo>
                  <a:lnTo>
                    <a:pt x="563" y="374"/>
                  </a:lnTo>
                  <a:lnTo>
                    <a:pt x="563" y="374"/>
                  </a:lnTo>
                  <a:lnTo>
                    <a:pt x="561" y="375"/>
                  </a:lnTo>
                  <a:lnTo>
                    <a:pt x="560" y="376"/>
                  </a:lnTo>
                  <a:lnTo>
                    <a:pt x="559" y="376"/>
                  </a:lnTo>
                  <a:lnTo>
                    <a:pt x="558" y="377"/>
                  </a:lnTo>
                  <a:lnTo>
                    <a:pt x="557" y="377"/>
                  </a:lnTo>
                  <a:lnTo>
                    <a:pt x="557" y="378"/>
                  </a:lnTo>
                  <a:lnTo>
                    <a:pt x="556" y="379"/>
                  </a:lnTo>
                  <a:lnTo>
                    <a:pt x="556" y="379"/>
                  </a:lnTo>
                  <a:lnTo>
                    <a:pt x="556" y="380"/>
                  </a:lnTo>
                  <a:lnTo>
                    <a:pt x="556" y="380"/>
                  </a:lnTo>
                  <a:lnTo>
                    <a:pt x="556" y="381"/>
                  </a:lnTo>
                  <a:lnTo>
                    <a:pt x="556" y="382"/>
                  </a:lnTo>
                  <a:lnTo>
                    <a:pt x="557" y="383"/>
                  </a:lnTo>
                  <a:lnTo>
                    <a:pt x="557" y="385"/>
                  </a:lnTo>
                  <a:lnTo>
                    <a:pt x="558" y="386"/>
                  </a:lnTo>
                  <a:lnTo>
                    <a:pt x="559" y="387"/>
                  </a:lnTo>
                  <a:lnTo>
                    <a:pt x="560" y="388"/>
                  </a:lnTo>
                  <a:lnTo>
                    <a:pt x="561" y="388"/>
                  </a:lnTo>
                  <a:lnTo>
                    <a:pt x="563" y="389"/>
                  </a:lnTo>
                  <a:lnTo>
                    <a:pt x="564" y="390"/>
                  </a:lnTo>
                  <a:lnTo>
                    <a:pt x="566" y="391"/>
                  </a:lnTo>
                  <a:lnTo>
                    <a:pt x="568" y="391"/>
                  </a:lnTo>
                  <a:lnTo>
                    <a:pt x="571" y="392"/>
                  </a:lnTo>
                  <a:lnTo>
                    <a:pt x="572" y="393"/>
                  </a:lnTo>
                  <a:lnTo>
                    <a:pt x="573" y="393"/>
                  </a:lnTo>
                  <a:lnTo>
                    <a:pt x="575" y="394"/>
                  </a:lnTo>
                  <a:lnTo>
                    <a:pt x="576" y="395"/>
                  </a:lnTo>
                  <a:lnTo>
                    <a:pt x="577" y="395"/>
                  </a:lnTo>
                  <a:lnTo>
                    <a:pt x="578" y="397"/>
                  </a:lnTo>
                  <a:lnTo>
                    <a:pt x="579" y="397"/>
                  </a:lnTo>
                  <a:lnTo>
                    <a:pt x="579" y="398"/>
                  </a:lnTo>
                  <a:lnTo>
                    <a:pt x="580" y="398"/>
                  </a:lnTo>
                  <a:lnTo>
                    <a:pt x="582" y="399"/>
                  </a:lnTo>
                  <a:lnTo>
                    <a:pt x="585" y="399"/>
                  </a:lnTo>
                  <a:lnTo>
                    <a:pt x="586" y="400"/>
                  </a:lnTo>
                  <a:lnTo>
                    <a:pt x="588" y="400"/>
                  </a:lnTo>
                  <a:lnTo>
                    <a:pt x="589" y="400"/>
                  </a:lnTo>
                  <a:lnTo>
                    <a:pt x="590" y="400"/>
                  </a:lnTo>
                  <a:lnTo>
                    <a:pt x="590" y="401"/>
                  </a:lnTo>
                  <a:lnTo>
                    <a:pt x="591" y="401"/>
                  </a:lnTo>
                  <a:lnTo>
                    <a:pt x="592" y="402"/>
                  </a:lnTo>
                  <a:lnTo>
                    <a:pt x="593" y="403"/>
                  </a:lnTo>
                  <a:lnTo>
                    <a:pt x="593" y="403"/>
                  </a:lnTo>
                  <a:lnTo>
                    <a:pt x="595" y="404"/>
                  </a:lnTo>
                  <a:lnTo>
                    <a:pt x="595" y="404"/>
                  </a:lnTo>
                  <a:lnTo>
                    <a:pt x="596" y="404"/>
                  </a:lnTo>
                  <a:lnTo>
                    <a:pt x="596" y="405"/>
                  </a:lnTo>
                  <a:lnTo>
                    <a:pt x="596" y="406"/>
                  </a:lnTo>
                  <a:lnTo>
                    <a:pt x="596" y="406"/>
                  </a:lnTo>
                  <a:lnTo>
                    <a:pt x="597" y="408"/>
                  </a:lnTo>
                  <a:lnTo>
                    <a:pt x="597" y="411"/>
                  </a:lnTo>
                  <a:lnTo>
                    <a:pt x="597" y="412"/>
                  </a:lnTo>
                  <a:lnTo>
                    <a:pt x="597" y="413"/>
                  </a:lnTo>
                  <a:lnTo>
                    <a:pt x="598" y="414"/>
                  </a:lnTo>
                  <a:lnTo>
                    <a:pt x="598" y="415"/>
                  </a:lnTo>
                  <a:lnTo>
                    <a:pt x="599" y="415"/>
                  </a:lnTo>
                  <a:lnTo>
                    <a:pt x="599" y="416"/>
                  </a:lnTo>
                  <a:lnTo>
                    <a:pt x="601" y="418"/>
                  </a:lnTo>
                  <a:lnTo>
                    <a:pt x="602" y="419"/>
                  </a:lnTo>
                  <a:lnTo>
                    <a:pt x="604" y="420"/>
                  </a:lnTo>
                  <a:lnTo>
                    <a:pt x="606" y="422"/>
                  </a:lnTo>
                  <a:lnTo>
                    <a:pt x="609" y="424"/>
                  </a:lnTo>
                  <a:lnTo>
                    <a:pt x="610" y="424"/>
                  </a:lnTo>
                  <a:lnTo>
                    <a:pt x="614" y="426"/>
                  </a:lnTo>
                  <a:lnTo>
                    <a:pt x="615" y="427"/>
                  </a:lnTo>
                  <a:lnTo>
                    <a:pt x="617" y="428"/>
                  </a:lnTo>
                  <a:lnTo>
                    <a:pt x="618" y="429"/>
                  </a:lnTo>
                  <a:lnTo>
                    <a:pt x="619" y="430"/>
                  </a:lnTo>
                  <a:lnTo>
                    <a:pt x="620" y="431"/>
                  </a:lnTo>
                  <a:lnTo>
                    <a:pt x="621" y="432"/>
                  </a:lnTo>
                  <a:lnTo>
                    <a:pt x="621" y="433"/>
                  </a:lnTo>
                  <a:lnTo>
                    <a:pt x="621" y="434"/>
                  </a:lnTo>
                  <a:lnTo>
                    <a:pt x="621" y="435"/>
                  </a:lnTo>
                  <a:lnTo>
                    <a:pt x="621" y="436"/>
                  </a:lnTo>
                  <a:lnTo>
                    <a:pt x="621" y="438"/>
                  </a:lnTo>
                  <a:lnTo>
                    <a:pt x="621" y="441"/>
                  </a:lnTo>
                  <a:lnTo>
                    <a:pt x="620" y="442"/>
                  </a:lnTo>
                  <a:lnTo>
                    <a:pt x="620" y="443"/>
                  </a:lnTo>
                  <a:lnTo>
                    <a:pt x="620" y="444"/>
                  </a:lnTo>
                  <a:lnTo>
                    <a:pt x="620" y="445"/>
                  </a:lnTo>
                  <a:lnTo>
                    <a:pt x="621" y="446"/>
                  </a:lnTo>
                  <a:lnTo>
                    <a:pt x="621" y="450"/>
                  </a:lnTo>
                  <a:lnTo>
                    <a:pt x="622" y="451"/>
                  </a:lnTo>
                  <a:lnTo>
                    <a:pt x="622" y="453"/>
                  </a:lnTo>
                  <a:lnTo>
                    <a:pt x="622" y="454"/>
                  </a:lnTo>
                  <a:lnTo>
                    <a:pt x="621" y="455"/>
                  </a:lnTo>
                  <a:lnTo>
                    <a:pt x="621" y="457"/>
                  </a:lnTo>
                  <a:lnTo>
                    <a:pt x="620" y="459"/>
                  </a:lnTo>
                  <a:lnTo>
                    <a:pt x="619" y="462"/>
                  </a:lnTo>
                  <a:lnTo>
                    <a:pt x="617" y="467"/>
                  </a:lnTo>
                  <a:lnTo>
                    <a:pt x="616" y="468"/>
                  </a:lnTo>
                  <a:lnTo>
                    <a:pt x="615" y="469"/>
                  </a:lnTo>
                  <a:lnTo>
                    <a:pt x="613" y="472"/>
                  </a:lnTo>
                  <a:lnTo>
                    <a:pt x="612" y="473"/>
                  </a:lnTo>
                  <a:lnTo>
                    <a:pt x="612" y="474"/>
                  </a:lnTo>
                  <a:lnTo>
                    <a:pt x="612" y="475"/>
                  </a:lnTo>
                  <a:lnTo>
                    <a:pt x="611" y="476"/>
                  </a:lnTo>
                  <a:lnTo>
                    <a:pt x="611" y="477"/>
                  </a:lnTo>
                  <a:lnTo>
                    <a:pt x="611" y="482"/>
                  </a:lnTo>
                  <a:lnTo>
                    <a:pt x="610" y="487"/>
                  </a:lnTo>
                  <a:lnTo>
                    <a:pt x="609" y="492"/>
                  </a:lnTo>
                  <a:lnTo>
                    <a:pt x="609" y="495"/>
                  </a:lnTo>
                  <a:lnTo>
                    <a:pt x="609" y="496"/>
                  </a:lnTo>
                  <a:lnTo>
                    <a:pt x="609" y="496"/>
                  </a:lnTo>
                  <a:lnTo>
                    <a:pt x="609" y="497"/>
                  </a:lnTo>
                  <a:lnTo>
                    <a:pt x="608" y="498"/>
                  </a:lnTo>
                  <a:lnTo>
                    <a:pt x="607" y="499"/>
                  </a:lnTo>
                  <a:lnTo>
                    <a:pt x="606" y="499"/>
                  </a:lnTo>
                  <a:lnTo>
                    <a:pt x="605" y="500"/>
                  </a:lnTo>
                  <a:lnTo>
                    <a:pt x="602" y="503"/>
                  </a:lnTo>
                  <a:lnTo>
                    <a:pt x="599" y="505"/>
                  </a:lnTo>
                  <a:lnTo>
                    <a:pt x="598" y="506"/>
                  </a:lnTo>
                  <a:lnTo>
                    <a:pt x="597" y="506"/>
                  </a:lnTo>
                  <a:lnTo>
                    <a:pt x="596" y="507"/>
                  </a:lnTo>
                  <a:lnTo>
                    <a:pt x="595" y="507"/>
                  </a:lnTo>
                  <a:lnTo>
                    <a:pt x="594" y="508"/>
                  </a:lnTo>
                  <a:lnTo>
                    <a:pt x="593" y="508"/>
                  </a:lnTo>
                  <a:lnTo>
                    <a:pt x="590" y="508"/>
                  </a:lnTo>
                  <a:lnTo>
                    <a:pt x="589" y="508"/>
                  </a:lnTo>
                  <a:lnTo>
                    <a:pt x="588" y="509"/>
                  </a:lnTo>
                  <a:lnTo>
                    <a:pt x="586" y="510"/>
                  </a:lnTo>
                  <a:lnTo>
                    <a:pt x="585" y="510"/>
                  </a:lnTo>
                  <a:lnTo>
                    <a:pt x="584" y="511"/>
                  </a:lnTo>
                  <a:lnTo>
                    <a:pt x="583" y="511"/>
                  </a:lnTo>
                  <a:lnTo>
                    <a:pt x="582" y="512"/>
                  </a:lnTo>
                  <a:lnTo>
                    <a:pt x="581" y="514"/>
                  </a:lnTo>
                  <a:lnTo>
                    <a:pt x="579" y="515"/>
                  </a:lnTo>
                  <a:lnTo>
                    <a:pt x="579" y="516"/>
                  </a:lnTo>
                  <a:lnTo>
                    <a:pt x="578" y="517"/>
                  </a:lnTo>
                  <a:lnTo>
                    <a:pt x="578" y="518"/>
                  </a:lnTo>
                  <a:lnTo>
                    <a:pt x="578" y="518"/>
                  </a:lnTo>
                  <a:lnTo>
                    <a:pt x="577" y="519"/>
                  </a:lnTo>
                  <a:lnTo>
                    <a:pt x="577" y="520"/>
                  </a:lnTo>
                  <a:lnTo>
                    <a:pt x="577" y="521"/>
                  </a:lnTo>
                  <a:lnTo>
                    <a:pt x="577" y="522"/>
                  </a:lnTo>
                  <a:lnTo>
                    <a:pt x="577" y="523"/>
                  </a:lnTo>
                  <a:lnTo>
                    <a:pt x="578" y="524"/>
                  </a:lnTo>
                  <a:lnTo>
                    <a:pt x="579" y="528"/>
                  </a:lnTo>
                  <a:lnTo>
                    <a:pt x="580" y="530"/>
                  </a:lnTo>
                  <a:lnTo>
                    <a:pt x="580" y="531"/>
                  </a:lnTo>
                  <a:lnTo>
                    <a:pt x="580" y="532"/>
                  </a:lnTo>
                  <a:lnTo>
                    <a:pt x="581" y="533"/>
                  </a:lnTo>
                  <a:lnTo>
                    <a:pt x="581" y="533"/>
                  </a:lnTo>
                  <a:lnTo>
                    <a:pt x="581" y="534"/>
                  </a:lnTo>
                  <a:lnTo>
                    <a:pt x="580" y="535"/>
                  </a:lnTo>
                  <a:lnTo>
                    <a:pt x="580" y="536"/>
                  </a:lnTo>
                  <a:lnTo>
                    <a:pt x="580" y="536"/>
                  </a:lnTo>
                  <a:lnTo>
                    <a:pt x="579" y="536"/>
                  </a:lnTo>
                  <a:lnTo>
                    <a:pt x="579" y="537"/>
                  </a:lnTo>
                  <a:lnTo>
                    <a:pt x="578" y="538"/>
                  </a:lnTo>
                  <a:lnTo>
                    <a:pt x="578" y="538"/>
                  </a:lnTo>
                  <a:lnTo>
                    <a:pt x="577" y="539"/>
                  </a:lnTo>
                  <a:lnTo>
                    <a:pt x="576" y="539"/>
                  </a:lnTo>
                  <a:lnTo>
                    <a:pt x="574" y="539"/>
                  </a:lnTo>
                  <a:lnTo>
                    <a:pt x="573" y="539"/>
                  </a:lnTo>
                  <a:lnTo>
                    <a:pt x="572" y="539"/>
                  </a:lnTo>
                  <a:lnTo>
                    <a:pt x="570" y="539"/>
                  </a:lnTo>
                  <a:lnTo>
                    <a:pt x="566" y="539"/>
                  </a:lnTo>
                  <a:lnTo>
                    <a:pt x="563" y="539"/>
                  </a:lnTo>
                  <a:lnTo>
                    <a:pt x="563" y="539"/>
                  </a:lnTo>
                  <a:lnTo>
                    <a:pt x="562" y="539"/>
                  </a:lnTo>
                  <a:lnTo>
                    <a:pt x="561" y="540"/>
                  </a:lnTo>
                  <a:lnTo>
                    <a:pt x="560" y="540"/>
                  </a:lnTo>
                  <a:lnTo>
                    <a:pt x="559" y="541"/>
                  </a:lnTo>
                  <a:lnTo>
                    <a:pt x="558" y="542"/>
                  </a:lnTo>
                  <a:lnTo>
                    <a:pt x="557" y="544"/>
                  </a:lnTo>
                  <a:lnTo>
                    <a:pt x="554" y="547"/>
                  </a:lnTo>
                  <a:lnTo>
                    <a:pt x="553" y="548"/>
                  </a:lnTo>
                  <a:lnTo>
                    <a:pt x="553" y="549"/>
                  </a:lnTo>
                  <a:lnTo>
                    <a:pt x="551" y="550"/>
                  </a:lnTo>
                  <a:lnTo>
                    <a:pt x="549" y="552"/>
                  </a:lnTo>
                  <a:lnTo>
                    <a:pt x="547" y="553"/>
                  </a:lnTo>
                  <a:lnTo>
                    <a:pt x="546" y="553"/>
                  </a:lnTo>
                  <a:lnTo>
                    <a:pt x="544" y="554"/>
                  </a:lnTo>
                  <a:lnTo>
                    <a:pt x="541" y="555"/>
                  </a:lnTo>
                  <a:lnTo>
                    <a:pt x="539" y="555"/>
                  </a:lnTo>
                  <a:lnTo>
                    <a:pt x="537" y="556"/>
                  </a:lnTo>
                  <a:lnTo>
                    <a:pt x="532" y="557"/>
                  </a:lnTo>
                  <a:lnTo>
                    <a:pt x="530" y="558"/>
                  </a:lnTo>
                  <a:lnTo>
                    <a:pt x="527" y="559"/>
                  </a:lnTo>
                  <a:lnTo>
                    <a:pt x="525" y="559"/>
                  </a:lnTo>
                  <a:lnTo>
                    <a:pt x="523" y="560"/>
                  </a:lnTo>
                  <a:lnTo>
                    <a:pt x="521" y="561"/>
                  </a:lnTo>
                  <a:lnTo>
                    <a:pt x="516" y="564"/>
                  </a:lnTo>
                  <a:lnTo>
                    <a:pt x="515" y="564"/>
                  </a:lnTo>
                  <a:lnTo>
                    <a:pt x="514" y="565"/>
                  </a:lnTo>
                  <a:lnTo>
                    <a:pt x="512" y="565"/>
                  </a:lnTo>
                  <a:lnTo>
                    <a:pt x="511" y="566"/>
                  </a:lnTo>
                  <a:lnTo>
                    <a:pt x="510" y="566"/>
                  </a:lnTo>
                  <a:lnTo>
                    <a:pt x="509" y="566"/>
                  </a:lnTo>
                  <a:lnTo>
                    <a:pt x="508" y="565"/>
                  </a:lnTo>
                  <a:lnTo>
                    <a:pt x="507" y="565"/>
                  </a:lnTo>
                  <a:lnTo>
                    <a:pt x="507" y="565"/>
                  </a:lnTo>
                  <a:lnTo>
                    <a:pt x="506" y="565"/>
                  </a:lnTo>
                  <a:lnTo>
                    <a:pt x="504" y="564"/>
                  </a:lnTo>
                  <a:lnTo>
                    <a:pt x="504" y="564"/>
                  </a:lnTo>
                  <a:lnTo>
                    <a:pt x="503" y="563"/>
                  </a:lnTo>
                  <a:lnTo>
                    <a:pt x="502" y="564"/>
                  </a:lnTo>
                  <a:lnTo>
                    <a:pt x="501" y="564"/>
                  </a:lnTo>
                  <a:lnTo>
                    <a:pt x="500" y="564"/>
                  </a:lnTo>
                  <a:lnTo>
                    <a:pt x="498" y="565"/>
                  </a:lnTo>
                  <a:lnTo>
                    <a:pt x="497" y="565"/>
                  </a:lnTo>
                  <a:lnTo>
                    <a:pt x="497" y="566"/>
                  </a:lnTo>
                  <a:lnTo>
                    <a:pt x="496" y="566"/>
                  </a:lnTo>
                  <a:lnTo>
                    <a:pt x="495" y="567"/>
                  </a:lnTo>
                  <a:lnTo>
                    <a:pt x="495" y="568"/>
                  </a:lnTo>
                  <a:lnTo>
                    <a:pt x="494" y="569"/>
                  </a:lnTo>
                  <a:lnTo>
                    <a:pt x="494" y="570"/>
                  </a:lnTo>
                  <a:lnTo>
                    <a:pt x="493" y="570"/>
                  </a:lnTo>
                  <a:lnTo>
                    <a:pt x="492" y="573"/>
                  </a:lnTo>
                  <a:lnTo>
                    <a:pt x="492" y="574"/>
                  </a:lnTo>
                  <a:lnTo>
                    <a:pt x="490" y="577"/>
                  </a:lnTo>
                  <a:lnTo>
                    <a:pt x="489" y="581"/>
                  </a:lnTo>
                  <a:lnTo>
                    <a:pt x="488" y="583"/>
                  </a:lnTo>
                  <a:lnTo>
                    <a:pt x="487" y="584"/>
                  </a:lnTo>
                  <a:lnTo>
                    <a:pt x="486" y="585"/>
                  </a:lnTo>
                  <a:lnTo>
                    <a:pt x="478" y="595"/>
                  </a:lnTo>
                  <a:lnTo>
                    <a:pt x="477" y="596"/>
                  </a:lnTo>
                  <a:lnTo>
                    <a:pt x="477" y="597"/>
                  </a:lnTo>
                  <a:lnTo>
                    <a:pt x="476" y="599"/>
                  </a:lnTo>
                  <a:lnTo>
                    <a:pt x="476" y="600"/>
                  </a:lnTo>
                  <a:lnTo>
                    <a:pt x="475" y="602"/>
                  </a:lnTo>
                  <a:lnTo>
                    <a:pt x="475" y="603"/>
                  </a:lnTo>
                  <a:lnTo>
                    <a:pt x="475" y="604"/>
                  </a:lnTo>
                  <a:lnTo>
                    <a:pt x="475" y="606"/>
                  </a:lnTo>
                  <a:lnTo>
                    <a:pt x="474" y="607"/>
                  </a:lnTo>
                  <a:lnTo>
                    <a:pt x="475" y="609"/>
                  </a:lnTo>
                  <a:lnTo>
                    <a:pt x="475" y="610"/>
                  </a:lnTo>
                  <a:lnTo>
                    <a:pt x="475" y="612"/>
                  </a:lnTo>
                  <a:lnTo>
                    <a:pt x="475" y="614"/>
                  </a:lnTo>
                  <a:lnTo>
                    <a:pt x="476" y="615"/>
                  </a:lnTo>
                  <a:lnTo>
                    <a:pt x="476" y="617"/>
                  </a:lnTo>
                  <a:lnTo>
                    <a:pt x="477" y="618"/>
                  </a:lnTo>
                  <a:lnTo>
                    <a:pt x="477" y="619"/>
                  </a:lnTo>
                  <a:lnTo>
                    <a:pt x="478" y="620"/>
                  </a:lnTo>
                  <a:lnTo>
                    <a:pt x="479" y="621"/>
                  </a:lnTo>
                  <a:lnTo>
                    <a:pt x="480" y="621"/>
                  </a:lnTo>
                  <a:lnTo>
                    <a:pt x="485" y="624"/>
                  </a:lnTo>
                  <a:lnTo>
                    <a:pt x="487" y="625"/>
                  </a:lnTo>
                  <a:lnTo>
                    <a:pt x="491" y="626"/>
                  </a:lnTo>
                  <a:lnTo>
                    <a:pt x="492" y="626"/>
                  </a:lnTo>
                  <a:lnTo>
                    <a:pt x="494" y="627"/>
                  </a:lnTo>
                  <a:lnTo>
                    <a:pt x="495" y="628"/>
                  </a:lnTo>
                  <a:lnTo>
                    <a:pt x="496" y="628"/>
                  </a:lnTo>
                  <a:lnTo>
                    <a:pt x="496" y="629"/>
                  </a:lnTo>
                  <a:lnTo>
                    <a:pt x="497" y="630"/>
                  </a:lnTo>
                  <a:lnTo>
                    <a:pt x="498" y="630"/>
                  </a:lnTo>
                  <a:lnTo>
                    <a:pt x="499" y="633"/>
                  </a:lnTo>
                  <a:lnTo>
                    <a:pt x="501" y="635"/>
                  </a:lnTo>
                  <a:lnTo>
                    <a:pt x="501" y="636"/>
                  </a:lnTo>
                  <a:lnTo>
                    <a:pt x="502" y="638"/>
                  </a:lnTo>
                  <a:lnTo>
                    <a:pt x="502" y="639"/>
                  </a:lnTo>
                  <a:lnTo>
                    <a:pt x="503" y="640"/>
                  </a:lnTo>
                  <a:lnTo>
                    <a:pt x="503" y="642"/>
                  </a:lnTo>
                  <a:lnTo>
                    <a:pt x="503" y="643"/>
                  </a:lnTo>
                  <a:lnTo>
                    <a:pt x="503" y="645"/>
                  </a:lnTo>
                  <a:lnTo>
                    <a:pt x="503" y="646"/>
                  </a:lnTo>
                  <a:lnTo>
                    <a:pt x="502" y="647"/>
                  </a:lnTo>
                  <a:lnTo>
                    <a:pt x="502" y="648"/>
                  </a:lnTo>
                  <a:lnTo>
                    <a:pt x="502" y="650"/>
                  </a:lnTo>
                  <a:lnTo>
                    <a:pt x="501" y="651"/>
                  </a:lnTo>
                  <a:lnTo>
                    <a:pt x="500" y="651"/>
                  </a:lnTo>
                  <a:lnTo>
                    <a:pt x="500" y="652"/>
                  </a:lnTo>
                  <a:lnTo>
                    <a:pt x="499" y="653"/>
                  </a:lnTo>
                  <a:lnTo>
                    <a:pt x="498" y="654"/>
                  </a:lnTo>
                  <a:lnTo>
                    <a:pt x="496" y="656"/>
                  </a:lnTo>
                  <a:lnTo>
                    <a:pt x="494" y="657"/>
                  </a:lnTo>
                  <a:lnTo>
                    <a:pt x="493" y="657"/>
                  </a:lnTo>
                  <a:lnTo>
                    <a:pt x="492" y="658"/>
                  </a:lnTo>
                  <a:lnTo>
                    <a:pt x="490" y="658"/>
                  </a:lnTo>
                  <a:lnTo>
                    <a:pt x="489" y="658"/>
                  </a:lnTo>
                  <a:lnTo>
                    <a:pt x="488" y="658"/>
                  </a:lnTo>
                  <a:lnTo>
                    <a:pt x="485" y="658"/>
                  </a:lnTo>
                  <a:lnTo>
                    <a:pt x="484" y="658"/>
                  </a:lnTo>
                  <a:lnTo>
                    <a:pt x="481" y="658"/>
                  </a:lnTo>
                  <a:lnTo>
                    <a:pt x="479" y="657"/>
                  </a:lnTo>
                  <a:lnTo>
                    <a:pt x="478" y="657"/>
                  </a:lnTo>
                  <a:lnTo>
                    <a:pt x="478" y="658"/>
                  </a:lnTo>
                  <a:lnTo>
                    <a:pt x="477" y="658"/>
                  </a:lnTo>
                  <a:lnTo>
                    <a:pt x="476" y="658"/>
                  </a:lnTo>
                  <a:lnTo>
                    <a:pt x="475" y="659"/>
                  </a:lnTo>
                  <a:lnTo>
                    <a:pt x="473" y="660"/>
                  </a:lnTo>
                  <a:lnTo>
                    <a:pt x="473" y="661"/>
                  </a:lnTo>
                  <a:lnTo>
                    <a:pt x="472" y="661"/>
                  </a:lnTo>
                  <a:lnTo>
                    <a:pt x="472" y="662"/>
                  </a:lnTo>
                  <a:lnTo>
                    <a:pt x="471" y="662"/>
                  </a:lnTo>
                  <a:lnTo>
                    <a:pt x="470" y="665"/>
                  </a:lnTo>
                  <a:lnTo>
                    <a:pt x="470" y="667"/>
                  </a:lnTo>
                  <a:lnTo>
                    <a:pt x="469" y="668"/>
                  </a:lnTo>
                  <a:lnTo>
                    <a:pt x="468" y="670"/>
                  </a:lnTo>
                  <a:lnTo>
                    <a:pt x="467" y="670"/>
                  </a:lnTo>
                  <a:lnTo>
                    <a:pt x="467" y="671"/>
                  </a:lnTo>
                  <a:lnTo>
                    <a:pt x="466" y="671"/>
                  </a:lnTo>
                  <a:lnTo>
                    <a:pt x="466" y="671"/>
                  </a:lnTo>
                  <a:lnTo>
                    <a:pt x="465" y="671"/>
                  </a:lnTo>
                  <a:lnTo>
                    <a:pt x="465" y="671"/>
                  </a:lnTo>
                  <a:lnTo>
                    <a:pt x="464" y="671"/>
                  </a:lnTo>
                  <a:lnTo>
                    <a:pt x="463" y="670"/>
                  </a:lnTo>
                  <a:lnTo>
                    <a:pt x="461" y="668"/>
                  </a:lnTo>
                  <a:lnTo>
                    <a:pt x="459" y="668"/>
                  </a:lnTo>
                  <a:lnTo>
                    <a:pt x="459" y="667"/>
                  </a:lnTo>
                  <a:lnTo>
                    <a:pt x="457" y="667"/>
                  </a:lnTo>
                  <a:lnTo>
                    <a:pt x="454" y="666"/>
                  </a:lnTo>
                  <a:lnTo>
                    <a:pt x="453" y="666"/>
                  </a:lnTo>
                  <a:lnTo>
                    <a:pt x="451" y="665"/>
                  </a:lnTo>
                  <a:lnTo>
                    <a:pt x="447" y="664"/>
                  </a:lnTo>
                  <a:lnTo>
                    <a:pt x="447" y="663"/>
                  </a:lnTo>
                  <a:lnTo>
                    <a:pt x="446" y="663"/>
                  </a:lnTo>
                  <a:lnTo>
                    <a:pt x="446" y="663"/>
                  </a:lnTo>
                  <a:lnTo>
                    <a:pt x="445" y="663"/>
                  </a:lnTo>
                  <a:lnTo>
                    <a:pt x="443" y="664"/>
                  </a:lnTo>
                  <a:lnTo>
                    <a:pt x="441" y="665"/>
                  </a:lnTo>
                  <a:lnTo>
                    <a:pt x="436" y="667"/>
                  </a:lnTo>
                  <a:lnTo>
                    <a:pt x="433" y="668"/>
                  </a:lnTo>
                  <a:lnTo>
                    <a:pt x="432" y="668"/>
                  </a:lnTo>
                  <a:lnTo>
                    <a:pt x="430" y="669"/>
                  </a:lnTo>
                  <a:lnTo>
                    <a:pt x="428" y="669"/>
                  </a:lnTo>
                  <a:lnTo>
                    <a:pt x="426" y="669"/>
                  </a:lnTo>
                  <a:lnTo>
                    <a:pt x="424" y="669"/>
                  </a:lnTo>
                  <a:lnTo>
                    <a:pt x="422" y="669"/>
                  </a:lnTo>
                  <a:lnTo>
                    <a:pt x="421" y="669"/>
                  </a:lnTo>
                  <a:lnTo>
                    <a:pt x="415" y="668"/>
                  </a:lnTo>
                  <a:lnTo>
                    <a:pt x="413" y="668"/>
                  </a:lnTo>
                  <a:lnTo>
                    <a:pt x="409" y="668"/>
                  </a:lnTo>
                  <a:lnTo>
                    <a:pt x="408" y="667"/>
                  </a:lnTo>
                  <a:lnTo>
                    <a:pt x="406" y="667"/>
                  </a:lnTo>
                  <a:lnTo>
                    <a:pt x="404" y="667"/>
                  </a:lnTo>
                  <a:lnTo>
                    <a:pt x="399" y="665"/>
                  </a:lnTo>
                  <a:lnTo>
                    <a:pt x="398" y="665"/>
                  </a:lnTo>
                  <a:lnTo>
                    <a:pt x="396" y="665"/>
                  </a:lnTo>
                  <a:lnTo>
                    <a:pt x="395" y="665"/>
                  </a:lnTo>
                  <a:lnTo>
                    <a:pt x="394" y="665"/>
                  </a:lnTo>
                  <a:lnTo>
                    <a:pt x="393" y="666"/>
                  </a:lnTo>
                  <a:lnTo>
                    <a:pt x="392" y="666"/>
                  </a:lnTo>
                  <a:lnTo>
                    <a:pt x="392" y="666"/>
                  </a:lnTo>
                  <a:lnTo>
                    <a:pt x="391" y="667"/>
                  </a:lnTo>
                  <a:lnTo>
                    <a:pt x="390" y="667"/>
                  </a:lnTo>
                  <a:lnTo>
                    <a:pt x="390" y="668"/>
                  </a:lnTo>
                  <a:lnTo>
                    <a:pt x="389" y="669"/>
                  </a:lnTo>
                  <a:lnTo>
                    <a:pt x="389" y="669"/>
                  </a:lnTo>
                  <a:lnTo>
                    <a:pt x="389" y="670"/>
                  </a:lnTo>
                  <a:lnTo>
                    <a:pt x="389" y="671"/>
                  </a:lnTo>
                  <a:lnTo>
                    <a:pt x="389" y="672"/>
                  </a:lnTo>
                  <a:lnTo>
                    <a:pt x="390" y="675"/>
                  </a:lnTo>
                  <a:lnTo>
                    <a:pt x="390" y="676"/>
                  </a:lnTo>
                  <a:lnTo>
                    <a:pt x="390" y="677"/>
                  </a:lnTo>
                  <a:lnTo>
                    <a:pt x="390" y="677"/>
                  </a:lnTo>
                  <a:lnTo>
                    <a:pt x="390" y="678"/>
                  </a:lnTo>
                  <a:lnTo>
                    <a:pt x="390" y="678"/>
                  </a:lnTo>
                  <a:lnTo>
                    <a:pt x="389" y="679"/>
                  </a:lnTo>
                  <a:lnTo>
                    <a:pt x="389" y="679"/>
                  </a:lnTo>
                  <a:lnTo>
                    <a:pt x="388" y="680"/>
                  </a:lnTo>
                  <a:lnTo>
                    <a:pt x="387" y="680"/>
                  </a:lnTo>
                  <a:lnTo>
                    <a:pt x="386" y="681"/>
                  </a:lnTo>
                  <a:lnTo>
                    <a:pt x="384" y="681"/>
                  </a:lnTo>
                  <a:lnTo>
                    <a:pt x="378" y="683"/>
                  </a:lnTo>
                  <a:lnTo>
                    <a:pt x="376" y="683"/>
                  </a:lnTo>
                  <a:lnTo>
                    <a:pt x="376" y="684"/>
                  </a:lnTo>
                  <a:lnTo>
                    <a:pt x="375" y="684"/>
                  </a:lnTo>
                  <a:lnTo>
                    <a:pt x="375" y="684"/>
                  </a:lnTo>
                  <a:lnTo>
                    <a:pt x="374" y="685"/>
                  </a:lnTo>
                  <a:lnTo>
                    <a:pt x="374" y="686"/>
                  </a:lnTo>
                  <a:lnTo>
                    <a:pt x="373" y="687"/>
                  </a:lnTo>
                  <a:lnTo>
                    <a:pt x="373" y="688"/>
                  </a:lnTo>
                  <a:lnTo>
                    <a:pt x="373" y="689"/>
                  </a:lnTo>
                  <a:lnTo>
                    <a:pt x="372" y="690"/>
                  </a:lnTo>
                  <a:lnTo>
                    <a:pt x="372" y="694"/>
                  </a:lnTo>
                  <a:lnTo>
                    <a:pt x="371" y="696"/>
                  </a:lnTo>
                  <a:lnTo>
                    <a:pt x="371" y="697"/>
                  </a:lnTo>
                  <a:lnTo>
                    <a:pt x="369" y="700"/>
                  </a:lnTo>
                  <a:lnTo>
                    <a:pt x="369" y="701"/>
                  </a:lnTo>
                  <a:lnTo>
                    <a:pt x="368" y="701"/>
                  </a:lnTo>
                  <a:lnTo>
                    <a:pt x="367" y="702"/>
                  </a:lnTo>
                  <a:lnTo>
                    <a:pt x="367" y="702"/>
                  </a:lnTo>
                  <a:lnTo>
                    <a:pt x="366" y="702"/>
                  </a:lnTo>
                  <a:lnTo>
                    <a:pt x="365" y="702"/>
                  </a:lnTo>
                  <a:lnTo>
                    <a:pt x="364" y="702"/>
                  </a:lnTo>
                  <a:lnTo>
                    <a:pt x="363" y="702"/>
                  </a:lnTo>
                  <a:lnTo>
                    <a:pt x="362" y="702"/>
                  </a:lnTo>
                  <a:lnTo>
                    <a:pt x="361" y="702"/>
                  </a:lnTo>
                  <a:lnTo>
                    <a:pt x="360" y="702"/>
                  </a:lnTo>
                  <a:lnTo>
                    <a:pt x="359" y="701"/>
                  </a:lnTo>
                  <a:lnTo>
                    <a:pt x="358" y="701"/>
                  </a:lnTo>
                  <a:lnTo>
                    <a:pt x="357" y="700"/>
                  </a:lnTo>
                  <a:lnTo>
                    <a:pt x="355" y="699"/>
                  </a:lnTo>
                  <a:lnTo>
                    <a:pt x="355" y="698"/>
                  </a:lnTo>
                  <a:lnTo>
                    <a:pt x="354" y="697"/>
                  </a:lnTo>
                  <a:lnTo>
                    <a:pt x="353" y="696"/>
                  </a:lnTo>
                  <a:lnTo>
                    <a:pt x="352" y="694"/>
                  </a:lnTo>
                  <a:lnTo>
                    <a:pt x="350" y="690"/>
                  </a:lnTo>
                  <a:lnTo>
                    <a:pt x="348" y="686"/>
                  </a:lnTo>
                  <a:lnTo>
                    <a:pt x="347" y="684"/>
                  </a:lnTo>
                  <a:lnTo>
                    <a:pt x="346" y="682"/>
                  </a:lnTo>
                  <a:lnTo>
                    <a:pt x="345" y="680"/>
                  </a:lnTo>
                  <a:lnTo>
                    <a:pt x="344" y="678"/>
                  </a:lnTo>
                  <a:lnTo>
                    <a:pt x="344" y="677"/>
                  </a:lnTo>
                  <a:lnTo>
                    <a:pt x="343" y="677"/>
                  </a:lnTo>
                  <a:lnTo>
                    <a:pt x="343" y="677"/>
                  </a:lnTo>
                  <a:lnTo>
                    <a:pt x="342" y="676"/>
                  </a:lnTo>
                  <a:lnTo>
                    <a:pt x="342" y="676"/>
                  </a:lnTo>
                  <a:lnTo>
                    <a:pt x="341" y="676"/>
                  </a:lnTo>
                  <a:lnTo>
                    <a:pt x="341" y="676"/>
                  </a:lnTo>
                  <a:lnTo>
                    <a:pt x="339" y="677"/>
                  </a:lnTo>
                  <a:lnTo>
                    <a:pt x="338" y="677"/>
                  </a:lnTo>
                  <a:lnTo>
                    <a:pt x="337" y="678"/>
                  </a:lnTo>
                  <a:lnTo>
                    <a:pt x="335" y="679"/>
                  </a:lnTo>
                  <a:lnTo>
                    <a:pt x="334" y="679"/>
                  </a:lnTo>
                  <a:lnTo>
                    <a:pt x="333" y="680"/>
                  </a:lnTo>
                  <a:lnTo>
                    <a:pt x="333" y="680"/>
                  </a:lnTo>
                  <a:lnTo>
                    <a:pt x="332" y="679"/>
                  </a:lnTo>
                  <a:lnTo>
                    <a:pt x="332" y="679"/>
                  </a:lnTo>
                  <a:lnTo>
                    <a:pt x="330" y="679"/>
                  </a:lnTo>
                  <a:lnTo>
                    <a:pt x="329" y="678"/>
                  </a:lnTo>
                  <a:lnTo>
                    <a:pt x="328" y="677"/>
                  </a:lnTo>
                  <a:lnTo>
                    <a:pt x="326" y="676"/>
                  </a:lnTo>
                  <a:lnTo>
                    <a:pt x="324" y="674"/>
                  </a:lnTo>
                  <a:lnTo>
                    <a:pt x="319" y="670"/>
                  </a:lnTo>
                  <a:lnTo>
                    <a:pt x="318" y="669"/>
                  </a:lnTo>
                  <a:lnTo>
                    <a:pt x="317" y="668"/>
                  </a:lnTo>
                  <a:lnTo>
                    <a:pt x="316" y="667"/>
                  </a:lnTo>
                  <a:lnTo>
                    <a:pt x="314" y="667"/>
                  </a:lnTo>
                  <a:lnTo>
                    <a:pt x="309" y="664"/>
                  </a:lnTo>
                  <a:lnTo>
                    <a:pt x="306" y="663"/>
                  </a:lnTo>
                  <a:lnTo>
                    <a:pt x="305" y="662"/>
                  </a:lnTo>
                  <a:lnTo>
                    <a:pt x="302" y="660"/>
                  </a:lnTo>
                  <a:lnTo>
                    <a:pt x="301" y="659"/>
                  </a:lnTo>
                  <a:lnTo>
                    <a:pt x="300" y="659"/>
                  </a:lnTo>
                  <a:lnTo>
                    <a:pt x="299" y="659"/>
                  </a:lnTo>
                  <a:lnTo>
                    <a:pt x="298" y="659"/>
                  </a:lnTo>
                  <a:lnTo>
                    <a:pt x="298" y="659"/>
                  </a:lnTo>
                  <a:lnTo>
                    <a:pt x="297" y="659"/>
                  </a:lnTo>
                  <a:lnTo>
                    <a:pt x="296" y="659"/>
                  </a:lnTo>
                  <a:lnTo>
                    <a:pt x="294" y="661"/>
                  </a:lnTo>
                  <a:lnTo>
                    <a:pt x="291" y="663"/>
                  </a:lnTo>
                  <a:lnTo>
                    <a:pt x="290" y="664"/>
                  </a:lnTo>
                  <a:lnTo>
                    <a:pt x="290" y="665"/>
                  </a:lnTo>
                  <a:lnTo>
                    <a:pt x="289" y="666"/>
                  </a:lnTo>
                  <a:lnTo>
                    <a:pt x="288" y="667"/>
                  </a:lnTo>
                  <a:lnTo>
                    <a:pt x="287" y="668"/>
                  </a:lnTo>
                  <a:lnTo>
                    <a:pt x="287" y="669"/>
                  </a:lnTo>
                  <a:lnTo>
                    <a:pt x="285" y="670"/>
                  </a:lnTo>
                  <a:lnTo>
                    <a:pt x="284" y="671"/>
                  </a:lnTo>
                  <a:lnTo>
                    <a:pt x="284" y="672"/>
                  </a:lnTo>
                  <a:lnTo>
                    <a:pt x="283" y="673"/>
                  </a:lnTo>
                  <a:lnTo>
                    <a:pt x="283" y="673"/>
                  </a:lnTo>
                  <a:lnTo>
                    <a:pt x="283" y="674"/>
                  </a:lnTo>
                  <a:lnTo>
                    <a:pt x="283" y="676"/>
                  </a:lnTo>
                  <a:lnTo>
                    <a:pt x="283" y="678"/>
                  </a:lnTo>
                  <a:lnTo>
                    <a:pt x="282" y="679"/>
                  </a:lnTo>
                  <a:lnTo>
                    <a:pt x="281" y="683"/>
                  </a:lnTo>
                  <a:lnTo>
                    <a:pt x="281" y="684"/>
                  </a:lnTo>
                  <a:lnTo>
                    <a:pt x="281" y="686"/>
                  </a:lnTo>
                  <a:lnTo>
                    <a:pt x="281" y="687"/>
                  </a:lnTo>
                  <a:lnTo>
                    <a:pt x="281" y="688"/>
                  </a:lnTo>
                  <a:lnTo>
                    <a:pt x="282" y="690"/>
                  </a:lnTo>
                  <a:lnTo>
                    <a:pt x="283" y="693"/>
                  </a:lnTo>
                  <a:lnTo>
                    <a:pt x="283" y="696"/>
                  </a:lnTo>
                  <a:lnTo>
                    <a:pt x="284" y="697"/>
                  </a:lnTo>
                  <a:lnTo>
                    <a:pt x="284" y="698"/>
                  </a:lnTo>
                  <a:lnTo>
                    <a:pt x="284" y="699"/>
                  </a:lnTo>
                  <a:lnTo>
                    <a:pt x="283" y="700"/>
                  </a:lnTo>
                  <a:lnTo>
                    <a:pt x="283" y="701"/>
                  </a:lnTo>
                  <a:lnTo>
                    <a:pt x="282" y="701"/>
                  </a:lnTo>
                  <a:lnTo>
                    <a:pt x="282" y="702"/>
                  </a:lnTo>
                  <a:lnTo>
                    <a:pt x="280" y="702"/>
                  </a:lnTo>
                  <a:lnTo>
                    <a:pt x="279" y="703"/>
                  </a:lnTo>
                  <a:lnTo>
                    <a:pt x="277" y="704"/>
                  </a:lnTo>
                  <a:lnTo>
                    <a:pt x="276" y="704"/>
                  </a:lnTo>
                  <a:lnTo>
                    <a:pt x="271" y="706"/>
                  </a:lnTo>
                  <a:lnTo>
                    <a:pt x="269" y="706"/>
                  </a:lnTo>
                  <a:lnTo>
                    <a:pt x="268" y="707"/>
                  </a:lnTo>
                  <a:lnTo>
                    <a:pt x="267" y="707"/>
                  </a:lnTo>
                  <a:lnTo>
                    <a:pt x="264" y="709"/>
                  </a:lnTo>
                  <a:lnTo>
                    <a:pt x="262" y="711"/>
                  </a:lnTo>
                  <a:lnTo>
                    <a:pt x="258" y="715"/>
                  </a:lnTo>
                  <a:lnTo>
                    <a:pt x="256" y="717"/>
                  </a:lnTo>
                  <a:lnTo>
                    <a:pt x="254" y="718"/>
                  </a:lnTo>
                  <a:lnTo>
                    <a:pt x="252" y="720"/>
                  </a:lnTo>
                  <a:lnTo>
                    <a:pt x="251" y="721"/>
                  </a:lnTo>
                  <a:lnTo>
                    <a:pt x="250" y="724"/>
                  </a:lnTo>
                  <a:lnTo>
                    <a:pt x="249" y="725"/>
                  </a:lnTo>
                  <a:lnTo>
                    <a:pt x="249" y="726"/>
                  </a:lnTo>
                  <a:lnTo>
                    <a:pt x="248" y="726"/>
                  </a:lnTo>
                  <a:lnTo>
                    <a:pt x="247" y="726"/>
                  </a:lnTo>
                  <a:lnTo>
                    <a:pt x="247" y="726"/>
                  </a:lnTo>
                  <a:lnTo>
                    <a:pt x="246" y="726"/>
                  </a:lnTo>
                  <a:lnTo>
                    <a:pt x="246" y="726"/>
                  </a:lnTo>
                  <a:lnTo>
                    <a:pt x="245" y="726"/>
                  </a:lnTo>
                  <a:lnTo>
                    <a:pt x="245" y="726"/>
                  </a:lnTo>
                  <a:lnTo>
                    <a:pt x="244" y="725"/>
                  </a:lnTo>
                  <a:lnTo>
                    <a:pt x="241" y="724"/>
                  </a:lnTo>
                  <a:lnTo>
                    <a:pt x="240" y="723"/>
                  </a:lnTo>
                  <a:lnTo>
                    <a:pt x="239" y="722"/>
                  </a:lnTo>
                  <a:lnTo>
                    <a:pt x="237" y="721"/>
                  </a:lnTo>
                  <a:lnTo>
                    <a:pt x="234" y="721"/>
                  </a:lnTo>
                  <a:lnTo>
                    <a:pt x="232" y="720"/>
                  </a:lnTo>
                  <a:lnTo>
                    <a:pt x="230" y="720"/>
                  </a:lnTo>
                  <a:lnTo>
                    <a:pt x="227" y="719"/>
                  </a:lnTo>
                  <a:lnTo>
                    <a:pt x="225" y="719"/>
                  </a:lnTo>
                  <a:lnTo>
                    <a:pt x="224" y="719"/>
                  </a:lnTo>
                  <a:lnTo>
                    <a:pt x="223" y="719"/>
                  </a:lnTo>
                  <a:lnTo>
                    <a:pt x="223" y="718"/>
                  </a:lnTo>
                  <a:lnTo>
                    <a:pt x="222" y="718"/>
                  </a:lnTo>
                  <a:lnTo>
                    <a:pt x="221" y="717"/>
                  </a:lnTo>
                  <a:lnTo>
                    <a:pt x="221" y="717"/>
                  </a:lnTo>
                  <a:lnTo>
                    <a:pt x="221" y="716"/>
                  </a:lnTo>
                  <a:lnTo>
                    <a:pt x="220" y="716"/>
                  </a:lnTo>
                  <a:lnTo>
                    <a:pt x="220" y="715"/>
                  </a:lnTo>
                  <a:lnTo>
                    <a:pt x="221" y="714"/>
                  </a:lnTo>
                  <a:lnTo>
                    <a:pt x="221" y="711"/>
                  </a:lnTo>
                  <a:lnTo>
                    <a:pt x="221" y="710"/>
                  </a:lnTo>
                  <a:lnTo>
                    <a:pt x="221" y="709"/>
                  </a:lnTo>
                  <a:lnTo>
                    <a:pt x="221" y="708"/>
                  </a:lnTo>
                  <a:lnTo>
                    <a:pt x="221" y="708"/>
                  </a:lnTo>
                  <a:lnTo>
                    <a:pt x="221" y="708"/>
                  </a:lnTo>
                  <a:lnTo>
                    <a:pt x="220" y="708"/>
                  </a:lnTo>
                  <a:lnTo>
                    <a:pt x="220" y="708"/>
                  </a:lnTo>
                  <a:lnTo>
                    <a:pt x="217" y="709"/>
                  </a:lnTo>
                  <a:lnTo>
                    <a:pt x="215" y="709"/>
                  </a:lnTo>
                  <a:lnTo>
                    <a:pt x="213" y="710"/>
                  </a:lnTo>
                  <a:lnTo>
                    <a:pt x="210" y="710"/>
                  </a:lnTo>
                  <a:lnTo>
                    <a:pt x="209" y="710"/>
                  </a:lnTo>
                  <a:lnTo>
                    <a:pt x="208" y="711"/>
                  </a:lnTo>
                  <a:lnTo>
                    <a:pt x="205" y="710"/>
                  </a:lnTo>
                  <a:lnTo>
                    <a:pt x="203" y="710"/>
                  </a:lnTo>
                  <a:lnTo>
                    <a:pt x="198" y="710"/>
                  </a:lnTo>
                  <a:lnTo>
                    <a:pt x="195" y="709"/>
                  </a:lnTo>
                  <a:lnTo>
                    <a:pt x="194" y="709"/>
                  </a:lnTo>
                  <a:lnTo>
                    <a:pt x="192" y="708"/>
                  </a:lnTo>
                  <a:lnTo>
                    <a:pt x="191" y="708"/>
                  </a:lnTo>
                  <a:lnTo>
                    <a:pt x="188" y="706"/>
                  </a:lnTo>
                  <a:lnTo>
                    <a:pt x="187" y="706"/>
                  </a:lnTo>
                  <a:lnTo>
                    <a:pt x="186" y="706"/>
                  </a:lnTo>
                  <a:lnTo>
                    <a:pt x="185" y="706"/>
                  </a:lnTo>
                  <a:lnTo>
                    <a:pt x="184" y="705"/>
                  </a:lnTo>
                  <a:lnTo>
                    <a:pt x="181" y="705"/>
                  </a:lnTo>
                  <a:lnTo>
                    <a:pt x="180" y="705"/>
                  </a:lnTo>
                  <a:lnTo>
                    <a:pt x="178" y="705"/>
                  </a:lnTo>
                  <a:lnTo>
                    <a:pt x="177" y="705"/>
                  </a:lnTo>
                  <a:lnTo>
                    <a:pt x="177" y="706"/>
                  </a:lnTo>
                  <a:lnTo>
                    <a:pt x="175" y="706"/>
                  </a:lnTo>
                  <a:lnTo>
                    <a:pt x="173" y="707"/>
                  </a:lnTo>
                  <a:lnTo>
                    <a:pt x="171" y="709"/>
                  </a:lnTo>
                  <a:lnTo>
                    <a:pt x="171" y="709"/>
                  </a:lnTo>
                  <a:lnTo>
                    <a:pt x="170" y="709"/>
                  </a:lnTo>
                  <a:lnTo>
                    <a:pt x="170" y="709"/>
                  </a:lnTo>
                  <a:lnTo>
                    <a:pt x="169" y="709"/>
                  </a:lnTo>
                  <a:lnTo>
                    <a:pt x="168" y="709"/>
                  </a:lnTo>
                  <a:lnTo>
                    <a:pt x="166" y="708"/>
                  </a:lnTo>
                  <a:lnTo>
                    <a:pt x="165" y="707"/>
                  </a:lnTo>
                  <a:lnTo>
                    <a:pt x="160" y="704"/>
                  </a:lnTo>
                  <a:lnTo>
                    <a:pt x="159" y="703"/>
                  </a:lnTo>
                  <a:lnTo>
                    <a:pt x="158" y="703"/>
                  </a:lnTo>
                  <a:lnTo>
                    <a:pt x="155" y="702"/>
                  </a:lnTo>
                  <a:lnTo>
                    <a:pt x="154" y="701"/>
                  </a:lnTo>
                  <a:lnTo>
                    <a:pt x="153" y="700"/>
                  </a:lnTo>
                  <a:lnTo>
                    <a:pt x="149" y="698"/>
                  </a:lnTo>
                  <a:lnTo>
                    <a:pt x="148" y="698"/>
                  </a:lnTo>
                  <a:lnTo>
                    <a:pt x="147" y="697"/>
                  </a:lnTo>
                  <a:lnTo>
                    <a:pt x="147" y="698"/>
                  </a:lnTo>
                  <a:lnTo>
                    <a:pt x="146" y="698"/>
                  </a:lnTo>
                  <a:lnTo>
                    <a:pt x="146" y="698"/>
                  </a:lnTo>
                  <a:lnTo>
                    <a:pt x="145" y="699"/>
                  </a:lnTo>
                  <a:lnTo>
                    <a:pt x="145" y="699"/>
                  </a:lnTo>
                  <a:lnTo>
                    <a:pt x="145" y="699"/>
                  </a:lnTo>
                  <a:lnTo>
                    <a:pt x="145" y="700"/>
                  </a:lnTo>
                  <a:lnTo>
                    <a:pt x="145" y="703"/>
                  </a:lnTo>
                  <a:lnTo>
                    <a:pt x="145" y="705"/>
                  </a:lnTo>
                  <a:lnTo>
                    <a:pt x="145" y="705"/>
                  </a:lnTo>
                  <a:lnTo>
                    <a:pt x="145" y="706"/>
                  </a:lnTo>
                  <a:lnTo>
                    <a:pt x="145" y="706"/>
                  </a:lnTo>
                  <a:lnTo>
                    <a:pt x="144" y="706"/>
                  </a:lnTo>
                  <a:lnTo>
                    <a:pt x="144" y="706"/>
                  </a:lnTo>
                  <a:lnTo>
                    <a:pt x="143" y="706"/>
                  </a:lnTo>
                  <a:lnTo>
                    <a:pt x="141" y="706"/>
                  </a:lnTo>
                  <a:lnTo>
                    <a:pt x="139" y="706"/>
                  </a:lnTo>
                  <a:lnTo>
                    <a:pt x="138" y="706"/>
                  </a:lnTo>
                  <a:lnTo>
                    <a:pt x="137" y="707"/>
                  </a:lnTo>
                  <a:lnTo>
                    <a:pt x="135" y="707"/>
                  </a:lnTo>
                  <a:lnTo>
                    <a:pt x="134" y="708"/>
                  </a:lnTo>
                  <a:lnTo>
                    <a:pt x="133" y="709"/>
                  </a:lnTo>
                  <a:lnTo>
                    <a:pt x="129" y="712"/>
                  </a:lnTo>
                  <a:lnTo>
                    <a:pt x="128" y="712"/>
                  </a:lnTo>
                  <a:lnTo>
                    <a:pt x="127" y="713"/>
                  </a:lnTo>
                  <a:lnTo>
                    <a:pt x="127" y="713"/>
                  </a:lnTo>
                  <a:lnTo>
                    <a:pt x="124" y="714"/>
                  </a:lnTo>
                  <a:lnTo>
                    <a:pt x="123" y="714"/>
                  </a:lnTo>
                  <a:lnTo>
                    <a:pt x="122" y="714"/>
                  </a:lnTo>
                  <a:lnTo>
                    <a:pt x="120" y="713"/>
                  </a:lnTo>
                  <a:lnTo>
                    <a:pt x="118" y="713"/>
                  </a:lnTo>
                  <a:lnTo>
                    <a:pt x="115" y="713"/>
                  </a:lnTo>
                  <a:lnTo>
                    <a:pt x="114" y="712"/>
                  </a:lnTo>
                  <a:lnTo>
                    <a:pt x="114" y="712"/>
                  </a:lnTo>
                  <a:lnTo>
                    <a:pt x="114" y="712"/>
                  </a:lnTo>
                  <a:lnTo>
                    <a:pt x="113" y="712"/>
                  </a:lnTo>
                  <a:lnTo>
                    <a:pt x="113" y="711"/>
                  </a:lnTo>
                  <a:lnTo>
                    <a:pt x="112" y="708"/>
                  </a:lnTo>
                  <a:lnTo>
                    <a:pt x="111" y="708"/>
                  </a:lnTo>
                  <a:lnTo>
                    <a:pt x="111" y="707"/>
                  </a:lnTo>
                  <a:lnTo>
                    <a:pt x="110" y="706"/>
                  </a:lnTo>
                  <a:lnTo>
                    <a:pt x="109" y="705"/>
                  </a:lnTo>
                  <a:lnTo>
                    <a:pt x="108" y="704"/>
                  </a:lnTo>
                  <a:lnTo>
                    <a:pt x="108" y="704"/>
                  </a:lnTo>
                  <a:lnTo>
                    <a:pt x="107" y="703"/>
                  </a:lnTo>
                  <a:lnTo>
                    <a:pt x="105" y="702"/>
                  </a:lnTo>
                  <a:lnTo>
                    <a:pt x="103" y="701"/>
                  </a:lnTo>
                  <a:lnTo>
                    <a:pt x="100" y="700"/>
                  </a:lnTo>
                  <a:lnTo>
                    <a:pt x="100" y="700"/>
                  </a:lnTo>
                  <a:lnTo>
                    <a:pt x="99" y="699"/>
                  </a:lnTo>
                  <a:lnTo>
                    <a:pt x="98" y="699"/>
                  </a:lnTo>
                  <a:lnTo>
                    <a:pt x="97" y="698"/>
                  </a:lnTo>
                  <a:lnTo>
                    <a:pt x="97" y="697"/>
                  </a:lnTo>
                  <a:lnTo>
                    <a:pt x="95" y="695"/>
                  </a:lnTo>
                  <a:lnTo>
                    <a:pt x="94" y="694"/>
                  </a:lnTo>
                  <a:lnTo>
                    <a:pt x="93" y="693"/>
                  </a:lnTo>
                  <a:lnTo>
                    <a:pt x="92" y="692"/>
                  </a:lnTo>
                  <a:lnTo>
                    <a:pt x="90" y="691"/>
                  </a:lnTo>
                  <a:lnTo>
                    <a:pt x="88" y="690"/>
                  </a:lnTo>
                  <a:lnTo>
                    <a:pt x="86" y="690"/>
                  </a:lnTo>
                  <a:lnTo>
                    <a:pt x="85" y="689"/>
                  </a:lnTo>
                  <a:lnTo>
                    <a:pt x="84" y="689"/>
                  </a:lnTo>
                  <a:lnTo>
                    <a:pt x="83" y="689"/>
                  </a:lnTo>
                  <a:lnTo>
                    <a:pt x="81" y="689"/>
                  </a:lnTo>
                  <a:lnTo>
                    <a:pt x="80" y="690"/>
                  </a:lnTo>
                  <a:lnTo>
                    <a:pt x="78" y="690"/>
                  </a:lnTo>
                  <a:lnTo>
                    <a:pt x="73" y="691"/>
                  </a:lnTo>
                  <a:lnTo>
                    <a:pt x="72" y="692"/>
                  </a:lnTo>
                  <a:lnTo>
                    <a:pt x="71" y="692"/>
                  </a:lnTo>
                  <a:lnTo>
                    <a:pt x="70" y="693"/>
                  </a:lnTo>
                  <a:lnTo>
                    <a:pt x="69" y="694"/>
                  </a:lnTo>
                  <a:lnTo>
                    <a:pt x="68" y="695"/>
                  </a:lnTo>
                  <a:lnTo>
                    <a:pt x="67" y="698"/>
                  </a:lnTo>
                  <a:lnTo>
                    <a:pt x="66" y="700"/>
                  </a:lnTo>
                  <a:lnTo>
                    <a:pt x="65" y="702"/>
                  </a:lnTo>
                  <a:lnTo>
                    <a:pt x="63" y="704"/>
                  </a:lnTo>
                  <a:lnTo>
                    <a:pt x="62" y="706"/>
                  </a:lnTo>
                  <a:lnTo>
                    <a:pt x="62" y="707"/>
                  </a:lnTo>
                  <a:lnTo>
                    <a:pt x="61" y="707"/>
                  </a:lnTo>
                  <a:lnTo>
                    <a:pt x="60" y="708"/>
                  </a:lnTo>
                  <a:lnTo>
                    <a:pt x="59" y="708"/>
                  </a:lnTo>
                  <a:lnTo>
                    <a:pt x="59" y="708"/>
                  </a:lnTo>
                  <a:lnTo>
                    <a:pt x="58" y="708"/>
                  </a:lnTo>
                  <a:lnTo>
                    <a:pt x="56" y="708"/>
                  </a:lnTo>
                  <a:lnTo>
                    <a:pt x="54" y="708"/>
                  </a:lnTo>
                  <a:lnTo>
                    <a:pt x="52" y="709"/>
                  </a:lnTo>
                  <a:lnTo>
                    <a:pt x="47" y="709"/>
                  </a:lnTo>
                  <a:lnTo>
                    <a:pt x="36" y="710"/>
                  </a:lnTo>
                  <a:lnTo>
                    <a:pt x="34" y="710"/>
                  </a:lnTo>
                  <a:lnTo>
                    <a:pt x="30" y="710"/>
                  </a:lnTo>
                  <a:lnTo>
                    <a:pt x="28" y="710"/>
                  </a:lnTo>
                  <a:lnTo>
                    <a:pt x="26" y="710"/>
                  </a:lnTo>
                  <a:lnTo>
                    <a:pt x="23" y="711"/>
                  </a:lnTo>
                  <a:lnTo>
                    <a:pt x="22" y="711"/>
                  </a:lnTo>
                  <a:lnTo>
                    <a:pt x="20" y="711"/>
                  </a:lnTo>
                  <a:lnTo>
                    <a:pt x="17" y="710"/>
                  </a:lnTo>
                  <a:lnTo>
                    <a:pt x="16" y="710"/>
                  </a:lnTo>
                  <a:lnTo>
                    <a:pt x="15" y="710"/>
                  </a:lnTo>
                  <a:lnTo>
                    <a:pt x="13" y="711"/>
                  </a:lnTo>
                  <a:lnTo>
                    <a:pt x="12" y="711"/>
                  </a:lnTo>
                  <a:lnTo>
                    <a:pt x="10" y="711"/>
                  </a:lnTo>
                  <a:lnTo>
                    <a:pt x="9" y="711"/>
                  </a:lnTo>
                  <a:lnTo>
                    <a:pt x="7" y="711"/>
                  </a:lnTo>
                  <a:lnTo>
                    <a:pt x="6" y="711"/>
                  </a:lnTo>
                  <a:lnTo>
                    <a:pt x="5" y="710"/>
                  </a:lnTo>
                  <a:lnTo>
                    <a:pt x="4" y="710"/>
                  </a:lnTo>
                  <a:lnTo>
                    <a:pt x="3" y="709"/>
                  </a:lnTo>
                  <a:lnTo>
                    <a:pt x="3" y="708"/>
                  </a:lnTo>
                  <a:lnTo>
                    <a:pt x="2" y="708"/>
                  </a:lnTo>
                  <a:lnTo>
                    <a:pt x="1" y="707"/>
                  </a:lnTo>
                  <a:lnTo>
                    <a:pt x="1" y="706"/>
                  </a:lnTo>
                  <a:lnTo>
                    <a:pt x="1" y="705"/>
                  </a:lnTo>
                  <a:lnTo>
                    <a:pt x="1" y="703"/>
                  </a:lnTo>
                  <a:lnTo>
                    <a:pt x="0" y="702"/>
                  </a:lnTo>
                  <a:lnTo>
                    <a:pt x="0" y="70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0" name="Freeform 227">
              <a:extLst>
                <a:ext uri="{FF2B5EF4-FFF2-40B4-BE49-F238E27FC236}">
                  <a16:creationId xmlns:a16="http://schemas.microsoft.com/office/drawing/2014/main" id="{D84F17F4-60A1-479D-BACB-F198BAD45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29925" y="2122277"/>
              <a:ext cx="651170" cy="740846"/>
            </a:xfrm>
            <a:custGeom>
              <a:avLst/>
              <a:gdLst>
                <a:gd name="T0" fmla="*/ 255 w 639"/>
                <a:gd name="T1" fmla="*/ 699 h 727"/>
                <a:gd name="T2" fmla="*/ 242 w 639"/>
                <a:gd name="T3" fmla="*/ 716 h 727"/>
                <a:gd name="T4" fmla="*/ 217 w 639"/>
                <a:gd name="T5" fmla="*/ 726 h 727"/>
                <a:gd name="T6" fmla="*/ 198 w 639"/>
                <a:gd name="T7" fmla="*/ 720 h 727"/>
                <a:gd name="T8" fmla="*/ 178 w 639"/>
                <a:gd name="T9" fmla="*/ 720 h 727"/>
                <a:gd name="T10" fmla="*/ 151 w 639"/>
                <a:gd name="T11" fmla="*/ 721 h 727"/>
                <a:gd name="T12" fmla="*/ 146 w 639"/>
                <a:gd name="T13" fmla="*/ 702 h 727"/>
                <a:gd name="T14" fmla="*/ 138 w 639"/>
                <a:gd name="T15" fmla="*/ 677 h 727"/>
                <a:gd name="T16" fmla="*/ 137 w 639"/>
                <a:gd name="T17" fmla="*/ 648 h 727"/>
                <a:gd name="T18" fmla="*/ 123 w 639"/>
                <a:gd name="T19" fmla="*/ 643 h 727"/>
                <a:gd name="T20" fmla="*/ 120 w 639"/>
                <a:gd name="T21" fmla="*/ 634 h 727"/>
                <a:gd name="T22" fmla="*/ 119 w 639"/>
                <a:gd name="T23" fmla="*/ 622 h 727"/>
                <a:gd name="T24" fmla="*/ 128 w 639"/>
                <a:gd name="T25" fmla="*/ 611 h 727"/>
                <a:gd name="T26" fmla="*/ 112 w 639"/>
                <a:gd name="T27" fmla="*/ 608 h 727"/>
                <a:gd name="T28" fmla="*/ 124 w 639"/>
                <a:gd name="T29" fmla="*/ 584 h 727"/>
                <a:gd name="T30" fmla="*/ 146 w 639"/>
                <a:gd name="T31" fmla="*/ 582 h 727"/>
                <a:gd name="T32" fmla="*/ 166 w 639"/>
                <a:gd name="T33" fmla="*/ 566 h 727"/>
                <a:gd name="T34" fmla="*/ 161 w 639"/>
                <a:gd name="T35" fmla="*/ 553 h 727"/>
                <a:gd name="T36" fmla="*/ 166 w 639"/>
                <a:gd name="T37" fmla="*/ 524 h 727"/>
                <a:gd name="T38" fmla="*/ 173 w 639"/>
                <a:gd name="T39" fmla="*/ 490 h 727"/>
                <a:gd name="T40" fmla="*/ 176 w 639"/>
                <a:gd name="T41" fmla="*/ 451 h 727"/>
                <a:gd name="T42" fmla="*/ 145 w 639"/>
                <a:gd name="T43" fmla="*/ 437 h 727"/>
                <a:gd name="T44" fmla="*/ 129 w 639"/>
                <a:gd name="T45" fmla="*/ 423 h 727"/>
                <a:gd name="T46" fmla="*/ 102 w 639"/>
                <a:gd name="T47" fmla="*/ 401 h 727"/>
                <a:gd name="T48" fmla="*/ 72 w 639"/>
                <a:gd name="T49" fmla="*/ 402 h 727"/>
                <a:gd name="T50" fmla="*/ 46 w 639"/>
                <a:gd name="T51" fmla="*/ 384 h 727"/>
                <a:gd name="T52" fmla="*/ 48 w 639"/>
                <a:gd name="T53" fmla="*/ 375 h 727"/>
                <a:gd name="T54" fmla="*/ 20 w 639"/>
                <a:gd name="T55" fmla="*/ 374 h 727"/>
                <a:gd name="T56" fmla="*/ 0 w 639"/>
                <a:gd name="T57" fmla="*/ 373 h 727"/>
                <a:gd name="T58" fmla="*/ 9 w 639"/>
                <a:gd name="T59" fmla="*/ 352 h 727"/>
                <a:gd name="T60" fmla="*/ 8 w 639"/>
                <a:gd name="T61" fmla="*/ 333 h 727"/>
                <a:gd name="T62" fmla="*/ 27 w 639"/>
                <a:gd name="T63" fmla="*/ 324 h 727"/>
                <a:gd name="T64" fmla="*/ 37 w 639"/>
                <a:gd name="T65" fmla="*/ 309 h 727"/>
                <a:gd name="T66" fmla="*/ 48 w 639"/>
                <a:gd name="T67" fmla="*/ 286 h 727"/>
                <a:gd name="T68" fmla="*/ 79 w 639"/>
                <a:gd name="T69" fmla="*/ 275 h 727"/>
                <a:gd name="T70" fmla="*/ 111 w 639"/>
                <a:gd name="T71" fmla="*/ 251 h 727"/>
                <a:gd name="T72" fmla="*/ 129 w 639"/>
                <a:gd name="T73" fmla="*/ 254 h 727"/>
                <a:gd name="T74" fmla="*/ 158 w 639"/>
                <a:gd name="T75" fmla="*/ 246 h 727"/>
                <a:gd name="T76" fmla="*/ 182 w 639"/>
                <a:gd name="T77" fmla="*/ 235 h 727"/>
                <a:gd name="T78" fmla="*/ 200 w 639"/>
                <a:gd name="T79" fmla="*/ 233 h 727"/>
                <a:gd name="T80" fmla="*/ 227 w 639"/>
                <a:gd name="T81" fmla="*/ 218 h 727"/>
                <a:gd name="T82" fmla="*/ 243 w 639"/>
                <a:gd name="T83" fmla="*/ 204 h 727"/>
                <a:gd name="T84" fmla="*/ 249 w 639"/>
                <a:gd name="T85" fmla="*/ 187 h 727"/>
                <a:gd name="T86" fmla="*/ 271 w 639"/>
                <a:gd name="T87" fmla="*/ 178 h 727"/>
                <a:gd name="T88" fmla="*/ 329 w 639"/>
                <a:gd name="T89" fmla="*/ 183 h 727"/>
                <a:gd name="T90" fmla="*/ 360 w 639"/>
                <a:gd name="T91" fmla="*/ 184 h 727"/>
                <a:gd name="T92" fmla="*/ 395 w 639"/>
                <a:gd name="T93" fmla="*/ 172 h 727"/>
                <a:gd name="T94" fmla="*/ 411 w 639"/>
                <a:gd name="T95" fmla="*/ 160 h 727"/>
                <a:gd name="T96" fmla="*/ 410 w 639"/>
                <a:gd name="T97" fmla="*/ 130 h 727"/>
                <a:gd name="T98" fmla="*/ 424 w 639"/>
                <a:gd name="T99" fmla="*/ 126 h 727"/>
                <a:gd name="T100" fmla="*/ 436 w 639"/>
                <a:gd name="T101" fmla="*/ 112 h 727"/>
                <a:gd name="T102" fmla="*/ 453 w 639"/>
                <a:gd name="T103" fmla="*/ 100 h 727"/>
                <a:gd name="T104" fmla="*/ 455 w 639"/>
                <a:gd name="T105" fmla="*/ 75 h 727"/>
                <a:gd name="T106" fmla="*/ 464 w 639"/>
                <a:gd name="T107" fmla="*/ 77 h 727"/>
                <a:gd name="T108" fmla="*/ 485 w 639"/>
                <a:gd name="T109" fmla="*/ 76 h 727"/>
                <a:gd name="T110" fmla="*/ 499 w 639"/>
                <a:gd name="T111" fmla="*/ 82 h 727"/>
                <a:gd name="T112" fmla="*/ 510 w 639"/>
                <a:gd name="T113" fmla="*/ 93 h 727"/>
                <a:gd name="T114" fmla="*/ 544 w 639"/>
                <a:gd name="T115" fmla="*/ 86 h 727"/>
                <a:gd name="T116" fmla="*/ 569 w 639"/>
                <a:gd name="T117" fmla="*/ 62 h 727"/>
                <a:gd name="T118" fmla="*/ 582 w 639"/>
                <a:gd name="T119" fmla="*/ 44 h 727"/>
                <a:gd name="T120" fmla="*/ 609 w 639"/>
                <a:gd name="T121" fmla="*/ 44 h 727"/>
                <a:gd name="T122" fmla="*/ 620 w 639"/>
                <a:gd name="T123" fmla="*/ 28 h 727"/>
                <a:gd name="T124" fmla="*/ 638 w 639"/>
                <a:gd name="T125" fmla="*/ 3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9" h="727">
                  <a:moveTo>
                    <a:pt x="276" y="700"/>
                  </a:moveTo>
                  <a:lnTo>
                    <a:pt x="276" y="694"/>
                  </a:lnTo>
                  <a:lnTo>
                    <a:pt x="276" y="692"/>
                  </a:lnTo>
                  <a:lnTo>
                    <a:pt x="276" y="692"/>
                  </a:lnTo>
                  <a:lnTo>
                    <a:pt x="276" y="691"/>
                  </a:lnTo>
                  <a:lnTo>
                    <a:pt x="275" y="690"/>
                  </a:lnTo>
                  <a:lnTo>
                    <a:pt x="275" y="690"/>
                  </a:lnTo>
                  <a:lnTo>
                    <a:pt x="275" y="690"/>
                  </a:lnTo>
                  <a:lnTo>
                    <a:pt x="272" y="691"/>
                  </a:lnTo>
                  <a:lnTo>
                    <a:pt x="270" y="692"/>
                  </a:lnTo>
                  <a:lnTo>
                    <a:pt x="268" y="692"/>
                  </a:lnTo>
                  <a:lnTo>
                    <a:pt x="266" y="693"/>
                  </a:lnTo>
                  <a:lnTo>
                    <a:pt x="263" y="695"/>
                  </a:lnTo>
                  <a:lnTo>
                    <a:pt x="258" y="697"/>
                  </a:lnTo>
                  <a:lnTo>
                    <a:pt x="256" y="698"/>
                  </a:lnTo>
                  <a:lnTo>
                    <a:pt x="255" y="699"/>
                  </a:lnTo>
                  <a:lnTo>
                    <a:pt x="255" y="699"/>
                  </a:lnTo>
                  <a:lnTo>
                    <a:pt x="254" y="700"/>
                  </a:lnTo>
                  <a:lnTo>
                    <a:pt x="254" y="701"/>
                  </a:lnTo>
                  <a:lnTo>
                    <a:pt x="253" y="702"/>
                  </a:lnTo>
                  <a:lnTo>
                    <a:pt x="252" y="705"/>
                  </a:lnTo>
                  <a:lnTo>
                    <a:pt x="251" y="708"/>
                  </a:lnTo>
                  <a:lnTo>
                    <a:pt x="250" y="709"/>
                  </a:lnTo>
                  <a:lnTo>
                    <a:pt x="250" y="710"/>
                  </a:lnTo>
                  <a:lnTo>
                    <a:pt x="249" y="712"/>
                  </a:lnTo>
                  <a:lnTo>
                    <a:pt x="248" y="714"/>
                  </a:lnTo>
                  <a:lnTo>
                    <a:pt x="247" y="714"/>
                  </a:lnTo>
                  <a:lnTo>
                    <a:pt x="246" y="715"/>
                  </a:lnTo>
                  <a:lnTo>
                    <a:pt x="246" y="715"/>
                  </a:lnTo>
                  <a:lnTo>
                    <a:pt x="246" y="715"/>
                  </a:lnTo>
                  <a:lnTo>
                    <a:pt x="243" y="716"/>
                  </a:lnTo>
                  <a:lnTo>
                    <a:pt x="242" y="716"/>
                  </a:lnTo>
                  <a:lnTo>
                    <a:pt x="241" y="717"/>
                  </a:lnTo>
                  <a:lnTo>
                    <a:pt x="239" y="718"/>
                  </a:lnTo>
                  <a:lnTo>
                    <a:pt x="237" y="719"/>
                  </a:lnTo>
                  <a:lnTo>
                    <a:pt x="236" y="720"/>
                  </a:lnTo>
                  <a:lnTo>
                    <a:pt x="235" y="720"/>
                  </a:lnTo>
                  <a:lnTo>
                    <a:pt x="234" y="721"/>
                  </a:lnTo>
                  <a:lnTo>
                    <a:pt x="233" y="721"/>
                  </a:lnTo>
                  <a:lnTo>
                    <a:pt x="228" y="721"/>
                  </a:lnTo>
                  <a:lnTo>
                    <a:pt x="227" y="722"/>
                  </a:lnTo>
                  <a:lnTo>
                    <a:pt x="225" y="722"/>
                  </a:lnTo>
                  <a:lnTo>
                    <a:pt x="224" y="723"/>
                  </a:lnTo>
                  <a:lnTo>
                    <a:pt x="223" y="723"/>
                  </a:lnTo>
                  <a:lnTo>
                    <a:pt x="221" y="725"/>
                  </a:lnTo>
                  <a:lnTo>
                    <a:pt x="220" y="725"/>
                  </a:lnTo>
                  <a:lnTo>
                    <a:pt x="219" y="726"/>
                  </a:lnTo>
                  <a:lnTo>
                    <a:pt x="217" y="726"/>
                  </a:lnTo>
                  <a:lnTo>
                    <a:pt x="216" y="727"/>
                  </a:lnTo>
                  <a:lnTo>
                    <a:pt x="215" y="727"/>
                  </a:lnTo>
                  <a:lnTo>
                    <a:pt x="213" y="727"/>
                  </a:lnTo>
                  <a:lnTo>
                    <a:pt x="212" y="727"/>
                  </a:lnTo>
                  <a:lnTo>
                    <a:pt x="211" y="726"/>
                  </a:lnTo>
                  <a:lnTo>
                    <a:pt x="209" y="726"/>
                  </a:lnTo>
                  <a:lnTo>
                    <a:pt x="208" y="725"/>
                  </a:lnTo>
                  <a:lnTo>
                    <a:pt x="206" y="724"/>
                  </a:lnTo>
                  <a:lnTo>
                    <a:pt x="205" y="724"/>
                  </a:lnTo>
                  <a:lnTo>
                    <a:pt x="204" y="724"/>
                  </a:lnTo>
                  <a:lnTo>
                    <a:pt x="204" y="723"/>
                  </a:lnTo>
                  <a:lnTo>
                    <a:pt x="203" y="722"/>
                  </a:lnTo>
                  <a:lnTo>
                    <a:pt x="202" y="722"/>
                  </a:lnTo>
                  <a:lnTo>
                    <a:pt x="201" y="721"/>
                  </a:lnTo>
                  <a:lnTo>
                    <a:pt x="199" y="720"/>
                  </a:lnTo>
                  <a:lnTo>
                    <a:pt x="198" y="720"/>
                  </a:lnTo>
                  <a:lnTo>
                    <a:pt x="195" y="717"/>
                  </a:lnTo>
                  <a:lnTo>
                    <a:pt x="194" y="717"/>
                  </a:lnTo>
                  <a:lnTo>
                    <a:pt x="193" y="716"/>
                  </a:lnTo>
                  <a:lnTo>
                    <a:pt x="193" y="716"/>
                  </a:lnTo>
                  <a:lnTo>
                    <a:pt x="192" y="716"/>
                  </a:lnTo>
                  <a:lnTo>
                    <a:pt x="191" y="716"/>
                  </a:lnTo>
                  <a:lnTo>
                    <a:pt x="189" y="716"/>
                  </a:lnTo>
                  <a:lnTo>
                    <a:pt x="188" y="717"/>
                  </a:lnTo>
                  <a:lnTo>
                    <a:pt x="185" y="719"/>
                  </a:lnTo>
                  <a:lnTo>
                    <a:pt x="183" y="719"/>
                  </a:lnTo>
                  <a:lnTo>
                    <a:pt x="182" y="719"/>
                  </a:lnTo>
                  <a:lnTo>
                    <a:pt x="181" y="720"/>
                  </a:lnTo>
                  <a:lnTo>
                    <a:pt x="181" y="720"/>
                  </a:lnTo>
                  <a:lnTo>
                    <a:pt x="180" y="720"/>
                  </a:lnTo>
                  <a:lnTo>
                    <a:pt x="179" y="720"/>
                  </a:lnTo>
                  <a:lnTo>
                    <a:pt x="178" y="720"/>
                  </a:lnTo>
                  <a:lnTo>
                    <a:pt x="178" y="719"/>
                  </a:lnTo>
                  <a:lnTo>
                    <a:pt x="177" y="719"/>
                  </a:lnTo>
                  <a:lnTo>
                    <a:pt x="174" y="716"/>
                  </a:lnTo>
                  <a:lnTo>
                    <a:pt x="173" y="715"/>
                  </a:lnTo>
                  <a:lnTo>
                    <a:pt x="172" y="715"/>
                  </a:lnTo>
                  <a:lnTo>
                    <a:pt x="172" y="715"/>
                  </a:lnTo>
                  <a:lnTo>
                    <a:pt x="171" y="715"/>
                  </a:lnTo>
                  <a:lnTo>
                    <a:pt x="170" y="715"/>
                  </a:lnTo>
                  <a:lnTo>
                    <a:pt x="170" y="715"/>
                  </a:lnTo>
                  <a:lnTo>
                    <a:pt x="169" y="715"/>
                  </a:lnTo>
                  <a:lnTo>
                    <a:pt x="166" y="716"/>
                  </a:lnTo>
                  <a:lnTo>
                    <a:pt x="164" y="717"/>
                  </a:lnTo>
                  <a:lnTo>
                    <a:pt x="158" y="719"/>
                  </a:lnTo>
                  <a:lnTo>
                    <a:pt x="154" y="720"/>
                  </a:lnTo>
                  <a:lnTo>
                    <a:pt x="153" y="720"/>
                  </a:lnTo>
                  <a:lnTo>
                    <a:pt x="151" y="721"/>
                  </a:lnTo>
                  <a:lnTo>
                    <a:pt x="149" y="721"/>
                  </a:lnTo>
                  <a:lnTo>
                    <a:pt x="149" y="720"/>
                  </a:lnTo>
                  <a:lnTo>
                    <a:pt x="148" y="720"/>
                  </a:lnTo>
                  <a:lnTo>
                    <a:pt x="148" y="720"/>
                  </a:lnTo>
                  <a:lnTo>
                    <a:pt x="147" y="720"/>
                  </a:lnTo>
                  <a:lnTo>
                    <a:pt x="148" y="720"/>
                  </a:lnTo>
                  <a:lnTo>
                    <a:pt x="148" y="718"/>
                  </a:lnTo>
                  <a:lnTo>
                    <a:pt x="148" y="716"/>
                  </a:lnTo>
                  <a:lnTo>
                    <a:pt x="148" y="714"/>
                  </a:lnTo>
                  <a:lnTo>
                    <a:pt x="148" y="712"/>
                  </a:lnTo>
                  <a:lnTo>
                    <a:pt x="148" y="710"/>
                  </a:lnTo>
                  <a:lnTo>
                    <a:pt x="148" y="709"/>
                  </a:lnTo>
                  <a:lnTo>
                    <a:pt x="147" y="707"/>
                  </a:lnTo>
                  <a:lnTo>
                    <a:pt x="147" y="705"/>
                  </a:lnTo>
                  <a:lnTo>
                    <a:pt x="146" y="703"/>
                  </a:lnTo>
                  <a:lnTo>
                    <a:pt x="146" y="702"/>
                  </a:lnTo>
                  <a:lnTo>
                    <a:pt x="145" y="701"/>
                  </a:lnTo>
                  <a:lnTo>
                    <a:pt x="144" y="700"/>
                  </a:lnTo>
                  <a:lnTo>
                    <a:pt x="143" y="699"/>
                  </a:lnTo>
                  <a:lnTo>
                    <a:pt x="142" y="698"/>
                  </a:lnTo>
                  <a:lnTo>
                    <a:pt x="141" y="698"/>
                  </a:lnTo>
                  <a:lnTo>
                    <a:pt x="139" y="697"/>
                  </a:lnTo>
                  <a:lnTo>
                    <a:pt x="139" y="696"/>
                  </a:lnTo>
                  <a:lnTo>
                    <a:pt x="138" y="696"/>
                  </a:lnTo>
                  <a:lnTo>
                    <a:pt x="138" y="695"/>
                  </a:lnTo>
                  <a:lnTo>
                    <a:pt x="138" y="695"/>
                  </a:lnTo>
                  <a:lnTo>
                    <a:pt x="138" y="694"/>
                  </a:lnTo>
                  <a:lnTo>
                    <a:pt x="138" y="693"/>
                  </a:lnTo>
                  <a:lnTo>
                    <a:pt x="138" y="687"/>
                  </a:lnTo>
                  <a:lnTo>
                    <a:pt x="138" y="686"/>
                  </a:lnTo>
                  <a:lnTo>
                    <a:pt x="138" y="682"/>
                  </a:lnTo>
                  <a:lnTo>
                    <a:pt x="138" y="677"/>
                  </a:lnTo>
                  <a:lnTo>
                    <a:pt x="139" y="675"/>
                  </a:lnTo>
                  <a:lnTo>
                    <a:pt x="139" y="673"/>
                  </a:lnTo>
                  <a:lnTo>
                    <a:pt x="140" y="667"/>
                  </a:lnTo>
                  <a:lnTo>
                    <a:pt x="141" y="665"/>
                  </a:lnTo>
                  <a:lnTo>
                    <a:pt x="141" y="664"/>
                  </a:lnTo>
                  <a:lnTo>
                    <a:pt x="141" y="661"/>
                  </a:lnTo>
                  <a:lnTo>
                    <a:pt x="141" y="659"/>
                  </a:lnTo>
                  <a:lnTo>
                    <a:pt x="141" y="656"/>
                  </a:lnTo>
                  <a:lnTo>
                    <a:pt x="141" y="654"/>
                  </a:lnTo>
                  <a:lnTo>
                    <a:pt x="141" y="652"/>
                  </a:lnTo>
                  <a:lnTo>
                    <a:pt x="140" y="652"/>
                  </a:lnTo>
                  <a:lnTo>
                    <a:pt x="140" y="651"/>
                  </a:lnTo>
                  <a:lnTo>
                    <a:pt x="139" y="650"/>
                  </a:lnTo>
                  <a:lnTo>
                    <a:pt x="139" y="650"/>
                  </a:lnTo>
                  <a:lnTo>
                    <a:pt x="138" y="649"/>
                  </a:lnTo>
                  <a:lnTo>
                    <a:pt x="137" y="648"/>
                  </a:lnTo>
                  <a:lnTo>
                    <a:pt x="135" y="648"/>
                  </a:lnTo>
                  <a:lnTo>
                    <a:pt x="134" y="647"/>
                  </a:lnTo>
                  <a:lnTo>
                    <a:pt x="132" y="647"/>
                  </a:lnTo>
                  <a:lnTo>
                    <a:pt x="131" y="646"/>
                  </a:lnTo>
                  <a:lnTo>
                    <a:pt x="129" y="646"/>
                  </a:lnTo>
                  <a:lnTo>
                    <a:pt x="126" y="646"/>
                  </a:lnTo>
                  <a:lnTo>
                    <a:pt x="125" y="646"/>
                  </a:lnTo>
                  <a:lnTo>
                    <a:pt x="124" y="646"/>
                  </a:lnTo>
                  <a:lnTo>
                    <a:pt x="124" y="646"/>
                  </a:lnTo>
                  <a:lnTo>
                    <a:pt x="123" y="646"/>
                  </a:lnTo>
                  <a:lnTo>
                    <a:pt x="123" y="645"/>
                  </a:lnTo>
                  <a:lnTo>
                    <a:pt x="122" y="645"/>
                  </a:lnTo>
                  <a:lnTo>
                    <a:pt x="122" y="645"/>
                  </a:lnTo>
                  <a:lnTo>
                    <a:pt x="122" y="644"/>
                  </a:lnTo>
                  <a:lnTo>
                    <a:pt x="122" y="644"/>
                  </a:lnTo>
                  <a:lnTo>
                    <a:pt x="123" y="643"/>
                  </a:lnTo>
                  <a:lnTo>
                    <a:pt x="123" y="642"/>
                  </a:lnTo>
                  <a:lnTo>
                    <a:pt x="123" y="641"/>
                  </a:lnTo>
                  <a:lnTo>
                    <a:pt x="122" y="640"/>
                  </a:lnTo>
                  <a:lnTo>
                    <a:pt x="122" y="640"/>
                  </a:lnTo>
                  <a:lnTo>
                    <a:pt x="121" y="639"/>
                  </a:lnTo>
                  <a:lnTo>
                    <a:pt x="120" y="638"/>
                  </a:lnTo>
                  <a:lnTo>
                    <a:pt x="118" y="637"/>
                  </a:lnTo>
                  <a:lnTo>
                    <a:pt x="117" y="636"/>
                  </a:lnTo>
                  <a:lnTo>
                    <a:pt x="116" y="636"/>
                  </a:lnTo>
                  <a:lnTo>
                    <a:pt x="116" y="635"/>
                  </a:lnTo>
                  <a:lnTo>
                    <a:pt x="116" y="635"/>
                  </a:lnTo>
                  <a:lnTo>
                    <a:pt x="116" y="635"/>
                  </a:lnTo>
                  <a:lnTo>
                    <a:pt x="116" y="635"/>
                  </a:lnTo>
                  <a:lnTo>
                    <a:pt x="117" y="635"/>
                  </a:lnTo>
                  <a:lnTo>
                    <a:pt x="118" y="634"/>
                  </a:lnTo>
                  <a:lnTo>
                    <a:pt x="120" y="634"/>
                  </a:lnTo>
                  <a:lnTo>
                    <a:pt x="121" y="634"/>
                  </a:lnTo>
                  <a:lnTo>
                    <a:pt x="122" y="634"/>
                  </a:lnTo>
                  <a:lnTo>
                    <a:pt x="123" y="633"/>
                  </a:lnTo>
                  <a:lnTo>
                    <a:pt x="124" y="633"/>
                  </a:lnTo>
                  <a:lnTo>
                    <a:pt x="124" y="632"/>
                  </a:lnTo>
                  <a:lnTo>
                    <a:pt x="124" y="632"/>
                  </a:lnTo>
                  <a:lnTo>
                    <a:pt x="125" y="631"/>
                  </a:lnTo>
                  <a:lnTo>
                    <a:pt x="125" y="631"/>
                  </a:lnTo>
                  <a:lnTo>
                    <a:pt x="124" y="630"/>
                  </a:lnTo>
                  <a:lnTo>
                    <a:pt x="124" y="629"/>
                  </a:lnTo>
                  <a:lnTo>
                    <a:pt x="123" y="628"/>
                  </a:lnTo>
                  <a:lnTo>
                    <a:pt x="123" y="627"/>
                  </a:lnTo>
                  <a:lnTo>
                    <a:pt x="122" y="626"/>
                  </a:lnTo>
                  <a:lnTo>
                    <a:pt x="120" y="624"/>
                  </a:lnTo>
                  <a:lnTo>
                    <a:pt x="120" y="623"/>
                  </a:lnTo>
                  <a:lnTo>
                    <a:pt x="119" y="622"/>
                  </a:lnTo>
                  <a:lnTo>
                    <a:pt x="119" y="622"/>
                  </a:lnTo>
                  <a:lnTo>
                    <a:pt x="119" y="621"/>
                  </a:lnTo>
                  <a:lnTo>
                    <a:pt x="119" y="620"/>
                  </a:lnTo>
                  <a:lnTo>
                    <a:pt x="119" y="619"/>
                  </a:lnTo>
                  <a:lnTo>
                    <a:pt x="119" y="619"/>
                  </a:lnTo>
                  <a:lnTo>
                    <a:pt x="119" y="618"/>
                  </a:lnTo>
                  <a:lnTo>
                    <a:pt x="119" y="618"/>
                  </a:lnTo>
                  <a:lnTo>
                    <a:pt x="120" y="618"/>
                  </a:lnTo>
                  <a:lnTo>
                    <a:pt x="125" y="615"/>
                  </a:lnTo>
                  <a:lnTo>
                    <a:pt x="127" y="614"/>
                  </a:lnTo>
                  <a:lnTo>
                    <a:pt x="127" y="614"/>
                  </a:lnTo>
                  <a:lnTo>
                    <a:pt x="128" y="613"/>
                  </a:lnTo>
                  <a:lnTo>
                    <a:pt x="128" y="613"/>
                  </a:lnTo>
                  <a:lnTo>
                    <a:pt x="129" y="612"/>
                  </a:lnTo>
                  <a:lnTo>
                    <a:pt x="128" y="612"/>
                  </a:lnTo>
                  <a:lnTo>
                    <a:pt x="128" y="611"/>
                  </a:lnTo>
                  <a:lnTo>
                    <a:pt x="128" y="611"/>
                  </a:lnTo>
                  <a:lnTo>
                    <a:pt x="127" y="610"/>
                  </a:lnTo>
                  <a:lnTo>
                    <a:pt x="127" y="610"/>
                  </a:lnTo>
                  <a:lnTo>
                    <a:pt x="126" y="609"/>
                  </a:lnTo>
                  <a:lnTo>
                    <a:pt x="125" y="609"/>
                  </a:lnTo>
                  <a:lnTo>
                    <a:pt x="123" y="609"/>
                  </a:lnTo>
                  <a:lnTo>
                    <a:pt x="122" y="609"/>
                  </a:lnTo>
                  <a:lnTo>
                    <a:pt x="120" y="609"/>
                  </a:lnTo>
                  <a:lnTo>
                    <a:pt x="118" y="609"/>
                  </a:lnTo>
                  <a:lnTo>
                    <a:pt x="116" y="609"/>
                  </a:lnTo>
                  <a:lnTo>
                    <a:pt x="115" y="609"/>
                  </a:lnTo>
                  <a:lnTo>
                    <a:pt x="114" y="609"/>
                  </a:lnTo>
                  <a:lnTo>
                    <a:pt x="113" y="609"/>
                  </a:lnTo>
                  <a:lnTo>
                    <a:pt x="113" y="609"/>
                  </a:lnTo>
                  <a:lnTo>
                    <a:pt x="112" y="608"/>
                  </a:lnTo>
                  <a:lnTo>
                    <a:pt x="112" y="608"/>
                  </a:lnTo>
                  <a:lnTo>
                    <a:pt x="111" y="607"/>
                  </a:lnTo>
                  <a:lnTo>
                    <a:pt x="111" y="606"/>
                  </a:lnTo>
                  <a:lnTo>
                    <a:pt x="111" y="605"/>
                  </a:lnTo>
                  <a:lnTo>
                    <a:pt x="111" y="604"/>
                  </a:lnTo>
                  <a:lnTo>
                    <a:pt x="111" y="603"/>
                  </a:lnTo>
                  <a:lnTo>
                    <a:pt x="111" y="601"/>
                  </a:lnTo>
                  <a:lnTo>
                    <a:pt x="112" y="600"/>
                  </a:lnTo>
                  <a:lnTo>
                    <a:pt x="112" y="599"/>
                  </a:lnTo>
                  <a:lnTo>
                    <a:pt x="113" y="598"/>
                  </a:lnTo>
                  <a:lnTo>
                    <a:pt x="114" y="596"/>
                  </a:lnTo>
                  <a:lnTo>
                    <a:pt x="118" y="591"/>
                  </a:lnTo>
                  <a:lnTo>
                    <a:pt x="119" y="589"/>
                  </a:lnTo>
                  <a:lnTo>
                    <a:pt x="120" y="588"/>
                  </a:lnTo>
                  <a:lnTo>
                    <a:pt x="122" y="587"/>
                  </a:lnTo>
                  <a:lnTo>
                    <a:pt x="123" y="586"/>
                  </a:lnTo>
                  <a:lnTo>
                    <a:pt x="124" y="584"/>
                  </a:lnTo>
                  <a:lnTo>
                    <a:pt x="125" y="584"/>
                  </a:lnTo>
                  <a:lnTo>
                    <a:pt x="127" y="582"/>
                  </a:lnTo>
                  <a:lnTo>
                    <a:pt x="128" y="581"/>
                  </a:lnTo>
                  <a:lnTo>
                    <a:pt x="130" y="581"/>
                  </a:lnTo>
                  <a:lnTo>
                    <a:pt x="132" y="580"/>
                  </a:lnTo>
                  <a:lnTo>
                    <a:pt x="133" y="579"/>
                  </a:lnTo>
                  <a:lnTo>
                    <a:pt x="134" y="579"/>
                  </a:lnTo>
                  <a:lnTo>
                    <a:pt x="135" y="578"/>
                  </a:lnTo>
                  <a:lnTo>
                    <a:pt x="137" y="578"/>
                  </a:lnTo>
                  <a:lnTo>
                    <a:pt x="138" y="578"/>
                  </a:lnTo>
                  <a:lnTo>
                    <a:pt x="139" y="578"/>
                  </a:lnTo>
                  <a:lnTo>
                    <a:pt x="139" y="579"/>
                  </a:lnTo>
                  <a:lnTo>
                    <a:pt x="140" y="579"/>
                  </a:lnTo>
                  <a:lnTo>
                    <a:pt x="144" y="581"/>
                  </a:lnTo>
                  <a:lnTo>
                    <a:pt x="145" y="582"/>
                  </a:lnTo>
                  <a:lnTo>
                    <a:pt x="146" y="582"/>
                  </a:lnTo>
                  <a:lnTo>
                    <a:pt x="147" y="582"/>
                  </a:lnTo>
                  <a:lnTo>
                    <a:pt x="147" y="582"/>
                  </a:lnTo>
                  <a:lnTo>
                    <a:pt x="148" y="582"/>
                  </a:lnTo>
                  <a:lnTo>
                    <a:pt x="149" y="582"/>
                  </a:lnTo>
                  <a:lnTo>
                    <a:pt x="150" y="582"/>
                  </a:lnTo>
                  <a:lnTo>
                    <a:pt x="150" y="581"/>
                  </a:lnTo>
                  <a:lnTo>
                    <a:pt x="151" y="581"/>
                  </a:lnTo>
                  <a:lnTo>
                    <a:pt x="152" y="580"/>
                  </a:lnTo>
                  <a:lnTo>
                    <a:pt x="153" y="579"/>
                  </a:lnTo>
                  <a:lnTo>
                    <a:pt x="155" y="575"/>
                  </a:lnTo>
                  <a:lnTo>
                    <a:pt x="156" y="574"/>
                  </a:lnTo>
                  <a:lnTo>
                    <a:pt x="158" y="573"/>
                  </a:lnTo>
                  <a:lnTo>
                    <a:pt x="159" y="571"/>
                  </a:lnTo>
                  <a:lnTo>
                    <a:pt x="163" y="568"/>
                  </a:lnTo>
                  <a:lnTo>
                    <a:pt x="165" y="566"/>
                  </a:lnTo>
                  <a:lnTo>
                    <a:pt x="166" y="566"/>
                  </a:lnTo>
                  <a:lnTo>
                    <a:pt x="166" y="565"/>
                  </a:lnTo>
                  <a:lnTo>
                    <a:pt x="167" y="564"/>
                  </a:lnTo>
                  <a:lnTo>
                    <a:pt x="167" y="563"/>
                  </a:lnTo>
                  <a:lnTo>
                    <a:pt x="167" y="563"/>
                  </a:lnTo>
                  <a:lnTo>
                    <a:pt x="167" y="562"/>
                  </a:lnTo>
                  <a:lnTo>
                    <a:pt x="167" y="561"/>
                  </a:lnTo>
                  <a:lnTo>
                    <a:pt x="167" y="560"/>
                  </a:lnTo>
                  <a:lnTo>
                    <a:pt x="166" y="559"/>
                  </a:lnTo>
                  <a:lnTo>
                    <a:pt x="165" y="558"/>
                  </a:lnTo>
                  <a:lnTo>
                    <a:pt x="164" y="558"/>
                  </a:lnTo>
                  <a:lnTo>
                    <a:pt x="162" y="557"/>
                  </a:lnTo>
                  <a:lnTo>
                    <a:pt x="162" y="556"/>
                  </a:lnTo>
                  <a:lnTo>
                    <a:pt x="161" y="556"/>
                  </a:lnTo>
                  <a:lnTo>
                    <a:pt x="161" y="555"/>
                  </a:lnTo>
                  <a:lnTo>
                    <a:pt x="161" y="554"/>
                  </a:lnTo>
                  <a:lnTo>
                    <a:pt x="161" y="553"/>
                  </a:lnTo>
                  <a:lnTo>
                    <a:pt x="162" y="551"/>
                  </a:lnTo>
                  <a:lnTo>
                    <a:pt x="162" y="549"/>
                  </a:lnTo>
                  <a:lnTo>
                    <a:pt x="162" y="548"/>
                  </a:lnTo>
                  <a:lnTo>
                    <a:pt x="163" y="546"/>
                  </a:lnTo>
                  <a:lnTo>
                    <a:pt x="163" y="545"/>
                  </a:lnTo>
                  <a:lnTo>
                    <a:pt x="163" y="543"/>
                  </a:lnTo>
                  <a:lnTo>
                    <a:pt x="163" y="539"/>
                  </a:lnTo>
                  <a:lnTo>
                    <a:pt x="163" y="537"/>
                  </a:lnTo>
                  <a:lnTo>
                    <a:pt x="163" y="536"/>
                  </a:lnTo>
                  <a:lnTo>
                    <a:pt x="163" y="535"/>
                  </a:lnTo>
                  <a:lnTo>
                    <a:pt x="163" y="534"/>
                  </a:lnTo>
                  <a:lnTo>
                    <a:pt x="164" y="533"/>
                  </a:lnTo>
                  <a:lnTo>
                    <a:pt x="165" y="529"/>
                  </a:lnTo>
                  <a:lnTo>
                    <a:pt x="166" y="527"/>
                  </a:lnTo>
                  <a:lnTo>
                    <a:pt x="166" y="525"/>
                  </a:lnTo>
                  <a:lnTo>
                    <a:pt x="166" y="524"/>
                  </a:lnTo>
                  <a:lnTo>
                    <a:pt x="167" y="522"/>
                  </a:lnTo>
                  <a:lnTo>
                    <a:pt x="167" y="521"/>
                  </a:lnTo>
                  <a:lnTo>
                    <a:pt x="167" y="519"/>
                  </a:lnTo>
                  <a:lnTo>
                    <a:pt x="166" y="516"/>
                  </a:lnTo>
                  <a:lnTo>
                    <a:pt x="166" y="513"/>
                  </a:lnTo>
                  <a:lnTo>
                    <a:pt x="166" y="512"/>
                  </a:lnTo>
                  <a:lnTo>
                    <a:pt x="167" y="506"/>
                  </a:lnTo>
                  <a:lnTo>
                    <a:pt x="167" y="504"/>
                  </a:lnTo>
                  <a:lnTo>
                    <a:pt x="168" y="502"/>
                  </a:lnTo>
                  <a:lnTo>
                    <a:pt x="169" y="498"/>
                  </a:lnTo>
                  <a:lnTo>
                    <a:pt x="170" y="495"/>
                  </a:lnTo>
                  <a:lnTo>
                    <a:pt x="171" y="493"/>
                  </a:lnTo>
                  <a:lnTo>
                    <a:pt x="171" y="492"/>
                  </a:lnTo>
                  <a:lnTo>
                    <a:pt x="172" y="491"/>
                  </a:lnTo>
                  <a:lnTo>
                    <a:pt x="173" y="490"/>
                  </a:lnTo>
                  <a:lnTo>
                    <a:pt x="173" y="490"/>
                  </a:lnTo>
                  <a:lnTo>
                    <a:pt x="176" y="488"/>
                  </a:lnTo>
                  <a:lnTo>
                    <a:pt x="177" y="487"/>
                  </a:lnTo>
                  <a:lnTo>
                    <a:pt x="177" y="486"/>
                  </a:lnTo>
                  <a:lnTo>
                    <a:pt x="177" y="485"/>
                  </a:lnTo>
                  <a:lnTo>
                    <a:pt x="178" y="484"/>
                  </a:lnTo>
                  <a:lnTo>
                    <a:pt x="178" y="483"/>
                  </a:lnTo>
                  <a:lnTo>
                    <a:pt x="178" y="482"/>
                  </a:lnTo>
                  <a:lnTo>
                    <a:pt x="178" y="480"/>
                  </a:lnTo>
                  <a:lnTo>
                    <a:pt x="178" y="475"/>
                  </a:lnTo>
                  <a:lnTo>
                    <a:pt x="177" y="473"/>
                  </a:lnTo>
                  <a:lnTo>
                    <a:pt x="177" y="467"/>
                  </a:lnTo>
                  <a:lnTo>
                    <a:pt x="176" y="462"/>
                  </a:lnTo>
                  <a:lnTo>
                    <a:pt x="176" y="460"/>
                  </a:lnTo>
                  <a:lnTo>
                    <a:pt x="176" y="453"/>
                  </a:lnTo>
                  <a:lnTo>
                    <a:pt x="176" y="452"/>
                  </a:lnTo>
                  <a:lnTo>
                    <a:pt x="176" y="451"/>
                  </a:lnTo>
                  <a:lnTo>
                    <a:pt x="175" y="451"/>
                  </a:lnTo>
                  <a:lnTo>
                    <a:pt x="175" y="450"/>
                  </a:lnTo>
                  <a:lnTo>
                    <a:pt x="174" y="450"/>
                  </a:lnTo>
                  <a:lnTo>
                    <a:pt x="173" y="449"/>
                  </a:lnTo>
                  <a:lnTo>
                    <a:pt x="164" y="444"/>
                  </a:lnTo>
                  <a:lnTo>
                    <a:pt x="161" y="443"/>
                  </a:lnTo>
                  <a:lnTo>
                    <a:pt x="159" y="442"/>
                  </a:lnTo>
                  <a:lnTo>
                    <a:pt x="156" y="441"/>
                  </a:lnTo>
                  <a:lnTo>
                    <a:pt x="152" y="440"/>
                  </a:lnTo>
                  <a:lnTo>
                    <a:pt x="148" y="439"/>
                  </a:lnTo>
                  <a:lnTo>
                    <a:pt x="147" y="439"/>
                  </a:lnTo>
                  <a:lnTo>
                    <a:pt x="147" y="438"/>
                  </a:lnTo>
                  <a:lnTo>
                    <a:pt x="146" y="438"/>
                  </a:lnTo>
                  <a:lnTo>
                    <a:pt x="146" y="438"/>
                  </a:lnTo>
                  <a:lnTo>
                    <a:pt x="146" y="437"/>
                  </a:lnTo>
                  <a:lnTo>
                    <a:pt x="145" y="437"/>
                  </a:lnTo>
                  <a:lnTo>
                    <a:pt x="145" y="436"/>
                  </a:lnTo>
                  <a:lnTo>
                    <a:pt x="144" y="432"/>
                  </a:lnTo>
                  <a:lnTo>
                    <a:pt x="144" y="431"/>
                  </a:lnTo>
                  <a:lnTo>
                    <a:pt x="144" y="430"/>
                  </a:lnTo>
                  <a:lnTo>
                    <a:pt x="144" y="429"/>
                  </a:lnTo>
                  <a:lnTo>
                    <a:pt x="143" y="429"/>
                  </a:lnTo>
                  <a:lnTo>
                    <a:pt x="143" y="428"/>
                  </a:lnTo>
                  <a:lnTo>
                    <a:pt x="142" y="427"/>
                  </a:lnTo>
                  <a:lnTo>
                    <a:pt x="141" y="427"/>
                  </a:lnTo>
                  <a:lnTo>
                    <a:pt x="140" y="426"/>
                  </a:lnTo>
                  <a:lnTo>
                    <a:pt x="139" y="425"/>
                  </a:lnTo>
                  <a:lnTo>
                    <a:pt x="137" y="425"/>
                  </a:lnTo>
                  <a:lnTo>
                    <a:pt x="136" y="424"/>
                  </a:lnTo>
                  <a:lnTo>
                    <a:pt x="135" y="424"/>
                  </a:lnTo>
                  <a:lnTo>
                    <a:pt x="130" y="423"/>
                  </a:lnTo>
                  <a:lnTo>
                    <a:pt x="129" y="423"/>
                  </a:lnTo>
                  <a:lnTo>
                    <a:pt x="127" y="422"/>
                  </a:lnTo>
                  <a:lnTo>
                    <a:pt x="126" y="422"/>
                  </a:lnTo>
                  <a:lnTo>
                    <a:pt x="125" y="421"/>
                  </a:lnTo>
                  <a:lnTo>
                    <a:pt x="121" y="417"/>
                  </a:lnTo>
                  <a:lnTo>
                    <a:pt x="118" y="414"/>
                  </a:lnTo>
                  <a:lnTo>
                    <a:pt x="117" y="413"/>
                  </a:lnTo>
                  <a:lnTo>
                    <a:pt x="115" y="411"/>
                  </a:lnTo>
                  <a:lnTo>
                    <a:pt x="111" y="407"/>
                  </a:lnTo>
                  <a:lnTo>
                    <a:pt x="110" y="405"/>
                  </a:lnTo>
                  <a:lnTo>
                    <a:pt x="109" y="404"/>
                  </a:lnTo>
                  <a:lnTo>
                    <a:pt x="108" y="404"/>
                  </a:lnTo>
                  <a:lnTo>
                    <a:pt x="107" y="403"/>
                  </a:lnTo>
                  <a:lnTo>
                    <a:pt x="106" y="402"/>
                  </a:lnTo>
                  <a:lnTo>
                    <a:pt x="105" y="402"/>
                  </a:lnTo>
                  <a:lnTo>
                    <a:pt x="103" y="402"/>
                  </a:lnTo>
                  <a:lnTo>
                    <a:pt x="102" y="401"/>
                  </a:lnTo>
                  <a:lnTo>
                    <a:pt x="100" y="401"/>
                  </a:lnTo>
                  <a:lnTo>
                    <a:pt x="99" y="402"/>
                  </a:lnTo>
                  <a:lnTo>
                    <a:pt x="97" y="402"/>
                  </a:lnTo>
                  <a:lnTo>
                    <a:pt x="92" y="403"/>
                  </a:lnTo>
                  <a:lnTo>
                    <a:pt x="91" y="403"/>
                  </a:lnTo>
                  <a:lnTo>
                    <a:pt x="89" y="404"/>
                  </a:lnTo>
                  <a:lnTo>
                    <a:pt x="87" y="404"/>
                  </a:lnTo>
                  <a:lnTo>
                    <a:pt x="86" y="404"/>
                  </a:lnTo>
                  <a:lnTo>
                    <a:pt x="84" y="404"/>
                  </a:lnTo>
                  <a:lnTo>
                    <a:pt x="82" y="404"/>
                  </a:lnTo>
                  <a:lnTo>
                    <a:pt x="80" y="404"/>
                  </a:lnTo>
                  <a:lnTo>
                    <a:pt x="78" y="404"/>
                  </a:lnTo>
                  <a:lnTo>
                    <a:pt x="76" y="403"/>
                  </a:lnTo>
                  <a:lnTo>
                    <a:pt x="75" y="403"/>
                  </a:lnTo>
                  <a:lnTo>
                    <a:pt x="73" y="402"/>
                  </a:lnTo>
                  <a:lnTo>
                    <a:pt x="72" y="402"/>
                  </a:lnTo>
                  <a:lnTo>
                    <a:pt x="70" y="401"/>
                  </a:lnTo>
                  <a:lnTo>
                    <a:pt x="69" y="400"/>
                  </a:lnTo>
                  <a:lnTo>
                    <a:pt x="67" y="399"/>
                  </a:lnTo>
                  <a:lnTo>
                    <a:pt x="62" y="395"/>
                  </a:lnTo>
                  <a:lnTo>
                    <a:pt x="60" y="394"/>
                  </a:lnTo>
                  <a:lnTo>
                    <a:pt x="57" y="392"/>
                  </a:lnTo>
                  <a:lnTo>
                    <a:pt x="52" y="390"/>
                  </a:lnTo>
                  <a:lnTo>
                    <a:pt x="51" y="389"/>
                  </a:lnTo>
                  <a:lnTo>
                    <a:pt x="50" y="388"/>
                  </a:lnTo>
                  <a:lnTo>
                    <a:pt x="49" y="387"/>
                  </a:lnTo>
                  <a:lnTo>
                    <a:pt x="47" y="386"/>
                  </a:lnTo>
                  <a:lnTo>
                    <a:pt x="47" y="385"/>
                  </a:lnTo>
                  <a:lnTo>
                    <a:pt x="47" y="385"/>
                  </a:lnTo>
                  <a:lnTo>
                    <a:pt x="46" y="384"/>
                  </a:lnTo>
                  <a:lnTo>
                    <a:pt x="46" y="384"/>
                  </a:lnTo>
                  <a:lnTo>
                    <a:pt x="46" y="384"/>
                  </a:lnTo>
                  <a:lnTo>
                    <a:pt x="46" y="383"/>
                  </a:lnTo>
                  <a:lnTo>
                    <a:pt x="46" y="383"/>
                  </a:lnTo>
                  <a:lnTo>
                    <a:pt x="46" y="382"/>
                  </a:lnTo>
                  <a:lnTo>
                    <a:pt x="47" y="382"/>
                  </a:lnTo>
                  <a:lnTo>
                    <a:pt x="47" y="381"/>
                  </a:lnTo>
                  <a:lnTo>
                    <a:pt x="48" y="381"/>
                  </a:lnTo>
                  <a:lnTo>
                    <a:pt x="49" y="380"/>
                  </a:lnTo>
                  <a:lnTo>
                    <a:pt x="52" y="379"/>
                  </a:lnTo>
                  <a:lnTo>
                    <a:pt x="52" y="379"/>
                  </a:lnTo>
                  <a:lnTo>
                    <a:pt x="52" y="378"/>
                  </a:lnTo>
                  <a:lnTo>
                    <a:pt x="52" y="378"/>
                  </a:lnTo>
                  <a:lnTo>
                    <a:pt x="52" y="378"/>
                  </a:lnTo>
                  <a:lnTo>
                    <a:pt x="52" y="377"/>
                  </a:lnTo>
                  <a:lnTo>
                    <a:pt x="51" y="377"/>
                  </a:lnTo>
                  <a:lnTo>
                    <a:pt x="50" y="376"/>
                  </a:lnTo>
                  <a:lnTo>
                    <a:pt x="48" y="375"/>
                  </a:lnTo>
                  <a:lnTo>
                    <a:pt x="47" y="375"/>
                  </a:lnTo>
                  <a:lnTo>
                    <a:pt x="46" y="375"/>
                  </a:lnTo>
                  <a:lnTo>
                    <a:pt x="45" y="374"/>
                  </a:lnTo>
                  <a:lnTo>
                    <a:pt x="44" y="374"/>
                  </a:lnTo>
                  <a:lnTo>
                    <a:pt x="42" y="374"/>
                  </a:lnTo>
                  <a:lnTo>
                    <a:pt x="38" y="375"/>
                  </a:lnTo>
                  <a:lnTo>
                    <a:pt x="37" y="375"/>
                  </a:lnTo>
                  <a:lnTo>
                    <a:pt x="36" y="375"/>
                  </a:lnTo>
                  <a:lnTo>
                    <a:pt x="34" y="375"/>
                  </a:lnTo>
                  <a:lnTo>
                    <a:pt x="31" y="374"/>
                  </a:lnTo>
                  <a:lnTo>
                    <a:pt x="28" y="374"/>
                  </a:lnTo>
                  <a:lnTo>
                    <a:pt x="27" y="374"/>
                  </a:lnTo>
                  <a:lnTo>
                    <a:pt x="25" y="374"/>
                  </a:lnTo>
                  <a:lnTo>
                    <a:pt x="22" y="374"/>
                  </a:lnTo>
                  <a:lnTo>
                    <a:pt x="21" y="374"/>
                  </a:lnTo>
                  <a:lnTo>
                    <a:pt x="20" y="374"/>
                  </a:lnTo>
                  <a:lnTo>
                    <a:pt x="18" y="375"/>
                  </a:lnTo>
                  <a:lnTo>
                    <a:pt x="15" y="376"/>
                  </a:lnTo>
                  <a:lnTo>
                    <a:pt x="13" y="377"/>
                  </a:lnTo>
                  <a:lnTo>
                    <a:pt x="12" y="377"/>
                  </a:lnTo>
                  <a:lnTo>
                    <a:pt x="11" y="377"/>
                  </a:lnTo>
                  <a:lnTo>
                    <a:pt x="10" y="378"/>
                  </a:lnTo>
                  <a:lnTo>
                    <a:pt x="9" y="377"/>
                  </a:lnTo>
                  <a:lnTo>
                    <a:pt x="8" y="377"/>
                  </a:lnTo>
                  <a:lnTo>
                    <a:pt x="4" y="376"/>
                  </a:lnTo>
                  <a:lnTo>
                    <a:pt x="3" y="376"/>
                  </a:lnTo>
                  <a:lnTo>
                    <a:pt x="2" y="376"/>
                  </a:lnTo>
                  <a:lnTo>
                    <a:pt x="2" y="375"/>
                  </a:lnTo>
                  <a:lnTo>
                    <a:pt x="1" y="375"/>
                  </a:lnTo>
                  <a:lnTo>
                    <a:pt x="1" y="375"/>
                  </a:lnTo>
                  <a:lnTo>
                    <a:pt x="0" y="374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2"/>
                  </a:lnTo>
                  <a:lnTo>
                    <a:pt x="0" y="371"/>
                  </a:lnTo>
                  <a:lnTo>
                    <a:pt x="1" y="370"/>
                  </a:lnTo>
                  <a:lnTo>
                    <a:pt x="1" y="369"/>
                  </a:lnTo>
                  <a:lnTo>
                    <a:pt x="2" y="368"/>
                  </a:lnTo>
                  <a:lnTo>
                    <a:pt x="3" y="364"/>
                  </a:lnTo>
                  <a:lnTo>
                    <a:pt x="4" y="363"/>
                  </a:lnTo>
                  <a:lnTo>
                    <a:pt x="6" y="361"/>
                  </a:lnTo>
                  <a:lnTo>
                    <a:pt x="8" y="358"/>
                  </a:lnTo>
                  <a:lnTo>
                    <a:pt x="8" y="357"/>
                  </a:lnTo>
                  <a:lnTo>
                    <a:pt x="9" y="356"/>
                  </a:lnTo>
                  <a:lnTo>
                    <a:pt x="9" y="355"/>
                  </a:lnTo>
                  <a:lnTo>
                    <a:pt x="9" y="355"/>
                  </a:lnTo>
                  <a:lnTo>
                    <a:pt x="9" y="354"/>
                  </a:lnTo>
                  <a:lnTo>
                    <a:pt x="9" y="352"/>
                  </a:lnTo>
                  <a:lnTo>
                    <a:pt x="9" y="351"/>
                  </a:lnTo>
                  <a:lnTo>
                    <a:pt x="8" y="350"/>
                  </a:lnTo>
                  <a:lnTo>
                    <a:pt x="8" y="349"/>
                  </a:lnTo>
                  <a:lnTo>
                    <a:pt x="7" y="347"/>
                  </a:lnTo>
                  <a:lnTo>
                    <a:pt x="6" y="345"/>
                  </a:lnTo>
                  <a:lnTo>
                    <a:pt x="5" y="344"/>
                  </a:lnTo>
                  <a:lnTo>
                    <a:pt x="3" y="342"/>
                  </a:lnTo>
                  <a:lnTo>
                    <a:pt x="3" y="341"/>
                  </a:lnTo>
                  <a:lnTo>
                    <a:pt x="3" y="340"/>
                  </a:lnTo>
                  <a:lnTo>
                    <a:pt x="2" y="340"/>
                  </a:lnTo>
                  <a:lnTo>
                    <a:pt x="3" y="339"/>
                  </a:lnTo>
                  <a:lnTo>
                    <a:pt x="3" y="338"/>
                  </a:lnTo>
                  <a:lnTo>
                    <a:pt x="4" y="337"/>
                  </a:lnTo>
                  <a:lnTo>
                    <a:pt x="4" y="336"/>
                  </a:lnTo>
                  <a:lnTo>
                    <a:pt x="6" y="335"/>
                  </a:lnTo>
                  <a:lnTo>
                    <a:pt x="8" y="333"/>
                  </a:lnTo>
                  <a:lnTo>
                    <a:pt x="9" y="332"/>
                  </a:lnTo>
                  <a:lnTo>
                    <a:pt x="11" y="331"/>
                  </a:lnTo>
                  <a:lnTo>
                    <a:pt x="12" y="330"/>
                  </a:lnTo>
                  <a:lnTo>
                    <a:pt x="13" y="330"/>
                  </a:lnTo>
                  <a:lnTo>
                    <a:pt x="14" y="330"/>
                  </a:lnTo>
                  <a:lnTo>
                    <a:pt x="15" y="329"/>
                  </a:lnTo>
                  <a:lnTo>
                    <a:pt x="17" y="329"/>
                  </a:lnTo>
                  <a:lnTo>
                    <a:pt x="20" y="329"/>
                  </a:lnTo>
                  <a:lnTo>
                    <a:pt x="21" y="329"/>
                  </a:lnTo>
                  <a:lnTo>
                    <a:pt x="22" y="328"/>
                  </a:lnTo>
                  <a:lnTo>
                    <a:pt x="23" y="328"/>
                  </a:lnTo>
                  <a:lnTo>
                    <a:pt x="24" y="328"/>
                  </a:lnTo>
                  <a:lnTo>
                    <a:pt x="24" y="327"/>
                  </a:lnTo>
                  <a:lnTo>
                    <a:pt x="25" y="327"/>
                  </a:lnTo>
                  <a:lnTo>
                    <a:pt x="25" y="326"/>
                  </a:lnTo>
                  <a:lnTo>
                    <a:pt x="27" y="324"/>
                  </a:lnTo>
                  <a:lnTo>
                    <a:pt x="28" y="323"/>
                  </a:lnTo>
                  <a:lnTo>
                    <a:pt x="28" y="322"/>
                  </a:lnTo>
                  <a:lnTo>
                    <a:pt x="30" y="318"/>
                  </a:lnTo>
                  <a:lnTo>
                    <a:pt x="30" y="317"/>
                  </a:lnTo>
                  <a:lnTo>
                    <a:pt x="31" y="317"/>
                  </a:lnTo>
                  <a:lnTo>
                    <a:pt x="31" y="316"/>
                  </a:lnTo>
                  <a:lnTo>
                    <a:pt x="32" y="316"/>
                  </a:lnTo>
                  <a:lnTo>
                    <a:pt x="34" y="315"/>
                  </a:lnTo>
                  <a:lnTo>
                    <a:pt x="35" y="314"/>
                  </a:lnTo>
                  <a:lnTo>
                    <a:pt x="35" y="314"/>
                  </a:lnTo>
                  <a:lnTo>
                    <a:pt x="36" y="313"/>
                  </a:lnTo>
                  <a:lnTo>
                    <a:pt x="36" y="313"/>
                  </a:lnTo>
                  <a:lnTo>
                    <a:pt x="36" y="313"/>
                  </a:lnTo>
                  <a:lnTo>
                    <a:pt x="36" y="312"/>
                  </a:lnTo>
                  <a:lnTo>
                    <a:pt x="37" y="310"/>
                  </a:lnTo>
                  <a:lnTo>
                    <a:pt x="37" y="309"/>
                  </a:lnTo>
                  <a:lnTo>
                    <a:pt x="37" y="307"/>
                  </a:lnTo>
                  <a:lnTo>
                    <a:pt x="37" y="306"/>
                  </a:lnTo>
                  <a:lnTo>
                    <a:pt x="37" y="305"/>
                  </a:lnTo>
                  <a:lnTo>
                    <a:pt x="38" y="303"/>
                  </a:lnTo>
                  <a:lnTo>
                    <a:pt x="38" y="302"/>
                  </a:lnTo>
                  <a:lnTo>
                    <a:pt x="38" y="300"/>
                  </a:lnTo>
                  <a:lnTo>
                    <a:pt x="39" y="297"/>
                  </a:lnTo>
                  <a:lnTo>
                    <a:pt x="39" y="296"/>
                  </a:lnTo>
                  <a:lnTo>
                    <a:pt x="39" y="294"/>
                  </a:lnTo>
                  <a:lnTo>
                    <a:pt x="40" y="293"/>
                  </a:lnTo>
                  <a:lnTo>
                    <a:pt x="40" y="293"/>
                  </a:lnTo>
                  <a:lnTo>
                    <a:pt x="41" y="292"/>
                  </a:lnTo>
                  <a:lnTo>
                    <a:pt x="42" y="291"/>
                  </a:lnTo>
                  <a:lnTo>
                    <a:pt x="45" y="289"/>
                  </a:lnTo>
                  <a:lnTo>
                    <a:pt x="47" y="287"/>
                  </a:lnTo>
                  <a:lnTo>
                    <a:pt x="48" y="286"/>
                  </a:lnTo>
                  <a:lnTo>
                    <a:pt x="51" y="284"/>
                  </a:lnTo>
                  <a:lnTo>
                    <a:pt x="52" y="283"/>
                  </a:lnTo>
                  <a:lnTo>
                    <a:pt x="54" y="281"/>
                  </a:lnTo>
                  <a:lnTo>
                    <a:pt x="57" y="279"/>
                  </a:lnTo>
                  <a:lnTo>
                    <a:pt x="58" y="278"/>
                  </a:lnTo>
                  <a:lnTo>
                    <a:pt x="60" y="277"/>
                  </a:lnTo>
                  <a:lnTo>
                    <a:pt x="61" y="277"/>
                  </a:lnTo>
                  <a:lnTo>
                    <a:pt x="63" y="276"/>
                  </a:lnTo>
                  <a:lnTo>
                    <a:pt x="65" y="276"/>
                  </a:lnTo>
                  <a:lnTo>
                    <a:pt x="66" y="276"/>
                  </a:lnTo>
                  <a:lnTo>
                    <a:pt x="68" y="276"/>
                  </a:lnTo>
                  <a:lnTo>
                    <a:pt x="71" y="276"/>
                  </a:lnTo>
                  <a:lnTo>
                    <a:pt x="73" y="276"/>
                  </a:lnTo>
                  <a:lnTo>
                    <a:pt x="75" y="276"/>
                  </a:lnTo>
                  <a:lnTo>
                    <a:pt x="77" y="276"/>
                  </a:lnTo>
                  <a:lnTo>
                    <a:pt x="79" y="275"/>
                  </a:lnTo>
                  <a:lnTo>
                    <a:pt x="81" y="275"/>
                  </a:lnTo>
                  <a:lnTo>
                    <a:pt x="84" y="274"/>
                  </a:lnTo>
                  <a:lnTo>
                    <a:pt x="86" y="273"/>
                  </a:lnTo>
                  <a:lnTo>
                    <a:pt x="87" y="272"/>
                  </a:lnTo>
                  <a:lnTo>
                    <a:pt x="88" y="271"/>
                  </a:lnTo>
                  <a:lnTo>
                    <a:pt x="90" y="270"/>
                  </a:lnTo>
                  <a:lnTo>
                    <a:pt x="91" y="269"/>
                  </a:lnTo>
                  <a:lnTo>
                    <a:pt x="93" y="267"/>
                  </a:lnTo>
                  <a:lnTo>
                    <a:pt x="94" y="265"/>
                  </a:lnTo>
                  <a:lnTo>
                    <a:pt x="95" y="264"/>
                  </a:lnTo>
                  <a:lnTo>
                    <a:pt x="96" y="264"/>
                  </a:lnTo>
                  <a:lnTo>
                    <a:pt x="99" y="261"/>
                  </a:lnTo>
                  <a:lnTo>
                    <a:pt x="102" y="258"/>
                  </a:lnTo>
                  <a:lnTo>
                    <a:pt x="108" y="253"/>
                  </a:lnTo>
                  <a:lnTo>
                    <a:pt x="110" y="252"/>
                  </a:lnTo>
                  <a:lnTo>
                    <a:pt x="111" y="251"/>
                  </a:lnTo>
                  <a:lnTo>
                    <a:pt x="112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4" y="250"/>
                  </a:lnTo>
                  <a:lnTo>
                    <a:pt x="114" y="250"/>
                  </a:lnTo>
                  <a:lnTo>
                    <a:pt x="115" y="250"/>
                  </a:lnTo>
                  <a:lnTo>
                    <a:pt x="115" y="250"/>
                  </a:lnTo>
                  <a:lnTo>
                    <a:pt x="117" y="251"/>
                  </a:lnTo>
                  <a:lnTo>
                    <a:pt x="118" y="252"/>
                  </a:lnTo>
                  <a:lnTo>
                    <a:pt x="119" y="252"/>
                  </a:lnTo>
                  <a:lnTo>
                    <a:pt x="120" y="253"/>
                  </a:lnTo>
                  <a:lnTo>
                    <a:pt x="122" y="253"/>
                  </a:lnTo>
                  <a:lnTo>
                    <a:pt x="124" y="254"/>
                  </a:lnTo>
                  <a:lnTo>
                    <a:pt x="126" y="254"/>
                  </a:lnTo>
                  <a:lnTo>
                    <a:pt x="127" y="254"/>
                  </a:lnTo>
                  <a:lnTo>
                    <a:pt x="129" y="254"/>
                  </a:lnTo>
                  <a:lnTo>
                    <a:pt x="131" y="254"/>
                  </a:lnTo>
                  <a:lnTo>
                    <a:pt x="138" y="254"/>
                  </a:lnTo>
                  <a:lnTo>
                    <a:pt x="140" y="254"/>
                  </a:lnTo>
                  <a:lnTo>
                    <a:pt x="142" y="254"/>
                  </a:lnTo>
                  <a:lnTo>
                    <a:pt x="143" y="253"/>
                  </a:lnTo>
                  <a:lnTo>
                    <a:pt x="145" y="253"/>
                  </a:lnTo>
                  <a:lnTo>
                    <a:pt x="146" y="252"/>
                  </a:lnTo>
                  <a:lnTo>
                    <a:pt x="148" y="252"/>
                  </a:lnTo>
                  <a:lnTo>
                    <a:pt x="149" y="251"/>
                  </a:lnTo>
                  <a:lnTo>
                    <a:pt x="152" y="249"/>
                  </a:lnTo>
                  <a:lnTo>
                    <a:pt x="153" y="248"/>
                  </a:lnTo>
                  <a:lnTo>
                    <a:pt x="154" y="247"/>
                  </a:lnTo>
                  <a:lnTo>
                    <a:pt x="156" y="247"/>
                  </a:lnTo>
                  <a:lnTo>
                    <a:pt x="156" y="247"/>
                  </a:lnTo>
                  <a:lnTo>
                    <a:pt x="157" y="246"/>
                  </a:lnTo>
                  <a:lnTo>
                    <a:pt x="158" y="246"/>
                  </a:lnTo>
                  <a:lnTo>
                    <a:pt x="160" y="244"/>
                  </a:lnTo>
                  <a:lnTo>
                    <a:pt x="161" y="243"/>
                  </a:lnTo>
                  <a:lnTo>
                    <a:pt x="163" y="242"/>
                  </a:lnTo>
                  <a:lnTo>
                    <a:pt x="167" y="237"/>
                  </a:lnTo>
                  <a:lnTo>
                    <a:pt x="169" y="236"/>
                  </a:lnTo>
                  <a:lnTo>
                    <a:pt x="170" y="235"/>
                  </a:lnTo>
                  <a:lnTo>
                    <a:pt x="171" y="234"/>
                  </a:lnTo>
                  <a:lnTo>
                    <a:pt x="173" y="233"/>
                  </a:lnTo>
                  <a:lnTo>
                    <a:pt x="174" y="232"/>
                  </a:lnTo>
                  <a:lnTo>
                    <a:pt x="175" y="232"/>
                  </a:lnTo>
                  <a:lnTo>
                    <a:pt x="176" y="232"/>
                  </a:lnTo>
                  <a:lnTo>
                    <a:pt x="177" y="232"/>
                  </a:lnTo>
                  <a:lnTo>
                    <a:pt x="179" y="233"/>
                  </a:lnTo>
                  <a:lnTo>
                    <a:pt x="180" y="234"/>
                  </a:lnTo>
                  <a:lnTo>
                    <a:pt x="181" y="234"/>
                  </a:lnTo>
                  <a:lnTo>
                    <a:pt x="182" y="235"/>
                  </a:lnTo>
                  <a:lnTo>
                    <a:pt x="185" y="238"/>
                  </a:lnTo>
                  <a:lnTo>
                    <a:pt x="186" y="239"/>
                  </a:lnTo>
                  <a:lnTo>
                    <a:pt x="187" y="240"/>
                  </a:lnTo>
                  <a:lnTo>
                    <a:pt x="188" y="240"/>
                  </a:lnTo>
                  <a:lnTo>
                    <a:pt x="188" y="240"/>
                  </a:lnTo>
                  <a:lnTo>
                    <a:pt x="189" y="240"/>
                  </a:lnTo>
                  <a:lnTo>
                    <a:pt x="190" y="241"/>
                  </a:lnTo>
                  <a:lnTo>
                    <a:pt x="190" y="241"/>
                  </a:lnTo>
                  <a:lnTo>
                    <a:pt x="192" y="240"/>
                  </a:lnTo>
                  <a:lnTo>
                    <a:pt x="192" y="240"/>
                  </a:lnTo>
                  <a:lnTo>
                    <a:pt x="193" y="240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6" y="238"/>
                  </a:lnTo>
                  <a:lnTo>
                    <a:pt x="197" y="236"/>
                  </a:lnTo>
                  <a:lnTo>
                    <a:pt x="200" y="233"/>
                  </a:lnTo>
                  <a:lnTo>
                    <a:pt x="202" y="230"/>
                  </a:lnTo>
                  <a:lnTo>
                    <a:pt x="203" y="230"/>
                  </a:lnTo>
                  <a:lnTo>
                    <a:pt x="204" y="229"/>
                  </a:lnTo>
                  <a:lnTo>
                    <a:pt x="206" y="227"/>
                  </a:lnTo>
                  <a:lnTo>
                    <a:pt x="207" y="227"/>
                  </a:lnTo>
                  <a:lnTo>
                    <a:pt x="208" y="226"/>
                  </a:lnTo>
                  <a:lnTo>
                    <a:pt x="209" y="225"/>
                  </a:lnTo>
                  <a:lnTo>
                    <a:pt x="211" y="225"/>
                  </a:lnTo>
                  <a:lnTo>
                    <a:pt x="213" y="224"/>
                  </a:lnTo>
                  <a:lnTo>
                    <a:pt x="214" y="224"/>
                  </a:lnTo>
                  <a:lnTo>
                    <a:pt x="219" y="222"/>
                  </a:lnTo>
                  <a:lnTo>
                    <a:pt x="220" y="222"/>
                  </a:lnTo>
                  <a:lnTo>
                    <a:pt x="221" y="221"/>
                  </a:lnTo>
                  <a:lnTo>
                    <a:pt x="223" y="221"/>
                  </a:lnTo>
                  <a:lnTo>
                    <a:pt x="225" y="219"/>
                  </a:lnTo>
                  <a:lnTo>
                    <a:pt x="227" y="218"/>
                  </a:lnTo>
                  <a:lnTo>
                    <a:pt x="228" y="218"/>
                  </a:lnTo>
                  <a:lnTo>
                    <a:pt x="229" y="216"/>
                  </a:lnTo>
                  <a:lnTo>
                    <a:pt x="231" y="214"/>
                  </a:lnTo>
                  <a:lnTo>
                    <a:pt x="232" y="213"/>
                  </a:lnTo>
                  <a:lnTo>
                    <a:pt x="233" y="212"/>
                  </a:lnTo>
                  <a:lnTo>
                    <a:pt x="234" y="211"/>
                  </a:lnTo>
                  <a:lnTo>
                    <a:pt x="235" y="209"/>
                  </a:lnTo>
                  <a:lnTo>
                    <a:pt x="235" y="208"/>
                  </a:lnTo>
                  <a:lnTo>
                    <a:pt x="236" y="206"/>
                  </a:lnTo>
                  <a:lnTo>
                    <a:pt x="236" y="206"/>
                  </a:lnTo>
                  <a:lnTo>
                    <a:pt x="236" y="205"/>
                  </a:lnTo>
                  <a:lnTo>
                    <a:pt x="237" y="204"/>
                  </a:lnTo>
                  <a:lnTo>
                    <a:pt x="238" y="204"/>
                  </a:lnTo>
                  <a:lnTo>
                    <a:pt x="239" y="204"/>
                  </a:lnTo>
                  <a:lnTo>
                    <a:pt x="241" y="204"/>
                  </a:lnTo>
                  <a:lnTo>
                    <a:pt x="243" y="204"/>
                  </a:lnTo>
                  <a:lnTo>
                    <a:pt x="245" y="203"/>
                  </a:lnTo>
                  <a:lnTo>
                    <a:pt x="246" y="203"/>
                  </a:lnTo>
                  <a:lnTo>
                    <a:pt x="247" y="203"/>
                  </a:lnTo>
                  <a:lnTo>
                    <a:pt x="247" y="202"/>
                  </a:lnTo>
                  <a:lnTo>
                    <a:pt x="248" y="202"/>
                  </a:lnTo>
                  <a:lnTo>
                    <a:pt x="248" y="201"/>
                  </a:lnTo>
                  <a:lnTo>
                    <a:pt x="249" y="201"/>
                  </a:lnTo>
                  <a:lnTo>
                    <a:pt x="249" y="200"/>
                  </a:lnTo>
                  <a:lnTo>
                    <a:pt x="249" y="199"/>
                  </a:lnTo>
                  <a:lnTo>
                    <a:pt x="249" y="197"/>
                  </a:lnTo>
                  <a:lnTo>
                    <a:pt x="249" y="195"/>
                  </a:lnTo>
                  <a:lnTo>
                    <a:pt x="249" y="194"/>
                  </a:lnTo>
                  <a:lnTo>
                    <a:pt x="249" y="191"/>
                  </a:lnTo>
                  <a:lnTo>
                    <a:pt x="249" y="189"/>
                  </a:lnTo>
                  <a:lnTo>
                    <a:pt x="249" y="188"/>
                  </a:lnTo>
                  <a:lnTo>
                    <a:pt x="249" y="187"/>
                  </a:lnTo>
                  <a:lnTo>
                    <a:pt x="250" y="186"/>
                  </a:lnTo>
                  <a:lnTo>
                    <a:pt x="250" y="186"/>
                  </a:lnTo>
                  <a:lnTo>
                    <a:pt x="250" y="185"/>
                  </a:lnTo>
                  <a:lnTo>
                    <a:pt x="251" y="183"/>
                  </a:lnTo>
                  <a:lnTo>
                    <a:pt x="252" y="182"/>
                  </a:lnTo>
                  <a:lnTo>
                    <a:pt x="253" y="181"/>
                  </a:lnTo>
                  <a:lnTo>
                    <a:pt x="254" y="180"/>
                  </a:lnTo>
                  <a:lnTo>
                    <a:pt x="255" y="180"/>
                  </a:lnTo>
                  <a:lnTo>
                    <a:pt x="256" y="179"/>
                  </a:lnTo>
                  <a:lnTo>
                    <a:pt x="258" y="178"/>
                  </a:lnTo>
                  <a:lnTo>
                    <a:pt x="259" y="178"/>
                  </a:lnTo>
                  <a:lnTo>
                    <a:pt x="260" y="178"/>
                  </a:lnTo>
                  <a:lnTo>
                    <a:pt x="261" y="177"/>
                  </a:lnTo>
                  <a:lnTo>
                    <a:pt x="262" y="177"/>
                  </a:lnTo>
                  <a:lnTo>
                    <a:pt x="264" y="177"/>
                  </a:lnTo>
                  <a:lnTo>
                    <a:pt x="271" y="178"/>
                  </a:lnTo>
                  <a:lnTo>
                    <a:pt x="273" y="178"/>
                  </a:lnTo>
                  <a:lnTo>
                    <a:pt x="276" y="179"/>
                  </a:lnTo>
                  <a:lnTo>
                    <a:pt x="281" y="180"/>
                  </a:lnTo>
                  <a:lnTo>
                    <a:pt x="287" y="182"/>
                  </a:lnTo>
                  <a:lnTo>
                    <a:pt x="291" y="183"/>
                  </a:lnTo>
                  <a:lnTo>
                    <a:pt x="293" y="183"/>
                  </a:lnTo>
                  <a:lnTo>
                    <a:pt x="296" y="184"/>
                  </a:lnTo>
                  <a:lnTo>
                    <a:pt x="305" y="185"/>
                  </a:lnTo>
                  <a:lnTo>
                    <a:pt x="308" y="185"/>
                  </a:lnTo>
                  <a:lnTo>
                    <a:pt x="312" y="185"/>
                  </a:lnTo>
                  <a:lnTo>
                    <a:pt x="315" y="185"/>
                  </a:lnTo>
                  <a:lnTo>
                    <a:pt x="318" y="185"/>
                  </a:lnTo>
                  <a:lnTo>
                    <a:pt x="321" y="185"/>
                  </a:lnTo>
                  <a:lnTo>
                    <a:pt x="324" y="184"/>
                  </a:lnTo>
                  <a:lnTo>
                    <a:pt x="327" y="183"/>
                  </a:lnTo>
                  <a:lnTo>
                    <a:pt x="329" y="183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40" y="182"/>
                  </a:lnTo>
                  <a:lnTo>
                    <a:pt x="342" y="183"/>
                  </a:lnTo>
                  <a:lnTo>
                    <a:pt x="347" y="183"/>
                  </a:lnTo>
                  <a:lnTo>
                    <a:pt x="352" y="184"/>
                  </a:lnTo>
                  <a:lnTo>
                    <a:pt x="354" y="185"/>
                  </a:lnTo>
                  <a:lnTo>
                    <a:pt x="356" y="185"/>
                  </a:lnTo>
                  <a:lnTo>
                    <a:pt x="357" y="185"/>
                  </a:lnTo>
                  <a:lnTo>
                    <a:pt x="358" y="185"/>
                  </a:lnTo>
                  <a:lnTo>
                    <a:pt x="359" y="185"/>
                  </a:lnTo>
                  <a:lnTo>
                    <a:pt x="360" y="184"/>
                  </a:lnTo>
                  <a:lnTo>
                    <a:pt x="360" y="184"/>
                  </a:lnTo>
                  <a:lnTo>
                    <a:pt x="362" y="183"/>
                  </a:lnTo>
                  <a:lnTo>
                    <a:pt x="363" y="182"/>
                  </a:lnTo>
                  <a:lnTo>
                    <a:pt x="364" y="181"/>
                  </a:lnTo>
                  <a:lnTo>
                    <a:pt x="367" y="178"/>
                  </a:lnTo>
                  <a:lnTo>
                    <a:pt x="368" y="177"/>
                  </a:lnTo>
                  <a:lnTo>
                    <a:pt x="369" y="176"/>
                  </a:lnTo>
                  <a:lnTo>
                    <a:pt x="370" y="176"/>
                  </a:lnTo>
                  <a:lnTo>
                    <a:pt x="371" y="175"/>
                  </a:lnTo>
                  <a:lnTo>
                    <a:pt x="372" y="175"/>
                  </a:lnTo>
                  <a:lnTo>
                    <a:pt x="374" y="175"/>
                  </a:lnTo>
                  <a:lnTo>
                    <a:pt x="383" y="173"/>
                  </a:lnTo>
                  <a:lnTo>
                    <a:pt x="386" y="173"/>
                  </a:lnTo>
                  <a:lnTo>
                    <a:pt x="392" y="172"/>
                  </a:lnTo>
                  <a:lnTo>
                    <a:pt x="394" y="172"/>
                  </a:lnTo>
                  <a:lnTo>
                    <a:pt x="395" y="172"/>
                  </a:lnTo>
                  <a:lnTo>
                    <a:pt x="397" y="173"/>
                  </a:lnTo>
                  <a:lnTo>
                    <a:pt x="401" y="173"/>
                  </a:lnTo>
                  <a:lnTo>
                    <a:pt x="402" y="174"/>
                  </a:lnTo>
                  <a:lnTo>
                    <a:pt x="403" y="174"/>
                  </a:lnTo>
                  <a:lnTo>
                    <a:pt x="404" y="173"/>
                  </a:lnTo>
                  <a:lnTo>
                    <a:pt x="405" y="173"/>
                  </a:lnTo>
                  <a:lnTo>
                    <a:pt x="406" y="173"/>
                  </a:lnTo>
                  <a:lnTo>
                    <a:pt x="407" y="172"/>
                  </a:lnTo>
                  <a:lnTo>
                    <a:pt x="407" y="172"/>
                  </a:lnTo>
                  <a:lnTo>
                    <a:pt x="408" y="171"/>
                  </a:lnTo>
                  <a:lnTo>
                    <a:pt x="408" y="171"/>
                  </a:lnTo>
                  <a:lnTo>
                    <a:pt x="409" y="169"/>
                  </a:lnTo>
                  <a:lnTo>
                    <a:pt x="410" y="168"/>
                  </a:lnTo>
                  <a:lnTo>
                    <a:pt x="410" y="167"/>
                  </a:lnTo>
                  <a:lnTo>
                    <a:pt x="410" y="166"/>
                  </a:lnTo>
                  <a:lnTo>
                    <a:pt x="411" y="160"/>
                  </a:lnTo>
                  <a:lnTo>
                    <a:pt x="412" y="156"/>
                  </a:lnTo>
                  <a:lnTo>
                    <a:pt x="412" y="155"/>
                  </a:lnTo>
                  <a:lnTo>
                    <a:pt x="412" y="153"/>
                  </a:lnTo>
                  <a:lnTo>
                    <a:pt x="412" y="152"/>
                  </a:lnTo>
                  <a:lnTo>
                    <a:pt x="412" y="150"/>
                  </a:lnTo>
                  <a:lnTo>
                    <a:pt x="412" y="148"/>
                  </a:lnTo>
                  <a:lnTo>
                    <a:pt x="412" y="147"/>
                  </a:lnTo>
                  <a:lnTo>
                    <a:pt x="412" y="145"/>
                  </a:lnTo>
                  <a:lnTo>
                    <a:pt x="411" y="141"/>
                  </a:lnTo>
                  <a:lnTo>
                    <a:pt x="410" y="140"/>
                  </a:lnTo>
                  <a:lnTo>
                    <a:pt x="410" y="139"/>
                  </a:lnTo>
                  <a:lnTo>
                    <a:pt x="410" y="137"/>
                  </a:lnTo>
                  <a:lnTo>
                    <a:pt x="410" y="135"/>
                  </a:lnTo>
                  <a:lnTo>
                    <a:pt x="410" y="134"/>
                  </a:lnTo>
                  <a:lnTo>
                    <a:pt x="410" y="133"/>
                  </a:lnTo>
                  <a:lnTo>
                    <a:pt x="410" y="130"/>
                  </a:lnTo>
                  <a:lnTo>
                    <a:pt x="410" y="126"/>
                  </a:lnTo>
                  <a:lnTo>
                    <a:pt x="410" y="125"/>
                  </a:lnTo>
                  <a:lnTo>
                    <a:pt x="410" y="125"/>
                  </a:lnTo>
                  <a:lnTo>
                    <a:pt x="410" y="124"/>
                  </a:lnTo>
                  <a:lnTo>
                    <a:pt x="410" y="124"/>
                  </a:lnTo>
                  <a:lnTo>
                    <a:pt x="411" y="124"/>
                  </a:lnTo>
                  <a:lnTo>
                    <a:pt x="412" y="123"/>
                  </a:lnTo>
                  <a:lnTo>
                    <a:pt x="412" y="123"/>
                  </a:lnTo>
                  <a:lnTo>
                    <a:pt x="413" y="123"/>
                  </a:lnTo>
                  <a:lnTo>
                    <a:pt x="414" y="123"/>
                  </a:lnTo>
                  <a:lnTo>
                    <a:pt x="414" y="123"/>
                  </a:lnTo>
                  <a:lnTo>
                    <a:pt x="415" y="123"/>
                  </a:lnTo>
                  <a:lnTo>
                    <a:pt x="416" y="123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4" y="126"/>
                  </a:lnTo>
                  <a:lnTo>
                    <a:pt x="426" y="126"/>
                  </a:lnTo>
                  <a:lnTo>
                    <a:pt x="427" y="126"/>
                  </a:lnTo>
                  <a:lnTo>
                    <a:pt x="428" y="126"/>
                  </a:lnTo>
                  <a:lnTo>
                    <a:pt x="429" y="126"/>
                  </a:lnTo>
                  <a:lnTo>
                    <a:pt x="429" y="126"/>
                  </a:lnTo>
                  <a:lnTo>
                    <a:pt x="429" y="125"/>
                  </a:lnTo>
                  <a:lnTo>
                    <a:pt x="430" y="125"/>
                  </a:lnTo>
                  <a:lnTo>
                    <a:pt x="430" y="125"/>
                  </a:lnTo>
                  <a:lnTo>
                    <a:pt x="430" y="124"/>
                  </a:lnTo>
                  <a:lnTo>
                    <a:pt x="430" y="122"/>
                  </a:lnTo>
                  <a:lnTo>
                    <a:pt x="430" y="122"/>
                  </a:lnTo>
                  <a:lnTo>
                    <a:pt x="432" y="118"/>
                  </a:lnTo>
                  <a:lnTo>
                    <a:pt x="434" y="114"/>
                  </a:lnTo>
                  <a:lnTo>
                    <a:pt x="435" y="113"/>
                  </a:lnTo>
                  <a:lnTo>
                    <a:pt x="435" y="113"/>
                  </a:lnTo>
                  <a:lnTo>
                    <a:pt x="436" y="112"/>
                  </a:lnTo>
                  <a:lnTo>
                    <a:pt x="437" y="112"/>
                  </a:lnTo>
                  <a:lnTo>
                    <a:pt x="441" y="111"/>
                  </a:lnTo>
                  <a:lnTo>
                    <a:pt x="445" y="110"/>
                  </a:lnTo>
                  <a:lnTo>
                    <a:pt x="448" y="109"/>
                  </a:lnTo>
                  <a:lnTo>
                    <a:pt x="449" y="108"/>
                  </a:lnTo>
                  <a:lnTo>
                    <a:pt x="450" y="108"/>
                  </a:lnTo>
                  <a:lnTo>
                    <a:pt x="450" y="108"/>
                  </a:lnTo>
                  <a:lnTo>
                    <a:pt x="451" y="107"/>
                  </a:lnTo>
                  <a:lnTo>
                    <a:pt x="451" y="107"/>
                  </a:lnTo>
                  <a:lnTo>
                    <a:pt x="451" y="106"/>
                  </a:lnTo>
                  <a:lnTo>
                    <a:pt x="452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2"/>
                  </a:lnTo>
                  <a:lnTo>
                    <a:pt x="453" y="101"/>
                  </a:lnTo>
                  <a:lnTo>
                    <a:pt x="453" y="100"/>
                  </a:lnTo>
                  <a:lnTo>
                    <a:pt x="452" y="96"/>
                  </a:lnTo>
                  <a:lnTo>
                    <a:pt x="452" y="94"/>
                  </a:lnTo>
                  <a:lnTo>
                    <a:pt x="452" y="91"/>
                  </a:lnTo>
                  <a:lnTo>
                    <a:pt x="451" y="87"/>
                  </a:lnTo>
                  <a:lnTo>
                    <a:pt x="450" y="85"/>
                  </a:lnTo>
                  <a:lnTo>
                    <a:pt x="450" y="84"/>
                  </a:lnTo>
                  <a:lnTo>
                    <a:pt x="450" y="83"/>
                  </a:lnTo>
                  <a:lnTo>
                    <a:pt x="451" y="82"/>
                  </a:lnTo>
                  <a:lnTo>
                    <a:pt x="451" y="81"/>
                  </a:lnTo>
                  <a:lnTo>
                    <a:pt x="451" y="80"/>
                  </a:lnTo>
                  <a:lnTo>
                    <a:pt x="451" y="79"/>
                  </a:lnTo>
                  <a:lnTo>
                    <a:pt x="452" y="78"/>
                  </a:lnTo>
                  <a:lnTo>
                    <a:pt x="453" y="77"/>
                  </a:lnTo>
                  <a:lnTo>
                    <a:pt x="454" y="76"/>
                  </a:lnTo>
                  <a:lnTo>
                    <a:pt x="455" y="75"/>
                  </a:lnTo>
                  <a:lnTo>
                    <a:pt x="455" y="75"/>
                  </a:lnTo>
                  <a:lnTo>
                    <a:pt x="456" y="74"/>
                  </a:lnTo>
                  <a:lnTo>
                    <a:pt x="457" y="74"/>
                  </a:lnTo>
                  <a:lnTo>
                    <a:pt x="457" y="74"/>
                  </a:lnTo>
                  <a:lnTo>
                    <a:pt x="458" y="73"/>
                  </a:lnTo>
                  <a:lnTo>
                    <a:pt x="459" y="74"/>
                  </a:lnTo>
                  <a:lnTo>
                    <a:pt x="459" y="74"/>
                  </a:lnTo>
                  <a:lnTo>
                    <a:pt x="459" y="74"/>
                  </a:lnTo>
                  <a:lnTo>
                    <a:pt x="459" y="74"/>
                  </a:lnTo>
                  <a:lnTo>
                    <a:pt x="460" y="75"/>
                  </a:lnTo>
                  <a:lnTo>
                    <a:pt x="460" y="75"/>
                  </a:lnTo>
                  <a:lnTo>
                    <a:pt x="461" y="76"/>
                  </a:lnTo>
                  <a:lnTo>
                    <a:pt x="462" y="76"/>
                  </a:lnTo>
                  <a:lnTo>
                    <a:pt x="462" y="77"/>
                  </a:lnTo>
                  <a:lnTo>
                    <a:pt x="463" y="77"/>
                  </a:lnTo>
                  <a:lnTo>
                    <a:pt x="464" y="77"/>
                  </a:lnTo>
                  <a:lnTo>
                    <a:pt x="464" y="77"/>
                  </a:lnTo>
                  <a:lnTo>
                    <a:pt x="465" y="76"/>
                  </a:lnTo>
                  <a:lnTo>
                    <a:pt x="466" y="76"/>
                  </a:lnTo>
                  <a:lnTo>
                    <a:pt x="469" y="75"/>
                  </a:lnTo>
                  <a:lnTo>
                    <a:pt x="470" y="74"/>
                  </a:lnTo>
                  <a:lnTo>
                    <a:pt x="471" y="74"/>
                  </a:lnTo>
                  <a:lnTo>
                    <a:pt x="472" y="73"/>
                  </a:lnTo>
                  <a:lnTo>
                    <a:pt x="473" y="73"/>
                  </a:lnTo>
                  <a:lnTo>
                    <a:pt x="475" y="74"/>
                  </a:lnTo>
                  <a:lnTo>
                    <a:pt x="476" y="74"/>
                  </a:lnTo>
                  <a:lnTo>
                    <a:pt x="479" y="76"/>
                  </a:lnTo>
                  <a:lnTo>
                    <a:pt x="480" y="76"/>
                  </a:lnTo>
                  <a:lnTo>
                    <a:pt x="482" y="76"/>
                  </a:lnTo>
                  <a:lnTo>
                    <a:pt x="482" y="76"/>
                  </a:lnTo>
                  <a:lnTo>
                    <a:pt x="483" y="76"/>
                  </a:lnTo>
                  <a:lnTo>
                    <a:pt x="484" y="76"/>
                  </a:lnTo>
                  <a:lnTo>
                    <a:pt x="485" y="76"/>
                  </a:lnTo>
                  <a:lnTo>
                    <a:pt x="486" y="76"/>
                  </a:lnTo>
                  <a:lnTo>
                    <a:pt x="488" y="75"/>
                  </a:lnTo>
                  <a:lnTo>
                    <a:pt x="489" y="74"/>
                  </a:lnTo>
                  <a:lnTo>
                    <a:pt x="491" y="74"/>
                  </a:lnTo>
                  <a:lnTo>
                    <a:pt x="492" y="73"/>
                  </a:lnTo>
                  <a:lnTo>
                    <a:pt x="493" y="73"/>
                  </a:lnTo>
                  <a:lnTo>
                    <a:pt x="494" y="73"/>
                  </a:lnTo>
                  <a:lnTo>
                    <a:pt x="494" y="73"/>
                  </a:lnTo>
                  <a:lnTo>
                    <a:pt x="495" y="73"/>
                  </a:lnTo>
                  <a:lnTo>
                    <a:pt x="496" y="74"/>
                  </a:lnTo>
                  <a:lnTo>
                    <a:pt x="496" y="74"/>
                  </a:lnTo>
                  <a:lnTo>
                    <a:pt x="497" y="75"/>
                  </a:lnTo>
                  <a:lnTo>
                    <a:pt x="497" y="76"/>
                  </a:lnTo>
                  <a:lnTo>
                    <a:pt x="498" y="77"/>
                  </a:lnTo>
                  <a:lnTo>
                    <a:pt x="498" y="78"/>
                  </a:lnTo>
                  <a:lnTo>
                    <a:pt x="499" y="82"/>
                  </a:lnTo>
                  <a:lnTo>
                    <a:pt x="499" y="84"/>
                  </a:lnTo>
                  <a:lnTo>
                    <a:pt x="500" y="86"/>
                  </a:lnTo>
                  <a:lnTo>
                    <a:pt x="500" y="87"/>
                  </a:lnTo>
                  <a:lnTo>
                    <a:pt x="501" y="88"/>
                  </a:lnTo>
                  <a:lnTo>
                    <a:pt x="501" y="89"/>
                  </a:lnTo>
                  <a:lnTo>
                    <a:pt x="502" y="90"/>
                  </a:lnTo>
                  <a:lnTo>
                    <a:pt x="502" y="91"/>
                  </a:lnTo>
                  <a:lnTo>
                    <a:pt x="503" y="91"/>
                  </a:lnTo>
                  <a:lnTo>
                    <a:pt x="504" y="91"/>
                  </a:lnTo>
                  <a:lnTo>
                    <a:pt x="505" y="92"/>
                  </a:lnTo>
                  <a:lnTo>
                    <a:pt x="506" y="92"/>
                  </a:lnTo>
                  <a:lnTo>
                    <a:pt x="507" y="93"/>
                  </a:lnTo>
                  <a:lnTo>
                    <a:pt x="508" y="93"/>
                  </a:lnTo>
                  <a:lnTo>
                    <a:pt x="509" y="93"/>
                  </a:lnTo>
                  <a:lnTo>
                    <a:pt x="510" y="93"/>
                  </a:lnTo>
                  <a:lnTo>
                    <a:pt x="510" y="93"/>
                  </a:lnTo>
                  <a:lnTo>
                    <a:pt x="511" y="93"/>
                  </a:lnTo>
                  <a:lnTo>
                    <a:pt x="512" y="92"/>
                  </a:lnTo>
                  <a:lnTo>
                    <a:pt x="514" y="92"/>
                  </a:lnTo>
                  <a:lnTo>
                    <a:pt x="515" y="91"/>
                  </a:lnTo>
                  <a:lnTo>
                    <a:pt x="520" y="90"/>
                  </a:lnTo>
                  <a:lnTo>
                    <a:pt x="521" y="89"/>
                  </a:lnTo>
                  <a:lnTo>
                    <a:pt x="523" y="89"/>
                  </a:lnTo>
                  <a:lnTo>
                    <a:pt x="526" y="89"/>
                  </a:lnTo>
                  <a:lnTo>
                    <a:pt x="527" y="89"/>
                  </a:lnTo>
                  <a:lnTo>
                    <a:pt x="530" y="89"/>
                  </a:lnTo>
                  <a:lnTo>
                    <a:pt x="531" y="88"/>
                  </a:lnTo>
                  <a:lnTo>
                    <a:pt x="540" y="88"/>
                  </a:lnTo>
                  <a:lnTo>
                    <a:pt x="542" y="88"/>
                  </a:lnTo>
                  <a:lnTo>
                    <a:pt x="542" y="87"/>
                  </a:lnTo>
                  <a:lnTo>
                    <a:pt x="543" y="87"/>
                  </a:lnTo>
                  <a:lnTo>
                    <a:pt x="544" y="86"/>
                  </a:lnTo>
                  <a:lnTo>
                    <a:pt x="547" y="83"/>
                  </a:lnTo>
                  <a:lnTo>
                    <a:pt x="552" y="80"/>
                  </a:lnTo>
                  <a:lnTo>
                    <a:pt x="554" y="78"/>
                  </a:lnTo>
                  <a:lnTo>
                    <a:pt x="555" y="77"/>
                  </a:lnTo>
                  <a:lnTo>
                    <a:pt x="556" y="76"/>
                  </a:lnTo>
                  <a:lnTo>
                    <a:pt x="557" y="74"/>
                  </a:lnTo>
                  <a:lnTo>
                    <a:pt x="560" y="71"/>
                  </a:lnTo>
                  <a:lnTo>
                    <a:pt x="560" y="70"/>
                  </a:lnTo>
                  <a:lnTo>
                    <a:pt x="561" y="69"/>
                  </a:lnTo>
                  <a:lnTo>
                    <a:pt x="562" y="68"/>
                  </a:lnTo>
                  <a:lnTo>
                    <a:pt x="563" y="68"/>
                  </a:lnTo>
                  <a:lnTo>
                    <a:pt x="566" y="65"/>
                  </a:lnTo>
                  <a:lnTo>
                    <a:pt x="567" y="65"/>
                  </a:lnTo>
                  <a:lnTo>
                    <a:pt x="568" y="64"/>
                  </a:lnTo>
                  <a:lnTo>
                    <a:pt x="568" y="63"/>
                  </a:lnTo>
                  <a:lnTo>
                    <a:pt x="569" y="62"/>
                  </a:lnTo>
                  <a:lnTo>
                    <a:pt x="570" y="61"/>
                  </a:lnTo>
                  <a:lnTo>
                    <a:pt x="570" y="60"/>
                  </a:lnTo>
                  <a:lnTo>
                    <a:pt x="570" y="58"/>
                  </a:lnTo>
                  <a:lnTo>
                    <a:pt x="571" y="56"/>
                  </a:lnTo>
                  <a:lnTo>
                    <a:pt x="571" y="50"/>
                  </a:lnTo>
                  <a:lnTo>
                    <a:pt x="572" y="49"/>
                  </a:lnTo>
                  <a:lnTo>
                    <a:pt x="572" y="48"/>
                  </a:lnTo>
                  <a:lnTo>
                    <a:pt x="573" y="46"/>
                  </a:lnTo>
                  <a:lnTo>
                    <a:pt x="573" y="45"/>
                  </a:lnTo>
                  <a:lnTo>
                    <a:pt x="574" y="45"/>
                  </a:lnTo>
                  <a:lnTo>
                    <a:pt x="575" y="44"/>
                  </a:lnTo>
                  <a:lnTo>
                    <a:pt x="576" y="44"/>
                  </a:lnTo>
                  <a:lnTo>
                    <a:pt x="577" y="44"/>
                  </a:lnTo>
                  <a:lnTo>
                    <a:pt x="579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5" y="44"/>
                  </a:lnTo>
                  <a:lnTo>
                    <a:pt x="588" y="45"/>
                  </a:lnTo>
                  <a:lnTo>
                    <a:pt x="591" y="46"/>
                  </a:lnTo>
                  <a:lnTo>
                    <a:pt x="596" y="47"/>
                  </a:lnTo>
                  <a:lnTo>
                    <a:pt x="598" y="48"/>
                  </a:lnTo>
                  <a:lnTo>
                    <a:pt x="600" y="48"/>
                  </a:lnTo>
                  <a:lnTo>
                    <a:pt x="600" y="48"/>
                  </a:lnTo>
                  <a:lnTo>
                    <a:pt x="601" y="48"/>
                  </a:lnTo>
                  <a:lnTo>
                    <a:pt x="602" y="48"/>
                  </a:lnTo>
                  <a:lnTo>
                    <a:pt x="603" y="48"/>
                  </a:lnTo>
                  <a:lnTo>
                    <a:pt x="604" y="48"/>
                  </a:lnTo>
                  <a:lnTo>
                    <a:pt x="605" y="47"/>
                  </a:lnTo>
                  <a:lnTo>
                    <a:pt x="606" y="47"/>
                  </a:lnTo>
                  <a:lnTo>
                    <a:pt x="607" y="46"/>
                  </a:lnTo>
                  <a:lnTo>
                    <a:pt x="608" y="45"/>
                  </a:lnTo>
                  <a:lnTo>
                    <a:pt x="609" y="44"/>
                  </a:lnTo>
                  <a:lnTo>
                    <a:pt x="610" y="43"/>
                  </a:lnTo>
                  <a:lnTo>
                    <a:pt x="611" y="43"/>
                  </a:lnTo>
                  <a:lnTo>
                    <a:pt x="611" y="42"/>
                  </a:lnTo>
                  <a:lnTo>
                    <a:pt x="612" y="41"/>
                  </a:lnTo>
                  <a:lnTo>
                    <a:pt x="612" y="40"/>
                  </a:lnTo>
                  <a:lnTo>
                    <a:pt x="613" y="39"/>
                  </a:lnTo>
                  <a:lnTo>
                    <a:pt x="613" y="36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3"/>
                  </a:lnTo>
                  <a:lnTo>
                    <a:pt x="615" y="32"/>
                  </a:lnTo>
                  <a:lnTo>
                    <a:pt x="615" y="32"/>
                  </a:lnTo>
                  <a:lnTo>
                    <a:pt x="616" y="31"/>
                  </a:lnTo>
                  <a:lnTo>
                    <a:pt x="617" y="30"/>
                  </a:lnTo>
                  <a:lnTo>
                    <a:pt x="619" y="29"/>
                  </a:lnTo>
                  <a:lnTo>
                    <a:pt x="620" y="28"/>
                  </a:lnTo>
                  <a:lnTo>
                    <a:pt x="623" y="27"/>
                  </a:lnTo>
                  <a:lnTo>
                    <a:pt x="628" y="24"/>
                  </a:lnTo>
                  <a:lnTo>
                    <a:pt x="630" y="23"/>
                  </a:lnTo>
                  <a:lnTo>
                    <a:pt x="631" y="23"/>
                  </a:lnTo>
                  <a:lnTo>
                    <a:pt x="631" y="22"/>
                  </a:lnTo>
                  <a:lnTo>
                    <a:pt x="632" y="21"/>
                  </a:lnTo>
                  <a:lnTo>
                    <a:pt x="633" y="20"/>
                  </a:lnTo>
                  <a:lnTo>
                    <a:pt x="633" y="19"/>
                  </a:lnTo>
                  <a:lnTo>
                    <a:pt x="634" y="18"/>
                  </a:lnTo>
                  <a:lnTo>
                    <a:pt x="634" y="17"/>
                  </a:lnTo>
                  <a:lnTo>
                    <a:pt x="634" y="13"/>
                  </a:lnTo>
                  <a:lnTo>
                    <a:pt x="635" y="11"/>
                  </a:lnTo>
                  <a:lnTo>
                    <a:pt x="636" y="9"/>
                  </a:lnTo>
                  <a:lnTo>
                    <a:pt x="637" y="6"/>
                  </a:lnTo>
                  <a:lnTo>
                    <a:pt x="637" y="5"/>
                  </a:lnTo>
                  <a:lnTo>
                    <a:pt x="638" y="3"/>
                  </a:lnTo>
                  <a:lnTo>
                    <a:pt x="638" y="1"/>
                  </a:lnTo>
                  <a:lnTo>
                    <a:pt x="638" y="0"/>
                  </a:lnTo>
                  <a:lnTo>
                    <a:pt x="639" y="0"/>
                  </a:lnTo>
                  <a:lnTo>
                    <a:pt x="639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1" name="Freeform 230">
              <a:extLst>
                <a:ext uri="{FF2B5EF4-FFF2-40B4-BE49-F238E27FC236}">
                  <a16:creationId xmlns:a16="http://schemas.microsoft.com/office/drawing/2014/main" id="{79C59BAC-30FB-424E-AB44-D67A82C3A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10163" y="2793829"/>
              <a:ext cx="668494" cy="600218"/>
            </a:xfrm>
            <a:custGeom>
              <a:avLst/>
              <a:gdLst>
                <a:gd name="T0" fmla="*/ 6 w 656"/>
                <a:gd name="T1" fmla="*/ 51 h 589"/>
                <a:gd name="T2" fmla="*/ 37 w 656"/>
                <a:gd name="T3" fmla="*/ 51 h 589"/>
                <a:gd name="T4" fmla="*/ 70 w 656"/>
                <a:gd name="T5" fmla="*/ 35 h 589"/>
                <a:gd name="T6" fmla="*/ 96 w 656"/>
                <a:gd name="T7" fmla="*/ 36 h 589"/>
                <a:gd name="T8" fmla="*/ 114 w 656"/>
                <a:gd name="T9" fmla="*/ 52 h 589"/>
                <a:gd name="T10" fmla="*/ 136 w 656"/>
                <a:gd name="T11" fmla="*/ 48 h 589"/>
                <a:gd name="T12" fmla="*/ 147 w 656"/>
                <a:gd name="T13" fmla="*/ 39 h 589"/>
                <a:gd name="T14" fmla="*/ 171 w 656"/>
                <a:gd name="T15" fmla="*/ 50 h 589"/>
                <a:gd name="T16" fmla="*/ 195 w 656"/>
                <a:gd name="T17" fmla="*/ 50 h 589"/>
                <a:gd name="T18" fmla="*/ 222 w 656"/>
                <a:gd name="T19" fmla="*/ 51 h 589"/>
                <a:gd name="T20" fmla="*/ 238 w 656"/>
                <a:gd name="T21" fmla="*/ 62 h 589"/>
                <a:gd name="T22" fmla="*/ 255 w 656"/>
                <a:gd name="T23" fmla="*/ 59 h 589"/>
                <a:gd name="T24" fmla="*/ 285 w 656"/>
                <a:gd name="T25" fmla="*/ 40 h 589"/>
                <a:gd name="T26" fmla="*/ 285 w 656"/>
                <a:gd name="T27" fmla="*/ 13 h 589"/>
                <a:gd name="T28" fmla="*/ 302 w 656"/>
                <a:gd name="T29" fmla="*/ 0 h 589"/>
                <a:gd name="T30" fmla="*/ 334 w 656"/>
                <a:gd name="T31" fmla="*/ 21 h 589"/>
                <a:gd name="T32" fmla="*/ 348 w 656"/>
                <a:gd name="T33" fmla="*/ 25 h 589"/>
                <a:gd name="T34" fmla="*/ 367 w 656"/>
                <a:gd name="T35" fmla="*/ 43 h 589"/>
                <a:gd name="T36" fmla="*/ 368 w 656"/>
                <a:gd name="T37" fmla="*/ 58 h 589"/>
                <a:gd name="T38" fmla="*/ 366 w 656"/>
                <a:gd name="T39" fmla="*/ 74 h 589"/>
                <a:gd name="T40" fmla="*/ 365 w 656"/>
                <a:gd name="T41" fmla="*/ 107 h 589"/>
                <a:gd name="T42" fmla="*/ 355 w 656"/>
                <a:gd name="T43" fmla="*/ 145 h 589"/>
                <a:gd name="T44" fmla="*/ 367 w 656"/>
                <a:gd name="T45" fmla="*/ 168 h 589"/>
                <a:gd name="T46" fmla="*/ 362 w 656"/>
                <a:gd name="T47" fmla="*/ 186 h 589"/>
                <a:gd name="T48" fmla="*/ 393 w 656"/>
                <a:gd name="T49" fmla="*/ 218 h 589"/>
                <a:gd name="T50" fmla="*/ 420 w 656"/>
                <a:gd name="T51" fmla="*/ 217 h 589"/>
                <a:gd name="T52" fmla="*/ 442 w 656"/>
                <a:gd name="T53" fmla="*/ 231 h 589"/>
                <a:gd name="T54" fmla="*/ 441 w 656"/>
                <a:gd name="T55" fmla="*/ 241 h 589"/>
                <a:gd name="T56" fmla="*/ 463 w 656"/>
                <a:gd name="T57" fmla="*/ 255 h 589"/>
                <a:gd name="T58" fmla="*/ 493 w 656"/>
                <a:gd name="T59" fmla="*/ 253 h 589"/>
                <a:gd name="T60" fmla="*/ 526 w 656"/>
                <a:gd name="T61" fmla="*/ 260 h 589"/>
                <a:gd name="T62" fmla="*/ 548 w 656"/>
                <a:gd name="T63" fmla="*/ 271 h 589"/>
                <a:gd name="T64" fmla="*/ 555 w 656"/>
                <a:gd name="T65" fmla="*/ 302 h 589"/>
                <a:gd name="T66" fmla="*/ 588 w 656"/>
                <a:gd name="T67" fmla="*/ 318 h 589"/>
                <a:gd name="T68" fmla="*/ 623 w 656"/>
                <a:gd name="T69" fmla="*/ 317 h 589"/>
                <a:gd name="T70" fmla="*/ 641 w 656"/>
                <a:gd name="T71" fmla="*/ 319 h 589"/>
                <a:gd name="T72" fmla="*/ 650 w 656"/>
                <a:gd name="T73" fmla="*/ 334 h 589"/>
                <a:gd name="T74" fmla="*/ 646 w 656"/>
                <a:gd name="T75" fmla="*/ 353 h 589"/>
                <a:gd name="T76" fmla="*/ 631 w 656"/>
                <a:gd name="T77" fmla="*/ 372 h 589"/>
                <a:gd name="T78" fmla="*/ 613 w 656"/>
                <a:gd name="T79" fmla="*/ 401 h 589"/>
                <a:gd name="T80" fmla="*/ 625 w 656"/>
                <a:gd name="T81" fmla="*/ 409 h 589"/>
                <a:gd name="T82" fmla="*/ 649 w 656"/>
                <a:gd name="T83" fmla="*/ 429 h 589"/>
                <a:gd name="T84" fmla="*/ 645 w 656"/>
                <a:gd name="T85" fmla="*/ 442 h 589"/>
                <a:gd name="T86" fmla="*/ 638 w 656"/>
                <a:gd name="T87" fmla="*/ 452 h 589"/>
                <a:gd name="T88" fmla="*/ 612 w 656"/>
                <a:gd name="T89" fmla="*/ 442 h 589"/>
                <a:gd name="T90" fmla="*/ 579 w 656"/>
                <a:gd name="T91" fmla="*/ 429 h 589"/>
                <a:gd name="T92" fmla="*/ 534 w 656"/>
                <a:gd name="T93" fmla="*/ 413 h 589"/>
                <a:gd name="T94" fmla="*/ 518 w 656"/>
                <a:gd name="T95" fmla="*/ 419 h 589"/>
                <a:gd name="T96" fmla="*/ 488 w 656"/>
                <a:gd name="T97" fmla="*/ 433 h 589"/>
                <a:gd name="T98" fmla="*/ 469 w 656"/>
                <a:gd name="T99" fmla="*/ 433 h 589"/>
                <a:gd name="T100" fmla="*/ 460 w 656"/>
                <a:gd name="T101" fmla="*/ 405 h 589"/>
                <a:gd name="T102" fmla="*/ 429 w 656"/>
                <a:gd name="T103" fmla="*/ 398 h 589"/>
                <a:gd name="T104" fmla="*/ 400 w 656"/>
                <a:gd name="T105" fmla="*/ 394 h 589"/>
                <a:gd name="T106" fmla="*/ 390 w 656"/>
                <a:gd name="T107" fmla="*/ 420 h 589"/>
                <a:gd name="T108" fmla="*/ 393 w 656"/>
                <a:gd name="T109" fmla="*/ 472 h 589"/>
                <a:gd name="T110" fmla="*/ 383 w 656"/>
                <a:gd name="T111" fmla="*/ 522 h 589"/>
                <a:gd name="T112" fmla="*/ 387 w 656"/>
                <a:gd name="T113" fmla="*/ 550 h 589"/>
                <a:gd name="T114" fmla="*/ 352 w 656"/>
                <a:gd name="T115" fmla="*/ 550 h 589"/>
                <a:gd name="T116" fmla="*/ 321 w 656"/>
                <a:gd name="T117" fmla="*/ 547 h 589"/>
                <a:gd name="T118" fmla="*/ 307 w 656"/>
                <a:gd name="T119" fmla="*/ 582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56" h="589">
                  <a:moveTo>
                    <a:pt x="0" y="31"/>
                  </a:moveTo>
                  <a:lnTo>
                    <a:pt x="0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5"/>
                  </a:lnTo>
                  <a:lnTo>
                    <a:pt x="1" y="41"/>
                  </a:lnTo>
                  <a:lnTo>
                    <a:pt x="1" y="43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2" y="47"/>
                  </a:lnTo>
                  <a:lnTo>
                    <a:pt x="2" y="48"/>
                  </a:lnTo>
                  <a:lnTo>
                    <a:pt x="3" y="49"/>
                  </a:lnTo>
                  <a:lnTo>
                    <a:pt x="4" y="49"/>
                  </a:lnTo>
                  <a:lnTo>
                    <a:pt x="4" y="50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7" y="52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4" y="52"/>
                  </a:lnTo>
                  <a:lnTo>
                    <a:pt x="16" y="51"/>
                  </a:lnTo>
                  <a:lnTo>
                    <a:pt x="17" y="51"/>
                  </a:lnTo>
                  <a:lnTo>
                    <a:pt x="18" y="51"/>
                  </a:lnTo>
                  <a:lnTo>
                    <a:pt x="21" y="52"/>
                  </a:lnTo>
                  <a:lnTo>
                    <a:pt x="23" y="52"/>
                  </a:lnTo>
                  <a:lnTo>
                    <a:pt x="24" y="52"/>
                  </a:lnTo>
                  <a:lnTo>
                    <a:pt x="27" y="51"/>
                  </a:lnTo>
                  <a:lnTo>
                    <a:pt x="29" y="51"/>
                  </a:lnTo>
                  <a:lnTo>
                    <a:pt x="31" y="51"/>
                  </a:lnTo>
                  <a:lnTo>
                    <a:pt x="35" y="51"/>
                  </a:lnTo>
                  <a:lnTo>
                    <a:pt x="37" y="51"/>
                  </a:lnTo>
                  <a:lnTo>
                    <a:pt x="48" y="50"/>
                  </a:lnTo>
                  <a:lnTo>
                    <a:pt x="53" y="50"/>
                  </a:lnTo>
                  <a:lnTo>
                    <a:pt x="55" y="49"/>
                  </a:lnTo>
                  <a:lnTo>
                    <a:pt x="57" y="49"/>
                  </a:lnTo>
                  <a:lnTo>
                    <a:pt x="59" y="49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61" y="49"/>
                  </a:lnTo>
                  <a:lnTo>
                    <a:pt x="62" y="48"/>
                  </a:lnTo>
                  <a:lnTo>
                    <a:pt x="63" y="48"/>
                  </a:lnTo>
                  <a:lnTo>
                    <a:pt x="63" y="47"/>
                  </a:lnTo>
                  <a:lnTo>
                    <a:pt x="64" y="45"/>
                  </a:lnTo>
                  <a:lnTo>
                    <a:pt x="66" y="43"/>
                  </a:lnTo>
                  <a:lnTo>
                    <a:pt x="67" y="41"/>
                  </a:lnTo>
                  <a:lnTo>
                    <a:pt x="68" y="39"/>
                  </a:lnTo>
                  <a:lnTo>
                    <a:pt x="69" y="36"/>
                  </a:lnTo>
                  <a:lnTo>
                    <a:pt x="70" y="35"/>
                  </a:lnTo>
                  <a:lnTo>
                    <a:pt x="71" y="34"/>
                  </a:lnTo>
                  <a:lnTo>
                    <a:pt x="72" y="33"/>
                  </a:lnTo>
                  <a:lnTo>
                    <a:pt x="73" y="33"/>
                  </a:lnTo>
                  <a:lnTo>
                    <a:pt x="74" y="32"/>
                  </a:lnTo>
                  <a:lnTo>
                    <a:pt x="79" y="31"/>
                  </a:lnTo>
                  <a:lnTo>
                    <a:pt x="81" y="31"/>
                  </a:lnTo>
                  <a:lnTo>
                    <a:pt x="82" y="30"/>
                  </a:lnTo>
                  <a:lnTo>
                    <a:pt x="84" y="30"/>
                  </a:lnTo>
                  <a:lnTo>
                    <a:pt x="85" y="30"/>
                  </a:lnTo>
                  <a:lnTo>
                    <a:pt x="86" y="30"/>
                  </a:lnTo>
                  <a:lnTo>
                    <a:pt x="87" y="31"/>
                  </a:lnTo>
                  <a:lnTo>
                    <a:pt x="89" y="31"/>
                  </a:lnTo>
                  <a:lnTo>
                    <a:pt x="91" y="32"/>
                  </a:lnTo>
                  <a:lnTo>
                    <a:pt x="93" y="33"/>
                  </a:lnTo>
                  <a:lnTo>
                    <a:pt x="94" y="34"/>
                  </a:lnTo>
                  <a:lnTo>
                    <a:pt x="95" y="35"/>
                  </a:lnTo>
                  <a:lnTo>
                    <a:pt x="96" y="36"/>
                  </a:lnTo>
                  <a:lnTo>
                    <a:pt x="98" y="38"/>
                  </a:lnTo>
                  <a:lnTo>
                    <a:pt x="98" y="39"/>
                  </a:lnTo>
                  <a:lnTo>
                    <a:pt x="99" y="40"/>
                  </a:lnTo>
                  <a:lnTo>
                    <a:pt x="100" y="40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4" y="42"/>
                  </a:lnTo>
                  <a:lnTo>
                    <a:pt x="106" y="43"/>
                  </a:lnTo>
                  <a:lnTo>
                    <a:pt x="108" y="44"/>
                  </a:lnTo>
                  <a:lnTo>
                    <a:pt x="109" y="45"/>
                  </a:lnTo>
                  <a:lnTo>
                    <a:pt x="109" y="45"/>
                  </a:lnTo>
                  <a:lnTo>
                    <a:pt x="110" y="46"/>
                  </a:lnTo>
                  <a:lnTo>
                    <a:pt x="111" y="47"/>
                  </a:lnTo>
                  <a:lnTo>
                    <a:pt x="112" y="48"/>
                  </a:lnTo>
                  <a:lnTo>
                    <a:pt x="112" y="49"/>
                  </a:lnTo>
                  <a:lnTo>
                    <a:pt x="113" y="49"/>
                  </a:lnTo>
                  <a:lnTo>
                    <a:pt x="114" y="52"/>
                  </a:lnTo>
                  <a:lnTo>
                    <a:pt x="114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6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5"/>
                  </a:lnTo>
                  <a:lnTo>
                    <a:pt x="124" y="55"/>
                  </a:lnTo>
                  <a:lnTo>
                    <a:pt x="125" y="55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9" y="53"/>
                  </a:lnTo>
                  <a:lnTo>
                    <a:pt x="130" y="53"/>
                  </a:lnTo>
                  <a:lnTo>
                    <a:pt x="134" y="50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39" y="47"/>
                  </a:lnTo>
                  <a:lnTo>
                    <a:pt x="140" y="47"/>
                  </a:lnTo>
                  <a:lnTo>
                    <a:pt x="142" y="47"/>
                  </a:lnTo>
                  <a:lnTo>
                    <a:pt x="144" y="47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6"/>
                  </a:lnTo>
                  <a:lnTo>
                    <a:pt x="146" y="46"/>
                  </a:lnTo>
                  <a:lnTo>
                    <a:pt x="146" y="44"/>
                  </a:lnTo>
                  <a:lnTo>
                    <a:pt x="146" y="41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7" y="39"/>
                  </a:lnTo>
                  <a:lnTo>
                    <a:pt x="147" y="39"/>
                  </a:lnTo>
                  <a:lnTo>
                    <a:pt x="148" y="39"/>
                  </a:lnTo>
                  <a:lnTo>
                    <a:pt x="148" y="38"/>
                  </a:lnTo>
                  <a:lnTo>
                    <a:pt x="149" y="39"/>
                  </a:lnTo>
                  <a:lnTo>
                    <a:pt x="150" y="39"/>
                  </a:lnTo>
                  <a:lnTo>
                    <a:pt x="154" y="41"/>
                  </a:lnTo>
                  <a:lnTo>
                    <a:pt x="155" y="42"/>
                  </a:lnTo>
                  <a:lnTo>
                    <a:pt x="156" y="43"/>
                  </a:lnTo>
                  <a:lnTo>
                    <a:pt x="159" y="44"/>
                  </a:lnTo>
                  <a:lnTo>
                    <a:pt x="160" y="44"/>
                  </a:lnTo>
                  <a:lnTo>
                    <a:pt x="161" y="45"/>
                  </a:lnTo>
                  <a:lnTo>
                    <a:pt x="166" y="48"/>
                  </a:lnTo>
                  <a:lnTo>
                    <a:pt x="167" y="49"/>
                  </a:lnTo>
                  <a:lnTo>
                    <a:pt x="169" y="50"/>
                  </a:lnTo>
                  <a:lnTo>
                    <a:pt x="170" y="50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2" y="50"/>
                  </a:lnTo>
                  <a:lnTo>
                    <a:pt x="172" y="50"/>
                  </a:lnTo>
                  <a:lnTo>
                    <a:pt x="174" y="48"/>
                  </a:lnTo>
                  <a:lnTo>
                    <a:pt x="176" y="47"/>
                  </a:lnTo>
                  <a:lnTo>
                    <a:pt x="178" y="47"/>
                  </a:lnTo>
                  <a:lnTo>
                    <a:pt x="178" y="46"/>
                  </a:lnTo>
                  <a:lnTo>
                    <a:pt x="179" y="46"/>
                  </a:lnTo>
                  <a:lnTo>
                    <a:pt x="181" y="46"/>
                  </a:lnTo>
                  <a:lnTo>
                    <a:pt x="182" y="46"/>
                  </a:lnTo>
                  <a:lnTo>
                    <a:pt x="185" y="46"/>
                  </a:lnTo>
                  <a:lnTo>
                    <a:pt x="186" y="47"/>
                  </a:lnTo>
                  <a:lnTo>
                    <a:pt x="187" y="47"/>
                  </a:lnTo>
                  <a:lnTo>
                    <a:pt x="188" y="47"/>
                  </a:lnTo>
                  <a:lnTo>
                    <a:pt x="189" y="47"/>
                  </a:lnTo>
                  <a:lnTo>
                    <a:pt x="192" y="49"/>
                  </a:lnTo>
                  <a:lnTo>
                    <a:pt x="193" y="49"/>
                  </a:lnTo>
                  <a:lnTo>
                    <a:pt x="195" y="50"/>
                  </a:lnTo>
                  <a:lnTo>
                    <a:pt x="196" y="50"/>
                  </a:lnTo>
                  <a:lnTo>
                    <a:pt x="199" y="51"/>
                  </a:lnTo>
                  <a:lnTo>
                    <a:pt x="204" y="51"/>
                  </a:lnTo>
                  <a:lnTo>
                    <a:pt x="206" y="51"/>
                  </a:lnTo>
                  <a:lnTo>
                    <a:pt x="209" y="52"/>
                  </a:lnTo>
                  <a:lnTo>
                    <a:pt x="210" y="51"/>
                  </a:lnTo>
                  <a:lnTo>
                    <a:pt x="211" y="51"/>
                  </a:lnTo>
                  <a:lnTo>
                    <a:pt x="214" y="51"/>
                  </a:lnTo>
                  <a:lnTo>
                    <a:pt x="216" y="50"/>
                  </a:lnTo>
                  <a:lnTo>
                    <a:pt x="218" y="50"/>
                  </a:lnTo>
                  <a:lnTo>
                    <a:pt x="221" y="49"/>
                  </a:lnTo>
                  <a:lnTo>
                    <a:pt x="221" y="49"/>
                  </a:lnTo>
                  <a:lnTo>
                    <a:pt x="222" y="49"/>
                  </a:lnTo>
                  <a:lnTo>
                    <a:pt x="222" y="49"/>
                  </a:lnTo>
                  <a:lnTo>
                    <a:pt x="222" y="49"/>
                  </a:lnTo>
                  <a:lnTo>
                    <a:pt x="222" y="50"/>
                  </a:lnTo>
                  <a:lnTo>
                    <a:pt x="222" y="51"/>
                  </a:lnTo>
                  <a:lnTo>
                    <a:pt x="222" y="52"/>
                  </a:lnTo>
                  <a:lnTo>
                    <a:pt x="222" y="55"/>
                  </a:lnTo>
                  <a:lnTo>
                    <a:pt x="221" y="56"/>
                  </a:lnTo>
                  <a:lnTo>
                    <a:pt x="221" y="57"/>
                  </a:lnTo>
                  <a:lnTo>
                    <a:pt x="222" y="57"/>
                  </a:lnTo>
                  <a:lnTo>
                    <a:pt x="222" y="58"/>
                  </a:lnTo>
                  <a:lnTo>
                    <a:pt x="222" y="58"/>
                  </a:lnTo>
                  <a:lnTo>
                    <a:pt x="223" y="59"/>
                  </a:lnTo>
                  <a:lnTo>
                    <a:pt x="224" y="59"/>
                  </a:lnTo>
                  <a:lnTo>
                    <a:pt x="224" y="60"/>
                  </a:lnTo>
                  <a:lnTo>
                    <a:pt x="225" y="60"/>
                  </a:lnTo>
                  <a:lnTo>
                    <a:pt x="226" y="60"/>
                  </a:lnTo>
                  <a:lnTo>
                    <a:pt x="228" y="60"/>
                  </a:lnTo>
                  <a:lnTo>
                    <a:pt x="231" y="61"/>
                  </a:lnTo>
                  <a:lnTo>
                    <a:pt x="233" y="61"/>
                  </a:lnTo>
                  <a:lnTo>
                    <a:pt x="235" y="62"/>
                  </a:lnTo>
                  <a:lnTo>
                    <a:pt x="238" y="62"/>
                  </a:lnTo>
                  <a:lnTo>
                    <a:pt x="240" y="63"/>
                  </a:lnTo>
                  <a:lnTo>
                    <a:pt x="241" y="64"/>
                  </a:lnTo>
                  <a:lnTo>
                    <a:pt x="242" y="65"/>
                  </a:lnTo>
                  <a:lnTo>
                    <a:pt x="245" y="66"/>
                  </a:lnTo>
                  <a:lnTo>
                    <a:pt x="246" y="67"/>
                  </a:lnTo>
                  <a:lnTo>
                    <a:pt x="246" y="67"/>
                  </a:lnTo>
                  <a:lnTo>
                    <a:pt x="247" y="67"/>
                  </a:lnTo>
                  <a:lnTo>
                    <a:pt x="247" y="67"/>
                  </a:lnTo>
                  <a:lnTo>
                    <a:pt x="248" y="67"/>
                  </a:lnTo>
                  <a:lnTo>
                    <a:pt x="248" y="67"/>
                  </a:lnTo>
                  <a:lnTo>
                    <a:pt x="249" y="67"/>
                  </a:lnTo>
                  <a:lnTo>
                    <a:pt x="250" y="67"/>
                  </a:lnTo>
                  <a:lnTo>
                    <a:pt x="250" y="66"/>
                  </a:lnTo>
                  <a:lnTo>
                    <a:pt x="251" y="65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5" y="59"/>
                  </a:lnTo>
                  <a:lnTo>
                    <a:pt x="257" y="58"/>
                  </a:lnTo>
                  <a:lnTo>
                    <a:pt x="259" y="56"/>
                  </a:lnTo>
                  <a:lnTo>
                    <a:pt x="263" y="52"/>
                  </a:lnTo>
                  <a:lnTo>
                    <a:pt x="265" y="50"/>
                  </a:lnTo>
                  <a:lnTo>
                    <a:pt x="268" y="48"/>
                  </a:lnTo>
                  <a:lnTo>
                    <a:pt x="269" y="48"/>
                  </a:lnTo>
                  <a:lnTo>
                    <a:pt x="270" y="47"/>
                  </a:lnTo>
                  <a:lnTo>
                    <a:pt x="272" y="47"/>
                  </a:lnTo>
                  <a:lnTo>
                    <a:pt x="277" y="45"/>
                  </a:lnTo>
                  <a:lnTo>
                    <a:pt x="278" y="45"/>
                  </a:lnTo>
                  <a:lnTo>
                    <a:pt x="280" y="44"/>
                  </a:lnTo>
                  <a:lnTo>
                    <a:pt x="281" y="43"/>
                  </a:lnTo>
                  <a:lnTo>
                    <a:pt x="283" y="43"/>
                  </a:lnTo>
                  <a:lnTo>
                    <a:pt x="283" y="42"/>
                  </a:lnTo>
                  <a:lnTo>
                    <a:pt x="284" y="42"/>
                  </a:lnTo>
                  <a:lnTo>
                    <a:pt x="284" y="41"/>
                  </a:lnTo>
                  <a:lnTo>
                    <a:pt x="285" y="40"/>
                  </a:lnTo>
                  <a:lnTo>
                    <a:pt x="285" y="39"/>
                  </a:lnTo>
                  <a:lnTo>
                    <a:pt x="285" y="38"/>
                  </a:lnTo>
                  <a:lnTo>
                    <a:pt x="284" y="37"/>
                  </a:lnTo>
                  <a:lnTo>
                    <a:pt x="284" y="34"/>
                  </a:lnTo>
                  <a:lnTo>
                    <a:pt x="283" y="31"/>
                  </a:lnTo>
                  <a:lnTo>
                    <a:pt x="282" y="29"/>
                  </a:lnTo>
                  <a:lnTo>
                    <a:pt x="282" y="28"/>
                  </a:lnTo>
                  <a:lnTo>
                    <a:pt x="282" y="27"/>
                  </a:lnTo>
                  <a:lnTo>
                    <a:pt x="282" y="25"/>
                  </a:lnTo>
                  <a:lnTo>
                    <a:pt x="282" y="24"/>
                  </a:lnTo>
                  <a:lnTo>
                    <a:pt x="283" y="20"/>
                  </a:lnTo>
                  <a:lnTo>
                    <a:pt x="284" y="19"/>
                  </a:lnTo>
                  <a:lnTo>
                    <a:pt x="284" y="17"/>
                  </a:lnTo>
                  <a:lnTo>
                    <a:pt x="284" y="15"/>
                  </a:lnTo>
                  <a:lnTo>
                    <a:pt x="284" y="14"/>
                  </a:lnTo>
                  <a:lnTo>
                    <a:pt x="284" y="14"/>
                  </a:lnTo>
                  <a:lnTo>
                    <a:pt x="285" y="13"/>
                  </a:lnTo>
                  <a:lnTo>
                    <a:pt x="285" y="12"/>
                  </a:lnTo>
                  <a:lnTo>
                    <a:pt x="286" y="11"/>
                  </a:lnTo>
                  <a:lnTo>
                    <a:pt x="288" y="10"/>
                  </a:lnTo>
                  <a:lnTo>
                    <a:pt x="288" y="9"/>
                  </a:lnTo>
                  <a:lnTo>
                    <a:pt x="289" y="8"/>
                  </a:lnTo>
                  <a:lnTo>
                    <a:pt x="290" y="7"/>
                  </a:lnTo>
                  <a:lnTo>
                    <a:pt x="291" y="6"/>
                  </a:lnTo>
                  <a:lnTo>
                    <a:pt x="291" y="5"/>
                  </a:lnTo>
                  <a:lnTo>
                    <a:pt x="292" y="4"/>
                  </a:lnTo>
                  <a:lnTo>
                    <a:pt x="295" y="2"/>
                  </a:lnTo>
                  <a:lnTo>
                    <a:pt x="297" y="0"/>
                  </a:lnTo>
                  <a:lnTo>
                    <a:pt x="298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300" y="0"/>
                  </a:lnTo>
                  <a:lnTo>
                    <a:pt x="301" y="0"/>
                  </a:lnTo>
                  <a:lnTo>
                    <a:pt x="302" y="0"/>
                  </a:lnTo>
                  <a:lnTo>
                    <a:pt x="303" y="1"/>
                  </a:lnTo>
                  <a:lnTo>
                    <a:pt x="306" y="3"/>
                  </a:lnTo>
                  <a:lnTo>
                    <a:pt x="307" y="4"/>
                  </a:lnTo>
                  <a:lnTo>
                    <a:pt x="310" y="5"/>
                  </a:lnTo>
                  <a:lnTo>
                    <a:pt x="315" y="8"/>
                  </a:lnTo>
                  <a:lnTo>
                    <a:pt x="317" y="8"/>
                  </a:lnTo>
                  <a:lnTo>
                    <a:pt x="318" y="9"/>
                  </a:lnTo>
                  <a:lnTo>
                    <a:pt x="319" y="10"/>
                  </a:lnTo>
                  <a:lnTo>
                    <a:pt x="320" y="11"/>
                  </a:lnTo>
                  <a:lnTo>
                    <a:pt x="325" y="15"/>
                  </a:lnTo>
                  <a:lnTo>
                    <a:pt x="327" y="17"/>
                  </a:lnTo>
                  <a:lnTo>
                    <a:pt x="329" y="18"/>
                  </a:lnTo>
                  <a:lnTo>
                    <a:pt x="330" y="19"/>
                  </a:lnTo>
                  <a:lnTo>
                    <a:pt x="331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1"/>
                  </a:lnTo>
                  <a:lnTo>
                    <a:pt x="334" y="21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8" y="19"/>
                  </a:lnTo>
                  <a:lnTo>
                    <a:pt x="339" y="18"/>
                  </a:lnTo>
                  <a:lnTo>
                    <a:pt x="340" y="18"/>
                  </a:lnTo>
                  <a:lnTo>
                    <a:pt x="342" y="17"/>
                  </a:lnTo>
                  <a:lnTo>
                    <a:pt x="342" y="17"/>
                  </a:lnTo>
                  <a:lnTo>
                    <a:pt x="343" y="17"/>
                  </a:lnTo>
                  <a:lnTo>
                    <a:pt x="343" y="17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5" y="19"/>
                  </a:lnTo>
                  <a:lnTo>
                    <a:pt x="346" y="21"/>
                  </a:lnTo>
                  <a:lnTo>
                    <a:pt x="347" y="23"/>
                  </a:lnTo>
                  <a:lnTo>
                    <a:pt x="348" y="25"/>
                  </a:lnTo>
                  <a:lnTo>
                    <a:pt x="349" y="27"/>
                  </a:lnTo>
                  <a:lnTo>
                    <a:pt x="351" y="31"/>
                  </a:lnTo>
                  <a:lnTo>
                    <a:pt x="353" y="35"/>
                  </a:lnTo>
                  <a:lnTo>
                    <a:pt x="354" y="37"/>
                  </a:lnTo>
                  <a:lnTo>
                    <a:pt x="355" y="38"/>
                  </a:lnTo>
                  <a:lnTo>
                    <a:pt x="356" y="39"/>
                  </a:lnTo>
                  <a:lnTo>
                    <a:pt x="356" y="40"/>
                  </a:lnTo>
                  <a:lnTo>
                    <a:pt x="358" y="41"/>
                  </a:lnTo>
                  <a:lnTo>
                    <a:pt x="359" y="42"/>
                  </a:lnTo>
                  <a:lnTo>
                    <a:pt x="360" y="42"/>
                  </a:lnTo>
                  <a:lnTo>
                    <a:pt x="361" y="43"/>
                  </a:lnTo>
                  <a:lnTo>
                    <a:pt x="362" y="43"/>
                  </a:lnTo>
                  <a:lnTo>
                    <a:pt x="363" y="43"/>
                  </a:lnTo>
                  <a:lnTo>
                    <a:pt x="364" y="43"/>
                  </a:lnTo>
                  <a:lnTo>
                    <a:pt x="365" y="43"/>
                  </a:lnTo>
                  <a:lnTo>
                    <a:pt x="366" y="43"/>
                  </a:lnTo>
                  <a:lnTo>
                    <a:pt x="367" y="43"/>
                  </a:lnTo>
                  <a:lnTo>
                    <a:pt x="368" y="43"/>
                  </a:lnTo>
                  <a:lnTo>
                    <a:pt x="368" y="43"/>
                  </a:lnTo>
                  <a:lnTo>
                    <a:pt x="369" y="42"/>
                  </a:lnTo>
                  <a:lnTo>
                    <a:pt x="370" y="42"/>
                  </a:lnTo>
                  <a:lnTo>
                    <a:pt x="370" y="42"/>
                  </a:lnTo>
                  <a:lnTo>
                    <a:pt x="370" y="43"/>
                  </a:lnTo>
                  <a:lnTo>
                    <a:pt x="371" y="49"/>
                  </a:lnTo>
                  <a:lnTo>
                    <a:pt x="371" y="50"/>
                  </a:lnTo>
                  <a:lnTo>
                    <a:pt x="371" y="52"/>
                  </a:lnTo>
                  <a:lnTo>
                    <a:pt x="371" y="53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5"/>
                  </a:lnTo>
                  <a:lnTo>
                    <a:pt x="370" y="56"/>
                  </a:lnTo>
                  <a:lnTo>
                    <a:pt x="370" y="57"/>
                  </a:lnTo>
                  <a:lnTo>
                    <a:pt x="369" y="58"/>
                  </a:lnTo>
                  <a:lnTo>
                    <a:pt x="368" y="58"/>
                  </a:lnTo>
                  <a:lnTo>
                    <a:pt x="367" y="59"/>
                  </a:lnTo>
                  <a:lnTo>
                    <a:pt x="365" y="59"/>
                  </a:lnTo>
                  <a:lnTo>
                    <a:pt x="364" y="60"/>
                  </a:lnTo>
                  <a:lnTo>
                    <a:pt x="363" y="60"/>
                  </a:lnTo>
                  <a:lnTo>
                    <a:pt x="362" y="61"/>
                  </a:lnTo>
                  <a:lnTo>
                    <a:pt x="362" y="62"/>
                  </a:lnTo>
                  <a:lnTo>
                    <a:pt x="361" y="62"/>
                  </a:lnTo>
                  <a:lnTo>
                    <a:pt x="361" y="62"/>
                  </a:lnTo>
                  <a:lnTo>
                    <a:pt x="361" y="63"/>
                  </a:lnTo>
                  <a:lnTo>
                    <a:pt x="361" y="64"/>
                  </a:lnTo>
                  <a:lnTo>
                    <a:pt x="361" y="64"/>
                  </a:lnTo>
                  <a:lnTo>
                    <a:pt x="361" y="65"/>
                  </a:lnTo>
                  <a:lnTo>
                    <a:pt x="361" y="66"/>
                  </a:lnTo>
                  <a:lnTo>
                    <a:pt x="362" y="67"/>
                  </a:lnTo>
                  <a:lnTo>
                    <a:pt x="365" y="71"/>
                  </a:lnTo>
                  <a:lnTo>
                    <a:pt x="365" y="72"/>
                  </a:lnTo>
                  <a:lnTo>
                    <a:pt x="366" y="74"/>
                  </a:lnTo>
                  <a:lnTo>
                    <a:pt x="366" y="75"/>
                  </a:lnTo>
                  <a:lnTo>
                    <a:pt x="367" y="77"/>
                  </a:lnTo>
                  <a:lnTo>
                    <a:pt x="367" y="78"/>
                  </a:lnTo>
                  <a:lnTo>
                    <a:pt x="367" y="79"/>
                  </a:lnTo>
                  <a:lnTo>
                    <a:pt x="368" y="82"/>
                  </a:lnTo>
                  <a:lnTo>
                    <a:pt x="368" y="84"/>
                  </a:lnTo>
                  <a:lnTo>
                    <a:pt x="368" y="85"/>
                  </a:lnTo>
                  <a:lnTo>
                    <a:pt x="367" y="89"/>
                  </a:lnTo>
                  <a:lnTo>
                    <a:pt x="367" y="91"/>
                  </a:lnTo>
                  <a:lnTo>
                    <a:pt x="367" y="92"/>
                  </a:lnTo>
                  <a:lnTo>
                    <a:pt x="367" y="96"/>
                  </a:lnTo>
                  <a:lnTo>
                    <a:pt x="367" y="97"/>
                  </a:lnTo>
                  <a:lnTo>
                    <a:pt x="367" y="100"/>
                  </a:lnTo>
                  <a:lnTo>
                    <a:pt x="366" y="102"/>
                  </a:lnTo>
                  <a:lnTo>
                    <a:pt x="366" y="103"/>
                  </a:lnTo>
                  <a:lnTo>
                    <a:pt x="365" y="105"/>
                  </a:lnTo>
                  <a:lnTo>
                    <a:pt x="365" y="107"/>
                  </a:lnTo>
                  <a:lnTo>
                    <a:pt x="363" y="112"/>
                  </a:lnTo>
                  <a:lnTo>
                    <a:pt x="361" y="116"/>
                  </a:lnTo>
                  <a:lnTo>
                    <a:pt x="360" y="120"/>
                  </a:lnTo>
                  <a:lnTo>
                    <a:pt x="360" y="121"/>
                  </a:lnTo>
                  <a:lnTo>
                    <a:pt x="359" y="122"/>
                  </a:lnTo>
                  <a:lnTo>
                    <a:pt x="359" y="123"/>
                  </a:lnTo>
                  <a:lnTo>
                    <a:pt x="359" y="124"/>
                  </a:lnTo>
                  <a:lnTo>
                    <a:pt x="360" y="125"/>
                  </a:lnTo>
                  <a:lnTo>
                    <a:pt x="360" y="126"/>
                  </a:lnTo>
                  <a:lnTo>
                    <a:pt x="360" y="126"/>
                  </a:lnTo>
                  <a:lnTo>
                    <a:pt x="360" y="127"/>
                  </a:lnTo>
                  <a:lnTo>
                    <a:pt x="359" y="132"/>
                  </a:lnTo>
                  <a:lnTo>
                    <a:pt x="358" y="136"/>
                  </a:lnTo>
                  <a:lnTo>
                    <a:pt x="357" y="138"/>
                  </a:lnTo>
                  <a:lnTo>
                    <a:pt x="356" y="140"/>
                  </a:lnTo>
                  <a:lnTo>
                    <a:pt x="355" y="144"/>
                  </a:lnTo>
                  <a:lnTo>
                    <a:pt x="355" y="145"/>
                  </a:lnTo>
                  <a:lnTo>
                    <a:pt x="354" y="147"/>
                  </a:lnTo>
                  <a:lnTo>
                    <a:pt x="354" y="149"/>
                  </a:lnTo>
                  <a:lnTo>
                    <a:pt x="354" y="150"/>
                  </a:lnTo>
                  <a:lnTo>
                    <a:pt x="354" y="151"/>
                  </a:lnTo>
                  <a:lnTo>
                    <a:pt x="355" y="153"/>
                  </a:lnTo>
                  <a:lnTo>
                    <a:pt x="355" y="153"/>
                  </a:lnTo>
                  <a:lnTo>
                    <a:pt x="355" y="154"/>
                  </a:lnTo>
                  <a:lnTo>
                    <a:pt x="356" y="156"/>
                  </a:lnTo>
                  <a:lnTo>
                    <a:pt x="357" y="157"/>
                  </a:lnTo>
                  <a:lnTo>
                    <a:pt x="358" y="158"/>
                  </a:lnTo>
                  <a:lnTo>
                    <a:pt x="360" y="160"/>
                  </a:lnTo>
                  <a:lnTo>
                    <a:pt x="363" y="162"/>
                  </a:lnTo>
                  <a:lnTo>
                    <a:pt x="364" y="163"/>
                  </a:lnTo>
                  <a:lnTo>
                    <a:pt x="365" y="164"/>
                  </a:lnTo>
                  <a:lnTo>
                    <a:pt x="365" y="165"/>
                  </a:lnTo>
                  <a:lnTo>
                    <a:pt x="366" y="166"/>
                  </a:lnTo>
                  <a:lnTo>
                    <a:pt x="367" y="168"/>
                  </a:lnTo>
                  <a:lnTo>
                    <a:pt x="368" y="169"/>
                  </a:lnTo>
                  <a:lnTo>
                    <a:pt x="368" y="169"/>
                  </a:lnTo>
                  <a:lnTo>
                    <a:pt x="368" y="170"/>
                  </a:lnTo>
                  <a:lnTo>
                    <a:pt x="368" y="170"/>
                  </a:lnTo>
                  <a:lnTo>
                    <a:pt x="367" y="171"/>
                  </a:lnTo>
                  <a:lnTo>
                    <a:pt x="367" y="172"/>
                  </a:lnTo>
                  <a:lnTo>
                    <a:pt x="365" y="174"/>
                  </a:lnTo>
                  <a:lnTo>
                    <a:pt x="364" y="176"/>
                  </a:lnTo>
                  <a:lnTo>
                    <a:pt x="363" y="178"/>
                  </a:lnTo>
                  <a:lnTo>
                    <a:pt x="362" y="179"/>
                  </a:lnTo>
                  <a:lnTo>
                    <a:pt x="361" y="180"/>
                  </a:lnTo>
                  <a:lnTo>
                    <a:pt x="361" y="181"/>
                  </a:lnTo>
                  <a:lnTo>
                    <a:pt x="361" y="182"/>
                  </a:lnTo>
                  <a:lnTo>
                    <a:pt x="361" y="183"/>
                  </a:lnTo>
                  <a:lnTo>
                    <a:pt x="361" y="184"/>
                  </a:lnTo>
                  <a:lnTo>
                    <a:pt x="361" y="185"/>
                  </a:lnTo>
                  <a:lnTo>
                    <a:pt x="362" y="186"/>
                  </a:lnTo>
                  <a:lnTo>
                    <a:pt x="362" y="187"/>
                  </a:lnTo>
                  <a:lnTo>
                    <a:pt x="363" y="189"/>
                  </a:lnTo>
                  <a:lnTo>
                    <a:pt x="366" y="193"/>
                  </a:lnTo>
                  <a:lnTo>
                    <a:pt x="369" y="197"/>
                  </a:lnTo>
                  <a:lnTo>
                    <a:pt x="369" y="198"/>
                  </a:lnTo>
                  <a:lnTo>
                    <a:pt x="370" y="199"/>
                  </a:lnTo>
                  <a:lnTo>
                    <a:pt x="375" y="204"/>
                  </a:lnTo>
                  <a:lnTo>
                    <a:pt x="376" y="205"/>
                  </a:lnTo>
                  <a:lnTo>
                    <a:pt x="379" y="208"/>
                  </a:lnTo>
                  <a:lnTo>
                    <a:pt x="381" y="210"/>
                  </a:lnTo>
                  <a:lnTo>
                    <a:pt x="384" y="213"/>
                  </a:lnTo>
                  <a:lnTo>
                    <a:pt x="387" y="215"/>
                  </a:lnTo>
                  <a:lnTo>
                    <a:pt x="389" y="217"/>
                  </a:lnTo>
                  <a:lnTo>
                    <a:pt x="390" y="217"/>
                  </a:lnTo>
                  <a:lnTo>
                    <a:pt x="390" y="217"/>
                  </a:lnTo>
                  <a:lnTo>
                    <a:pt x="392" y="218"/>
                  </a:lnTo>
                  <a:lnTo>
                    <a:pt x="393" y="218"/>
                  </a:lnTo>
                  <a:lnTo>
                    <a:pt x="394" y="218"/>
                  </a:lnTo>
                  <a:lnTo>
                    <a:pt x="395" y="218"/>
                  </a:lnTo>
                  <a:lnTo>
                    <a:pt x="396" y="217"/>
                  </a:lnTo>
                  <a:lnTo>
                    <a:pt x="398" y="217"/>
                  </a:lnTo>
                  <a:lnTo>
                    <a:pt x="403" y="214"/>
                  </a:lnTo>
                  <a:lnTo>
                    <a:pt x="405" y="213"/>
                  </a:lnTo>
                  <a:lnTo>
                    <a:pt x="407" y="213"/>
                  </a:lnTo>
                  <a:lnTo>
                    <a:pt x="408" y="212"/>
                  </a:lnTo>
                  <a:lnTo>
                    <a:pt x="410" y="212"/>
                  </a:lnTo>
                  <a:lnTo>
                    <a:pt x="411" y="212"/>
                  </a:lnTo>
                  <a:lnTo>
                    <a:pt x="412" y="212"/>
                  </a:lnTo>
                  <a:lnTo>
                    <a:pt x="413" y="212"/>
                  </a:lnTo>
                  <a:lnTo>
                    <a:pt x="414" y="212"/>
                  </a:lnTo>
                  <a:lnTo>
                    <a:pt x="415" y="213"/>
                  </a:lnTo>
                  <a:lnTo>
                    <a:pt x="416" y="213"/>
                  </a:lnTo>
                  <a:lnTo>
                    <a:pt x="417" y="214"/>
                  </a:lnTo>
                  <a:lnTo>
                    <a:pt x="420" y="217"/>
                  </a:lnTo>
                  <a:lnTo>
                    <a:pt x="422" y="218"/>
                  </a:lnTo>
                  <a:lnTo>
                    <a:pt x="424" y="220"/>
                  </a:lnTo>
                  <a:lnTo>
                    <a:pt x="426" y="221"/>
                  </a:lnTo>
                  <a:lnTo>
                    <a:pt x="428" y="221"/>
                  </a:lnTo>
                  <a:lnTo>
                    <a:pt x="429" y="222"/>
                  </a:lnTo>
                  <a:lnTo>
                    <a:pt x="434" y="224"/>
                  </a:lnTo>
                  <a:lnTo>
                    <a:pt x="436" y="224"/>
                  </a:lnTo>
                  <a:lnTo>
                    <a:pt x="438" y="225"/>
                  </a:lnTo>
                  <a:lnTo>
                    <a:pt x="439" y="226"/>
                  </a:lnTo>
                  <a:lnTo>
                    <a:pt x="440" y="226"/>
                  </a:lnTo>
                  <a:lnTo>
                    <a:pt x="440" y="227"/>
                  </a:lnTo>
                  <a:lnTo>
                    <a:pt x="441" y="227"/>
                  </a:lnTo>
                  <a:lnTo>
                    <a:pt x="441" y="228"/>
                  </a:lnTo>
                  <a:lnTo>
                    <a:pt x="442" y="229"/>
                  </a:lnTo>
                  <a:lnTo>
                    <a:pt x="442" y="230"/>
                  </a:lnTo>
                  <a:lnTo>
                    <a:pt x="442" y="230"/>
                  </a:lnTo>
                  <a:lnTo>
                    <a:pt x="442" y="231"/>
                  </a:lnTo>
                  <a:lnTo>
                    <a:pt x="441" y="233"/>
                  </a:lnTo>
                  <a:lnTo>
                    <a:pt x="441" y="234"/>
                  </a:lnTo>
                  <a:lnTo>
                    <a:pt x="441" y="234"/>
                  </a:lnTo>
                  <a:lnTo>
                    <a:pt x="440" y="235"/>
                  </a:lnTo>
                  <a:lnTo>
                    <a:pt x="440" y="236"/>
                  </a:lnTo>
                  <a:lnTo>
                    <a:pt x="439" y="236"/>
                  </a:lnTo>
                  <a:lnTo>
                    <a:pt x="438" y="237"/>
                  </a:lnTo>
                  <a:lnTo>
                    <a:pt x="437" y="238"/>
                  </a:lnTo>
                  <a:lnTo>
                    <a:pt x="436" y="238"/>
                  </a:lnTo>
                  <a:lnTo>
                    <a:pt x="436" y="238"/>
                  </a:lnTo>
                  <a:lnTo>
                    <a:pt x="436" y="239"/>
                  </a:lnTo>
                  <a:lnTo>
                    <a:pt x="436" y="239"/>
                  </a:lnTo>
                  <a:lnTo>
                    <a:pt x="437" y="239"/>
                  </a:lnTo>
                  <a:lnTo>
                    <a:pt x="438" y="240"/>
                  </a:lnTo>
                  <a:lnTo>
                    <a:pt x="439" y="240"/>
                  </a:lnTo>
                  <a:lnTo>
                    <a:pt x="440" y="241"/>
                  </a:lnTo>
                  <a:lnTo>
                    <a:pt x="441" y="241"/>
                  </a:lnTo>
                  <a:lnTo>
                    <a:pt x="442" y="241"/>
                  </a:lnTo>
                  <a:lnTo>
                    <a:pt x="446" y="242"/>
                  </a:lnTo>
                  <a:lnTo>
                    <a:pt x="448" y="242"/>
                  </a:lnTo>
                  <a:lnTo>
                    <a:pt x="449" y="242"/>
                  </a:lnTo>
                  <a:lnTo>
                    <a:pt x="450" y="243"/>
                  </a:lnTo>
                  <a:lnTo>
                    <a:pt x="450" y="243"/>
                  </a:lnTo>
                  <a:lnTo>
                    <a:pt x="451" y="243"/>
                  </a:lnTo>
                  <a:lnTo>
                    <a:pt x="452" y="244"/>
                  </a:lnTo>
                  <a:lnTo>
                    <a:pt x="453" y="245"/>
                  </a:lnTo>
                  <a:lnTo>
                    <a:pt x="455" y="246"/>
                  </a:lnTo>
                  <a:lnTo>
                    <a:pt x="456" y="248"/>
                  </a:lnTo>
                  <a:lnTo>
                    <a:pt x="459" y="252"/>
                  </a:lnTo>
                  <a:lnTo>
                    <a:pt x="460" y="252"/>
                  </a:lnTo>
                  <a:lnTo>
                    <a:pt x="461" y="253"/>
                  </a:lnTo>
                  <a:lnTo>
                    <a:pt x="462" y="254"/>
                  </a:lnTo>
                  <a:lnTo>
                    <a:pt x="463" y="254"/>
                  </a:lnTo>
                  <a:lnTo>
                    <a:pt x="463" y="255"/>
                  </a:lnTo>
                  <a:lnTo>
                    <a:pt x="464" y="255"/>
                  </a:lnTo>
                  <a:lnTo>
                    <a:pt x="466" y="256"/>
                  </a:lnTo>
                  <a:lnTo>
                    <a:pt x="468" y="256"/>
                  </a:lnTo>
                  <a:lnTo>
                    <a:pt x="469" y="256"/>
                  </a:lnTo>
                  <a:lnTo>
                    <a:pt x="471" y="256"/>
                  </a:lnTo>
                  <a:lnTo>
                    <a:pt x="472" y="256"/>
                  </a:lnTo>
                  <a:lnTo>
                    <a:pt x="474" y="255"/>
                  </a:lnTo>
                  <a:lnTo>
                    <a:pt x="475" y="254"/>
                  </a:lnTo>
                  <a:lnTo>
                    <a:pt x="479" y="252"/>
                  </a:lnTo>
                  <a:lnTo>
                    <a:pt x="481" y="252"/>
                  </a:lnTo>
                  <a:lnTo>
                    <a:pt x="482" y="251"/>
                  </a:lnTo>
                  <a:lnTo>
                    <a:pt x="482" y="251"/>
                  </a:lnTo>
                  <a:lnTo>
                    <a:pt x="483" y="251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2"/>
                  </a:lnTo>
                  <a:lnTo>
                    <a:pt x="493" y="253"/>
                  </a:lnTo>
                  <a:lnTo>
                    <a:pt x="498" y="255"/>
                  </a:lnTo>
                  <a:lnTo>
                    <a:pt x="501" y="256"/>
                  </a:lnTo>
                  <a:lnTo>
                    <a:pt x="503" y="257"/>
                  </a:lnTo>
                  <a:lnTo>
                    <a:pt x="505" y="258"/>
                  </a:lnTo>
                  <a:lnTo>
                    <a:pt x="506" y="259"/>
                  </a:lnTo>
                  <a:lnTo>
                    <a:pt x="507" y="259"/>
                  </a:lnTo>
                  <a:lnTo>
                    <a:pt x="508" y="261"/>
                  </a:lnTo>
                  <a:lnTo>
                    <a:pt x="509" y="262"/>
                  </a:lnTo>
                  <a:lnTo>
                    <a:pt x="510" y="262"/>
                  </a:lnTo>
                  <a:lnTo>
                    <a:pt x="511" y="263"/>
                  </a:lnTo>
                  <a:lnTo>
                    <a:pt x="511" y="263"/>
                  </a:lnTo>
                  <a:lnTo>
                    <a:pt x="512" y="263"/>
                  </a:lnTo>
                  <a:lnTo>
                    <a:pt x="517" y="262"/>
                  </a:lnTo>
                  <a:lnTo>
                    <a:pt x="519" y="262"/>
                  </a:lnTo>
                  <a:lnTo>
                    <a:pt x="523" y="261"/>
                  </a:lnTo>
                  <a:lnTo>
                    <a:pt x="525" y="260"/>
                  </a:lnTo>
                  <a:lnTo>
                    <a:pt x="526" y="260"/>
                  </a:lnTo>
                  <a:lnTo>
                    <a:pt x="530" y="260"/>
                  </a:lnTo>
                  <a:lnTo>
                    <a:pt x="534" y="259"/>
                  </a:lnTo>
                  <a:lnTo>
                    <a:pt x="535" y="259"/>
                  </a:lnTo>
                  <a:lnTo>
                    <a:pt x="537" y="259"/>
                  </a:lnTo>
                  <a:lnTo>
                    <a:pt x="539" y="259"/>
                  </a:lnTo>
                  <a:lnTo>
                    <a:pt x="540" y="259"/>
                  </a:lnTo>
                  <a:lnTo>
                    <a:pt x="541" y="260"/>
                  </a:lnTo>
                  <a:lnTo>
                    <a:pt x="542" y="260"/>
                  </a:lnTo>
                  <a:lnTo>
                    <a:pt x="543" y="260"/>
                  </a:lnTo>
                  <a:lnTo>
                    <a:pt x="544" y="261"/>
                  </a:lnTo>
                  <a:lnTo>
                    <a:pt x="544" y="262"/>
                  </a:lnTo>
                  <a:lnTo>
                    <a:pt x="545" y="263"/>
                  </a:lnTo>
                  <a:lnTo>
                    <a:pt x="546" y="264"/>
                  </a:lnTo>
                  <a:lnTo>
                    <a:pt x="546" y="265"/>
                  </a:lnTo>
                  <a:lnTo>
                    <a:pt x="547" y="266"/>
                  </a:lnTo>
                  <a:lnTo>
                    <a:pt x="547" y="269"/>
                  </a:lnTo>
                  <a:lnTo>
                    <a:pt x="548" y="271"/>
                  </a:lnTo>
                  <a:lnTo>
                    <a:pt x="548" y="272"/>
                  </a:lnTo>
                  <a:lnTo>
                    <a:pt x="548" y="274"/>
                  </a:lnTo>
                  <a:lnTo>
                    <a:pt x="548" y="275"/>
                  </a:lnTo>
                  <a:lnTo>
                    <a:pt x="548" y="276"/>
                  </a:lnTo>
                  <a:lnTo>
                    <a:pt x="548" y="279"/>
                  </a:lnTo>
                  <a:lnTo>
                    <a:pt x="547" y="283"/>
                  </a:lnTo>
                  <a:lnTo>
                    <a:pt x="547" y="286"/>
                  </a:lnTo>
                  <a:lnTo>
                    <a:pt x="547" y="288"/>
                  </a:lnTo>
                  <a:lnTo>
                    <a:pt x="547" y="290"/>
                  </a:lnTo>
                  <a:lnTo>
                    <a:pt x="547" y="291"/>
                  </a:lnTo>
                  <a:lnTo>
                    <a:pt x="548" y="293"/>
                  </a:lnTo>
                  <a:lnTo>
                    <a:pt x="549" y="295"/>
                  </a:lnTo>
                  <a:lnTo>
                    <a:pt x="550" y="297"/>
                  </a:lnTo>
                  <a:lnTo>
                    <a:pt x="550" y="298"/>
                  </a:lnTo>
                  <a:lnTo>
                    <a:pt x="551" y="299"/>
                  </a:lnTo>
                  <a:lnTo>
                    <a:pt x="552" y="300"/>
                  </a:lnTo>
                  <a:lnTo>
                    <a:pt x="555" y="302"/>
                  </a:lnTo>
                  <a:lnTo>
                    <a:pt x="556" y="304"/>
                  </a:lnTo>
                  <a:lnTo>
                    <a:pt x="560" y="306"/>
                  </a:lnTo>
                  <a:lnTo>
                    <a:pt x="564" y="310"/>
                  </a:lnTo>
                  <a:lnTo>
                    <a:pt x="565" y="311"/>
                  </a:lnTo>
                  <a:lnTo>
                    <a:pt x="567" y="312"/>
                  </a:lnTo>
                  <a:lnTo>
                    <a:pt x="569" y="314"/>
                  </a:lnTo>
                  <a:lnTo>
                    <a:pt x="576" y="318"/>
                  </a:lnTo>
                  <a:lnTo>
                    <a:pt x="579" y="320"/>
                  </a:lnTo>
                  <a:lnTo>
                    <a:pt x="580" y="320"/>
                  </a:lnTo>
                  <a:lnTo>
                    <a:pt x="581" y="320"/>
                  </a:lnTo>
                  <a:lnTo>
                    <a:pt x="581" y="320"/>
                  </a:lnTo>
                  <a:lnTo>
                    <a:pt x="582" y="320"/>
                  </a:lnTo>
                  <a:lnTo>
                    <a:pt x="582" y="320"/>
                  </a:lnTo>
                  <a:lnTo>
                    <a:pt x="583" y="320"/>
                  </a:lnTo>
                  <a:lnTo>
                    <a:pt x="585" y="319"/>
                  </a:lnTo>
                  <a:lnTo>
                    <a:pt x="586" y="319"/>
                  </a:lnTo>
                  <a:lnTo>
                    <a:pt x="588" y="318"/>
                  </a:lnTo>
                  <a:lnTo>
                    <a:pt x="589" y="318"/>
                  </a:lnTo>
                  <a:lnTo>
                    <a:pt x="590" y="319"/>
                  </a:lnTo>
                  <a:lnTo>
                    <a:pt x="591" y="319"/>
                  </a:lnTo>
                  <a:lnTo>
                    <a:pt x="592" y="319"/>
                  </a:lnTo>
                  <a:lnTo>
                    <a:pt x="597" y="320"/>
                  </a:lnTo>
                  <a:lnTo>
                    <a:pt x="598" y="321"/>
                  </a:lnTo>
                  <a:lnTo>
                    <a:pt x="600" y="321"/>
                  </a:lnTo>
                  <a:lnTo>
                    <a:pt x="602" y="321"/>
                  </a:lnTo>
                  <a:lnTo>
                    <a:pt x="605" y="321"/>
                  </a:lnTo>
                  <a:lnTo>
                    <a:pt x="609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4" y="320"/>
                  </a:lnTo>
                  <a:lnTo>
                    <a:pt x="616" y="320"/>
                  </a:lnTo>
                  <a:lnTo>
                    <a:pt x="619" y="318"/>
                  </a:lnTo>
                  <a:lnTo>
                    <a:pt x="621" y="318"/>
                  </a:lnTo>
                  <a:lnTo>
                    <a:pt x="623" y="317"/>
                  </a:lnTo>
                  <a:lnTo>
                    <a:pt x="627" y="317"/>
                  </a:lnTo>
                  <a:lnTo>
                    <a:pt x="627" y="317"/>
                  </a:lnTo>
                  <a:lnTo>
                    <a:pt x="629" y="316"/>
                  </a:lnTo>
                  <a:lnTo>
                    <a:pt x="631" y="315"/>
                  </a:lnTo>
                  <a:lnTo>
                    <a:pt x="631" y="315"/>
                  </a:lnTo>
                  <a:lnTo>
                    <a:pt x="632" y="315"/>
                  </a:lnTo>
                  <a:lnTo>
                    <a:pt x="633" y="315"/>
                  </a:lnTo>
                  <a:lnTo>
                    <a:pt x="634" y="315"/>
                  </a:lnTo>
                  <a:lnTo>
                    <a:pt x="634" y="315"/>
                  </a:lnTo>
                  <a:lnTo>
                    <a:pt x="635" y="315"/>
                  </a:lnTo>
                  <a:lnTo>
                    <a:pt x="636" y="315"/>
                  </a:lnTo>
                  <a:lnTo>
                    <a:pt x="637" y="316"/>
                  </a:lnTo>
                  <a:lnTo>
                    <a:pt x="638" y="316"/>
                  </a:lnTo>
                  <a:lnTo>
                    <a:pt x="639" y="317"/>
                  </a:lnTo>
                  <a:lnTo>
                    <a:pt x="640" y="318"/>
                  </a:lnTo>
                  <a:lnTo>
                    <a:pt x="641" y="318"/>
                  </a:lnTo>
                  <a:lnTo>
                    <a:pt x="641" y="319"/>
                  </a:lnTo>
                  <a:lnTo>
                    <a:pt x="641" y="320"/>
                  </a:lnTo>
                  <a:lnTo>
                    <a:pt x="642" y="321"/>
                  </a:lnTo>
                  <a:lnTo>
                    <a:pt x="642" y="322"/>
                  </a:lnTo>
                  <a:lnTo>
                    <a:pt x="642" y="322"/>
                  </a:lnTo>
                  <a:lnTo>
                    <a:pt x="641" y="323"/>
                  </a:lnTo>
                  <a:lnTo>
                    <a:pt x="641" y="324"/>
                  </a:lnTo>
                  <a:lnTo>
                    <a:pt x="641" y="325"/>
                  </a:lnTo>
                  <a:lnTo>
                    <a:pt x="641" y="326"/>
                  </a:lnTo>
                  <a:lnTo>
                    <a:pt x="641" y="327"/>
                  </a:lnTo>
                  <a:lnTo>
                    <a:pt x="642" y="327"/>
                  </a:lnTo>
                  <a:lnTo>
                    <a:pt x="642" y="328"/>
                  </a:lnTo>
                  <a:lnTo>
                    <a:pt x="643" y="329"/>
                  </a:lnTo>
                  <a:lnTo>
                    <a:pt x="644" y="330"/>
                  </a:lnTo>
                  <a:lnTo>
                    <a:pt x="646" y="331"/>
                  </a:lnTo>
                  <a:lnTo>
                    <a:pt x="648" y="333"/>
                  </a:lnTo>
                  <a:lnTo>
                    <a:pt x="650" y="333"/>
                  </a:lnTo>
                  <a:lnTo>
                    <a:pt x="650" y="334"/>
                  </a:lnTo>
                  <a:lnTo>
                    <a:pt x="651" y="335"/>
                  </a:lnTo>
                  <a:lnTo>
                    <a:pt x="654" y="339"/>
                  </a:lnTo>
                  <a:lnTo>
                    <a:pt x="655" y="340"/>
                  </a:lnTo>
                  <a:lnTo>
                    <a:pt x="655" y="341"/>
                  </a:lnTo>
                  <a:lnTo>
                    <a:pt x="656" y="342"/>
                  </a:lnTo>
                  <a:lnTo>
                    <a:pt x="656" y="343"/>
                  </a:lnTo>
                  <a:lnTo>
                    <a:pt x="656" y="344"/>
                  </a:lnTo>
                  <a:lnTo>
                    <a:pt x="655" y="345"/>
                  </a:lnTo>
                  <a:lnTo>
                    <a:pt x="655" y="347"/>
                  </a:lnTo>
                  <a:lnTo>
                    <a:pt x="654" y="349"/>
                  </a:lnTo>
                  <a:lnTo>
                    <a:pt x="654" y="349"/>
                  </a:lnTo>
                  <a:lnTo>
                    <a:pt x="653" y="350"/>
                  </a:lnTo>
                  <a:lnTo>
                    <a:pt x="652" y="350"/>
                  </a:lnTo>
                  <a:lnTo>
                    <a:pt x="652" y="351"/>
                  </a:lnTo>
                  <a:lnTo>
                    <a:pt x="650" y="351"/>
                  </a:lnTo>
                  <a:lnTo>
                    <a:pt x="649" y="352"/>
                  </a:lnTo>
                  <a:lnTo>
                    <a:pt x="646" y="353"/>
                  </a:lnTo>
                  <a:lnTo>
                    <a:pt x="643" y="353"/>
                  </a:lnTo>
                  <a:lnTo>
                    <a:pt x="642" y="354"/>
                  </a:lnTo>
                  <a:lnTo>
                    <a:pt x="641" y="354"/>
                  </a:lnTo>
                  <a:lnTo>
                    <a:pt x="640" y="354"/>
                  </a:lnTo>
                  <a:lnTo>
                    <a:pt x="640" y="355"/>
                  </a:lnTo>
                  <a:lnTo>
                    <a:pt x="639" y="355"/>
                  </a:lnTo>
                  <a:lnTo>
                    <a:pt x="638" y="356"/>
                  </a:lnTo>
                  <a:lnTo>
                    <a:pt x="637" y="359"/>
                  </a:lnTo>
                  <a:lnTo>
                    <a:pt x="636" y="361"/>
                  </a:lnTo>
                  <a:lnTo>
                    <a:pt x="635" y="362"/>
                  </a:lnTo>
                  <a:lnTo>
                    <a:pt x="634" y="364"/>
                  </a:lnTo>
                  <a:lnTo>
                    <a:pt x="634" y="365"/>
                  </a:lnTo>
                  <a:lnTo>
                    <a:pt x="633" y="368"/>
                  </a:lnTo>
                  <a:lnTo>
                    <a:pt x="633" y="369"/>
                  </a:lnTo>
                  <a:lnTo>
                    <a:pt x="633" y="370"/>
                  </a:lnTo>
                  <a:lnTo>
                    <a:pt x="632" y="371"/>
                  </a:lnTo>
                  <a:lnTo>
                    <a:pt x="631" y="372"/>
                  </a:lnTo>
                  <a:lnTo>
                    <a:pt x="629" y="376"/>
                  </a:lnTo>
                  <a:lnTo>
                    <a:pt x="629" y="377"/>
                  </a:lnTo>
                  <a:lnTo>
                    <a:pt x="628" y="378"/>
                  </a:lnTo>
                  <a:lnTo>
                    <a:pt x="627" y="382"/>
                  </a:lnTo>
                  <a:lnTo>
                    <a:pt x="626" y="383"/>
                  </a:lnTo>
                  <a:lnTo>
                    <a:pt x="626" y="384"/>
                  </a:lnTo>
                  <a:lnTo>
                    <a:pt x="625" y="385"/>
                  </a:lnTo>
                  <a:lnTo>
                    <a:pt x="624" y="386"/>
                  </a:lnTo>
                  <a:lnTo>
                    <a:pt x="621" y="390"/>
                  </a:lnTo>
                  <a:lnTo>
                    <a:pt x="619" y="392"/>
                  </a:lnTo>
                  <a:lnTo>
                    <a:pt x="618" y="392"/>
                  </a:lnTo>
                  <a:lnTo>
                    <a:pt x="616" y="395"/>
                  </a:lnTo>
                  <a:lnTo>
                    <a:pt x="615" y="397"/>
                  </a:lnTo>
                  <a:lnTo>
                    <a:pt x="614" y="398"/>
                  </a:lnTo>
                  <a:lnTo>
                    <a:pt x="613" y="400"/>
                  </a:lnTo>
                  <a:lnTo>
                    <a:pt x="613" y="400"/>
                  </a:lnTo>
                  <a:lnTo>
                    <a:pt x="613" y="401"/>
                  </a:lnTo>
                  <a:lnTo>
                    <a:pt x="613" y="402"/>
                  </a:lnTo>
                  <a:lnTo>
                    <a:pt x="613" y="402"/>
                  </a:lnTo>
                  <a:lnTo>
                    <a:pt x="613" y="403"/>
                  </a:lnTo>
                  <a:lnTo>
                    <a:pt x="613" y="404"/>
                  </a:lnTo>
                  <a:lnTo>
                    <a:pt x="613" y="404"/>
                  </a:lnTo>
                  <a:lnTo>
                    <a:pt x="614" y="404"/>
                  </a:lnTo>
                  <a:lnTo>
                    <a:pt x="615" y="405"/>
                  </a:lnTo>
                  <a:lnTo>
                    <a:pt x="615" y="405"/>
                  </a:lnTo>
                  <a:lnTo>
                    <a:pt x="618" y="405"/>
                  </a:lnTo>
                  <a:lnTo>
                    <a:pt x="619" y="405"/>
                  </a:lnTo>
                  <a:lnTo>
                    <a:pt x="620" y="405"/>
                  </a:lnTo>
                  <a:lnTo>
                    <a:pt x="621" y="406"/>
                  </a:lnTo>
                  <a:lnTo>
                    <a:pt x="622" y="406"/>
                  </a:lnTo>
                  <a:lnTo>
                    <a:pt x="622" y="406"/>
                  </a:lnTo>
                  <a:lnTo>
                    <a:pt x="623" y="407"/>
                  </a:lnTo>
                  <a:lnTo>
                    <a:pt x="624" y="408"/>
                  </a:lnTo>
                  <a:lnTo>
                    <a:pt x="625" y="409"/>
                  </a:lnTo>
                  <a:lnTo>
                    <a:pt x="626" y="412"/>
                  </a:lnTo>
                  <a:lnTo>
                    <a:pt x="627" y="413"/>
                  </a:lnTo>
                  <a:lnTo>
                    <a:pt x="628" y="414"/>
                  </a:lnTo>
                  <a:lnTo>
                    <a:pt x="629" y="415"/>
                  </a:lnTo>
                  <a:lnTo>
                    <a:pt x="630" y="416"/>
                  </a:lnTo>
                  <a:lnTo>
                    <a:pt x="632" y="417"/>
                  </a:lnTo>
                  <a:lnTo>
                    <a:pt x="634" y="418"/>
                  </a:lnTo>
                  <a:lnTo>
                    <a:pt x="637" y="419"/>
                  </a:lnTo>
                  <a:lnTo>
                    <a:pt x="639" y="421"/>
                  </a:lnTo>
                  <a:lnTo>
                    <a:pt x="641" y="421"/>
                  </a:lnTo>
                  <a:lnTo>
                    <a:pt x="642" y="422"/>
                  </a:lnTo>
                  <a:lnTo>
                    <a:pt x="645" y="424"/>
                  </a:lnTo>
                  <a:lnTo>
                    <a:pt x="646" y="425"/>
                  </a:lnTo>
                  <a:lnTo>
                    <a:pt x="647" y="426"/>
                  </a:lnTo>
                  <a:lnTo>
                    <a:pt x="647" y="427"/>
                  </a:lnTo>
                  <a:lnTo>
                    <a:pt x="648" y="428"/>
                  </a:lnTo>
                  <a:lnTo>
                    <a:pt x="649" y="429"/>
                  </a:lnTo>
                  <a:lnTo>
                    <a:pt x="649" y="430"/>
                  </a:lnTo>
                  <a:lnTo>
                    <a:pt x="651" y="433"/>
                  </a:lnTo>
                  <a:lnTo>
                    <a:pt x="651" y="434"/>
                  </a:lnTo>
                  <a:lnTo>
                    <a:pt x="652" y="435"/>
                  </a:lnTo>
                  <a:lnTo>
                    <a:pt x="652" y="435"/>
                  </a:lnTo>
                  <a:lnTo>
                    <a:pt x="652" y="436"/>
                  </a:lnTo>
                  <a:lnTo>
                    <a:pt x="650" y="438"/>
                  </a:lnTo>
                  <a:lnTo>
                    <a:pt x="649" y="439"/>
                  </a:lnTo>
                  <a:lnTo>
                    <a:pt x="649" y="439"/>
                  </a:lnTo>
                  <a:lnTo>
                    <a:pt x="648" y="439"/>
                  </a:lnTo>
                  <a:lnTo>
                    <a:pt x="648" y="440"/>
                  </a:lnTo>
                  <a:lnTo>
                    <a:pt x="646" y="440"/>
                  </a:lnTo>
                  <a:lnTo>
                    <a:pt x="646" y="440"/>
                  </a:lnTo>
                  <a:lnTo>
                    <a:pt x="645" y="440"/>
                  </a:lnTo>
                  <a:lnTo>
                    <a:pt x="645" y="441"/>
                  </a:lnTo>
                  <a:lnTo>
                    <a:pt x="645" y="442"/>
                  </a:lnTo>
                  <a:lnTo>
                    <a:pt x="645" y="442"/>
                  </a:lnTo>
                  <a:lnTo>
                    <a:pt x="644" y="444"/>
                  </a:lnTo>
                  <a:lnTo>
                    <a:pt x="644" y="445"/>
                  </a:lnTo>
                  <a:lnTo>
                    <a:pt x="643" y="446"/>
                  </a:lnTo>
                  <a:lnTo>
                    <a:pt x="642" y="446"/>
                  </a:lnTo>
                  <a:lnTo>
                    <a:pt x="642" y="447"/>
                  </a:lnTo>
                  <a:lnTo>
                    <a:pt x="642" y="447"/>
                  </a:lnTo>
                  <a:lnTo>
                    <a:pt x="642" y="447"/>
                  </a:lnTo>
                  <a:lnTo>
                    <a:pt x="643" y="448"/>
                  </a:lnTo>
                  <a:lnTo>
                    <a:pt x="643" y="448"/>
                  </a:lnTo>
                  <a:lnTo>
                    <a:pt x="643" y="448"/>
                  </a:lnTo>
                  <a:lnTo>
                    <a:pt x="643" y="449"/>
                  </a:lnTo>
                  <a:lnTo>
                    <a:pt x="642" y="449"/>
                  </a:lnTo>
                  <a:lnTo>
                    <a:pt x="640" y="450"/>
                  </a:lnTo>
                  <a:lnTo>
                    <a:pt x="640" y="451"/>
                  </a:lnTo>
                  <a:lnTo>
                    <a:pt x="639" y="451"/>
                  </a:lnTo>
                  <a:lnTo>
                    <a:pt x="638" y="451"/>
                  </a:lnTo>
                  <a:lnTo>
                    <a:pt x="638" y="452"/>
                  </a:lnTo>
                  <a:lnTo>
                    <a:pt x="637" y="452"/>
                  </a:lnTo>
                  <a:lnTo>
                    <a:pt x="637" y="453"/>
                  </a:lnTo>
                  <a:lnTo>
                    <a:pt x="635" y="458"/>
                  </a:lnTo>
                  <a:lnTo>
                    <a:pt x="634" y="460"/>
                  </a:lnTo>
                  <a:lnTo>
                    <a:pt x="633" y="461"/>
                  </a:lnTo>
                  <a:lnTo>
                    <a:pt x="633" y="461"/>
                  </a:lnTo>
                  <a:lnTo>
                    <a:pt x="632" y="461"/>
                  </a:lnTo>
                  <a:lnTo>
                    <a:pt x="631" y="460"/>
                  </a:lnTo>
                  <a:lnTo>
                    <a:pt x="629" y="459"/>
                  </a:lnTo>
                  <a:lnTo>
                    <a:pt x="627" y="458"/>
                  </a:lnTo>
                  <a:lnTo>
                    <a:pt x="625" y="456"/>
                  </a:lnTo>
                  <a:lnTo>
                    <a:pt x="623" y="454"/>
                  </a:lnTo>
                  <a:lnTo>
                    <a:pt x="621" y="452"/>
                  </a:lnTo>
                  <a:lnTo>
                    <a:pt x="619" y="450"/>
                  </a:lnTo>
                  <a:lnTo>
                    <a:pt x="615" y="445"/>
                  </a:lnTo>
                  <a:lnTo>
                    <a:pt x="613" y="443"/>
                  </a:lnTo>
                  <a:lnTo>
                    <a:pt x="612" y="442"/>
                  </a:lnTo>
                  <a:lnTo>
                    <a:pt x="611" y="441"/>
                  </a:lnTo>
                  <a:lnTo>
                    <a:pt x="609" y="439"/>
                  </a:lnTo>
                  <a:lnTo>
                    <a:pt x="607" y="438"/>
                  </a:lnTo>
                  <a:lnTo>
                    <a:pt x="606" y="437"/>
                  </a:lnTo>
                  <a:lnTo>
                    <a:pt x="604" y="437"/>
                  </a:lnTo>
                  <a:lnTo>
                    <a:pt x="603" y="436"/>
                  </a:lnTo>
                  <a:lnTo>
                    <a:pt x="601" y="436"/>
                  </a:lnTo>
                  <a:lnTo>
                    <a:pt x="599" y="435"/>
                  </a:lnTo>
                  <a:lnTo>
                    <a:pt x="596" y="435"/>
                  </a:lnTo>
                  <a:lnTo>
                    <a:pt x="595" y="434"/>
                  </a:lnTo>
                  <a:lnTo>
                    <a:pt x="589" y="433"/>
                  </a:lnTo>
                  <a:lnTo>
                    <a:pt x="587" y="432"/>
                  </a:lnTo>
                  <a:lnTo>
                    <a:pt x="585" y="432"/>
                  </a:lnTo>
                  <a:lnTo>
                    <a:pt x="584" y="432"/>
                  </a:lnTo>
                  <a:lnTo>
                    <a:pt x="582" y="431"/>
                  </a:lnTo>
                  <a:lnTo>
                    <a:pt x="581" y="430"/>
                  </a:lnTo>
                  <a:lnTo>
                    <a:pt x="579" y="429"/>
                  </a:lnTo>
                  <a:lnTo>
                    <a:pt x="576" y="428"/>
                  </a:lnTo>
                  <a:lnTo>
                    <a:pt x="570" y="424"/>
                  </a:lnTo>
                  <a:lnTo>
                    <a:pt x="565" y="420"/>
                  </a:lnTo>
                  <a:lnTo>
                    <a:pt x="563" y="418"/>
                  </a:lnTo>
                  <a:lnTo>
                    <a:pt x="561" y="417"/>
                  </a:lnTo>
                  <a:lnTo>
                    <a:pt x="558" y="416"/>
                  </a:lnTo>
                  <a:lnTo>
                    <a:pt x="556" y="415"/>
                  </a:lnTo>
                  <a:lnTo>
                    <a:pt x="553" y="414"/>
                  </a:lnTo>
                  <a:lnTo>
                    <a:pt x="552" y="414"/>
                  </a:lnTo>
                  <a:lnTo>
                    <a:pt x="550" y="413"/>
                  </a:lnTo>
                  <a:lnTo>
                    <a:pt x="548" y="413"/>
                  </a:lnTo>
                  <a:lnTo>
                    <a:pt x="546" y="413"/>
                  </a:lnTo>
                  <a:lnTo>
                    <a:pt x="543" y="413"/>
                  </a:lnTo>
                  <a:lnTo>
                    <a:pt x="539" y="414"/>
                  </a:lnTo>
                  <a:lnTo>
                    <a:pt x="538" y="414"/>
                  </a:lnTo>
                  <a:lnTo>
                    <a:pt x="536" y="414"/>
                  </a:lnTo>
                  <a:lnTo>
                    <a:pt x="534" y="413"/>
                  </a:lnTo>
                  <a:lnTo>
                    <a:pt x="532" y="413"/>
                  </a:lnTo>
                  <a:lnTo>
                    <a:pt x="531" y="413"/>
                  </a:lnTo>
                  <a:lnTo>
                    <a:pt x="530" y="412"/>
                  </a:lnTo>
                  <a:lnTo>
                    <a:pt x="528" y="412"/>
                  </a:lnTo>
                  <a:lnTo>
                    <a:pt x="525" y="410"/>
                  </a:lnTo>
                  <a:lnTo>
                    <a:pt x="524" y="410"/>
                  </a:lnTo>
                  <a:lnTo>
                    <a:pt x="523" y="410"/>
                  </a:lnTo>
                  <a:lnTo>
                    <a:pt x="523" y="410"/>
                  </a:lnTo>
                  <a:lnTo>
                    <a:pt x="522" y="410"/>
                  </a:lnTo>
                  <a:lnTo>
                    <a:pt x="522" y="410"/>
                  </a:lnTo>
                  <a:lnTo>
                    <a:pt x="521" y="410"/>
                  </a:lnTo>
                  <a:lnTo>
                    <a:pt x="521" y="410"/>
                  </a:lnTo>
                  <a:lnTo>
                    <a:pt x="520" y="411"/>
                  </a:lnTo>
                  <a:lnTo>
                    <a:pt x="520" y="412"/>
                  </a:lnTo>
                  <a:lnTo>
                    <a:pt x="520" y="413"/>
                  </a:lnTo>
                  <a:lnTo>
                    <a:pt x="518" y="417"/>
                  </a:lnTo>
                  <a:lnTo>
                    <a:pt x="518" y="419"/>
                  </a:lnTo>
                  <a:lnTo>
                    <a:pt x="516" y="421"/>
                  </a:lnTo>
                  <a:lnTo>
                    <a:pt x="515" y="425"/>
                  </a:lnTo>
                  <a:lnTo>
                    <a:pt x="514" y="426"/>
                  </a:lnTo>
                  <a:lnTo>
                    <a:pt x="513" y="427"/>
                  </a:lnTo>
                  <a:lnTo>
                    <a:pt x="512" y="428"/>
                  </a:lnTo>
                  <a:lnTo>
                    <a:pt x="511" y="428"/>
                  </a:lnTo>
                  <a:lnTo>
                    <a:pt x="510" y="429"/>
                  </a:lnTo>
                  <a:lnTo>
                    <a:pt x="510" y="429"/>
                  </a:lnTo>
                  <a:lnTo>
                    <a:pt x="508" y="429"/>
                  </a:lnTo>
                  <a:lnTo>
                    <a:pt x="507" y="429"/>
                  </a:lnTo>
                  <a:lnTo>
                    <a:pt x="503" y="430"/>
                  </a:lnTo>
                  <a:lnTo>
                    <a:pt x="499" y="430"/>
                  </a:lnTo>
                  <a:lnTo>
                    <a:pt x="497" y="430"/>
                  </a:lnTo>
                  <a:lnTo>
                    <a:pt x="495" y="430"/>
                  </a:lnTo>
                  <a:lnTo>
                    <a:pt x="493" y="431"/>
                  </a:lnTo>
                  <a:lnTo>
                    <a:pt x="490" y="432"/>
                  </a:lnTo>
                  <a:lnTo>
                    <a:pt x="488" y="433"/>
                  </a:lnTo>
                  <a:lnTo>
                    <a:pt x="483" y="435"/>
                  </a:lnTo>
                  <a:lnTo>
                    <a:pt x="481" y="436"/>
                  </a:lnTo>
                  <a:lnTo>
                    <a:pt x="480" y="436"/>
                  </a:lnTo>
                  <a:lnTo>
                    <a:pt x="479" y="436"/>
                  </a:lnTo>
                  <a:lnTo>
                    <a:pt x="478" y="437"/>
                  </a:lnTo>
                  <a:lnTo>
                    <a:pt x="475" y="437"/>
                  </a:lnTo>
                  <a:lnTo>
                    <a:pt x="473" y="437"/>
                  </a:lnTo>
                  <a:lnTo>
                    <a:pt x="473" y="437"/>
                  </a:lnTo>
                  <a:lnTo>
                    <a:pt x="472" y="437"/>
                  </a:lnTo>
                  <a:lnTo>
                    <a:pt x="471" y="436"/>
                  </a:lnTo>
                  <a:lnTo>
                    <a:pt x="471" y="436"/>
                  </a:lnTo>
                  <a:lnTo>
                    <a:pt x="470" y="436"/>
                  </a:lnTo>
                  <a:lnTo>
                    <a:pt x="470" y="436"/>
                  </a:lnTo>
                  <a:lnTo>
                    <a:pt x="470" y="435"/>
                  </a:lnTo>
                  <a:lnTo>
                    <a:pt x="470" y="435"/>
                  </a:lnTo>
                  <a:lnTo>
                    <a:pt x="470" y="434"/>
                  </a:lnTo>
                  <a:lnTo>
                    <a:pt x="469" y="433"/>
                  </a:lnTo>
                  <a:lnTo>
                    <a:pt x="469" y="432"/>
                  </a:lnTo>
                  <a:lnTo>
                    <a:pt x="470" y="427"/>
                  </a:lnTo>
                  <a:lnTo>
                    <a:pt x="470" y="426"/>
                  </a:lnTo>
                  <a:lnTo>
                    <a:pt x="470" y="425"/>
                  </a:lnTo>
                  <a:lnTo>
                    <a:pt x="469" y="424"/>
                  </a:lnTo>
                  <a:lnTo>
                    <a:pt x="469" y="422"/>
                  </a:lnTo>
                  <a:lnTo>
                    <a:pt x="468" y="419"/>
                  </a:lnTo>
                  <a:lnTo>
                    <a:pt x="468" y="418"/>
                  </a:lnTo>
                  <a:lnTo>
                    <a:pt x="467" y="414"/>
                  </a:lnTo>
                  <a:lnTo>
                    <a:pt x="466" y="411"/>
                  </a:lnTo>
                  <a:lnTo>
                    <a:pt x="465" y="410"/>
                  </a:lnTo>
                  <a:lnTo>
                    <a:pt x="465" y="409"/>
                  </a:lnTo>
                  <a:lnTo>
                    <a:pt x="464" y="409"/>
                  </a:lnTo>
                  <a:lnTo>
                    <a:pt x="463" y="408"/>
                  </a:lnTo>
                  <a:lnTo>
                    <a:pt x="463" y="407"/>
                  </a:lnTo>
                  <a:lnTo>
                    <a:pt x="462" y="406"/>
                  </a:lnTo>
                  <a:lnTo>
                    <a:pt x="460" y="405"/>
                  </a:lnTo>
                  <a:lnTo>
                    <a:pt x="459" y="404"/>
                  </a:lnTo>
                  <a:lnTo>
                    <a:pt x="457" y="404"/>
                  </a:lnTo>
                  <a:lnTo>
                    <a:pt x="455" y="404"/>
                  </a:lnTo>
                  <a:lnTo>
                    <a:pt x="453" y="403"/>
                  </a:lnTo>
                  <a:lnTo>
                    <a:pt x="450" y="403"/>
                  </a:lnTo>
                  <a:lnTo>
                    <a:pt x="448" y="403"/>
                  </a:lnTo>
                  <a:lnTo>
                    <a:pt x="444" y="403"/>
                  </a:lnTo>
                  <a:lnTo>
                    <a:pt x="442" y="403"/>
                  </a:lnTo>
                  <a:lnTo>
                    <a:pt x="440" y="403"/>
                  </a:lnTo>
                  <a:lnTo>
                    <a:pt x="438" y="402"/>
                  </a:lnTo>
                  <a:lnTo>
                    <a:pt x="436" y="402"/>
                  </a:lnTo>
                  <a:lnTo>
                    <a:pt x="435" y="402"/>
                  </a:lnTo>
                  <a:lnTo>
                    <a:pt x="433" y="401"/>
                  </a:lnTo>
                  <a:lnTo>
                    <a:pt x="432" y="401"/>
                  </a:lnTo>
                  <a:lnTo>
                    <a:pt x="431" y="400"/>
                  </a:lnTo>
                  <a:lnTo>
                    <a:pt x="430" y="399"/>
                  </a:lnTo>
                  <a:lnTo>
                    <a:pt x="429" y="398"/>
                  </a:lnTo>
                  <a:lnTo>
                    <a:pt x="426" y="396"/>
                  </a:lnTo>
                  <a:lnTo>
                    <a:pt x="425" y="395"/>
                  </a:lnTo>
                  <a:lnTo>
                    <a:pt x="424" y="395"/>
                  </a:lnTo>
                  <a:lnTo>
                    <a:pt x="424" y="394"/>
                  </a:lnTo>
                  <a:lnTo>
                    <a:pt x="423" y="394"/>
                  </a:lnTo>
                  <a:lnTo>
                    <a:pt x="422" y="393"/>
                  </a:lnTo>
                  <a:lnTo>
                    <a:pt x="421" y="393"/>
                  </a:lnTo>
                  <a:lnTo>
                    <a:pt x="416" y="392"/>
                  </a:lnTo>
                  <a:lnTo>
                    <a:pt x="411" y="391"/>
                  </a:lnTo>
                  <a:lnTo>
                    <a:pt x="410" y="391"/>
                  </a:lnTo>
                  <a:lnTo>
                    <a:pt x="409" y="391"/>
                  </a:lnTo>
                  <a:lnTo>
                    <a:pt x="408" y="391"/>
                  </a:lnTo>
                  <a:lnTo>
                    <a:pt x="406" y="391"/>
                  </a:lnTo>
                  <a:lnTo>
                    <a:pt x="405" y="392"/>
                  </a:lnTo>
                  <a:lnTo>
                    <a:pt x="403" y="392"/>
                  </a:lnTo>
                  <a:lnTo>
                    <a:pt x="401" y="393"/>
                  </a:lnTo>
                  <a:lnTo>
                    <a:pt x="400" y="394"/>
                  </a:lnTo>
                  <a:lnTo>
                    <a:pt x="399" y="395"/>
                  </a:lnTo>
                  <a:lnTo>
                    <a:pt x="399" y="395"/>
                  </a:lnTo>
                  <a:lnTo>
                    <a:pt x="398" y="396"/>
                  </a:lnTo>
                  <a:lnTo>
                    <a:pt x="398" y="396"/>
                  </a:lnTo>
                  <a:lnTo>
                    <a:pt x="398" y="397"/>
                  </a:lnTo>
                  <a:lnTo>
                    <a:pt x="397" y="400"/>
                  </a:lnTo>
                  <a:lnTo>
                    <a:pt x="397" y="402"/>
                  </a:lnTo>
                  <a:lnTo>
                    <a:pt x="396" y="403"/>
                  </a:lnTo>
                  <a:lnTo>
                    <a:pt x="396" y="405"/>
                  </a:lnTo>
                  <a:lnTo>
                    <a:pt x="395" y="407"/>
                  </a:lnTo>
                  <a:lnTo>
                    <a:pt x="393" y="410"/>
                  </a:lnTo>
                  <a:lnTo>
                    <a:pt x="392" y="412"/>
                  </a:lnTo>
                  <a:lnTo>
                    <a:pt x="392" y="413"/>
                  </a:lnTo>
                  <a:lnTo>
                    <a:pt x="391" y="415"/>
                  </a:lnTo>
                  <a:lnTo>
                    <a:pt x="391" y="417"/>
                  </a:lnTo>
                  <a:lnTo>
                    <a:pt x="390" y="418"/>
                  </a:lnTo>
                  <a:lnTo>
                    <a:pt x="390" y="420"/>
                  </a:lnTo>
                  <a:lnTo>
                    <a:pt x="390" y="421"/>
                  </a:lnTo>
                  <a:lnTo>
                    <a:pt x="390" y="423"/>
                  </a:lnTo>
                  <a:lnTo>
                    <a:pt x="390" y="426"/>
                  </a:lnTo>
                  <a:lnTo>
                    <a:pt x="390" y="429"/>
                  </a:lnTo>
                  <a:lnTo>
                    <a:pt x="390" y="432"/>
                  </a:lnTo>
                  <a:lnTo>
                    <a:pt x="391" y="436"/>
                  </a:lnTo>
                  <a:lnTo>
                    <a:pt x="391" y="442"/>
                  </a:lnTo>
                  <a:lnTo>
                    <a:pt x="392" y="447"/>
                  </a:lnTo>
                  <a:lnTo>
                    <a:pt x="392" y="449"/>
                  </a:lnTo>
                  <a:lnTo>
                    <a:pt x="394" y="457"/>
                  </a:lnTo>
                  <a:lnTo>
                    <a:pt x="394" y="459"/>
                  </a:lnTo>
                  <a:lnTo>
                    <a:pt x="394" y="461"/>
                  </a:lnTo>
                  <a:lnTo>
                    <a:pt x="394" y="463"/>
                  </a:lnTo>
                  <a:lnTo>
                    <a:pt x="394" y="465"/>
                  </a:lnTo>
                  <a:lnTo>
                    <a:pt x="394" y="467"/>
                  </a:lnTo>
                  <a:lnTo>
                    <a:pt x="394" y="469"/>
                  </a:lnTo>
                  <a:lnTo>
                    <a:pt x="393" y="472"/>
                  </a:lnTo>
                  <a:lnTo>
                    <a:pt x="391" y="481"/>
                  </a:lnTo>
                  <a:lnTo>
                    <a:pt x="391" y="482"/>
                  </a:lnTo>
                  <a:lnTo>
                    <a:pt x="390" y="485"/>
                  </a:lnTo>
                  <a:lnTo>
                    <a:pt x="390" y="486"/>
                  </a:lnTo>
                  <a:lnTo>
                    <a:pt x="389" y="489"/>
                  </a:lnTo>
                  <a:lnTo>
                    <a:pt x="389" y="491"/>
                  </a:lnTo>
                  <a:lnTo>
                    <a:pt x="389" y="493"/>
                  </a:lnTo>
                  <a:lnTo>
                    <a:pt x="389" y="496"/>
                  </a:lnTo>
                  <a:lnTo>
                    <a:pt x="389" y="501"/>
                  </a:lnTo>
                  <a:lnTo>
                    <a:pt x="389" y="502"/>
                  </a:lnTo>
                  <a:lnTo>
                    <a:pt x="389" y="503"/>
                  </a:lnTo>
                  <a:lnTo>
                    <a:pt x="389" y="504"/>
                  </a:lnTo>
                  <a:lnTo>
                    <a:pt x="388" y="505"/>
                  </a:lnTo>
                  <a:lnTo>
                    <a:pt x="387" y="508"/>
                  </a:lnTo>
                  <a:lnTo>
                    <a:pt x="386" y="511"/>
                  </a:lnTo>
                  <a:lnTo>
                    <a:pt x="384" y="517"/>
                  </a:lnTo>
                  <a:lnTo>
                    <a:pt x="383" y="522"/>
                  </a:lnTo>
                  <a:lnTo>
                    <a:pt x="382" y="524"/>
                  </a:lnTo>
                  <a:lnTo>
                    <a:pt x="382" y="526"/>
                  </a:lnTo>
                  <a:lnTo>
                    <a:pt x="382" y="528"/>
                  </a:lnTo>
                  <a:lnTo>
                    <a:pt x="381" y="531"/>
                  </a:lnTo>
                  <a:lnTo>
                    <a:pt x="381" y="533"/>
                  </a:lnTo>
                  <a:lnTo>
                    <a:pt x="381" y="535"/>
                  </a:lnTo>
                  <a:lnTo>
                    <a:pt x="381" y="536"/>
                  </a:lnTo>
                  <a:lnTo>
                    <a:pt x="382" y="538"/>
                  </a:lnTo>
                  <a:lnTo>
                    <a:pt x="382" y="539"/>
                  </a:lnTo>
                  <a:lnTo>
                    <a:pt x="382" y="540"/>
                  </a:lnTo>
                  <a:lnTo>
                    <a:pt x="383" y="541"/>
                  </a:lnTo>
                  <a:lnTo>
                    <a:pt x="385" y="544"/>
                  </a:lnTo>
                  <a:lnTo>
                    <a:pt x="386" y="545"/>
                  </a:lnTo>
                  <a:lnTo>
                    <a:pt x="386" y="546"/>
                  </a:lnTo>
                  <a:lnTo>
                    <a:pt x="387" y="547"/>
                  </a:lnTo>
                  <a:lnTo>
                    <a:pt x="387" y="548"/>
                  </a:lnTo>
                  <a:lnTo>
                    <a:pt x="387" y="550"/>
                  </a:lnTo>
                  <a:lnTo>
                    <a:pt x="387" y="551"/>
                  </a:lnTo>
                  <a:lnTo>
                    <a:pt x="386" y="552"/>
                  </a:lnTo>
                  <a:lnTo>
                    <a:pt x="386" y="553"/>
                  </a:lnTo>
                  <a:lnTo>
                    <a:pt x="385" y="554"/>
                  </a:lnTo>
                  <a:lnTo>
                    <a:pt x="384" y="555"/>
                  </a:lnTo>
                  <a:lnTo>
                    <a:pt x="382" y="556"/>
                  </a:lnTo>
                  <a:lnTo>
                    <a:pt x="381" y="557"/>
                  </a:lnTo>
                  <a:lnTo>
                    <a:pt x="380" y="557"/>
                  </a:lnTo>
                  <a:lnTo>
                    <a:pt x="379" y="557"/>
                  </a:lnTo>
                  <a:lnTo>
                    <a:pt x="377" y="557"/>
                  </a:lnTo>
                  <a:lnTo>
                    <a:pt x="374" y="557"/>
                  </a:lnTo>
                  <a:lnTo>
                    <a:pt x="372" y="556"/>
                  </a:lnTo>
                  <a:lnTo>
                    <a:pt x="365" y="555"/>
                  </a:lnTo>
                  <a:lnTo>
                    <a:pt x="361" y="553"/>
                  </a:lnTo>
                  <a:lnTo>
                    <a:pt x="359" y="553"/>
                  </a:lnTo>
                  <a:lnTo>
                    <a:pt x="357" y="552"/>
                  </a:lnTo>
                  <a:lnTo>
                    <a:pt x="352" y="550"/>
                  </a:lnTo>
                  <a:lnTo>
                    <a:pt x="351" y="550"/>
                  </a:lnTo>
                  <a:lnTo>
                    <a:pt x="348" y="548"/>
                  </a:lnTo>
                  <a:lnTo>
                    <a:pt x="347" y="548"/>
                  </a:lnTo>
                  <a:lnTo>
                    <a:pt x="345" y="547"/>
                  </a:lnTo>
                  <a:lnTo>
                    <a:pt x="343" y="547"/>
                  </a:lnTo>
                  <a:lnTo>
                    <a:pt x="337" y="546"/>
                  </a:lnTo>
                  <a:lnTo>
                    <a:pt x="333" y="545"/>
                  </a:lnTo>
                  <a:lnTo>
                    <a:pt x="331" y="545"/>
                  </a:lnTo>
                  <a:lnTo>
                    <a:pt x="330" y="545"/>
                  </a:lnTo>
                  <a:lnTo>
                    <a:pt x="328" y="545"/>
                  </a:lnTo>
                  <a:lnTo>
                    <a:pt x="327" y="545"/>
                  </a:lnTo>
                  <a:lnTo>
                    <a:pt x="325" y="545"/>
                  </a:lnTo>
                  <a:lnTo>
                    <a:pt x="324" y="545"/>
                  </a:lnTo>
                  <a:lnTo>
                    <a:pt x="323" y="546"/>
                  </a:lnTo>
                  <a:lnTo>
                    <a:pt x="322" y="546"/>
                  </a:lnTo>
                  <a:lnTo>
                    <a:pt x="321" y="546"/>
                  </a:lnTo>
                  <a:lnTo>
                    <a:pt x="321" y="547"/>
                  </a:lnTo>
                  <a:lnTo>
                    <a:pt x="320" y="548"/>
                  </a:lnTo>
                  <a:lnTo>
                    <a:pt x="319" y="548"/>
                  </a:lnTo>
                  <a:lnTo>
                    <a:pt x="318" y="549"/>
                  </a:lnTo>
                  <a:lnTo>
                    <a:pt x="318" y="551"/>
                  </a:lnTo>
                  <a:lnTo>
                    <a:pt x="317" y="552"/>
                  </a:lnTo>
                  <a:lnTo>
                    <a:pt x="317" y="553"/>
                  </a:lnTo>
                  <a:lnTo>
                    <a:pt x="316" y="558"/>
                  </a:lnTo>
                  <a:lnTo>
                    <a:pt x="315" y="565"/>
                  </a:lnTo>
                  <a:lnTo>
                    <a:pt x="314" y="567"/>
                  </a:lnTo>
                  <a:lnTo>
                    <a:pt x="314" y="571"/>
                  </a:lnTo>
                  <a:lnTo>
                    <a:pt x="313" y="573"/>
                  </a:lnTo>
                  <a:lnTo>
                    <a:pt x="313" y="574"/>
                  </a:lnTo>
                  <a:lnTo>
                    <a:pt x="312" y="575"/>
                  </a:lnTo>
                  <a:lnTo>
                    <a:pt x="312" y="576"/>
                  </a:lnTo>
                  <a:lnTo>
                    <a:pt x="311" y="578"/>
                  </a:lnTo>
                  <a:lnTo>
                    <a:pt x="309" y="580"/>
                  </a:lnTo>
                  <a:lnTo>
                    <a:pt x="307" y="582"/>
                  </a:lnTo>
                  <a:lnTo>
                    <a:pt x="305" y="585"/>
                  </a:lnTo>
                  <a:lnTo>
                    <a:pt x="304" y="586"/>
                  </a:lnTo>
                  <a:lnTo>
                    <a:pt x="302" y="588"/>
                  </a:lnTo>
                  <a:lnTo>
                    <a:pt x="301" y="589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2" name="Freeform 231">
              <a:extLst>
                <a:ext uri="{FF2B5EF4-FFF2-40B4-BE49-F238E27FC236}">
                  <a16:creationId xmlns:a16="http://schemas.microsoft.com/office/drawing/2014/main" id="{B43F1A75-8BEF-4FC3-8360-74CEEA3AB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75782" y="2825419"/>
              <a:ext cx="541113" cy="671551"/>
            </a:xfrm>
            <a:custGeom>
              <a:avLst/>
              <a:gdLst>
                <a:gd name="T0" fmla="*/ 510 w 531"/>
                <a:gd name="T1" fmla="*/ 580 h 659"/>
                <a:gd name="T2" fmla="*/ 507 w 531"/>
                <a:gd name="T3" fmla="*/ 614 h 659"/>
                <a:gd name="T4" fmla="*/ 500 w 531"/>
                <a:gd name="T5" fmla="*/ 640 h 659"/>
                <a:gd name="T6" fmla="*/ 489 w 531"/>
                <a:gd name="T7" fmla="*/ 642 h 659"/>
                <a:gd name="T8" fmla="*/ 476 w 531"/>
                <a:gd name="T9" fmla="*/ 630 h 659"/>
                <a:gd name="T10" fmla="*/ 461 w 531"/>
                <a:gd name="T11" fmla="*/ 618 h 659"/>
                <a:gd name="T12" fmla="*/ 441 w 531"/>
                <a:gd name="T13" fmla="*/ 625 h 659"/>
                <a:gd name="T14" fmla="*/ 415 w 531"/>
                <a:gd name="T15" fmla="*/ 618 h 659"/>
                <a:gd name="T16" fmla="*/ 398 w 531"/>
                <a:gd name="T17" fmla="*/ 603 h 659"/>
                <a:gd name="T18" fmla="*/ 391 w 531"/>
                <a:gd name="T19" fmla="*/ 613 h 659"/>
                <a:gd name="T20" fmla="*/ 382 w 531"/>
                <a:gd name="T21" fmla="*/ 634 h 659"/>
                <a:gd name="T22" fmla="*/ 366 w 531"/>
                <a:gd name="T23" fmla="*/ 639 h 659"/>
                <a:gd name="T24" fmla="*/ 356 w 531"/>
                <a:gd name="T25" fmla="*/ 650 h 659"/>
                <a:gd name="T26" fmla="*/ 340 w 531"/>
                <a:gd name="T27" fmla="*/ 659 h 659"/>
                <a:gd name="T28" fmla="*/ 307 w 531"/>
                <a:gd name="T29" fmla="*/ 644 h 659"/>
                <a:gd name="T30" fmla="*/ 266 w 531"/>
                <a:gd name="T31" fmla="*/ 636 h 659"/>
                <a:gd name="T32" fmla="*/ 238 w 531"/>
                <a:gd name="T33" fmla="*/ 634 h 659"/>
                <a:gd name="T34" fmla="*/ 216 w 531"/>
                <a:gd name="T35" fmla="*/ 622 h 659"/>
                <a:gd name="T36" fmla="*/ 206 w 531"/>
                <a:gd name="T37" fmla="*/ 608 h 659"/>
                <a:gd name="T38" fmla="*/ 207 w 531"/>
                <a:gd name="T39" fmla="*/ 598 h 659"/>
                <a:gd name="T40" fmla="*/ 219 w 531"/>
                <a:gd name="T41" fmla="*/ 587 h 659"/>
                <a:gd name="T42" fmla="*/ 205 w 531"/>
                <a:gd name="T43" fmla="*/ 570 h 659"/>
                <a:gd name="T44" fmla="*/ 184 w 531"/>
                <a:gd name="T45" fmla="*/ 556 h 659"/>
                <a:gd name="T46" fmla="*/ 156 w 531"/>
                <a:gd name="T47" fmla="*/ 533 h 659"/>
                <a:gd name="T48" fmla="*/ 125 w 531"/>
                <a:gd name="T49" fmla="*/ 516 h 659"/>
                <a:gd name="T50" fmla="*/ 113 w 531"/>
                <a:gd name="T51" fmla="*/ 501 h 659"/>
                <a:gd name="T52" fmla="*/ 103 w 531"/>
                <a:gd name="T53" fmla="*/ 478 h 659"/>
                <a:gd name="T54" fmla="*/ 88 w 531"/>
                <a:gd name="T55" fmla="*/ 454 h 659"/>
                <a:gd name="T56" fmla="*/ 72 w 531"/>
                <a:gd name="T57" fmla="*/ 444 h 659"/>
                <a:gd name="T58" fmla="*/ 51 w 531"/>
                <a:gd name="T59" fmla="*/ 435 h 659"/>
                <a:gd name="T60" fmla="*/ 34 w 531"/>
                <a:gd name="T61" fmla="*/ 402 h 659"/>
                <a:gd name="T62" fmla="*/ 21 w 531"/>
                <a:gd name="T63" fmla="*/ 393 h 659"/>
                <a:gd name="T64" fmla="*/ 6 w 531"/>
                <a:gd name="T65" fmla="*/ 386 h 659"/>
                <a:gd name="T66" fmla="*/ 0 w 531"/>
                <a:gd name="T67" fmla="*/ 368 h 659"/>
                <a:gd name="T68" fmla="*/ 9 w 531"/>
                <a:gd name="T69" fmla="*/ 340 h 659"/>
                <a:gd name="T70" fmla="*/ 23 w 531"/>
                <a:gd name="T71" fmla="*/ 330 h 659"/>
                <a:gd name="T72" fmla="*/ 25 w 531"/>
                <a:gd name="T73" fmla="*/ 310 h 659"/>
                <a:gd name="T74" fmla="*/ 24 w 531"/>
                <a:gd name="T75" fmla="*/ 283 h 659"/>
                <a:gd name="T76" fmla="*/ 37 w 531"/>
                <a:gd name="T77" fmla="*/ 272 h 659"/>
                <a:gd name="T78" fmla="*/ 55 w 531"/>
                <a:gd name="T79" fmla="*/ 263 h 659"/>
                <a:gd name="T80" fmla="*/ 70 w 531"/>
                <a:gd name="T81" fmla="*/ 245 h 659"/>
                <a:gd name="T82" fmla="*/ 76 w 531"/>
                <a:gd name="T83" fmla="*/ 231 h 659"/>
                <a:gd name="T84" fmla="*/ 69 w 531"/>
                <a:gd name="T85" fmla="*/ 215 h 659"/>
                <a:gd name="T86" fmla="*/ 80 w 531"/>
                <a:gd name="T87" fmla="*/ 204 h 659"/>
                <a:gd name="T88" fmla="*/ 77 w 531"/>
                <a:gd name="T89" fmla="*/ 194 h 659"/>
                <a:gd name="T90" fmla="*/ 75 w 531"/>
                <a:gd name="T91" fmla="*/ 186 h 659"/>
                <a:gd name="T92" fmla="*/ 84 w 531"/>
                <a:gd name="T93" fmla="*/ 178 h 659"/>
                <a:gd name="T94" fmla="*/ 86 w 531"/>
                <a:gd name="T95" fmla="*/ 163 h 659"/>
                <a:gd name="T96" fmla="*/ 104 w 531"/>
                <a:gd name="T97" fmla="*/ 141 h 659"/>
                <a:gd name="T98" fmla="*/ 108 w 531"/>
                <a:gd name="T99" fmla="*/ 123 h 659"/>
                <a:gd name="T100" fmla="*/ 101 w 531"/>
                <a:gd name="T101" fmla="*/ 94 h 659"/>
                <a:gd name="T102" fmla="*/ 105 w 531"/>
                <a:gd name="T103" fmla="*/ 74 h 659"/>
                <a:gd name="T104" fmla="*/ 100 w 531"/>
                <a:gd name="T105" fmla="*/ 50 h 659"/>
                <a:gd name="T106" fmla="*/ 100 w 531"/>
                <a:gd name="T107" fmla="*/ 33 h 659"/>
                <a:gd name="T108" fmla="*/ 109 w 531"/>
                <a:gd name="T109" fmla="*/ 30 h 659"/>
                <a:gd name="T110" fmla="*/ 132 w 531"/>
                <a:gd name="T111" fmla="*/ 29 h 659"/>
                <a:gd name="T112" fmla="*/ 146 w 531"/>
                <a:gd name="T113" fmla="*/ 26 h 659"/>
                <a:gd name="T114" fmla="*/ 159 w 531"/>
                <a:gd name="T115" fmla="*/ 34 h 659"/>
                <a:gd name="T116" fmla="*/ 175 w 531"/>
                <a:gd name="T117" fmla="*/ 35 h 659"/>
                <a:gd name="T118" fmla="*/ 194 w 531"/>
                <a:gd name="T119" fmla="*/ 28 h 659"/>
                <a:gd name="T120" fmla="*/ 206 w 531"/>
                <a:gd name="T121" fmla="*/ 18 h 659"/>
                <a:gd name="T122" fmla="*/ 225 w 531"/>
                <a:gd name="T123" fmla="*/ 2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1" h="659">
                  <a:moveTo>
                    <a:pt x="531" y="558"/>
                  </a:moveTo>
                  <a:lnTo>
                    <a:pt x="529" y="559"/>
                  </a:lnTo>
                  <a:lnTo>
                    <a:pt x="525" y="562"/>
                  </a:lnTo>
                  <a:lnTo>
                    <a:pt x="520" y="566"/>
                  </a:lnTo>
                  <a:lnTo>
                    <a:pt x="518" y="567"/>
                  </a:lnTo>
                  <a:lnTo>
                    <a:pt x="517" y="569"/>
                  </a:lnTo>
                  <a:lnTo>
                    <a:pt x="516" y="570"/>
                  </a:lnTo>
                  <a:lnTo>
                    <a:pt x="515" y="571"/>
                  </a:lnTo>
                  <a:lnTo>
                    <a:pt x="514" y="573"/>
                  </a:lnTo>
                  <a:lnTo>
                    <a:pt x="512" y="575"/>
                  </a:lnTo>
                  <a:lnTo>
                    <a:pt x="511" y="578"/>
                  </a:lnTo>
                  <a:lnTo>
                    <a:pt x="510" y="580"/>
                  </a:lnTo>
                  <a:lnTo>
                    <a:pt x="509" y="583"/>
                  </a:lnTo>
                  <a:lnTo>
                    <a:pt x="508" y="587"/>
                  </a:lnTo>
                  <a:lnTo>
                    <a:pt x="507" y="589"/>
                  </a:lnTo>
                  <a:lnTo>
                    <a:pt x="507" y="591"/>
                  </a:lnTo>
                  <a:lnTo>
                    <a:pt x="507" y="593"/>
                  </a:lnTo>
                  <a:lnTo>
                    <a:pt x="506" y="595"/>
                  </a:lnTo>
                  <a:lnTo>
                    <a:pt x="506" y="596"/>
                  </a:lnTo>
                  <a:lnTo>
                    <a:pt x="506" y="598"/>
                  </a:lnTo>
                  <a:lnTo>
                    <a:pt x="507" y="606"/>
                  </a:lnTo>
                  <a:lnTo>
                    <a:pt x="507" y="609"/>
                  </a:lnTo>
                  <a:lnTo>
                    <a:pt x="507" y="611"/>
                  </a:lnTo>
                  <a:lnTo>
                    <a:pt x="507" y="614"/>
                  </a:lnTo>
                  <a:lnTo>
                    <a:pt x="506" y="621"/>
                  </a:lnTo>
                  <a:lnTo>
                    <a:pt x="506" y="626"/>
                  </a:lnTo>
                  <a:lnTo>
                    <a:pt x="506" y="627"/>
                  </a:lnTo>
                  <a:lnTo>
                    <a:pt x="506" y="629"/>
                  </a:lnTo>
                  <a:lnTo>
                    <a:pt x="505" y="630"/>
                  </a:lnTo>
                  <a:lnTo>
                    <a:pt x="505" y="632"/>
                  </a:lnTo>
                  <a:lnTo>
                    <a:pt x="504" y="633"/>
                  </a:lnTo>
                  <a:lnTo>
                    <a:pt x="504" y="635"/>
                  </a:lnTo>
                  <a:lnTo>
                    <a:pt x="503" y="636"/>
                  </a:lnTo>
                  <a:lnTo>
                    <a:pt x="502" y="637"/>
                  </a:lnTo>
                  <a:lnTo>
                    <a:pt x="501" y="639"/>
                  </a:lnTo>
                  <a:lnTo>
                    <a:pt x="500" y="640"/>
                  </a:lnTo>
                  <a:lnTo>
                    <a:pt x="500" y="640"/>
                  </a:lnTo>
                  <a:lnTo>
                    <a:pt x="499" y="641"/>
                  </a:lnTo>
                  <a:lnTo>
                    <a:pt x="498" y="641"/>
                  </a:lnTo>
                  <a:lnTo>
                    <a:pt x="498" y="641"/>
                  </a:lnTo>
                  <a:lnTo>
                    <a:pt x="497" y="642"/>
                  </a:lnTo>
                  <a:lnTo>
                    <a:pt x="496" y="642"/>
                  </a:lnTo>
                  <a:lnTo>
                    <a:pt x="495" y="642"/>
                  </a:lnTo>
                  <a:lnTo>
                    <a:pt x="494" y="642"/>
                  </a:lnTo>
                  <a:lnTo>
                    <a:pt x="492" y="643"/>
                  </a:lnTo>
                  <a:lnTo>
                    <a:pt x="491" y="643"/>
                  </a:lnTo>
                  <a:lnTo>
                    <a:pt x="490" y="642"/>
                  </a:lnTo>
                  <a:lnTo>
                    <a:pt x="489" y="642"/>
                  </a:lnTo>
                  <a:lnTo>
                    <a:pt x="488" y="642"/>
                  </a:lnTo>
                  <a:lnTo>
                    <a:pt x="487" y="642"/>
                  </a:lnTo>
                  <a:lnTo>
                    <a:pt x="486" y="641"/>
                  </a:lnTo>
                  <a:lnTo>
                    <a:pt x="486" y="641"/>
                  </a:lnTo>
                  <a:lnTo>
                    <a:pt x="485" y="640"/>
                  </a:lnTo>
                  <a:lnTo>
                    <a:pt x="484" y="639"/>
                  </a:lnTo>
                  <a:lnTo>
                    <a:pt x="483" y="639"/>
                  </a:lnTo>
                  <a:lnTo>
                    <a:pt x="482" y="637"/>
                  </a:lnTo>
                  <a:lnTo>
                    <a:pt x="479" y="633"/>
                  </a:lnTo>
                  <a:lnTo>
                    <a:pt x="478" y="632"/>
                  </a:lnTo>
                  <a:lnTo>
                    <a:pt x="477" y="631"/>
                  </a:lnTo>
                  <a:lnTo>
                    <a:pt x="476" y="630"/>
                  </a:lnTo>
                  <a:lnTo>
                    <a:pt x="474" y="629"/>
                  </a:lnTo>
                  <a:lnTo>
                    <a:pt x="473" y="629"/>
                  </a:lnTo>
                  <a:lnTo>
                    <a:pt x="471" y="628"/>
                  </a:lnTo>
                  <a:lnTo>
                    <a:pt x="470" y="627"/>
                  </a:lnTo>
                  <a:lnTo>
                    <a:pt x="469" y="627"/>
                  </a:lnTo>
                  <a:lnTo>
                    <a:pt x="468" y="626"/>
                  </a:lnTo>
                  <a:lnTo>
                    <a:pt x="467" y="625"/>
                  </a:lnTo>
                  <a:lnTo>
                    <a:pt x="466" y="624"/>
                  </a:lnTo>
                  <a:lnTo>
                    <a:pt x="466" y="623"/>
                  </a:lnTo>
                  <a:lnTo>
                    <a:pt x="463" y="620"/>
                  </a:lnTo>
                  <a:lnTo>
                    <a:pt x="462" y="619"/>
                  </a:lnTo>
                  <a:lnTo>
                    <a:pt x="461" y="618"/>
                  </a:lnTo>
                  <a:lnTo>
                    <a:pt x="461" y="617"/>
                  </a:lnTo>
                  <a:lnTo>
                    <a:pt x="460" y="617"/>
                  </a:lnTo>
                  <a:lnTo>
                    <a:pt x="459" y="617"/>
                  </a:lnTo>
                  <a:lnTo>
                    <a:pt x="458" y="616"/>
                  </a:lnTo>
                  <a:lnTo>
                    <a:pt x="457" y="617"/>
                  </a:lnTo>
                  <a:lnTo>
                    <a:pt x="456" y="617"/>
                  </a:lnTo>
                  <a:lnTo>
                    <a:pt x="455" y="617"/>
                  </a:lnTo>
                  <a:lnTo>
                    <a:pt x="454" y="618"/>
                  </a:lnTo>
                  <a:lnTo>
                    <a:pt x="445" y="623"/>
                  </a:lnTo>
                  <a:lnTo>
                    <a:pt x="444" y="624"/>
                  </a:lnTo>
                  <a:lnTo>
                    <a:pt x="442" y="625"/>
                  </a:lnTo>
                  <a:lnTo>
                    <a:pt x="441" y="625"/>
                  </a:lnTo>
                  <a:lnTo>
                    <a:pt x="440" y="626"/>
                  </a:lnTo>
                  <a:lnTo>
                    <a:pt x="439" y="626"/>
                  </a:lnTo>
                  <a:lnTo>
                    <a:pt x="438" y="626"/>
                  </a:lnTo>
                  <a:lnTo>
                    <a:pt x="437" y="626"/>
                  </a:lnTo>
                  <a:lnTo>
                    <a:pt x="436" y="626"/>
                  </a:lnTo>
                  <a:lnTo>
                    <a:pt x="435" y="626"/>
                  </a:lnTo>
                  <a:lnTo>
                    <a:pt x="434" y="625"/>
                  </a:lnTo>
                  <a:lnTo>
                    <a:pt x="430" y="624"/>
                  </a:lnTo>
                  <a:lnTo>
                    <a:pt x="424" y="622"/>
                  </a:lnTo>
                  <a:lnTo>
                    <a:pt x="422" y="621"/>
                  </a:lnTo>
                  <a:lnTo>
                    <a:pt x="417" y="619"/>
                  </a:lnTo>
                  <a:lnTo>
                    <a:pt x="415" y="618"/>
                  </a:lnTo>
                  <a:lnTo>
                    <a:pt x="414" y="617"/>
                  </a:lnTo>
                  <a:lnTo>
                    <a:pt x="413" y="617"/>
                  </a:lnTo>
                  <a:lnTo>
                    <a:pt x="412" y="616"/>
                  </a:lnTo>
                  <a:lnTo>
                    <a:pt x="411" y="615"/>
                  </a:lnTo>
                  <a:lnTo>
                    <a:pt x="409" y="612"/>
                  </a:lnTo>
                  <a:lnTo>
                    <a:pt x="407" y="611"/>
                  </a:lnTo>
                  <a:lnTo>
                    <a:pt x="403" y="607"/>
                  </a:lnTo>
                  <a:lnTo>
                    <a:pt x="401" y="605"/>
                  </a:lnTo>
                  <a:lnTo>
                    <a:pt x="400" y="604"/>
                  </a:lnTo>
                  <a:lnTo>
                    <a:pt x="399" y="603"/>
                  </a:lnTo>
                  <a:lnTo>
                    <a:pt x="398" y="603"/>
                  </a:lnTo>
                  <a:lnTo>
                    <a:pt x="398" y="603"/>
                  </a:lnTo>
                  <a:lnTo>
                    <a:pt x="396" y="603"/>
                  </a:lnTo>
                  <a:lnTo>
                    <a:pt x="396" y="603"/>
                  </a:lnTo>
                  <a:lnTo>
                    <a:pt x="395" y="603"/>
                  </a:lnTo>
                  <a:lnTo>
                    <a:pt x="394" y="604"/>
                  </a:lnTo>
                  <a:lnTo>
                    <a:pt x="393" y="604"/>
                  </a:lnTo>
                  <a:lnTo>
                    <a:pt x="393" y="605"/>
                  </a:lnTo>
                  <a:lnTo>
                    <a:pt x="392" y="605"/>
                  </a:lnTo>
                  <a:lnTo>
                    <a:pt x="392" y="606"/>
                  </a:lnTo>
                  <a:lnTo>
                    <a:pt x="391" y="606"/>
                  </a:lnTo>
                  <a:lnTo>
                    <a:pt x="391" y="607"/>
                  </a:lnTo>
                  <a:lnTo>
                    <a:pt x="391" y="608"/>
                  </a:lnTo>
                  <a:lnTo>
                    <a:pt x="391" y="613"/>
                  </a:lnTo>
                  <a:lnTo>
                    <a:pt x="390" y="615"/>
                  </a:lnTo>
                  <a:lnTo>
                    <a:pt x="390" y="617"/>
                  </a:lnTo>
                  <a:lnTo>
                    <a:pt x="389" y="620"/>
                  </a:lnTo>
                  <a:lnTo>
                    <a:pt x="388" y="624"/>
                  </a:lnTo>
                  <a:lnTo>
                    <a:pt x="388" y="625"/>
                  </a:lnTo>
                  <a:lnTo>
                    <a:pt x="387" y="627"/>
                  </a:lnTo>
                  <a:lnTo>
                    <a:pt x="387" y="628"/>
                  </a:lnTo>
                  <a:lnTo>
                    <a:pt x="386" y="630"/>
                  </a:lnTo>
                  <a:lnTo>
                    <a:pt x="385" y="631"/>
                  </a:lnTo>
                  <a:lnTo>
                    <a:pt x="384" y="632"/>
                  </a:lnTo>
                  <a:lnTo>
                    <a:pt x="383" y="633"/>
                  </a:lnTo>
                  <a:lnTo>
                    <a:pt x="382" y="634"/>
                  </a:lnTo>
                  <a:lnTo>
                    <a:pt x="381" y="635"/>
                  </a:lnTo>
                  <a:lnTo>
                    <a:pt x="381" y="636"/>
                  </a:lnTo>
                  <a:lnTo>
                    <a:pt x="380" y="636"/>
                  </a:lnTo>
                  <a:lnTo>
                    <a:pt x="379" y="636"/>
                  </a:lnTo>
                  <a:lnTo>
                    <a:pt x="378" y="637"/>
                  </a:lnTo>
                  <a:lnTo>
                    <a:pt x="377" y="637"/>
                  </a:lnTo>
                  <a:lnTo>
                    <a:pt x="372" y="637"/>
                  </a:lnTo>
                  <a:lnTo>
                    <a:pt x="370" y="638"/>
                  </a:lnTo>
                  <a:lnTo>
                    <a:pt x="368" y="638"/>
                  </a:lnTo>
                  <a:lnTo>
                    <a:pt x="367" y="638"/>
                  </a:lnTo>
                  <a:lnTo>
                    <a:pt x="367" y="639"/>
                  </a:lnTo>
                  <a:lnTo>
                    <a:pt x="366" y="639"/>
                  </a:lnTo>
                  <a:lnTo>
                    <a:pt x="365" y="640"/>
                  </a:lnTo>
                  <a:lnTo>
                    <a:pt x="365" y="640"/>
                  </a:lnTo>
                  <a:lnTo>
                    <a:pt x="364" y="642"/>
                  </a:lnTo>
                  <a:lnTo>
                    <a:pt x="363" y="644"/>
                  </a:lnTo>
                  <a:lnTo>
                    <a:pt x="362" y="646"/>
                  </a:lnTo>
                  <a:lnTo>
                    <a:pt x="362" y="646"/>
                  </a:lnTo>
                  <a:lnTo>
                    <a:pt x="362" y="647"/>
                  </a:lnTo>
                  <a:lnTo>
                    <a:pt x="361" y="648"/>
                  </a:lnTo>
                  <a:lnTo>
                    <a:pt x="360" y="648"/>
                  </a:lnTo>
                  <a:lnTo>
                    <a:pt x="359" y="649"/>
                  </a:lnTo>
                  <a:lnTo>
                    <a:pt x="358" y="649"/>
                  </a:lnTo>
                  <a:lnTo>
                    <a:pt x="356" y="650"/>
                  </a:lnTo>
                  <a:lnTo>
                    <a:pt x="354" y="651"/>
                  </a:lnTo>
                  <a:lnTo>
                    <a:pt x="353" y="651"/>
                  </a:lnTo>
                  <a:lnTo>
                    <a:pt x="352" y="651"/>
                  </a:lnTo>
                  <a:lnTo>
                    <a:pt x="351" y="652"/>
                  </a:lnTo>
                  <a:lnTo>
                    <a:pt x="350" y="653"/>
                  </a:lnTo>
                  <a:lnTo>
                    <a:pt x="349" y="653"/>
                  </a:lnTo>
                  <a:lnTo>
                    <a:pt x="346" y="656"/>
                  </a:lnTo>
                  <a:lnTo>
                    <a:pt x="345" y="657"/>
                  </a:lnTo>
                  <a:lnTo>
                    <a:pt x="344" y="658"/>
                  </a:lnTo>
                  <a:lnTo>
                    <a:pt x="343" y="659"/>
                  </a:lnTo>
                  <a:lnTo>
                    <a:pt x="342" y="659"/>
                  </a:lnTo>
                  <a:lnTo>
                    <a:pt x="340" y="659"/>
                  </a:lnTo>
                  <a:lnTo>
                    <a:pt x="339" y="659"/>
                  </a:lnTo>
                  <a:lnTo>
                    <a:pt x="339" y="659"/>
                  </a:lnTo>
                  <a:lnTo>
                    <a:pt x="338" y="659"/>
                  </a:lnTo>
                  <a:lnTo>
                    <a:pt x="337" y="658"/>
                  </a:lnTo>
                  <a:lnTo>
                    <a:pt x="333" y="657"/>
                  </a:lnTo>
                  <a:lnTo>
                    <a:pt x="328" y="654"/>
                  </a:lnTo>
                  <a:lnTo>
                    <a:pt x="324" y="652"/>
                  </a:lnTo>
                  <a:lnTo>
                    <a:pt x="313" y="647"/>
                  </a:lnTo>
                  <a:lnTo>
                    <a:pt x="311" y="646"/>
                  </a:lnTo>
                  <a:lnTo>
                    <a:pt x="309" y="645"/>
                  </a:lnTo>
                  <a:lnTo>
                    <a:pt x="308" y="645"/>
                  </a:lnTo>
                  <a:lnTo>
                    <a:pt x="307" y="644"/>
                  </a:lnTo>
                  <a:lnTo>
                    <a:pt x="302" y="644"/>
                  </a:lnTo>
                  <a:lnTo>
                    <a:pt x="299" y="643"/>
                  </a:lnTo>
                  <a:lnTo>
                    <a:pt x="297" y="643"/>
                  </a:lnTo>
                  <a:lnTo>
                    <a:pt x="291" y="640"/>
                  </a:lnTo>
                  <a:lnTo>
                    <a:pt x="284" y="638"/>
                  </a:lnTo>
                  <a:lnTo>
                    <a:pt x="280" y="637"/>
                  </a:lnTo>
                  <a:lnTo>
                    <a:pt x="279" y="637"/>
                  </a:lnTo>
                  <a:lnTo>
                    <a:pt x="277" y="636"/>
                  </a:lnTo>
                  <a:lnTo>
                    <a:pt x="274" y="636"/>
                  </a:lnTo>
                  <a:lnTo>
                    <a:pt x="269" y="636"/>
                  </a:lnTo>
                  <a:lnTo>
                    <a:pt x="268" y="636"/>
                  </a:lnTo>
                  <a:lnTo>
                    <a:pt x="266" y="636"/>
                  </a:lnTo>
                  <a:lnTo>
                    <a:pt x="260" y="635"/>
                  </a:lnTo>
                  <a:lnTo>
                    <a:pt x="258" y="634"/>
                  </a:lnTo>
                  <a:lnTo>
                    <a:pt x="254" y="634"/>
                  </a:lnTo>
                  <a:lnTo>
                    <a:pt x="253" y="634"/>
                  </a:lnTo>
                  <a:lnTo>
                    <a:pt x="251" y="634"/>
                  </a:lnTo>
                  <a:lnTo>
                    <a:pt x="246" y="635"/>
                  </a:lnTo>
                  <a:lnTo>
                    <a:pt x="244" y="635"/>
                  </a:lnTo>
                  <a:lnTo>
                    <a:pt x="242" y="635"/>
                  </a:lnTo>
                  <a:lnTo>
                    <a:pt x="241" y="635"/>
                  </a:lnTo>
                  <a:lnTo>
                    <a:pt x="240" y="635"/>
                  </a:lnTo>
                  <a:lnTo>
                    <a:pt x="239" y="635"/>
                  </a:lnTo>
                  <a:lnTo>
                    <a:pt x="238" y="634"/>
                  </a:lnTo>
                  <a:lnTo>
                    <a:pt x="235" y="633"/>
                  </a:lnTo>
                  <a:lnTo>
                    <a:pt x="234" y="632"/>
                  </a:lnTo>
                  <a:lnTo>
                    <a:pt x="231" y="632"/>
                  </a:lnTo>
                  <a:lnTo>
                    <a:pt x="227" y="631"/>
                  </a:lnTo>
                  <a:lnTo>
                    <a:pt x="226" y="630"/>
                  </a:lnTo>
                  <a:lnTo>
                    <a:pt x="225" y="630"/>
                  </a:lnTo>
                  <a:lnTo>
                    <a:pt x="224" y="630"/>
                  </a:lnTo>
                  <a:lnTo>
                    <a:pt x="222" y="628"/>
                  </a:lnTo>
                  <a:lnTo>
                    <a:pt x="219" y="625"/>
                  </a:lnTo>
                  <a:lnTo>
                    <a:pt x="218" y="624"/>
                  </a:lnTo>
                  <a:lnTo>
                    <a:pt x="217" y="624"/>
                  </a:lnTo>
                  <a:lnTo>
                    <a:pt x="216" y="622"/>
                  </a:lnTo>
                  <a:lnTo>
                    <a:pt x="215" y="621"/>
                  </a:lnTo>
                  <a:lnTo>
                    <a:pt x="215" y="620"/>
                  </a:lnTo>
                  <a:lnTo>
                    <a:pt x="214" y="619"/>
                  </a:lnTo>
                  <a:lnTo>
                    <a:pt x="213" y="616"/>
                  </a:lnTo>
                  <a:lnTo>
                    <a:pt x="212" y="615"/>
                  </a:lnTo>
                  <a:lnTo>
                    <a:pt x="212" y="614"/>
                  </a:lnTo>
                  <a:lnTo>
                    <a:pt x="211" y="614"/>
                  </a:lnTo>
                  <a:lnTo>
                    <a:pt x="211" y="613"/>
                  </a:lnTo>
                  <a:lnTo>
                    <a:pt x="209" y="611"/>
                  </a:lnTo>
                  <a:lnTo>
                    <a:pt x="208" y="610"/>
                  </a:lnTo>
                  <a:lnTo>
                    <a:pt x="207" y="609"/>
                  </a:lnTo>
                  <a:lnTo>
                    <a:pt x="206" y="608"/>
                  </a:lnTo>
                  <a:lnTo>
                    <a:pt x="205" y="607"/>
                  </a:lnTo>
                  <a:lnTo>
                    <a:pt x="205" y="606"/>
                  </a:lnTo>
                  <a:lnTo>
                    <a:pt x="204" y="605"/>
                  </a:lnTo>
                  <a:lnTo>
                    <a:pt x="204" y="604"/>
                  </a:lnTo>
                  <a:lnTo>
                    <a:pt x="204" y="603"/>
                  </a:lnTo>
                  <a:lnTo>
                    <a:pt x="204" y="603"/>
                  </a:lnTo>
                  <a:lnTo>
                    <a:pt x="205" y="602"/>
                  </a:lnTo>
                  <a:lnTo>
                    <a:pt x="205" y="601"/>
                  </a:lnTo>
                  <a:lnTo>
                    <a:pt x="205" y="600"/>
                  </a:lnTo>
                  <a:lnTo>
                    <a:pt x="206" y="599"/>
                  </a:lnTo>
                  <a:lnTo>
                    <a:pt x="207" y="599"/>
                  </a:lnTo>
                  <a:lnTo>
                    <a:pt x="207" y="598"/>
                  </a:lnTo>
                  <a:lnTo>
                    <a:pt x="209" y="597"/>
                  </a:lnTo>
                  <a:lnTo>
                    <a:pt x="210" y="596"/>
                  </a:lnTo>
                  <a:lnTo>
                    <a:pt x="211" y="595"/>
                  </a:lnTo>
                  <a:lnTo>
                    <a:pt x="215" y="594"/>
                  </a:lnTo>
                  <a:lnTo>
                    <a:pt x="216" y="593"/>
                  </a:lnTo>
                  <a:lnTo>
                    <a:pt x="216" y="593"/>
                  </a:lnTo>
                  <a:lnTo>
                    <a:pt x="217" y="592"/>
                  </a:lnTo>
                  <a:lnTo>
                    <a:pt x="217" y="591"/>
                  </a:lnTo>
                  <a:lnTo>
                    <a:pt x="218" y="591"/>
                  </a:lnTo>
                  <a:lnTo>
                    <a:pt x="218" y="590"/>
                  </a:lnTo>
                  <a:lnTo>
                    <a:pt x="219" y="589"/>
                  </a:lnTo>
                  <a:lnTo>
                    <a:pt x="219" y="587"/>
                  </a:lnTo>
                  <a:lnTo>
                    <a:pt x="219" y="586"/>
                  </a:lnTo>
                  <a:lnTo>
                    <a:pt x="219" y="585"/>
                  </a:lnTo>
                  <a:lnTo>
                    <a:pt x="218" y="584"/>
                  </a:lnTo>
                  <a:lnTo>
                    <a:pt x="218" y="583"/>
                  </a:lnTo>
                  <a:lnTo>
                    <a:pt x="217" y="583"/>
                  </a:lnTo>
                  <a:lnTo>
                    <a:pt x="217" y="582"/>
                  </a:lnTo>
                  <a:lnTo>
                    <a:pt x="216" y="581"/>
                  </a:lnTo>
                  <a:lnTo>
                    <a:pt x="212" y="578"/>
                  </a:lnTo>
                  <a:lnTo>
                    <a:pt x="210" y="577"/>
                  </a:lnTo>
                  <a:lnTo>
                    <a:pt x="209" y="576"/>
                  </a:lnTo>
                  <a:lnTo>
                    <a:pt x="208" y="574"/>
                  </a:lnTo>
                  <a:lnTo>
                    <a:pt x="205" y="570"/>
                  </a:lnTo>
                  <a:lnTo>
                    <a:pt x="203" y="568"/>
                  </a:lnTo>
                  <a:lnTo>
                    <a:pt x="201" y="566"/>
                  </a:lnTo>
                  <a:lnTo>
                    <a:pt x="200" y="564"/>
                  </a:lnTo>
                  <a:lnTo>
                    <a:pt x="198" y="563"/>
                  </a:lnTo>
                  <a:lnTo>
                    <a:pt x="197" y="562"/>
                  </a:lnTo>
                  <a:lnTo>
                    <a:pt x="196" y="561"/>
                  </a:lnTo>
                  <a:lnTo>
                    <a:pt x="195" y="560"/>
                  </a:lnTo>
                  <a:lnTo>
                    <a:pt x="194" y="560"/>
                  </a:lnTo>
                  <a:lnTo>
                    <a:pt x="193" y="559"/>
                  </a:lnTo>
                  <a:lnTo>
                    <a:pt x="190" y="558"/>
                  </a:lnTo>
                  <a:lnTo>
                    <a:pt x="186" y="557"/>
                  </a:lnTo>
                  <a:lnTo>
                    <a:pt x="184" y="556"/>
                  </a:lnTo>
                  <a:lnTo>
                    <a:pt x="182" y="555"/>
                  </a:lnTo>
                  <a:lnTo>
                    <a:pt x="180" y="554"/>
                  </a:lnTo>
                  <a:lnTo>
                    <a:pt x="178" y="553"/>
                  </a:lnTo>
                  <a:lnTo>
                    <a:pt x="177" y="553"/>
                  </a:lnTo>
                  <a:lnTo>
                    <a:pt x="172" y="549"/>
                  </a:lnTo>
                  <a:lnTo>
                    <a:pt x="171" y="548"/>
                  </a:lnTo>
                  <a:lnTo>
                    <a:pt x="170" y="547"/>
                  </a:lnTo>
                  <a:lnTo>
                    <a:pt x="168" y="546"/>
                  </a:lnTo>
                  <a:lnTo>
                    <a:pt x="167" y="544"/>
                  </a:lnTo>
                  <a:lnTo>
                    <a:pt x="165" y="542"/>
                  </a:lnTo>
                  <a:lnTo>
                    <a:pt x="159" y="535"/>
                  </a:lnTo>
                  <a:lnTo>
                    <a:pt x="156" y="533"/>
                  </a:lnTo>
                  <a:lnTo>
                    <a:pt x="154" y="531"/>
                  </a:lnTo>
                  <a:lnTo>
                    <a:pt x="152" y="529"/>
                  </a:lnTo>
                  <a:lnTo>
                    <a:pt x="150" y="528"/>
                  </a:lnTo>
                  <a:lnTo>
                    <a:pt x="148" y="526"/>
                  </a:lnTo>
                  <a:lnTo>
                    <a:pt x="146" y="524"/>
                  </a:lnTo>
                  <a:lnTo>
                    <a:pt x="144" y="523"/>
                  </a:lnTo>
                  <a:lnTo>
                    <a:pt x="142" y="522"/>
                  </a:lnTo>
                  <a:lnTo>
                    <a:pt x="140" y="521"/>
                  </a:lnTo>
                  <a:lnTo>
                    <a:pt x="138" y="520"/>
                  </a:lnTo>
                  <a:lnTo>
                    <a:pt x="136" y="519"/>
                  </a:lnTo>
                  <a:lnTo>
                    <a:pt x="134" y="518"/>
                  </a:lnTo>
                  <a:lnTo>
                    <a:pt x="125" y="516"/>
                  </a:lnTo>
                  <a:lnTo>
                    <a:pt x="123" y="515"/>
                  </a:lnTo>
                  <a:lnTo>
                    <a:pt x="121" y="514"/>
                  </a:lnTo>
                  <a:lnTo>
                    <a:pt x="120" y="514"/>
                  </a:lnTo>
                  <a:lnTo>
                    <a:pt x="118" y="513"/>
                  </a:lnTo>
                  <a:lnTo>
                    <a:pt x="117" y="512"/>
                  </a:lnTo>
                  <a:lnTo>
                    <a:pt x="117" y="512"/>
                  </a:lnTo>
                  <a:lnTo>
                    <a:pt x="116" y="511"/>
                  </a:lnTo>
                  <a:lnTo>
                    <a:pt x="115" y="510"/>
                  </a:lnTo>
                  <a:lnTo>
                    <a:pt x="115" y="508"/>
                  </a:lnTo>
                  <a:lnTo>
                    <a:pt x="114" y="506"/>
                  </a:lnTo>
                  <a:lnTo>
                    <a:pt x="114" y="505"/>
                  </a:lnTo>
                  <a:lnTo>
                    <a:pt x="113" y="501"/>
                  </a:lnTo>
                  <a:lnTo>
                    <a:pt x="113" y="499"/>
                  </a:lnTo>
                  <a:lnTo>
                    <a:pt x="113" y="498"/>
                  </a:lnTo>
                  <a:lnTo>
                    <a:pt x="112" y="496"/>
                  </a:lnTo>
                  <a:lnTo>
                    <a:pt x="111" y="493"/>
                  </a:lnTo>
                  <a:lnTo>
                    <a:pt x="108" y="487"/>
                  </a:lnTo>
                  <a:lnTo>
                    <a:pt x="107" y="485"/>
                  </a:lnTo>
                  <a:lnTo>
                    <a:pt x="107" y="483"/>
                  </a:lnTo>
                  <a:lnTo>
                    <a:pt x="105" y="481"/>
                  </a:lnTo>
                  <a:lnTo>
                    <a:pt x="105" y="480"/>
                  </a:lnTo>
                  <a:lnTo>
                    <a:pt x="104" y="480"/>
                  </a:lnTo>
                  <a:lnTo>
                    <a:pt x="103" y="479"/>
                  </a:lnTo>
                  <a:lnTo>
                    <a:pt x="103" y="478"/>
                  </a:lnTo>
                  <a:lnTo>
                    <a:pt x="99" y="476"/>
                  </a:lnTo>
                  <a:lnTo>
                    <a:pt x="98" y="475"/>
                  </a:lnTo>
                  <a:lnTo>
                    <a:pt x="97" y="474"/>
                  </a:lnTo>
                  <a:lnTo>
                    <a:pt x="97" y="473"/>
                  </a:lnTo>
                  <a:lnTo>
                    <a:pt x="96" y="473"/>
                  </a:lnTo>
                  <a:lnTo>
                    <a:pt x="95" y="472"/>
                  </a:lnTo>
                  <a:lnTo>
                    <a:pt x="95" y="470"/>
                  </a:lnTo>
                  <a:lnTo>
                    <a:pt x="94" y="469"/>
                  </a:lnTo>
                  <a:lnTo>
                    <a:pt x="93" y="467"/>
                  </a:lnTo>
                  <a:lnTo>
                    <a:pt x="92" y="465"/>
                  </a:lnTo>
                  <a:lnTo>
                    <a:pt x="90" y="459"/>
                  </a:lnTo>
                  <a:lnTo>
                    <a:pt x="88" y="454"/>
                  </a:lnTo>
                  <a:lnTo>
                    <a:pt x="87" y="451"/>
                  </a:lnTo>
                  <a:lnTo>
                    <a:pt x="86" y="449"/>
                  </a:lnTo>
                  <a:lnTo>
                    <a:pt x="85" y="448"/>
                  </a:lnTo>
                  <a:lnTo>
                    <a:pt x="84" y="446"/>
                  </a:lnTo>
                  <a:lnTo>
                    <a:pt x="83" y="445"/>
                  </a:lnTo>
                  <a:lnTo>
                    <a:pt x="82" y="444"/>
                  </a:lnTo>
                  <a:lnTo>
                    <a:pt x="82" y="444"/>
                  </a:lnTo>
                  <a:lnTo>
                    <a:pt x="81" y="444"/>
                  </a:lnTo>
                  <a:lnTo>
                    <a:pt x="80" y="443"/>
                  </a:lnTo>
                  <a:lnTo>
                    <a:pt x="79" y="443"/>
                  </a:lnTo>
                  <a:lnTo>
                    <a:pt x="75" y="444"/>
                  </a:lnTo>
                  <a:lnTo>
                    <a:pt x="72" y="444"/>
                  </a:lnTo>
                  <a:lnTo>
                    <a:pt x="70" y="444"/>
                  </a:lnTo>
                  <a:lnTo>
                    <a:pt x="66" y="444"/>
                  </a:lnTo>
                  <a:lnTo>
                    <a:pt x="65" y="444"/>
                  </a:lnTo>
                  <a:lnTo>
                    <a:pt x="63" y="444"/>
                  </a:lnTo>
                  <a:lnTo>
                    <a:pt x="61" y="443"/>
                  </a:lnTo>
                  <a:lnTo>
                    <a:pt x="60" y="443"/>
                  </a:lnTo>
                  <a:lnTo>
                    <a:pt x="58" y="442"/>
                  </a:lnTo>
                  <a:lnTo>
                    <a:pt x="58" y="442"/>
                  </a:lnTo>
                  <a:lnTo>
                    <a:pt x="57" y="441"/>
                  </a:lnTo>
                  <a:lnTo>
                    <a:pt x="56" y="440"/>
                  </a:lnTo>
                  <a:lnTo>
                    <a:pt x="55" y="439"/>
                  </a:lnTo>
                  <a:lnTo>
                    <a:pt x="51" y="435"/>
                  </a:lnTo>
                  <a:lnTo>
                    <a:pt x="50" y="434"/>
                  </a:lnTo>
                  <a:lnTo>
                    <a:pt x="49" y="432"/>
                  </a:lnTo>
                  <a:lnTo>
                    <a:pt x="47" y="430"/>
                  </a:lnTo>
                  <a:lnTo>
                    <a:pt x="46" y="427"/>
                  </a:lnTo>
                  <a:lnTo>
                    <a:pt x="43" y="422"/>
                  </a:lnTo>
                  <a:lnTo>
                    <a:pt x="42" y="419"/>
                  </a:lnTo>
                  <a:lnTo>
                    <a:pt x="40" y="413"/>
                  </a:lnTo>
                  <a:lnTo>
                    <a:pt x="37" y="408"/>
                  </a:lnTo>
                  <a:lnTo>
                    <a:pt x="36" y="404"/>
                  </a:lnTo>
                  <a:lnTo>
                    <a:pt x="35" y="403"/>
                  </a:lnTo>
                  <a:lnTo>
                    <a:pt x="35" y="402"/>
                  </a:lnTo>
                  <a:lnTo>
                    <a:pt x="34" y="402"/>
                  </a:lnTo>
                  <a:lnTo>
                    <a:pt x="34" y="402"/>
                  </a:lnTo>
                  <a:lnTo>
                    <a:pt x="34" y="401"/>
                  </a:lnTo>
                  <a:lnTo>
                    <a:pt x="33" y="401"/>
                  </a:lnTo>
                  <a:lnTo>
                    <a:pt x="32" y="401"/>
                  </a:lnTo>
                  <a:lnTo>
                    <a:pt x="29" y="401"/>
                  </a:lnTo>
                  <a:lnTo>
                    <a:pt x="28" y="401"/>
                  </a:lnTo>
                  <a:lnTo>
                    <a:pt x="27" y="401"/>
                  </a:lnTo>
                  <a:lnTo>
                    <a:pt x="26" y="400"/>
                  </a:lnTo>
                  <a:lnTo>
                    <a:pt x="25" y="399"/>
                  </a:lnTo>
                  <a:lnTo>
                    <a:pt x="24" y="398"/>
                  </a:lnTo>
                  <a:lnTo>
                    <a:pt x="23" y="396"/>
                  </a:lnTo>
                  <a:lnTo>
                    <a:pt x="21" y="393"/>
                  </a:lnTo>
                  <a:lnTo>
                    <a:pt x="20" y="392"/>
                  </a:lnTo>
                  <a:lnTo>
                    <a:pt x="19" y="391"/>
                  </a:lnTo>
                  <a:lnTo>
                    <a:pt x="18" y="390"/>
                  </a:lnTo>
                  <a:lnTo>
                    <a:pt x="17" y="389"/>
                  </a:lnTo>
                  <a:lnTo>
                    <a:pt x="16" y="388"/>
                  </a:lnTo>
                  <a:lnTo>
                    <a:pt x="15" y="388"/>
                  </a:lnTo>
                  <a:lnTo>
                    <a:pt x="14" y="387"/>
                  </a:lnTo>
                  <a:lnTo>
                    <a:pt x="13" y="387"/>
                  </a:lnTo>
                  <a:lnTo>
                    <a:pt x="12" y="387"/>
                  </a:lnTo>
                  <a:lnTo>
                    <a:pt x="10" y="386"/>
                  </a:lnTo>
                  <a:lnTo>
                    <a:pt x="8" y="386"/>
                  </a:lnTo>
                  <a:lnTo>
                    <a:pt x="6" y="386"/>
                  </a:lnTo>
                  <a:lnTo>
                    <a:pt x="5" y="386"/>
                  </a:lnTo>
                  <a:lnTo>
                    <a:pt x="4" y="386"/>
                  </a:lnTo>
                  <a:lnTo>
                    <a:pt x="4" y="386"/>
                  </a:lnTo>
                  <a:lnTo>
                    <a:pt x="4" y="384"/>
                  </a:lnTo>
                  <a:lnTo>
                    <a:pt x="2" y="379"/>
                  </a:lnTo>
                  <a:lnTo>
                    <a:pt x="1" y="378"/>
                  </a:lnTo>
                  <a:lnTo>
                    <a:pt x="1" y="376"/>
                  </a:lnTo>
                  <a:lnTo>
                    <a:pt x="1" y="375"/>
                  </a:lnTo>
                  <a:lnTo>
                    <a:pt x="1" y="374"/>
                  </a:lnTo>
                  <a:lnTo>
                    <a:pt x="0" y="372"/>
                  </a:lnTo>
                  <a:lnTo>
                    <a:pt x="0" y="370"/>
                  </a:lnTo>
                  <a:lnTo>
                    <a:pt x="0" y="368"/>
                  </a:lnTo>
                  <a:lnTo>
                    <a:pt x="0" y="366"/>
                  </a:lnTo>
                  <a:lnTo>
                    <a:pt x="1" y="364"/>
                  </a:lnTo>
                  <a:lnTo>
                    <a:pt x="1" y="362"/>
                  </a:lnTo>
                  <a:lnTo>
                    <a:pt x="2" y="358"/>
                  </a:lnTo>
                  <a:lnTo>
                    <a:pt x="2" y="356"/>
                  </a:lnTo>
                  <a:lnTo>
                    <a:pt x="3" y="353"/>
                  </a:lnTo>
                  <a:lnTo>
                    <a:pt x="3" y="352"/>
                  </a:lnTo>
                  <a:lnTo>
                    <a:pt x="4" y="350"/>
                  </a:lnTo>
                  <a:lnTo>
                    <a:pt x="5" y="348"/>
                  </a:lnTo>
                  <a:lnTo>
                    <a:pt x="6" y="345"/>
                  </a:lnTo>
                  <a:lnTo>
                    <a:pt x="8" y="342"/>
                  </a:lnTo>
                  <a:lnTo>
                    <a:pt x="9" y="340"/>
                  </a:lnTo>
                  <a:lnTo>
                    <a:pt x="10" y="339"/>
                  </a:lnTo>
                  <a:lnTo>
                    <a:pt x="11" y="338"/>
                  </a:lnTo>
                  <a:lnTo>
                    <a:pt x="12" y="337"/>
                  </a:lnTo>
                  <a:lnTo>
                    <a:pt x="13" y="336"/>
                  </a:lnTo>
                  <a:lnTo>
                    <a:pt x="14" y="336"/>
                  </a:lnTo>
                  <a:lnTo>
                    <a:pt x="15" y="335"/>
                  </a:lnTo>
                  <a:lnTo>
                    <a:pt x="16" y="335"/>
                  </a:lnTo>
                  <a:lnTo>
                    <a:pt x="19" y="333"/>
                  </a:lnTo>
                  <a:lnTo>
                    <a:pt x="20" y="333"/>
                  </a:lnTo>
                  <a:lnTo>
                    <a:pt x="21" y="332"/>
                  </a:lnTo>
                  <a:lnTo>
                    <a:pt x="23" y="331"/>
                  </a:lnTo>
                  <a:lnTo>
                    <a:pt x="23" y="330"/>
                  </a:lnTo>
                  <a:lnTo>
                    <a:pt x="24" y="329"/>
                  </a:lnTo>
                  <a:lnTo>
                    <a:pt x="25" y="328"/>
                  </a:lnTo>
                  <a:lnTo>
                    <a:pt x="25" y="328"/>
                  </a:lnTo>
                  <a:lnTo>
                    <a:pt x="26" y="327"/>
                  </a:lnTo>
                  <a:lnTo>
                    <a:pt x="26" y="326"/>
                  </a:lnTo>
                  <a:lnTo>
                    <a:pt x="26" y="325"/>
                  </a:lnTo>
                  <a:lnTo>
                    <a:pt x="27" y="324"/>
                  </a:lnTo>
                  <a:lnTo>
                    <a:pt x="27" y="322"/>
                  </a:lnTo>
                  <a:lnTo>
                    <a:pt x="27" y="320"/>
                  </a:lnTo>
                  <a:lnTo>
                    <a:pt x="27" y="318"/>
                  </a:lnTo>
                  <a:lnTo>
                    <a:pt x="27" y="316"/>
                  </a:lnTo>
                  <a:lnTo>
                    <a:pt x="25" y="310"/>
                  </a:lnTo>
                  <a:lnTo>
                    <a:pt x="25" y="309"/>
                  </a:lnTo>
                  <a:lnTo>
                    <a:pt x="24" y="307"/>
                  </a:lnTo>
                  <a:lnTo>
                    <a:pt x="23" y="303"/>
                  </a:lnTo>
                  <a:lnTo>
                    <a:pt x="22" y="302"/>
                  </a:lnTo>
                  <a:lnTo>
                    <a:pt x="22" y="300"/>
                  </a:lnTo>
                  <a:lnTo>
                    <a:pt x="22" y="299"/>
                  </a:lnTo>
                  <a:lnTo>
                    <a:pt x="22" y="298"/>
                  </a:lnTo>
                  <a:lnTo>
                    <a:pt x="22" y="296"/>
                  </a:lnTo>
                  <a:lnTo>
                    <a:pt x="23" y="293"/>
                  </a:lnTo>
                  <a:lnTo>
                    <a:pt x="23" y="291"/>
                  </a:lnTo>
                  <a:lnTo>
                    <a:pt x="24" y="289"/>
                  </a:lnTo>
                  <a:lnTo>
                    <a:pt x="24" y="283"/>
                  </a:lnTo>
                  <a:lnTo>
                    <a:pt x="24" y="281"/>
                  </a:lnTo>
                  <a:lnTo>
                    <a:pt x="25" y="278"/>
                  </a:lnTo>
                  <a:lnTo>
                    <a:pt x="26" y="273"/>
                  </a:lnTo>
                  <a:lnTo>
                    <a:pt x="26" y="272"/>
                  </a:lnTo>
                  <a:lnTo>
                    <a:pt x="26" y="271"/>
                  </a:lnTo>
                  <a:lnTo>
                    <a:pt x="27" y="271"/>
                  </a:lnTo>
                  <a:lnTo>
                    <a:pt x="27" y="271"/>
                  </a:lnTo>
                  <a:lnTo>
                    <a:pt x="28" y="271"/>
                  </a:lnTo>
                  <a:lnTo>
                    <a:pt x="29" y="271"/>
                  </a:lnTo>
                  <a:lnTo>
                    <a:pt x="30" y="271"/>
                  </a:lnTo>
                  <a:lnTo>
                    <a:pt x="35" y="272"/>
                  </a:lnTo>
                  <a:lnTo>
                    <a:pt x="37" y="272"/>
                  </a:lnTo>
                  <a:lnTo>
                    <a:pt x="38" y="272"/>
                  </a:lnTo>
                  <a:lnTo>
                    <a:pt x="39" y="272"/>
                  </a:lnTo>
                  <a:lnTo>
                    <a:pt x="40" y="272"/>
                  </a:lnTo>
                  <a:lnTo>
                    <a:pt x="41" y="272"/>
                  </a:lnTo>
                  <a:lnTo>
                    <a:pt x="42" y="271"/>
                  </a:lnTo>
                  <a:lnTo>
                    <a:pt x="44" y="271"/>
                  </a:lnTo>
                  <a:lnTo>
                    <a:pt x="45" y="270"/>
                  </a:lnTo>
                  <a:lnTo>
                    <a:pt x="46" y="270"/>
                  </a:lnTo>
                  <a:lnTo>
                    <a:pt x="48" y="269"/>
                  </a:lnTo>
                  <a:lnTo>
                    <a:pt x="50" y="267"/>
                  </a:lnTo>
                  <a:lnTo>
                    <a:pt x="54" y="264"/>
                  </a:lnTo>
                  <a:lnTo>
                    <a:pt x="55" y="263"/>
                  </a:lnTo>
                  <a:lnTo>
                    <a:pt x="57" y="262"/>
                  </a:lnTo>
                  <a:lnTo>
                    <a:pt x="59" y="261"/>
                  </a:lnTo>
                  <a:lnTo>
                    <a:pt x="63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7" y="253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70" y="245"/>
                  </a:lnTo>
                  <a:lnTo>
                    <a:pt x="71" y="244"/>
                  </a:lnTo>
                  <a:lnTo>
                    <a:pt x="72" y="242"/>
                  </a:lnTo>
                  <a:lnTo>
                    <a:pt x="73" y="241"/>
                  </a:lnTo>
                  <a:lnTo>
                    <a:pt x="75" y="239"/>
                  </a:lnTo>
                  <a:lnTo>
                    <a:pt x="75" y="238"/>
                  </a:lnTo>
                  <a:lnTo>
                    <a:pt x="76" y="238"/>
                  </a:lnTo>
                  <a:lnTo>
                    <a:pt x="76" y="237"/>
                  </a:lnTo>
                  <a:lnTo>
                    <a:pt x="76" y="236"/>
                  </a:lnTo>
                  <a:lnTo>
                    <a:pt x="76" y="235"/>
                  </a:lnTo>
                  <a:lnTo>
                    <a:pt x="76" y="234"/>
                  </a:lnTo>
                  <a:lnTo>
                    <a:pt x="76" y="233"/>
                  </a:lnTo>
                  <a:lnTo>
                    <a:pt x="76" y="231"/>
                  </a:lnTo>
                  <a:lnTo>
                    <a:pt x="75" y="230"/>
                  </a:lnTo>
                  <a:lnTo>
                    <a:pt x="75" y="229"/>
                  </a:lnTo>
                  <a:lnTo>
                    <a:pt x="74" y="228"/>
                  </a:lnTo>
                  <a:lnTo>
                    <a:pt x="72" y="225"/>
                  </a:lnTo>
                  <a:lnTo>
                    <a:pt x="71" y="224"/>
                  </a:lnTo>
                  <a:lnTo>
                    <a:pt x="70" y="222"/>
                  </a:lnTo>
                  <a:lnTo>
                    <a:pt x="69" y="220"/>
                  </a:lnTo>
                  <a:lnTo>
                    <a:pt x="69" y="219"/>
                  </a:lnTo>
                  <a:lnTo>
                    <a:pt x="69" y="218"/>
                  </a:lnTo>
                  <a:lnTo>
                    <a:pt x="69" y="217"/>
                  </a:lnTo>
                  <a:lnTo>
                    <a:pt x="69" y="216"/>
                  </a:lnTo>
                  <a:lnTo>
                    <a:pt x="69" y="215"/>
                  </a:lnTo>
                  <a:lnTo>
                    <a:pt x="70" y="214"/>
                  </a:lnTo>
                  <a:lnTo>
                    <a:pt x="70" y="213"/>
                  </a:lnTo>
                  <a:lnTo>
                    <a:pt x="71" y="212"/>
                  </a:lnTo>
                  <a:lnTo>
                    <a:pt x="72" y="211"/>
                  </a:lnTo>
                  <a:lnTo>
                    <a:pt x="74" y="210"/>
                  </a:lnTo>
                  <a:lnTo>
                    <a:pt x="75" y="207"/>
                  </a:lnTo>
                  <a:lnTo>
                    <a:pt x="76" y="207"/>
                  </a:lnTo>
                  <a:lnTo>
                    <a:pt x="77" y="206"/>
                  </a:lnTo>
                  <a:lnTo>
                    <a:pt x="79" y="205"/>
                  </a:lnTo>
                  <a:lnTo>
                    <a:pt x="79" y="205"/>
                  </a:lnTo>
                  <a:lnTo>
                    <a:pt x="80" y="205"/>
                  </a:lnTo>
                  <a:lnTo>
                    <a:pt x="80" y="204"/>
                  </a:lnTo>
                  <a:lnTo>
                    <a:pt x="81" y="204"/>
                  </a:lnTo>
                  <a:lnTo>
                    <a:pt x="81" y="203"/>
                  </a:lnTo>
                  <a:lnTo>
                    <a:pt x="82" y="201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2" y="199"/>
                  </a:lnTo>
                  <a:lnTo>
                    <a:pt x="82" y="199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79" y="196"/>
                  </a:lnTo>
                  <a:lnTo>
                    <a:pt x="78" y="195"/>
                  </a:lnTo>
                  <a:lnTo>
                    <a:pt x="77" y="194"/>
                  </a:lnTo>
                  <a:lnTo>
                    <a:pt x="76" y="194"/>
                  </a:lnTo>
                  <a:lnTo>
                    <a:pt x="76" y="193"/>
                  </a:lnTo>
                  <a:lnTo>
                    <a:pt x="76" y="192"/>
                  </a:lnTo>
                  <a:lnTo>
                    <a:pt x="75" y="191"/>
                  </a:lnTo>
                  <a:lnTo>
                    <a:pt x="75" y="190"/>
                  </a:lnTo>
                  <a:lnTo>
                    <a:pt x="75" y="190"/>
                  </a:lnTo>
                  <a:lnTo>
                    <a:pt x="75" y="189"/>
                  </a:lnTo>
                  <a:lnTo>
                    <a:pt x="75" y="188"/>
                  </a:lnTo>
                  <a:lnTo>
                    <a:pt x="75" y="187"/>
                  </a:lnTo>
                  <a:lnTo>
                    <a:pt x="75" y="187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6" y="185"/>
                  </a:lnTo>
                  <a:lnTo>
                    <a:pt x="76" y="185"/>
                  </a:lnTo>
                  <a:lnTo>
                    <a:pt x="77" y="185"/>
                  </a:lnTo>
                  <a:lnTo>
                    <a:pt x="80" y="183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82" y="181"/>
                  </a:lnTo>
                  <a:lnTo>
                    <a:pt x="82" y="181"/>
                  </a:lnTo>
                  <a:lnTo>
                    <a:pt x="83" y="180"/>
                  </a:lnTo>
                  <a:lnTo>
                    <a:pt x="83" y="179"/>
                  </a:lnTo>
                  <a:lnTo>
                    <a:pt x="83" y="178"/>
                  </a:lnTo>
                  <a:lnTo>
                    <a:pt x="84" y="178"/>
                  </a:lnTo>
                  <a:lnTo>
                    <a:pt x="84" y="177"/>
                  </a:lnTo>
                  <a:lnTo>
                    <a:pt x="84" y="176"/>
                  </a:lnTo>
                  <a:lnTo>
                    <a:pt x="84" y="175"/>
                  </a:lnTo>
                  <a:lnTo>
                    <a:pt x="83" y="173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3" y="169"/>
                  </a:lnTo>
                  <a:lnTo>
                    <a:pt x="84" y="168"/>
                  </a:lnTo>
                  <a:lnTo>
                    <a:pt x="84" y="166"/>
                  </a:lnTo>
                  <a:lnTo>
                    <a:pt x="84" y="165"/>
                  </a:lnTo>
                  <a:lnTo>
                    <a:pt x="85" y="164"/>
                  </a:lnTo>
                  <a:lnTo>
                    <a:pt x="86" y="163"/>
                  </a:lnTo>
                  <a:lnTo>
                    <a:pt x="88" y="161"/>
                  </a:lnTo>
                  <a:lnTo>
                    <a:pt x="89" y="160"/>
                  </a:lnTo>
                  <a:lnTo>
                    <a:pt x="91" y="158"/>
                  </a:lnTo>
                  <a:lnTo>
                    <a:pt x="94" y="156"/>
                  </a:lnTo>
                  <a:lnTo>
                    <a:pt x="98" y="153"/>
                  </a:lnTo>
                  <a:lnTo>
                    <a:pt x="99" y="152"/>
                  </a:lnTo>
                  <a:lnTo>
                    <a:pt x="100" y="152"/>
                  </a:lnTo>
                  <a:lnTo>
                    <a:pt x="100" y="150"/>
                  </a:lnTo>
                  <a:lnTo>
                    <a:pt x="101" y="149"/>
                  </a:lnTo>
                  <a:lnTo>
                    <a:pt x="102" y="147"/>
                  </a:lnTo>
                  <a:lnTo>
                    <a:pt x="103" y="143"/>
                  </a:lnTo>
                  <a:lnTo>
                    <a:pt x="104" y="141"/>
                  </a:lnTo>
                  <a:lnTo>
                    <a:pt x="105" y="139"/>
                  </a:lnTo>
                  <a:lnTo>
                    <a:pt x="107" y="136"/>
                  </a:lnTo>
                  <a:lnTo>
                    <a:pt x="108" y="135"/>
                  </a:lnTo>
                  <a:lnTo>
                    <a:pt x="108" y="134"/>
                  </a:lnTo>
                  <a:lnTo>
                    <a:pt x="109" y="132"/>
                  </a:lnTo>
                  <a:lnTo>
                    <a:pt x="109" y="129"/>
                  </a:lnTo>
                  <a:lnTo>
                    <a:pt x="110" y="128"/>
                  </a:lnTo>
                  <a:lnTo>
                    <a:pt x="110" y="127"/>
                  </a:lnTo>
                  <a:lnTo>
                    <a:pt x="110" y="125"/>
                  </a:lnTo>
                  <a:lnTo>
                    <a:pt x="109" y="124"/>
                  </a:lnTo>
                  <a:lnTo>
                    <a:pt x="109" y="123"/>
                  </a:lnTo>
                  <a:lnTo>
                    <a:pt x="108" y="123"/>
                  </a:lnTo>
                  <a:lnTo>
                    <a:pt x="106" y="120"/>
                  </a:lnTo>
                  <a:lnTo>
                    <a:pt x="105" y="119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1" y="111"/>
                  </a:lnTo>
                  <a:lnTo>
                    <a:pt x="101" y="109"/>
                  </a:lnTo>
                  <a:lnTo>
                    <a:pt x="100" y="106"/>
                  </a:lnTo>
                  <a:lnTo>
                    <a:pt x="100" y="104"/>
                  </a:lnTo>
                  <a:lnTo>
                    <a:pt x="100" y="102"/>
                  </a:lnTo>
                  <a:lnTo>
                    <a:pt x="100" y="100"/>
                  </a:lnTo>
                  <a:lnTo>
                    <a:pt x="101" y="96"/>
                  </a:lnTo>
                  <a:lnTo>
                    <a:pt x="101" y="94"/>
                  </a:lnTo>
                  <a:lnTo>
                    <a:pt x="101" y="93"/>
                  </a:lnTo>
                  <a:lnTo>
                    <a:pt x="102" y="91"/>
                  </a:lnTo>
                  <a:lnTo>
                    <a:pt x="103" y="89"/>
                  </a:lnTo>
                  <a:lnTo>
                    <a:pt x="104" y="88"/>
                  </a:lnTo>
                  <a:lnTo>
                    <a:pt x="107" y="83"/>
                  </a:lnTo>
                  <a:lnTo>
                    <a:pt x="108" y="82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7" y="80"/>
                  </a:lnTo>
                  <a:lnTo>
                    <a:pt x="107" y="78"/>
                  </a:lnTo>
                  <a:lnTo>
                    <a:pt x="106" y="77"/>
                  </a:lnTo>
                  <a:lnTo>
                    <a:pt x="105" y="74"/>
                  </a:lnTo>
                  <a:lnTo>
                    <a:pt x="104" y="71"/>
                  </a:lnTo>
                  <a:lnTo>
                    <a:pt x="103" y="69"/>
                  </a:lnTo>
                  <a:lnTo>
                    <a:pt x="103" y="68"/>
                  </a:lnTo>
                  <a:lnTo>
                    <a:pt x="102" y="65"/>
                  </a:lnTo>
                  <a:lnTo>
                    <a:pt x="102" y="63"/>
                  </a:lnTo>
                  <a:lnTo>
                    <a:pt x="102" y="57"/>
                  </a:lnTo>
                  <a:lnTo>
                    <a:pt x="101" y="56"/>
                  </a:lnTo>
                  <a:lnTo>
                    <a:pt x="101" y="54"/>
                  </a:lnTo>
                  <a:lnTo>
                    <a:pt x="101" y="52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98" y="48"/>
                  </a:lnTo>
                  <a:lnTo>
                    <a:pt x="97" y="47"/>
                  </a:lnTo>
                  <a:lnTo>
                    <a:pt x="97" y="46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4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1"/>
                  </a:lnTo>
                  <a:lnTo>
                    <a:pt x="99" y="35"/>
                  </a:lnTo>
                  <a:lnTo>
                    <a:pt x="99" y="34"/>
                  </a:lnTo>
                  <a:lnTo>
                    <a:pt x="100" y="33"/>
                  </a:lnTo>
                  <a:lnTo>
                    <a:pt x="100" y="32"/>
                  </a:lnTo>
                  <a:lnTo>
                    <a:pt x="101" y="31"/>
                  </a:lnTo>
                  <a:lnTo>
                    <a:pt x="101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3" y="30"/>
                  </a:lnTo>
                  <a:lnTo>
                    <a:pt x="103" y="30"/>
                  </a:lnTo>
                  <a:lnTo>
                    <a:pt x="104" y="30"/>
                  </a:lnTo>
                  <a:lnTo>
                    <a:pt x="104" y="31"/>
                  </a:lnTo>
                  <a:lnTo>
                    <a:pt x="106" y="31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3" y="29"/>
                  </a:lnTo>
                  <a:lnTo>
                    <a:pt x="119" y="27"/>
                  </a:lnTo>
                  <a:lnTo>
                    <a:pt x="121" y="26"/>
                  </a:lnTo>
                  <a:lnTo>
                    <a:pt x="124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6" y="25"/>
                  </a:lnTo>
                  <a:lnTo>
                    <a:pt x="127" y="25"/>
                  </a:lnTo>
                  <a:lnTo>
                    <a:pt x="127" y="25"/>
                  </a:lnTo>
                  <a:lnTo>
                    <a:pt x="128" y="25"/>
                  </a:lnTo>
                  <a:lnTo>
                    <a:pt x="129" y="26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4" y="30"/>
                  </a:lnTo>
                  <a:lnTo>
                    <a:pt x="135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7" y="29"/>
                  </a:lnTo>
                  <a:lnTo>
                    <a:pt x="138" y="29"/>
                  </a:lnTo>
                  <a:lnTo>
                    <a:pt x="140" y="29"/>
                  </a:lnTo>
                  <a:lnTo>
                    <a:pt x="143" y="27"/>
                  </a:lnTo>
                  <a:lnTo>
                    <a:pt x="144" y="26"/>
                  </a:lnTo>
                  <a:lnTo>
                    <a:pt x="146" y="26"/>
                  </a:lnTo>
                  <a:lnTo>
                    <a:pt x="147" y="26"/>
                  </a:lnTo>
                  <a:lnTo>
                    <a:pt x="148" y="26"/>
                  </a:lnTo>
                  <a:lnTo>
                    <a:pt x="148" y="26"/>
                  </a:lnTo>
                  <a:lnTo>
                    <a:pt x="149" y="27"/>
                  </a:lnTo>
                  <a:lnTo>
                    <a:pt x="150" y="27"/>
                  </a:lnTo>
                  <a:lnTo>
                    <a:pt x="153" y="30"/>
                  </a:lnTo>
                  <a:lnTo>
                    <a:pt x="154" y="30"/>
                  </a:lnTo>
                  <a:lnTo>
                    <a:pt x="156" y="31"/>
                  </a:lnTo>
                  <a:lnTo>
                    <a:pt x="157" y="32"/>
                  </a:lnTo>
                  <a:lnTo>
                    <a:pt x="158" y="32"/>
                  </a:lnTo>
                  <a:lnTo>
                    <a:pt x="159" y="33"/>
                  </a:lnTo>
                  <a:lnTo>
                    <a:pt x="159" y="34"/>
                  </a:lnTo>
                  <a:lnTo>
                    <a:pt x="160" y="34"/>
                  </a:lnTo>
                  <a:lnTo>
                    <a:pt x="161" y="34"/>
                  </a:lnTo>
                  <a:lnTo>
                    <a:pt x="163" y="35"/>
                  </a:lnTo>
                  <a:lnTo>
                    <a:pt x="164" y="36"/>
                  </a:lnTo>
                  <a:lnTo>
                    <a:pt x="166" y="36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70" y="37"/>
                  </a:lnTo>
                  <a:lnTo>
                    <a:pt x="171" y="37"/>
                  </a:lnTo>
                  <a:lnTo>
                    <a:pt x="172" y="36"/>
                  </a:lnTo>
                  <a:lnTo>
                    <a:pt x="174" y="36"/>
                  </a:lnTo>
                  <a:lnTo>
                    <a:pt x="175" y="35"/>
                  </a:lnTo>
                  <a:lnTo>
                    <a:pt x="176" y="35"/>
                  </a:lnTo>
                  <a:lnTo>
                    <a:pt x="178" y="33"/>
                  </a:lnTo>
                  <a:lnTo>
                    <a:pt x="179" y="33"/>
                  </a:lnTo>
                  <a:lnTo>
                    <a:pt x="180" y="32"/>
                  </a:lnTo>
                  <a:lnTo>
                    <a:pt x="182" y="32"/>
                  </a:lnTo>
                  <a:lnTo>
                    <a:pt x="183" y="31"/>
                  </a:lnTo>
                  <a:lnTo>
                    <a:pt x="188" y="31"/>
                  </a:lnTo>
                  <a:lnTo>
                    <a:pt x="189" y="31"/>
                  </a:lnTo>
                  <a:lnTo>
                    <a:pt x="190" y="30"/>
                  </a:lnTo>
                  <a:lnTo>
                    <a:pt x="191" y="30"/>
                  </a:lnTo>
                  <a:lnTo>
                    <a:pt x="192" y="29"/>
                  </a:lnTo>
                  <a:lnTo>
                    <a:pt x="194" y="28"/>
                  </a:lnTo>
                  <a:lnTo>
                    <a:pt x="196" y="27"/>
                  </a:lnTo>
                  <a:lnTo>
                    <a:pt x="197" y="26"/>
                  </a:lnTo>
                  <a:lnTo>
                    <a:pt x="198" y="26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02" y="24"/>
                  </a:lnTo>
                  <a:lnTo>
                    <a:pt x="203" y="24"/>
                  </a:lnTo>
                  <a:lnTo>
                    <a:pt x="204" y="22"/>
                  </a:lnTo>
                  <a:lnTo>
                    <a:pt x="205" y="20"/>
                  </a:lnTo>
                  <a:lnTo>
                    <a:pt x="205" y="19"/>
                  </a:lnTo>
                  <a:lnTo>
                    <a:pt x="206" y="18"/>
                  </a:lnTo>
                  <a:lnTo>
                    <a:pt x="207" y="15"/>
                  </a:lnTo>
                  <a:lnTo>
                    <a:pt x="208" y="12"/>
                  </a:lnTo>
                  <a:lnTo>
                    <a:pt x="209" y="11"/>
                  </a:lnTo>
                  <a:lnTo>
                    <a:pt x="209" y="10"/>
                  </a:lnTo>
                  <a:lnTo>
                    <a:pt x="210" y="9"/>
                  </a:lnTo>
                  <a:lnTo>
                    <a:pt x="210" y="9"/>
                  </a:lnTo>
                  <a:lnTo>
                    <a:pt x="211" y="8"/>
                  </a:lnTo>
                  <a:lnTo>
                    <a:pt x="213" y="7"/>
                  </a:lnTo>
                  <a:lnTo>
                    <a:pt x="218" y="5"/>
                  </a:lnTo>
                  <a:lnTo>
                    <a:pt x="221" y="3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7" y="1"/>
                  </a:lnTo>
                  <a:lnTo>
                    <a:pt x="230" y="0"/>
                  </a:lnTo>
                  <a:lnTo>
                    <a:pt x="230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3" name="Freeform 233">
              <a:extLst>
                <a:ext uri="{FF2B5EF4-FFF2-40B4-BE49-F238E27FC236}">
                  <a16:creationId xmlns:a16="http://schemas.microsoft.com/office/drawing/2014/main" id="{93807737-E63B-48B7-9951-F3609A8D0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07021" y="2458563"/>
              <a:ext cx="604294" cy="774475"/>
            </a:xfrm>
            <a:custGeom>
              <a:avLst/>
              <a:gdLst>
                <a:gd name="T0" fmla="*/ 389 w 593"/>
                <a:gd name="T1" fmla="*/ 6 h 760"/>
                <a:gd name="T2" fmla="*/ 403 w 593"/>
                <a:gd name="T3" fmla="*/ 16 h 760"/>
                <a:gd name="T4" fmla="*/ 421 w 593"/>
                <a:gd name="T5" fmla="*/ 15 h 760"/>
                <a:gd name="T6" fmla="*/ 416 w 593"/>
                <a:gd name="T7" fmla="*/ 40 h 760"/>
                <a:gd name="T8" fmla="*/ 428 w 593"/>
                <a:gd name="T9" fmla="*/ 47 h 760"/>
                <a:gd name="T10" fmla="*/ 461 w 593"/>
                <a:gd name="T11" fmla="*/ 45 h 760"/>
                <a:gd name="T12" fmla="*/ 461 w 593"/>
                <a:gd name="T13" fmla="*/ 53 h 760"/>
                <a:gd name="T14" fmla="*/ 487 w 593"/>
                <a:gd name="T15" fmla="*/ 72 h 760"/>
                <a:gd name="T16" fmla="*/ 518 w 593"/>
                <a:gd name="T17" fmla="*/ 72 h 760"/>
                <a:gd name="T18" fmla="*/ 550 w 593"/>
                <a:gd name="T19" fmla="*/ 94 h 760"/>
                <a:gd name="T20" fmla="*/ 561 w 593"/>
                <a:gd name="T21" fmla="*/ 108 h 760"/>
                <a:gd name="T22" fmla="*/ 591 w 593"/>
                <a:gd name="T23" fmla="*/ 132 h 760"/>
                <a:gd name="T24" fmla="*/ 585 w 593"/>
                <a:gd name="T25" fmla="*/ 165 h 760"/>
                <a:gd name="T26" fmla="*/ 578 w 593"/>
                <a:gd name="T27" fmla="*/ 205 h 760"/>
                <a:gd name="T28" fmla="*/ 580 w 593"/>
                <a:gd name="T29" fmla="*/ 228 h 760"/>
                <a:gd name="T30" fmla="*/ 567 w 593"/>
                <a:gd name="T31" fmla="*/ 250 h 760"/>
                <a:gd name="T32" fmla="*/ 549 w 593"/>
                <a:gd name="T33" fmla="*/ 249 h 760"/>
                <a:gd name="T34" fmla="*/ 526 w 593"/>
                <a:gd name="T35" fmla="*/ 271 h 760"/>
                <a:gd name="T36" fmla="*/ 540 w 593"/>
                <a:gd name="T37" fmla="*/ 279 h 760"/>
                <a:gd name="T38" fmla="*/ 534 w 593"/>
                <a:gd name="T39" fmla="*/ 289 h 760"/>
                <a:gd name="T40" fmla="*/ 538 w 593"/>
                <a:gd name="T41" fmla="*/ 303 h 760"/>
                <a:gd name="T42" fmla="*/ 538 w 593"/>
                <a:gd name="T43" fmla="*/ 311 h 760"/>
                <a:gd name="T44" fmla="*/ 550 w 593"/>
                <a:gd name="T45" fmla="*/ 318 h 760"/>
                <a:gd name="T46" fmla="*/ 553 w 593"/>
                <a:gd name="T47" fmla="*/ 347 h 760"/>
                <a:gd name="T48" fmla="*/ 561 w 593"/>
                <a:gd name="T49" fmla="*/ 373 h 760"/>
                <a:gd name="T50" fmla="*/ 559 w 593"/>
                <a:gd name="T51" fmla="*/ 395 h 760"/>
                <a:gd name="T52" fmla="*/ 562 w 593"/>
                <a:gd name="T53" fmla="*/ 423 h 760"/>
                <a:gd name="T54" fmla="*/ 561 w 593"/>
                <a:gd name="T55" fmla="*/ 454 h 760"/>
                <a:gd name="T56" fmla="*/ 570 w 593"/>
                <a:gd name="T57" fmla="*/ 488 h 760"/>
                <a:gd name="T58" fmla="*/ 549 w 593"/>
                <a:gd name="T59" fmla="*/ 520 h 760"/>
                <a:gd name="T60" fmla="*/ 543 w 593"/>
                <a:gd name="T61" fmla="*/ 540 h 760"/>
                <a:gd name="T62" fmla="*/ 535 w 593"/>
                <a:gd name="T63" fmla="*/ 551 h 760"/>
                <a:gd name="T64" fmla="*/ 540 w 593"/>
                <a:gd name="T65" fmla="*/ 565 h 760"/>
                <a:gd name="T66" fmla="*/ 530 w 593"/>
                <a:gd name="T67" fmla="*/ 582 h 760"/>
                <a:gd name="T68" fmla="*/ 531 w 593"/>
                <a:gd name="T69" fmla="*/ 604 h 760"/>
                <a:gd name="T70" fmla="*/ 506 w 593"/>
                <a:gd name="T71" fmla="*/ 630 h 760"/>
                <a:gd name="T72" fmla="*/ 486 w 593"/>
                <a:gd name="T73" fmla="*/ 633 h 760"/>
                <a:gd name="T74" fmla="*/ 487 w 593"/>
                <a:gd name="T75" fmla="*/ 678 h 760"/>
                <a:gd name="T76" fmla="*/ 474 w 593"/>
                <a:gd name="T77" fmla="*/ 696 h 760"/>
                <a:gd name="T78" fmla="*/ 460 w 593"/>
                <a:gd name="T79" fmla="*/ 728 h 760"/>
                <a:gd name="T80" fmla="*/ 456 w 593"/>
                <a:gd name="T81" fmla="*/ 745 h 760"/>
                <a:gd name="T82" fmla="*/ 440 w 593"/>
                <a:gd name="T83" fmla="*/ 760 h 760"/>
                <a:gd name="T84" fmla="*/ 404 w 593"/>
                <a:gd name="T85" fmla="*/ 732 h 760"/>
                <a:gd name="T86" fmla="*/ 394 w 593"/>
                <a:gd name="T87" fmla="*/ 687 h 760"/>
                <a:gd name="T88" fmla="*/ 352 w 593"/>
                <a:gd name="T89" fmla="*/ 647 h 760"/>
                <a:gd name="T90" fmla="*/ 314 w 593"/>
                <a:gd name="T91" fmla="*/ 637 h 760"/>
                <a:gd name="T92" fmla="*/ 299 w 593"/>
                <a:gd name="T93" fmla="*/ 606 h 760"/>
                <a:gd name="T94" fmla="*/ 266 w 593"/>
                <a:gd name="T95" fmla="*/ 562 h 760"/>
                <a:gd name="T96" fmla="*/ 244 w 593"/>
                <a:gd name="T97" fmla="*/ 530 h 760"/>
                <a:gd name="T98" fmla="*/ 216 w 593"/>
                <a:gd name="T99" fmla="*/ 498 h 760"/>
                <a:gd name="T100" fmla="*/ 183 w 593"/>
                <a:gd name="T101" fmla="*/ 495 h 760"/>
                <a:gd name="T102" fmla="*/ 151 w 593"/>
                <a:gd name="T103" fmla="*/ 492 h 760"/>
                <a:gd name="T104" fmla="*/ 129 w 593"/>
                <a:gd name="T105" fmla="*/ 461 h 760"/>
                <a:gd name="T106" fmla="*/ 93 w 593"/>
                <a:gd name="T107" fmla="*/ 431 h 760"/>
                <a:gd name="T108" fmla="*/ 82 w 593"/>
                <a:gd name="T109" fmla="*/ 399 h 760"/>
                <a:gd name="T110" fmla="*/ 70 w 593"/>
                <a:gd name="T111" fmla="*/ 366 h 760"/>
                <a:gd name="T112" fmla="*/ 55 w 593"/>
                <a:gd name="T113" fmla="*/ 332 h 760"/>
                <a:gd name="T114" fmla="*/ 39 w 593"/>
                <a:gd name="T115" fmla="*/ 304 h 760"/>
                <a:gd name="T116" fmla="*/ 37 w 593"/>
                <a:gd name="T117" fmla="*/ 272 h 760"/>
                <a:gd name="T118" fmla="*/ 4 w 593"/>
                <a:gd name="T119" fmla="*/ 25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3" h="760">
                  <a:moveTo>
                    <a:pt x="383" y="0"/>
                  </a:moveTo>
                  <a:lnTo>
                    <a:pt x="383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3" y="3"/>
                  </a:lnTo>
                  <a:lnTo>
                    <a:pt x="383" y="4"/>
                  </a:lnTo>
                  <a:lnTo>
                    <a:pt x="383" y="5"/>
                  </a:lnTo>
                  <a:lnTo>
                    <a:pt x="384" y="7"/>
                  </a:lnTo>
                  <a:lnTo>
                    <a:pt x="384" y="7"/>
                  </a:lnTo>
                  <a:lnTo>
                    <a:pt x="385" y="8"/>
                  </a:lnTo>
                  <a:lnTo>
                    <a:pt x="385" y="8"/>
                  </a:lnTo>
                  <a:lnTo>
                    <a:pt x="386" y="8"/>
                  </a:lnTo>
                  <a:lnTo>
                    <a:pt x="387" y="8"/>
                  </a:lnTo>
                  <a:lnTo>
                    <a:pt x="387" y="8"/>
                  </a:lnTo>
                  <a:lnTo>
                    <a:pt x="388" y="8"/>
                  </a:lnTo>
                  <a:lnTo>
                    <a:pt x="388" y="7"/>
                  </a:lnTo>
                  <a:lnTo>
                    <a:pt x="389" y="6"/>
                  </a:lnTo>
                  <a:lnTo>
                    <a:pt x="391" y="4"/>
                  </a:lnTo>
                  <a:lnTo>
                    <a:pt x="392" y="3"/>
                  </a:lnTo>
                  <a:lnTo>
                    <a:pt x="392" y="3"/>
                  </a:lnTo>
                  <a:lnTo>
                    <a:pt x="393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6" y="2"/>
                  </a:lnTo>
                  <a:lnTo>
                    <a:pt x="396" y="4"/>
                  </a:lnTo>
                  <a:lnTo>
                    <a:pt x="398" y="6"/>
                  </a:lnTo>
                  <a:lnTo>
                    <a:pt x="400" y="8"/>
                  </a:lnTo>
                  <a:lnTo>
                    <a:pt x="401" y="10"/>
                  </a:lnTo>
                  <a:lnTo>
                    <a:pt x="401" y="11"/>
                  </a:lnTo>
                  <a:lnTo>
                    <a:pt x="402" y="14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3" y="16"/>
                  </a:lnTo>
                  <a:lnTo>
                    <a:pt x="404" y="16"/>
                  </a:lnTo>
                  <a:lnTo>
                    <a:pt x="405" y="16"/>
                  </a:lnTo>
                  <a:lnTo>
                    <a:pt x="405" y="16"/>
                  </a:lnTo>
                  <a:lnTo>
                    <a:pt x="406" y="16"/>
                  </a:lnTo>
                  <a:lnTo>
                    <a:pt x="407" y="16"/>
                  </a:lnTo>
                  <a:lnTo>
                    <a:pt x="410" y="15"/>
                  </a:lnTo>
                  <a:lnTo>
                    <a:pt x="411" y="15"/>
                  </a:lnTo>
                  <a:lnTo>
                    <a:pt x="412" y="15"/>
                  </a:lnTo>
                  <a:lnTo>
                    <a:pt x="414" y="14"/>
                  </a:lnTo>
                  <a:lnTo>
                    <a:pt x="415" y="13"/>
                  </a:lnTo>
                  <a:lnTo>
                    <a:pt x="416" y="12"/>
                  </a:lnTo>
                  <a:lnTo>
                    <a:pt x="417" y="11"/>
                  </a:lnTo>
                  <a:lnTo>
                    <a:pt x="418" y="10"/>
                  </a:lnTo>
                  <a:lnTo>
                    <a:pt x="418" y="11"/>
                  </a:lnTo>
                  <a:lnTo>
                    <a:pt x="418" y="12"/>
                  </a:lnTo>
                  <a:lnTo>
                    <a:pt x="420" y="14"/>
                  </a:lnTo>
                  <a:lnTo>
                    <a:pt x="421" y="15"/>
                  </a:lnTo>
                  <a:lnTo>
                    <a:pt x="422" y="17"/>
                  </a:lnTo>
                  <a:lnTo>
                    <a:pt x="423" y="19"/>
                  </a:lnTo>
                  <a:lnTo>
                    <a:pt x="423" y="20"/>
                  </a:lnTo>
                  <a:lnTo>
                    <a:pt x="424" y="21"/>
                  </a:lnTo>
                  <a:lnTo>
                    <a:pt x="424" y="22"/>
                  </a:lnTo>
                  <a:lnTo>
                    <a:pt x="424" y="24"/>
                  </a:lnTo>
                  <a:lnTo>
                    <a:pt x="424" y="25"/>
                  </a:lnTo>
                  <a:lnTo>
                    <a:pt x="424" y="25"/>
                  </a:lnTo>
                  <a:lnTo>
                    <a:pt x="424" y="26"/>
                  </a:lnTo>
                  <a:lnTo>
                    <a:pt x="423" y="27"/>
                  </a:lnTo>
                  <a:lnTo>
                    <a:pt x="423" y="28"/>
                  </a:lnTo>
                  <a:lnTo>
                    <a:pt x="421" y="31"/>
                  </a:lnTo>
                  <a:lnTo>
                    <a:pt x="419" y="33"/>
                  </a:lnTo>
                  <a:lnTo>
                    <a:pt x="418" y="34"/>
                  </a:lnTo>
                  <a:lnTo>
                    <a:pt x="417" y="38"/>
                  </a:lnTo>
                  <a:lnTo>
                    <a:pt x="416" y="39"/>
                  </a:lnTo>
                  <a:lnTo>
                    <a:pt x="416" y="40"/>
                  </a:lnTo>
                  <a:lnTo>
                    <a:pt x="415" y="41"/>
                  </a:lnTo>
                  <a:lnTo>
                    <a:pt x="415" y="42"/>
                  </a:lnTo>
                  <a:lnTo>
                    <a:pt x="415" y="43"/>
                  </a:lnTo>
                  <a:lnTo>
                    <a:pt x="415" y="43"/>
                  </a:lnTo>
                  <a:lnTo>
                    <a:pt x="415" y="44"/>
                  </a:lnTo>
                  <a:lnTo>
                    <a:pt x="416" y="45"/>
                  </a:lnTo>
                  <a:lnTo>
                    <a:pt x="416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8" y="46"/>
                  </a:lnTo>
                  <a:lnTo>
                    <a:pt x="419" y="46"/>
                  </a:lnTo>
                  <a:lnTo>
                    <a:pt x="423" y="47"/>
                  </a:lnTo>
                  <a:lnTo>
                    <a:pt x="424" y="47"/>
                  </a:lnTo>
                  <a:lnTo>
                    <a:pt x="425" y="48"/>
                  </a:lnTo>
                  <a:lnTo>
                    <a:pt x="426" y="47"/>
                  </a:lnTo>
                  <a:lnTo>
                    <a:pt x="427" y="47"/>
                  </a:lnTo>
                  <a:lnTo>
                    <a:pt x="428" y="47"/>
                  </a:lnTo>
                  <a:lnTo>
                    <a:pt x="430" y="46"/>
                  </a:lnTo>
                  <a:lnTo>
                    <a:pt x="433" y="45"/>
                  </a:lnTo>
                  <a:lnTo>
                    <a:pt x="435" y="44"/>
                  </a:lnTo>
                  <a:lnTo>
                    <a:pt x="436" y="44"/>
                  </a:lnTo>
                  <a:lnTo>
                    <a:pt x="437" y="44"/>
                  </a:lnTo>
                  <a:lnTo>
                    <a:pt x="440" y="44"/>
                  </a:lnTo>
                  <a:lnTo>
                    <a:pt x="442" y="44"/>
                  </a:lnTo>
                  <a:lnTo>
                    <a:pt x="443" y="44"/>
                  </a:lnTo>
                  <a:lnTo>
                    <a:pt x="446" y="44"/>
                  </a:lnTo>
                  <a:lnTo>
                    <a:pt x="449" y="45"/>
                  </a:lnTo>
                  <a:lnTo>
                    <a:pt x="451" y="45"/>
                  </a:lnTo>
                  <a:lnTo>
                    <a:pt x="452" y="45"/>
                  </a:lnTo>
                  <a:lnTo>
                    <a:pt x="453" y="45"/>
                  </a:lnTo>
                  <a:lnTo>
                    <a:pt x="457" y="44"/>
                  </a:lnTo>
                  <a:lnTo>
                    <a:pt x="459" y="44"/>
                  </a:lnTo>
                  <a:lnTo>
                    <a:pt x="460" y="44"/>
                  </a:lnTo>
                  <a:lnTo>
                    <a:pt x="461" y="45"/>
                  </a:lnTo>
                  <a:lnTo>
                    <a:pt x="462" y="45"/>
                  </a:lnTo>
                  <a:lnTo>
                    <a:pt x="463" y="45"/>
                  </a:lnTo>
                  <a:lnTo>
                    <a:pt x="465" y="46"/>
                  </a:lnTo>
                  <a:lnTo>
                    <a:pt x="466" y="47"/>
                  </a:lnTo>
                  <a:lnTo>
                    <a:pt x="467" y="47"/>
                  </a:lnTo>
                  <a:lnTo>
                    <a:pt x="467" y="48"/>
                  </a:lnTo>
                  <a:lnTo>
                    <a:pt x="467" y="48"/>
                  </a:lnTo>
                  <a:lnTo>
                    <a:pt x="467" y="48"/>
                  </a:lnTo>
                  <a:lnTo>
                    <a:pt x="467" y="49"/>
                  </a:lnTo>
                  <a:lnTo>
                    <a:pt x="467" y="49"/>
                  </a:lnTo>
                  <a:lnTo>
                    <a:pt x="464" y="50"/>
                  </a:lnTo>
                  <a:lnTo>
                    <a:pt x="463" y="51"/>
                  </a:lnTo>
                  <a:lnTo>
                    <a:pt x="462" y="51"/>
                  </a:lnTo>
                  <a:lnTo>
                    <a:pt x="462" y="52"/>
                  </a:lnTo>
                  <a:lnTo>
                    <a:pt x="461" y="52"/>
                  </a:lnTo>
                  <a:lnTo>
                    <a:pt x="461" y="53"/>
                  </a:lnTo>
                  <a:lnTo>
                    <a:pt x="461" y="53"/>
                  </a:lnTo>
                  <a:lnTo>
                    <a:pt x="461" y="54"/>
                  </a:lnTo>
                  <a:lnTo>
                    <a:pt x="461" y="54"/>
                  </a:lnTo>
                  <a:lnTo>
                    <a:pt x="461" y="54"/>
                  </a:lnTo>
                  <a:lnTo>
                    <a:pt x="462" y="55"/>
                  </a:lnTo>
                  <a:lnTo>
                    <a:pt x="462" y="55"/>
                  </a:lnTo>
                  <a:lnTo>
                    <a:pt x="462" y="56"/>
                  </a:lnTo>
                  <a:lnTo>
                    <a:pt x="464" y="57"/>
                  </a:lnTo>
                  <a:lnTo>
                    <a:pt x="465" y="58"/>
                  </a:lnTo>
                  <a:lnTo>
                    <a:pt x="466" y="59"/>
                  </a:lnTo>
                  <a:lnTo>
                    <a:pt x="467" y="60"/>
                  </a:lnTo>
                  <a:lnTo>
                    <a:pt x="472" y="62"/>
                  </a:lnTo>
                  <a:lnTo>
                    <a:pt x="475" y="64"/>
                  </a:lnTo>
                  <a:lnTo>
                    <a:pt x="477" y="65"/>
                  </a:lnTo>
                  <a:lnTo>
                    <a:pt x="482" y="69"/>
                  </a:lnTo>
                  <a:lnTo>
                    <a:pt x="484" y="70"/>
                  </a:lnTo>
                  <a:lnTo>
                    <a:pt x="485" y="71"/>
                  </a:lnTo>
                  <a:lnTo>
                    <a:pt x="487" y="72"/>
                  </a:lnTo>
                  <a:lnTo>
                    <a:pt x="488" y="72"/>
                  </a:lnTo>
                  <a:lnTo>
                    <a:pt x="490" y="73"/>
                  </a:lnTo>
                  <a:lnTo>
                    <a:pt x="491" y="73"/>
                  </a:lnTo>
                  <a:lnTo>
                    <a:pt x="493" y="74"/>
                  </a:lnTo>
                  <a:lnTo>
                    <a:pt x="495" y="74"/>
                  </a:lnTo>
                  <a:lnTo>
                    <a:pt x="497" y="74"/>
                  </a:lnTo>
                  <a:lnTo>
                    <a:pt x="499" y="74"/>
                  </a:lnTo>
                  <a:lnTo>
                    <a:pt x="501" y="74"/>
                  </a:lnTo>
                  <a:lnTo>
                    <a:pt x="502" y="74"/>
                  </a:lnTo>
                  <a:lnTo>
                    <a:pt x="504" y="74"/>
                  </a:lnTo>
                  <a:lnTo>
                    <a:pt x="506" y="73"/>
                  </a:lnTo>
                  <a:lnTo>
                    <a:pt x="507" y="73"/>
                  </a:lnTo>
                  <a:lnTo>
                    <a:pt x="512" y="72"/>
                  </a:lnTo>
                  <a:lnTo>
                    <a:pt x="514" y="72"/>
                  </a:lnTo>
                  <a:lnTo>
                    <a:pt x="515" y="71"/>
                  </a:lnTo>
                  <a:lnTo>
                    <a:pt x="517" y="71"/>
                  </a:lnTo>
                  <a:lnTo>
                    <a:pt x="518" y="72"/>
                  </a:lnTo>
                  <a:lnTo>
                    <a:pt x="520" y="72"/>
                  </a:lnTo>
                  <a:lnTo>
                    <a:pt x="521" y="72"/>
                  </a:lnTo>
                  <a:lnTo>
                    <a:pt x="522" y="73"/>
                  </a:lnTo>
                  <a:lnTo>
                    <a:pt x="523" y="74"/>
                  </a:lnTo>
                  <a:lnTo>
                    <a:pt x="524" y="74"/>
                  </a:lnTo>
                  <a:lnTo>
                    <a:pt x="525" y="75"/>
                  </a:lnTo>
                  <a:lnTo>
                    <a:pt x="526" y="77"/>
                  </a:lnTo>
                  <a:lnTo>
                    <a:pt x="530" y="81"/>
                  </a:lnTo>
                  <a:lnTo>
                    <a:pt x="532" y="83"/>
                  </a:lnTo>
                  <a:lnTo>
                    <a:pt x="533" y="84"/>
                  </a:lnTo>
                  <a:lnTo>
                    <a:pt x="536" y="87"/>
                  </a:lnTo>
                  <a:lnTo>
                    <a:pt x="540" y="91"/>
                  </a:lnTo>
                  <a:lnTo>
                    <a:pt x="541" y="92"/>
                  </a:lnTo>
                  <a:lnTo>
                    <a:pt x="542" y="92"/>
                  </a:lnTo>
                  <a:lnTo>
                    <a:pt x="544" y="93"/>
                  </a:lnTo>
                  <a:lnTo>
                    <a:pt x="545" y="93"/>
                  </a:lnTo>
                  <a:lnTo>
                    <a:pt x="550" y="94"/>
                  </a:lnTo>
                  <a:lnTo>
                    <a:pt x="551" y="94"/>
                  </a:lnTo>
                  <a:lnTo>
                    <a:pt x="552" y="95"/>
                  </a:lnTo>
                  <a:lnTo>
                    <a:pt x="554" y="95"/>
                  </a:lnTo>
                  <a:lnTo>
                    <a:pt x="555" y="96"/>
                  </a:lnTo>
                  <a:lnTo>
                    <a:pt x="556" y="97"/>
                  </a:lnTo>
                  <a:lnTo>
                    <a:pt x="557" y="97"/>
                  </a:lnTo>
                  <a:lnTo>
                    <a:pt x="558" y="98"/>
                  </a:lnTo>
                  <a:lnTo>
                    <a:pt x="558" y="99"/>
                  </a:lnTo>
                  <a:lnTo>
                    <a:pt x="559" y="99"/>
                  </a:lnTo>
                  <a:lnTo>
                    <a:pt x="559" y="100"/>
                  </a:lnTo>
                  <a:lnTo>
                    <a:pt x="559" y="101"/>
                  </a:lnTo>
                  <a:lnTo>
                    <a:pt x="559" y="102"/>
                  </a:lnTo>
                  <a:lnTo>
                    <a:pt x="560" y="106"/>
                  </a:lnTo>
                  <a:lnTo>
                    <a:pt x="560" y="107"/>
                  </a:lnTo>
                  <a:lnTo>
                    <a:pt x="561" y="107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2" y="108"/>
                  </a:lnTo>
                  <a:lnTo>
                    <a:pt x="562" y="109"/>
                  </a:lnTo>
                  <a:lnTo>
                    <a:pt x="563" y="109"/>
                  </a:lnTo>
                  <a:lnTo>
                    <a:pt x="567" y="110"/>
                  </a:lnTo>
                  <a:lnTo>
                    <a:pt x="571" y="111"/>
                  </a:lnTo>
                  <a:lnTo>
                    <a:pt x="574" y="112"/>
                  </a:lnTo>
                  <a:lnTo>
                    <a:pt x="576" y="113"/>
                  </a:lnTo>
                  <a:lnTo>
                    <a:pt x="579" y="114"/>
                  </a:lnTo>
                  <a:lnTo>
                    <a:pt x="588" y="119"/>
                  </a:lnTo>
                  <a:lnTo>
                    <a:pt x="589" y="120"/>
                  </a:lnTo>
                  <a:lnTo>
                    <a:pt x="590" y="120"/>
                  </a:lnTo>
                  <a:lnTo>
                    <a:pt x="590" y="121"/>
                  </a:lnTo>
                  <a:lnTo>
                    <a:pt x="591" y="121"/>
                  </a:lnTo>
                  <a:lnTo>
                    <a:pt x="591" y="122"/>
                  </a:lnTo>
                  <a:lnTo>
                    <a:pt x="591" y="123"/>
                  </a:lnTo>
                  <a:lnTo>
                    <a:pt x="591" y="130"/>
                  </a:lnTo>
                  <a:lnTo>
                    <a:pt x="591" y="132"/>
                  </a:lnTo>
                  <a:lnTo>
                    <a:pt x="592" y="137"/>
                  </a:lnTo>
                  <a:lnTo>
                    <a:pt x="592" y="143"/>
                  </a:lnTo>
                  <a:lnTo>
                    <a:pt x="593" y="145"/>
                  </a:lnTo>
                  <a:lnTo>
                    <a:pt x="593" y="150"/>
                  </a:lnTo>
                  <a:lnTo>
                    <a:pt x="593" y="152"/>
                  </a:lnTo>
                  <a:lnTo>
                    <a:pt x="593" y="153"/>
                  </a:lnTo>
                  <a:lnTo>
                    <a:pt x="593" y="154"/>
                  </a:lnTo>
                  <a:lnTo>
                    <a:pt x="592" y="155"/>
                  </a:lnTo>
                  <a:lnTo>
                    <a:pt x="592" y="156"/>
                  </a:lnTo>
                  <a:lnTo>
                    <a:pt x="592" y="157"/>
                  </a:lnTo>
                  <a:lnTo>
                    <a:pt x="591" y="158"/>
                  </a:lnTo>
                  <a:lnTo>
                    <a:pt x="588" y="160"/>
                  </a:lnTo>
                  <a:lnTo>
                    <a:pt x="588" y="160"/>
                  </a:lnTo>
                  <a:lnTo>
                    <a:pt x="587" y="161"/>
                  </a:lnTo>
                  <a:lnTo>
                    <a:pt x="586" y="162"/>
                  </a:lnTo>
                  <a:lnTo>
                    <a:pt x="586" y="163"/>
                  </a:lnTo>
                  <a:lnTo>
                    <a:pt x="585" y="165"/>
                  </a:lnTo>
                  <a:lnTo>
                    <a:pt x="584" y="168"/>
                  </a:lnTo>
                  <a:lnTo>
                    <a:pt x="583" y="172"/>
                  </a:lnTo>
                  <a:lnTo>
                    <a:pt x="582" y="174"/>
                  </a:lnTo>
                  <a:lnTo>
                    <a:pt x="582" y="176"/>
                  </a:lnTo>
                  <a:lnTo>
                    <a:pt x="581" y="182"/>
                  </a:lnTo>
                  <a:lnTo>
                    <a:pt x="581" y="183"/>
                  </a:lnTo>
                  <a:lnTo>
                    <a:pt x="581" y="186"/>
                  </a:lnTo>
                  <a:lnTo>
                    <a:pt x="582" y="189"/>
                  </a:lnTo>
                  <a:lnTo>
                    <a:pt x="582" y="191"/>
                  </a:lnTo>
                  <a:lnTo>
                    <a:pt x="582" y="192"/>
                  </a:lnTo>
                  <a:lnTo>
                    <a:pt x="581" y="194"/>
                  </a:lnTo>
                  <a:lnTo>
                    <a:pt x="581" y="195"/>
                  </a:lnTo>
                  <a:lnTo>
                    <a:pt x="581" y="197"/>
                  </a:lnTo>
                  <a:lnTo>
                    <a:pt x="580" y="199"/>
                  </a:lnTo>
                  <a:lnTo>
                    <a:pt x="579" y="203"/>
                  </a:lnTo>
                  <a:lnTo>
                    <a:pt x="578" y="204"/>
                  </a:lnTo>
                  <a:lnTo>
                    <a:pt x="578" y="205"/>
                  </a:lnTo>
                  <a:lnTo>
                    <a:pt x="578" y="206"/>
                  </a:lnTo>
                  <a:lnTo>
                    <a:pt x="578" y="207"/>
                  </a:lnTo>
                  <a:lnTo>
                    <a:pt x="578" y="209"/>
                  </a:lnTo>
                  <a:lnTo>
                    <a:pt x="578" y="213"/>
                  </a:lnTo>
                  <a:lnTo>
                    <a:pt x="578" y="215"/>
                  </a:lnTo>
                  <a:lnTo>
                    <a:pt x="578" y="216"/>
                  </a:lnTo>
                  <a:lnTo>
                    <a:pt x="577" y="218"/>
                  </a:lnTo>
                  <a:lnTo>
                    <a:pt x="577" y="219"/>
                  </a:lnTo>
                  <a:lnTo>
                    <a:pt x="577" y="221"/>
                  </a:lnTo>
                  <a:lnTo>
                    <a:pt x="576" y="223"/>
                  </a:lnTo>
                  <a:lnTo>
                    <a:pt x="576" y="224"/>
                  </a:lnTo>
                  <a:lnTo>
                    <a:pt x="576" y="225"/>
                  </a:lnTo>
                  <a:lnTo>
                    <a:pt x="576" y="226"/>
                  </a:lnTo>
                  <a:lnTo>
                    <a:pt x="577" y="226"/>
                  </a:lnTo>
                  <a:lnTo>
                    <a:pt x="577" y="227"/>
                  </a:lnTo>
                  <a:lnTo>
                    <a:pt x="579" y="228"/>
                  </a:lnTo>
                  <a:lnTo>
                    <a:pt x="580" y="228"/>
                  </a:lnTo>
                  <a:lnTo>
                    <a:pt x="581" y="229"/>
                  </a:lnTo>
                  <a:lnTo>
                    <a:pt x="582" y="230"/>
                  </a:lnTo>
                  <a:lnTo>
                    <a:pt x="582" y="231"/>
                  </a:lnTo>
                  <a:lnTo>
                    <a:pt x="582" y="232"/>
                  </a:lnTo>
                  <a:lnTo>
                    <a:pt x="582" y="233"/>
                  </a:lnTo>
                  <a:lnTo>
                    <a:pt x="582" y="233"/>
                  </a:lnTo>
                  <a:lnTo>
                    <a:pt x="582" y="234"/>
                  </a:lnTo>
                  <a:lnTo>
                    <a:pt x="581" y="235"/>
                  </a:lnTo>
                  <a:lnTo>
                    <a:pt x="581" y="236"/>
                  </a:lnTo>
                  <a:lnTo>
                    <a:pt x="580" y="236"/>
                  </a:lnTo>
                  <a:lnTo>
                    <a:pt x="578" y="238"/>
                  </a:lnTo>
                  <a:lnTo>
                    <a:pt x="574" y="241"/>
                  </a:lnTo>
                  <a:lnTo>
                    <a:pt x="573" y="243"/>
                  </a:lnTo>
                  <a:lnTo>
                    <a:pt x="571" y="244"/>
                  </a:lnTo>
                  <a:lnTo>
                    <a:pt x="570" y="245"/>
                  </a:lnTo>
                  <a:lnTo>
                    <a:pt x="568" y="249"/>
                  </a:lnTo>
                  <a:lnTo>
                    <a:pt x="567" y="250"/>
                  </a:lnTo>
                  <a:lnTo>
                    <a:pt x="566" y="251"/>
                  </a:lnTo>
                  <a:lnTo>
                    <a:pt x="565" y="251"/>
                  </a:lnTo>
                  <a:lnTo>
                    <a:pt x="565" y="252"/>
                  </a:lnTo>
                  <a:lnTo>
                    <a:pt x="564" y="252"/>
                  </a:lnTo>
                  <a:lnTo>
                    <a:pt x="563" y="252"/>
                  </a:lnTo>
                  <a:lnTo>
                    <a:pt x="562" y="252"/>
                  </a:lnTo>
                  <a:lnTo>
                    <a:pt x="562" y="252"/>
                  </a:lnTo>
                  <a:lnTo>
                    <a:pt x="561" y="252"/>
                  </a:lnTo>
                  <a:lnTo>
                    <a:pt x="560" y="252"/>
                  </a:lnTo>
                  <a:lnTo>
                    <a:pt x="559" y="251"/>
                  </a:lnTo>
                  <a:lnTo>
                    <a:pt x="555" y="249"/>
                  </a:lnTo>
                  <a:lnTo>
                    <a:pt x="554" y="249"/>
                  </a:lnTo>
                  <a:lnTo>
                    <a:pt x="554" y="248"/>
                  </a:lnTo>
                  <a:lnTo>
                    <a:pt x="553" y="248"/>
                  </a:lnTo>
                  <a:lnTo>
                    <a:pt x="552" y="248"/>
                  </a:lnTo>
                  <a:lnTo>
                    <a:pt x="550" y="248"/>
                  </a:lnTo>
                  <a:lnTo>
                    <a:pt x="549" y="249"/>
                  </a:lnTo>
                  <a:lnTo>
                    <a:pt x="548" y="249"/>
                  </a:lnTo>
                  <a:lnTo>
                    <a:pt x="547" y="250"/>
                  </a:lnTo>
                  <a:lnTo>
                    <a:pt x="545" y="251"/>
                  </a:lnTo>
                  <a:lnTo>
                    <a:pt x="543" y="251"/>
                  </a:lnTo>
                  <a:lnTo>
                    <a:pt x="542" y="252"/>
                  </a:lnTo>
                  <a:lnTo>
                    <a:pt x="540" y="254"/>
                  </a:lnTo>
                  <a:lnTo>
                    <a:pt x="539" y="254"/>
                  </a:lnTo>
                  <a:lnTo>
                    <a:pt x="538" y="256"/>
                  </a:lnTo>
                  <a:lnTo>
                    <a:pt x="537" y="257"/>
                  </a:lnTo>
                  <a:lnTo>
                    <a:pt x="535" y="258"/>
                  </a:lnTo>
                  <a:lnTo>
                    <a:pt x="534" y="259"/>
                  </a:lnTo>
                  <a:lnTo>
                    <a:pt x="533" y="261"/>
                  </a:lnTo>
                  <a:lnTo>
                    <a:pt x="529" y="266"/>
                  </a:lnTo>
                  <a:lnTo>
                    <a:pt x="528" y="268"/>
                  </a:lnTo>
                  <a:lnTo>
                    <a:pt x="527" y="269"/>
                  </a:lnTo>
                  <a:lnTo>
                    <a:pt x="527" y="270"/>
                  </a:lnTo>
                  <a:lnTo>
                    <a:pt x="526" y="271"/>
                  </a:lnTo>
                  <a:lnTo>
                    <a:pt x="526" y="273"/>
                  </a:lnTo>
                  <a:lnTo>
                    <a:pt x="526" y="274"/>
                  </a:lnTo>
                  <a:lnTo>
                    <a:pt x="526" y="275"/>
                  </a:lnTo>
                  <a:lnTo>
                    <a:pt x="526" y="276"/>
                  </a:lnTo>
                  <a:lnTo>
                    <a:pt x="526" y="277"/>
                  </a:lnTo>
                  <a:lnTo>
                    <a:pt x="527" y="278"/>
                  </a:lnTo>
                  <a:lnTo>
                    <a:pt x="527" y="278"/>
                  </a:lnTo>
                  <a:lnTo>
                    <a:pt x="528" y="279"/>
                  </a:lnTo>
                  <a:lnTo>
                    <a:pt x="528" y="279"/>
                  </a:lnTo>
                  <a:lnTo>
                    <a:pt x="529" y="279"/>
                  </a:lnTo>
                  <a:lnTo>
                    <a:pt x="530" y="279"/>
                  </a:lnTo>
                  <a:lnTo>
                    <a:pt x="531" y="279"/>
                  </a:lnTo>
                  <a:lnTo>
                    <a:pt x="533" y="279"/>
                  </a:lnTo>
                  <a:lnTo>
                    <a:pt x="535" y="279"/>
                  </a:lnTo>
                  <a:lnTo>
                    <a:pt x="537" y="279"/>
                  </a:lnTo>
                  <a:lnTo>
                    <a:pt x="538" y="279"/>
                  </a:lnTo>
                  <a:lnTo>
                    <a:pt x="540" y="279"/>
                  </a:lnTo>
                  <a:lnTo>
                    <a:pt x="541" y="279"/>
                  </a:lnTo>
                  <a:lnTo>
                    <a:pt x="542" y="280"/>
                  </a:lnTo>
                  <a:lnTo>
                    <a:pt x="542" y="280"/>
                  </a:lnTo>
                  <a:lnTo>
                    <a:pt x="543" y="281"/>
                  </a:lnTo>
                  <a:lnTo>
                    <a:pt x="543" y="281"/>
                  </a:lnTo>
                  <a:lnTo>
                    <a:pt x="543" y="282"/>
                  </a:lnTo>
                  <a:lnTo>
                    <a:pt x="544" y="282"/>
                  </a:lnTo>
                  <a:lnTo>
                    <a:pt x="543" y="283"/>
                  </a:lnTo>
                  <a:lnTo>
                    <a:pt x="543" y="283"/>
                  </a:lnTo>
                  <a:lnTo>
                    <a:pt x="542" y="284"/>
                  </a:lnTo>
                  <a:lnTo>
                    <a:pt x="542" y="284"/>
                  </a:lnTo>
                  <a:lnTo>
                    <a:pt x="540" y="285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34" y="288"/>
                  </a:lnTo>
                  <a:lnTo>
                    <a:pt x="534" y="289"/>
                  </a:lnTo>
                  <a:lnTo>
                    <a:pt x="534" y="289"/>
                  </a:lnTo>
                  <a:lnTo>
                    <a:pt x="534" y="290"/>
                  </a:lnTo>
                  <a:lnTo>
                    <a:pt x="534" y="291"/>
                  </a:lnTo>
                  <a:lnTo>
                    <a:pt x="534" y="292"/>
                  </a:lnTo>
                  <a:lnTo>
                    <a:pt x="534" y="292"/>
                  </a:lnTo>
                  <a:lnTo>
                    <a:pt x="535" y="293"/>
                  </a:lnTo>
                  <a:lnTo>
                    <a:pt x="535" y="294"/>
                  </a:lnTo>
                  <a:lnTo>
                    <a:pt x="537" y="296"/>
                  </a:lnTo>
                  <a:lnTo>
                    <a:pt x="538" y="297"/>
                  </a:lnTo>
                  <a:lnTo>
                    <a:pt x="538" y="298"/>
                  </a:lnTo>
                  <a:lnTo>
                    <a:pt x="539" y="299"/>
                  </a:lnTo>
                  <a:lnTo>
                    <a:pt x="539" y="300"/>
                  </a:lnTo>
                  <a:lnTo>
                    <a:pt x="540" y="301"/>
                  </a:lnTo>
                  <a:lnTo>
                    <a:pt x="540" y="301"/>
                  </a:lnTo>
                  <a:lnTo>
                    <a:pt x="539" y="302"/>
                  </a:lnTo>
                  <a:lnTo>
                    <a:pt x="539" y="302"/>
                  </a:lnTo>
                  <a:lnTo>
                    <a:pt x="539" y="303"/>
                  </a:lnTo>
                  <a:lnTo>
                    <a:pt x="538" y="303"/>
                  </a:lnTo>
                  <a:lnTo>
                    <a:pt x="537" y="304"/>
                  </a:lnTo>
                  <a:lnTo>
                    <a:pt x="536" y="304"/>
                  </a:lnTo>
                  <a:lnTo>
                    <a:pt x="535" y="304"/>
                  </a:lnTo>
                  <a:lnTo>
                    <a:pt x="533" y="304"/>
                  </a:lnTo>
                  <a:lnTo>
                    <a:pt x="532" y="305"/>
                  </a:lnTo>
                  <a:lnTo>
                    <a:pt x="531" y="305"/>
                  </a:lnTo>
                  <a:lnTo>
                    <a:pt x="531" y="305"/>
                  </a:lnTo>
                  <a:lnTo>
                    <a:pt x="531" y="305"/>
                  </a:lnTo>
                  <a:lnTo>
                    <a:pt x="531" y="305"/>
                  </a:lnTo>
                  <a:lnTo>
                    <a:pt x="531" y="306"/>
                  </a:lnTo>
                  <a:lnTo>
                    <a:pt x="532" y="306"/>
                  </a:lnTo>
                  <a:lnTo>
                    <a:pt x="533" y="307"/>
                  </a:lnTo>
                  <a:lnTo>
                    <a:pt x="535" y="308"/>
                  </a:lnTo>
                  <a:lnTo>
                    <a:pt x="536" y="309"/>
                  </a:lnTo>
                  <a:lnTo>
                    <a:pt x="537" y="310"/>
                  </a:lnTo>
                  <a:lnTo>
                    <a:pt x="537" y="310"/>
                  </a:lnTo>
                  <a:lnTo>
                    <a:pt x="538" y="311"/>
                  </a:lnTo>
                  <a:lnTo>
                    <a:pt x="538" y="312"/>
                  </a:lnTo>
                  <a:lnTo>
                    <a:pt x="538" y="313"/>
                  </a:lnTo>
                  <a:lnTo>
                    <a:pt x="537" y="314"/>
                  </a:lnTo>
                  <a:lnTo>
                    <a:pt x="537" y="314"/>
                  </a:lnTo>
                  <a:lnTo>
                    <a:pt x="537" y="315"/>
                  </a:lnTo>
                  <a:lnTo>
                    <a:pt x="537" y="315"/>
                  </a:lnTo>
                  <a:lnTo>
                    <a:pt x="538" y="315"/>
                  </a:lnTo>
                  <a:lnTo>
                    <a:pt x="538" y="316"/>
                  </a:lnTo>
                  <a:lnTo>
                    <a:pt x="539" y="316"/>
                  </a:lnTo>
                  <a:lnTo>
                    <a:pt x="539" y="316"/>
                  </a:lnTo>
                  <a:lnTo>
                    <a:pt x="540" y="316"/>
                  </a:lnTo>
                  <a:lnTo>
                    <a:pt x="541" y="316"/>
                  </a:lnTo>
                  <a:lnTo>
                    <a:pt x="544" y="316"/>
                  </a:lnTo>
                  <a:lnTo>
                    <a:pt x="546" y="316"/>
                  </a:lnTo>
                  <a:lnTo>
                    <a:pt x="547" y="317"/>
                  </a:lnTo>
                  <a:lnTo>
                    <a:pt x="549" y="317"/>
                  </a:lnTo>
                  <a:lnTo>
                    <a:pt x="550" y="318"/>
                  </a:lnTo>
                  <a:lnTo>
                    <a:pt x="552" y="318"/>
                  </a:lnTo>
                  <a:lnTo>
                    <a:pt x="553" y="319"/>
                  </a:lnTo>
                  <a:lnTo>
                    <a:pt x="554" y="320"/>
                  </a:lnTo>
                  <a:lnTo>
                    <a:pt x="554" y="320"/>
                  </a:lnTo>
                  <a:lnTo>
                    <a:pt x="555" y="321"/>
                  </a:lnTo>
                  <a:lnTo>
                    <a:pt x="555" y="322"/>
                  </a:lnTo>
                  <a:lnTo>
                    <a:pt x="556" y="322"/>
                  </a:lnTo>
                  <a:lnTo>
                    <a:pt x="556" y="324"/>
                  </a:lnTo>
                  <a:lnTo>
                    <a:pt x="556" y="326"/>
                  </a:lnTo>
                  <a:lnTo>
                    <a:pt x="556" y="329"/>
                  </a:lnTo>
                  <a:lnTo>
                    <a:pt x="556" y="331"/>
                  </a:lnTo>
                  <a:lnTo>
                    <a:pt x="556" y="334"/>
                  </a:lnTo>
                  <a:lnTo>
                    <a:pt x="556" y="335"/>
                  </a:lnTo>
                  <a:lnTo>
                    <a:pt x="555" y="337"/>
                  </a:lnTo>
                  <a:lnTo>
                    <a:pt x="554" y="343"/>
                  </a:lnTo>
                  <a:lnTo>
                    <a:pt x="554" y="345"/>
                  </a:lnTo>
                  <a:lnTo>
                    <a:pt x="553" y="347"/>
                  </a:lnTo>
                  <a:lnTo>
                    <a:pt x="553" y="352"/>
                  </a:lnTo>
                  <a:lnTo>
                    <a:pt x="553" y="356"/>
                  </a:lnTo>
                  <a:lnTo>
                    <a:pt x="553" y="357"/>
                  </a:lnTo>
                  <a:lnTo>
                    <a:pt x="553" y="363"/>
                  </a:lnTo>
                  <a:lnTo>
                    <a:pt x="553" y="364"/>
                  </a:lnTo>
                  <a:lnTo>
                    <a:pt x="553" y="365"/>
                  </a:lnTo>
                  <a:lnTo>
                    <a:pt x="553" y="365"/>
                  </a:lnTo>
                  <a:lnTo>
                    <a:pt x="553" y="366"/>
                  </a:lnTo>
                  <a:lnTo>
                    <a:pt x="554" y="366"/>
                  </a:lnTo>
                  <a:lnTo>
                    <a:pt x="554" y="367"/>
                  </a:lnTo>
                  <a:lnTo>
                    <a:pt x="556" y="368"/>
                  </a:lnTo>
                  <a:lnTo>
                    <a:pt x="557" y="368"/>
                  </a:lnTo>
                  <a:lnTo>
                    <a:pt x="558" y="369"/>
                  </a:lnTo>
                  <a:lnTo>
                    <a:pt x="559" y="370"/>
                  </a:lnTo>
                  <a:lnTo>
                    <a:pt x="560" y="371"/>
                  </a:lnTo>
                  <a:lnTo>
                    <a:pt x="561" y="372"/>
                  </a:lnTo>
                  <a:lnTo>
                    <a:pt x="561" y="373"/>
                  </a:lnTo>
                  <a:lnTo>
                    <a:pt x="562" y="375"/>
                  </a:lnTo>
                  <a:lnTo>
                    <a:pt x="562" y="377"/>
                  </a:lnTo>
                  <a:lnTo>
                    <a:pt x="563" y="379"/>
                  </a:lnTo>
                  <a:lnTo>
                    <a:pt x="563" y="380"/>
                  </a:lnTo>
                  <a:lnTo>
                    <a:pt x="563" y="382"/>
                  </a:lnTo>
                  <a:lnTo>
                    <a:pt x="563" y="384"/>
                  </a:lnTo>
                  <a:lnTo>
                    <a:pt x="563" y="386"/>
                  </a:lnTo>
                  <a:lnTo>
                    <a:pt x="563" y="388"/>
                  </a:lnTo>
                  <a:lnTo>
                    <a:pt x="563" y="390"/>
                  </a:lnTo>
                  <a:lnTo>
                    <a:pt x="562" y="390"/>
                  </a:lnTo>
                  <a:lnTo>
                    <a:pt x="562" y="390"/>
                  </a:lnTo>
                  <a:lnTo>
                    <a:pt x="561" y="390"/>
                  </a:lnTo>
                  <a:lnTo>
                    <a:pt x="561" y="391"/>
                  </a:lnTo>
                  <a:lnTo>
                    <a:pt x="560" y="392"/>
                  </a:lnTo>
                  <a:lnTo>
                    <a:pt x="560" y="393"/>
                  </a:lnTo>
                  <a:lnTo>
                    <a:pt x="559" y="394"/>
                  </a:lnTo>
                  <a:lnTo>
                    <a:pt x="559" y="395"/>
                  </a:lnTo>
                  <a:lnTo>
                    <a:pt x="557" y="401"/>
                  </a:lnTo>
                  <a:lnTo>
                    <a:pt x="557" y="403"/>
                  </a:lnTo>
                  <a:lnTo>
                    <a:pt x="557" y="403"/>
                  </a:lnTo>
                  <a:lnTo>
                    <a:pt x="557" y="404"/>
                  </a:lnTo>
                  <a:lnTo>
                    <a:pt x="557" y="405"/>
                  </a:lnTo>
                  <a:lnTo>
                    <a:pt x="557" y="405"/>
                  </a:lnTo>
                  <a:lnTo>
                    <a:pt x="557" y="406"/>
                  </a:lnTo>
                  <a:lnTo>
                    <a:pt x="557" y="407"/>
                  </a:lnTo>
                  <a:lnTo>
                    <a:pt x="558" y="408"/>
                  </a:lnTo>
                  <a:lnTo>
                    <a:pt x="560" y="410"/>
                  </a:lnTo>
                  <a:lnTo>
                    <a:pt x="560" y="410"/>
                  </a:lnTo>
                  <a:lnTo>
                    <a:pt x="560" y="411"/>
                  </a:lnTo>
                  <a:lnTo>
                    <a:pt x="561" y="412"/>
                  </a:lnTo>
                  <a:lnTo>
                    <a:pt x="561" y="414"/>
                  </a:lnTo>
                  <a:lnTo>
                    <a:pt x="561" y="416"/>
                  </a:lnTo>
                  <a:lnTo>
                    <a:pt x="562" y="417"/>
                  </a:lnTo>
                  <a:lnTo>
                    <a:pt x="562" y="423"/>
                  </a:lnTo>
                  <a:lnTo>
                    <a:pt x="562" y="425"/>
                  </a:lnTo>
                  <a:lnTo>
                    <a:pt x="563" y="428"/>
                  </a:lnTo>
                  <a:lnTo>
                    <a:pt x="563" y="429"/>
                  </a:lnTo>
                  <a:lnTo>
                    <a:pt x="564" y="431"/>
                  </a:lnTo>
                  <a:lnTo>
                    <a:pt x="565" y="434"/>
                  </a:lnTo>
                  <a:lnTo>
                    <a:pt x="566" y="437"/>
                  </a:lnTo>
                  <a:lnTo>
                    <a:pt x="567" y="438"/>
                  </a:lnTo>
                  <a:lnTo>
                    <a:pt x="567" y="440"/>
                  </a:lnTo>
                  <a:lnTo>
                    <a:pt x="568" y="441"/>
                  </a:lnTo>
                  <a:lnTo>
                    <a:pt x="568" y="441"/>
                  </a:lnTo>
                  <a:lnTo>
                    <a:pt x="568" y="442"/>
                  </a:lnTo>
                  <a:lnTo>
                    <a:pt x="567" y="443"/>
                  </a:lnTo>
                  <a:lnTo>
                    <a:pt x="564" y="448"/>
                  </a:lnTo>
                  <a:lnTo>
                    <a:pt x="563" y="449"/>
                  </a:lnTo>
                  <a:lnTo>
                    <a:pt x="562" y="451"/>
                  </a:lnTo>
                  <a:lnTo>
                    <a:pt x="561" y="453"/>
                  </a:lnTo>
                  <a:lnTo>
                    <a:pt x="561" y="454"/>
                  </a:lnTo>
                  <a:lnTo>
                    <a:pt x="561" y="456"/>
                  </a:lnTo>
                  <a:lnTo>
                    <a:pt x="560" y="460"/>
                  </a:lnTo>
                  <a:lnTo>
                    <a:pt x="560" y="462"/>
                  </a:lnTo>
                  <a:lnTo>
                    <a:pt x="560" y="464"/>
                  </a:lnTo>
                  <a:lnTo>
                    <a:pt x="560" y="466"/>
                  </a:lnTo>
                  <a:lnTo>
                    <a:pt x="561" y="469"/>
                  </a:lnTo>
                  <a:lnTo>
                    <a:pt x="561" y="471"/>
                  </a:lnTo>
                  <a:lnTo>
                    <a:pt x="562" y="473"/>
                  </a:lnTo>
                  <a:lnTo>
                    <a:pt x="564" y="477"/>
                  </a:lnTo>
                  <a:lnTo>
                    <a:pt x="565" y="479"/>
                  </a:lnTo>
                  <a:lnTo>
                    <a:pt x="566" y="480"/>
                  </a:lnTo>
                  <a:lnTo>
                    <a:pt x="568" y="483"/>
                  </a:lnTo>
                  <a:lnTo>
                    <a:pt x="569" y="483"/>
                  </a:lnTo>
                  <a:lnTo>
                    <a:pt x="569" y="484"/>
                  </a:lnTo>
                  <a:lnTo>
                    <a:pt x="570" y="485"/>
                  </a:lnTo>
                  <a:lnTo>
                    <a:pt x="570" y="487"/>
                  </a:lnTo>
                  <a:lnTo>
                    <a:pt x="570" y="488"/>
                  </a:lnTo>
                  <a:lnTo>
                    <a:pt x="569" y="489"/>
                  </a:lnTo>
                  <a:lnTo>
                    <a:pt x="569" y="492"/>
                  </a:lnTo>
                  <a:lnTo>
                    <a:pt x="568" y="494"/>
                  </a:lnTo>
                  <a:lnTo>
                    <a:pt x="568" y="495"/>
                  </a:lnTo>
                  <a:lnTo>
                    <a:pt x="567" y="496"/>
                  </a:lnTo>
                  <a:lnTo>
                    <a:pt x="565" y="499"/>
                  </a:lnTo>
                  <a:lnTo>
                    <a:pt x="564" y="501"/>
                  </a:lnTo>
                  <a:lnTo>
                    <a:pt x="563" y="503"/>
                  </a:lnTo>
                  <a:lnTo>
                    <a:pt x="562" y="507"/>
                  </a:lnTo>
                  <a:lnTo>
                    <a:pt x="561" y="509"/>
                  </a:lnTo>
                  <a:lnTo>
                    <a:pt x="560" y="510"/>
                  </a:lnTo>
                  <a:lnTo>
                    <a:pt x="560" y="512"/>
                  </a:lnTo>
                  <a:lnTo>
                    <a:pt x="559" y="512"/>
                  </a:lnTo>
                  <a:lnTo>
                    <a:pt x="558" y="513"/>
                  </a:lnTo>
                  <a:lnTo>
                    <a:pt x="554" y="516"/>
                  </a:lnTo>
                  <a:lnTo>
                    <a:pt x="551" y="518"/>
                  </a:lnTo>
                  <a:lnTo>
                    <a:pt x="549" y="520"/>
                  </a:lnTo>
                  <a:lnTo>
                    <a:pt x="548" y="521"/>
                  </a:lnTo>
                  <a:lnTo>
                    <a:pt x="546" y="523"/>
                  </a:lnTo>
                  <a:lnTo>
                    <a:pt x="545" y="524"/>
                  </a:lnTo>
                  <a:lnTo>
                    <a:pt x="544" y="525"/>
                  </a:lnTo>
                  <a:lnTo>
                    <a:pt x="544" y="526"/>
                  </a:lnTo>
                  <a:lnTo>
                    <a:pt x="544" y="528"/>
                  </a:lnTo>
                  <a:lnTo>
                    <a:pt x="543" y="529"/>
                  </a:lnTo>
                  <a:lnTo>
                    <a:pt x="543" y="530"/>
                  </a:lnTo>
                  <a:lnTo>
                    <a:pt x="543" y="531"/>
                  </a:lnTo>
                  <a:lnTo>
                    <a:pt x="543" y="533"/>
                  </a:lnTo>
                  <a:lnTo>
                    <a:pt x="544" y="535"/>
                  </a:lnTo>
                  <a:lnTo>
                    <a:pt x="544" y="536"/>
                  </a:lnTo>
                  <a:lnTo>
                    <a:pt x="544" y="537"/>
                  </a:lnTo>
                  <a:lnTo>
                    <a:pt x="544" y="538"/>
                  </a:lnTo>
                  <a:lnTo>
                    <a:pt x="543" y="538"/>
                  </a:lnTo>
                  <a:lnTo>
                    <a:pt x="543" y="539"/>
                  </a:lnTo>
                  <a:lnTo>
                    <a:pt x="543" y="540"/>
                  </a:lnTo>
                  <a:lnTo>
                    <a:pt x="542" y="541"/>
                  </a:lnTo>
                  <a:lnTo>
                    <a:pt x="542" y="541"/>
                  </a:lnTo>
                  <a:lnTo>
                    <a:pt x="541" y="542"/>
                  </a:lnTo>
                  <a:lnTo>
                    <a:pt x="541" y="542"/>
                  </a:lnTo>
                  <a:lnTo>
                    <a:pt x="540" y="543"/>
                  </a:lnTo>
                  <a:lnTo>
                    <a:pt x="537" y="545"/>
                  </a:lnTo>
                  <a:lnTo>
                    <a:pt x="536" y="545"/>
                  </a:lnTo>
                  <a:lnTo>
                    <a:pt x="536" y="545"/>
                  </a:lnTo>
                  <a:lnTo>
                    <a:pt x="535" y="546"/>
                  </a:lnTo>
                  <a:lnTo>
                    <a:pt x="535" y="546"/>
                  </a:lnTo>
                  <a:lnTo>
                    <a:pt x="535" y="547"/>
                  </a:lnTo>
                  <a:lnTo>
                    <a:pt x="535" y="547"/>
                  </a:lnTo>
                  <a:lnTo>
                    <a:pt x="535" y="548"/>
                  </a:lnTo>
                  <a:lnTo>
                    <a:pt x="535" y="549"/>
                  </a:lnTo>
                  <a:lnTo>
                    <a:pt x="535" y="550"/>
                  </a:lnTo>
                  <a:lnTo>
                    <a:pt x="535" y="550"/>
                  </a:lnTo>
                  <a:lnTo>
                    <a:pt x="535" y="551"/>
                  </a:lnTo>
                  <a:lnTo>
                    <a:pt x="536" y="552"/>
                  </a:lnTo>
                  <a:lnTo>
                    <a:pt x="536" y="553"/>
                  </a:lnTo>
                  <a:lnTo>
                    <a:pt x="536" y="554"/>
                  </a:lnTo>
                  <a:lnTo>
                    <a:pt x="537" y="554"/>
                  </a:lnTo>
                  <a:lnTo>
                    <a:pt x="538" y="555"/>
                  </a:lnTo>
                  <a:lnTo>
                    <a:pt x="539" y="556"/>
                  </a:lnTo>
                  <a:lnTo>
                    <a:pt x="541" y="558"/>
                  </a:lnTo>
                  <a:lnTo>
                    <a:pt x="541" y="558"/>
                  </a:lnTo>
                  <a:lnTo>
                    <a:pt x="542" y="559"/>
                  </a:lnTo>
                  <a:lnTo>
                    <a:pt x="542" y="559"/>
                  </a:lnTo>
                  <a:lnTo>
                    <a:pt x="542" y="560"/>
                  </a:lnTo>
                  <a:lnTo>
                    <a:pt x="542" y="560"/>
                  </a:lnTo>
                  <a:lnTo>
                    <a:pt x="542" y="561"/>
                  </a:lnTo>
                  <a:lnTo>
                    <a:pt x="541" y="563"/>
                  </a:lnTo>
                  <a:lnTo>
                    <a:pt x="541" y="564"/>
                  </a:lnTo>
                  <a:lnTo>
                    <a:pt x="540" y="564"/>
                  </a:lnTo>
                  <a:lnTo>
                    <a:pt x="540" y="565"/>
                  </a:lnTo>
                  <a:lnTo>
                    <a:pt x="539" y="565"/>
                  </a:lnTo>
                  <a:lnTo>
                    <a:pt x="539" y="565"/>
                  </a:lnTo>
                  <a:lnTo>
                    <a:pt x="537" y="566"/>
                  </a:lnTo>
                  <a:lnTo>
                    <a:pt x="536" y="567"/>
                  </a:lnTo>
                  <a:lnTo>
                    <a:pt x="535" y="567"/>
                  </a:lnTo>
                  <a:lnTo>
                    <a:pt x="534" y="570"/>
                  </a:lnTo>
                  <a:lnTo>
                    <a:pt x="532" y="571"/>
                  </a:lnTo>
                  <a:lnTo>
                    <a:pt x="531" y="572"/>
                  </a:lnTo>
                  <a:lnTo>
                    <a:pt x="530" y="573"/>
                  </a:lnTo>
                  <a:lnTo>
                    <a:pt x="530" y="574"/>
                  </a:lnTo>
                  <a:lnTo>
                    <a:pt x="529" y="575"/>
                  </a:lnTo>
                  <a:lnTo>
                    <a:pt x="529" y="576"/>
                  </a:lnTo>
                  <a:lnTo>
                    <a:pt x="529" y="577"/>
                  </a:lnTo>
                  <a:lnTo>
                    <a:pt x="529" y="578"/>
                  </a:lnTo>
                  <a:lnTo>
                    <a:pt x="529" y="579"/>
                  </a:lnTo>
                  <a:lnTo>
                    <a:pt x="529" y="580"/>
                  </a:lnTo>
                  <a:lnTo>
                    <a:pt x="530" y="582"/>
                  </a:lnTo>
                  <a:lnTo>
                    <a:pt x="531" y="584"/>
                  </a:lnTo>
                  <a:lnTo>
                    <a:pt x="532" y="585"/>
                  </a:lnTo>
                  <a:lnTo>
                    <a:pt x="534" y="588"/>
                  </a:lnTo>
                  <a:lnTo>
                    <a:pt x="535" y="589"/>
                  </a:lnTo>
                  <a:lnTo>
                    <a:pt x="535" y="590"/>
                  </a:lnTo>
                  <a:lnTo>
                    <a:pt x="536" y="591"/>
                  </a:lnTo>
                  <a:lnTo>
                    <a:pt x="536" y="593"/>
                  </a:lnTo>
                  <a:lnTo>
                    <a:pt x="536" y="594"/>
                  </a:lnTo>
                  <a:lnTo>
                    <a:pt x="536" y="595"/>
                  </a:lnTo>
                  <a:lnTo>
                    <a:pt x="536" y="596"/>
                  </a:lnTo>
                  <a:lnTo>
                    <a:pt x="536" y="597"/>
                  </a:lnTo>
                  <a:lnTo>
                    <a:pt x="536" y="598"/>
                  </a:lnTo>
                  <a:lnTo>
                    <a:pt x="535" y="598"/>
                  </a:lnTo>
                  <a:lnTo>
                    <a:pt x="535" y="599"/>
                  </a:lnTo>
                  <a:lnTo>
                    <a:pt x="533" y="601"/>
                  </a:lnTo>
                  <a:lnTo>
                    <a:pt x="532" y="602"/>
                  </a:lnTo>
                  <a:lnTo>
                    <a:pt x="531" y="604"/>
                  </a:lnTo>
                  <a:lnTo>
                    <a:pt x="530" y="605"/>
                  </a:lnTo>
                  <a:lnTo>
                    <a:pt x="529" y="606"/>
                  </a:lnTo>
                  <a:lnTo>
                    <a:pt x="529" y="608"/>
                  </a:lnTo>
                  <a:lnTo>
                    <a:pt x="527" y="613"/>
                  </a:lnTo>
                  <a:lnTo>
                    <a:pt x="526" y="617"/>
                  </a:lnTo>
                  <a:lnTo>
                    <a:pt x="526" y="617"/>
                  </a:lnTo>
                  <a:lnTo>
                    <a:pt x="525" y="618"/>
                  </a:lnTo>
                  <a:lnTo>
                    <a:pt x="525" y="619"/>
                  </a:lnTo>
                  <a:lnTo>
                    <a:pt x="524" y="619"/>
                  </a:lnTo>
                  <a:lnTo>
                    <a:pt x="523" y="619"/>
                  </a:lnTo>
                  <a:lnTo>
                    <a:pt x="519" y="621"/>
                  </a:lnTo>
                  <a:lnTo>
                    <a:pt x="517" y="622"/>
                  </a:lnTo>
                  <a:lnTo>
                    <a:pt x="515" y="623"/>
                  </a:lnTo>
                  <a:lnTo>
                    <a:pt x="514" y="624"/>
                  </a:lnTo>
                  <a:lnTo>
                    <a:pt x="510" y="627"/>
                  </a:lnTo>
                  <a:lnTo>
                    <a:pt x="508" y="629"/>
                  </a:lnTo>
                  <a:lnTo>
                    <a:pt x="506" y="630"/>
                  </a:lnTo>
                  <a:lnTo>
                    <a:pt x="505" y="630"/>
                  </a:lnTo>
                  <a:lnTo>
                    <a:pt x="504" y="631"/>
                  </a:lnTo>
                  <a:lnTo>
                    <a:pt x="502" y="631"/>
                  </a:lnTo>
                  <a:lnTo>
                    <a:pt x="501" y="632"/>
                  </a:lnTo>
                  <a:lnTo>
                    <a:pt x="500" y="632"/>
                  </a:lnTo>
                  <a:lnTo>
                    <a:pt x="499" y="632"/>
                  </a:lnTo>
                  <a:lnTo>
                    <a:pt x="498" y="632"/>
                  </a:lnTo>
                  <a:lnTo>
                    <a:pt x="497" y="632"/>
                  </a:lnTo>
                  <a:lnTo>
                    <a:pt x="495" y="632"/>
                  </a:lnTo>
                  <a:lnTo>
                    <a:pt x="490" y="631"/>
                  </a:lnTo>
                  <a:lnTo>
                    <a:pt x="489" y="631"/>
                  </a:lnTo>
                  <a:lnTo>
                    <a:pt x="488" y="631"/>
                  </a:lnTo>
                  <a:lnTo>
                    <a:pt x="487" y="631"/>
                  </a:lnTo>
                  <a:lnTo>
                    <a:pt x="487" y="631"/>
                  </a:lnTo>
                  <a:lnTo>
                    <a:pt x="486" y="631"/>
                  </a:lnTo>
                  <a:lnTo>
                    <a:pt x="486" y="632"/>
                  </a:lnTo>
                  <a:lnTo>
                    <a:pt x="486" y="633"/>
                  </a:lnTo>
                  <a:lnTo>
                    <a:pt x="485" y="638"/>
                  </a:lnTo>
                  <a:lnTo>
                    <a:pt x="484" y="641"/>
                  </a:lnTo>
                  <a:lnTo>
                    <a:pt x="484" y="643"/>
                  </a:lnTo>
                  <a:lnTo>
                    <a:pt x="484" y="649"/>
                  </a:lnTo>
                  <a:lnTo>
                    <a:pt x="483" y="651"/>
                  </a:lnTo>
                  <a:lnTo>
                    <a:pt x="483" y="653"/>
                  </a:lnTo>
                  <a:lnTo>
                    <a:pt x="482" y="656"/>
                  </a:lnTo>
                  <a:lnTo>
                    <a:pt x="482" y="658"/>
                  </a:lnTo>
                  <a:lnTo>
                    <a:pt x="482" y="659"/>
                  </a:lnTo>
                  <a:lnTo>
                    <a:pt x="482" y="660"/>
                  </a:lnTo>
                  <a:lnTo>
                    <a:pt x="482" y="662"/>
                  </a:lnTo>
                  <a:lnTo>
                    <a:pt x="483" y="663"/>
                  </a:lnTo>
                  <a:lnTo>
                    <a:pt x="484" y="667"/>
                  </a:lnTo>
                  <a:lnTo>
                    <a:pt x="485" y="669"/>
                  </a:lnTo>
                  <a:lnTo>
                    <a:pt x="485" y="670"/>
                  </a:lnTo>
                  <a:lnTo>
                    <a:pt x="487" y="676"/>
                  </a:lnTo>
                  <a:lnTo>
                    <a:pt x="487" y="678"/>
                  </a:lnTo>
                  <a:lnTo>
                    <a:pt x="487" y="680"/>
                  </a:lnTo>
                  <a:lnTo>
                    <a:pt x="487" y="682"/>
                  </a:lnTo>
                  <a:lnTo>
                    <a:pt x="487" y="684"/>
                  </a:lnTo>
                  <a:lnTo>
                    <a:pt x="486" y="685"/>
                  </a:lnTo>
                  <a:lnTo>
                    <a:pt x="486" y="686"/>
                  </a:lnTo>
                  <a:lnTo>
                    <a:pt x="486" y="687"/>
                  </a:lnTo>
                  <a:lnTo>
                    <a:pt x="485" y="688"/>
                  </a:lnTo>
                  <a:lnTo>
                    <a:pt x="485" y="688"/>
                  </a:lnTo>
                  <a:lnTo>
                    <a:pt x="484" y="689"/>
                  </a:lnTo>
                  <a:lnTo>
                    <a:pt x="483" y="690"/>
                  </a:lnTo>
                  <a:lnTo>
                    <a:pt x="483" y="691"/>
                  </a:lnTo>
                  <a:lnTo>
                    <a:pt x="481" y="692"/>
                  </a:lnTo>
                  <a:lnTo>
                    <a:pt x="480" y="693"/>
                  </a:lnTo>
                  <a:lnTo>
                    <a:pt x="479" y="693"/>
                  </a:lnTo>
                  <a:lnTo>
                    <a:pt x="476" y="695"/>
                  </a:lnTo>
                  <a:lnTo>
                    <a:pt x="475" y="695"/>
                  </a:lnTo>
                  <a:lnTo>
                    <a:pt x="474" y="696"/>
                  </a:lnTo>
                  <a:lnTo>
                    <a:pt x="473" y="696"/>
                  </a:lnTo>
                  <a:lnTo>
                    <a:pt x="472" y="697"/>
                  </a:lnTo>
                  <a:lnTo>
                    <a:pt x="471" y="698"/>
                  </a:lnTo>
                  <a:lnTo>
                    <a:pt x="470" y="699"/>
                  </a:lnTo>
                  <a:lnTo>
                    <a:pt x="469" y="700"/>
                  </a:lnTo>
                  <a:lnTo>
                    <a:pt x="468" y="702"/>
                  </a:lnTo>
                  <a:lnTo>
                    <a:pt x="466" y="705"/>
                  </a:lnTo>
                  <a:lnTo>
                    <a:pt x="465" y="708"/>
                  </a:lnTo>
                  <a:lnTo>
                    <a:pt x="464" y="710"/>
                  </a:lnTo>
                  <a:lnTo>
                    <a:pt x="463" y="712"/>
                  </a:lnTo>
                  <a:lnTo>
                    <a:pt x="463" y="713"/>
                  </a:lnTo>
                  <a:lnTo>
                    <a:pt x="462" y="716"/>
                  </a:lnTo>
                  <a:lnTo>
                    <a:pt x="462" y="718"/>
                  </a:lnTo>
                  <a:lnTo>
                    <a:pt x="461" y="722"/>
                  </a:lnTo>
                  <a:lnTo>
                    <a:pt x="461" y="724"/>
                  </a:lnTo>
                  <a:lnTo>
                    <a:pt x="460" y="726"/>
                  </a:lnTo>
                  <a:lnTo>
                    <a:pt x="460" y="728"/>
                  </a:lnTo>
                  <a:lnTo>
                    <a:pt x="460" y="730"/>
                  </a:lnTo>
                  <a:lnTo>
                    <a:pt x="460" y="732"/>
                  </a:lnTo>
                  <a:lnTo>
                    <a:pt x="461" y="734"/>
                  </a:lnTo>
                  <a:lnTo>
                    <a:pt x="461" y="735"/>
                  </a:lnTo>
                  <a:lnTo>
                    <a:pt x="461" y="736"/>
                  </a:lnTo>
                  <a:lnTo>
                    <a:pt x="461" y="738"/>
                  </a:lnTo>
                  <a:lnTo>
                    <a:pt x="462" y="739"/>
                  </a:lnTo>
                  <a:lnTo>
                    <a:pt x="464" y="744"/>
                  </a:lnTo>
                  <a:lnTo>
                    <a:pt x="464" y="746"/>
                  </a:lnTo>
                  <a:lnTo>
                    <a:pt x="464" y="746"/>
                  </a:lnTo>
                  <a:lnTo>
                    <a:pt x="463" y="746"/>
                  </a:lnTo>
                  <a:lnTo>
                    <a:pt x="462" y="745"/>
                  </a:lnTo>
                  <a:lnTo>
                    <a:pt x="461" y="745"/>
                  </a:lnTo>
                  <a:lnTo>
                    <a:pt x="460" y="745"/>
                  </a:lnTo>
                  <a:lnTo>
                    <a:pt x="459" y="745"/>
                  </a:lnTo>
                  <a:lnTo>
                    <a:pt x="457" y="745"/>
                  </a:lnTo>
                  <a:lnTo>
                    <a:pt x="456" y="745"/>
                  </a:lnTo>
                  <a:lnTo>
                    <a:pt x="454" y="746"/>
                  </a:lnTo>
                  <a:lnTo>
                    <a:pt x="453" y="747"/>
                  </a:lnTo>
                  <a:lnTo>
                    <a:pt x="451" y="747"/>
                  </a:lnTo>
                  <a:lnTo>
                    <a:pt x="450" y="748"/>
                  </a:lnTo>
                  <a:lnTo>
                    <a:pt x="449" y="749"/>
                  </a:lnTo>
                  <a:lnTo>
                    <a:pt x="448" y="750"/>
                  </a:lnTo>
                  <a:lnTo>
                    <a:pt x="447" y="751"/>
                  </a:lnTo>
                  <a:lnTo>
                    <a:pt x="447" y="752"/>
                  </a:lnTo>
                  <a:lnTo>
                    <a:pt x="446" y="753"/>
                  </a:lnTo>
                  <a:lnTo>
                    <a:pt x="444" y="757"/>
                  </a:lnTo>
                  <a:lnTo>
                    <a:pt x="443" y="758"/>
                  </a:lnTo>
                  <a:lnTo>
                    <a:pt x="443" y="758"/>
                  </a:lnTo>
                  <a:lnTo>
                    <a:pt x="443" y="759"/>
                  </a:lnTo>
                  <a:lnTo>
                    <a:pt x="442" y="759"/>
                  </a:lnTo>
                  <a:lnTo>
                    <a:pt x="442" y="759"/>
                  </a:lnTo>
                  <a:lnTo>
                    <a:pt x="441" y="759"/>
                  </a:lnTo>
                  <a:lnTo>
                    <a:pt x="440" y="760"/>
                  </a:lnTo>
                  <a:lnTo>
                    <a:pt x="439" y="759"/>
                  </a:lnTo>
                  <a:lnTo>
                    <a:pt x="438" y="759"/>
                  </a:lnTo>
                  <a:lnTo>
                    <a:pt x="437" y="759"/>
                  </a:lnTo>
                  <a:lnTo>
                    <a:pt x="436" y="758"/>
                  </a:lnTo>
                  <a:lnTo>
                    <a:pt x="434" y="757"/>
                  </a:lnTo>
                  <a:lnTo>
                    <a:pt x="430" y="755"/>
                  </a:lnTo>
                  <a:lnTo>
                    <a:pt x="428" y="753"/>
                  </a:lnTo>
                  <a:lnTo>
                    <a:pt x="424" y="750"/>
                  </a:lnTo>
                  <a:lnTo>
                    <a:pt x="418" y="746"/>
                  </a:lnTo>
                  <a:lnTo>
                    <a:pt x="415" y="744"/>
                  </a:lnTo>
                  <a:lnTo>
                    <a:pt x="412" y="742"/>
                  </a:lnTo>
                  <a:lnTo>
                    <a:pt x="411" y="741"/>
                  </a:lnTo>
                  <a:lnTo>
                    <a:pt x="409" y="739"/>
                  </a:lnTo>
                  <a:lnTo>
                    <a:pt x="407" y="737"/>
                  </a:lnTo>
                  <a:lnTo>
                    <a:pt x="406" y="735"/>
                  </a:lnTo>
                  <a:lnTo>
                    <a:pt x="405" y="734"/>
                  </a:lnTo>
                  <a:lnTo>
                    <a:pt x="404" y="732"/>
                  </a:lnTo>
                  <a:lnTo>
                    <a:pt x="404" y="731"/>
                  </a:lnTo>
                  <a:lnTo>
                    <a:pt x="403" y="730"/>
                  </a:lnTo>
                  <a:lnTo>
                    <a:pt x="403" y="728"/>
                  </a:lnTo>
                  <a:lnTo>
                    <a:pt x="402" y="726"/>
                  </a:lnTo>
                  <a:lnTo>
                    <a:pt x="402" y="720"/>
                  </a:lnTo>
                  <a:lnTo>
                    <a:pt x="401" y="714"/>
                  </a:lnTo>
                  <a:lnTo>
                    <a:pt x="401" y="709"/>
                  </a:lnTo>
                  <a:lnTo>
                    <a:pt x="401" y="707"/>
                  </a:lnTo>
                  <a:lnTo>
                    <a:pt x="400" y="704"/>
                  </a:lnTo>
                  <a:lnTo>
                    <a:pt x="400" y="702"/>
                  </a:lnTo>
                  <a:lnTo>
                    <a:pt x="399" y="699"/>
                  </a:lnTo>
                  <a:lnTo>
                    <a:pt x="398" y="694"/>
                  </a:lnTo>
                  <a:lnTo>
                    <a:pt x="397" y="692"/>
                  </a:lnTo>
                  <a:lnTo>
                    <a:pt x="396" y="691"/>
                  </a:lnTo>
                  <a:lnTo>
                    <a:pt x="396" y="690"/>
                  </a:lnTo>
                  <a:lnTo>
                    <a:pt x="395" y="689"/>
                  </a:lnTo>
                  <a:lnTo>
                    <a:pt x="394" y="687"/>
                  </a:lnTo>
                  <a:lnTo>
                    <a:pt x="391" y="683"/>
                  </a:lnTo>
                  <a:lnTo>
                    <a:pt x="387" y="679"/>
                  </a:lnTo>
                  <a:lnTo>
                    <a:pt x="383" y="674"/>
                  </a:lnTo>
                  <a:lnTo>
                    <a:pt x="376" y="666"/>
                  </a:lnTo>
                  <a:lnTo>
                    <a:pt x="375" y="665"/>
                  </a:lnTo>
                  <a:lnTo>
                    <a:pt x="373" y="663"/>
                  </a:lnTo>
                  <a:lnTo>
                    <a:pt x="372" y="661"/>
                  </a:lnTo>
                  <a:lnTo>
                    <a:pt x="370" y="660"/>
                  </a:lnTo>
                  <a:lnTo>
                    <a:pt x="368" y="657"/>
                  </a:lnTo>
                  <a:lnTo>
                    <a:pt x="366" y="656"/>
                  </a:lnTo>
                  <a:lnTo>
                    <a:pt x="364" y="655"/>
                  </a:lnTo>
                  <a:lnTo>
                    <a:pt x="362" y="653"/>
                  </a:lnTo>
                  <a:lnTo>
                    <a:pt x="360" y="651"/>
                  </a:lnTo>
                  <a:lnTo>
                    <a:pt x="358" y="650"/>
                  </a:lnTo>
                  <a:lnTo>
                    <a:pt x="356" y="649"/>
                  </a:lnTo>
                  <a:lnTo>
                    <a:pt x="353" y="647"/>
                  </a:lnTo>
                  <a:lnTo>
                    <a:pt x="352" y="647"/>
                  </a:lnTo>
                  <a:lnTo>
                    <a:pt x="351" y="646"/>
                  </a:lnTo>
                  <a:lnTo>
                    <a:pt x="348" y="646"/>
                  </a:lnTo>
                  <a:lnTo>
                    <a:pt x="346" y="646"/>
                  </a:lnTo>
                  <a:lnTo>
                    <a:pt x="344" y="645"/>
                  </a:lnTo>
                  <a:lnTo>
                    <a:pt x="341" y="645"/>
                  </a:lnTo>
                  <a:lnTo>
                    <a:pt x="335" y="645"/>
                  </a:lnTo>
                  <a:lnTo>
                    <a:pt x="332" y="645"/>
                  </a:lnTo>
                  <a:lnTo>
                    <a:pt x="331" y="645"/>
                  </a:lnTo>
                  <a:lnTo>
                    <a:pt x="329" y="645"/>
                  </a:lnTo>
                  <a:lnTo>
                    <a:pt x="328" y="644"/>
                  </a:lnTo>
                  <a:lnTo>
                    <a:pt x="326" y="644"/>
                  </a:lnTo>
                  <a:lnTo>
                    <a:pt x="324" y="643"/>
                  </a:lnTo>
                  <a:lnTo>
                    <a:pt x="322" y="642"/>
                  </a:lnTo>
                  <a:lnTo>
                    <a:pt x="320" y="641"/>
                  </a:lnTo>
                  <a:lnTo>
                    <a:pt x="318" y="640"/>
                  </a:lnTo>
                  <a:lnTo>
                    <a:pt x="316" y="639"/>
                  </a:lnTo>
                  <a:lnTo>
                    <a:pt x="314" y="637"/>
                  </a:lnTo>
                  <a:lnTo>
                    <a:pt x="312" y="636"/>
                  </a:lnTo>
                  <a:lnTo>
                    <a:pt x="311" y="634"/>
                  </a:lnTo>
                  <a:lnTo>
                    <a:pt x="309" y="633"/>
                  </a:lnTo>
                  <a:lnTo>
                    <a:pt x="308" y="631"/>
                  </a:lnTo>
                  <a:lnTo>
                    <a:pt x="308" y="630"/>
                  </a:lnTo>
                  <a:lnTo>
                    <a:pt x="307" y="629"/>
                  </a:lnTo>
                  <a:lnTo>
                    <a:pt x="306" y="627"/>
                  </a:lnTo>
                  <a:lnTo>
                    <a:pt x="306" y="625"/>
                  </a:lnTo>
                  <a:lnTo>
                    <a:pt x="305" y="623"/>
                  </a:lnTo>
                  <a:lnTo>
                    <a:pt x="304" y="617"/>
                  </a:lnTo>
                  <a:lnTo>
                    <a:pt x="303" y="615"/>
                  </a:lnTo>
                  <a:lnTo>
                    <a:pt x="303" y="613"/>
                  </a:lnTo>
                  <a:lnTo>
                    <a:pt x="302" y="612"/>
                  </a:lnTo>
                  <a:lnTo>
                    <a:pt x="301" y="610"/>
                  </a:lnTo>
                  <a:lnTo>
                    <a:pt x="301" y="609"/>
                  </a:lnTo>
                  <a:lnTo>
                    <a:pt x="300" y="608"/>
                  </a:lnTo>
                  <a:lnTo>
                    <a:pt x="299" y="606"/>
                  </a:lnTo>
                  <a:lnTo>
                    <a:pt x="296" y="603"/>
                  </a:lnTo>
                  <a:lnTo>
                    <a:pt x="291" y="597"/>
                  </a:lnTo>
                  <a:lnTo>
                    <a:pt x="284" y="590"/>
                  </a:lnTo>
                  <a:lnTo>
                    <a:pt x="283" y="589"/>
                  </a:lnTo>
                  <a:lnTo>
                    <a:pt x="282" y="588"/>
                  </a:lnTo>
                  <a:lnTo>
                    <a:pt x="281" y="587"/>
                  </a:lnTo>
                  <a:lnTo>
                    <a:pt x="280" y="585"/>
                  </a:lnTo>
                  <a:lnTo>
                    <a:pt x="280" y="584"/>
                  </a:lnTo>
                  <a:lnTo>
                    <a:pt x="278" y="580"/>
                  </a:lnTo>
                  <a:lnTo>
                    <a:pt x="277" y="578"/>
                  </a:lnTo>
                  <a:lnTo>
                    <a:pt x="275" y="576"/>
                  </a:lnTo>
                  <a:lnTo>
                    <a:pt x="272" y="572"/>
                  </a:lnTo>
                  <a:lnTo>
                    <a:pt x="271" y="571"/>
                  </a:lnTo>
                  <a:lnTo>
                    <a:pt x="270" y="569"/>
                  </a:lnTo>
                  <a:lnTo>
                    <a:pt x="267" y="564"/>
                  </a:lnTo>
                  <a:lnTo>
                    <a:pt x="267" y="563"/>
                  </a:lnTo>
                  <a:lnTo>
                    <a:pt x="266" y="562"/>
                  </a:lnTo>
                  <a:lnTo>
                    <a:pt x="265" y="561"/>
                  </a:lnTo>
                  <a:lnTo>
                    <a:pt x="264" y="560"/>
                  </a:lnTo>
                  <a:lnTo>
                    <a:pt x="260" y="556"/>
                  </a:lnTo>
                  <a:lnTo>
                    <a:pt x="258" y="555"/>
                  </a:lnTo>
                  <a:lnTo>
                    <a:pt x="257" y="553"/>
                  </a:lnTo>
                  <a:lnTo>
                    <a:pt x="255" y="551"/>
                  </a:lnTo>
                  <a:lnTo>
                    <a:pt x="254" y="549"/>
                  </a:lnTo>
                  <a:lnTo>
                    <a:pt x="253" y="548"/>
                  </a:lnTo>
                  <a:lnTo>
                    <a:pt x="249" y="545"/>
                  </a:lnTo>
                  <a:lnTo>
                    <a:pt x="248" y="544"/>
                  </a:lnTo>
                  <a:lnTo>
                    <a:pt x="248" y="543"/>
                  </a:lnTo>
                  <a:lnTo>
                    <a:pt x="247" y="542"/>
                  </a:lnTo>
                  <a:lnTo>
                    <a:pt x="246" y="541"/>
                  </a:lnTo>
                  <a:lnTo>
                    <a:pt x="246" y="539"/>
                  </a:lnTo>
                  <a:lnTo>
                    <a:pt x="245" y="538"/>
                  </a:lnTo>
                  <a:lnTo>
                    <a:pt x="245" y="536"/>
                  </a:lnTo>
                  <a:lnTo>
                    <a:pt x="244" y="530"/>
                  </a:lnTo>
                  <a:lnTo>
                    <a:pt x="243" y="528"/>
                  </a:lnTo>
                  <a:lnTo>
                    <a:pt x="243" y="527"/>
                  </a:lnTo>
                  <a:lnTo>
                    <a:pt x="243" y="525"/>
                  </a:lnTo>
                  <a:lnTo>
                    <a:pt x="242" y="524"/>
                  </a:lnTo>
                  <a:lnTo>
                    <a:pt x="242" y="523"/>
                  </a:lnTo>
                  <a:lnTo>
                    <a:pt x="241" y="522"/>
                  </a:lnTo>
                  <a:lnTo>
                    <a:pt x="240" y="521"/>
                  </a:lnTo>
                  <a:lnTo>
                    <a:pt x="237" y="517"/>
                  </a:lnTo>
                  <a:lnTo>
                    <a:pt x="233" y="514"/>
                  </a:lnTo>
                  <a:lnTo>
                    <a:pt x="229" y="509"/>
                  </a:lnTo>
                  <a:lnTo>
                    <a:pt x="226" y="506"/>
                  </a:lnTo>
                  <a:lnTo>
                    <a:pt x="224" y="504"/>
                  </a:lnTo>
                  <a:lnTo>
                    <a:pt x="222" y="503"/>
                  </a:lnTo>
                  <a:lnTo>
                    <a:pt x="221" y="501"/>
                  </a:lnTo>
                  <a:lnTo>
                    <a:pt x="219" y="500"/>
                  </a:lnTo>
                  <a:lnTo>
                    <a:pt x="218" y="499"/>
                  </a:lnTo>
                  <a:lnTo>
                    <a:pt x="216" y="498"/>
                  </a:lnTo>
                  <a:lnTo>
                    <a:pt x="214" y="497"/>
                  </a:lnTo>
                  <a:lnTo>
                    <a:pt x="212" y="496"/>
                  </a:lnTo>
                  <a:lnTo>
                    <a:pt x="210" y="495"/>
                  </a:lnTo>
                  <a:lnTo>
                    <a:pt x="209" y="495"/>
                  </a:lnTo>
                  <a:lnTo>
                    <a:pt x="205" y="493"/>
                  </a:lnTo>
                  <a:lnTo>
                    <a:pt x="202" y="493"/>
                  </a:lnTo>
                  <a:lnTo>
                    <a:pt x="194" y="491"/>
                  </a:lnTo>
                  <a:lnTo>
                    <a:pt x="192" y="491"/>
                  </a:lnTo>
                  <a:lnTo>
                    <a:pt x="189" y="490"/>
                  </a:lnTo>
                  <a:lnTo>
                    <a:pt x="188" y="491"/>
                  </a:lnTo>
                  <a:lnTo>
                    <a:pt x="187" y="491"/>
                  </a:lnTo>
                  <a:lnTo>
                    <a:pt x="187" y="491"/>
                  </a:lnTo>
                  <a:lnTo>
                    <a:pt x="186" y="491"/>
                  </a:lnTo>
                  <a:lnTo>
                    <a:pt x="185" y="492"/>
                  </a:lnTo>
                  <a:lnTo>
                    <a:pt x="184" y="492"/>
                  </a:lnTo>
                  <a:lnTo>
                    <a:pt x="184" y="493"/>
                  </a:lnTo>
                  <a:lnTo>
                    <a:pt x="183" y="495"/>
                  </a:lnTo>
                  <a:lnTo>
                    <a:pt x="182" y="496"/>
                  </a:lnTo>
                  <a:lnTo>
                    <a:pt x="182" y="496"/>
                  </a:lnTo>
                  <a:lnTo>
                    <a:pt x="181" y="497"/>
                  </a:lnTo>
                  <a:lnTo>
                    <a:pt x="180" y="497"/>
                  </a:lnTo>
                  <a:lnTo>
                    <a:pt x="180" y="497"/>
                  </a:lnTo>
                  <a:lnTo>
                    <a:pt x="179" y="497"/>
                  </a:lnTo>
                  <a:lnTo>
                    <a:pt x="177" y="497"/>
                  </a:lnTo>
                  <a:lnTo>
                    <a:pt x="175" y="497"/>
                  </a:lnTo>
                  <a:lnTo>
                    <a:pt x="172" y="496"/>
                  </a:lnTo>
                  <a:lnTo>
                    <a:pt x="168" y="495"/>
                  </a:lnTo>
                  <a:lnTo>
                    <a:pt x="167" y="495"/>
                  </a:lnTo>
                  <a:lnTo>
                    <a:pt x="165" y="494"/>
                  </a:lnTo>
                  <a:lnTo>
                    <a:pt x="160" y="494"/>
                  </a:lnTo>
                  <a:lnTo>
                    <a:pt x="157" y="494"/>
                  </a:lnTo>
                  <a:lnTo>
                    <a:pt x="155" y="493"/>
                  </a:lnTo>
                  <a:lnTo>
                    <a:pt x="153" y="493"/>
                  </a:lnTo>
                  <a:lnTo>
                    <a:pt x="151" y="492"/>
                  </a:lnTo>
                  <a:lnTo>
                    <a:pt x="149" y="492"/>
                  </a:lnTo>
                  <a:lnTo>
                    <a:pt x="147" y="491"/>
                  </a:lnTo>
                  <a:lnTo>
                    <a:pt x="145" y="490"/>
                  </a:lnTo>
                  <a:lnTo>
                    <a:pt x="144" y="489"/>
                  </a:lnTo>
                  <a:lnTo>
                    <a:pt x="143" y="489"/>
                  </a:lnTo>
                  <a:lnTo>
                    <a:pt x="142" y="488"/>
                  </a:lnTo>
                  <a:lnTo>
                    <a:pt x="141" y="487"/>
                  </a:lnTo>
                  <a:lnTo>
                    <a:pt x="140" y="485"/>
                  </a:lnTo>
                  <a:lnTo>
                    <a:pt x="140" y="485"/>
                  </a:lnTo>
                  <a:lnTo>
                    <a:pt x="137" y="481"/>
                  </a:lnTo>
                  <a:lnTo>
                    <a:pt x="135" y="476"/>
                  </a:lnTo>
                  <a:lnTo>
                    <a:pt x="133" y="473"/>
                  </a:lnTo>
                  <a:lnTo>
                    <a:pt x="133" y="471"/>
                  </a:lnTo>
                  <a:lnTo>
                    <a:pt x="132" y="470"/>
                  </a:lnTo>
                  <a:lnTo>
                    <a:pt x="131" y="465"/>
                  </a:lnTo>
                  <a:lnTo>
                    <a:pt x="130" y="463"/>
                  </a:lnTo>
                  <a:lnTo>
                    <a:pt x="129" y="461"/>
                  </a:lnTo>
                  <a:lnTo>
                    <a:pt x="128" y="460"/>
                  </a:lnTo>
                  <a:lnTo>
                    <a:pt x="127" y="458"/>
                  </a:lnTo>
                  <a:lnTo>
                    <a:pt x="126" y="456"/>
                  </a:lnTo>
                  <a:lnTo>
                    <a:pt x="125" y="455"/>
                  </a:lnTo>
                  <a:lnTo>
                    <a:pt x="124" y="453"/>
                  </a:lnTo>
                  <a:lnTo>
                    <a:pt x="121" y="450"/>
                  </a:lnTo>
                  <a:lnTo>
                    <a:pt x="119" y="448"/>
                  </a:lnTo>
                  <a:lnTo>
                    <a:pt x="112" y="442"/>
                  </a:lnTo>
                  <a:lnTo>
                    <a:pt x="110" y="441"/>
                  </a:lnTo>
                  <a:lnTo>
                    <a:pt x="108" y="440"/>
                  </a:lnTo>
                  <a:lnTo>
                    <a:pt x="106" y="439"/>
                  </a:lnTo>
                  <a:lnTo>
                    <a:pt x="104" y="438"/>
                  </a:lnTo>
                  <a:lnTo>
                    <a:pt x="99" y="435"/>
                  </a:lnTo>
                  <a:lnTo>
                    <a:pt x="97" y="435"/>
                  </a:lnTo>
                  <a:lnTo>
                    <a:pt x="96" y="434"/>
                  </a:lnTo>
                  <a:lnTo>
                    <a:pt x="94" y="433"/>
                  </a:lnTo>
                  <a:lnTo>
                    <a:pt x="93" y="431"/>
                  </a:lnTo>
                  <a:lnTo>
                    <a:pt x="92" y="430"/>
                  </a:lnTo>
                  <a:lnTo>
                    <a:pt x="91" y="429"/>
                  </a:lnTo>
                  <a:lnTo>
                    <a:pt x="90" y="429"/>
                  </a:lnTo>
                  <a:lnTo>
                    <a:pt x="90" y="428"/>
                  </a:lnTo>
                  <a:lnTo>
                    <a:pt x="89" y="427"/>
                  </a:lnTo>
                  <a:lnTo>
                    <a:pt x="89" y="426"/>
                  </a:lnTo>
                  <a:lnTo>
                    <a:pt x="89" y="425"/>
                  </a:lnTo>
                  <a:lnTo>
                    <a:pt x="88" y="422"/>
                  </a:lnTo>
                  <a:lnTo>
                    <a:pt x="87" y="418"/>
                  </a:lnTo>
                  <a:lnTo>
                    <a:pt x="86" y="415"/>
                  </a:lnTo>
                  <a:lnTo>
                    <a:pt x="85" y="411"/>
                  </a:lnTo>
                  <a:lnTo>
                    <a:pt x="83" y="406"/>
                  </a:lnTo>
                  <a:lnTo>
                    <a:pt x="82" y="405"/>
                  </a:lnTo>
                  <a:lnTo>
                    <a:pt x="82" y="403"/>
                  </a:lnTo>
                  <a:lnTo>
                    <a:pt x="82" y="402"/>
                  </a:lnTo>
                  <a:lnTo>
                    <a:pt x="82" y="400"/>
                  </a:lnTo>
                  <a:lnTo>
                    <a:pt x="82" y="399"/>
                  </a:lnTo>
                  <a:lnTo>
                    <a:pt x="83" y="396"/>
                  </a:lnTo>
                  <a:lnTo>
                    <a:pt x="83" y="393"/>
                  </a:lnTo>
                  <a:lnTo>
                    <a:pt x="83" y="391"/>
                  </a:lnTo>
                  <a:lnTo>
                    <a:pt x="83" y="387"/>
                  </a:lnTo>
                  <a:lnTo>
                    <a:pt x="83" y="382"/>
                  </a:lnTo>
                  <a:lnTo>
                    <a:pt x="83" y="380"/>
                  </a:lnTo>
                  <a:lnTo>
                    <a:pt x="83" y="378"/>
                  </a:lnTo>
                  <a:lnTo>
                    <a:pt x="83" y="376"/>
                  </a:lnTo>
                  <a:lnTo>
                    <a:pt x="82" y="374"/>
                  </a:lnTo>
                  <a:lnTo>
                    <a:pt x="82" y="373"/>
                  </a:lnTo>
                  <a:lnTo>
                    <a:pt x="81" y="372"/>
                  </a:lnTo>
                  <a:lnTo>
                    <a:pt x="80" y="371"/>
                  </a:lnTo>
                  <a:lnTo>
                    <a:pt x="79" y="370"/>
                  </a:lnTo>
                  <a:lnTo>
                    <a:pt x="78" y="369"/>
                  </a:lnTo>
                  <a:lnTo>
                    <a:pt x="75" y="368"/>
                  </a:lnTo>
                  <a:lnTo>
                    <a:pt x="73" y="367"/>
                  </a:lnTo>
                  <a:lnTo>
                    <a:pt x="70" y="366"/>
                  </a:lnTo>
                  <a:lnTo>
                    <a:pt x="69" y="365"/>
                  </a:lnTo>
                  <a:lnTo>
                    <a:pt x="68" y="365"/>
                  </a:lnTo>
                  <a:lnTo>
                    <a:pt x="66" y="364"/>
                  </a:lnTo>
                  <a:lnTo>
                    <a:pt x="65" y="363"/>
                  </a:lnTo>
                  <a:lnTo>
                    <a:pt x="65" y="362"/>
                  </a:lnTo>
                  <a:lnTo>
                    <a:pt x="64" y="361"/>
                  </a:lnTo>
                  <a:lnTo>
                    <a:pt x="63" y="359"/>
                  </a:lnTo>
                  <a:lnTo>
                    <a:pt x="61" y="356"/>
                  </a:lnTo>
                  <a:lnTo>
                    <a:pt x="60" y="354"/>
                  </a:lnTo>
                  <a:lnTo>
                    <a:pt x="59" y="352"/>
                  </a:lnTo>
                  <a:lnTo>
                    <a:pt x="58" y="350"/>
                  </a:lnTo>
                  <a:lnTo>
                    <a:pt x="57" y="348"/>
                  </a:lnTo>
                  <a:lnTo>
                    <a:pt x="57" y="346"/>
                  </a:lnTo>
                  <a:lnTo>
                    <a:pt x="56" y="344"/>
                  </a:lnTo>
                  <a:lnTo>
                    <a:pt x="56" y="342"/>
                  </a:lnTo>
                  <a:lnTo>
                    <a:pt x="55" y="340"/>
                  </a:lnTo>
                  <a:lnTo>
                    <a:pt x="55" y="332"/>
                  </a:lnTo>
                  <a:lnTo>
                    <a:pt x="54" y="330"/>
                  </a:lnTo>
                  <a:lnTo>
                    <a:pt x="54" y="328"/>
                  </a:lnTo>
                  <a:lnTo>
                    <a:pt x="53" y="326"/>
                  </a:lnTo>
                  <a:lnTo>
                    <a:pt x="51" y="319"/>
                  </a:lnTo>
                  <a:lnTo>
                    <a:pt x="51" y="317"/>
                  </a:lnTo>
                  <a:lnTo>
                    <a:pt x="50" y="315"/>
                  </a:lnTo>
                  <a:lnTo>
                    <a:pt x="49" y="313"/>
                  </a:lnTo>
                  <a:lnTo>
                    <a:pt x="48" y="312"/>
                  </a:lnTo>
                  <a:lnTo>
                    <a:pt x="47" y="310"/>
                  </a:lnTo>
                  <a:lnTo>
                    <a:pt x="46" y="310"/>
                  </a:lnTo>
                  <a:lnTo>
                    <a:pt x="45" y="309"/>
                  </a:lnTo>
                  <a:lnTo>
                    <a:pt x="45" y="308"/>
                  </a:lnTo>
                  <a:lnTo>
                    <a:pt x="41" y="307"/>
                  </a:lnTo>
                  <a:lnTo>
                    <a:pt x="41" y="306"/>
                  </a:lnTo>
                  <a:lnTo>
                    <a:pt x="40" y="306"/>
                  </a:lnTo>
                  <a:lnTo>
                    <a:pt x="39" y="305"/>
                  </a:lnTo>
                  <a:lnTo>
                    <a:pt x="39" y="304"/>
                  </a:lnTo>
                  <a:lnTo>
                    <a:pt x="37" y="302"/>
                  </a:lnTo>
                  <a:lnTo>
                    <a:pt x="36" y="301"/>
                  </a:lnTo>
                  <a:lnTo>
                    <a:pt x="36" y="300"/>
                  </a:lnTo>
                  <a:lnTo>
                    <a:pt x="36" y="298"/>
                  </a:lnTo>
                  <a:lnTo>
                    <a:pt x="36" y="295"/>
                  </a:lnTo>
                  <a:lnTo>
                    <a:pt x="35" y="294"/>
                  </a:lnTo>
                  <a:lnTo>
                    <a:pt x="35" y="292"/>
                  </a:lnTo>
                  <a:lnTo>
                    <a:pt x="35" y="291"/>
                  </a:lnTo>
                  <a:lnTo>
                    <a:pt x="35" y="290"/>
                  </a:lnTo>
                  <a:lnTo>
                    <a:pt x="35" y="288"/>
                  </a:lnTo>
                  <a:lnTo>
                    <a:pt x="36" y="285"/>
                  </a:lnTo>
                  <a:lnTo>
                    <a:pt x="36" y="282"/>
                  </a:lnTo>
                  <a:lnTo>
                    <a:pt x="37" y="278"/>
                  </a:lnTo>
                  <a:lnTo>
                    <a:pt x="37" y="277"/>
                  </a:lnTo>
                  <a:lnTo>
                    <a:pt x="37" y="276"/>
                  </a:lnTo>
                  <a:lnTo>
                    <a:pt x="37" y="274"/>
                  </a:lnTo>
                  <a:lnTo>
                    <a:pt x="37" y="272"/>
                  </a:lnTo>
                  <a:lnTo>
                    <a:pt x="36" y="271"/>
                  </a:lnTo>
                  <a:lnTo>
                    <a:pt x="35" y="269"/>
                  </a:lnTo>
                  <a:lnTo>
                    <a:pt x="35" y="268"/>
                  </a:lnTo>
                  <a:lnTo>
                    <a:pt x="34" y="267"/>
                  </a:lnTo>
                  <a:lnTo>
                    <a:pt x="33" y="266"/>
                  </a:lnTo>
                  <a:lnTo>
                    <a:pt x="32" y="265"/>
                  </a:lnTo>
                  <a:lnTo>
                    <a:pt x="31" y="265"/>
                  </a:lnTo>
                  <a:lnTo>
                    <a:pt x="30" y="264"/>
                  </a:lnTo>
                  <a:lnTo>
                    <a:pt x="25" y="262"/>
                  </a:lnTo>
                  <a:lnTo>
                    <a:pt x="23" y="261"/>
                  </a:lnTo>
                  <a:lnTo>
                    <a:pt x="22" y="261"/>
                  </a:lnTo>
                  <a:lnTo>
                    <a:pt x="18" y="258"/>
                  </a:lnTo>
                  <a:lnTo>
                    <a:pt x="11" y="254"/>
                  </a:lnTo>
                  <a:lnTo>
                    <a:pt x="8" y="252"/>
                  </a:lnTo>
                  <a:lnTo>
                    <a:pt x="7" y="252"/>
                  </a:lnTo>
                  <a:lnTo>
                    <a:pt x="5" y="251"/>
                  </a:lnTo>
                  <a:lnTo>
                    <a:pt x="4" y="250"/>
                  </a:lnTo>
                  <a:lnTo>
                    <a:pt x="3" y="249"/>
                  </a:lnTo>
                  <a:lnTo>
                    <a:pt x="2" y="248"/>
                  </a:lnTo>
                  <a:lnTo>
                    <a:pt x="1" y="247"/>
                  </a:lnTo>
                  <a:lnTo>
                    <a:pt x="0" y="245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4" name="Freeform 234">
              <a:extLst>
                <a:ext uri="{FF2B5EF4-FFF2-40B4-BE49-F238E27FC236}">
                  <a16:creationId xmlns:a16="http://schemas.microsoft.com/office/drawing/2014/main" id="{B9B24F6B-9DA0-4685-BB94-7064AFA68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4793" y="2458563"/>
              <a:ext cx="402523" cy="249666"/>
            </a:xfrm>
            <a:custGeom>
              <a:avLst/>
              <a:gdLst>
                <a:gd name="T0" fmla="*/ 3 w 395"/>
                <a:gd name="T1" fmla="*/ 231 h 245"/>
                <a:gd name="T2" fmla="*/ 0 w 395"/>
                <a:gd name="T3" fmla="*/ 221 h 245"/>
                <a:gd name="T4" fmla="*/ 2 w 395"/>
                <a:gd name="T5" fmla="*/ 214 h 245"/>
                <a:gd name="T6" fmla="*/ 8 w 395"/>
                <a:gd name="T7" fmla="*/ 208 h 245"/>
                <a:gd name="T8" fmla="*/ 23 w 395"/>
                <a:gd name="T9" fmla="*/ 199 h 245"/>
                <a:gd name="T10" fmla="*/ 27 w 395"/>
                <a:gd name="T11" fmla="*/ 194 h 245"/>
                <a:gd name="T12" fmla="*/ 32 w 395"/>
                <a:gd name="T13" fmla="*/ 171 h 245"/>
                <a:gd name="T14" fmla="*/ 36 w 395"/>
                <a:gd name="T15" fmla="*/ 164 h 245"/>
                <a:gd name="T16" fmla="*/ 43 w 395"/>
                <a:gd name="T17" fmla="*/ 154 h 245"/>
                <a:gd name="T18" fmla="*/ 52 w 395"/>
                <a:gd name="T19" fmla="*/ 139 h 245"/>
                <a:gd name="T20" fmla="*/ 62 w 395"/>
                <a:gd name="T21" fmla="*/ 124 h 245"/>
                <a:gd name="T22" fmla="*/ 73 w 395"/>
                <a:gd name="T23" fmla="*/ 123 h 245"/>
                <a:gd name="T24" fmla="*/ 84 w 395"/>
                <a:gd name="T25" fmla="*/ 125 h 245"/>
                <a:gd name="T26" fmla="*/ 91 w 395"/>
                <a:gd name="T27" fmla="*/ 121 h 245"/>
                <a:gd name="T28" fmla="*/ 99 w 395"/>
                <a:gd name="T29" fmla="*/ 117 h 245"/>
                <a:gd name="T30" fmla="*/ 107 w 395"/>
                <a:gd name="T31" fmla="*/ 118 h 245"/>
                <a:gd name="T32" fmla="*/ 113 w 395"/>
                <a:gd name="T33" fmla="*/ 123 h 245"/>
                <a:gd name="T34" fmla="*/ 117 w 395"/>
                <a:gd name="T35" fmla="*/ 127 h 245"/>
                <a:gd name="T36" fmla="*/ 119 w 395"/>
                <a:gd name="T37" fmla="*/ 127 h 245"/>
                <a:gd name="T38" fmla="*/ 122 w 395"/>
                <a:gd name="T39" fmla="*/ 121 h 245"/>
                <a:gd name="T40" fmla="*/ 129 w 395"/>
                <a:gd name="T41" fmla="*/ 117 h 245"/>
                <a:gd name="T42" fmla="*/ 133 w 395"/>
                <a:gd name="T43" fmla="*/ 112 h 245"/>
                <a:gd name="T44" fmla="*/ 142 w 395"/>
                <a:gd name="T45" fmla="*/ 109 h 245"/>
                <a:gd name="T46" fmla="*/ 155 w 395"/>
                <a:gd name="T47" fmla="*/ 106 h 245"/>
                <a:gd name="T48" fmla="*/ 166 w 395"/>
                <a:gd name="T49" fmla="*/ 103 h 245"/>
                <a:gd name="T50" fmla="*/ 173 w 395"/>
                <a:gd name="T51" fmla="*/ 103 h 245"/>
                <a:gd name="T52" fmla="*/ 186 w 395"/>
                <a:gd name="T53" fmla="*/ 107 h 245"/>
                <a:gd name="T54" fmla="*/ 196 w 395"/>
                <a:gd name="T55" fmla="*/ 110 h 245"/>
                <a:gd name="T56" fmla="*/ 206 w 395"/>
                <a:gd name="T57" fmla="*/ 110 h 245"/>
                <a:gd name="T58" fmla="*/ 213 w 395"/>
                <a:gd name="T59" fmla="*/ 110 h 245"/>
                <a:gd name="T60" fmla="*/ 222 w 395"/>
                <a:gd name="T61" fmla="*/ 113 h 245"/>
                <a:gd name="T62" fmla="*/ 230 w 395"/>
                <a:gd name="T63" fmla="*/ 110 h 245"/>
                <a:gd name="T64" fmla="*/ 238 w 395"/>
                <a:gd name="T65" fmla="*/ 103 h 245"/>
                <a:gd name="T66" fmla="*/ 241 w 395"/>
                <a:gd name="T67" fmla="*/ 92 h 245"/>
                <a:gd name="T68" fmla="*/ 241 w 395"/>
                <a:gd name="T69" fmla="*/ 84 h 245"/>
                <a:gd name="T70" fmla="*/ 245 w 395"/>
                <a:gd name="T71" fmla="*/ 80 h 245"/>
                <a:gd name="T72" fmla="*/ 257 w 395"/>
                <a:gd name="T73" fmla="*/ 74 h 245"/>
                <a:gd name="T74" fmla="*/ 271 w 395"/>
                <a:gd name="T75" fmla="*/ 66 h 245"/>
                <a:gd name="T76" fmla="*/ 283 w 395"/>
                <a:gd name="T77" fmla="*/ 58 h 245"/>
                <a:gd name="T78" fmla="*/ 293 w 395"/>
                <a:gd name="T79" fmla="*/ 48 h 245"/>
                <a:gd name="T80" fmla="*/ 298 w 395"/>
                <a:gd name="T81" fmla="*/ 46 h 245"/>
                <a:gd name="T82" fmla="*/ 308 w 395"/>
                <a:gd name="T83" fmla="*/ 48 h 245"/>
                <a:gd name="T84" fmla="*/ 323 w 395"/>
                <a:gd name="T85" fmla="*/ 51 h 245"/>
                <a:gd name="T86" fmla="*/ 330 w 395"/>
                <a:gd name="T87" fmla="*/ 55 h 245"/>
                <a:gd name="T88" fmla="*/ 341 w 395"/>
                <a:gd name="T89" fmla="*/ 63 h 245"/>
                <a:gd name="T90" fmla="*/ 347 w 395"/>
                <a:gd name="T91" fmla="*/ 66 h 245"/>
                <a:gd name="T92" fmla="*/ 351 w 395"/>
                <a:gd name="T93" fmla="*/ 65 h 245"/>
                <a:gd name="T94" fmla="*/ 354 w 395"/>
                <a:gd name="T95" fmla="*/ 60 h 245"/>
                <a:gd name="T96" fmla="*/ 357 w 395"/>
                <a:gd name="T97" fmla="*/ 44 h 245"/>
                <a:gd name="T98" fmla="*/ 357 w 395"/>
                <a:gd name="T99" fmla="*/ 38 h 245"/>
                <a:gd name="T100" fmla="*/ 361 w 395"/>
                <a:gd name="T101" fmla="*/ 35 h 245"/>
                <a:gd name="T102" fmla="*/ 372 w 395"/>
                <a:gd name="T103" fmla="*/ 31 h 245"/>
                <a:gd name="T104" fmla="*/ 379 w 395"/>
                <a:gd name="T105" fmla="*/ 27 h 245"/>
                <a:gd name="T106" fmla="*/ 381 w 395"/>
                <a:gd name="T107" fmla="*/ 22 h 245"/>
                <a:gd name="T108" fmla="*/ 380 w 395"/>
                <a:gd name="T109" fmla="*/ 19 h 245"/>
                <a:gd name="T110" fmla="*/ 378 w 395"/>
                <a:gd name="T111" fmla="*/ 14 h 245"/>
                <a:gd name="T112" fmla="*/ 380 w 395"/>
                <a:gd name="T113" fmla="*/ 6 h 245"/>
                <a:gd name="T114" fmla="*/ 384 w 395"/>
                <a:gd name="T115" fmla="*/ 3 h 245"/>
                <a:gd name="T116" fmla="*/ 387 w 395"/>
                <a:gd name="T117" fmla="*/ 2 h 245"/>
                <a:gd name="T118" fmla="*/ 393 w 395"/>
                <a:gd name="T119" fmla="*/ 1 h 245"/>
                <a:gd name="T120" fmla="*/ 395 w 395"/>
                <a:gd name="T12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5" h="245">
                  <a:moveTo>
                    <a:pt x="12" y="245"/>
                  </a:moveTo>
                  <a:lnTo>
                    <a:pt x="11" y="244"/>
                  </a:lnTo>
                  <a:lnTo>
                    <a:pt x="9" y="241"/>
                  </a:lnTo>
                  <a:lnTo>
                    <a:pt x="6" y="236"/>
                  </a:lnTo>
                  <a:lnTo>
                    <a:pt x="3" y="231"/>
                  </a:lnTo>
                  <a:lnTo>
                    <a:pt x="2" y="229"/>
                  </a:lnTo>
                  <a:lnTo>
                    <a:pt x="1" y="227"/>
                  </a:lnTo>
                  <a:lnTo>
                    <a:pt x="1" y="225"/>
                  </a:lnTo>
                  <a:lnTo>
                    <a:pt x="0" y="223"/>
                  </a:lnTo>
                  <a:lnTo>
                    <a:pt x="0" y="221"/>
                  </a:lnTo>
                  <a:lnTo>
                    <a:pt x="0" y="219"/>
                  </a:lnTo>
                  <a:lnTo>
                    <a:pt x="0" y="218"/>
                  </a:lnTo>
                  <a:lnTo>
                    <a:pt x="1" y="217"/>
                  </a:lnTo>
                  <a:lnTo>
                    <a:pt x="1" y="215"/>
                  </a:lnTo>
                  <a:lnTo>
                    <a:pt x="2" y="214"/>
                  </a:lnTo>
                  <a:lnTo>
                    <a:pt x="3" y="213"/>
                  </a:lnTo>
                  <a:lnTo>
                    <a:pt x="4" y="212"/>
                  </a:lnTo>
                  <a:lnTo>
                    <a:pt x="4" y="211"/>
                  </a:lnTo>
                  <a:lnTo>
                    <a:pt x="6" y="210"/>
                  </a:lnTo>
                  <a:lnTo>
                    <a:pt x="8" y="208"/>
                  </a:lnTo>
                  <a:lnTo>
                    <a:pt x="11" y="206"/>
                  </a:lnTo>
                  <a:lnTo>
                    <a:pt x="19" y="202"/>
                  </a:lnTo>
                  <a:lnTo>
                    <a:pt x="20" y="201"/>
                  </a:lnTo>
                  <a:lnTo>
                    <a:pt x="22" y="200"/>
                  </a:lnTo>
                  <a:lnTo>
                    <a:pt x="23" y="199"/>
                  </a:lnTo>
                  <a:lnTo>
                    <a:pt x="24" y="198"/>
                  </a:lnTo>
                  <a:lnTo>
                    <a:pt x="25" y="197"/>
                  </a:lnTo>
                  <a:lnTo>
                    <a:pt x="26" y="196"/>
                  </a:lnTo>
                  <a:lnTo>
                    <a:pt x="26" y="195"/>
                  </a:lnTo>
                  <a:lnTo>
                    <a:pt x="27" y="194"/>
                  </a:lnTo>
                  <a:lnTo>
                    <a:pt x="27" y="192"/>
                  </a:lnTo>
                  <a:lnTo>
                    <a:pt x="28" y="188"/>
                  </a:lnTo>
                  <a:lnTo>
                    <a:pt x="28" y="183"/>
                  </a:lnTo>
                  <a:lnTo>
                    <a:pt x="29" y="180"/>
                  </a:lnTo>
                  <a:lnTo>
                    <a:pt x="32" y="171"/>
                  </a:lnTo>
                  <a:lnTo>
                    <a:pt x="32" y="169"/>
                  </a:lnTo>
                  <a:lnTo>
                    <a:pt x="33" y="168"/>
                  </a:lnTo>
                  <a:lnTo>
                    <a:pt x="34" y="166"/>
                  </a:lnTo>
                  <a:lnTo>
                    <a:pt x="35" y="165"/>
                  </a:lnTo>
                  <a:lnTo>
                    <a:pt x="36" y="164"/>
                  </a:lnTo>
                  <a:lnTo>
                    <a:pt x="38" y="162"/>
                  </a:lnTo>
                  <a:lnTo>
                    <a:pt x="39" y="161"/>
                  </a:lnTo>
                  <a:lnTo>
                    <a:pt x="40" y="160"/>
                  </a:lnTo>
                  <a:lnTo>
                    <a:pt x="41" y="158"/>
                  </a:lnTo>
                  <a:lnTo>
                    <a:pt x="43" y="154"/>
                  </a:lnTo>
                  <a:lnTo>
                    <a:pt x="44" y="153"/>
                  </a:lnTo>
                  <a:lnTo>
                    <a:pt x="46" y="149"/>
                  </a:lnTo>
                  <a:lnTo>
                    <a:pt x="47" y="147"/>
                  </a:lnTo>
                  <a:lnTo>
                    <a:pt x="48" y="145"/>
                  </a:lnTo>
                  <a:lnTo>
                    <a:pt x="52" y="139"/>
                  </a:lnTo>
                  <a:lnTo>
                    <a:pt x="54" y="135"/>
                  </a:lnTo>
                  <a:lnTo>
                    <a:pt x="55" y="134"/>
                  </a:lnTo>
                  <a:lnTo>
                    <a:pt x="57" y="131"/>
                  </a:lnTo>
                  <a:lnTo>
                    <a:pt x="58" y="129"/>
                  </a:lnTo>
                  <a:lnTo>
                    <a:pt x="62" y="124"/>
                  </a:lnTo>
                  <a:lnTo>
                    <a:pt x="63" y="123"/>
                  </a:lnTo>
                  <a:lnTo>
                    <a:pt x="64" y="121"/>
                  </a:lnTo>
                  <a:lnTo>
                    <a:pt x="64" y="121"/>
                  </a:lnTo>
                  <a:lnTo>
                    <a:pt x="67" y="121"/>
                  </a:lnTo>
                  <a:lnTo>
                    <a:pt x="73" y="123"/>
                  </a:lnTo>
                  <a:lnTo>
                    <a:pt x="79" y="125"/>
                  </a:lnTo>
                  <a:lnTo>
                    <a:pt x="81" y="125"/>
                  </a:lnTo>
                  <a:lnTo>
                    <a:pt x="82" y="125"/>
                  </a:lnTo>
                  <a:lnTo>
                    <a:pt x="83" y="125"/>
                  </a:lnTo>
                  <a:lnTo>
                    <a:pt x="84" y="125"/>
                  </a:lnTo>
                  <a:lnTo>
                    <a:pt x="85" y="125"/>
                  </a:lnTo>
                  <a:lnTo>
                    <a:pt x="86" y="124"/>
                  </a:lnTo>
                  <a:lnTo>
                    <a:pt x="88" y="124"/>
                  </a:lnTo>
                  <a:lnTo>
                    <a:pt x="89" y="123"/>
                  </a:lnTo>
                  <a:lnTo>
                    <a:pt x="91" y="121"/>
                  </a:lnTo>
                  <a:lnTo>
                    <a:pt x="92" y="120"/>
                  </a:lnTo>
                  <a:lnTo>
                    <a:pt x="94" y="119"/>
                  </a:lnTo>
                  <a:lnTo>
                    <a:pt x="96" y="118"/>
                  </a:lnTo>
                  <a:lnTo>
                    <a:pt x="98" y="118"/>
                  </a:lnTo>
                  <a:lnTo>
                    <a:pt x="99" y="117"/>
                  </a:lnTo>
                  <a:lnTo>
                    <a:pt x="101" y="117"/>
                  </a:lnTo>
                  <a:lnTo>
                    <a:pt x="103" y="117"/>
                  </a:lnTo>
                  <a:lnTo>
                    <a:pt x="104" y="117"/>
                  </a:lnTo>
                  <a:lnTo>
                    <a:pt x="105" y="118"/>
                  </a:lnTo>
                  <a:lnTo>
                    <a:pt x="107" y="118"/>
                  </a:lnTo>
                  <a:lnTo>
                    <a:pt x="108" y="119"/>
                  </a:lnTo>
                  <a:lnTo>
                    <a:pt x="110" y="120"/>
                  </a:lnTo>
                  <a:lnTo>
                    <a:pt x="111" y="121"/>
                  </a:lnTo>
                  <a:lnTo>
                    <a:pt x="112" y="122"/>
                  </a:lnTo>
                  <a:lnTo>
                    <a:pt x="113" y="123"/>
                  </a:lnTo>
                  <a:lnTo>
                    <a:pt x="115" y="126"/>
                  </a:lnTo>
                  <a:lnTo>
                    <a:pt x="116" y="127"/>
                  </a:lnTo>
                  <a:lnTo>
                    <a:pt x="116" y="127"/>
                  </a:lnTo>
                  <a:lnTo>
                    <a:pt x="117" y="127"/>
                  </a:lnTo>
                  <a:lnTo>
                    <a:pt x="117" y="127"/>
                  </a:lnTo>
                  <a:lnTo>
                    <a:pt x="118" y="127"/>
                  </a:lnTo>
                  <a:lnTo>
                    <a:pt x="118" y="127"/>
                  </a:lnTo>
                  <a:lnTo>
                    <a:pt x="118" y="127"/>
                  </a:lnTo>
                  <a:lnTo>
                    <a:pt x="119" y="127"/>
                  </a:lnTo>
                  <a:lnTo>
                    <a:pt x="119" y="127"/>
                  </a:lnTo>
                  <a:lnTo>
                    <a:pt x="119" y="126"/>
                  </a:lnTo>
                  <a:lnTo>
                    <a:pt x="120" y="124"/>
                  </a:lnTo>
                  <a:lnTo>
                    <a:pt x="120" y="123"/>
                  </a:lnTo>
                  <a:lnTo>
                    <a:pt x="121" y="122"/>
                  </a:lnTo>
                  <a:lnTo>
                    <a:pt x="122" y="121"/>
                  </a:lnTo>
                  <a:lnTo>
                    <a:pt x="123" y="121"/>
                  </a:lnTo>
                  <a:lnTo>
                    <a:pt x="124" y="120"/>
                  </a:lnTo>
                  <a:lnTo>
                    <a:pt x="125" y="119"/>
                  </a:lnTo>
                  <a:lnTo>
                    <a:pt x="128" y="117"/>
                  </a:lnTo>
                  <a:lnTo>
                    <a:pt x="129" y="117"/>
                  </a:lnTo>
                  <a:lnTo>
                    <a:pt x="130" y="116"/>
                  </a:lnTo>
                  <a:lnTo>
                    <a:pt x="131" y="115"/>
                  </a:lnTo>
                  <a:lnTo>
                    <a:pt x="132" y="113"/>
                  </a:lnTo>
                  <a:lnTo>
                    <a:pt x="133" y="113"/>
                  </a:lnTo>
                  <a:lnTo>
                    <a:pt x="133" y="112"/>
                  </a:lnTo>
                  <a:lnTo>
                    <a:pt x="134" y="112"/>
                  </a:lnTo>
                  <a:lnTo>
                    <a:pt x="136" y="111"/>
                  </a:lnTo>
                  <a:lnTo>
                    <a:pt x="139" y="110"/>
                  </a:lnTo>
                  <a:lnTo>
                    <a:pt x="141" y="110"/>
                  </a:lnTo>
                  <a:lnTo>
                    <a:pt x="142" y="109"/>
                  </a:lnTo>
                  <a:lnTo>
                    <a:pt x="146" y="108"/>
                  </a:lnTo>
                  <a:lnTo>
                    <a:pt x="147" y="107"/>
                  </a:lnTo>
                  <a:lnTo>
                    <a:pt x="149" y="107"/>
                  </a:lnTo>
                  <a:lnTo>
                    <a:pt x="154" y="106"/>
                  </a:lnTo>
                  <a:lnTo>
                    <a:pt x="155" y="106"/>
                  </a:lnTo>
                  <a:lnTo>
                    <a:pt x="158" y="106"/>
                  </a:lnTo>
                  <a:lnTo>
                    <a:pt x="159" y="106"/>
                  </a:lnTo>
                  <a:lnTo>
                    <a:pt x="161" y="105"/>
                  </a:lnTo>
                  <a:lnTo>
                    <a:pt x="165" y="104"/>
                  </a:lnTo>
                  <a:lnTo>
                    <a:pt x="166" y="103"/>
                  </a:lnTo>
                  <a:lnTo>
                    <a:pt x="167" y="103"/>
                  </a:lnTo>
                  <a:lnTo>
                    <a:pt x="168" y="103"/>
                  </a:lnTo>
                  <a:lnTo>
                    <a:pt x="170" y="103"/>
                  </a:lnTo>
                  <a:lnTo>
                    <a:pt x="171" y="103"/>
                  </a:lnTo>
                  <a:lnTo>
                    <a:pt x="173" y="103"/>
                  </a:lnTo>
                  <a:lnTo>
                    <a:pt x="174" y="104"/>
                  </a:lnTo>
                  <a:lnTo>
                    <a:pt x="176" y="104"/>
                  </a:lnTo>
                  <a:lnTo>
                    <a:pt x="178" y="105"/>
                  </a:lnTo>
                  <a:lnTo>
                    <a:pt x="180" y="106"/>
                  </a:lnTo>
                  <a:lnTo>
                    <a:pt x="186" y="107"/>
                  </a:lnTo>
                  <a:lnTo>
                    <a:pt x="188" y="108"/>
                  </a:lnTo>
                  <a:lnTo>
                    <a:pt x="192" y="110"/>
                  </a:lnTo>
                  <a:lnTo>
                    <a:pt x="193" y="110"/>
                  </a:lnTo>
                  <a:lnTo>
                    <a:pt x="195" y="110"/>
                  </a:lnTo>
                  <a:lnTo>
                    <a:pt x="196" y="110"/>
                  </a:lnTo>
                  <a:lnTo>
                    <a:pt x="197" y="110"/>
                  </a:lnTo>
                  <a:lnTo>
                    <a:pt x="200" y="110"/>
                  </a:lnTo>
                  <a:lnTo>
                    <a:pt x="201" y="110"/>
                  </a:lnTo>
                  <a:lnTo>
                    <a:pt x="203" y="110"/>
                  </a:lnTo>
                  <a:lnTo>
                    <a:pt x="206" y="110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9"/>
                  </a:lnTo>
                  <a:lnTo>
                    <a:pt x="212" y="110"/>
                  </a:lnTo>
                  <a:lnTo>
                    <a:pt x="213" y="110"/>
                  </a:lnTo>
                  <a:lnTo>
                    <a:pt x="215" y="110"/>
                  </a:lnTo>
                  <a:lnTo>
                    <a:pt x="219" y="112"/>
                  </a:lnTo>
                  <a:lnTo>
                    <a:pt x="220" y="112"/>
                  </a:lnTo>
                  <a:lnTo>
                    <a:pt x="221" y="112"/>
                  </a:lnTo>
                  <a:lnTo>
                    <a:pt x="222" y="113"/>
                  </a:lnTo>
                  <a:lnTo>
                    <a:pt x="223" y="112"/>
                  </a:lnTo>
                  <a:lnTo>
                    <a:pt x="225" y="112"/>
                  </a:lnTo>
                  <a:lnTo>
                    <a:pt x="226" y="112"/>
                  </a:lnTo>
                  <a:lnTo>
                    <a:pt x="228" y="111"/>
                  </a:lnTo>
                  <a:lnTo>
                    <a:pt x="230" y="110"/>
                  </a:lnTo>
                  <a:lnTo>
                    <a:pt x="231" y="109"/>
                  </a:lnTo>
                  <a:lnTo>
                    <a:pt x="233" y="108"/>
                  </a:lnTo>
                  <a:lnTo>
                    <a:pt x="235" y="106"/>
                  </a:lnTo>
                  <a:lnTo>
                    <a:pt x="236" y="104"/>
                  </a:lnTo>
                  <a:lnTo>
                    <a:pt x="238" y="103"/>
                  </a:lnTo>
                  <a:lnTo>
                    <a:pt x="238" y="101"/>
                  </a:lnTo>
                  <a:lnTo>
                    <a:pt x="239" y="101"/>
                  </a:lnTo>
                  <a:lnTo>
                    <a:pt x="239" y="100"/>
                  </a:lnTo>
                  <a:lnTo>
                    <a:pt x="241" y="93"/>
                  </a:lnTo>
                  <a:lnTo>
                    <a:pt x="241" y="92"/>
                  </a:lnTo>
                  <a:lnTo>
                    <a:pt x="241" y="91"/>
                  </a:lnTo>
                  <a:lnTo>
                    <a:pt x="241" y="86"/>
                  </a:lnTo>
                  <a:lnTo>
                    <a:pt x="241" y="85"/>
                  </a:lnTo>
                  <a:lnTo>
                    <a:pt x="241" y="85"/>
                  </a:lnTo>
                  <a:lnTo>
                    <a:pt x="241" y="84"/>
                  </a:lnTo>
                  <a:lnTo>
                    <a:pt x="242" y="83"/>
                  </a:lnTo>
                  <a:lnTo>
                    <a:pt x="242" y="82"/>
                  </a:lnTo>
                  <a:lnTo>
                    <a:pt x="243" y="82"/>
                  </a:lnTo>
                  <a:lnTo>
                    <a:pt x="244" y="81"/>
                  </a:lnTo>
                  <a:lnTo>
                    <a:pt x="245" y="80"/>
                  </a:lnTo>
                  <a:lnTo>
                    <a:pt x="246" y="80"/>
                  </a:lnTo>
                  <a:lnTo>
                    <a:pt x="249" y="78"/>
                  </a:lnTo>
                  <a:lnTo>
                    <a:pt x="254" y="76"/>
                  </a:lnTo>
                  <a:lnTo>
                    <a:pt x="255" y="76"/>
                  </a:lnTo>
                  <a:lnTo>
                    <a:pt x="257" y="74"/>
                  </a:lnTo>
                  <a:lnTo>
                    <a:pt x="258" y="73"/>
                  </a:lnTo>
                  <a:lnTo>
                    <a:pt x="260" y="72"/>
                  </a:lnTo>
                  <a:lnTo>
                    <a:pt x="263" y="71"/>
                  </a:lnTo>
                  <a:lnTo>
                    <a:pt x="264" y="70"/>
                  </a:lnTo>
                  <a:lnTo>
                    <a:pt x="271" y="66"/>
                  </a:lnTo>
                  <a:lnTo>
                    <a:pt x="274" y="64"/>
                  </a:lnTo>
                  <a:lnTo>
                    <a:pt x="276" y="62"/>
                  </a:lnTo>
                  <a:lnTo>
                    <a:pt x="279" y="60"/>
                  </a:lnTo>
                  <a:lnTo>
                    <a:pt x="282" y="58"/>
                  </a:lnTo>
                  <a:lnTo>
                    <a:pt x="283" y="58"/>
                  </a:lnTo>
                  <a:lnTo>
                    <a:pt x="285" y="56"/>
                  </a:lnTo>
                  <a:lnTo>
                    <a:pt x="288" y="54"/>
                  </a:lnTo>
                  <a:lnTo>
                    <a:pt x="291" y="51"/>
                  </a:lnTo>
                  <a:lnTo>
                    <a:pt x="293" y="49"/>
                  </a:lnTo>
                  <a:lnTo>
                    <a:pt x="293" y="48"/>
                  </a:lnTo>
                  <a:lnTo>
                    <a:pt x="294" y="48"/>
                  </a:lnTo>
                  <a:lnTo>
                    <a:pt x="295" y="47"/>
                  </a:lnTo>
                  <a:lnTo>
                    <a:pt x="296" y="47"/>
                  </a:lnTo>
                  <a:lnTo>
                    <a:pt x="297" y="46"/>
                  </a:lnTo>
                  <a:lnTo>
                    <a:pt x="298" y="46"/>
                  </a:lnTo>
                  <a:lnTo>
                    <a:pt x="298" y="46"/>
                  </a:lnTo>
                  <a:lnTo>
                    <a:pt x="299" y="46"/>
                  </a:lnTo>
                  <a:lnTo>
                    <a:pt x="303" y="47"/>
                  </a:lnTo>
                  <a:lnTo>
                    <a:pt x="306" y="48"/>
                  </a:lnTo>
                  <a:lnTo>
                    <a:pt x="308" y="48"/>
                  </a:lnTo>
                  <a:lnTo>
                    <a:pt x="312" y="49"/>
                  </a:lnTo>
                  <a:lnTo>
                    <a:pt x="317" y="49"/>
                  </a:lnTo>
                  <a:lnTo>
                    <a:pt x="318" y="49"/>
                  </a:lnTo>
                  <a:lnTo>
                    <a:pt x="320" y="50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5" y="51"/>
                  </a:lnTo>
                  <a:lnTo>
                    <a:pt x="326" y="52"/>
                  </a:lnTo>
                  <a:lnTo>
                    <a:pt x="328" y="54"/>
                  </a:lnTo>
                  <a:lnTo>
                    <a:pt x="330" y="55"/>
                  </a:lnTo>
                  <a:lnTo>
                    <a:pt x="333" y="57"/>
                  </a:lnTo>
                  <a:lnTo>
                    <a:pt x="333" y="58"/>
                  </a:lnTo>
                  <a:lnTo>
                    <a:pt x="335" y="59"/>
                  </a:lnTo>
                  <a:lnTo>
                    <a:pt x="339" y="62"/>
                  </a:lnTo>
                  <a:lnTo>
                    <a:pt x="341" y="63"/>
                  </a:lnTo>
                  <a:lnTo>
                    <a:pt x="343" y="64"/>
                  </a:lnTo>
                  <a:lnTo>
                    <a:pt x="344" y="65"/>
                  </a:lnTo>
                  <a:lnTo>
                    <a:pt x="345" y="65"/>
                  </a:lnTo>
                  <a:lnTo>
                    <a:pt x="346" y="66"/>
                  </a:lnTo>
                  <a:lnTo>
                    <a:pt x="347" y="66"/>
                  </a:lnTo>
                  <a:lnTo>
                    <a:pt x="348" y="66"/>
                  </a:lnTo>
                  <a:lnTo>
                    <a:pt x="349" y="66"/>
                  </a:lnTo>
                  <a:lnTo>
                    <a:pt x="350" y="66"/>
                  </a:lnTo>
                  <a:lnTo>
                    <a:pt x="351" y="66"/>
                  </a:lnTo>
                  <a:lnTo>
                    <a:pt x="351" y="65"/>
                  </a:lnTo>
                  <a:lnTo>
                    <a:pt x="352" y="65"/>
                  </a:lnTo>
                  <a:lnTo>
                    <a:pt x="353" y="64"/>
                  </a:lnTo>
                  <a:lnTo>
                    <a:pt x="353" y="63"/>
                  </a:lnTo>
                  <a:lnTo>
                    <a:pt x="354" y="62"/>
                  </a:lnTo>
                  <a:lnTo>
                    <a:pt x="354" y="60"/>
                  </a:lnTo>
                  <a:lnTo>
                    <a:pt x="356" y="52"/>
                  </a:lnTo>
                  <a:lnTo>
                    <a:pt x="357" y="50"/>
                  </a:lnTo>
                  <a:lnTo>
                    <a:pt x="357" y="49"/>
                  </a:lnTo>
                  <a:lnTo>
                    <a:pt x="357" y="47"/>
                  </a:lnTo>
                  <a:lnTo>
                    <a:pt x="357" y="44"/>
                  </a:lnTo>
                  <a:lnTo>
                    <a:pt x="357" y="43"/>
                  </a:lnTo>
                  <a:lnTo>
                    <a:pt x="356" y="41"/>
                  </a:lnTo>
                  <a:lnTo>
                    <a:pt x="356" y="40"/>
                  </a:lnTo>
                  <a:lnTo>
                    <a:pt x="357" y="39"/>
                  </a:lnTo>
                  <a:lnTo>
                    <a:pt x="357" y="38"/>
                  </a:lnTo>
                  <a:lnTo>
                    <a:pt x="357" y="37"/>
                  </a:lnTo>
                  <a:lnTo>
                    <a:pt x="358" y="37"/>
                  </a:lnTo>
                  <a:lnTo>
                    <a:pt x="358" y="36"/>
                  </a:lnTo>
                  <a:lnTo>
                    <a:pt x="359" y="36"/>
                  </a:lnTo>
                  <a:lnTo>
                    <a:pt x="361" y="35"/>
                  </a:lnTo>
                  <a:lnTo>
                    <a:pt x="363" y="35"/>
                  </a:lnTo>
                  <a:lnTo>
                    <a:pt x="364" y="35"/>
                  </a:lnTo>
                  <a:lnTo>
                    <a:pt x="366" y="34"/>
                  </a:lnTo>
                  <a:lnTo>
                    <a:pt x="371" y="32"/>
                  </a:lnTo>
                  <a:lnTo>
                    <a:pt x="372" y="31"/>
                  </a:lnTo>
                  <a:lnTo>
                    <a:pt x="373" y="31"/>
                  </a:lnTo>
                  <a:lnTo>
                    <a:pt x="375" y="29"/>
                  </a:lnTo>
                  <a:lnTo>
                    <a:pt x="377" y="28"/>
                  </a:lnTo>
                  <a:lnTo>
                    <a:pt x="378" y="28"/>
                  </a:lnTo>
                  <a:lnTo>
                    <a:pt x="379" y="27"/>
                  </a:lnTo>
                  <a:lnTo>
                    <a:pt x="379" y="26"/>
                  </a:lnTo>
                  <a:lnTo>
                    <a:pt x="380" y="25"/>
                  </a:lnTo>
                  <a:lnTo>
                    <a:pt x="380" y="25"/>
                  </a:lnTo>
                  <a:lnTo>
                    <a:pt x="381" y="24"/>
                  </a:lnTo>
                  <a:lnTo>
                    <a:pt x="381" y="22"/>
                  </a:lnTo>
                  <a:lnTo>
                    <a:pt x="381" y="22"/>
                  </a:lnTo>
                  <a:lnTo>
                    <a:pt x="381" y="21"/>
                  </a:lnTo>
                  <a:lnTo>
                    <a:pt x="381" y="20"/>
                  </a:lnTo>
                  <a:lnTo>
                    <a:pt x="380" y="20"/>
                  </a:lnTo>
                  <a:lnTo>
                    <a:pt x="380" y="19"/>
                  </a:lnTo>
                  <a:lnTo>
                    <a:pt x="378" y="17"/>
                  </a:lnTo>
                  <a:lnTo>
                    <a:pt x="378" y="16"/>
                  </a:lnTo>
                  <a:lnTo>
                    <a:pt x="378" y="16"/>
                  </a:lnTo>
                  <a:lnTo>
                    <a:pt x="378" y="15"/>
                  </a:lnTo>
                  <a:lnTo>
                    <a:pt x="378" y="14"/>
                  </a:lnTo>
                  <a:lnTo>
                    <a:pt x="378" y="13"/>
                  </a:lnTo>
                  <a:lnTo>
                    <a:pt x="378" y="12"/>
                  </a:lnTo>
                  <a:lnTo>
                    <a:pt x="378" y="10"/>
                  </a:lnTo>
                  <a:lnTo>
                    <a:pt x="379" y="8"/>
                  </a:lnTo>
                  <a:lnTo>
                    <a:pt x="380" y="6"/>
                  </a:lnTo>
                  <a:lnTo>
                    <a:pt x="381" y="5"/>
                  </a:lnTo>
                  <a:lnTo>
                    <a:pt x="381" y="4"/>
                  </a:lnTo>
                  <a:lnTo>
                    <a:pt x="382" y="4"/>
                  </a:lnTo>
                  <a:lnTo>
                    <a:pt x="383" y="3"/>
                  </a:lnTo>
                  <a:lnTo>
                    <a:pt x="384" y="3"/>
                  </a:lnTo>
                  <a:lnTo>
                    <a:pt x="385" y="3"/>
                  </a:lnTo>
                  <a:lnTo>
                    <a:pt x="386" y="2"/>
                  </a:lnTo>
                  <a:lnTo>
                    <a:pt x="386" y="2"/>
                  </a:lnTo>
                  <a:lnTo>
                    <a:pt x="387" y="2"/>
                  </a:lnTo>
                  <a:lnTo>
                    <a:pt x="387" y="2"/>
                  </a:lnTo>
                  <a:lnTo>
                    <a:pt x="387" y="2"/>
                  </a:lnTo>
                  <a:lnTo>
                    <a:pt x="388" y="2"/>
                  </a:lnTo>
                  <a:lnTo>
                    <a:pt x="390" y="2"/>
                  </a:lnTo>
                  <a:lnTo>
                    <a:pt x="393" y="2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4" y="1"/>
                  </a:lnTo>
                  <a:lnTo>
                    <a:pt x="394" y="0"/>
                  </a:lnTo>
                  <a:lnTo>
                    <a:pt x="394" y="0"/>
                  </a:lnTo>
                  <a:lnTo>
                    <a:pt x="395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5" name="Freeform 235">
              <a:extLst>
                <a:ext uri="{FF2B5EF4-FFF2-40B4-BE49-F238E27FC236}">
                  <a16:creationId xmlns:a16="http://schemas.microsoft.com/office/drawing/2014/main" id="{E7B0C3EA-CBA9-488A-89F4-98BBB0B26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75564" y="2215011"/>
              <a:ext cx="511561" cy="372971"/>
            </a:xfrm>
            <a:custGeom>
              <a:avLst/>
              <a:gdLst>
                <a:gd name="T0" fmla="*/ 347 w 502"/>
                <a:gd name="T1" fmla="*/ 27 h 366"/>
                <a:gd name="T2" fmla="*/ 372 w 502"/>
                <a:gd name="T3" fmla="*/ 45 h 366"/>
                <a:gd name="T4" fmla="*/ 410 w 502"/>
                <a:gd name="T5" fmla="*/ 52 h 366"/>
                <a:gd name="T6" fmla="*/ 422 w 502"/>
                <a:gd name="T7" fmla="*/ 69 h 366"/>
                <a:gd name="T8" fmla="*/ 433 w 502"/>
                <a:gd name="T9" fmla="*/ 73 h 366"/>
                <a:gd name="T10" fmla="*/ 466 w 502"/>
                <a:gd name="T11" fmla="*/ 73 h 366"/>
                <a:gd name="T12" fmla="*/ 477 w 502"/>
                <a:gd name="T13" fmla="*/ 90 h 366"/>
                <a:gd name="T14" fmla="*/ 472 w 502"/>
                <a:gd name="T15" fmla="*/ 121 h 366"/>
                <a:gd name="T16" fmla="*/ 474 w 502"/>
                <a:gd name="T17" fmla="*/ 148 h 366"/>
                <a:gd name="T18" fmla="*/ 482 w 502"/>
                <a:gd name="T19" fmla="*/ 168 h 366"/>
                <a:gd name="T20" fmla="*/ 494 w 502"/>
                <a:gd name="T21" fmla="*/ 199 h 366"/>
                <a:gd name="T22" fmla="*/ 492 w 502"/>
                <a:gd name="T23" fmla="*/ 213 h 366"/>
                <a:gd name="T24" fmla="*/ 477 w 502"/>
                <a:gd name="T25" fmla="*/ 216 h 366"/>
                <a:gd name="T26" fmla="*/ 489 w 502"/>
                <a:gd name="T27" fmla="*/ 225 h 366"/>
                <a:gd name="T28" fmla="*/ 500 w 502"/>
                <a:gd name="T29" fmla="*/ 242 h 366"/>
                <a:gd name="T30" fmla="*/ 497 w 502"/>
                <a:gd name="T31" fmla="*/ 259 h 366"/>
                <a:gd name="T32" fmla="*/ 488 w 502"/>
                <a:gd name="T33" fmla="*/ 271 h 366"/>
                <a:gd name="T34" fmla="*/ 474 w 502"/>
                <a:gd name="T35" fmla="*/ 286 h 366"/>
                <a:gd name="T36" fmla="*/ 463 w 502"/>
                <a:gd name="T37" fmla="*/ 305 h 366"/>
                <a:gd name="T38" fmla="*/ 437 w 502"/>
                <a:gd name="T39" fmla="*/ 289 h 366"/>
                <a:gd name="T40" fmla="*/ 410 w 502"/>
                <a:gd name="T41" fmla="*/ 288 h 366"/>
                <a:gd name="T42" fmla="*/ 372 w 502"/>
                <a:gd name="T43" fmla="*/ 315 h 366"/>
                <a:gd name="T44" fmla="*/ 358 w 502"/>
                <a:gd name="T45" fmla="*/ 332 h 366"/>
                <a:gd name="T46" fmla="*/ 338 w 502"/>
                <a:gd name="T47" fmla="*/ 351 h 366"/>
                <a:gd name="T48" fmla="*/ 312 w 502"/>
                <a:gd name="T49" fmla="*/ 349 h 366"/>
                <a:gd name="T50" fmla="*/ 282 w 502"/>
                <a:gd name="T51" fmla="*/ 343 h 366"/>
                <a:gd name="T52" fmla="*/ 250 w 502"/>
                <a:gd name="T53" fmla="*/ 352 h 366"/>
                <a:gd name="T54" fmla="*/ 236 w 502"/>
                <a:gd name="T55" fmla="*/ 366 h 366"/>
                <a:gd name="T56" fmla="*/ 222 w 502"/>
                <a:gd name="T57" fmla="*/ 357 h 366"/>
                <a:gd name="T58" fmla="*/ 200 w 502"/>
                <a:gd name="T59" fmla="*/ 364 h 366"/>
                <a:gd name="T60" fmla="*/ 175 w 502"/>
                <a:gd name="T61" fmla="*/ 351 h 366"/>
                <a:gd name="T62" fmla="*/ 152 w 502"/>
                <a:gd name="T63" fmla="*/ 331 h 366"/>
                <a:gd name="T64" fmla="*/ 156 w 502"/>
                <a:gd name="T65" fmla="*/ 312 h 366"/>
                <a:gd name="T66" fmla="*/ 135 w 502"/>
                <a:gd name="T67" fmla="*/ 302 h 366"/>
                <a:gd name="T68" fmla="*/ 113 w 502"/>
                <a:gd name="T69" fmla="*/ 285 h 366"/>
                <a:gd name="T70" fmla="*/ 87 w 502"/>
                <a:gd name="T71" fmla="*/ 265 h 366"/>
                <a:gd name="T72" fmla="*/ 65 w 502"/>
                <a:gd name="T73" fmla="*/ 252 h 366"/>
                <a:gd name="T74" fmla="*/ 56 w 502"/>
                <a:gd name="T75" fmla="*/ 231 h 366"/>
                <a:gd name="T76" fmla="*/ 39 w 502"/>
                <a:gd name="T77" fmla="*/ 214 h 366"/>
                <a:gd name="T78" fmla="*/ 43 w 502"/>
                <a:gd name="T79" fmla="*/ 178 h 366"/>
                <a:gd name="T80" fmla="*/ 26 w 502"/>
                <a:gd name="T81" fmla="*/ 150 h 366"/>
                <a:gd name="T82" fmla="*/ 4 w 502"/>
                <a:gd name="T83" fmla="*/ 133 h 366"/>
                <a:gd name="T84" fmla="*/ 3 w 502"/>
                <a:gd name="T85" fmla="*/ 119 h 366"/>
                <a:gd name="T86" fmla="*/ 13 w 502"/>
                <a:gd name="T87" fmla="*/ 103 h 366"/>
                <a:gd name="T88" fmla="*/ 6 w 502"/>
                <a:gd name="T89" fmla="*/ 82 h 366"/>
                <a:gd name="T90" fmla="*/ 34 w 502"/>
                <a:gd name="T91" fmla="*/ 83 h 366"/>
                <a:gd name="T92" fmla="*/ 46 w 502"/>
                <a:gd name="T93" fmla="*/ 110 h 366"/>
                <a:gd name="T94" fmla="*/ 66 w 502"/>
                <a:gd name="T95" fmla="*/ 123 h 366"/>
                <a:gd name="T96" fmla="*/ 63 w 502"/>
                <a:gd name="T97" fmla="*/ 134 h 366"/>
                <a:gd name="T98" fmla="*/ 76 w 502"/>
                <a:gd name="T99" fmla="*/ 159 h 366"/>
                <a:gd name="T100" fmla="*/ 83 w 502"/>
                <a:gd name="T101" fmla="*/ 179 h 366"/>
                <a:gd name="T102" fmla="*/ 95 w 502"/>
                <a:gd name="T103" fmla="*/ 172 h 366"/>
                <a:gd name="T104" fmla="*/ 98 w 502"/>
                <a:gd name="T105" fmla="*/ 140 h 366"/>
                <a:gd name="T106" fmla="*/ 106 w 502"/>
                <a:gd name="T107" fmla="*/ 128 h 366"/>
                <a:gd name="T108" fmla="*/ 126 w 502"/>
                <a:gd name="T109" fmla="*/ 98 h 366"/>
                <a:gd name="T110" fmla="*/ 142 w 502"/>
                <a:gd name="T111" fmla="*/ 79 h 366"/>
                <a:gd name="T112" fmla="*/ 164 w 502"/>
                <a:gd name="T113" fmla="*/ 62 h 366"/>
                <a:gd name="T114" fmla="*/ 182 w 502"/>
                <a:gd name="T115" fmla="*/ 38 h 366"/>
                <a:gd name="T116" fmla="*/ 242 w 502"/>
                <a:gd name="T117" fmla="*/ 30 h 366"/>
                <a:gd name="T118" fmla="*/ 270 w 502"/>
                <a:gd name="T119" fmla="*/ 20 h 366"/>
                <a:gd name="T120" fmla="*/ 295 w 502"/>
                <a:gd name="T121" fmla="*/ 11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2" h="366">
                  <a:moveTo>
                    <a:pt x="308" y="1"/>
                  </a:moveTo>
                  <a:lnTo>
                    <a:pt x="310" y="2"/>
                  </a:lnTo>
                  <a:lnTo>
                    <a:pt x="312" y="4"/>
                  </a:lnTo>
                  <a:lnTo>
                    <a:pt x="314" y="5"/>
                  </a:lnTo>
                  <a:lnTo>
                    <a:pt x="320" y="10"/>
                  </a:lnTo>
                  <a:lnTo>
                    <a:pt x="327" y="14"/>
                  </a:lnTo>
                  <a:lnTo>
                    <a:pt x="331" y="17"/>
                  </a:lnTo>
                  <a:lnTo>
                    <a:pt x="333" y="18"/>
                  </a:lnTo>
                  <a:lnTo>
                    <a:pt x="337" y="21"/>
                  </a:lnTo>
                  <a:lnTo>
                    <a:pt x="339" y="23"/>
                  </a:lnTo>
                  <a:lnTo>
                    <a:pt x="340" y="24"/>
                  </a:lnTo>
                  <a:lnTo>
                    <a:pt x="341" y="25"/>
                  </a:lnTo>
                  <a:lnTo>
                    <a:pt x="344" y="26"/>
                  </a:lnTo>
                  <a:lnTo>
                    <a:pt x="345" y="26"/>
                  </a:lnTo>
                  <a:lnTo>
                    <a:pt x="347" y="27"/>
                  </a:lnTo>
                  <a:lnTo>
                    <a:pt x="349" y="29"/>
                  </a:lnTo>
                  <a:lnTo>
                    <a:pt x="352" y="32"/>
                  </a:lnTo>
                  <a:lnTo>
                    <a:pt x="354" y="33"/>
                  </a:lnTo>
                  <a:lnTo>
                    <a:pt x="356" y="36"/>
                  </a:lnTo>
                  <a:lnTo>
                    <a:pt x="357" y="37"/>
                  </a:lnTo>
                  <a:lnTo>
                    <a:pt x="357" y="37"/>
                  </a:lnTo>
                  <a:lnTo>
                    <a:pt x="358" y="38"/>
                  </a:lnTo>
                  <a:lnTo>
                    <a:pt x="358" y="38"/>
                  </a:lnTo>
                  <a:lnTo>
                    <a:pt x="359" y="38"/>
                  </a:lnTo>
                  <a:lnTo>
                    <a:pt x="359" y="38"/>
                  </a:lnTo>
                  <a:lnTo>
                    <a:pt x="364" y="41"/>
                  </a:lnTo>
                  <a:lnTo>
                    <a:pt x="366" y="43"/>
                  </a:lnTo>
                  <a:lnTo>
                    <a:pt x="368" y="43"/>
                  </a:lnTo>
                  <a:lnTo>
                    <a:pt x="369" y="44"/>
                  </a:lnTo>
                  <a:lnTo>
                    <a:pt x="372" y="45"/>
                  </a:lnTo>
                  <a:lnTo>
                    <a:pt x="376" y="46"/>
                  </a:lnTo>
                  <a:lnTo>
                    <a:pt x="379" y="46"/>
                  </a:lnTo>
                  <a:lnTo>
                    <a:pt x="381" y="46"/>
                  </a:lnTo>
                  <a:lnTo>
                    <a:pt x="386" y="47"/>
                  </a:lnTo>
                  <a:lnTo>
                    <a:pt x="388" y="47"/>
                  </a:lnTo>
                  <a:lnTo>
                    <a:pt x="389" y="47"/>
                  </a:lnTo>
                  <a:lnTo>
                    <a:pt x="394" y="49"/>
                  </a:lnTo>
                  <a:lnTo>
                    <a:pt x="397" y="49"/>
                  </a:lnTo>
                  <a:lnTo>
                    <a:pt x="399" y="50"/>
                  </a:lnTo>
                  <a:lnTo>
                    <a:pt x="402" y="50"/>
                  </a:lnTo>
                  <a:lnTo>
                    <a:pt x="404" y="50"/>
                  </a:lnTo>
                  <a:lnTo>
                    <a:pt x="406" y="51"/>
                  </a:lnTo>
                  <a:lnTo>
                    <a:pt x="408" y="51"/>
                  </a:lnTo>
                  <a:lnTo>
                    <a:pt x="409" y="51"/>
                  </a:lnTo>
                  <a:lnTo>
                    <a:pt x="410" y="52"/>
                  </a:lnTo>
                  <a:lnTo>
                    <a:pt x="412" y="53"/>
                  </a:lnTo>
                  <a:lnTo>
                    <a:pt x="416" y="55"/>
                  </a:lnTo>
                  <a:lnTo>
                    <a:pt x="418" y="56"/>
                  </a:lnTo>
                  <a:lnTo>
                    <a:pt x="419" y="56"/>
                  </a:lnTo>
                  <a:lnTo>
                    <a:pt x="419" y="57"/>
                  </a:lnTo>
                  <a:lnTo>
                    <a:pt x="420" y="58"/>
                  </a:lnTo>
                  <a:lnTo>
                    <a:pt x="420" y="58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2" y="62"/>
                  </a:lnTo>
                  <a:lnTo>
                    <a:pt x="422" y="63"/>
                  </a:lnTo>
                  <a:lnTo>
                    <a:pt x="422" y="66"/>
                  </a:lnTo>
                  <a:lnTo>
                    <a:pt x="422" y="68"/>
                  </a:lnTo>
                  <a:lnTo>
                    <a:pt x="422" y="69"/>
                  </a:lnTo>
                  <a:lnTo>
                    <a:pt x="422" y="70"/>
                  </a:lnTo>
                  <a:lnTo>
                    <a:pt x="422" y="70"/>
                  </a:lnTo>
                  <a:lnTo>
                    <a:pt x="423" y="71"/>
                  </a:lnTo>
                  <a:lnTo>
                    <a:pt x="423" y="71"/>
                  </a:lnTo>
                  <a:lnTo>
                    <a:pt x="424" y="72"/>
                  </a:lnTo>
                  <a:lnTo>
                    <a:pt x="424" y="72"/>
                  </a:lnTo>
                  <a:lnTo>
                    <a:pt x="425" y="72"/>
                  </a:lnTo>
                  <a:lnTo>
                    <a:pt x="426" y="73"/>
                  </a:lnTo>
                  <a:lnTo>
                    <a:pt x="427" y="73"/>
                  </a:lnTo>
                  <a:lnTo>
                    <a:pt x="427" y="73"/>
                  </a:lnTo>
                  <a:lnTo>
                    <a:pt x="428" y="74"/>
                  </a:lnTo>
                  <a:lnTo>
                    <a:pt x="429" y="74"/>
                  </a:lnTo>
                  <a:lnTo>
                    <a:pt x="429" y="73"/>
                  </a:lnTo>
                  <a:lnTo>
                    <a:pt x="430" y="73"/>
                  </a:lnTo>
                  <a:lnTo>
                    <a:pt x="433" y="73"/>
                  </a:lnTo>
                  <a:lnTo>
                    <a:pt x="435" y="72"/>
                  </a:lnTo>
                  <a:lnTo>
                    <a:pt x="436" y="72"/>
                  </a:lnTo>
                  <a:lnTo>
                    <a:pt x="437" y="72"/>
                  </a:lnTo>
                  <a:lnTo>
                    <a:pt x="439" y="72"/>
                  </a:lnTo>
                  <a:lnTo>
                    <a:pt x="441" y="72"/>
                  </a:lnTo>
                  <a:lnTo>
                    <a:pt x="446" y="73"/>
                  </a:lnTo>
                  <a:lnTo>
                    <a:pt x="449" y="73"/>
                  </a:lnTo>
                  <a:lnTo>
                    <a:pt x="451" y="73"/>
                  </a:lnTo>
                  <a:lnTo>
                    <a:pt x="456" y="73"/>
                  </a:lnTo>
                  <a:lnTo>
                    <a:pt x="457" y="73"/>
                  </a:lnTo>
                  <a:lnTo>
                    <a:pt x="458" y="73"/>
                  </a:lnTo>
                  <a:lnTo>
                    <a:pt x="464" y="73"/>
                  </a:lnTo>
                  <a:lnTo>
                    <a:pt x="465" y="72"/>
                  </a:lnTo>
                  <a:lnTo>
                    <a:pt x="466" y="73"/>
                  </a:lnTo>
                  <a:lnTo>
                    <a:pt x="466" y="73"/>
                  </a:lnTo>
                  <a:lnTo>
                    <a:pt x="467" y="73"/>
                  </a:lnTo>
                  <a:lnTo>
                    <a:pt x="468" y="73"/>
                  </a:lnTo>
                  <a:lnTo>
                    <a:pt x="469" y="74"/>
                  </a:lnTo>
                  <a:lnTo>
                    <a:pt x="470" y="75"/>
                  </a:lnTo>
                  <a:lnTo>
                    <a:pt x="471" y="75"/>
                  </a:lnTo>
                  <a:lnTo>
                    <a:pt x="472" y="76"/>
                  </a:lnTo>
                  <a:lnTo>
                    <a:pt x="472" y="77"/>
                  </a:lnTo>
                  <a:lnTo>
                    <a:pt x="473" y="79"/>
                  </a:lnTo>
                  <a:lnTo>
                    <a:pt x="474" y="80"/>
                  </a:lnTo>
                  <a:lnTo>
                    <a:pt x="475" y="82"/>
                  </a:lnTo>
                  <a:lnTo>
                    <a:pt x="476" y="84"/>
                  </a:lnTo>
                  <a:lnTo>
                    <a:pt x="476" y="85"/>
                  </a:lnTo>
                  <a:lnTo>
                    <a:pt x="476" y="87"/>
                  </a:lnTo>
                  <a:lnTo>
                    <a:pt x="476" y="88"/>
                  </a:lnTo>
                  <a:lnTo>
                    <a:pt x="477" y="90"/>
                  </a:lnTo>
                  <a:lnTo>
                    <a:pt x="477" y="91"/>
                  </a:lnTo>
                  <a:lnTo>
                    <a:pt x="476" y="93"/>
                  </a:lnTo>
                  <a:lnTo>
                    <a:pt x="476" y="95"/>
                  </a:lnTo>
                  <a:lnTo>
                    <a:pt x="475" y="99"/>
                  </a:lnTo>
                  <a:lnTo>
                    <a:pt x="475" y="100"/>
                  </a:lnTo>
                  <a:lnTo>
                    <a:pt x="474" y="101"/>
                  </a:lnTo>
                  <a:lnTo>
                    <a:pt x="474" y="102"/>
                  </a:lnTo>
                  <a:lnTo>
                    <a:pt x="474" y="103"/>
                  </a:lnTo>
                  <a:lnTo>
                    <a:pt x="474" y="108"/>
                  </a:lnTo>
                  <a:lnTo>
                    <a:pt x="474" y="109"/>
                  </a:lnTo>
                  <a:lnTo>
                    <a:pt x="474" y="110"/>
                  </a:lnTo>
                  <a:lnTo>
                    <a:pt x="474" y="111"/>
                  </a:lnTo>
                  <a:lnTo>
                    <a:pt x="473" y="114"/>
                  </a:lnTo>
                  <a:lnTo>
                    <a:pt x="472" y="119"/>
                  </a:lnTo>
                  <a:lnTo>
                    <a:pt x="472" y="121"/>
                  </a:lnTo>
                  <a:lnTo>
                    <a:pt x="471" y="123"/>
                  </a:lnTo>
                  <a:lnTo>
                    <a:pt x="471" y="124"/>
                  </a:lnTo>
                  <a:lnTo>
                    <a:pt x="472" y="125"/>
                  </a:lnTo>
                  <a:lnTo>
                    <a:pt x="472" y="126"/>
                  </a:lnTo>
                  <a:lnTo>
                    <a:pt x="473" y="129"/>
                  </a:lnTo>
                  <a:lnTo>
                    <a:pt x="474" y="131"/>
                  </a:lnTo>
                  <a:lnTo>
                    <a:pt x="475" y="135"/>
                  </a:lnTo>
                  <a:lnTo>
                    <a:pt x="475" y="137"/>
                  </a:lnTo>
                  <a:lnTo>
                    <a:pt x="475" y="139"/>
                  </a:lnTo>
                  <a:lnTo>
                    <a:pt x="475" y="141"/>
                  </a:lnTo>
                  <a:lnTo>
                    <a:pt x="475" y="142"/>
                  </a:lnTo>
                  <a:lnTo>
                    <a:pt x="474" y="145"/>
                  </a:lnTo>
                  <a:lnTo>
                    <a:pt x="474" y="146"/>
                  </a:lnTo>
                  <a:lnTo>
                    <a:pt x="474" y="147"/>
                  </a:lnTo>
                  <a:lnTo>
                    <a:pt x="474" y="148"/>
                  </a:lnTo>
                  <a:lnTo>
                    <a:pt x="474" y="149"/>
                  </a:lnTo>
                  <a:lnTo>
                    <a:pt x="475" y="150"/>
                  </a:lnTo>
                  <a:lnTo>
                    <a:pt x="475" y="151"/>
                  </a:lnTo>
                  <a:lnTo>
                    <a:pt x="476" y="151"/>
                  </a:lnTo>
                  <a:lnTo>
                    <a:pt x="477" y="152"/>
                  </a:lnTo>
                  <a:lnTo>
                    <a:pt x="479" y="154"/>
                  </a:lnTo>
                  <a:lnTo>
                    <a:pt x="480" y="155"/>
                  </a:lnTo>
                  <a:lnTo>
                    <a:pt x="480" y="156"/>
                  </a:lnTo>
                  <a:lnTo>
                    <a:pt x="481" y="157"/>
                  </a:lnTo>
                  <a:lnTo>
                    <a:pt x="481" y="158"/>
                  </a:lnTo>
                  <a:lnTo>
                    <a:pt x="481" y="161"/>
                  </a:lnTo>
                  <a:lnTo>
                    <a:pt x="481" y="162"/>
                  </a:lnTo>
                  <a:lnTo>
                    <a:pt x="481" y="166"/>
                  </a:lnTo>
                  <a:lnTo>
                    <a:pt x="481" y="167"/>
                  </a:lnTo>
                  <a:lnTo>
                    <a:pt x="482" y="168"/>
                  </a:lnTo>
                  <a:lnTo>
                    <a:pt x="482" y="169"/>
                  </a:lnTo>
                  <a:lnTo>
                    <a:pt x="483" y="169"/>
                  </a:lnTo>
                  <a:lnTo>
                    <a:pt x="485" y="173"/>
                  </a:lnTo>
                  <a:lnTo>
                    <a:pt x="486" y="175"/>
                  </a:lnTo>
                  <a:lnTo>
                    <a:pt x="488" y="178"/>
                  </a:lnTo>
                  <a:lnTo>
                    <a:pt x="489" y="180"/>
                  </a:lnTo>
                  <a:lnTo>
                    <a:pt x="491" y="185"/>
                  </a:lnTo>
                  <a:lnTo>
                    <a:pt x="492" y="188"/>
                  </a:lnTo>
                  <a:lnTo>
                    <a:pt x="493" y="190"/>
                  </a:lnTo>
                  <a:lnTo>
                    <a:pt x="494" y="194"/>
                  </a:lnTo>
                  <a:lnTo>
                    <a:pt x="494" y="196"/>
                  </a:lnTo>
                  <a:lnTo>
                    <a:pt x="494" y="197"/>
                  </a:lnTo>
                  <a:lnTo>
                    <a:pt x="494" y="198"/>
                  </a:lnTo>
                  <a:lnTo>
                    <a:pt x="494" y="199"/>
                  </a:lnTo>
                  <a:lnTo>
                    <a:pt x="494" y="199"/>
                  </a:lnTo>
                  <a:lnTo>
                    <a:pt x="494" y="200"/>
                  </a:lnTo>
                  <a:lnTo>
                    <a:pt x="494" y="201"/>
                  </a:lnTo>
                  <a:lnTo>
                    <a:pt x="493" y="202"/>
                  </a:lnTo>
                  <a:lnTo>
                    <a:pt x="492" y="204"/>
                  </a:lnTo>
                  <a:lnTo>
                    <a:pt x="492" y="204"/>
                  </a:lnTo>
                  <a:lnTo>
                    <a:pt x="492" y="205"/>
                  </a:lnTo>
                  <a:lnTo>
                    <a:pt x="492" y="206"/>
                  </a:lnTo>
                  <a:lnTo>
                    <a:pt x="492" y="207"/>
                  </a:lnTo>
                  <a:lnTo>
                    <a:pt x="493" y="209"/>
                  </a:lnTo>
                  <a:lnTo>
                    <a:pt x="493" y="211"/>
                  </a:lnTo>
                  <a:lnTo>
                    <a:pt x="493" y="212"/>
                  </a:lnTo>
                  <a:lnTo>
                    <a:pt x="493" y="212"/>
                  </a:lnTo>
                  <a:lnTo>
                    <a:pt x="493" y="213"/>
                  </a:lnTo>
                  <a:lnTo>
                    <a:pt x="492" y="213"/>
                  </a:lnTo>
                  <a:lnTo>
                    <a:pt x="492" y="213"/>
                  </a:lnTo>
                  <a:lnTo>
                    <a:pt x="492" y="214"/>
                  </a:lnTo>
                  <a:lnTo>
                    <a:pt x="491" y="214"/>
                  </a:lnTo>
                  <a:lnTo>
                    <a:pt x="491" y="214"/>
                  </a:lnTo>
                  <a:lnTo>
                    <a:pt x="490" y="214"/>
                  </a:lnTo>
                  <a:lnTo>
                    <a:pt x="487" y="213"/>
                  </a:lnTo>
                  <a:lnTo>
                    <a:pt x="484" y="213"/>
                  </a:lnTo>
                  <a:lnTo>
                    <a:pt x="483" y="213"/>
                  </a:lnTo>
                  <a:lnTo>
                    <a:pt x="482" y="213"/>
                  </a:lnTo>
                  <a:lnTo>
                    <a:pt x="481" y="213"/>
                  </a:lnTo>
                  <a:lnTo>
                    <a:pt x="480" y="214"/>
                  </a:lnTo>
                  <a:lnTo>
                    <a:pt x="479" y="214"/>
                  </a:lnTo>
                  <a:lnTo>
                    <a:pt x="478" y="214"/>
                  </a:lnTo>
                  <a:lnTo>
                    <a:pt x="478" y="215"/>
                  </a:lnTo>
                  <a:lnTo>
                    <a:pt x="477" y="215"/>
                  </a:lnTo>
                  <a:lnTo>
                    <a:pt x="477" y="216"/>
                  </a:lnTo>
                  <a:lnTo>
                    <a:pt x="476" y="217"/>
                  </a:lnTo>
                  <a:lnTo>
                    <a:pt x="476" y="218"/>
                  </a:lnTo>
                  <a:lnTo>
                    <a:pt x="476" y="219"/>
                  </a:lnTo>
                  <a:lnTo>
                    <a:pt x="476" y="219"/>
                  </a:lnTo>
                  <a:lnTo>
                    <a:pt x="476" y="219"/>
                  </a:lnTo>
                  <a:lnTo>
                    <a:pt x="476" y="220"/>
                  </a:lnTo>
                  <a:lnTo>
                    <a:pt x="477" y="220"/>
                  </a:lnTo>
                  <a:lnTo>
                    <a:pt x="478" y="221"/>
                  </a:lnTo>
                  <a:lnTo>
                    <a:pt x="479" y="222"/>
                  </a:lnTo>
                  <a:lnTo>
                    <a:pt x="480" y="222"/>
                  </a:lnTo>
                  <a:lnTo>
                    <a:pt x="481" y="223"/>
                  </a:lnTo>
                  <a:lnTo>
                    <a:pt x="486" y="224"/>
                  </a:lnTo>
                  <a:lnTo>
                    <a:pt x="487" y="224"/>
                  </a:lnTo>
                  <a:lnTo>
                    <a:pt x="488" y="224"/>
                  </a:lnTo>
                  <a:lnTo>
                    <a:pt x="489" y="225"/>
                  </a:lnTo>
                  <a:lnTo>
                    <a:pt x="491" y="226"/>
                  </a:lnTo>
                  <a:lnTo>
                    <a:pt x="492" y="226"/>
                  </a:lnTo>
                  <a:lnTo>
                    <a:pt x="493" y="227"/>
                  </a:lnTo>
                  <a:lnTo>
                    <a:pt x="494" y="228"/>
                  </a:lnTo>
                  <a:lnTo>
                    <a:pt x="495" y="229"/>
                  </a:lnTo>
                  <a:lnTo>
                    <a:pt x="498" y="233"/>
                  </a:lnTo>
                  <a:lnTo>
                    <a:pt x="499" y="235"/>
                  </a:lnTo>
                  <a:lnTo>
                    <a:pt x="500" y="236"/>
                  </a:lnTo>
                  <a:lnTo>
                    <a:pt x="500" y="237"/>
                  </a:lnTo>
                  <a:lnTo>
                    <a:pt x="501" y="239"/>
                  </a:lnTo>
                  <a:lnTo>
                    <a:pt x="502" y="241"/>
                  </a:lnTo>
                  <a:lnTo>
                    <a:pt x="502" y="241"/>
                  </a:lnTo>
                  <a:lnTo>
                    <a:pt x="502" y="242"/>
                  </a:lnTo>
                  <a:lnTo>
                    <a:pt x="501" y="242"/>
                  </a:lnTo>
                  <a:lnTo>
                    <a:pt x="500" y="242"/>
                  </a:lnTo>
                  <a:lnTo>
                    <a:pt x="499" y="243"/>
                  </a:lnTo>
                  <a:lnTo>
                    <a:pt x="498" y="243"/>
                  </a:lnTo>
                  <a:lnTo>
                    <a:pt x="498" y="244"/>
                  </a:lnTo>
                  <a:lnTo>
                    <a:pt x="497" y="245"/>
                  </a:lnTo>
                  <a:lnTo>
                    <a:pt x="496" y="247"/>
                  </a:lnTo>
                  <a:lnTo>
                    <a:pt x="495" y="249"/>
                  </a:lnTo>
                  <a:lnTo>
                    <a:pt x="495" y="251"/>
                  </a:lnTo>
                  <a:lnTo>
                    <a:pt x="495" y="252"/>
                  </a:lnTo>
                  <a:lnTo>
                    <a:pt x="495" y="253"/>
                  </a:lnTo>
                  <a:lnTo>
                    <a:pt x="495" y="254"/>
                  </a:lnTo>
                  <a:lnTo>
                    <a:pt x="495" y="255"/>
                  </a:lnTo>
                  <a:lnTo>
                    <a:pt x="495" y="255"/>
                  </a:lnTo>
                  <a:lnTo>
                    <a:pt x="495" y="256"/>
                  </a:lnTo>
                  <a:lnTo>
                    <a:pt x="497" y="258"/>
                  </a:lnTo>
                  <a:lnTo>
                    <a:pt x="497" y="259"/>
                  </a:lnTo>
                  <a:lnTo>
                    <a:pt x="498" y="259"/>
                  </a:lnTo>
                  <a:lnTo>
                    <a:pt x="498" y="260"/>
                  </a:lnTo>
                  <a:lnTo>
                    <a:pt x="498" y="261"/>
                  </a:lnTo>
                  <a:lnTo>
                    <a:pt x="498" y="261"/>
                  </a:lnTo>
                  <a:lnTo>
                    <a:pt x="498" y="263"/>
                  </a:lnTo>
                  <a:lnTo>
                    <a:pt x="497" y="264"/>
                  </a:lnTo>
                  <a:lnTo>
                    <a:pt x="497" y="264"/>
                  </a:lnTo>
                  <a:lnTo>
                    <a:pt x="496" y="265"/>
                  </a:lnTo>
                  <a:lnTo>
                    <a:pt x="496" y="266"/>
                  </a:lnTo>
                  <a:lnTo>
                    <a:pt x="495" y="267"/>
                  </a:lnTo>
                  <a:lnTo>
                    <a:pt x="494" y="267"/>
                  </a:lnTo>
                  <a:lnTo>
                    <a:pt x="492" y="268"/>
                  </a:lnTo>
                  <a:lnTo>
                    <a:pt x="490" y="270"/>
                  </a:lnTo>
                  <a:lnTo>
                    <a:pt x="489" y="270"/>
                  </a:lnTo>
                  <a:lnTo>
                    <a:pt x="488" y="271"/>
                  </a:lnTo>
                  <a:lnTo>
                    <a:pt x="483" y="273"/>
                  </a:lnTo>
                  <a:lnTo>
                    <a:pt x="481" y="274"/>
                  </a:lnTo>
                  <a:lnTo>
                    <a:pt x="480" y="274"/>
                  </a:lnTo>
                  <a:lnTo>
                    <a:pt x="478" y="274"/>
                  </a:lnTo>
                  <a:lnTo>
                    <a:pt x="476" y="275"/>
                  </a:lnTo>
                  <a:lnTo>
                    <a:pt x="475" y="275"/>
                  </a:lnTo>
                  <a:lnTo>
                    <a:pt x="475" y="276"/>
                  </a:lnTo>
                  <a:lnTo>
                    <a:pt x="474" y="276"/>
                  </a:lnTo>
                  <a:lnTo>
                    <a:pt x="474" y="277"/>
                  </a:lnTo>
                  <a:lnTo>
                    <a:pt x="474" y="278"/>
                  </a:lnTo>
                  <a:lnTo>
                    <a:pt x="473" y="279"/>
                  </a:lnTo>
                  <a:lnTo>
                    <a:pt x="473" y="280"/>
                  </a:lnTo>
                  <a:lnTo>
                    <a:pt x="474" y="282"/>
                  </a:lnTo>
                  <a:lnTo>
                    <a:pt x="474" y="283"/>
                  </a:lnTo>
                  <a:lnTo>
                    <a:pt x="474" y="286"/>
                  </a:lnTo>
                  <a:lnTo>
                    <a:pt x="474" y="288"/>
                  </a:lnTo>
                  <a:lnTo>
                    <a:pt x="474" y="289"/>
                  </a:lnTo>
                  <a:lnTo>
                    <a:pt x="473" y="291"/>
                  </a:lnTo>
                  <a:lnTo>
                    <a:pt x="471" y="299"/>
                  </a:lnTo>
                  <a:lnTo>
                    <a:pt x="471" y="301"/>
                  </a:lnTo>
                  <a:lnTo>
                    <a:pt x="470" y="302"/>
                  </a:lnTo>
                  <a:lnTo>
                    <a:pt x="470" y="303"/>
                  </a:lnTo>
                  <a:lnTo>
                    <a:pt x="469" y="304"/>
                  </a:lnTo>
                  <a:lnTo>
                    <a:pt x="468" y="304"/>
                  </a:lnTo>
                  <a:lnTo>
                    <a:pt x="468" y="305"/>
                  </a:lnTo>
                  <a:lnTo>
                    <a:pt x="467" y="305"/>
                  </a:lnTo>
                  <a:lnTo>
                    <a:pt x="466" y="305"/>
                  </a:lnTo>
                  <a:lnTo>
                    <a:pt x="465" y="305"/>
                  </a:lnTo>
                  <a:lnTo>
                    <a:pt x="464" y="305"/>
                  </a:lnTo>
                  <a:lnTo>
                    <a:pt x="463" y="305"/>
                  </a:lnTo>
                  <a:lnTo>
                    <a:pt x="462" y="304"/>
                  </a:lnTo>
                  <a:lnTo>
                    <a:pt x="461" y="304"/>
                  </a:lnTo>
                  <a:lnTo>
                    <a:pt x="460" y="303"/>
                  </a:lnTo>
                  <a:lnTo>
                    <a:pt x="458" y="302"/>
                  </a:lnTo>
                  <a:lnTo>
                    <a:pt x="456" y="301"/>
                  </a:lnTo>
                  <a:lnTo>
                    <a:pt x="452" y="298"/>
                  </a:lnTo>
                  <a:lnTo>
                    <a:pt x="450" y="297"/>
                  </a:lnTo>
                  <a:lnTo>
                    <a:pt x="450" y="296"/>
                  </a:lnTo>
                  <a:lnTo>
                    <a:pt x="447" y="294"/>
                  </a:lnTo>
                  <a:lnTo>
                    <a:pt x="445" y="293"/>
                  </a:lnTo>
                  <a:lnTo>
                    <a:pt x="443" y="291"/>
                  </a:lnTo>
                  <a:lnTo>
                    <a:pt x="442" y="290"/>
                  </a:lnTo>
                  <a:lnTo>
                    <a:pt x="441" y="290"/>
                  </a:lnTo>
                  <a:lnTo>
                    <a:pt x="440" y="290"/>
                  </a:lnTo>
                  <a:lnTo>
                    <a:pt x="437" y="289"/>
                  </a:lnTo>
                  <a:lnTo>
                    <a:pt x="435" y="288"/>
                  </a:lnTo>
                  <a:lnTo>
                    <a:pt x="434" y="288"/>
                  </a:lnTo>
                  <a:lnTo>
                    <a:pt x="429" y="288"/>
                  </a:lnTo>
                  <a:lnTo>
                    <a:pt x="425" y="287"/>
                  </a:lnTo>
                  <a:lnTo>
                    <a:pt x="423" y="287"/>
                  </a:lnTo>
                  <a:lnTo>
                    <a:pt x="420" y="286"/>
                  </a:lnTo>
                  <a:lnTo>
                    <a:pt x="416" y="285"/>
                  </a:lnTo>
                  <a:lnTo>
                    <a:pt x="415" y="285"/>
                  </a:lnTo>
                  <a:lnTo>
                    <a:pt x="415" y="285"/>
                  </a:lnTo>
                  <a:lnTo>
                    <a:pt x="414" y="285"/>
                  </a:lnTo>
                  <a:lnTo>
                    <a:pt x="413" y="286"/>
                  </a:lnTo>
                  <a:lnTo>
                    <a:pt x="412" y="286"/>
                  </a:lnTo>
                  <a:lnTo>
                    <a:pt x="411" y="287"/>
                  </a:lnTo>
                  <a:lnTo>
                    <a:pt x="410" y="287"/>
                  </a:lnTo>
                  <a:lnTo>
                    <a:pt x="410" y="288"/>
                  </a:lnTo>
                  <a:lnTo>
                    <a:pt x="408" y="290"/>
                  </a:lnTo>
                  <a:lnTo>
                    <a:pt x="405" y="293"/>
                  </a:lnTo>
                  <a:lnTo>
                    <a:pt x="402" y="295"/>
                  </a:lnTo>
                  <a:lnTo>
                    <a:pt x="400" y="297"/>
                  </a:lnTo>
                  <a:lnTo>
                    <a:pt x="399" y="297"/>
                  </a:lnTo>
                  <a:lnTo>
                    <a:pt x="396" y="299"/>
                  </a:lnTo>
                  <a:lnTo>
                    <a:pt x="393" y="301"/>
                  </a:lnTo>
                  <a:lnTo>
                    <a:pt x="391" y="303"/>
                  </a:lnTo>
                  <a:lnTo>
                    <a:pt x="388" y="305"/>
                  </a:lnTo>
                  <a:lnTo>
                    <a:pt x="381" y="309"/>
                  </a:lnTo>
                  <a:lnTo>
                    <a:pt x="380" y="310"/>
                  </a:lnTo>
                  <a:lnTo>
                    <a:pt x="377" y="311"/>
                  </a:lnTo>
                  <a:lnTo>
                    <a:pt x="375" y="312"/>
                  </a:lnTo>
                  <a:lnTo>
                    <a:pt x="374" y="313"/>
                  </a:lnTo>
                  <a:lnTo>
                    <a:pt x="372" y="315"/>
                  </a:lnTo>
                  <a:lnTo>
                    <a:pt x="371" y="315"/>
                  </a:lnTo>
                  <a:lnTo>
                    <a:pt x="366" y="317"/>
                  </a:lnTo>
                  <a:lnTo>
                    <a:pt x="363" y="319"/>
                  </a:lnTo>
                  <a:lnTo>
                    <a:pt x="362" y="319"/>
                  </a:lnTo>
                  <a:lnTo>
                    <a:pt x="361" y="320"/>
                  </a:lnTo>
                  <a:lnTo>
                    <a:pt x="360" y="321"/>
                  </a:lnTo>
                  <a:lnTo>
                    <a:pt x="359" y="321"/>
                  </a:lnTo>
                  <a:lnTo>
                    <a:pt x="359" y="322"/>
                  </a:lnTo>
                  <a:lnTo>
                    <a:pt x="358" y="323"/>
                  </a:lnTo>
                  <a:lnTo>
                    <a:pt x="358" y="324"/>
                  </a:lnTo>
                  <a:lnTo>
                    <a:pt x="358" y="324"/>
                  </a:lnTo>
                  <a:lnTo>
                    <a:pt x="358" y="325"/>
                  </a:lnTo>
                  <a:lnTo>
                    <a:pt x="358" y="330"/>
                  </a:lnTo>
                  <a:lnTo>
                    <a:pt x="358" y="331"/>
                  </a:lnTo>
                  <a:lnTo>
                    <a:pt x="358" y="332"/>
                  </a:lnTo>
                  <a:lnTo>
                    <a:pt x="356" y="339"/>
                  </a:lnTo>
                  <a:lnTo>
                    <a:pt x="356" y="340"/>
                  </a:lnTo>
                  <a:lnTo>
                    <a:pt x="355" y="340"/>
                  </a:lnTo>
                  <a:lnTo>
                    <a:pt x="355" y="342"/>
                  </a:lnTo>
                  <a:lnTo>
                    <a:pt x="353" y="343"/>
                  </a:lnTo>
                  <a:lnTo>
                    <a:pt x="352" y="345"/>
                  </a:lnTo>
                  <a:lnTo>
                    <a:pt x="350" y="347"/>
                  </a:lnTo>
                  <a:lnTo>
                    <a:pt x="348" y="348"/>
                  </a:lnTo>
                  <a:lnTo>
                    <a:pt x="347" y="349"/>
                  </a:lnTo>
                  <a:lnTo>
                    <a:pt x="345" y="350"/>
                  </a:lnTo>
                  <a:lnTo>
                    <a:pt x="343" y="351"/>
                  </a:lnTo>
                  <a:lnTo>
                    <a:pt x="342" y="351"/>
                  </a:lnTo>
                  <a:lnTo>
                    <a:pt x="340" y="351"/>
                  </a:lnTo>
                  <a:lnTo>
                    <a:pt x="339" y="352"/>
                  </a:lnTo>
                  <a:lnTo>
                    <a:pt x="338" y="351"/>
                  </a:lnTo>
                  <a:lnTo>
                    <a:pt x="337" y="351"/>
                  </a:lnTo>
                  <a:lnTo>
                    <a:pt x="336" y="351"/>
                  </a:lnTo>
                  <a:lnTo>
                    <a:pt x="332" y="349"/>
                  </a:lnTo>
                  <a:lnTo>
                    <a:pt x="330" y="349"/>
                  </a:lnTo>
                  <a:lnTo>
                    <a:pt x="329" y="349"/>
                  </a:lnTo>
                  <a:lnTo>
                    <a:pt x="327" y="348"/>
                  </a:lnTo>
                  <a:lnTo>
                    <a:pt x="326" y="348"/>
                  </a:lnTo>
                  <a:lnTo>
                    <a:pt x="325" y="349"/>
                  </a:lnTo>
                  <a:lnTo>
                    <a:pt x="323" y="349"/>
                  </a:lnTo>
                  <a:lnTo>
                    <a:pt x="320" y="349"/>
                  </a:lnTo>
                  <a:lnTo>
                    <a:pt x="318" y="349"/>
                  </a:lnTo>
                  <a:lnTo>
                    <a:pt x="317" y="349"/>
                  </a:lnTo>
                  <a:lnTo>
                    <a:pt x="314" y="349"/>
                  </a:lnTo>
                  <a:lnTo>
                    <a:pt x="313" y="349"/>
                  </a:lnTo>
                  <a:lnTo>
                    <a:pt x="312" y="349"/>
                  </a:lnTo>
                  <a:lnTo>
                    <a:pt x="310" y="349"/>
                  </a:lnTo>
                  <a:lnTo>
                    <a:pt x="309" y="349"/>
                  </a:lnTo>
                  <a:lnTo>
                    <a:pt x="305" y="347"/>
                  </a:lnTo>
                  <a:lnTo>
                    <a:pt x="303" y="346"/>
                  </a:lnTo>
                  <a:lnTo>
                    <a:pt x="297" y="345"/>
                  </a:lnTo>
                  <a:lnTo>
                    <a:pt x="295" y="344"/>
                  </a:lnTo>
                  <a:lnTo>
                    <a:pt x="293" y="343"/>
                  </a:lnTo>
                  <a:lnTo>
                    <a:pt x="291" y="343"/>
                  </a:lnTo>
                  <a:lnTo>
                    <a:pt x="290" y="342"/>
                  </a:lnTo>
                  <a:lnTo>
                    <a:pt x="288" y="342"/>
                  </a:lnTo>
                  <a:lnTo>
                    <a:pt x="287" y="342"/>
                  </a:lnTo>
                  <a:lnTo>
                    <a:pt x="285" y="342"/>
                  </a:lnTo>
                  <a:lnTo>
                    <a:pt x="284" y="342"/>
                  </a:lnTo>
                  <a:lnTo>
                    <a:pt x="283" y="342"/>
                  </a:lnTo>
                  <a:lnTo>
                    <a:pt x="282" y="343"/>
                  </a:lnTo>
                  <a:lnTo>
                    <a:pt x="278" y="344"/>
                  </a:lnTo>
                  <a:lnTo>
                    <a:pt x="276" y="345"/>
                  </a:lnTo>
                  <a:lnTo>
                    <a:pt x="275" y="345"/>
                  </a:lnTo>
                  <a:lnTo>
                    <a:pt x="272" y="345"/>
                  </a:lnTo>
                  <a:lnTo>
                    <a:pt x="271" y="345"/>
                  </a:lnTo>
                  <a:lnTo>
                    <a:pt x="266" y="346"/>
                  </a:lnTo>
                  <a:lnTo>
                    <a:pt x="264" y="346"/>
                  </a:lnTo>
                  <a:lnTo>
                    <a:pt x="263" y="347"/>
                  </a:lnTo>
                  <a:lnTo>
                    <a:pt x="259" y="348"/>
                  </a:lnTo>
                  <a:lnTo>
                    <a:pt x="258" y="349"/>
                  </a:lnTo>
                  <a:lnTo>
                    <a:pt x="256" y="349"/>
                  </a:lnTo>
                  <a:lnTo>
                    <a:pt x="253" y="350"/>
                  </a:lnTo>
                  <a:lnTo>
                    <a:pt x="251" y="351"/>
                  </a:lnTo>
                  <a:lnTo>
                    <a:pt x="250" y="351"/>
                  </a:lnTo>
                  <a:lnTo>
                    <a:pt x="250" y="352"/>
                  </a:lnTo>
                  <a:lnTo>
                    <a:pt x="249" y="352"/>
                  </a:lnTo>
                  <a:lnTo>
                    <a:pt x="248" y="354"/>
                  </a:lnTo>
                  <a:lnTo>
                    <a:pt x="247" y="355"/>
                  </a:lnTo>
                  <a:lnTo>
                    <a:pt x="246" y="356"/>
                  </a:lnTo>
                  <a:lnTo>
                    <a:pt x="245" y="356"/>
                  </a:lnTo>
                  <a:lnTo>
                    <a:pt x="242" y="358"/>
                  </a:lnTo>
                  <a:lnTo>
                    <a:pt x="241" y="359"/>
                  </a:lnTo>
                  <a:lnTo>
                    <a:pt x="240" y="360"/>
                  </a:lnTo>
                  <a:lnTo>
                    <a:pt x="239" y="360"/>
                  </a:lnTo>
                  <a:lnTo>
                    <a:pt x="238" y="361"/>
                  </a:lnTo>
                  <a:lnTo>
                    <a:pt x="237" y="362"/>
                  </a:lnTo>
                  <a:lnTo>
                    <a:pt x="237" y="363"/>
                  </a:lnTo>
                  <a:lnTo>
                    <a:pt x="236" y="365"/>
                  </a:lnTo>
                  <a:lnTo>
                    <a:pt x="236" y="366"/>
                  </a:lnTo>
                  <a:lnTo>
                    <a:pt x="236" y="366"/>
                  </a:lnTo>
                  <a:lnTo>
                    <a:pt x="235" y="366"/>
                  </a:lnTo>
                  <a:lnTo>
                    <a:pt x="235" y="366"/>
                  </a:lnTo>
                  <a:lnTo>
                    <a:pt x="235" y="366"/>
                  </a:lnTo>
                  <a:lnTo>
                    <a:pt x="234" y="366"/>
                  </a:lnTo>
                  <a:lnTo>
                    <a:pt x="234" y="366"/>
                  </a:lnTo>
                  <a:lnTo>
                    <a:pt x="233" y="366"/>
                  </a:lnTo>
                  <a:lnTo>
                    <a:pt x="233" y="366"/>
                  </a:lnTo>
                  <a:lnTo>
                    <a:pt x="232" y="365"/>
                  </a:lnTo>
                  <a:lnTo>
                    <a:pt x="230" y="362"/>
                  </a:lnTo>
                  <a:lnTo>
                    <a:pt x="229" y="361"/>
                  </a:lnTo>
                  <a:lnTo>
                    <a:pt x="228" y="360"/>
                  </a:lnTo>
                  <a:lnTo>
                    <a:pt x="227" y="359"/>
                  </a:lnTo>
                  <a:lnTo>
                    <a:pt x="225" y="358"/>
                  </a:lnTo>
                  <a:lnTo>
                    <a:pt x="224" y="357"/>
                  </a:lnTo>
                  <a:lnTo>
                    <a:pt x="222" y="357"/>
                  </a:lnTo>
                  <a:lnTo>
                    <a:pt x="221" y="356"/>
                  </a:lnTo>
                  <a:lnTo>
                    <a:pt x="220" y="356"/>
                  </a:lnTo>
                  <a:lnTo>
                    <a:pt x="218" y="356"/>
                  </a:lnTo>
                  <a:lnTo>
                    <a:pt x="216" y="356"/>
                  </a:lnTo>
                  <a:lnTo>
                    <a:pt x="215" y="357"/>
                  </a:lnTo>
                  <a:lnTo>
                    <a:pt x="213" y="357"/>
                  </a:lnTo>
                  <a:lnTo>
                    <a:pt x="211" y="358"/>
                  </a:lnTo>
                  <a:lnTo>
                    <a:pt x="209" y="359"/>
                  </a:lnTo>
                  <a:lnTo>
                    <a:pt x="208" y="360"/>
                  </a:lnTo>
                  <a:lnTo>
                    <a:pt x="206" y="362"/>
                  </a:lnTo>
                  <a:lnTo>
                    <a:pt x="205" y="363"/>
                  </a:lnTo>
                  <a:lnTo>
                    <a:pt x="203" y="363"/>
                  </a:lnTo>
                  <a:lnTo>
                    <a:pt x="202" y="364"/>
                  </a:lnTo>
                  <a:lnTo>
                    <a:pt x="201" y="364"/>
                  </a:lnTo>
                  <a:lnTo>
                    <a:pt x="200" y="364"/>
                  </a:lnTo>
                  <a:lnTo>
                    <a:pt x="199" y="364"/>
                  </a:lnTo>
                  <a:lnTo>
                    <a:pt x="198" y="364"/>
                  </a:lnTo>
                  <a:lnTo>
                    <a:pt x="196" y="364"/>
                  </a:lnTo>
                  <a:lnTo>
                    <a:pt x="190" y="362"/>
                  </a:lnTo>
                  <a:lnTo>
                    <a:pt x="184" y="360"/>
                  </a:lnTo>
                  <a:lnTo>
                    <a:pt x="181" y="360"/>
                  </a:lnTo>
                  <a:lnTo>
                    <a:pt x="182" y="359"/>
                  </a:lnTo>
                  <a:lnTo>
                    <a:pt x="182" y="358"/>
                  </a:lnTo>
                  <a:lnTo>
                    <a:pt x="181" y="357"/>
                  </a:lnTo>
                  <a:lnTo>
                    <a:pt x="180" y="356"/>
                  </a:lnTo>
                  <a:lnTo>
                    <a:pt x="180" y="355"/>
                  </a:lnTo>
                  <a:lnTo>
                    <a:pt x="179" y="354"/>
                  </a:lnTo>
                  <a:lnTo>
                    <a:pt x="178" y="352"/>
                  </a:lnTo>
                  <a:lnTo>
                    <a:pt x="176" y="351"/>
                  </a:lnTo>
                  <a:lnTo>
                    <a:pt x="175" y="351"/>
                  </a:lnTo>
                  <a:lnTo>
                    <a:pt x="174" y="349"/>
                  </a:lnTo>
                  <a:lnTo>
                    <a:pt x="171" y="348"/>
                  </a:lnTo>
                  <a:lnTo>
                    <a:pt x="169" y="346"/>
                  </a:lnTo>
                  <a:lnTo>
                    <a:pt x="161" y="342"/>
                  </a:lnTo>
                  <a:lnTo>
                    <a:pt x="159" y="341"/>
                  </a:lnTo>
                  <a:lnTo>
                    <a:pt x="156" y="339"/>
                  </a:lnTo>
                  <a:lnTo>
                    <a:pt x="155" y="338"/>
                  </a:lnTo>
                  <a:lnTo>
                    <a:pt x="154" y="337"/>
                  </a:lnTo>
                  <a:lnTo>
                    <a:pt x="154" y="336"/>
                  </a:lnTo>
                  <a:lnTo>
                    <a:pt x="153" y="336"/>
                  </a:lnTo>
                  <a:lnTo>
                    <a:pt x="153" y="334"/>
                  </a:lnTo>
                  <a:lnTo>
                    <a:pt x="152" y="333"/>
                  </a:lnTo>
                  <a:lnTo>
                    <a:pt x="152" y="333"/>
                  </a:lnTo>
                  <a:lnTo>
                    <a:pt x="152" y="331"/>
                  </a:lnTo>
                  <a:lnTo>
                    <a:pt x="152" y="331"/>
                  </a:lnTo>
                  <a:lnTo>
                    <a:pt x="152" y="330"/>
                  </a:lnTo>
                  <a:lnTo>
                    <a:pt x="153" y="328"/>
                  </a:lnTo>
                  <a:lnTo>
                    <a:pt x="153" y="327"/>
                  </a:lnTo>
                  <a:lnTo>
                    <a:pt x="154" y="326"/>
                  </a:lnTo>
                  <a:lnTo>
                    <a:pt x="156" y="323"/>
                  </a:lnTo>
                  <a:lnTo>
                    <a:pt x="156" y="321"/>
                  </a:lnTo>
                  <a:lnTo>
                    <a:pt x="157" y="320"/>
                  </a:lnTo>
                  <a:lnTo>
                    <a:pt x="157" y="319"/>
                  </a:lnTo>
                  <a:lnTo>
                    <a:pt x="157" y="317"/>
                  </a:lnTo>
                  <a:lnTo>
                    <a:pt x="157" y="316"/>
                  </a:lnTo>
                  <a:lnTo>
                    <a:pt x="157" y="315"/>
                  </a:lnTo>
                  <a:lnTo>
                    <a:pt x="157" y="314"/>
                  </a:lnTo>
                  <a:lnTo>
                    <a:pt x="157" y="314"/>
                  </a:lnTo>
                  <a:lnTo>
                    <a:pt x="157" y="313"/>
                  </a:lnTo>
                  <a:lnTo>
                    <a:pt x="156" y="312"/>
                  </a:lnTo>
                  <a:lnTo>
                    <a:pt x="156" y="311"/>
                  </a:lnTo>
                  <a:lnTo>
                    <a:pt x="155" y="310"/>
                  </a:lnTo>
                  <a:lnTo>
                    <a:pt x="154" y="309"/>
                  </a:lnTo>
                  <a:lnTo>
                    <a:pt x="152" y="307"/>
                  </a:lnTo>
                  <a:lnTo>
                    <a:pt x="150" y="305"/>
                  </a:lnTo>
                  <a:lnTo>
                    <a:pt x="148" y="304"/>
                  </a:lnTo>
                  <a:lnTo>
                    <a:pt x="147" y="304"/>
                  </a:lnTo>
                  <a:lnTo>
                    <a:pt x="147" y="304"/>
                  </a:lnTo>
                  <a:lnTo>
                    <a:pt x="145" y="303"/>
                  </a:lnTo>
                  <a:lnTo>
                    <a:pt x="144" y="303"/>
                  </a:lnTo>
                  <a:lnTo>
                    <a:pt x="142" y="303"/>
                  </a:lnTo>
                  <a:lnTo>
                    <a:pt x="139" y="303"/>
                  </a:lnTo>
                  <a:lnTo>
                    <a:pt x="137" y="303"/>
                  </a:lnTo>
                  <a:lnTo>
                    <a:pt x="136" y="302"/>
                  </a:lnTo>
                  <a:lnTo>
                    <a:pt x="135" y="302"/>
                  </a:lnTo>
                  <a:lnTo>
                    <a:pt x="135" y="301"/>
                  </a:lnTo>
                  <a:lnTo>
                    <a:pt x="134" y="301"/>
                  </a:lnTo>
                  <a:lnTo>
                    <a:pt x="134" y="300"/>
                  </a:lnTo>
                  <a:lnTo>
                    <a:pt x="132" y="298"/>
                  </a:lnTo>
                  <a:lnTo>
                    <a:pt x="132" y="297"/>
                  </a:lnTo>
                  <a:lnTo>
                    <a:pt x="131" y="297"/>
                  </a:lnTo>
                  <a:lnTo>
                    <a:pt x="130" y="296"/>
                  </a:lnTo>
                  <a:lnTo>
                    <a:pt x="127" y="294"/>
                  </a:lnTo>
                  <a:lnTo>
                    <a:pt x="123" y="291"/>
                  </a:lnTo>
                  <a:lnTo>
                    <a:pt x="121" y="290"/>
                  </a:lnTo>
                  <a:lnTo>
                    <a:pt x="119" y="288"/>
                  </a:lnTo>
                  <a:lnTo>
                    <a:pt x="118" y="288"/>
                  </a:lnTo>
                  <a:lnTo>
                    <a:pt x="117" y="287"/>
                  </a:lnTo>
                  <a:lnTo>
                    <a:pt x="115" y="286"/>
                  </a:lnTo>
                  <a:lnTo>
                    <a:pt x="113" y="285"/>
                  </a:lnTo>
                  <a:lnTo>
                    <a:pt x="112" y="284"/>
                  </a:lnTo>
                  <a:lnTo>
                    <a:pt x="108" y="282"/>
                  </a:lnTo>
                  <a:lnTo>
                    <a:pt x="107" y="281"/>
                  </a:lnTo>
                  <a:lnTo>
                    <a:pt x="104" y="279"/>
                  </a:lnTo>
                  <a:lnTo>
                    <a:pt x="99" y="274"/>
                  </a:lnTo>
                  <a:lnTo>
                    <a:pt x="98" y="273"/>
                  </a:lnTo>
                  <a:lnTo>
                    <a:pt x="97" y="272"/>
                  </a:lnTo>
                  <a:lnTo>
                    <a:pt x="96" y="272"/>
                  </a:lnTo>
                  <a:lnTo>
                    <a:pt x="95" y="271"/>
                  </a:lnTo>
                  <a:lnTo>
                    <a:pt x="92" y="270"/>
                  </a:lnTo>
                  <a:lnTo>
                    <a:pt x="91" y="270"/>
                  </a:lnTo>
                  <a:lnTo>
                    <a:pt x="91" y="269"/>
                  </a:lnTo>
                  <a:lnTo>
                    <a:pt x="90" y="268"/>
                  </a:lnTo>
                  <a:lnTo>
                    <a:pt x="88" y="267"/>
                  </a:lnTo>
                  <a:lnTo>
                    <a:pt x="87" y="265"/>
                  </a:lnTo>
                  <a:lnTo>
                    <a:pt x="85" y="263"/>
                  </a:lnTo>
                  <a:lnTo>
                    <a:pt x="84" y="262"/>
                  </a:lnTo>
                  <a:lnTo>
                    <a:pt x="83" y="261"/>
                  </a:lnTo>
                  <a:lnTo>
                    <a:pt x="82" y="260"/>
                  </a:lnTo>
                  <a:lnTo>
                    <a:pt x="80" y="259"/>
                  </a:lnTo>
                  <a:lnTo>
                    <a:pt x="78" y="258"/>
                  </a:lnTo>
                  <a:lnTo>
                    <a:pt x="76" y="257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5" y="247"/>
                  </a:lnTo>
                  <a:lnTo>
                    <a:pt x="65" y="245"/>
                  </a:lnTo>
                  <a:lnTo>
                    <a:pt x="65" y="244"/>
                  </a:lnTo>
                  <a:lnTo>
                    <a:pt x="65" y="243"/>
                  </a:lnTo>
                  <a:lnTo>
                    <a:pt x="64" y="242"/>
                  </a:lnTo>
                  <a:lnTo>
                    <a:pt x="63" y="240"/>
                  </a:lnTo>
                  <a:lnTo>
                    <a:pt x="62" y="238"/>
                  </a:lnTo>
                  <a:lnTo>
                    <a:pt x="60" y="235"/>
                  </a:lnTo>
                  <a:lnTo>
                    <a:pt x="59" y="234"/>
                  </a:lnTo>
                  <a:lnTo>
                    <a:pt x="58" y="233"/>
                  </a:lnTo>
                  <a:lnTo>
                    <a:pt x="57" y="232"/>
                  </a:lnTo>
                  <a:lnTo>
                    <a:pt x="56" y="231"/>
                  </a:lnTo>
                  <a:lnTo>
                    <a:pt x="55" y="231"/>
                  </a:lnTo>
                  <a:lnTo>
                    <a:pt x="52" y="230"/>
                  </a:lnTo>
                  <a:lnTo>
                    <a:pt x="51" y="229"/>
                  </a:lnTo>
                  <a:lnTo>
                    <a:pt x="50" y="228"/>
                  </a:lnTo>
                  <a:lnTo>
                    <a:pt x="48" y="227"/>
                  </a:lnTo>
                  <a:lnTo>
                    <a:pt x="45" y="225"/>
                  </a:lnTo>
                  <a:lnTo>
                    <a:pt x="44" y="224"/>
                  </a:lnTo>
                  <a:lnTo>
                    <a:pt x="43" y="223"/>
                  </a:lnTo>
                  <a:lnTo>
                    <a:pt x="43" y="223"/>
                  </a:lnTo>
                  <a:lnTo>
                    <a:pt x="42" y="222"/>
                  </a:lnTo>
                  <a:lnTo>
                    <a:pt x="41" y="221"/>
                  </a:lnTo>
                  <a:lnTo>
                    <a:pt x="40" y="219"/>
                  </a:lnTo>
                  <a:lnTo>
                    <a:pt x="40" y="218"/>
                  </a:lnTo>
                  <a:lnTo>
                    <a:pt x="39" y="216"/>
                  </a:lnTo>
                  <a:lnTo>
                    <a:pt x="39" y="214"/>
                  </a:lnTo>
                  <a:lnTo>
                    <a:pt x="38" y="212"/>
                  </a:lnTo>
                  <a:lnTo>
                    <a:pt x="38" y="210"/>
                  </a:lnTo>
                  <a:lnTo>
                    <a:pt x="38" y="207"/>
                  </a:lnTo>
                  <a:lnTo>
                    <a:pt x="38" y="205"/>
                  </a:lnTo>
                  <a:lnTo>
                    <a:pt x="38" y="202"/>
                  </a:lnTo>
                  <a:lnTo>
                    <a:pt x="39" y="201"/>
                  </a:lnTo>
                  <a:lnTo>
                    <a:pt x="39" y="200"/>
                  </a:lnTo>
                  <a:lnTo>
                    <a:pt x="41" y="193"/>
                  </a:lnTo>
                  <a:lnTo>
                    <a:pt x="42" y="188"/>
                  </a:lnTo>
                  <a:lnTo>
                    <a:pt x="43" y="187"/>
                  </a:lnTo>
                  <a:lnTo>
                    <a:pt x="43" y="185"/>
                  </a:lnTo>
                  <a:lnTo>
                    <a:pt x="43" y="184"/>
                  </a:lnTo>
                  <a:lnTo>
                    <a:pt x="43" y="182"/>
                  </a:lnTo>
                  <a:lnTo>
                    <a:pt x="43" y="180"/>
                  </a:lnTo>
                  <a:lnTo>
                    <a:pt x="43" y="178"/>
                  </a:lnTo>
                  <a:lnTo>
                    <a:pt x="42" y="176"/>
                  </a:lnTo>
                  <a:lnTo>
                    <a:pt x="41" y="173"/>
                  </a:lnTo>
                  <a:lnTo>
                    <a:pt x="41" y="171"/>
                  </a:lnTo>
                  <a:lnTo>
                    <a:pt x="40" y="170"/>
                  </a:lnTo>
                  <a:lnTo>
                    <a:pt x="38" y="166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6" y="162"/>
                  </a:lnTo>
                  <a:lnTo>
                    <a:pt x="35" y="160"/>
                  </a:lnTo>
                  <a:lnTo>
                    <a:pt x="33" y="158"/>
                  </a:lnTo>
                  <a:lnTo>
                    <a:pt x="31" y="156"/>
                  </a:lnTo>
                  <a:lnTo>
                    <a:pt x="30" y="154"/>
                  </a:lnTo>
                  <a:lnTo>
                    <a:pt x="27" y="152"/>
                  </a:lnTo>
                  <a:lnTo>
                    <a:pt x="26" y="151"/>
                  </a:lnTo>
                  <a:lnTo>
                    <a:pt x="26" y="150"/>
                  </a:lnTo>
                  <a:lnTo>
                    <a:pt x="24" y="146"/>
                  </a:lnTo>
                  <a:lnTo>
                    <a:pt x="23" y="145"/>
                  </a:lnTo>
                  <a:lnTo>
                    <a:pt x="21" y="143"/>
                  </a:lnTo>
                  <a:lnTo>
                    <a:pt x="19" y="141"/>
                  </a:lnTo>
                  <a:lnTo>
                    <a:pt x="19" y="140"/>
                  </a:lnTo>
                  <a:lnTo>
                    <a:pt x="18" y="140"/>
                  </a:lnTo>
                  <a:lnTo>
                    <a:pt x="16" y="139"/>
                  </a:lnTo>
                  <a:lnTo>
                    <a:pt x="13" y="138"/>
                  </a:lnTo>
                  <a:lnTo>
                    <a:pt x="11" y="138"/>
                  </a:lnTo>
                  <a:lnTo>
                    <a:pt x="10" y="137"/>
                  </a:lnTo>
                  <a:lnTo>
                    <a:pt x="9" y="136"/>
                  </a:lnTo>
                  <a:lnTo>
                    <a:pt x="7" y="136"/>
                  </a:lnTo>
                  <a:lnTo>
                    <a:pt x="6" y="135"/>
                  </a:lnTo>
                  <a:lnTo>
                    <a:pt x="5" y="134"/>
                  </a:lnTo>
                  <a:lnTo>
                    <a:pt x="4" y="133"/>
                  </a:lnTo>
                  <a:lnTo>
                    <a:pt x="3" y="132"/>
                  </a:lnTo>
                  <a:lnTo>
                    <a:pt x="2" y="131"/>
                  </a:lnTo>
                  <a:lnTo>
                    <a:pt x="1" y="130"/>
                  </a:lnTo>
                  <a:lnTo>
                    <a:pt x="1" y="129"/>
                  </a:lnTo>
                  <a:lnTo>
                    <a:pt x="0" y="128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0" y="126"/>
                  </a:lnTo>
                  <a:lnTo>
                    <a:pt x="0" y="125"/>
                  </a:lnTo>
                  <a:lnTo>
                    <a:pt x="0" y="124"/>
                  </a:lnTo>
                  <a:lnTo>
                    <a:pt x="0" y="123"/>
                  </a:lnTo>
                  <a:lnTo>
                    <a:pt x="1" y="122"/>
                  </a:lnTo>
                  <a:lnTo>
                    <a:pt x="1" y="121"/>
                  </a:lnTo>
                  <a:lnTo>
                    <a:pt x="2" y="121"/>
                  </a:lnTo>
                  <a:lnTo>
                    <a:pt x="3" y="119"/>
                  </a:lnTo>
                  <a:lnTo>
                    <a:pt x="4" y="118"/>
                  </a:lnTo>
                  <a:lnTo>
                    <a:pt x="6" y="117"/>
                  </a:lnTo>
                  <a:lnTo>
                    <a:pt x="8" y="115"/>
                  </a:lnTo>
                  <a:lnTo>
                    <a:pt x="9" y="114"/>
                  </a:lnTo>
                  <a:lnTo>
                    <a:pt x="10" y="113"/>
                  </a:lnTo>
                  <a:lnTo>
                    <a:pt x="11" y="112"/>
                  </a:lnTo>
                  <a:lnTo>
                    <a:pt x="12" y="111"/>
                  </a:lnTo>
                  <a:lnTo>
                    <a:pt x="13" y="110"/>
                  </a:lnTo>
                  <a:lnTo>
                    <a:pt x="13" y="109"/>
                  </a:lnTo>
                  <a:lnTo>
                    <a:pt x="13" y="108"/>
                  </a:lnTo>
                  <a:lnTo>
                    <a:pt x="13" y="107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3" y="105"/>
                  </a:lnTo>
                  <a:lnTo>
                    <a:pt x="13" y="103"/>
                  </a:lnTo>
                  <a:lnTo>
                    <a:pt x="12" y="100"/>
                  </a:lnTo>
                  <a:lnTo>
                    <a:pt x="11" y="98"/>
                  </a:lnTo>
                  <a:lnTo>
                    <a:pt x="11" y="96"/>
                  </a:lnTo>
                  <a:lnTo>
                    <a:pt x="10" y="92"/>
                  </a:lnTo>
                  <a:lnTo>
                    <a:pt x="10" y="91"/>
                  </a:lnTo>
                  <a:lnTo>
                    <a:pt x="9" y="89"/>
                  </a:lnTo>
                  <a:lnTo>
                    <a:pt x="8" y="88"/>
                  </a:lnTo>
                  <a:lnTo>
                    <a:pt x="8" y="87"/>
                  </a:lnTo>
                  <a:lnTo>
                    <a:pt x="6" y="85"/>
                  </a:lnTo>
                  <a:lnTo>
                    <a:pt x="6" y="84"/>
                  </a:lnTo>
                  <a:lnTo>
                    <a:pt x="5" y="84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6" y="83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9" y="82"/>
                  </a:lnTo>
                  <a:lnTo>
                    <a:pt x="11" y="82"/>
                  </a:lnTo>
                  <a:lnTo>
                    <a:pt x="12" y="82"/>
                  </a:lnTo>
                  <a:lnTo>
                    <a:pt x="17" y="81"/>
                  </a:lnTo>
                  <a:lnTo>
                    <a:pt x="20" y="81"/>
                  </a:lnTo>
                  <a:lnTo>
                    <a:pt x="23" y="81"/>
                  </a:lnTo>
                  <a:lnTo>
                    <a:pt x="26" y="81"/>
                  </a:lnTo>
                  <a:lnTo>
                    <a:pt x="28" y="81"/>
                  </a:lnTo>
                  <a:lnTo>
                    <a:pt x="30" y="82"/>
                  </a:lnTo>
                  <a:lnTo>
                    <a:pt x="31" y="82"/>
                  </a:lnTo>
                  <a:lnTo>
                    <a:pt x="33" y="83"/>
                  </a:lnTo>
                  <a:lnTo>
                    <a:pt x="34" y="83"/>
                  </a:lnTo>
                  <a:lnTo>
                    <a:pt x="35" y="84"/>
                  </a:lnTo>
                  <a:lnTo>
                    <a:pt x="36" y="85"/>
                  </a:lnTo>
                  <a:lnTo>
                    <a:pt x="37" y="86"/>
                  </a:lnTo>
                  <a:lnTo>
                    <a:pt x="38" y="87"/>
                  </a:lnTo>
                  <a:lnTo>
                    <a:pt x="39" y="89"/>
                  </a:lnTo>
                  <a:lnTo>
                    <a:pt x="40" y="91"/>
                  </a:lnTo>
                  <a:lnTo>
                    <a:pt x="41" y="92"/>
                  </a:lnTo>
                  <a:lnTo>
                    <a:pt x="41" y="93"/>
                  </a:lnTo>
                  <a:lnTo>
                    <a:pt x="42" y="94"/>
                  </a:lnTo>
                  <a:lnTo>
                    <a:pt x="42" y="99"/>
                  </a:lnTo>
                  <a:lnTo>
                    <a:pt x="43" y="101"/>
                  </a:lnTo>
                  <a:lnTo>
                    <a:pt x="44" y="106"/>
                  </a:lnTo>
                  <a:lnTo>
                    <a:pt x="45" y="107"/>
                  </a:lnTo>
                  <a:lnTo>
                    <a:pt x="45" y="109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7" y="112"/>
                  </a:lnTo>
                  <a:lnTo>
                    <a:pt x="48" y="113"/>
                  </a:lnTo>
                  <a:lnTo>
                    <a:pt x="49" y="113"/>
                  </a:lnTo>
                  <a:lnTo>
                    <a:pt x="51" y="114"/>
                  </a:lnTo>
                  <a:lnTo>
                    <a:pt x="52" y="115"/>
                  </a:lnTo>
                  <a:lnTo>
                    <a:pt x="53" y="115"/>
                  </a:lnTo>
                  <a:lnTo>
                    <a:pt x="60" y="118"/>
                  </a:lnTo>
                  <a:lnTo>
                    <a:pt x="61" y="118"/>
                  </a:lnTo>
                  <a:lnTo>
                    <a:pt x="62" y="119"/>
                  </a:lnTo>
                  <a:lnTo>
                    <a:pt x="64" y="119"/>
                  </a:lnTo>
                  <a:lnTo>
                    <a:pt x="64" y="120"/>
                  </a:lnTo>
                  <a:lnTo>
                    <a:pt x="65" y="121"/>
                  </a:lnTo>
                  <a:lnTo>
                    <a:pt x="66" y="122"/>
                  </a:lnTo>
                  <a:lnTo>
                    <a:pt x="66" y="123"/>
                  </a:lnTo>
                  <a:lnTo>
                    <a:pt x="66" y="124"/>
                  </a:lnTo>
                  <a:lnTo>
                    <a:pt x="66" y="125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7"/>
                  </a:lnTo>
                  <a:lnTo>
                    <a:pt x="65" y="127"/>
                  </a:lnTo>
                  <a:lnTo>
                    <a:pt x="64" y="128"/>
                  </a:lnTo>
                  <a:lnTo>
                    <a:pt x="63" y="128"/>
                  </a:lnTo>
                  <a:lnTo>
                    <a:pt x="63" y="129"/>
                  </a:lnTo>
                  <a:lnTo>
                    <a:pt x="63" y="130"/>
                  </a:lnTo>
                  <a:lnTo>
                    <a:pt x="62" y="130"/>
                  </a:lnTo>
                  <a:lnTo>
                    <a:pt x="62" y="131"/>
                  </a:lnTo>
                  <a:lnTo>
                    <a:pt x="62" y="132"/>
                  </a:lnTo>
                  <a:lnTo>
                    <a:pt x="63" y="133"/>
                  </a:lnTo>
                  <a:lnTo>
                    <a:pt x="63" y="134"/>
                  </a:lnTo>
                  <a:lnTo>
                    <a:pt x="64" y="136"/>
                  </a:lnTo>
                  <a:lnTo>
                    <a:pt x="65" y="137"/>
                  </a:lnTo>
                  <a:lnTo>
                    <a:pt x="67" y="138"/>
                  </a:lnTo>
                  <a:lnTo>
                    <a:pt x="68" y="140"/>
                  </a:lnTo>
                  <a:lnTo>
                    <a:pt x="72" y="143"/>
                  </a:lnTo>
                  <a:lnTo>
                    <a:pt x="73" y="144"/>
                  </a:lnTo>
                  <a:lnTo>
                    <a:pt x="74" y="145"/>
                  </a:lnTo>
                  <a:lnTo>
                    <a:pt x="75" y="146"/>
                  </a:lnTo>
                  <a:lnTo>
                    <a:pt x="76" y="149"/>
                  </a:lnTo>
                  <a:lnTo>
                    <a:pt x="77" y="150"/>
                  </a:lnTo>
                  <a:lnTo>
                    <a:pt x="77" y="150"/>
                  </a:lnTo>
                  <a:lnTo>
                    <a:pt x="77" y="151"/>
                  </a:lnTo>
                  <a:lnTo>
                    <a:pt x="77" y="152"/>
                  </a:lnTo>
                  <a:lnTo>
                    <a:pt x="76" y="155"/>
                  </a:lnTo>
                  <a:lnTo>
                    <a:pt x="76" y="159"/>
                  </a:lnTo>
                  <a:lnTo>
                    <a:pt x="76" y="161"/>
                  </a:lnTo>
                  <a:lnTo>
                    <a:pt x="75" y="164"/>
                  </a:lnTo>
                  <a:lnTo>
                    <a:pt x="75" y="165"/>
                  </a:lnTo>
                  <a:lnTo>
                    <a:pt x="75" y="166"/>
                  </a:lnTo>
                  <a:lnTo>
                    <a:pt x="75" y="167"/>
                  </a:lnTo>
                  <a:lnTo>
                    <a:pt x="75" y="167"/>
                  </a:lnTo>
                  <a:lnTo>
                    <a:pt x="76" y="169"/>
                  </a:lnTo>
                  <a:lnTo>
                    <a:pt x="76" y="171"/>
                  </a:lnTo>
                  <a:lnTo>
                    <a:pt x="77" y="173"/>
                  </a:lnTo>
                  <a:lnTo>
                    <a:pt x="79" y="175"/>
                  </a:lnTo>
                  <a:lnTo>
                    <a:pt x="80" y="177"/>
                  </a:lnTo>
                  <a:lnTo>
                    <a:pt x="81" y="177"/>
                  </a:lnTo>
                  <a:lnTo>
                    <a:pt x="81" y="178"/>
                  </a:lnTo>
                  <a:lnTo>
                    <a:pt x="82" y="178"/>
                  </a:lnTo>
                  <a:lnTo>
                    <a:pt x="83" y="179"/>
                  </a:lnTo>
                  <a:lnTo>
                    <a:pt x="84" y="179"/>
                  </a:lnTo>
                  <a:lnTo>
                    <a:pt x="85" y="180"/>
                  </a:lnTo>
                  <a:lnTo>
                    <a:pt x="87" y="180"/>
                  </a:lnTo>
                  <a:lnTo>
                    <a:pt x="88" y="181"/>
                  </a:lnTo>
                  <a:lnTo>
                    <a:pt x="89" y="181"/>
                  </a:lnTo>
                  <a:lnTo>
                    <a:pt x="90" y="181"/>
                  </a:lnTo>
                  <a:lnTo>
                    <a:pt x="91" y="181"/>
                  </a:lnTo>
                  <a:lnTo>
                    <a:pt x="92" y="181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4" y="179"/>
                  </a:lnTo>
                  <a:lnTo>
                    <a:pt x="94" y="178"/>
                  </a:lnTo>
                  <a:lnTo>
                    <a:pt x="95" y="175"/>
                  </a:lnTo>
                  <a:lnTo>
                    <a:pt x="95" y="172"/>
                  </a:lnTo>
                  <a:lnTo>
                    <a:pt x="96" y="170"/>
                  </a:lnTo>
                  <a:lnTo>
                    <a:pt x="96" y="169"/>
                  </a:lnTo>
                  <a:lnTo>
                    <a:pt x="96" y="167"/>
                  </a:lnTo>
                  <a:lnTo>
                    <a:pt x="95" y="165"/>
                  </a:lnTo>
                  <a:lnTo>
                    <a:pt x="95" y="162"/>
                  </a:lnTo>
                  <a:lnTo>
                    <a:pt x="95" y="161"/>
                  </a:lnTo>
                  <a:lnTo>
                    <a:pt x="95" y="159"/>
                  </a:lnTo>
                  <a:lnTo>
                    <a:pt x="95" y="157"/>
                  </a:lnTo>
                  <a:lnTo>
                    <a:pt x="95" y="154"/>
                  </a:lnTo>
                  <a:lnTo>
                    <a:pt x="96" y="150"/>
                  </a:lnTo>
                  <a:lnTo>
                    <a:pt x="96" y="146"/>
                  </a:lnTo>
                  <a:lnTo>
                    <a:pt x="97" y="144"/>
                  </a:lnTo>
                  <a:lnTo>
                    <a:pt x="97" y="142"/>
                  </a:lnTo>
                  <a:lnTo>
                    <a:pt x="97" y="141"/>
                  </a:lnTo>
                  <a:lnTo>
                    <a:pt x="98" y="140"/>
                  </a:lnTo>
                  <a:lnTo>
                    <a:pt x="98" y="140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100" y="138"/>
                  </a:lnTo>
                  <a:lnTo>
                    <a:pt x="102" y="138"/>
                  </a:lnTo>
                  <a:lnTo>
                    <a:pt x="103" y="137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5" y="136"/>
                  </a:lnTo>
                  <a:lnTo>
                    <a:pt x="105" y="135"/>
                  </a:lnTo>
                  <a:lnTo>
                    <a:pt x="105" y="134"/>
                  </a:lnTo>
                  <a:lnTo>
                    <a:pt x="106" y="133"/>
                  </a:lnTo>
                  <a:lnTo>
                    <a:pt x="106" y="132"/>
                  </a:lnTo>
                  <a:lnTo>
                    <a:pt x="106" y="129"/>
                  </a:lnTo>
                  <a:lnTo>
                    <a:pt x="106" y="128"/>
                  </a:lnTo>
                  <a:lnTo>
                    <a:pt x="107" y="126"/>
                  </a:lnTo>
                  <a:lnTo>
                    <a:pt x="107" y="124"/>
                  </a:lnTo>
                  <a:lnTo>
                    <a:pt x="108" y="122"/>
                  </a:lnTo>
                  <a:lnTo>
                    <a:pt x="109" y="120"/>
                  </a:lnTo>
                  <a:lnTo>
                    <a:pt x="110" y="117"/>
                  </a:lnTo>
                  <a:lnTo>
                    <a:pt x="111" y="115"/>
                  </a:lnTo>
                  <a:lnTo>
                    <a:pt x="112" y="114"/>
                  </a:lnTo>
                  <a:lnTo>
                    <a:pt x="113" y="113"/>
                  </a:lnTo>
                  <a:lnTo>
                    <a:pt x="115" y="110"/>
                  </a:lnTo>
                  <a:lnTo>
                    <a:pt x="117" y="108"/>
                  </a:lnTo>
                  <a:lnTo>
                    <a:pt x="121" y="104"/>
                  </a:lnTo>
                  <a:lnTo>
                    <a:pt x="123" y="103"/>
                  </a:lnTo>
                  <a:lnTo>
                    <a:pt x="124" y="102"/>
                  </a:lnTo>
                  <a:lnTo>
                    <a:pt x="125" y="100"/>
                  </a:lnTo>
                  <a:lnTo>
                    <a:pt x="126" y="98"/>
                  </a:lnTo>
                  <a:lnTo>
                    <a:pt x="126" y="96"/>
                  </a:lnTo>
                  <a:lnTo>
                    <a:pt x="128" y="92"/>
                  </a:lnTo>
                  <a:lnTo>
                    <a:pt x="129" y="90"/>
                  </a:lnTo>
                  <a:lnTo>
                    <a:pt x="129" y="89"/>
                  </a:lnTo>
                  <a:lnTo>
                    <a:pt x="130" y="88"/>
                  </a:lnTo>
                  <a:lnTo>
                    <a:pt x="130" y="87"/>
                  </a:lnTo>
                  <a:lnTo>
                    <a:pt x="131" y="86"/>
                  </a:lnTo>
                  <a:lnTo>
                    <a:pt x="132" y="86"/>
                  </a:lnTo>
                  <a:lnTo>
                    <a:pt x="133" y="85"/>
                  </a:lnTo>
                  <a:lnTo>
                    <a:pt x="134" y="84"/>
                  </a:lnTo>
                  <a:lnTo>
                    <a:pt x="138" y="82"/>
                  </a:lnTo>
                  <a:lnTo>
                    <a:pt x="139" y="81"/>
                  </a:lnTo>
                  <a:lnTo>
                    <a:pt x="140" y="81"/>
                  </a:lnTo>
                  <a:lnTo>
                    <a:pt x="141" y="80"/>
                  </a:lnTo>
                  <a:lnTo>
                    <a:pt x="142" y="79"/>
                  </a:lnTo>
                  <a:lnTo>
                    <a:pt x="145" y="75"/>
                  </a:lnTo>
                  <a:lnTo>
                    <a:pt x="147" y="74"/>
                  </a:lnTo>
                  <a:lnTo>
                    <a:pt x="149" y="72"/>
                  </a:lnTo>
                  <a:lnTo>
                    <a:pt x="151" y="71"/>
                  </a:lnTo>
                  <a:lnTo>
                    <a:pt x="153" y="69"/>
                  </a:lnTo>
                  <a:lnTo>
                    <a:pt x="155" y="68"/>
                  </a:lnTo>
                  <a:lnTo>
                    <a:pt x="157" y="67"/>
                  </a:lnTo>
                  <a:lnTo>
                    <a:pt x="160" y="67"/>
                  </a:lnTo>
                  <a:lnTo>
                    <a:pt x="161" y="66"/>
                  </a:lnTo>
                  <a:lnTo>
                    <a:pt x="162" y="66"/>
                  </a:lnTo>
                  <a:lnTo>
                    <a:pt x="162" y="65"/>
                  </a:lnTo>
                  <a:lnTo>
                    <a:pt x="163" y="64"/>
                  </a:lnTo>
                  <a:lnTo>
                    <a:pt x="163" y="64"/>
                  </a:lnTo>
                  <a:lnTo>
                    <a:pt x="164" y="63"/>
                  </a:lnTo>
                  <a:lnTo>
                    <a:pt x="164" y="62"/>
                  </a:lnTo>
                  <a:lnTo>
                    <a:pt x="165" y="60"/>
                  </a:lnTo>
                  <a:lnTo>
                    <a:pt x="166" y="56"/>
                  </a:lnTo>
                  <a:lnTo>
                    <a:pt x="167" y="54"/>
                  </a:lnTo>
                  <a:lnTo>
                    <a:pt x="167" y="53"/>
                  </a:lnTo>
                  <a:lnTo>
                    <a:pt x="168" y="50"/>
                  </a:lnTo>
                  <a:lnTo>
                    <a:pt x="170" y="48"/>
                  </a:lnTo>
                  <a:lnTo>
                    <a:pt x="172" y="45"/>
                  </a:lnTo>
                  <a:lnTo>
                    <a:pt x="173" y="44"/>
                  </a:lnTo>
                  <a:lnTo>
                    <a:pt x="174" y="43"/>
                  </a:lnTo>
                  <a:lnTo>
                    <a:pt x="175" y="42"/>
                  </a:lnTo>
                  <a:lnTo>
                    <a:pt x="176" y="41"/>
                  </a:lnTo>
                  <a:lnTo>
                    <a:pt x="178" y="40"/>
                  </a:lnTo>
                  <a:lnTo>
                    <a:pt x="178" y="39"/>
                  </a:lnTo>
                  <a:lnTo>
                    <a:pt x="179" y="39"/>
                  </a:lnTo>
                  <a:lnTo>
                    <a:pt x="182" y="38"/>
                  </a:lnTo>
                  <a:lnTo>
                    <a:pt x="185" y="37"/>
                  </a:lnTo>
                  <a:lnTo>
                    <a:pt x="189" y="36"/>
                  </a:lnTo>
                  <a:lnTo>
                    <a:pt x="195" y="35"/>
                  </a:lnTo>
                  <a:lnTo>
                    <a:pt x="198" y="34"/>
                  </a:lnTo>
                  <a:lnTo>
                    <a:pt x="205" y="32"/>
                  </a:lnTo>
                  <a:lnTo>
                    <a:pt x="213" y="31"/>
                  </a:lnTo>
                  <a:lnTo>
                    <a:pt x="218" y="29"/>
                  </a:lnTo>
                  <a:lnTo>
                    <a:pt x="220" y="29"/>
                  </a:lnTo>
                  <a:lnTo>
                    <a:pt x="221" y="29"/>
                  </a:lnTo>
                  <a:lnTo>
                    <a:pt x="223" y="28"/>
                  </a:lnTo>
                  <a:lnTo>
                    <a:pt x="225" y="28"/>
                  </a:lnTo>
                  <a:lnTo>
                    <a:pt x="228" y="28"/>
                  </a:lnTo>
                  <a:lnTo>
                    <a:pt x="233" y="29"/>
                  </a:lnTo>
                  <a:lnTo>
                    <a:pt x="240" y="29"/>
                  </a:lnTo>
                  <a:lnTo>
                    <a:pt x="242" y="30"/>
                  </a:lnTo>
                  <a:lnTo>
                    <a:pt x="244" y="30"/>
                  </a:lnTo>
                  <a:lnTo>
                    <a:pt x="245" y="31"/>
                  </a:lnTo>
                  <a:lnTo>
                    <a:pt x="247" y="31"/>
                  </a:lnTo>
                  <a:lnTo>
                    <a:pt x="251" y="33"/>
                  </a:lnTo>
                  <a:lnTo>
                    <a:pt x="253" y="34"/>
                  </a:lnTo>
                  <a:lnTo>
                    <a:pt x="254" y="34"/>
                  </a:lnTo>
                  <a:lnTo>
                    <a:pt x="255" y="35"/>
                  </a:lnTo>
                  <a:lnTo>
                    <a:pt x="255" y="35"/>
                  </a:lnTo>
                  <a:lnTo>
                    <a:pt x="256" y="34"/>
                  </a:lnTo>
                  <a:lnTo>
                    <a:pt x="257" y="34"/>
                  </a:lnTo>
                  <a:lnTo>
                    <a:pt x="258" y="34"/>
                  </a:lnTo>
                  <a:lnTo>
                    <a:pt x="258" y="33"/>
                  </a:lnTo>
                  <a:lnTo>
                    <a:pt x="259" y="33"/>
                  </a:lnTo>
                  <a:lnTo>
                    <a:pt x="269" y="21"/>
                  </a:lnTo>
                  <a:lnTo>
                    <a:pt x="270" y="20"/>
                  </a:lnTo>
                  <a:lnTo>
                    <a:pt x="272" y="19"/>
                  </a:lnTo>
                  <a:lnTo>
                    <a:pt x="273" y="18"/>
                  </a:lnTo>
                  <a:lnTo>
                    <a:pt x="274" y="17"/>
                  </a:lnTo>
                  <a:lnTo>
                    <a:pt x="277" y="15"/>
                  </a:lnTo>
                  <a:lnTo>
                    <a:pt x="279" y="14"/>
                  </a:lnTo>
                  <a:lnTo>
                    <a:pt x="282" y="13"/>
                  </a:lnTo>
                  <a:lnTo>
                    <a:pt x="285" y="12"/>
                  </a:lnTo>
                  <a:lnTo>
                    <a:pt x="288" y="11"/>
                  </a:lnTo>
                  <a:lnTo>
                    <a:pt x="289" y="10"/>
                  </a:lnTo>
                  <a:lnTo>
                    <a:pt x="291" y="10"/>
                  </a:lnTo>
                  <a:lnTo>
                    <a:pt x="292" y="10"/>
                  </a:lnTo>
                  <a:lnTo>
                    <a:pt x="293" y="10"/>
                  </a:lnTo>
                  <a:lnTo>
                    <a:pt x="294" y="10"/>
                  </a:lnTo>
                  <a:lnTo>
                    <a:pt x="294" y="10"/>
                  </a:lnTo>
                  <a:lnTo>
                    <a:pt x="295" y="11"/>
                  </a:lnTo>
                  <a:lnTo>
                    <a:pt x="298" y="12"/>
                  </a:lnTo>
                  <a:lnTo>
                    <a:pt x="299" y="12"/>
                  </a:lnTo>
                  <a:lnTo>
                    <a:pt x="300" y="12"/>
                  </a:lnTo>
                  <a:lnTo>
                    <a:pt x="300" y="12"/>
                  </a:lnTo>
                  <a:lnTo>
                    <a:pt x="301" y="12"/>
                  </a:lnTo>
                  <a:lnTo>
                    <a:pt x="301" y="12"/>
                  </a:lnTo>
                  <a:lnTo>
                    <a:pt x="301" y="12"/>
                  </a:lnTo>
                  <a:lnTo>
                    <a:pt x="302" y="11"/>
                  </a:lnTo>
                  <a:lnTo>
                    <a:pt x="302" y="10"/>
                  </a:lnTo>
                  <a:lnTo>
                    <a:pt x="303" y="10"/>
                  </a:lnTo>
                  <a:lnTo>
                    <a:pt x="305" y="4"/>
                  </a:lnTo>
                  <a:lnTo>
                    <a:pt x="307" y="1"/>
                  </a:lnTo>
                  <a:lnTo>
                    <a:pt x="307" y="0"/>
                  </a:lnTo>
                  <a:lnTo>
                    <a:pt x="308" y="1"/>
                  </a:lnTo>
                  <a:close/>
                </a:path>
              </a:pathLst>
            </a:custGeom>
            <a:solidFill>
              <a:srgbClr val="CCCCCC"/>
            </a:solidFill>
            <a:ln w="98425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6" name="Freeform 237">
              <a:extLst>
                <a:ext uri="{FF2B5EF4-FFF2-40B4-BE49-F238E27FC236}">
                  <a16:creationId xmlns:a16="http://schemas.microsoft.com/office/drawing/2014/main" id="{0994F8A6-E237-46D9-B97E-C5C23F01E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0383" y="1829811"/>
              <a:ext cx="728618" cy="645056"/>
            </a:xfrm>
            <a:custGeom>
              <a:avLst/>
              <a:gdLst>
                <a:gd name="T0" fmla="*/ 607 w 715"/>
                <a:gd name="T1" fmla="*/ 17 h 633"/>
                <a:gd name="T2" fmla="*/ 637 w 715"/>
                <a:gd name="T3" fmla="*/ 16 h 633"/>
                <a:gd name="T4" fmla="*/ 653 w 715"/>
                <a:gd name="T5" fmla="*/ 11 h 633"/>
                <a:gd name="T6" fmla="*/ 669 w 715"/>
                <a:gd name="T7" fmla="*/ 30 h 633"/>
                <a:gd name="T8" fmla="*/ 692 w 715"/>
                <a:gd name="T9" fmla="*/ 50 h 633"/>
                <a:gd name="T10" fmla="*/ 682 w 715"/>
                <a:gd name="T11" fmla="*/ 86 h 633"/>
                <a:gd name="T12" fmla="*/ 707 w 715"/>
                <a:gd name="T13" fmla="*/ 86 h 633"/>
                <a:gd name="T14" fmla="*/ 712 w 715"/>
                <a:gd name="T15" fmla="*/ 104 h 633"/>
                <a:gd name="T16" fmla="*/ 686 w 715"/>
                <a:gd name="T17" fmla="*/ 144 h 633"/>
                <a:gd name="T18" fmla="*/ 673 w 715"/>
                <a:gd name="T19" fmla="*/ 168 h 633"/>
                <a:gd name="T20" fmla="*/ 643 w 715"/>
                <a:gd name="T21" fmla="*/ 160 h 633"/>
                <a:gd name="T22" fmla="*/ 633 w 715"/>
                <a:gd name="T23" fmla="*/ 174 h 633"/>
                <a:gd name="T24" fmla="*/ 620 w 715"/>
                <a:gd name="T25" fmla="*/ 200 h 633"/>
                <a:gd name="T26" fmla="*/ 604 w 715"/>
                <a:gd name="T27" fmla="*/ 221 h 633"/>
                <a:gd name="T28" fmla="*/ 590 w 715"/>
                <a:gd name="T29" fmla="*/ 251 h 633"/>
                <a:gd name="T30" fmla="*/ 596 w 715"/>
                <a:gd name="T31" fmla="*/ 280 h 633"/>
                <a:gd name="T32" fmla="*/ 619 w 715"/>
                <a:gd name="T33" fmla="*/ 328 h 633"/>
                <a:gd name="T34" fmla="*/ 645 w 715"/>
                <a:gd name="T35" fmla="*/ 360 h 633"/>
                <a:gd name="T36" fmla="*/ 637 w 715"/>
                <a:gd name="T37" fmla="*/ 368 h 633"/>
                <a:gd name="T38" fmla="*/ 637 w 715"/>
                <a:gd name="T39" fmla="*/ 394 h 633"/>
                <a:gd name="T40" fmla="*/ 616 w 715"/>
                <a:gd name="T41" fmla="*/ 412 h 633"/>
                <a:gd name="T42" fmla="*/ 597 w 715"/>
                <a:gd name="T43" fmla="*/ 411 h 633"/>
                <a:gd name="T44" fmla="*/ 598 w 715"/>
                <a:gd name="T45" fmla="*/ 437 h 633"/>
                <a:gd name="T46" fmla="*/ 589 w 715"/>
                <a:gd name="T47" fmla="*/ 461 h 633"/>
                <a:gd name="T48" fmla="*/ 549 w 715"/>
                <a:gd name="T49" fmla="*/ 469 h 633"/>
                <a:gd name="T50" fmla="*/ 518 w 715"/>
                <a:gd name="T51" fmla="*/ 468 h 633"/>
                <a:gd name="T52" fmla="*/ 459 w 715"/>
                <a:gd name="T53" fmla="*/ 465 h 633"/>
                <a:gd name="T54" fmla="*/ 435 w 715"/>
                <a:gd name="T55" fmla="*/ 474 h 633"/>
                <a:gd name="T56" fmla="*/ 427 w 715"/>
                <a:gd name="T57" fmla="*/ 491 h 633"/>
                <a:gd name="T58" fmla="*/ 409 w 715"/>
                <a:gd name="T59" fmla="*/ 508 h 633"/>
                <a:gd name="T60" fmla="*/ 380 w 715"/>
                <a:gd name="T61" fmla="*/ 526 h 633"/>
                <a:gd name="T62" fmla="*/ 363 w 715"/>
                <a:gd name="T63" fmla="*/ 519 h 633"/>
                <a:gd name="T64" fmla="*/ 339 w 715"/>
                <a:gd name="T65" fmla="*/ 535 h 633"/>
                <a:gd name="T66" fmla="*/ 305 w 715"/>
                <a:gd name="T67" fmla="*/ 539 h 633"/>
                <a:gd name="T68" fmla="*/ 280 w 715"/>
                <a:gd name="T69" fmla="*/ 552 h 633"/>
                <a:gd name="T70" fmla="*/ 249 w 715"/>
                <a:gd name="T71" fmla="*/ 563 h 633"/>
                <a:gd name="T72" fmla="*/ 225 w 715"/>
                <a:gd name="T73" fmla="*/ 584 h 633"/>
                <a:gd name="T74" fmla="*/ 217 w 715"/>
                <a:gd name="T75" fmla="*/ 603 h 633"/>
                <a:gd name="T76" fmla="*/ 200 w 715"/>
                <a:gd name="T77" fmla="*/ 617 h 633"/>
                <a:gd name="T78" fmla="*/ 183 w 715"/>
                <a:gd name="T79" fmla="*/ 632 h 633"/>
                <a:gd name="T80" fmla="*/ 167 w 715"/>
                <a:gd name="T81" fmla="*/ 619 h 633"/>
                <a:gd name="T82" fmla="*/ 155 w 715"/>
                <a:gd name="T83" fmla="*/ 624 h 633"/>
                <a:gd name="T84" fmla="*/ 146 w 715"/>
                <a:gd name="T85" fmla="*/ 619 h 633"/>
                <a:gd name="T86" fmla="*/ 131 w 715"/>
                <a:gd name="T87" fmla="*/ 603 h 633"/>
                <a:gd name="T88" fmla="*/ 120 w 715"/>
                <a:gd name="T89" fmla="*/ 593 h 633"/>
                <a:gd name="T90" fmla="*/ 135 w 715"/>
                <a:gd name="T91" fmla="*/ 590 h 633"/>
                <a:gd name="T92" fmla="*/ 135 w 715"/>
                <a:gd name="T93" fmla="*/ 568 h 633"/>
                <a:gd name="T94" fmla="*/ 122 w 715"/>
                <a:gd name="T95" fmla="*/ 533 h 633"/>
                <a:gd name="T96" fmla="*/ 115 w 715"/>
                <a:gd name="T97" fmla="*/ 507 h 633"/>
                <a:gd name="T98" fmla="*/ 118 w 715"/>
                <a:gd name="T99" fmla="*/ 473 h 633"/>
                <a:gd name="T100" fmla="*/ 109 w 715"/>
                <a:gd name="T101" fmla="*/ 451 h 633"/>
                <a:gd name="T102" fmla="*/ 72 w 715"/>
                <a:gd name="T103" fmla="*/ 451 h 633"/>
                <a:gd name="T104" fmla="*/ 64 w 715"/>
                <a:gd name="T105" fmla="*/ 441 h 633"/>
                <a:gd name="T106" fmla="*/ 44 w 715"/>
                <a:gd name="T107" fmla="*/ 428 h 633"/>
                <a:gd name="T108" fmla="*/ 0 w 715"/>
                <a:gd name="T109" fmla="*/ 415 h 633"/>
                <a:gd name="T110" fmla="*/ 30 w 715"/>
                <a:gd name="T111" fmla="*/ 388 h 633"/>
                <a:gd name="T112" fmla="*/ 39 w 715"/>
                <a:gd name="T113" fmla="*/ 352 h 633"/>
                <a:gd name="T114" fmla="*/ 73 w 715"/>
                <a:gd name="T115" fmla="*/ 349 h 633"/>
                <a:gd name="T116" fmla="*/ 101 w 715"/>
                <a:gd name="T117" fmla="*/ 352 h 633"/>
                <a:gd name="T118" fmla="*/ 120 w 715"/>
                <a:gd name="T119" fmla="*/ 318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15" h="633">
                  <a:moveTo>
                    <a:pt x="573" y="0"/>
                  </a:moveTo>
                  <a:lnTo>
                    <a:pt x="574" y="0"/>
                  </a:lnTo>
                  <a:lnTo>
                    <a:pt x="575" y="1"/>
                  </a:lnTo>
                  <a:lnTo>
                    <a:pt x="577" y="2"/>
                  </a:lnTo>
                  <a:lnTo>
                    <a:pt x="582" y="5"/>
                  </a:lnTo>
                  <a:lnTo>
                    <a:pt x="584" y="6"/>
                  </a:lnTo>
                  <a:lnTo>
                    <a:pt x="586" y="7"/>
                  </a:lnTo>
                  <a:lnTo>
                    <a:pt x="587" y="7"/>
                  </a:lnTo>
                  <a:lnTo>
                    <a:pt x="589" y="8"/>
                  </a:lnTo>
                  <a:lnTo>
                    <a:pt x="594" y="9"/>
                  </a:lnTo>
                  <a:lnTo>
                    <a:pt x="596" y="10"/>
                  </a:lnTo>
                  <a:lnTo>
                    <a:pt x="597" y="10"/>
                  </a:lnTo>
                  <a:lnTo>
                    <a:pt x="599" y="11"/>
                  </a:lnTo>
                  <a:lnTo>
                    <a:pt x="601" y="12"/>
                  </a:lnTo>
                  <a:lnTo>
                    <a:pt x="603" y="13"/>
                  </a:lnTo>
                  <a:lnTo>
                    <a:pt x="604" y="14"/>
                  </a:lnTo>
                  <a:lnTo>
                    <a:pt x="607" y="17"/>
                  </a:lnTo>
                  <a:lnTo>
                    <a:pt x="608" y="18"/>
                  </a:lnTo>
                  <a:lnTo>
                    <a:pt x="610" y="19"/>
                  </a:lnTo>
                  <a:lnTo>
                    <a:pt x="611" y="20"/>
                  </a:lnTo>
                  <a:lnTo>
                    <a:pt x="613" y="20"/>
                  </a:lnTo>
                  <a:lnTo>
                    <a:pt x="615" y="21"/>
                  </a:lnTo>
                  <a:lnTo>
                    <a:pt x="616" y="21"/>
                  </a:lnTo>
                  <a:lnTo>
                    <a:pt x="618" y="21"/>
                  </a:lnTo>
                  <a:lnTo>
                    <a:pt x="619" y="21"/>
                  </a:lnTo>
                  <a:lnTo>
                    <a:pt x="620" y="21"/>
                  </a:lnTo>
                  <a:lnTo>
                    <a:pt x="622" y="21"/>
                  </a:lnTo>
                  <a:lnTo>
                    <a:pt x="623" y="20"/>
                  </a:lnTo>
                  <a:lnTo>
                    <a:pt x="625" y="20"/>
                  </a:lnTo>
                  <a:lnTo>
                    <a:pt x="630" y="18"/>
                  </a:lnTo>
                  <a:lnTo>
                    <a:pt x="631" y="17"/>
                  </a:lnTo>
                  <a:lnTo>
                    <a:pt x="633" y="17"/>
                  </a:lnTo>
                  <a:lnTo>
                    <a:pt x="635" y="16"/>
                  </a:lnTo>
                  <a:lnTo>
                    <a:pt x="637" y="16"/>
                  </a:lnTo>
                  <a:lnTo>
                    <a:pt x="639" y="16"/>
                  </a:lnTo>
                  <a:lnTo>
                    <a:pt x="640" y="17"/>
                  </a:lnTo>
                  <a:lnTo>
                    <a:pt x="643" y="17"/>
                  </a:lnTo>
                  <a:lnTo>
                    <a:pt x="644" y="17"/>
                  </a:lnTo>
                  <a:lnTo>
                    <a:pt x="646" y="17"/>
                  </a:lnTo>
                  <a:lnTo>
                    <a:pt x="647" y="17"/>
                  </a:lnTo>
                  <a:lnTo>
                    <a:pt x="647" y="17"/>
                  </a:lnTo>
                  <a:lnTo>
                    <a:pt x="648" y="17"/>
                  </a:lnTo>
                  <a:lnTo>
                    <a:pt x="649" y="16"/>
                  </a:lnTo>
                  <a:lnTo>
                    <a:pt x="649" y="16"/>
                  </a:lnTo>
                  <a:lnTo>
                    <a:pt x="650" y="15"/>
                  </a:lnTo>
                  <a:lnTo>
                    <a:pt x="651" y="12"/>
                  </a:lnTo>
                  <a:lnTo>
                    <a:pt x="652" y="12"/>
                  </a:lnTo>
                  <a:lnTo>
                    <a:pt x="652" y="11"/>
                  </a:lnTo>
                  <a:lnTo>
                    <a:pt x="653" y="11"/>
                  </a:lnTo>
                  <a:lnTo>
                    <a:pt x="653" y="11"/>
                  </a:lnTo>
                  <a:lnTo>
                    <a:pt x="653" y="11"/>
                  </a:lnTo>
                  <a:lnTo>
                    <a:pt x="654" y="11"/>
                  </a:lnTo>
                  <a:lnTo>
                    <a:pt x="654" y="12"/>
                  </a:lnTo>
                  <a:lnTo>
                    <a:pt x="654" y="12"/>
                  </a:lnTo>
                  <a:lnTo>
                    <a:pt x="655" y="12"/>
                  </a:lnTo>
                  <a:lnTo>
                    <a:pt x="655" y="13"/>
                  </a:lnTo>
                  <a:lnTo>
                    <a:pt x="655" y="16"/>
                  </a:lnTo>
                  <a:lnTo>
                    <a:pt x="656" y="17"/>
                  </a:lnTo>
                  <a:lnTo>
                    <a:pt x="656" y="18"/>
                  </a:lnTo>
                  <a:lnTo>
                    <a:pt x="656" y="19"/>
                  </a:lnTo>
                  <a:lnTo>
                    <a:pt x="657" y="20"/>
                  </a:lnTo>
                  <a:lnTo>
                    <a:pt x="658" y="21"/>
                  </a:lnTo>
                  <a:lnTo>
                    <a:pt x="658" y="21"/>
                  </a:lnTo>
                  <a:lnTo>
                    <a:pt x="659" y="22"/>
                  </a:lnTo>
                  <a:lnTo>
                    <a:pt x="661" y="23"/>
                  </a:lnTo>
                  <a:lnTo>
                    <a:pt x="665" y="26"/>
                  </a:lnTo>
                  <a:lnTo>
                    <a:pt x="666" y="28"/>
                  </a:lnTo>
                  <a:lnTo>
                    <a:pt x="669" y="30"/>
                  </a:lnTo>
                  <a:lnTo>
                    <a:pt x="670" y="31"/>
                  </a:lnTo>
                  <a:lnTo>
                    <a:pt x="671" y="31"/>
                  </a:lnTo>
                  <a:lnTo>
                    <a:pt x="672" y="32"/>
                  </a:lnTo>
                  <a:lnTo>
                    <a:pt x="674" y="32"/>
                  </a:lnTo>
                  <a:lnTo>
                    <a:pt x="678" y="33"/>
                  </a:lnTo>
                  <a:lnTo>
                    <a:pt x="679" y="33"/>
                  </a:lnTo>
                  <a:lnTo>
                    <a:pt x="680" y="34"/>
                  </a:lnTo>
                  <a:lnTo>
                    <a:pt x="681" y="34"/>
                  </a:lnTo>
                  <a:lnTo>
                    <a:pt x="682" y="35"/>
                  </a:lnTo>
                  <a:lnTo>
                    <a:pt x="684" y="36"/>
                  </a:lnTo>
                  <a:lnTo>
                    <a:pt x="685" y="38"/>
                  </a:lnTo>
                  <a:lnTo>
                    <a:pt x="687" y="40"/>
                  </a:lnTo>
                  <a:lnTo>
                    <a:pt x="689" y="42"/>
                  </a:lnTo>
                  <a:lnTo>
                    <a:pt x="690" y="45"/>
                  </a:lnTo>
                  <a:lnTo>
                    <a:pt x="691" y="46"/>
                  </a:lnTo>
                  <a:lnTo>
                    <a:pt x="692" y="48"/>
                  </a:lnTo>
                  <a:lnTo>
                    <a:pt x="692" y="50"/>
                  </a:lnTo>
                  <a:lnTo>
                    <a:pt x="693" y="52"/>
                  </a:lnTo>
                  <a:lnTo>
                    <a:pt x="693" y="54"/>
                  </a:lnTo>
                  <a:lnTo>
                    <a:pt x="692" y="56"/>
                  </a:lnTo>
                  <a:lnTo>
                    <a:pt x="692" y="58"/>
                  </a:lnTo>
                  <a:lnTo>
                    <a:pt x="691" y="61"/>
                  </a:lnTo>
                  <a:lnTo>
                    <a:pt x="691" y="64"/>
                  </a:lnTo>
                  <a:lnTo>
                    <a:pt x="689" y="67"/>
                  </a:lnTo>
                  <a:lnTo>
                    <a:pt x="688" y="71"/>
                  </a:lnTo>
                  <a:lnTo>
                    <a:pt x="686" y="74"/>
                  </a:lnTo>
                  <a:lnTo>
                    <a:pt x="684" y="78"/>
                  </a:lnTo>
                  <a:lnTo>
                    <a:pt x="684" y="79"/>
                  </a:lnTo>
                  <a:lnTo>
                    <a:pt x="683" y="81"/>
                  </a:lnTo>
                  <a:lnTo>
                    <a:pt x="683" y="82"/>
                  </a:lnTo>
                  <a:lnTo>
                    <a:pt x="682" y="83"/>
                  </a:lnTo>
                  <a:lnTo>
                    <a:pt x="682" y="84"/>
                  </a:lnTo>
                  <a:lnTo>
                    <a:pt x="682" y="85"/>
                  </a:lnTo>
                  <a:lnTo>
                    <a:pt x="682" y="86"/>
                  </a:lnTo>
                  <a:lnTo>
                    <a:pt x="682" y="86"/>
                  </a:lnTo>
                  <a:lnTo>
                    <a:pt x="683" y="87"/>
                  </a:lnTo>
                  <a:lnTo>
                    <a:pt x="683" y="87"/>
                  </a:lnTo>
                  <a:lnTo>
                    <a:pt x="683" y="88"/>
                  </a:lnTo>
                  <a:lnTo>
                    <a:pt x="684" y="89"/>
                  </a:lnTo>
                  <a:lnTo>
                    <a:pt x="685" y="89"/>
                  </a:lnTo>
                  <a:lnTo>
                    <a:pt x="686" y="90"/>
                  </a:lnTo>
                  <a:lnTo>
                    <a:pt x="686" y="90"/>
                  </a:lnTo>
                  <a:lnTo>
                    <a:pt x="687" y="90"/>
                  </a:lnTo>
                  <a:lnTo>
                    <a:pt x="688" y="90"/>
                  </a:lnTo>
                  <a:lnTo>
                    <a:pt x="689" y="90"/>
                  </a:lnTo>
                  <a:lnTo>
                    <a:pt x="691" y="90"/>
                  </a:lnTo>
                  <a:lnTo>
                    <a:pt x="693" y="90"/>
                  </a:lnTo>
                  <a:lnTo>
                    <a:pt x="696" y="89"/>
                  </a:lnTo>
                  <a:lnTo>
                    <a:pt x="702" y="87"/>
                  </a:lnTo>
                  <a:lnTo>
                    <a:pt x="705" y="86"/>
                  </a:lnTo>
                  <a:lnTo>
                    <a:pt x="707" y="86"/>
                  </a:lnTo>
                  <a:lnTo>
                    <a:pt x="708" y="86"/>
                  </a:lnTo>
                  <a:lnTo>
                    <a:pt x="709" y="86"/>
                  </a:lnTo>
                  <a:lnTo>
                    <a:pt x="710" y="86"/>
                  </a:lnTo>
                  <a:lnTo>
                    <a:pt x="711" y="86"/>
                  </a:lnTo>
                  <a:lnTo>
                    <a:pt x="712" y="86"/>
                  </a:lnTo>
                  <a:lnTo>
                    <a:pt x="713" y="86"/>
                  </a:lnTo>
                  <a:lnTo>
                    <a:pt x="713" y="87"/>
                  </a:lnTo>
                  <a:lnTo>
                    <a:pt x="714" y="88"/>
                  </a:lnTo>
                  <a:lnTo>
                    <a:pt x="714" y="88"/>
                  </a:lnTo>
                  <a:lnTo>
                    <a:pt x="715" y="89"/>
                  </a:lnTo>
                  <a:lnTo>
                    <a:pt x="715" y="90"/>
                  </a:lnTo>
                  <a:lnTo>
                    <a:pt x="715" y="92"/>
                  </a:lnTo>
                  <a:lnTo>
                    <a:pt x="715" y="94"/>
                  </a:lnTo>
                  <a:lnTo>
                    <a:pt x="715" y="96"/>
                  </a:lnTo>
                  <a:lnTo>
                    <a:pt x="714" y="98"/>
                  </a:lnTo>
                  <a:lnTo>
                    <a:pt x="714" y="100"/>
                  </a:lnTo>
                  <a:lnTo>
                    <a:pt x="712" y="104"/>
                  </a:lnTo>
                  <a:lnTo>
                    <a:pt x="711" y="107"/>
                  </a:lnTo>
                  <a:lnTo>
                    <a:pt x="706" y="120"/>
                  </a:lnTo>
                  <a:lnTo>
                    <a:pt x="703" y="128"/>
                  </a:lnTo>
                  <a:lnTo>
                    <a:pt x="702" y="130"/>
                  </a:lnTo>
                  <a:lnTo>
                    <a:pt x="702" y="130"/>
                  </a:lnTo>
                  <a:lnTo>
                    <a:pt x="702" y="130"/>
                  </a:lnTo>
                  <a:lnTo>
                    <a:pt x="702" y="131"/>
                  </a:lnTo>
                  <a:lnTo>
                    <a:pt x="702" y="131"/>
                  </a:lnTo>
                  <a:lnTo>
                    <a:pt x="701" y="132"/>
                  </a:lnTo>
                  <a:lnTo>
                    <a:pt x="701" y="133"/>
                  </a:lnTo>
                  <a:lnTo>
                    <a:pt x="699" y="134"/>
                  </a:lnTo>
                  <a:lnTo>
                    <a:pt x="697" y="136"/>
                  </a:lnTo>
                  <a:lnTo>
                    <a:pt x="696" y="137"/>
                  </a:lnTo>
                  <a:lnTo>
                    <a:pt x="693" y="139"/>
                  </a:lnTo>
                  <a:lnTo>
                    <a:pt x="692" y="140"/>
                  </a:lnTo>
                  <a:lnTo>
                    <a:pt x="688" y="143"/>
                  </a:lnTo>
                  <a:lnTo>
                    <a:pt x="686" y="144"/>
                  </a:lnTo>
                  <a:lnTo>
                    <a:pt x="685" y="145"/>
                  </a:lnTo>
                  <a:lnTo>
                    <a:pt x="684" y="145"/>
                  </a:lnTo>
                  <a:lnTo>
                    <a:pt x="683" y="146"/>
                  </a:lnTo>
                  <a:lnTo>
                    <a:pt x="683" y="147"/>
                  </a:lnTo>
                  <a:lnTo>
                    <a:pt x="682" y="148"/>
                  </a:lnTo>
                  <a:lnTo>
                    <a:pt x="682" y="149"/>
                  </a:lnTo>
                  <a:lnTo>
                    <a:pt x="681" y="152"/>
                  </a:lnTo>
                  <a:lnTo>
                    <a:pt x="680" y="154"/>
                  </a:lnTo>
                  <a:lnTo>
                    <a:pt x="678" y="161"/>
                  </a:lnTo>
                  <a:lnTo>
                    <a:pt x="677" y="163"/>
                  </a:lnTo>
                  <a:lnTo>
                    <a:pt x="677" y="164"/>
                  </a:lnTo>
                  <a:lnTo>
                    <a:pt x="676" y="165"/>
                  </a:lnTo>
                  <a:lnTo>
                    <a:pt x="676" y="166"/>
                  </a:lnTo>
                  <a:lnTo>
                    <a:pt x="675" y="167"/>
                  </a:lnTo>
                  <a:lnTo>
                    <a:pt x="674" y="167"/>
                  </a:lnTo>
                  <a:lnTo>
                    <a:pt x="673" y="168"/>
                  </a:lnTo>
                  <a:lnTo>
                    <a:pt x="673" y="168"/>
                  </a:lnTo>
                  <a:lnTo>
                    <a:pt x="672" y="169"/>
                  </a:lnTo>
                  <a:lnTo>
                    <a:pt x="671" y="169"/>
                  </a:lnTo>
                  <a:lnTo>
                    <a:pt x="670" y="169"/>
                  </a:lnTo>
                  <a:lnTo>
                    <a:pt x="669" y="169"/>
                  </a:lnTo>
                  <a:lnTo>
                    <a:pt x="668" y="170"/>
                  </a:lnTo>
                  <a:lnTo>
                    <a:pt x="667" y="169"/>
                  </a:lnTo>
                  <a:lnTo>
                    <a:pt x="665" y="169"/>
                  </a:lnTo>
                  <a:lnTo>
                    <a:pt x="664" y="169"/>
                  </a:lnTo>
                  <a:lnTo>
                    <a:pt x="662" y="169"/>
                  </a:lnTo>
                  <a:lnTo>
                    <a:pt x="660" y="168"/>
                  </a:lnTo>
                  <a:lnTo>
                    <a:pt x="658" y="167"/>
                  </a:lnTo>
                  <a:lnTo>
                    <a:pt x="657" y="166"/>
                  </a:lnTo>
                  <a:lnTo>
                    <a:pt x="653" y="164"/>
                  </a:lnTo>
                  <a:lnTo>
                    <a:pt x="650" y="162"/>
                  </a:lnTo>
                  <a:lnTo>
                    <a:pt x="649" y="162"/>
                  </a:lnTo>
                  <a:lnTo>
                    <a:pt x="646" y="161"/>
                  </a:lnTo>
                  <a:lnTo>
                    <a:pt x="643" y="160"/>
                  </a:lnTo>
                  <a:lnTo>
                    <a:pt x="642" y="159"/>
                  </a:lnTo>
                  <a:lnTo>
                    <a:pt x="641" y="159"/>
                  </a:lnTo>
                  <a:lnTo>
                    <a:pt x="640" y="159"/>
                  </a:lnTo>
                  <a:lnTo>
                    <a:pt x="639" y="159"/>
                  </a:lnTo>
                  <a:lnTo>
                    <a:pt x="638" y="159"/>
                  </a:lnTo>
                  <a:lnTo>
                    <a:pt x="635" y="160"/>
                  </a:lnTo>
                  <a:lnTo>
                    <a:pt x="634" y="160"/>
                  </a:lnTo>
                  <a:lnTo>
                    <a:pt x="633" y="161"/>
                  </a:lnTo>
                  <a:lnTo>
                    <a:pt x="633" y="161"/>
                  </a:lnTo>
                  <a:lnTo>
                    <a:pt x="632" y="161"/>
                  </a:lnTo>
                  <a:lnTo>
                    <a:pt x="632" y="162"/>
                  </a:lnTo>
                  <a:lnTo>
                    <a:pt x="632" y="163"/>
                  </a:lnTo>
                  <a:lnTo>
                    <a:pt x="632" y="163"/>
                  </a:lnTo>
                  <a:lnTo>
                    <a:pt x="632" y="165"/>
                  </a:lnTo>
                  <a:lnTo>
                    <a:pt x="632" y="170"/>
                  </a:lnTo>
                  <a:lnTo>
                    <a:pt x="633" y="172"/>
                  </a:lnTo>
                  <a:lnTo>
                    <a:pt x="633" y="174"/>
                  </a:lnTo>
                  <a:lnTo>
                    <a:pt x="633" y="175"/>
                  </a:lnTo>
                  <a:lnTo>
                    <a:pt x="632" y="179"/>
                  </a:lnTo>
                  <a:lnTo>
                    <a:pt x="632" y="180"/>
                  </a:lnTo>
                  <a:lnTo>
                    <a:pt x="631" y="181"/>
                  </a:lnTo>
                  <a:lnTo>
                    <a:pt x="631" y="182"/>
                  </a:lnTo>
                  <a:lnTo>
                    <a:pt x="630" y="183"/>
                  </a:lnTo>
                  <a:lnTo>
                    <a:pt x="629" y="184"/>
                  </a:lnTo>
                  <a:lnTo>
                    <a:pt x="627" y="187"/>
                  </a:lnTo>
                  <a:lnTo>
                    <a:pt x="626" y="188"/>
                  </a:lnTo>
                  <a:lnTo>
                    <a:pt x="625" y="189"/>
                  </a:lnTo>
                  <a:lnTo>
                    <a:pt x="624" y="190"/>
                  </a:lnTo>
                  <a:lnTo>
                    <a:pt x="624" y="191"/>
                  </a:lnTo>
                  <a:lnTo>
                    <a:pt x="623" y="193"/>
                  </a:lnTo>
                  <a:lnTo>
                    <a:pt x="622" y="194"/>
                  </a:lnTo>
                  <a:lnTo>
                    <a:pt x="622" y="196"/>
                  </a:lnTo>
                  <a:lnTo>
                    <a:pt x="621" y="198"/>
                  </a:lnTo>
                  <a:lnTo>
                    <a:pt x="620" y="200"/>
                  </a:lnTo>
                  <a:lnTo>
                    <a:pt x="620" y="202"/>
                  </a:lnTo>
                  <a:lnTo>
                    <a:pt x="620" y="203"/>
                  </a:lnTo>
                  <a:lnTo>
                    <a:pt x="620" y="204"/>
                  </a:lnTo>
                  <a:lnTo>
                    <a:pt x="620" y="207"/>
                  </a:lnTo>
                  <a:lnTo>
                    <a:pt x="620" y="208"/>
                  </a:lnTo>
                  <a:lnTo>
                    <a:pt x="619" y="208"/>
                  </a:lnTo>
                  <a:lnTo>
                    <a:pt x="619" y="209"/>
                  </a:lnTo>
                  <a:lnTo>
                    <a:pt x="618" y="209"/>
                  </a:lnTo>
                  <a:lnTo>
                    <a:pt x="618" y="210"/>
                  </a:lnTo>
                  <a:lnTo>
                    <a:pt x="618" y="210"/>
                  </a:lnTo>
                  <a:lnTo>
                    <a:pt x="616" y="211"/>
                  </a:lnTo>
                  <a:lnTo>
                    <a:pt x="615" y="211"/>
                  </a:lnTo>
                  <a:lnTo>
                    <a:pt x="614" y="212"/>
                  </a:lnTo>
                  <a:lnTo>
                    <a:pt x="611" y="215"/>
                  </a:lnTo>
                  <a:lnTo>
                    <a:pt x="606" y="219"/>
                  </a:lnTo>
                  <a:lnTo>
                    <a:pt x="605" y="220"/>
                  </a:lnTo>
                  <a:lnTo>
                    <a:pt x="604" y="221"/>
                  </a:lnTo>
                  <a:lnTo>
                    <a:pt x="603" y="222"/>
                  </a:lnTo>
                  <a:lnTo>
                    <a:pt x="602" y="223"/>
                  </a:lnTo>
                  <a:lnTo>
                    <a:pt x="601" y="224"/>
                  </a:lnTo>
                  <a:lnTo>
                    <a:pt x="601" y="225"/>
                  </a:lnTo>
                  <a:lnTo>
                    <a:pt x="600" y="227"/>
                  </a:lnTo>
                  <a:lnTo>
                    <a:pt x="599" y="229"/>
                  </a:lnTo>
                  <a:lnTo>
                    <a:pt x="599" y="231"/>
                  </a:lnTo>
                  <a:lnTo>
                    <a:pt x="598" y="232"/>
                  </a:lnTo>
                  <a:lnTo>
                    <a:pt x="598" y="237"/>
                  </a:lnTo>
                  <a:lnTo>
                    <a:pt x="597" y="238"/>
                  </a:lnTo>
                  <a:lnTo>
                    <a:pt x="597" y="239"/>
                  </a:lnTo>
                  <a:lnTo>
                    <a:pt x="597" y="241"/>
                  </a:lnTo>
                  <a:lnTo>
                    <a:pt x="596" y="242"/>
                  </a:lnTo>
                  <a:lnTo>
                    <a:pt x="592" y="247"/>
                  </a:lnTo>
                  <a:lnTo>
                    <a:pt x="591" y="249"/>
                  </a:lnTo>
                  <a:lnTo>
                    <a:pt x="591" y="250"/>
                  </a:lnTo>
                  <a:lnTo>
                    <a:pt x="590" y="251"/>
                  </a:lnTo>
                  <a:lnTo>
                    <a:pt x="590" y="252"/>
                  </a:lnTo>
                  <a:lnTo>
                    <a:pt x="590" y="253"/>
                  </a:lnTo>
                  <a:lnTo>
                    <a:pt x="589" y="255"/>
                  </a:lnTo>
                  <a:lnTo>
                    <a:pt x="589" y="256"/>
                  </a:lnTo>
                  <a:lnTo>
                    <a:pt x="589" y="257"/>
                  </a:lnTo>
                  <a:lnTo>
                    <a:pt x="589" y="258"/>
                  </a:lnTo>
                  <a:lnTo>
                    <a:pt x="590" y="259"/>
                  </a:lnTo>
                  <a:lnTo>
                    <a:pt x="590" y="260"/>
                  </a:lnTo>
                  <a:lnTo>
                    <a:pt x="591" y="263"/>
                  </a:lnTo>
                  <a:lnTo>
                    <a:pt x="592" y="263"/>
                  </a:lnTo>
                  <a:lnTo>
                    <a:pt x="593" y="265"/>
                  </a:lnTo>
                  <a:lnTo>
                    <a:pt x="594" y="269"/>
                  </a:lnTo>
                  <a:lnTo>
                    <a:pt x="594" y="271"/>
                  </a:lnTo>
                  <a:lnTo>
                    <a:pt x="595" y="273"/>
                  </a:lnTo>
                  <a:lnTo>
                    <a:pt x="595" y="277"/>
                  </a:lnTo>
                  <a:lnTo>
                    <a:pt x="596" y="279"/>
                  </a:lnTo>
                  <a:lnTo>
                    <a:pt x="596" y="280"/>
                  </a:lnTo>
                  <a:lnTo>
                    <a:pt x="597" y="283"/>
                  </a:lnTo>
                  <a:lnTo>
                    <a:pt x="598" y="285"/>
                  </a:lnTo>
                  <a:lnTo>
                    <a:pt x="601" y="290"/>
                  </a:lnTo>
                  <a:lnTo>
                    <a:pt x="603" y="296"/>
                  </a:lnTo>
                  <a:lnTo>
                    <a:pt x="604" y="298"/>
                  </a:lnTo>
                  <a:lnTo>
                    <a:pt x="605" y="300"/>
                  </a:lnTo>
                  <a:lnTo>
                    <a:pt x="607" y="302"/>
                  </a:lnTo>
                  <a:lnTo>
                    <a:pt x="608" y="304"/>
                  </a:lnTo>
                  <a:lnTo>
                    <a:pt x="610" y="306"/>
                  </a:lnTo>
                  <a:lnTo>
                    <a:pt x="610" y="307"/>
                  </a:lnTo>
                  <a:lnTo>
                    <a:pt x="612" y="310"/>
                  </a:lnTo>
                  <a:lnTo>
                    <a:pt x="613" y="313"/>
                  </a:lnTo>
                  <a:lnTo>
                    <a:pt x="614" y="315"/>
                  </a:lnTo>
                  <a:lnTo>
                    <a:pt x="615" y="317"/>
                  </a:lnTo>
                  <a:lnTo>
                    <a:pt x="618" y="325"/>
                  </a:lnTo>
                  <a:lnTo>
                    <a:pt x="619" y="327"/>
                  </a:lnTo>
                  <a:lnTo>
                    <a:pt x="619" y="328"/>
                  </a:lnTo>
                  <a:lnTo>
                    <a:pt x="623" y="335"/>
                  </a:lnTo>
                  <a:lnTo>
                    <a:pt x="626" y="340"/>
                  </a:lnTo>
                  <a:lnTo>
                    <a:pt x="627" y="341"/>
                  </a:lnTo>
                  <a:lnTo>
                    <a:pt x="627" y="342"/>
                  </a:lnTo>
                  <a:lnTo>
                    <a:pt x="628" y="344"/>
                  </a:lnTo>
                  <a:lnTo>
                    <a:pt x="629" y="344"/>
                  </a:lnTo>
                  <a:lnTo>
                    <a:pt x="631" y="345"/>
                  </a:lnTo>
                  <a:lnTo>
                    <a:pt x="634" y="347"/>
                  </a:lnTo>
                  <a:lnTo>
                    <a:pt x="636" y="348"/>
                  </a:lnTo>
                  <a:lnTo>
                    <a:pt x="638" y="350"/>
                  </a:lnTo>
                  <a:lnTo>
                    <a:pt x="639" y="351"/>
                  </a:lnTo>
                  <a:lnTo>
                    <a:pt x="640" y="352"/>
                  </a:lnTo>
                  <a:lnTo>
                    <a:pt x="641" y="354"/>
                  </a:lnTo>
                  <a:lnTo>
                    <a:pt x="642" y="355"/>
                  </a:lnTo>
                  <a:lnTo>
                    <a:pt x="643" y="356"/>
                  </a:lnTo>
                  <a:lnTo>
                    <a:pt x="644" y="358"/>
                  </a:lnTo>
                  <a:lnTo>
                    <a:pt x="645" y="360"/>
                  </a:lnTo>
                  <a:lnTo>
                    <a:pt x="645" y="360"/>
                  </a:lnTo>
                  <a:lnTo>
                    <a:pt x="645" y="361"/>
                  </a:lnTo>
                  <a:lnTo>
                    <a:pt x="645" y="361"/>
                  </a:lnTo>
                  <a:lnTo>
                    <a:pt x="645" y="361"/>
                  </a:lnTo>
                  <a:lnTo>
                    <a:pt x="645" y="361"/>
                  </a:lnTo>
                  <a:lnTo>
                    <a:pt x="644" y="360"/>
                  </a:lnTo>
                  <a:lnTo>
                    <a:pt x="643" y="361"/>
                  </a:lnTo>
                  <a:lnTo>
                    <a:pt x="643" y="361"/>
                  </a:lnTo>
                  <a:lnTo>
                    <a:pt x="642" y="361"/>
                  </a:lnTo>
                  <a:lnTo>
                    <a:pt x="641" y="362"/>
                  </a:lnTo>
                  <a:lnTo>
                    <a:pt x="641" y="362"/>
                  </a:lnTo>
                  <a:lnTo>
                    <a:pt x="640" y="363"/>
                  </a:lnTo>
                  <a:lnTo>
                    <a:pt x="639" y="364"/>
                  </a:lnTo>
                  <a:lnTo>
                    <a:pt x="638" y="365"/>
                  </a:lnTo>
                  <a:lnTo>
                    <a:pt x="637" y="366"/>
                  </a:lnTo>
                  <a:lnTo>
                    <a:pt x="637" y="367"/>
                  </a:lnTo>
                  <a:lnTo>
                    <a:pt x="637" y="368"/>
                  </a:lnTo>
                  <a:lnTo>
                    <a:pt x="637" y="369"/>
                  </a:lnTo>
                  <a:lnTo>
                    <a:pt x="636" y="370"/>
                  </a:lnTo>
                  <a:lnTo>
                    <a:pt x="636" y="371"/>
                  </a:lnTo>
                  <a:lnTo>
                    <a:pt x="636" y="372"/>
                  </a:lnTo>
                  <a:lnTo>
                    <a:pt x="637" y="374"/>
                  </a:lnTo>
                  <a:lnTo>
                    <a:pt x="638" y="378"/>
                  </a:lnTo>
                  <a:lnTo>
                    <a:pt x="638" y="381"/>
                  </a:lnTo>
                  <a:lnTo>
                    <a:pt x="638" y="383"/>
                  </a:lnTo>
                  <a:lnTo>
                    <a:pt x="639" y="387"/>
                  </a:lnTo>
                  <a:lnTo>
                    <a:pt x="639" y="388"/>
                  </a:lnTo>
                  <a:lnTo>
                    <a:pt x="639" y="389"/>
                  </a:lnTo>
                  <a:lnTo>
                    <a:pt x="638" y="390"/>
                  </a:lnTo>
                  <a:lnTo>
                    <a:pt x="638" y="391"/>
                  </a:lnTo>
                  <a:lnTo>
                    <a:pt x="638" y="392"/>
                  </a:lnTo>
                  <a:lnTo>
                    <a:pt x="637" y="393"/>
                  </a:lnTo>
                  <a:lnTo>
                    <a:pt x="637" y="394"/>
                  </a:lnTo>
                  <a:lnTo>
                    <a:pt x="637" y="394"/>
                  </a:lnTo>
                  <a:lnTo>
                    <a:pt x="636" y="395"/>
                  </a:lnTo>
                  <a:lnTo>
                    <a:pt x="636" y="395"/>
                  </a:lnTo>
                  <a:lnTo>
                    <a:pt x="635" y="395"/>
                  </a:lnTo>
                  <a:lnTo>
                    <a:pt x="634" y="396"/>
                  </a:lnTo>
                  <a:lnTo>
                    <a:pt x="631" y="397"/>
                  </a:lnTo>
                  <a:lnTo>
                    <a:pt x="627" y="398"/>
                  </a:lnTo>
                  <a:lnTo>
                    <a:pt x="623" y="399"/>
                  </a:lnTo>
                  <a:lnTo>
                    <a:pt x="622" y="399"/>
                  </a:lnTo>
                  <a:lnTo>
                    <a:pt x="621" y="400"/>
                  </a:lnTo>
                  <a:lnTo>
                    <a:pt x="621" y="400"/>
                  </a:lnTo>
                  <a:lnTo>
                    <a:pt x="620" y="401"/>
                  </a:lnTo>
                  <a:lnTo>
                    <a:pt x="618" y="405"/>
                  </a:lnTo>
                  <a:lnTo>
                    <a:pt x="616" y="409"/>
                  </a:lnTo>
                  <a:lnTo>
                    <a:pt x="616" y="409"/>
                  </a:lnTo>
                  <a:lnTo>
                    <a:pt x="616" y="411"/>
                  </a:lnTo>
                  <a:lnTo>
                    <a:pt x="616" y="412"/>
                  </a:lnTo>
                  <a:lnTo>
                    <a:pt x="616" y="412"/>
                  </a:lnTo>
                  <a:lnTo>
                    <a:pt x="615" y="412"/>
                  </a:lnTo>
                  <a:lnTo>
                    <a:pt x="615" y="413"/>
                  </a:lnTo>
                  <a:lnTo>
                    <a:pt x="615" y="413"/>
                  </a:lnTo>
                  <a:lnTo>
                    <a:pt x="614" y="413"/>
                  </a:lnTo>
                  <a:lnTo>
                    <a:pt x="613" y="413"/>
                  </a:lnTo>
                  <a:lnTo>
                    <a:pt x="612" y="413"/>
                  </a:lnTo>
                  <a:lnTo>
                    <a:pt x="610" y="413"/>
                  </a:lnTo>
                  <a:lnTo>
                    <a:pt x="609" y="412"/>
                  </a:lnTo>
                  <a:lnTo>
                    <a:pt x="607" y="412"/>
                  </a:lnTo>
                  <a:lnTo>
                    <a:pt x="602" y="410"/>
                  </a:lnTo>
                  <a:lnTo>
                    <a:pt x="601" y="410"/>
                  </a:lnTo>
                  <a:lnTo>
                    <a:pt x="600" y="410"/>
                  </a:lnTo>
                  <a:lnTo>
                    <a:pt x="600" y="410"/>
                  </a:lnTo>
                  <a:lnTo>
                    <a:pt x="599" y="410"/>
                  </a:lnTo>
                  <a:lnTo>
                    <a:pt x="598" y="410"/>
                  </a:lnTo>
                  <a:lnTo>
                    <a:pt x="598" y="410"/>
                  </a:lnTo>
                  <a:lnTo>
                    <a:pt x="597" y="411"/>
                  </a:lnTo>
                  <a:lnTo>
                    <a:pt x="596" y="411"/>
                  </a:lnTo>
                  <a:lnTo>
                    <a:pt x="596" y="411"/>
                  </a:lnTo>
                  <a:lnTo>
                    <a:pt x="596" y="412"/>
                  </a:lnTo>
                  <a:lnTo>
                    <a:pt x="596" y="412"/>
                  </a:lnTo>
                  <a:lnTo>
                    <a:pt x="596" y="413"/>
                  </a:lnTo>
                  <a:lnTo>
                    <a:pt x="596" y="417"/>
                  </a:lnTo>
                  <a:lnTo>
                    <a:pt x="596" y="420"/>
                  </a:lnTo>
                  <a:lnTo>
                    <a:pt x="596" y="421"/>
                  </a:lnTo>
                  <a:lnTo>
                    <a:pt x="596" y="422"/>
                  </a:lnTo>
                  <a:lnTo>
                    <a:pt x="596" y="424"/>
                  </a:lnTo>
                  <a:lnTo>
                    <a:pt x="596" y="426"/>
                  </a:lnTo>
                  <a:lnTo>
                    <a:pt x="596" y="427"/>
                  </a:lnTo>
                  <a:lnTo>
                    <a:pt x="597" y="428"/>
                  </a:lnTo>
                  <a:lnTo>
                    <a:pt x="598" y="432"/>
                  </a:lnTo>
                  <a:lnTo>
                    <a:pt x="598" y="434"/>
                  </a:lnTo>
                  <a:lnTo>
                    <a:pt x="598" y="435"/>
                  </a:lnTo>
                  <a:lnTo>
                    <a:pt x="598" y="437"/>
                  </a:lnTo>
                  <a:lnTo>
                    <a:pt x="598" y="439"/>
                  </a:lnTo>
                  <a:lnTo>
                    <a:pt x="598" y="440"/>
                  </a:lnTo>
                  <a:lnTo>
                    <a:pt x="598" y="442"/>
                  </a:lnTo>
                  <a:lnTo>
                    <a:pt x="598" y="443"/>
                  </a:lnTo>
                  <a:lnTo>
                    <a:pt x="597" y="447"/>
                  </a:lnTo>
                  <a:lnTo>
                    <a:pt x="596" y="453"/>
                  </a:lnTo>
                  <a:lnTo>
                    <a:pt x="596" y="454"/>
                  </a:lnTo>
                  <a:lnTo>
                    <a:pt x="596" y="455"/>
                  </a:lnTo>
                  <a:lnTo>
                    <a:pt x="595" y="456"/>
                  </a:lnTo>
                  <a:lnTo>
                    <a:pt x="594" y="458"/>
                  </a:lnTo>
                  <a:lnTo>
                    <a:pt x="594" y="458"/>
                  </a:lnTo>
                  <a:lnTo>
                    <a:pt x="593" y="459"/>
                  </a:lnTo>
                  <a:lnTo>
                    <a:pt x="593" y="459"/>
                  </a:lnTo>
                  <a:lnTo>
                    <a:pt x="592" y="460"/>
                  </a:lnTo>
                  <a:lnTo>
                    <a:pt x="591" y="460"/>
                  </a:lnTo>
                  <a:lnTo>
                    <a:pt x="590" y="460"/>
                  </a:lnTo>
                  <a:lnTo>
                    <a:pt x="589" y="461"/>
                  </a:lnTo>
                  <a:lnTo>
                    <a:pt x="588" y="461"/>
                  </a:lnTo>
                  <a:lnTo>
                    <a:pt x="587" y="460"/>
                  </a:lnTo>
                  <a:lnTo>
                    <a:pt x="583" y="460"/>
                  </a:lnTo>
                  <a:lnTo>
                    <a:pt x="581" y="459"/>
                  </a:lnTo>
                  <a:lnTo>
                    <a:pt x="580" y="459"/>
                  </a:lnTo>
                  <a:lnTo>
                    <a:pt x="578" y="459"/>
                  </a:lnTo>
                  <a:lnTo>
                    <a:pt x="572" y="460"/>
                  </a:lnTo>
                  <a:lnTo>
                    <a:pt x="569" y="460"/>
                  </a:lnTo>
                  <a:lnTo>
                    <a:pt x="560" y="462"/>
                  </a:lnTo>
                  <a:lnTo>
                    <a:pt x="558" y="462"/>
                  </a:lnTo>
                  <a:lnTo>
                    <a:pt x="557" y="462"/>
                  </a:lnTo>
                  <a:lnTo>
                    <a:pt x="556" y="463"/>
                  </a:lnTo>
                  <a:lnTo>
                    <a:pt x="555" y="463"/>
                  </a:lnTo>
                  <a:lnTo>
                    <a:pt x="554" y="464"/>
                  </a:lnTo>
                  <a:lnTo>
                    <a:pt x="553" y="465"/>
                  </a:lnTo>
                  <a:lnTo>
                    <a:pt x="550" y="468"/>
                  </a:lnTo>
                  <a:lnTo>
                    <a:pt x="549" y="469"/>
                  </a:lnTo>
                  <a:lnTo>
                    <a:pt x="548" y="470"/>
                  </a:lnTo>
                  <a:lnTo>
                    <a:pt x="546" y="471"/>
                  </a:lnTo>
                  <a:lnTo>
                    <a:pt x="546" y="471"/>
                  </a:lnTo>
                  <a:lnTo>
                    <a:pt x="545" y="472"/>
                  </a:lnTo>
                  <a:lnTo>
                    <a:pt x="544" y="472"/>
                  </a:lnTo>
                  <a:lnTo>
                    <a:pt x="543" y="472"/>
                  </a:lnTo>
                  <a:lnTo>
                    <a:pt x="542" y="472"/>
                  </a:lnTo>
                  <a:lnTo>
                    <a:pt x="540" y="472"/>
                  </a:lnTo>
                  <a:lnTo>
                    <a:pt x="538" y="471"/>
                  </a:lnTo>
                  <a:lnTo>
                    <a:pt x="533" y="470"/>
                  </a:lnTo>
                  <a:lnTo>
                    <a:pt x="528" y="470"/>
                  </a:lnTo>
                  <a:lnTo>
                    <a:pt x="526" y="469"/>
                  </a:lnTo>
                  <a:lnTo>
                    <a:pt x="522" y="468"/>
                  </a:lnTo>
                  <a:lnTo>
                    <a:pt x="521" y="468"/>
                  </a:lnTo>
                  <a:lnTo>
                    <a:pt x="520" y="468"/>
                  </a:lnTo>
                  <a:lnTo>
                    <a:pt x="519" y="468"/>
                  </a:lnTo>
                  <a:lnTo>
                    <a:pt x="518" y="468"/>
                  </a:lnTo>
                  <a:lnTo>
                    <a:pt x="517" y="469"/>
                  </a:lnTo>
                  <a:lnTo>
                    <a:pt x="515" y="470"/>
                  </a:lnTo>
                  <a:lnTo>
                    <a:pt x="513" y="470"/>
                  </a:lnTo>
                  <a:lnTo>
                    <a:pt x="510" y="471"/>
                  </a:lnTo>
                  <a:lnTo>
                    <a:pt x="507" y="472"/>
                  </a:lnTo>
                  <a:lnTo>
                    <a:pt x="504" y="472"/>
                  </a:lnTo>
                  <a:lnTo>
                    <a:pt x="501" y="472"/>
                  </a:lnTo>
                  <a:lnTo>
                    <a:pt x="498" y="472"/>
                  </a:lnTo>
                  <a:lnTo>
                    <a:pt x="494" y="472"/>
                  </a:lnTo>
                  <a:lnTo>
                    <a:pt x="491" y="472"/>
                  </a:lnTo>
                  <a:lnTo>
                    <a:pt x="482" y="471"/>
                  </a:lnTo>
                  <a:lnTo>
                    <a:pt x="479" y="470"/>
                  </a:lnTo>
                  <a:lnTo>
                    <a:pt x="477" y="470"/>
                  </a:lnTo>
                  <a:lnTo>
                    <a:pt x="473" y="469"/>
                  </a:lnTo>
                  <a:lnTo>
                    <a:pt x="467" y="467"/>
                  </a:lnTo>
                  <a:lnTo>
                    <a:pt x="462" y="466"/>
                  </a:lnTo>
                  <a:lnTo>
                    <a:pt x="459" y="465"/>
                  </a:lnTo>
                  <a:lnTo>
                    <a:pt x="457" y="465"/>
                  </a:lnTo>
                  <a:lnTo>
                    <a:pt x="450" y="464"/>
                  </a:lnTo>
                  <a:lnTo>
                    <a:pt x="448" y="464"/>
                  </a:lnTo>
                  <a:lnTo>
                    <a:pt x="447" y="464"/>
                  </a:lnTo>
                  <a:lnTo>
                    <a:pt x="446" y="465"/>
                  </a:lnTo>
                  <a:lnTo>
                    <a:pt x="445" y="465"/>
                  </a:lnTo>
                  <a:lnTo>
                    <a:pt x="444" y="465"/>
                  </a:lnTo>
                  <a:lnTo>
                    <a:pt x="442" y="466"/>
                  </a:lnTo>
                  <a:lnTo>
                    <a:pt x="441" y="467"/>
                  </a:lnTo>
                  <a:lnTo>
                    <a:pt x="440" y="467"/>
                  </a:lnTo>
                  <a:lnTo>
                    <a:pt x="439" y="468"/>
                  </a:lnTo>
                  <a:lnTo>
                    <a:pt x="438" y="469"/>
                  </a:lnTo>
                  <a:lnTo>
                    <a:pt x="437" y="470"/>
                  </a:lnTo>
                  <a:lnTo>
                    <a:pt x="436" y="472"/>
                  </a:lnTo>
                  <a:lnTo>
                    <a:pt x="436" y="473"/>
                  </a:lnTo>
                  <a:lnTo>
                    <a:pt x="436" y="473"/>
                  </a:lnTo>
                  <a:lnTo>
                    <a:pt x="435" y="474"/>
                  </a:lnTo>
                  <a:lnTo>
                    <a:pt x="435" y="475"/>
                  </a:lnTo>
                  <a:lnTo>
                    <a:pt x="435" y="476"/>
                  </a:lnTo>
                  <a:lnTo>
                    <a:pt x="435" y="478"/>
                  </a:lnTo>
                  <a:lnTo>
                    <a:pt x="435" y="481"/>
                  </a:lnTo>
                  <a:lnTo>
                    <a:pt x="435" y="482"/>
                  </a:lnTo>
                  <a:lnTo>
                    <a:pt x="435" y="484"/>
                  </a:lnTo>
                  <a:lnTo>
                    <a:pt x="435" y="486"/>
                  </a:lnTo>
                  <a:lnTo>
                    <a:pt x="435" y="487"/>
                  </a:lnTo>
                  <a:lnTo>
                    <a:pt x="435" y="488"/>
                  </a:lnTo>
                  <a:lnTo>
                    <a:pt x="434" y="488"/>
                  </a:lnTo>
                  <a:lnTo>
                    <a:pt x="434" y="489"/>
                  </a:lnTo>
                  <a:lnTo>
                    <a:pt x="433" y="489"/>
                  </a:lnTo>
                  <a:lnTo>
                    <a:pt x="433" y="490"/>
                  </a:lnTo>
                  <a:lnTo>
                    <a:pt x="432" y="490"/>
                  </a:lnTo>
                  <a:lnTo>
                    <a:pt x="431" y="490"/>
                  </a:lnTo>
                  <a:lnTo>
                    <a:pt x="429" y="491"/>
                  </a:lnTo>
                  <a:lnTo>
                    <a:pt x="427" y="491"/>
                  </a:lnTo>
                  <a:lnTo>
                    <a:pt x="425" y="491"/>
                  </a:lnTo>
                  <a:lnTo>
                    <a:pt x="424" y="491"/>
                  </a:lnTo>
                  <a:lnTo>
                    <a:pt x="423" y="491"/>
                  </a:lnTo>
                  <a:lnTo>
                    <a:pt x="422" y="492"/>
                  </a:lnTo>
                  <a:lnTo>
                    <a:pt x="422" y="493"/>
                  </a:lnTo>
                  <a:lnTo>
                    <a:pt x="422" y="493"/>
                  </a:lnTo>
                  <a:lnTo>
                    <a:pt x="421" y="495"/>
                  </a:lnTo>
                  <a:lnTo>
                    <a:pt x="421" y="496"/>
                  </a:lnTo>
                  <a:lnTo>
                    <a:pt x="420" y="498"/>
                  </a:lnTo>
                  <a:lnTo>
                    <a:pt x="419" y="499"/>
                  </a:lnTo>
                  <a:lnTo>
                    <a:pt x="418" y="500"/>
                  </a:lnTo>
                  <a:lnTo>
                    <a:pt x="417" y="501"/>
                  </a:lnTo>
                  <a:lnTo>
                    <a:pt x="415" y="503"/>
                  </a:lnTo>
                  <a:lnTo>
                    <a:pt x="414" y="505"/>
                  </a:lnTo>
                  <a:lnTo>
                    <a:pt x="413" y="505"/>
                  </a:lnTo>
                  <a:lnTo>
                    <a:pt x="411" y="506"/>
                  </a:lnTo>
                  <a:lnTo>
                    <a:pt x="409" y="508"/>
                  </a:lnTo>
                  <a:lnTo>
                    <a:pt x="407" y="508"/>
                  </a:lnTo>
                  <a:lnTo>
                    <a:pt x="406" y="509"/>
                  </a:lnTo>
                  <a:lnTo>
                    <a:pt x="405" y="509"/>
                  </a:lnTo>
                  <a:lnTo>
                    <a:pt x="400" y="511"/>
                  </a:lnTo>
                  <a:lnTo>
                    <a:pt x="399" y="511"/>
                  </a:lnTo>
                  <a:lnTo>
                    <a:pt x="397" y="512"/>
                  </a:lnTo>
                  <a:lnTo>
                    <a:pt x="395" y="512"/>
                  </a:lnTo>
                  <a:lnTo>
                    <a:pt x="394" y="513"/>
                  </a:lnTo>
                  <a:lnTo>
                    <a:pt x="393" y="514"/>
                  </a:lnTo>
                  <a:lnTo>
                    <a:pt x="392" y="514"/>
                  </a:lnTo>
                  <a:lnTo>
                    <a:pt x="390" y="516"/>
                  </a:lnTo>
                  <a:lnTo>
                    <a:pt x="389" y="517"/>
                  </a:lnTo>
                  <a:lnTo>
                    <a:pt x="388" y="517"/>
                  </a:lnTo>
                  <a:lnTo>
                    <a:pt x="386" y="520"/>
                  </a:lnTo>
                  <a:lnTo>
                    <a:pt x="383" y="523"/>
                  </a:lnTo>
                  <a:lnTo>
                    <a:pt x="382" y="525"/>
                  </a:lnTo>
                  <a:lnTo>
                    <a:pt x="380" y="526"/>
                  </a:lnTo>
                  <a:lnTo>
                    <a:pt x="380" y="526"/>
                  </a:lnTo>
                  <a:lnTo>
                    <a:pt x="379" y="527"/>
                  </a:lnTo>
                  <a:lnTo>
                    <a:pt x="378" y="527"/>
                  </a:lnTo>
                  <a:lnTo>
                    <a:pt x="378" y="527"/>
                  </a:lnTo>
                  <a:lnTo>
                    <a:pt x="376" y="528"/>
                  </a:lnTo>
                  <a:lnTo>
                    <a:pt x="376" y="528"/>
                  </a:lnTo>
                  <a:lnTo>
                    <a:pt x="375" y="527"/>
                  </a:lnTo>
                  <a:lnTo>
                    <a:pt x="374" y="527"/>
                  </a:lnTo>
                  <a:lnTo>
                    <a:pt x="374" y="527"/>
                  </a:lnTo>
                  <a:lnTo>
                    <a:pt x="373" y="527"/>
                  </a:lnTo>
                  <a:lnTo>
                    <a:pt x="372" y="526"/>
                  </a:lnTo>
                  <a:lnTo>
                    <a:pt x="371" y="525"/>
                  </a:lnTo>
                  <a:lnTo>
                    <a:pt x="368" y="522"/>
                  </a:lnTo>
                  <a:lnTo>
                    <a:pt x="367" y="521"/>
                  </a:lnTo>
                  <a:lnTo>
                    <a:pt x="366" y="521"/>
                  </a:lnTo>
                  <a:lnTo>
                    <a:pt x="365" y="520"/>
                  </a:lnTo>
                  <a:lnTo>
                    <a:pt x="363" y="519"/>
                  </a:lnTo>
                  <a:lnTo>
                    <a:pt x="362" y="519"/>
                  </a:lnTo>
                  <a:lnTo>
                    <a:pt x="361" y="519"/>
                  </a:lnTo>
                  <a:lnTo>
                    <a:pt x="360" y="519"/>
                  </a:lnTo>
                  <a:lnTo>
                    <a:pt x="359" y="520"/>
                  </a:lnTo>
                  <a:lnTo>
                    <a:pt x="357" y="521"/>
                  </a:lnTo>
                  <a:lnTo>
                    <a:pt x="356" y="522"/>
                  </a:lnTo>
                  <a:lnTo>
                    <a:pt x="355" y="523"/>
                  </a:lnTo>
                  <a:lnTo>
                    <a:pt x="353" y="524"/>
                  </a:lnTo>
                  <a:lnTo>
                    <a:pt x="349" y="529"/>
                  </a:lnTo>
                  <a:lnTo>
                    <a:pt x="347" y="530"/>
                  </a:lnTo>
                  <a:lnTo>
                    <a:pt x="346" y="531"/>
                  </a:lnTo>
                  <a:lnTo>
                    <a:pt x="344" y="533"/>
                  </a:lnTo>
                  <a:lnTo>
                    <a:pt x="343" y="533"/>
                  </a:lnTo>
                  <a:lnTo>
                    <a:pt x="342" y="534"/>
                  </a:lnTo>
                  <a:lnTo>
                    <a:pt x="342" y="534"/>
                  </a:lnTo>
                  <a:lnTo>
                    <a:pt x="340" y="534"/>
                  </a:lnTo>
                  <a:lnTo>
                    <a:pt x="339" y="535"/>
                  </a:lnTo>
                  <a:lnTo>
                    <a:pt x="338" y="536"/>
                  </a:lnTo>
                  <a:lnTo>
                    <a:pt x="335" y="538"/>
                  </a:lnTo>
                  <a:lnTo>
                    <a:pt x="334" y="539"/>
                  </a:lnTo>
                  <a:lnTo>
                    <a:pt x="332" y="539"/>
                  </a:lnTo>
                  <a:lnTo>
                    <a:pt x="331" y="540"/>
                  </a:lnTo>
                  <a:lnTo>
                    <a:pt x="329" y="540"/>
                  </a:lnTo>
                  <a:lnTo>
                    <a:pt x="328" y="541"/>
                  </a:lnTo>
                  <a:lnTo>
                    <a:pt x="326" y="541"/>
                  </a:lnTo>
                  <a:lnTo>
                    <a:pt x="324" y="541"/>
                  </a:lnTo>
                  <a:lnTo>
                    <a:pt x="317" y="541"/>
                  </a:lnTo>
                  <a:lnTo>
                    <a:pt x="315" y="541"/>
                  </a:lnTo>
                  <a:lnTo>
                    <a:pt x="313" y="541"/>
                  </a:lnTo>
                  <a:lnTo>
                    <a:pt x="312" y="541"/>
                  </a:lnTo>
                  <a:lnTo>
                    <a:pt x="310" y="541"/>
                  </a:lnTo>
                  <a:lnTo>
                    <a:pt x="308" y="540"/>
                  </a:lnTo>
                  <a:lnTo>
                    <a:pt x="306" y="540"/>
                  </a:lnTo>
                  <a:lnTo>
                    <a:pt x="305" y="539"/>
                  </a:lnTo>
                  <a:lnTo>
                    <a:pt x="304" y="539"/>
                  </a:lnTo>
                  <a:lnTo>
                    <a:pt x="303" y="538"/>
                  </a:lnTo>
                  <a:lnTo>
                    <a:pt x="301" y="537"/>
                  </a:lnTo>
                  <a:lnTo>
                    <a:pt x="301" y="537"/>
                  </a:lnTo>
                  <a:lnTo>
                    <a:pt x="300" y="537"/>
                  </a:lnTo>
                  <a:lnTo>
                    <a:pt x="300" y="537"/>
                  </a:lnTo>
                  <a:lnTo>
                    <a:pt x="299" y="537"/>
                  </a:lnTo>
                  <a:lnTo>
                    <a:pt x="299" y="537"/>
                  </a:lnTo>
                  <a:lnTo>
                    <a:pt x="298" y="537"/>
                  </a:lnTo>
                  <a:lnTo>
                    <a:pt x="297" y="538"/>
                  </a:lnTo>
                  <a:lnTo>
                    <a:pt x="296" y="539"/>
                  </a:lnTo>
                  <a:lnTo>
                    <a:pt x="294" y="540"/>
                  </a:lnTo>
                  <a:lnTo>
                    <a:pt x="288" y="545"/>
                  </a:lnTo>
                  <a:lnTo>
                    <a:pt x="285" y="548"/>
                  </a:lnTo>
                  <a:lnTo>
                    <a:pt x="282" y="551"/>
                  </a:lnTo>
                  <a:lnTo>
                    <a:pt x="281" y="551"/>
                  </a:lnTo>
                  <a:lnTo>
                    <a:pt x="280" y="552"/>
                  </a:lnTo>
                  <a:lnTo>
                    <a:pt x="279" y="554"/>
                  </a:lnTo>
                  <a:lnTo>
                    <a:pt x="277" y="556"/>
                  </a:lnTo>
                  <a:lnTo>
                    <a:pt x="276" y="557"/>
                  </a:lnTo>
                  <a:lnTo>
                    <a:pt x="274" y="558"/>
                  </a:lnTo>
                  <a:lnTo>
                    <a:pt x="273" y="559"/>
                  </a:lnTo>
                  <a:lnTo>
                    <a:pt x="272" y="560"/>
                  </a:lnTo>
                  <a:lnTo>
                    <a:pt x="270" y="561"/>
                  </a:lnTo>
                  <a:lnTo>
                    <a:pt x="267" y="562"/>
                  </a:lnTo>
                  <a:lnTo>
                    <a:pt x="265" y="562"/>
                  </a:lnTo>
                  <a:lnTo>
                    <a:pt x="263" y="563"/>
                  </a:lnTo>
                  <a:lnTo>
                    <a:pt x="261" y="563"/>
                  </a:lnTo>
                  <a:lnTo>
                    <a:pt x="259" y="563"/>
                  </a:lnTo>
                  <a:lnTo>
                    <a:pt x="257" y="563"/>
                  </a:lnTo>
                  <a:lnTo>
                    <a:pt x="254" y="563"/>
                  </a:lnTo>
                  <a:lnTo>
                    <a:pt x="252" y="563"/>
                  </a:lnTo>
                  <a:lnTo>
                    <a:pt x="251" y="563"/>
                  </a:lnTo>
                  <a:lnTo>
                    <a:pt x="249" y="563"/>
                  </a:lnTo>
                  <a:lnTo>
                    <a:pt x="247" y="564"/>
                  </a:lnTo>
                  <a:lnTo>
                    <a:pt x="246" y="564"/>
                  </a:lnTo>
                  <a:lnTo>
                    <a:pt x="244" y="565"/>
                  </a:lnTo>
                  <a:lnTo>
                    <a:pt x="243" y="566"/>
                  </a:lnTo>
                  <a:lnTo>
                    <a:pt x="240" y="568"/>
                  </a:lnTo>
                  <a:lnTo>
                    <a:pt x="238" y="570"/>
                  </a:lnTo>
                  <a:lnTo>
                    <a:pt x="237" y="571"/>
                  </a:lnTo>
                  <a:lnTo>
                    <a:pt x="234" y="573"/>
                  </a:lnTo>
                  <a:lnTo>
                    <a:pt x="233" y="574"/>
                  </a:lnTo>
                  <a:lnTo>
                    <a:pt x="231" y="576"/>
                  </a:lnTo>
                  <a:lnTo>
                    <a:pt x="228" y="578"/>
                  </a:lnTo>
                  <a:lnTo>
                    <a:pt x="227" y="579"/>
                  </a:lnTo>
                  <a:lnTo>
                    <a:pt x="226" y="580"/>
                  </a:lnTo>
                  <a:lnTo>
                    <a:pt x="226" y="580"/>
                  </a:lnTo>
                  <a:lnTo>
                    <a:pt x="225" y="581"/>
                  </a:lnTo>
                  <a:lnTo>
                    <a:pt x="225" y="583"/>
                  </a:lnTo>
                  <a:lnTo>
                    <a:pt x="225" y="584"/>
                  </a:lnTo>
                  <a:lnTo>
                    <a:pt x="224" y="587"/>
                  </a:lnTo>
                  <a:lnTo>
                    <a:pt x="224" y="589"/>
                  </a:lnTo>
                  <a:lnTo>
                    <a:pt x="224" y="590"/>
                  </a:lnTo>
                  <a:lnTo>
                    <a:pt x="223" y="592"/>
                  </a:lnTo>
                  <a:lnTo>
                    <a:pt x="223" y="593"/>
                  </a:lnTo>
                  <a:lnTo>
                    <a:pt x="223" y="594"/>
                  </a:lnTo>
                  <a:lnTo>
                    <a:pt x="223" y="596"/>
                  </a:lnTo>
                  <a:lnTo>
                    <a:pt x="223" y="597"/>
                  </a:lnTo>
                  <a:lnTo>
                    <a:pt x="222" y="599"/>
                  </a:lnTo>
                  <a:lnTo>
                    <a:pt x="222" y="600"/>
                  </a:lnTo>
                  <a:lnTo>
                    <a:pt x="222" y="600"/>
                  </a:lnTo>
                  <a:lnTo>
                    <a:pt x="222" y="600"/>
                  </a:lnTo>
                  <a:lnTo>
                    <a:pt x="221" y="601"/>
                  </a:lnTo>
                  <a:lnTo>
                    <a:pt x="221" y="601"/>
                  </a:lnTo>
                  <a:lnTo>
                    <a:pt x="220" y="602"/>
                  </a:lnTo>
                  <a:lnTo>
                    <a:pt x="218" y="603"/>
                  </a:lnTo>
                  <a:lnTo>
                    <a:pt x="217" y="603"/>
                  </a:lnTo>
                  <a:lnTo>
                    <a:pt x="217" y="604"/>
                  </a:lnTo>
                  <a:lnTo>
                    <a:pt x="216" y="604"/>
                  </a:lnTo>
                  <a:lnTo>
                    <a:pt x="216" y="605"/>
                  </a:lnTo>
                  <a:lnTo>
                    <a:pt x="214" y="609"/>
                  </a:lnTo>
                  <a:lnTo>
                    <a:pt x="214" y="610"/>
                  </a:lnTo>
                  <a:lnTo>
                    <a:pt x="213" y="611"/>
                  </a:lnTo>
                  <a:lnTo>
                    <a:pt x="211" y="613"/>
                  </a:lnTo>
                  <a:lnTo>
                    <a:pt x="211" y="614"/>
                  </a:lnTo>
                  <a:lnTo>
                    <a:pt x="210" y="614"/>
                  </a:lnTo>
                  <a:lnTo>
                    <a:pt x="210" y="615"/>
                  </a:lnTo>
                  <a:lnTo>
                    <a:pt x="209" y="615"/>
                  </a:lnTo>
                  <a:lnTo>
                    <a:pt x="208" y="615"/>
                  </a:lnTo>
                  <a:lnTo>
                    <a:pt x="207" y="616"/>
                  </a:lnTo>
                  <a:lnTo>
                    <a:pt x="206" y="616"/>
                  </a:lnTo>
                  <a:lnTo>
                    <a:pt x="203" y="616"/>
                  </a:lnTo>
                  <a:lnTo>
                    <a:pt x="201" y="616"/>
                  </a:lnTo>
                  <a:lnTo>
                    <a:pt x="200" y="617"/>
                  </a:lnTo>
                  <a:lnTo>
                    <a:pt x="199" y="617"/>
                  </a:lnTo>
                  <a:lnTo>
                    <a:pt x="198" y="617"/>
                  </a:lnTo>
                  <a:lnTo>
                    <a:pt x="197" y="618"/>
                  </a:lnTo>
                  <a:lnTo>
                    <a:pt x="195" y="619"/>
                  </a:lnTo>
                  <a:lnTo>
                    <a:pt x="194" y="620"/>
                  </a:lnTo>
                  <a:lnTo>
                    <a:pt x="192" y="622"/>
                  </a:lnTo>
                  <a:lnTo>
                    <a:pt x="190" y="623"/>
                  </a:lnTo>
                  <a:lnTo>
                    <a:pt x="190" y="624"/>
                  </a:lnTo>
                  <a:lnTo>
                    <a:pt x="189" y="625"/>
                  </a:lnTo>
                  <a:lnTo>
                    <a:pt x="189" y="626"/>
                  </a:lnTo>
                  <a:lnTo>
                    <a:pt x="188" y="627"/>
                  </a:lnTo>
                  <a:lnTo>
                    <a:pt x="189" y="627"/>
                  </a:lnTo>
                  <a:lnTo>
                    <a:pt x="188" y="628"/>
                  </a:lnTo>
                  <a:lnTo>
                    <a:pt x="187" y="629"/>
                  </a:lnTo>
                  <a:lnTo>
                    <a:pt x="186" y="630"/>
                  </a:lnTo>
                  <a:lnTo>
                    <a:pt x="185" y="631"/>
                  </a:lnTo>
                  <a:lnTo>
                    <a:pt x="183" y="632"/>
                  </a:lnTo>
                  <a:lnTo>
                    <a:pt x="182" y="632"/>
                  </a:lnTo>
                  <a:lnTo>
                    <a:pt x="181" y="632"/>
                  </a:lnTo>
                  <a:lnTo>
                    <a:pt x="178" y="633"/>
                  </a:lnTo>
                  <a:lnTo>
                    <a:pt x="177" y="633"/>
                  </a:lnTo>
                  <a:lnTo>
                    <a:pt x="176" y="633"/>
                  </a:lnTo>
                  <a:lnTo>
                    <a:pt x="176" y="633"/>
                  </a:lnTo>
                  <a:lnTo>
                    <a:pt x="175" y="633"/>
                  </a:lnTo>
                  <a:lnTo>
                    <a:pt x="174" y="633"/>
                  </a:lnTo>
                  <a:lnTo>
                    <a:pt x="174" y="632"/>
                  </a:lnTo>
                  <a:lnTo>
                    <a:pt x="174" y="632"/>
                  </a:lnTo>
                  <a:lnTo>
                    <a:pt x="173" y="631"/>
                  </a:lnTo>
                  <a:lnTo>
                    <a:pt x="172" y="628"/>
                  </a:lnTo>
                  <a:lnTo>
                    <a:pt x="172" y="627"/>
                  </a:lnTo>
                  <a:lnTo>
                    <a:pt x="171" y="625"/>
                  </a:lnTo>
                  <a:lnTo>
                    <a:pt x="169" y="623"/>
                  </a:lnTo>
                  <a:lnTo>
                    <a:pt x="167" y="621"/>
                  </a:lnTo>
                  <a:lnTo>
                    <a:pt x="167" y="619"/>
                  </a:lnTo>
                  <a:lnTo>
                    <a:pt x="166" y="619"/>
                  </a:lnTo>
                  <a:lnTo>
                    <a:pt x="166" y="619"/>
                  </a:lnTo>
                  <a:lnTo>
                    <a:pt x="165" y="619"/>
                  </a:lnTo>
                  <a:lnTo>
                    <a:pt x="164" y="619"/>
                  </a:lnTo>
                  <a:lnTo>
                    <a:pt x="163" y="620"/>
                  </a:lnTo>
                  <a:lnTo>
                    <a:pt x="163" y="620"/>
                  </a:lnTo>
                  <a:lnTo>
                    <a:pt x="162" y="621"/>
                  </a:lnTo>
                  <a:lnTo>
                    <a:pt x="160" y="623"/>
                  </a:lnTo>
                  <a:lnTo>
                    <a:pt x="159" y="624"/>
                  </a:lnTo>
                  <a:lnTo>
                    <a:pt x="159" y="625"/>
                  </a:lnTo>
                  <a:lnTo>
                    <a:pt x="158" y="625"/>
                  </a:lnTo>
                  <a:lnTo>
                    <a:pt x="158" y="625"/>
                  </a:lnTo>
                  <a:lnTo>
                    <a:pt x="157" y="625"/>
                  </a:lnTo>
                  <a:lnTo>
                    <a:pt x="156" y="625"/>
                  </a:lnTo>
                  <a:lnTo>
                    <a:pt x="156" y="625"/>
                  </a:lnTo>
                  <a:lnTo>
                    <a:pt x="155" y="624"/>
                  </a:lnTo>
                  <a:lnTo>
                    <a:pt x="155" y="624"/>
                  </a:lnTo>
                  <a:lnTo>
                    <a:pt x="154" y="622"/>
                  </a:lnTo>
                  <a:lnTo>
                    <a:pt x="154" y="621"/>
                  </a:lnTo>
                  <a:lnTo>
                    <a:pt x="154" y="620"/>
                  </a:lnTo>
                  <a:lnTo>
                    <a:pt x="154" y="618"/>
                  </a:lnTo>
                  <a:lnTo>
                    <a:pt x="154" y="618"/>
                  </a:lnTo>
                  <a:lnTo>
                    <a:pt x="154" y="618"/>
                  </a:lnTo>
                  <a:lnTo>
                    <a:pt x="154" y="617"/>
                  </a:lnTo>
                  <a:lnTo>
                    <a:pt x="153" y="617"/>
                  </a:lnTo>
                  <a:lnTo>
                    <a:pt x="153" y="617"/>
                  </a:lnTo>
                  <a:lnTo>
                    <a:pt x="153" y="618"/>
                  </a:lnTo>
                  <a:lnTo>
                    <a:pt x="153" y="618"/>
                  </a:lnTo>
                  <a:lnTo>
                    <a:pt x="152" y="618"/>
                  </a:lnTo>
                  <a:lnTo>
                    <a:pt x="152" y="619"/>
                  </a:lnTo>
                  <a:lnTo>
                    <a:pt x="149" y="619"/>
                  </a:lnTo>
                  <a:lnTo>
                    <a:pt x="147" y="619"/>
                  </a:lnTo>
                  <a:lnTo>
                    <a:pt x="146" y="619"/>
                  </a:lnTo>
                  <a:lnTo>
                    <a:pt x="146" y="619"/>
                  </a:lnTo>
                  <a:lnTo>
                    <a:pt x="146" y="619"/>
                  </a:lnTo>
                  <a:lnTo>
                    <a:pt x="145" y="619"/>
                  </a:lnTo>
                  <a:lnTo>
                    <a:pt x="145" y="619"/>
                  </a:lnTo>
                  <a:lnTo>
                    <a:pt x="144" y="620"/>
                  </a:lnTo>
                  <a:lnTo>
                    <a:pt x="144" y="619"/>
                  </a:lnTo>
                  <a:lnTo>
                    <a:pt x="144" y="619"/>
                  </a:lnTo>
                  <a:lnTo>
                    <a:pt x="143" y="617"/>
                  </a:lnTo>
                  <a:lnTo>
                    <a:pt x="142" y="615"/>
                  </a:lnTo>
                  <a:lnTo>
                    <a:pt x="142" y="614"/>
                  </a:lnTo>
                  <a:lnTo>
                    <a:pt x="141" y="613"/>
                  </a:lnTo>
                  <a:lnTo>
                    <a:pt x="140" y="611"/>
                  </a:lnTo>
                  <a:lnTo>
                    <a:pt x="137" y="607"/>
                  </a:lnTo>
                  <a:lnTo>
                    <a:pt x="136" y="606"/>
                  </a:lnTo>
                  <a:lnTo>
                    <a:pt x="135" y="605"/>
                  </a:lnTo>
                  <a:lnTo>
                    <a:pt x="134" y="604"/>
                  </a:lnTo>
                  <a:lnTo>
                    <a:pt x="133" y="604"/>
                  </a:lnTo>
                  <a:lnTo>
                    <a:pt x="131" y="603"/>
                  </a:lnTo>
                  <a:lnTo>
                    <a:pt x="130" y="602"/>
                  </a:lnTo>
                  <a:lnTo>
                    <a:pt x="129" y="602"/>
                  </a:lnTo>
                  <a:lnTo>
                    <a:pt x="128" y="602"/>
                  </a:lnTo>
                  <a:lnTo>
                    <a:pt x="123" y="601"/>
                  </a:lnTo>
                  <a:lnTo>
                    <a:pt x="122" y="600"/>
                  </a:lnTo>
                  <a:lnTo>
                    <a:pt x="121" y="600"/>
                  </a:lnTo>
                  <a:lnTo>
                    <a:pt x="120" y="599"/>
                  </a:lnTo>
                  <a:lnTo>
                    <a:pt x="119" y="598"/>
                  </a:lnTo>
                  <a:lnTo>
                    <a:pt x="118" y="598"/>
                  </a:lnTo>
                  <a:lnTo>
                    <a:pt x="118" y="597"/>
                  </a:lnTo>
                  <a:lnTo>
                    <a:pt x="118" y="597"/>
                  </a:lnTo>
                  <a:lnTo>
                    <a:pt x="118" y="597"/>
                  </a:lnTo>
                  <a:lnTo>
                    <a:pt x="118" y="596"/>
                  </a:lnTo>
                  <a:lnTo>
                    <a:pt x="118" y="595"/>
                  </a:lnTo>
                  <a:lnTo>
                    <a:pt x="119" y="594"/>
                  </a:lnTo>
                  <a:lnTo>
                    <a:pt x="119" y="593"/>
                  </a:lnTo>
                  <a:lnTo>
                    <a:pt x="120" y="593"/>
                  </a:lnTo>
                  <a:lnTo>
                    <a:pt x="120" y="592"/>
                  </a:lnTo>
                  <a:lnTo>
                    <a:pt x="121" y="592"/>
                  </a:lnTo>
                  <a:lnTo>
                    <a:pt x="122" y="592"/>
                  </a:lnTo>
                  <a:lnTo>
                    <a:pt x="123" y="591"/>
                  </a:lnTo>
                  <a:lnTo>
                    <a:pt x="124" y="591"/>
                  </a:lnTo>
                  <a:lnTo>
                    <a:pt x="125" y="591"/>
                  </a:lnTo>
                  <a:lnTo>
                    <a:pt x="126" y="591"/>
                  </a:lnTo>
                  <a:lnTo>
                    <a:pt x="129" y="591"/>
                  </a:lnTo>
                  <a:lnTo>
                    <a:pt x="132" y="592"/>
                  </a:lnTo>
                  <a:lnTo>
                    <a:pt x="133" y="592"/>
                  </a:lnTo>
                  <a:lnTo>
                    <a:pt x="133" y="592"/>
                  </a:lnTo>
                  <a:lnTo>
                    <a:pt x="134" y="592"/>
                  </a:lnTo>
                  <a:lnTo>
                    <a:pt x="134" y="591"/>
                  </a:lnTo>
                  <a:lnTo>
                    <a:pt x="134" y="591"/>
                  </a:lnTo>
                  <a:lnTo>
                    <a:pt x="135" y="591"/>
                  </a:lnTo>
                  <a:lnTo>
                    <a:pt x="135" y="590"/>
                  </a:lnTo>
                  <a:lnTo>
                    <a:pt x="135" y="590"/>
                  </a:lnTo>
                  <a:lnTo>
                    <a:pt x="135" y="589"/>
                  </a:lnTo>
                  <a:lnTo>
                    <a:pt x="135" y="587"/>
                  </a:lnTo>
                  <a:lnTo>
                    <a:pt x="134" y="585"/>
                  </a:lnTo>
                  <a:lnTo>
                    <a:pt x="134" y="584"/>
                  </a:lnTo>
                  <a:lnTo>
                    <a:pt x="134" y="583"/>
                  </a:lnTo>
                  <a:lnTo>
                    <a:pt x="134" y="582"/>
                  </a:lnTo>
                  <a:lnTo>
                    <a:pt x="134" y="582"/>
                  </a:lnTo>
                  <a:lnTo>
                    <a:pt x="135" y="580"/>
                  </a:lnTo>
                  <a:lnTo>
                    <a:pt x="136" y="579"/>
                  </a:lnTo>
                  <a:lnTo>
                    <a:pt x="136" y="578"/>
                  </a:lnTo>
                  <a:lnTo>
                    <a:pt x="136" y="577"/>
                  </a:lnTo>
                  <a:lnTo>
                    <a:pt x="136" y="577"/>
                  </a:lnTo>
                  <a:lnTo>
                    <a:pt x="136" y="576"/>
                  </a:lnTo>
                  <a:lnTo>
                    <a:pt x="136" y="575"/>
                  </a:lnTo>
                  <a:lnTo>
                    <a:pt x="136" y="574"/>
                  </a:lnTo>
                  <a:lnTo>
                    <a:pt x="136" y="572"/>
                  </a:lnTo>
                  <a:lnTo>
                    <a:pt x="135" y="568"/>
                  </a:lnTo>
                  <a:lnTo>
                    <a:pt x="134" y="566"/>
                  </a:lnTo>
                  <a:lnTo>
                    <a:pt x="133" y="563"/>
                  </a:lnTo>
                  <a:lnTo>
                    <a:pt x="131" y="558"/>
                  </a:lnTo>
                  <a:lnTo>
                    <a:pt x="130" y="556"/>
                  </a:lnTo>
                  <a:lnTo>
                    <a:pt x="128" y="553"/>
                  </a:lnTo>
                  <a:lnTo>
                    <a:pt x="127" y="551"/>
                  </a:lnTo>
                  <a:lnTo>
                    <a:pt x="125" y="547"/>
                  </a:lnTo>
                  <a:lnTo>
                    <a:pt x="124" y="547"/>
                  </a:lnTo>
                  <a:lnTo>
                    <a:pt x="124" y="546"/>
                  </a:lnTo>
                  <a:lnTo>
                    <a:pt x="123" y="545"/>
                  </a:lnTo>
                  <a:lnTo>
                    <a:pt x="123" y="544"/>
                  </a:lnTo>
                  <a:lnTo>
                    <a:pt x="123" y="540"/>
                  </a:lnTo>
                  <a:lnTo>
                    <a:pt x="123" y="539"/>
                  </a:lnTo>
                  <a:lnTo>
                    <a:pt x="123" y="536"/>
                  </a:lnTo>
                  <a:lnTo>
                    <a:pt x="123" y="535"/>
                  </a:lnTo>
                  <a:lnTo>
                    <a:pt x="122" y="534"/>
                  </a:lnTo>
                  <a:lnTo>
                    <a:pt x="122" y="533"/>
                  </a:lnTo>
                  <a:lnTo>
                    <a:pt x="121" y="532"/>
                  </a:lnTo>
                  <a:lnTo>
                    <a:pt x="119" y="530"/>
                  </a:lnTo>
                  <a:lnTo>
                    <a:pt x="118" y="529"/>
                  </a:lnTo>
                  <a:lnTo>
                    <a:pt x="117" y="529"/>
                  </a:lnTo>
                  <a:lnTo>
                    <a:pt x="117" y="528"/>
                  </a:lnTo>
                  <a:lnTo>
                    <a:pt x="116" y="527"/>
                  </a:lnTo>
                  <a:lnTo>
                    <a:pt x="116" y="526"/>
                  </a:lnTo>
                  <a:lnTo>
                    <a:pt x="116" y="525"/>
                  </a:lnTo>
                  <a:lnTo>
                    <a:pt x="116" y="524"/>
                  </a:lnTo>
                  <a:lnTo>
                    <a:pt x="116" y="523"/>
                  </a:lnTo>
                  <a:lnTo>
                    <a:pt x="117" y="520"/>
                  </a:lnTo>
                  <a:lnTo>
                    <a:pt x="117" y="519"/>
                  </a:lnTo>
                  <a:lnTo>
                    <a:pt x="117" y="517"/>
                  </a:lnTo>
                  <a:lnTo>
                    <a:pt x="117" y="515"/>
                  </a:lnTo>
                  <a:lnTo>
                    <a:pt x="117" y="513"/>
                  </a:lnTo>
                  <a:lnTo>
                    <a:pt x="116" y="509"/>
                  </a:lnTo>
                  <a:lnTo>
                    <a:pt x="115" y="507"/>
                  </a:lnTo>
                  <a:lnTo>
                    <a:pt x="114" y="504"/>
                  </a:lnTo>
                  <a:lnTo>
                    <a:pt x="114" y="503"/>
                  </a:lnTo>
                  <a:lnTo>
                    <a:pt x="113" y="502"/>
                  </a:lnTo>
                  <a:lnTo>
                    <a:pt x="113" y="501"/>
                  </a:lnTo>
                  <a:lnTo>
                    <a:pt x="114" y="499"/>
                  </a:lnTo>
                  <a:lnTo>
                    <a:pt x="114" y="497"/>
                  </a:lnTo>
                  <a:lnTo>
                    <a:pt x="115" y="492"/>
                  </a:lnTo>
                  <a:lnTo>
                    <a:pt x="116" y="489"/>
                  </a:lnTo>
                  <a:lnTo>
                    <a:pt x="116" y="488"/>
                  </a:lnTo>
                  <a:lnTo>
                    <a:pt x="116" y="487"/>
                  </a:lnTo>
                  <a:lnTo>
                    <a:pt x="116" y="486"/>
                  </a:lnTo>
                  <a:lnTo>
                    <a:pt x="116" y="481"/>
                  </a:lnTo>
                  <a:lnTo>
                    <a:pt x="116" y="480"/>
                  </a:lnTo>
                  <a:lnTo>
                    <a:pt x="116" y="479"/>
                  </a:lnTo>
                  <a:lnTo>
                    <a:pt x="117" y="478"/>
                  </a:lnTo>
                  <a:lnTo>
                    <a:pt x="117" y="477"/>
                  </a:lnTo>
                  <a:lnTo>
                    <a:pt x="118" y="473"/>
                  </a:lnTo>
                  <a:lnTo>
                    <a:pt x="118" y="471"/>
                  </a:lnTo>
                  <a:lnTo>
                    <a:pt x="119" y="469"/>
                  </a:lnTo>
                  <a:lnTo>
                    <a:pt x="119" y="468"/>
                  </a:lnTo>
                  <a:lnTo>
                    <a:pt x="118" y="466"/>
                  </a:lnTo>
                  <a:lnTo>
                    <a:pt x="118" y="465"/>
                  </a:lnTo>
                  <a:lnTo>
                    <a:pt x="118" y="463"/>
                  </a:lnTo>
                  <a:lnTo>
                    <a:pt x="118" y="462"/>
                  </a:lnTo>
                  <a:lnTo>
                    <a:pt x="117" y="460"/>
                  </a:lnTo>
                  <a:lnTo>
                    <a:pt x="116" y="458"/>
                  </a:lnTo>
                  <a:lnTo>
                    <a:pt x="115" y="457"/>
                  </a:lnTo>
                  <a:lnTo>
                    <a:pt x="114" y="455"/>
                  </a:lnTo>
                  <a:lnTo>
                    <a:pt x="114" y="454"/>
                  </a:lnTo>
                  <a:lnTo>
                    <a:pt x="113" y="453"/>
                  </a:lnTo>
                  <a:lnTo>
                    <a:pt x="112" y="453"/>
                  </a:lnTo>
                  <a:lnTo>
                    <a:pt x="111" y="452"/>
                  </a:lnTo>
                  <a:lnTo>
                    <a:pt x="110" y="451"/>
                  </a:lnTo>
                  <a:lnTo>
                    <a:pt x="109" y="451"/>
                  </a:lnTo>
                  <a:lnTo>
                    <a:pt x="108" y="451"/>
                  </a:lnTo>
                  <a:lnTo>
                    <a:pt x="108" y="451"/>
                  </a:lnTo>
                  <a:lnTo>
                    <a:pt x="107" y="450"/>
                  </a:lnTo>
                  <a:lnTo>
                    <a:pt x="106" y="451"/>
                  </a:lnTo>
                  <a:lnTo>
                    <a:pt x="100" y="451"/>
                  </a:lnTo>
                  <a:lnTo>
                    <a:pt x="99" y="451"/>
                  </a:lnTo>
                  <a:lnTo>
                    <a:pt x="98" y="451"/>
                  </a:lnTo>
                  <a:lnTo>
                    <a:pt x="93" y="451"/>
                  </a:lnTo>
                  <a:lnTo>
                    <a:pt x="91" y="451"/>
                  </a:lnTo>
                  <a:lnTo>
                    <a:pt x="88" y="451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78" y="450"/>
                  </a:lnTo>
                  <a:lnTo>
                    <a:pt x="77" y="450"/>
                  </a:lnTo>
                  <a:lnTo>
                    <a:pt x="75" y="451"/>
                  </a:lnTo>
                  <a:lnTo>
                    <a:pt x="72" y="451"/>
                  </a:lnTo>
                  <a:lnTo>
                    <a:pt x="71" y="451"/>
                  </a:lnTo>
                  <a:lnTo>
                    <a:pt x="71" y="452"/>
                  </a:lnTo>
                  <a:lnTo>
                    <a:pt x="70" y="452"/>
                  </a:lnTo>
                  <a:lnTo>
                    <a:pt x="69" y="451"/>
                  </a:lnTo>
                  <a:lnTo>
                    <a:pt x="69" y="451"/>
                  </a:lnTo>
                  <a:lnTo>
                    <a:pt x="68" y="451"/>
                  </a:lnTo>
                  <a:lnTo>
                    <a:pt x="67" y="450"/>
                  </a:lnTo>
                  <a:lnTo>
                    <a:pt x="66" y="450"/>
                  </a:lnTo>
                  <a:lnTo>
                    <a:pt x="66" y="450"/>
                  </a:lnTo>
                  <a:lnTo>
                    <a:pt x="65" y="449"/>
                  </a:lnTo>
                  <a:lnTo>
                    <a:pt x="65" y="449"/>
                  </a:lnTo>
                  <a:lnTo>
                    <a:pt x="64" y="448"/>
                  </a:lnTo>
                  <a:lnTo>
                    <a:pt x="64" y="448"/>
                  </a:lnTo>
                  <a:lnTo>
                    <a:pt x="64" y="447"/>
                  </a:lnTo>
                  <a:lnTo>
                    <a:pt x="64" y="446"/>
                  </a:lnTo>
                  <a:lnTo>
                    <a:pt x="64" y="444"/>
                  </a:lnTo>
                  <a:lnTo>
                    <a:pt x="64" y="441"/>
                  </a:lnTo>
                  <a:lnTo>
                    <a:pt x="64" y="440"/>
                  </a:lnTo>
                  <a:lnTo>
                    <a:pt x="63" y="439"/>
                  </a:lnTo>
                  <a:lnTo>
                    <a:pt x="63" y="438"/>
                  </a:lnTo>
                  <a:lnTo>
                    <a:pt x="63" y="437"/>
                  </a:lnTo>
                  <a:lnTo>
                    <a:pt x="62" y="436"/>
                  </a:lnTo>
                  <a:lnTo>
                    <a:pt x="62" y="436"/>
                  </a:lnTo>
                  <a:lnTo>
                    <a:pt x="61" y="435"/>
                  </a:lnTo>
                  <a:lnTo>
                    <a:pt x="61" y="434"/>
                  </a:lnTo>
                  <a:lnTo>
                    <a:pt x="60" y="434"/>
                  </a:lnTo>
                  <a:lnTo>
                    <a:pt x="58" y="433"/>
                  </a:lnTo>
                  <a:lnTo>
                    <a:pt x="54" y="431"/>
                  </a:lnTo>
                  <a:lnTo>
                    <a:pt x="52" y="430"/>
                  </a:lnTo>
                  <a:lnTo>
                    <a:pt x="51" y="429"/>
                  </a:lnTo>
                  <a:lnTo>
                    <a:pt x="50" y="429"/>
                  </a:lnTo>
                  <a:lnTo>
                    <a:pt x="48" y="429"/>
                  </a:lnTo>
                  <a:lnTo>
                    <a:pt x="46" y="428"/>
                  </a:lnTo>
                  <a:lnTo>
                    <a:pt x="44" y="428"/>
                  </a:lnTo>
                  <a:lnTo>
                    <a:pt x="41" y="428"/>
                  </a:lnTo>
                  <a:lnTo>
                    <a:pt x="39" y="427"/>
                  </a:lnTo>
                  <a:lnTo>
                    <a:pt x="36" y="427"/>
                  </a:lnTo>
                  <a:lnTo>
                    <a:pt x="31" y="425"/>
                  </a:lnTo>
                  <a:lnTo>
                    <a:pt x="30" y="425"/>
                  </a:lnTo>
                  <a:lnTo>
                    <a:pt x="28" y="425"/>
                  </a:lnTo>
                  <a:lnTo>
                    <a:pt x="23" y="424"/>
                  </a:lnTo>
                  <a:lnTo>
                    <a:pt x="21" y="424"/>
                  </a:lnTo>
                  <a:lnTo>
                    <a:pt x="18" y="424"/>
                  </a:lnTo>
                  <a:lnTo>
                    <a:pt x="14" y="423"/>
                  </a:lnTo>
                  <a:lnTo>
                    <a:pt x="11" y="422"/>
                  </a:lnTo>
                  <a:lnTo>
                    <a:pt x="10" y="421"/>
                  </a:lnTo>
                  <a:lnTo>
                    <a:pt x="8" y="421"/>
                  </a:lnTo>
                  <a:lnTo>
                    <a:pt x="6" y="419"/>
                  </a:lnTo>
                  <a:lnTo>
                    <a:pt x="1" y="416"/>
                  </a:lnTo>
                  <a:lnTo>
                    <a:pt x="1" y="416"/>
                  </a:lnTo>
                  <a:lnTo>
                    <a:pt x="0" y="415"/>
                  </a:lnTo>
                  <a:lnTo>
                    <a:pt x="0" y="415"/>
                  </a:lnTo>
                  <a:lnTo>
                    <a:pt x="1" y="415"/>
                  </a:lnTo>
                  <a:lnTo>
                    <a:pt x="1" y="414"/>
                  </a:lnTo>
                  <a:lnTo>
                    <a:pt x="1" y="414"/>
                  </a:lnTo>
                  <a:lnTo>
                    <a:pt x="2" y="413"/>
                  </a:lnTo>
                  <a:lnTo>
                    <a:pt x="3" y="412"/>
                  </a:lnTo>
                  <a:lnTo>
                    <a:pt x="4" y="412"/>
                  </a:lnTo>
                  <a:lnTo>
                    <a:pt x="9" y="409"/>
                  </a:lnTo>
                  <a:lnTo>
                    <a:pt x="12" y="407"/>
                  </a:lnTo>
                  <a:lnTo>
                    <a:pt x="15" y="405"/>
                  </a:lnTo>
                  <a:lnTo>
                    <a:pt x="16" y="404"/>
                  </a:lnTo>
                  <a:lnTo>
                    <a:pt x="17" y="403"/>
                  </a:lnTo>
                  <a:lnTo>
                    <a:pt x="19" y="401"/>
                  </a:lnTo>
                  <a:lnTo>
                    <a:pt x="26" y="394"/>
                  </a:lnTo>
                  <a:lnTo>
                    <a:pt x="27" y="392"/>
                  </a:lnTo>
                  <a:lnTo>
                    <a:pt x="29" y="390"/>
                  </a:lnTo>
                  <a:lnTo>
                    <a:pt x="30" y="388"/>
                  </a:lnTo>
                  <a:lnTo>
                    <a:pt x="30" y="387"/>
                  </a:lnTo>
                  <a:lnTo>
                    <a:pt x="31" y="385"/>
                  </a:lnTo>
                  <a:lnTo>
                    <a:pt x="31" y="384"/>
                  </a:lnTo>
                  <a:lnTo>
                    <a:pt x="32" y="381"/>
                  </a:lnTo>
                  <a:lnTo>
                    <a:pt x="32" y="374"/>
                  </a:lnTo>
                  <a:lnTo>
                    <a:pt x="33" y="370"/>
                  </a:lnTo>
                  <a:lnTo>
                    <a:pt x="33" y="366"/>
                  </a:lnTo>
                  <a:lnTo>
                    <a:pt x="34" y="364"/>
                  </a:lnTo>
                  <a:lnTo>
                    <a:pt x="34" y="362"/>
                  </a:lnTo>
                  <a:lnTo>
                    <a:pt x="35" y="360"/>
                  </a:lnTo>
                  <a:lnTo>
                    <a:pt x="35" y="359"/>
                  </a:lnTo>
                  <a:lnTo>
                    <a:pt x="36" y="357"/>
                  </a:lnTo>
                  <a:lnTo>
                    <a:pt x="37" y="356"/>
                  </a:lnTo>
                  <a:lnTo>
                    <a:pt x="37" y="354"/>
                  </a:lnTo>
                  <a:lnTo>
                    <a:pt x="38" y="354"/>
                  </a:lnTo>
                  <a:lnTo>
                    <a:pt x="39" y="353"/>
                  </a:lnTo>
                  <a:lnTo>
                    <a:pt x="39" y="352"/>
                  </a:lnTo>
                  <a:lnTo>
                    <a:pt x="40" y="351"/>
                  </a:lnTo>
                  <a:lnTo>
                    <a:pt x="41" y="351"/>
                  </a:lnTo>
                  <a:lnTo>
                    <a:pt x="42" y="351"/>
                  </a:lnTo>
                  <a:lnTo>
                    <a:pt x="43" y="351"/>
                  </a:lnTo>
                  <a:lnTo>
                    <a:pt x="44" y="351"/>
                  </a:lnTo>
                  <a:lnTo>
                    <a:pt x="45" y="351"/>
                  </a:lnTo>
                  <a:lnTo>
                    <a:pt x="50" y="352"/>
                  </a:lnTo>
                  <a:lnTo>
                    <a:pt x="51" y="352"/>
                  </a:lnTo>
                  <a:lnTo>
                    <a:pt x="53" y="352"/>
                  </a:lnTo>
                  <a:lnTo>
                    <a:pt x="55" y="352"/>
                  </a:lnTo>
                  <a:lnTo>
                    <a:pt x="56" y="353"/>
                  </a:lnTo>
                  <a:lnTo>
                    <a:pt x="58" y="352"/>
                  </a:lnTo>
                  <a:lnTo>
                    <a:pt x="60" y="352"/>
                  </a:lnTo>
                  <a:lnTo>
                    <a:pt x="63" y="352"/>
                  </a:lnTo>
                  <a:lnTo>
                    <a:pt x="65" y="351"/>
                  </a:lnTo>
                  <a:lnTo>
                    <a:pt x="68" y="351"/>
                  </a:lnTo>
                  <a:lnTo>
                    <a:pt x="73" y="349"/>
                  </a:lnTo>
                  <a:lnTo>
                    <a:pt x="74" y="348"/>
                  </a:lnTo>
                  <a:lnTo>
                    <a:pt x="76" y="348"/>
                  </a:lnTo>
                  <a:lnTo>
                    <a:pt x="77" y="348"/>
                  </a:lnTo>
                  <a:lnTo>
                    <a:pt x="78" y="348"/>
                  </a:lnTo>
                  <a:lnTo>
                    <a:pt x="79" y="348"/>
                  </a:lnTo>
                  <a:lnTo>
                    <a:pt x="80" y="348"/>
                  </a:lnTo>
                  <a:lnTo>
                    <a:pt x="81" y="348"/>
                  </a:lnTo>
                  <a:lnTo>
                    <a:pt x="84" y="350"/>
                  </a:lnTo>
                  <a:lnTo>
                    <a:pt x="85" y="350"/>
                  </a:lnTo>
                  <a:lnTo>
                    <a:pt x="86" y="350"/>
                  </a:lnTo>
                  <a:lnTo>
                    <a:pt x="91" y="351"/>
                  </a:lnTo>
                  <a:lnTo>
                    <a:pt x="95" y="352"/>
                  </a:lnTo>
                  <a:lnTo>
                    <a:pt x="97" y="352"/>
                  </a:lnTo>
                  <a:lnTo>
                    <a:pt x="98" y="352"/>
                  </a:lnTo>
                  <a:lnTo>
                    <a:pt x="99" y="352"/>
                  </a:lnTo>
                  <a:lnTo>
                    <a:pt x="100" y="352"/>
                  </a:lnTo>
                  <a:lnTo>
                    <a:pt x="101" y="352"/>
                  </a:lnTo>
                  <a:lnTo>
                    <a:pt x="102" y="351"/>
                  </a:lnTo>
                  <a:lnTo>
                    <a:pt x="103" y="351"/>
                  </a:lnTo>
                  <a:lnTo>
                    <a:pt x="104" y="351"/>
                  </a:lnTo>
                  <a:lnTo>
                    <a:pt x="104" y="350"/>
                  </a:lnTo>
                  <a:lnTo>
                    <a:pt x="105" y="350"/>
                  </a:lnTo>
                  <a:lnTo>
                    <a:pt x="106" y="349"/>
                  </a:lnTo>
                  <a:lnTo>
                    <a:pt x="107" y="348"/>
                  </a:lnTo>
                  <a:lnTo>
                    <a:pt x="110" y="343"/>
                  </a:lnTo>
                  <a:lnTo>
                    <a:pt x="111" y="341"/>
                  </a:lnTo>
                  <a:lnTo>
                    <a:pt x="111" y="340"/>
                  </a:lnTo>
                  <a:lnTo>
                    <a:pt x="115" y="333"/>
                  </a:lnTo>
                  <a:lnTo>
                    <a:pt x="116" y="331"/>
                  </a:lnTo>
                  <a:lnTo>
                    <a:pt x="117" y="329"/>
                  </a:lnTo>
                  <a:lnTo>
                    <a:pt x="118" y="325"/>
                  </a:lnTo>
                  <a:lnTo>
                    <a:pt x="119" y="324"/>
                  </a:lnTo>
                  <a:lnTo>
                    <a:pt x="119" y="321"/>
                  </a:lnTo>
                  <a:lnTo>
                    <a:pt x="120" y="318"/>
                  </a:lnTo>
                  <a:lnTo>
                    <a:pt x="120" y="316"/>
                  </a:lnTo>
                  <a:lnTo>
                    <a:pt x="120" y="315"/>
                  </a:lnTo>
                  <a:lnTo>
                    <a:pt x="121" y="313"/>
                  </a:lnTo>
                  <a:lnTo>
                    <a:pt x="123" y="307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7" name="Freeform 238">
              <a:extLst>
                <a:ext uri="{FF2B5EF4-FFF2-40B4-BE49-F238E27FC236}">
                  <a16:creationId xmlns:a16="http://schemas.microsoft.com/office/drawing/2014/main" id="{D6ED691A-4F6C-440B-BC06-CA0C7C0FF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65725" y="1829811"/>
              <a:ext cx="496275" cy="312847"/>
            </a:xfrm>
            <a:custGeom>
              <a:avLst/>
              <a:gdLst>
                <a:gd name="T0" fmla="*/ 5 w 487"/>
                <a:gd name="T1" fmla="*/ 300 h 307"/>
                <a:gd name="T2" fmla="*/ 12 w 487"/>
                <a:gd name="T3" fmla="*/ 297 h 307"/>
                <a:gd name="T4" fmla="*/ 22 w 487"/>
                <a:gd name="T5" fmla="*/ 302 h 307"/>
                <a:gd name="T6" fmla="*/ 30 w 487"/>
                <a:gd name="T7" fmla="*/ 304 h 307"/>
                <a:gd name="T8" fmla="*/ 35 w 487"/>
                <a:gd name="T9" fmla="*/ 301 h 307"/>
                <a:gd name="T10" fmla="*/ 41 w 487"/>
                <a:gd name="T11" fmla="*/ 289 h 307"/>
                <a:gd name="T12" fmla="*/ 55 w 487"/>
                <a:gd name="T13" fmla="*/ 278 h 307"/>
                <a:gd name="T14" fmla="*/ 60 w 487"/>
                <a:gd name="T15" fmla="*/ 265 h 307"/>
                <a:gd name="T16" fmla="*/ 63 w 487"/>
                <a:gd name="T17" fmla="*/ 263 h 307"/>
                <a:gd name="T18" fmla="*/ 71 w 487"/>
                <a:gd name="T19" fmla="*/ 269 h 307"/>
                <a:gd name="T20" fmla="*/ 82 w 487"/>
                <a:gd name="T21" fmla="*/ 283 h 307"/>
                <a:gd name="T22" fmla="*/ 93 w 487"/>
                <a:gd name="T23" fmla="*/ 288 h 307"/>
                <a:gd name="T24" fmla="*/ 99 w 487"/>
                <a:gd name="T25" fmla="*/ 286 h 307"/>
                <a:gd name="T26" fmla="*/ 118 w 487"/>
                <a:gd name="T27" fmla="*/ 268 h 307"/>
                <a:gd name="T28" fmla="*/ 121 w 487"/>
                <a:gd name="T29" fmla="*/ 259 h 307"/>
                <a:gd name="T30" fmla="*/ 127 w 487"/>
                <a:gd name="T31" fmla="*/ 247 h 307"/>
                <a:gd name="T32" fmla="*/ 128 w 487"/>
                <a:gd name="T33" fmla="*/ 238 h 307"/>
                <a:gd name="T34" fmla="*/ 128 w 487"/>
                <a:gd name="T35" fmla="*/ 226 h 307"/>
                <a:gd name="T36" fmla="*/ 134 w 487"/>
                <a:gd name="T37" fmla="*/ 221 h 307"/>
                <a:gd name="T38" fmla="*/ 153 w 487"/>
                <a:gd name="T39" fmla="*/ 220 h 307"/>
                <a:gd name="T40" fmla="*/ 166 w 487"/>
                <a:gd name="T41" fmla="*/ 215 h 307"/>
                <a:gd name="T42" fmla="*/ 178 w 487"/>
                <a:gd name="T43" fmla="*/ 210 h 307"/>
                <a:gd name="T44" fmla="*/ 190 w 487"/>
                <a:gd name="T45" fmla="*/ 214 h 307"/>
                <a:gd name="T46" fmla="*/ 198 w 487"/>
                <a:gd name="T47" fmla="*/ 215 h 307"/>
                <a:gd name="T48" fmla="*/ 208 w 487"/>
                <a:gd name="T49" fmla="*/ 210 h 307"/>
                <a:gd name="T50" fmla="*/ 229 w 487"/>
                <a:gd name="T51" fmla="*/ 208 h 307"/>
                <a:gd name="T52" fmla="*/ 246 w 487"/>
                <a:gd name="T53" fmla="*/ 212 h 307"/>
                <a:gd name="T54" fmla="*/ 260 w 487"/>
                <a:gd name="T55" fmla="*/ 211 h 307"/>
                <a:gd name="T56" fmla="*/ 272 w 487"/>
                <a:gd name="T57" fmla="*/ 204 h 307"/>
                <a:gd name="T58" fmla="*/ 277 w 487"/>
                <a:gd name="T59" fmla="*/ 198 h 307"/>
                <a:gd name="T60" fmla="*/ 278 w 487"/>
                <a:gd name="T61" fmla="*/ 183 h 307"/>
                <a:gd name="T62" fmla="*/ 281 w 487"/>
                <a:gd name="T63" fmla="*/ 175 h 307"/>
                <a:gd name="T64" fmla="*/ 290 w 487"/>
                <a:gd name="T65" fmla="*/ 171 h 307"/>
                <a:gd name="T66" fmla="*/ 304 w 487"/>
                <a:gd name="T67" fmla="*/ 162 h 307"/>
                <a:gd name="T68" fmla="*/ 317 w 487"/>
                <a:gd name="T69" fmla="*/ 156 h 307"/>
                <a:gd name="T70" fmla="*/ 333 w 487"/>
                <a:gd name="T71" fmla="*/ 160 h 307"/>
                <a:gd name="T72" fmla="*/ 349 w 487"/>
                <a:gd name="T73" fmla="*/ 158 h 307"/>
                <a:gd name="T74" fmla="*/ 366 w 487"/>
                <a:gd name="T75" fmla="*/ 148 h 307"/>
                <a:gd name="T76" fmla="*/ 405 w 487"/>
                <a:gd name="T77" fmla="*/ 132 h 307"/>
                <a:gd name="T78" fmla="*/ 416 w 487"/>
                <a:gd name="T79" fmla="*/ 123 h 307"/>
                <a:gd name="T80" fmla="*/ 425 w 487"/>
                <a:gd name="T81" fmla="*/ 111 h 307"/>
                <a:gd name="T82" fmla="*/ 436 w 487"/>
                <a:gd name="T83" fmla="*/ 108 h 307"/>
                <a:gd name="T84" fmla="*/ 450 w 487"/>
                <a:gd name="T85" fmla="*/ 109 h 307"/>
                <a:gd name="T86" fmla="*/ 468 w 487"/>
                <a:gd name="T87" fmla="*/ 105 h 307"/>
                <a:gd name="T88" fmla="*/ 480 w 487"/>
                <a:gd name="T89" fmla="*/ 101 h 307"/>
                <a:gd name="T90" fmla="*/ 486 w 487"/>
                <a:gd name="T91" fmla="*/ 89 h 307"/>
                <a:gd name="T92" fmla="*/ 487 w 487"/>
                <a:gd name="T93" fmla="*/ 81 h 307"/>
                <a:gd name="T94" fmla="*/ 481 w 487"/>
                <a:gd name="T95" fmla="*/ 77 h 307"/>
                <a:gd name="T96" fmla="*/ 458 w 487"/>
                <a:gd name="T97" fmla="*/ 67 h 307"/>
                <a:gd name="T98" fmla="*/ 454 w 487"/>
                <a:gd name="T99" fmla="*/ 61 h 307"/>
                <a:gd name="T100" fmla="*/ 454 w 487"/>
                <a:gd name="T101" fmla="*/ 56 h 307"/>
                <a:gd name="T102" fmla="*/ 455 w 487"/>
                <a:gd name="T103" fmla="*/ 50 h 307"/>
                <a:gd name="T104" fmla="*/ 445 w 487"/>
                <a:gd name="T105" fmla="*/ 48 h 307"/>
                <a:gd name="T106" fmla="*/ 436 w 487"/>
                <a:gd name="T107" fmla="*/ 45 h 307"/>
                <a:gd name="T108" fmla="*/ 433 w 487"/>
                <a:gd name="T109" fmla="*/ 38 h 307"/>
                <a:gd name="T110" fmla="*/ 437 w 487"/>
                <a:gd name="T111" fmla="*/ 26 h 307"/>
                <a:gd name="T112" fmla="*/ 441 w 487"/>
                <a:gd name="T113" fmla="*/ 12 h 307"/>
                <a:gd name="T114" fmla="*/ 450 w 487"/>
                <a:gd name="T115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7" h="307">
                  <a:moveTo>
                    <a:pt x="0" y="307"/>
                  </a:moveTo>
                  <a:lnTo>
                    <a:pt x="1" y="305"/>
                  </a:lnTo>
                  <a:lnTo>
                    <a:pt x="2" y="304"/>
                  </a:lnTo>
                  <a:lnTo>
                    <a:pt x="2" y="303"/>
                  </a:lnTo>
                  <a:lnTo>
                    <a:pt x="3" y="302"/>
                  </a:lnTo>
                  <a:lnTo>
                    <a:pt x="4" y="301"/>
                  </a:lnTo>
                  <a:lnTo>
                    <a:pt x="5" y="300"/>
                  </a:lnTo>
                  <a:lnTo>
                    <a:pt x="6" y="299"/>
                  </a:lnTo>
                  <a:lnTo>
                    <a:pt x="7" y="299"/>
                  </a:lnTo>
                  <a:lnTo>
                    <a:pt x="8" y="298"/>
                  </a:lnTo>
                  <a:lnTo>
                    <a:pt x="9" y="298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2" y="297"/>
                  </a:lnTo>
                  <a:lnTo>
                    <a:pt x="13" y="297"/>
                  </a:lnTo>
                  <a:lnTo>
                    <a:pt x="14" y="298"/>
                  </a:lnTo>
                  <a:lnTo>
                    <a:pt x="16" y="298"/>
                  </a:lnTo>
                  <a:lnTo>
                    <a:pt x="17" y="299"/>
                  </a:lnTo>
                  <a:lnTo>
                    <a:pt x="18" y="299"/>
                  </a:lnTo>
                  <a:lnTo>
                    <a:pt x="19" y="300"/>
                  </a:lnTo>
                  <a:lnTo>
                    <a:pt x="22" y="302"/>
                  </a:lnTo>
                  <a:lnTo>
                    <a:pt x="23" y="303"/>
                  </a:lnTo>
                  <a:lnTo>
                    <a:pt x="25" y="303"/>
                  </a:lnTo>
                  <a:lnTo>
                    <a:pt x="26" y="304"/>
                  </a:lnTo>
                  <a:lnTo>
                    <a:pt x="27" y="304"/>
                  </a:lnTo>
                  <a:lnTo>
                    <a:pt x="28" y="304"/>
                  </a:lnTo>
                  <a:lnTo>
                    <a:pt x="29" y="304"/>
                  </a:lnTo>
                  <a:lnTo>
                    <a:pt x="30" y="304"/>
                  </a:lnTo>
                  <a:lnTo>
                    <a:pt x="31" y="303"/>
                  </a:lnTo>
                  <a:lnTo>
                    <a:pt x="32" y="303"/>
                  </a:lnTo>
                  <a:lnTo>
                    <a:pt x="33" y="303"/>
                  </a:lnTo>
                  <a:lnTo>
                    <a:pt x="33" y="302"/>
                  </a:lnTo>
                  <a:lnTo>
                    <a:pt x="34" y="302"/>
                  </a:lnTo>
                  <a:lnTo>
                    <a:pt x="35" y="301"/>
                  </a:lnTo>
                  <a:lnTo>
                    <a:pt x="35" y="301"/>
                  </a:lnTo>
                  <a:lnTo>
                    <a:pt x="36" y="300"/>
                  </a:lnTo>
                  <a:lnTo>
                    <a:pt x="36" y="298"/>
                  </a:lnTo>
                  <a:lnTo>
                    <a:pt x="38" y="294"/>
                  </a:lnTo>
                  <a:lnTo>
                    <a:pt x="39" y="292"/>
                  </a:lnTo>
                  <a:lnTo>
                    <a:pt x="40" y="290"/>
                  </a:lnTo>
                  <a:lnTo>
                    <a:pt x="40" y="289"/>
                  </a:lnTo>
                  <a:lnTo>
                    <a:pt x="41" y="289"/>
                  </a:lnTo>
                  <a:lnTo>
                    <a:pt x="42" y="287"/>
                  </a:lnTo>
                  <a:lnTo>
                    <a:pt x="45" y="285"/>
                  </a:lnTo>
                  <a:lnTo>
                    <a:pt x="47" y="284"/>
                  </a:lnTo>
                  <a:lnTo>
                    <a:pt x="50" y="281"/>
                  </a:lnTo>
                  <a:lnTo>
                    <a:pt x="53" y="279"/>
                  </a:lnTo>
                  <a:lnTo>
                    <a:pt x="54" y="278"/>
                  </a:lnTo>
                  <a:lnTo>
                    <a:pt x="55" y="278"/>
                  </a:lnTo>
                  <a:lnTo>
                    <a:pt x="55" y="277"/>
                  </a:lnTo>
                  <a:lnTo>
                    <a:pt x="56" y="276"/>
                  </a:lnTo>
                  <a:lnTo>
                    <a:pt x="57" y="274"/>
                  </a:lnTo>
                  <a:lnTo>
                    <a:pt x="58" y="272"/>
                  </a:lnTo>
                  <a:lnTo>
                    <a:pt x="59" y="270"/>
                  </a:lnTo>
                  <a:lnTo>
                    <a:pt x="60" y="266"/>
                  </a:lnTo>
                  <a:lnTo>
                    <a:pt x="60" y="265"/>
                  </a:lnTo>
                  <a:lnTo>
                    <a:pt x="61" y="264"/>
                  </a:lnTo>
                  <a:lnTo>
                    <a:pt x="61" y="264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4" y="263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9" y="267"/>
                  </a:lnTo>
                  <a:lnTo>
                    <a:pt x="71" y="269"/>
                  </a:lnTo>
                  <a:lnTo>
                    <a:pt x="72" y="271"/>
                  </a:lnTo>
                  <a:lnTo>
                    <a:pt x="75" y="276"/>
                  </a:lnTo>
                  <a:lnTo>
                    <a:pt x="76" y="278"/>
                  </a:lnTo>
                  <a:lnTo>
                    <a:pt x="77" y="279"/>
                  </a:lnTo>
                  <a:lnTo>
                    <a:pt x="78" y="281"/>
                  </a:lnTo>
                  <a:lnTo>
                    <a:pt x="80" y="282"/>
                  </a:lnTo>
                  <a:lnTo>
                    <a:pt x="82" y="283"/>
                  </a:lnTo>
                  <a:lnTo>
                    <a:pt x="84" y="285"/>
                  </a:lnTo>
                  <a:lnTo>
                    <a:pt x="85" y="285"/>
                  </a:lnTo>
                  <a:lnTo>
                    <a:pt x="86" y="286"/>
                  </a:lnTo>
                  <a:lnTo>
                    <a:pt x="89" y="287"/>
                  </a:lnTo>
                  <a:lnTo>
                    <a:pt x="91" y="288"/>
                  </a:lnTo>
                  <a:lnTo>
                    <a:pt x="92" y="288"/>
                  </a:lnTo>
                  <a:lnTo>
                    <a:pt x="93" y="288"/>
                  </a:lnTo>
                  <a:lnTo>
                    <a:pt x="94" y="288"/>
                  </a:lnTo>
                  <a:lnTo>
                    <a:pt x="95" y="288"/>
                  </a:lnTo>
                  <a:lnTo>
                    <a:pt x="96" y="288"/>
                  </a:lnTo>
                  <a:lnTo>
                    <a:pt x="96" y="288"/>
                  </a:lnTo>
                  <a:lnTo>
                    <a:pt x="97" y="287"/>
                  </a:lnTo>
                  <a:lnTo>
                    <a:pt x="98" y="287"/>
                  </a:lnTo>
                  <a:lnTo>
                    <a:pt x="99" y="286"/>
                  </a:lnTo>
                  <a:lnTo>
                    <a:pt x="100" y="286"/>
                  </a:lnTo>
                  <a:lnTo>
                    <a:pt x="102" y="285"/>
                  </a:lnTo>
                  <a:lnTo>
                    <a:pt x="104" y="283"/>
                  </a:lnTo>
                  <a:lnTo>
                    <a:pt x="108" y="278"/>
                  </a:lnTo>
                  <a:lnTo>
                    <a:pt x="112" y="274"/>
                  </a:lnTo>
                  <a:lnTo>
                    <a:pt x="117" y="269"/>
                  </a:lnTo>
                  <a:lnTo>
                    <a:pt x="118" y="268"/>
                  </a:lnTo>
                  <a:lnTo>
                    <a:pt x="119" y="267"/>
                  </a:lnTo>
                  <a:lnTo>
                    <a:pt x="119" y="266"/>
                  </a:lnTo>
                  <a:lnTo>
                    <a:pt x="120" y="265"/>
                  </a:lnTo>
                  <a:lnTo>
                    <a:pt x="120" y="263"/>
                  </a:lnTo>
                  <a:lnTo>
                    <a:pt x="121" y="262"/>
                  </a:lnTo>
                  <a:lnTo>
                    <a:pt x="121" y="260"/>
                  </a:lnTo>
                  <a:lnTo>
                    <a:pt x="121" y="259"/>
                  </a:lnTo>
                  <a:lnTo>
                    <a:pt x="121" y="258"/>
                  </a:lnTo>
                  <a:lnTo>
                    <a:pt x="121" y="257"/>
                  </a:lnTo>
                  <a:lnTo>
                    <a:pt x="122" y="255"/>
                  </a:lnTo>
                  <a:lnTo>
                    <a:pt x="123" y="253"/>
                  </a:lnTo>
                  <a:lnTo>
                    <a:pt x="124" y="251"/>
                  </a:lnTo>
                  <a:lnTo>
                    <a:pt x="126" y="248"/>
                  </a:lnTo>
                  <a:lnTo>
                    <a:pt x="127" y="247"/>
                  </a:lnTo>
                  <a:lnTo>
                    <a:pt x="127" y="246"/>
                  </a:lnTo>
                  <a:lnTo>
                    <a:pt x="127" y="245"/>
                  </a:lnTo>
                  <a:lnTo>
                    <a:pt x="128" y="244"/>
                  </a:lnTo>
                  <a:lnTo>
                    <a:pt x="128" y="243"/>
                  </a:lnTo>
                  <a:lnTo>
                    <a:pt x="128" y="242"/>
                  </a:lnTo>
                  <a:lnTo>
                    <a:pt x="128" y="241"/>
                  </a:lnTo>
                  <a:lnTo>
                    <a:pt x="128" y="238"/>
                  </a:lnTo>
                  <a:lnTo>
                    <a:pt x="128" y="236"/>
                  </a:lnTo>
                  <a:lnTo>
                    <a:pt x="127" y="232"/>
                  </a:lnTo>
                  <a:lnTo>
                    <a:pt x="127" y="230"/>
                  </a:lnTo>
                  <a:lnTo>
                    <a:pt x="127" y="229"/>
                  </a:lnTo>
                  <a:lnTo>
                    <a:pt x="127" y="227"/>
                  </a:lnTo>
                  <a:lnTo>
                    <a:pt x="128" y="227"/>
                  </a:lnTo>
                  <a:lnTo>
                    <a:pt x="128" y="226"/>
                  </a:lnTo>
                  <a:lnTo>
                    <a:pt x="129" y="225"/>
                  </a:lnTo>
                  <a:lnTo>
                    <a:pt x="129" y="224"/>
                  </a:lnTo>
                  <a:lnTo>
                    <a:pt x="130" y="224"/>
                  </a:lnTo>
                  <a:lnTo>
                    <a:pt x="131" y="223"/>
                  </a:lnTo>
                  <a:lnTo>
                    <a:pt x="132" y="222"/>
                  </a:lnTo>
                  <a:lnTo>
                    <a:pt x="133" y="222"/>
                  </a:lnTo>
                  <a:lnTo>
                    <a:pt x="134" y="221"/>
                  </a:lnTo>
                  <a:lnTo>
                    <a:pt x="136" y="221"/>
                  </a:lnTo>
                  <a:lnTo>
                    <a:pt x="137" y="220"/>
                  </a:lnTo>
                  <a:lnTo>
                    <a:pt x="139" y="220"/>
                  </a:lnTo>
                  <a:lnTo>
                    <a:pt x="140" y="220"/>
                  </a:lnTo>
                  <a:lnTo>
                    <a:pt x="143" y="220"/>
                  </a:lnTo>
                  <a:lnTo>
                    <a:pt x="150" y="220"/>
                  </a:lnTo>
                  <a:lnTo>
                    <a:pt x="153" y="220"/>
                  </a:lnTo>
                  <a:lnTo>
                    <a:pt x="155" y="219"/>
                  </a:lnTo>
                  <a:lnTo>
                    <a:pt x="158" y="219"/>
                  </a:lnTo>
                  <a:lnTo>
                    <a:pt x="160" y="218"/>
                  </a:lnTo>
                  <a:lnTo>
                    <a:pt x="161" y="218"/>
                  </a:lnTo>
                  <a:lnTo>
                    <a:pt x="162" y="217"/>
                  </a:lnTo>
                  <a:lnTo>
                    <a:pt x="164" y="216"/>
                  </a:lnTo>
                  <a:lnTo>
                    <a:pt x="166" y="215"/>
                  </a:lnTo>
                  <a:lnTo>
                    <a:pt x="168" y="214"/>
                  </a:lnTo>
                  <a:lnTo>
                    <a:pt x="170" y="212"/>
                  </a:lnTo>
                  <a:lnTo>
                    <a:pt x="172" y="212"/>
                  </a:lnTo>
                  <a:lnTo>
                    <a:pt x="173" y="211"/>
                  </a:lnTo>
                  <a:lnTo>
                    <a:pt x="175" y="211"/>
                  </a:lnTo>
                  <a:lnTo>
                    <a:pt x="176" y="210"/>
                  </a:lnTo>
                  <a:lnTo>
                    <a:pt x="178" y="210"/>
                  </a:lnTo>
                  <a:lnTo>
                    <a:pt x="179" y="210"/>
                  </a:lnTo>
                  <a:lnTo>
                    <a:pt x="180" y="210"/>
                  </a:lnTo>
                  <a:lnTo>
                    <a:pt x="182" y="210"/>
                  </a:lnTo>
                  <a:lnTo>
                    <a:pt x="183" y="211"/>
                  </a:lnTo>
                  <a:lnTo>
                    <a:pt x="184" y="211"/>
                  </a:lnTo>
                  <a:lnTo>
                    <a:pt x="185" y="211"/>
                  </a:lnTo>
                  <a:lnTo>
                    <a:pt x="190" y="214"/>
                  </a:lnTo>
                  <a:lnTo>
                    <a:pt x="192" y="214"/>
                  </a:lnTo>
                  <a:lnTo>
                    <a:pt x="193" y="215"/>
                  </a:lnTo>
                  <a:lnTo>
                    <a:pt x="194" y="215"/>
                  </a:lnTo>
                  <a:lnTo>
                    <a:pt x="195" y="215"/>
                  </a:lnTo>
                  <a:lnTo>
                    <a:pt x="196" y="215"/>
                  </a:lnTo>
                  <a:lnTo>
                    <a:pt x="197" y="215"/>
                  </a:lnTo>
                  <a:lnTo>
                    <a:pt x="198" y="215"/>
                  </a:lnTo>
                  <a:lnTo>
                    <a:pt x="198" y="215"/>
                  </a:lnTo>
                  <a:lnTo>
                    <a:pt x="199" y="215"/>
                  </a:lnTo>
                  <a:lnTo>
                    <a:pt x="200" y="214"/>
                  </a:lnTo>
                  <a:lnTo>
                    <a:pt x="202" y="213"/>
                  </a:lnTo>
                  <a:lnTo>
                    <a:pt x="205" y="212"/>
                  </a:lnTo>
                  <a:lnTo>
                    <a:pt x="207" y="211"/>
                  </a:lnTo>
                  <a:lnTo>
                    <a:pt x="208" y="210"/>
                  </a:lnTo>
                  <a:lnTo>
                    <a:pt x="210" y="210"/>
                  </a:lnTo>
                  <a:lnTo>
                    <a:pt x="215" y="210"/>
                  </a:lnTo>
                  <a:lnTo>
                    <a:pt x="221" y="208"/>
                  </a:lnTo>
                  <a:lnTo>
                    <a:pt x="222" y="208"/>
                  </a:lnTo>
                  <a:lnTo>
                    <a:pt x="224" y="208"/>
                  </a:lnTo>
                  <a:lnTo>
                    <a:pt x="227" y="208"/>
                  </a:lnTo>
                  <a:lnTo>
                    <a:pt x="229" y="208"/>
                  </a:lnTo>
                  <a:lnTo>
                    <a:pt x="232" y="208"/>
                  </a:lnTo>
                  <a:lnTo>
                    <a:pt x="234" y="208"/>
                  </a:lnTo>
                  <a:lnTo>
                    <a:pt x="237" y="209"/>
                  </a:lnTo>
                  <a:lnTo>
                    <a:pt x="239" y="209"/>
                  </a:lnTo>
                  <a:lnTo>
                    <a:pt x="241" y="210"/>
                  </a:lnTo>
                  <a:lnTo>
                    <a:pt x="245" y="211"/>
                  </a:lnTo>
                  <a:lnTo>
                    <a:pt x="246" y="212"/>
                  </a:lnTo>
                  <a:lnTo>
                    <a:pt x="248" y="212"/>
                  </a:lnTo>
                  <a:lnTo>
                    <a:pt x="250" y="212"/>
                  </a:lnTo>
                  <a:lnTo>
                    <a:pt x="252" y="212"/>
                  </a:lnTo>
                  <a:lnTo>
                    <a:pt x="254" y="212"/>
                  </a:lnTo>
                  <a:lnTo>
                    <a:pt x="256" y="212"/>
                  </a:lnTo>
                  <a:lnTo>
                    <a:pt x="258" y="212"/>
                  </a:lnTo>
                  <a:lnTo>
                    <a:pt x="260" y="211"/>
                  </a:lnTo>
                  <a:lnTo>
                    <a:pt x="261" y="210"/>
                  </a:lnTo>
                  <a:lnTo>
                    <a:pt x="262" y="209"/>
                  </a:lnTo>
                  <a:lnTo>
                    <a:pt x="265" y="207"/>
                  </a:lnTo>
                  <a:lnTo>
                    <a:pt x="266" y="206"/>
                  </a:lnTo>
                  <a:lnTo>
                    <a:pt x="268" y="205"/>
                  </a:lnTo>
                  <a:lnTo>
                    <a:pt x="271" y="204"/>
                  </a:lnTo>
                  <a:lnTo>
                    <a:pt x="272" y="204"/>
                  </a:lnTo>
                  <a:lnTo>
                    <a:pt x="273" y="203"/>
                  </a:lnTo>
                  <a:lnTo>
                    <a:pt x="274" y="202"/>
                  </a:lnTo>
                  <a:lnTo>
                    <a:pt x="275" y="202"/>
                  </a:lnTo>
                  <a:lnTo>
                    <a:pt x="276" y="201"/>
                  </a:lnTo>
                  <a:lnTo>
                    <a:pt x="276" y="200"/>
                  </a:lnTo>
                  <a:lnTo>
                    <a:pt x="277" y="199"/>
                  </a:lnTo>
                  <a:lnTo>
                    <a:pt x="277" y="198"/>
                  </a:lnTo>
                  <a:lnTo>
                    <a:pt x="277" y="197"/>
                  </a:lnTo>
                  <a:lnTo>
                    <a:pt x="278" y="195"/>
                  </a:lnTo>
                  <a:lnTo>
                    <a:pt x="278" y="193"/>
                  </a:lnTo>
                  <a:lnTo>
                    <a:pt x="277" y="189"/>
                  </a:lnTo>
                  <a:lnTo>
                    <a:pt x="277" y="187"/>
                  </a:lnTo>
                  <a:lnTo>
                    <a:pt x="277" y="185"/>
                  </a:lnTo>
                  <a:lnTo>
                    <a:pt x="278" y="183"/>
                  </a:lnTo>
                  <a:lnTo>
                    <a:pt x="278" y="182"/>
                  </a:lnTo>
                  <a:lnTo>
                    <a:pt x="278" y="180"/>
                  </a:lnTo>
                  <a:lnTo>
                    <a:pt x="279" y="179"/>
                  </a:lnTo>
                  <a:lnTo>
                    <a:pt x="279" y="178"/>
                  </a:lnTo>
                  <a:lnTo>
                    <a:pt x="280" y="176"/>
                  </a:lnTo>
                  <a:lnTo>
                    <a:pt x="280" y="175"/>
                  </a:lnTo>
                  <a:lnTo>
                    <a:pt x="281" y="175"/>
                  </a:lnTo>
                  <a:lnTo>
                    <a:pt x="282" y="174"/>
                  </a:lnTo>
                  <a:lnTo>
                    <a:pt x="282" y="173"/>
                  </a:lnTo>
                  <a:lnTo>
                    <a:pt x="283" y="173"/>
                  </a:lnTo>
                  <a:lnTo>
                    <a:pt x="284" y="173"/>
                  </a:lnTo>
                  <a:lnTo>
                    <a:pt x="284" y="172"/>
                  </a:lnTo>
                  <a:lnTo>
                    <a:pt x="286" y="172"/>
                  </a:lnTo>
                  <a:lnTo>
                    <a:pt x="290" y="171"/>
                  </a:lnTo>
                  <a:lnTo>
                    <a:pt x="292" y="171"/>
                  </a:lnTo>
                  <a:lnTo>
                    <a:pt x="294" y="170"/>
                  </a:lnTo>
                  <a:lnTo>
                    <a:pt x="296" y="169"/>
                  </a:lnTo>
                  <a:lnTo>
                    <a:pt x="298" y="168"/>
                  </a:lnTo>
                  <a:lnTo>
                    <a:pt x="300" y="166"/>
                  </a:lnTo>
                  <a:lnTo>
                    <a:pt x="302" y="165"/>
                  </a:lnTo>
                  <a:lnTo>
                    <a:pt x="304" y="162"/>
                  </a:lnTo>
                  <a:lnTo>
                    <a:pt x="306" y="161"/>
                  </a:lnTo>
                  <a:lnTo>
                    <a:pt x="307" y="160"/>
                  </a:lnTo>
                  <a:lnTo>
                    <a:pt x="309" y="159"/>
                  </a:lnTo>
                  <a:lnTo>
                    <a:pt x="312" y="158"/>
                  </a:lnTo>
                  <a:lnTo>
                    <a:pt x="314" y="157"/>
                  </a:lnTo>
                  <a:lnTo>
                    <a:pt x="316" y="156"/>
                  </a:lnTo>
                  <a:lnTo>
                    <a:pt x="317" y="156"/>
                  </a:lnTo>
                  <a:lnTo>
                    <a:pt x="318" y="156"/>
                  </a:lnTo>
                  <a:lnTo>
                    <a:pt x="319" y="156"/>
                  </a:lnTo>
                  <a:lnTo>
                    <a:pt x="321" y="157"/>
                  </a:lnTo>
                  <a:lnTo>
                    <a:pt x="322" y="157"/>
                  </a:lnTo>
                  <a:lnTo>
                    <a:pt x="326" y="158"/>
                  </a:lnTo>
                  <a:lnTo>
                    <a:pt x="330" y="159"/>
                  </a:lnTo>
                  <a:lnTo>
                    <a:pt x="333" y="160"/>
                  </a:lnTo>
                  <a:lnTo>
                    <a:pt x="335" y="160"/>
                  </a:lnTo>
                  <a:lnTo>
                    <a:pt x="336" y="160"/>
                  </a:lnTo>
                  <a:lnTo>
                    <a:pt x="337" y="160"/>
                  </a:lnTo>
                  <a:lnTo>
                    <a:pt x="342" y="159"/>
                  </a:lnTo>
                  <a:lnTo>
                    <a:pt x="346" y="159"/>
                  </a:lnTo>
                  <a:lnTo>
                    <a:pt x="347" y="158"/>
                  </a:lnTo>
                  <a:lnTo>
                    <a:pt x="349" y="158"/>
                  </a:lnTo>
                  <a:lnTo>
                    <a:pt x="351" y="157"/>
                  </a:lnTo>
                  <a:lnTo>
                    <a:pt x="352" y="156"/>
                  </a:lnTo>
                  <a:lnTo>
                    <a:pt x="354" y="155"/>
                  </a:lnTo>
                  <a:lnTo>
                    <a:pt x="358" y="152"/>
                  </a:lnTo>
                  <a:lnTo>
                    <a:pt x="360" y="151"/>
                  </a:lnTo>
                  <a:lnTo>
                    <a:pt x="362" y="150"/>
                  </a:lnTo>
                  <a:lnTo>
                    <a:pt x="366" y="148"/>
                  </a:lnTo>
                  <a:lnTo>
                    <a:pt x="377" y="143"/>
                  </a:lnTo>
                  <a:lnTo>
                    <a:pt x="384" y="140"/>
                  </a:lnTo>
                  <a:lnTo>
                    <a:pt x="388" y="138"/>
                  </a:lnTo>
                  <a:lnTo>
                    <a:pt x="391" y="137"/>
                  </a:lnTo>
                  <a:lnTo>
                    <a:pt x="398" y="134"/>
                  </a:lnTo>
                  <a:lnTo>
                    <a:pt x="401" y="133"/>
                  </a:lnTo>
                  <a:lnTo>
                    <a:pt x="405" y="132"/>
                  </a:lnTo>
                  <a:lnTo>
                    <a:pt x="406" y="131"/>
                  </a:lnTo>
                  <a:lnTo>
                    <a:pt x="407" y="130"/>
                  </a:lnTo>
                  <a:lnTo>
                    <a:pt x="410" y="129"/>
                  </a:lnTo>
                  <a:lnTo>
                    <a:pt x="412" y="127"/>
                  </a:lnTo>
                  <a:lnTo>
                    <a:pt x="414" y="126"/>
                  </a:lnTo>
                  <a:lnTo>
                    <a:pt x="415" y="124"/>
                  </a:lnTo>
                  <a:lnTo>
                    <a:pt x="416" y="123"/>
                  </a:lnTo>
                  <a:lnTo>
                    <a:pt x="417" y="121"/>
                  </a:lnTo>
                  <a:lnTo>
                    <a:pt x="418" y="119"/>
                  </a:lnTo>
                  <a:lnTo>
                    <a:pt x="421" y="115"/>
                  </a:lnTo>
                  <a:lnTo>
                    <a:pt x="422" y="114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5" y="111"/>
                  </a:lnTo>
                  <a:lnTo>
                    <a:pt x="426" y="110"/>
                  </a:lnTo>
                  <a:lnTo>
                    <a:pt x="427" y="109"/>
                  </a:lnTo>
                  <a:lnTo>
                    <a:pt x="430" y="109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5" y="108"/>
                  </a:lnTo>
                  <a:lnTo>
                    <a:pt x="436" y="108"/>
                  </a:lnTo>
                  <a:lnTo>
                    <a:pt x="438" y="108"/>
                  </a:lnTo>
                  <a:lnTo>
                    <a:pt x="440" y="108"/>
                  </a:lnTo>
                  <a:lnTo>
                    <a:pt x="444" y="109"/>
                  </a:lnTo>
                  <a:lnTo>
                    <a:pt x="445" y="109"/>
                  </a:lnTo>
                  <a:lnTo>
                    <a:pt x="447" y="109"/>
                  </a:lnTo>
                  <a:lnTo>
                    <a:pt x="449" y="109"/>
                  </a:lnTo>
                  <a:lnTo>
                    <a:pt x="450" y="109"/>
                  </a:lnTo>
                  <a:lnTo>
                    <a:pt x="452" y="109"/>
                  </a:lnTo>
                  <a:lnTo>
                    <a:pt x="454" y="109"/>
                  </a:lnTo>
                  <a:lnTo>
                    <a:pt x="458" y="108"/>
                  </a:lnTo>
                  <a:lnTo>
                    <a:pt x="460" y="108"/>
                  </a:lnTo>
                  <a:lnTo>
                    <a:pt x="462" y="107"/>
                  </a:lnTo>
                  <a:lnTo>
                    <a:pt x="465" y="106"/>
                  </a:lnTo>
                  <a:lnTo>
                    <a:pt x="468" y="105"/>
                  </a:lnTo>
                  <a:lnTo>
                    <a:pt x="469" y="104"/>
                  </a:lnTo>
                  <a:lnTo>
                    <a:pt x="471" y="104"/>
                  </a:lnTo>
                  <a:lnTo>
                    <a:pt x="476" y="103"/>
                  </a:lnTo>
                  <a:lnTo>
                    <a:pt x="477" y="102"/>
                  </a:lnTo>
                  <a:lnTo>
                    <a:pt x="479" y="102"/>
                  </a:lnTo>
                  <a:lnTo>
                    <a:pt x="480" y="101"/>
                  </a:lnTo>
                  <a:lnTo>
                    <a:pt x="480" y="101"/>
                  </a:lnTo>
                  <a:lnTo>
                    <a:pt x="481" y="100"/>
                  </a:lnTo>
                  <a:lnTo>
                    <a:pt x="482" y="100"/>
                  </a:lnTo>
                  <a:lnTo>
                    <a:pt x="483" y="98"/>
                  </a:lnTo>
                  <a:lnTo>
                    <a:pt x="483" y="97"/>
                  </a:lnTo>
                  <a:lnTo>
                    <a:pt x="484" y="96"/>
                  </a:lnTo>
                  <a:lnTo>
                    <a:pt x="485" y="93"/>
                  </a:lnTo>
                  <a:lnTo>
                    <a:pt x="486" y="89"/>
                  </a:lnTo>
                  <a:lnTo>
                    <a:pt x="487" y="87"/>
                  </a:lnTo>
                  <a:lnTo>
                    <a:pt x="487" y="86"/>
                  </a:lnTo>
                  <a:lnTo>
                    <a:pt x="487" y="85"/>
                  </a:lnTo>
                  <a:lnTo>
                    <a:pt x="487" y="84"/>
                  </a:lnTo>
                  <a:lnTo>
                    <a:pt x="487" y="83"/>
                  </a:lnTo>
                  <a:lnTo>
                    <a:pt x="487" y="82"/>
                  </a:lnTo>
                  <a:lnTo>
                    <a:pt x="487" y="81"/>
                  </a:lnTo>
                  <a:lnTo>
                    <a:pt x="486" y="81"/>
                  </a:lnTo>
                  <a:lnTo>
                    <a:pt x="486" y="80"/>
                  </a:lnTo>
                  <a:lnTo>
                    <a:pt x="485" y="79"/>
                  </a:lnTo>
                  <a:lnTo>
                    <a:pt x="484" y="78"/>
                  </a:lnTo>
                  <a:lnTo>
                    <a:pt x="483" y="78"/>
                  </a:lnTo>
                  <a:lnTo>
                    <a:pt x="482" y="77"/>
                  </a:lnTo>
                  <a:lnTo>
                    <a:pt x="481" y="77"/>
                  </a:lnTo>
                  <a:lnTo>
                    <a:pt x="478" y="75"/>
                  </a:lnTo>
                  <a:lnTo>
                    <a:pt x="472" y="73"/>
                  </a:lnTo>
                  <a:lnTo>
                    <a:pt x="468" y="72"/>
                  </a:lnTo>
                  <a:lnTo>
                    <a:pt x="462" y="69"/>
                  </a:lnTo>
                  <a:lnTo>
                    <a:pt x="460" y="69"/>
                  </a:lnTo>
                  <a:lnTo>
                    <a:pt x="459" y="68"/>
                  </a:lnTo>
                  <a:lnTo>
                    <a:pt x="458" y="67"/>
                  </a:lnTo>
                  <a:lnTo>
                    <a:pt x="457" y="67"/>
                  </a:lnTo>
                  <a:lnTo>
                    <a:pt x="456" y="66"/>
                  </a:lnTo>
                  <a:lnTo>
                    <a:pt x="456" y="65"/>
                  </a:lnTo>
                  <a:lnTo>
                    <a:pt x="455" y="65"/>
                  </a:lnTo>
                  <a:lnTo>
                    <a:pt x="455" y="64"/>
                  </a:lnTo>
                  <a:lnTo>
                    <a:pt x="454" y="63"/>
                  </a:lnTo>
                  <a:lnTo>
                    <a:pt x="454" y="61"/>
                  </a:lnTo>
                  <a:lnTo>
                    <a:pt x="453" y="60"/>
                  </a:lnTo>
                  <a:lnTo>
                    <a:pt x="453" y="60"/>
                  </a:lnTo>
                  <a:lnTo>
                    <a:pt x="453" y="59"/>
                  </a:lnTo>
                  <a:lnTo>
                    <a:pt x="453" y="58"/>
                  </a:lnTo>
                  <a:lnTo>
                    <a:pt x="453" y="58"/>
                  </a:lnTo>
                  <a:lnTo>
                    <a:pt x="453" y="57"/>
                  </a:lnTo>
                  <a:lnTo>
                    <a:pt x="454" y="56"/>
                  </a:lnTo>
                  <a:lnTo>
                    <a:pt x="455" y="54"/>
                  </a:lnTo>
                  <a:lnTo>
                    <a:pt x="455" y="53"/>
                  </a:lnTo>
                  <a:lnTo>
                    <a:pt x="456" y="52"/>
                  </a:lnTo>
                  <a:lnTo>
                    <a:pt x="456" y="52"/>
                  </a:lnTo>
                  <a:lnTo>
                    <a:pt x="456" y="51"/>
                  </a:lnTo>
                  <a:lnTo>
                    <a:pt x="455" y="50"/>
                  </a:lnTo>
                  <a:lnTo>
                    <a:pt x="455" y="50"/>
                  </a:lnTo>
                  <a:lnTo>
                    <a:pt x="454" y="49"/>
                  </a:lnTo>
                  <a:lnTo>
                    <a:pt x="454" y="49"/>
                  </a:lnTo>
                  <a:lnTo>
                    <a:pt x="453" y="49"/>
                  </a:lnTo>
                  <a:lnTo>
                    <a:pt x="452" y="49"/>
                  </a:lnTo>
                  <a:lnTo>
                    <a:pt x="451" y="48"/>
                  </a:lnTo>
                  <a:lnTo>
                    <a:pt x="447" y="49"/>
                  </a:lnTo>
                  <a:lnTo>
                    <a:pt x="445" y="48"/>
                  </a:lnTo>
                  <a:lnTo>
                    <a:pt x="442" y="48"/>
                  </a:lnTo>
                  <a:lnTo>
                    <a:pt x="441" y="48"/>
                  </a:lnTo>
                  <a:lnTo>
                    <a:pt x="441" y="48"/>
                  </a:lnTo>
                  <a:lnTo>
                    <a:pt x="439" y="47"/>
                  </a:lnTo>
                  <a:lnTo>
                    <a:pt x="438" y="46"/>
                  </a:lnTo>
                  <a:lnTo>
                    <a:pt x="437" y="46"/>
                  </a:lnTo>
                  <a:lnTo>
                    <a:pt x="436" y="45"/>
                  </a:lnTo>
                  <a:lnTo>
                    <a:pt x="435" y="44"/>
                  </a:lnTo>
                  <a:lnTo>
                    <a:pt x="434" y="43"/>
                  </a:lnTo>
                  <a:lnTo>
                    <a:pt x="434" y="42"/>
                  </a:lnTo>
                  <a:lnTo>
                    <a:pt x="433" y="41"/>
                  </a:lnTo>
                  <a:lnTo>
                    <a:pt x="433" y="41"/>
                  </a:lnTo>
                  <a:lnTo>
                    <a:pt x="433" y="40"/>
                  </a:lnTo>
                  <a:lnTo>
                    <a:pt x="433" y="38"/>
                  </a:lnTo>
                  <a:lnTo>
                    <a:pt x="433" y="35"/>
                  </a:lnTo>
                  <a:lnTo>
                    <a:pt x="433" y="34"/>
                  </a:lnTo>
                  <a:lnTo>
                    <a:pt x="434" y="33"/>
                  </a:lnTo>
                  <a:lnTo>
                    <a:pt x="434" y="32"/>
                  </a:lnTo>
                  <a:lnTo>
                    <a:pt x="434" y="31"/>
                  </a:lnTo>
                  <a:lnTo>
                    <a:pt x="436" y="27"/>
                  </a:lnTo>
                  <a:lnTo>
                    <a:pt x="437" y="26"/>
                  </a:lnTo>
                  <a:lnTo>
                    <a:pt x="438" y="24"/>
                  </a:lnTo>
                  <a:lnTo>
                    <a:pt x="438" y="22"/>
                  </a:lnTo>
                  <a:lnTo>
                    <a:pt x="439" y="21"/>
                  </a:lnTo>
                  <a:lnTo>
                    <a:pt x="439" y="19"/>
                  </a:lnTo>
                  <a:lnTo>
                    <a:pt x="440" y="18"/>
                  </a:lnTo>
                  <a:lnTo>
                    <a:pt x="441" y="13"/>
                  </a:lnTo>
                  <a:lnTo>
                    <a:pt x="441" y="12"/>
                  </a:lnTo>
                  <a:lnTo>
                    <a:pt x="441" y="11"/>
                  </a:lnTo>
                  <a:lnTo>
                    <a:pt x="442" y="10"/>
                  </a:lnTo>
                  <a:lnTo>
                    <a:pt x="442" y="10"/>
                  </a:lnTo>
                  <a:lnTo>
                    <a:pt x="443" y="8"/>
                  </a:lnTo>
                  <a:lnTo>
                    <a:pt x="448" y="2"/>
                  </a:lnTo>
                  <a:lnTo>
                    <a:pt x="449" y="1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0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8" name="Freeform 239">
              <a:extLst>
                <a:ext uri="{FF2B5EF4-FFF2-40B4-BE49-F238E27FC236}">
                  <a16:creationId xmlns:a16="http://schemas.microsoft.com/office/drawing/2014/main" id="{709876AE-11BE-4E5D-90C0-CA8C6CD9A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0601" y="1852230"/>
              <a:ext cx="542132" cy="364818"/>
            </a:xfrm>
            <a:custGeom>
              <a:avLst/>
              <a:gdLst>
                <a:gd name="T0" fmla="*/ 298 w 532"/>
                <a:gd name="T1" fmla="*/ 4 h 358"/>
                <a:gd name="T2" fmla="*/ 315 w 532"/>
                <a:gd name="T3" fmla="*/ 17 h 358"/>
                <a:gd name="T4" fmla="*/ 328 w 532"/>
                <a:gd name="T5" fmla="*/ 17 h 358"/>
                <a:gd name="T6" fmla="*/ 340 w 532"/>
                <a:gd name="T7" fmla="*/ 8 h 358"/>
                <a:gd name="T8" fmla="*/ 350 w 532"/>
                <a:gd name="T9" fmla="*/ 24 h 358"/>
                <a:gd name="T10" fmla="*/ 369 w 532"/>
                <a:gd name="T11" fmla="*/ 20 h 358"/>
                <a:gd name="T12" fmla="*/ 388 w 532"/>
                <a:gd name="T13" fmla="*/ 46 h 358"/>
                <a:gd name="T14" fmla="*/ 385 w 532"/>
                <a:gd name="T15" fmla="*/ 79 h 358"/>
                <a:gd name="T16" fmla="*/ 403 w 532"/>
                <a:gd name="T17" fmla="*/ 106 h 358"/>
                <a:gd name="T18" fmla="*/ 425 w 532"/>
                <a:gd name="T19" fmla="*/ 134 h 358"/>
                <a:gd name="T20" fmla="*/ 432 w 532"/>
                <a:gd name="T21" fmla="*/ 158 h 358"/>
                <a:gd name="T22" fmla="*/ 451 w 532"/>
                <a:gd name="T23" fmla="*/ 144 h 358"/>
                <a:gd name="T24" fmla="*/ 485 w 532"/>
                <a:gd name="T25" fmla="*/ 155 h 358"/>
                <a:gd name="T26" fmla="*/ 497 w 532"/>
                <a:gd name="T27" fmla="*/ 169 h 358"/>
                <a:gd name="T28" fmla="*/ 506 w 532"/>
                <a:gd name="T29" fmla="*/ 210 h 358"/>
                <a:gd name="T30" fmla="*/ 511 w 532"/>
                <a:gd name="T31" fmla="*/ 252 h 358"/>
                <a:gd name="T32" fmla="*/ 514 w 532"/>
                <a:gd name="T33" fmla="*/ 284 h 358"/>
                <a:gd name="T34" fmla="*/ 531 w 532"/>
                <a:gd name="T35" fmla="*/ 319 h 358"/>
                <a:gd name="T36" fmla="*/ 520 w 532"/>
                <a:gd name="T37" fmla="*/ 330 h 358"/>
                <a:gd name="T38" fmla="*/ 495 w 532"/>
                <a:gd name="T39" fmla="*/ 331 h 358"/>
                <a:gd name="T40" fmla="*/ 476 w 532"/>
                <a:gd name="T41" fmla="*/ 316 h 358"/>
                <a:gd name="T42" fmla="*/ 457 w 532"/>
                <a:gd name="T43" fmla="*/ 330 h 358"/>
                <a:gd name="T44" fmla="*/ 454 w 532"/>
                <a:gd name="T45" fmla="*/ 349 h 358"/>
                <a:gd name="T46" fmla="*/ 436 w 532"/>
                <a:gd name="T47" fmla="*/ 352 h 358"/>
                <a:gd name="T48" fmla="*/ 425 w 532"/>
                <a:gd name="T49" fmla="*/ 342 h 358"/>
                <a:gd name="T50" fmla="*/ 399 w 532"/>
                <a:gd name="T51" fmla="*/ 332 h 358"/>
                <a:gd name="T52" fmla="*/ 379 w 532"/>
                <a:gd name="T53" fmla="*/ 332 h 358"/>
                <a:gd name="T54" fmla="*/ 359 w 532"/>
                <a:gd name="T55" fmla="*/ 343 h 358"/>
                <a:gd name="T56" fmla="*/ 324 w 532"/>
                <a:gd name="T57" fmla="*/ 324 h 358"/>
                <a:gd name="T58" fmla="*/ 305 w 532"/>
                <a:gd name="T59" fmla="*/ 305 h 358"/>
                <a:gd name="T60" fmla="*/ 274 w 532"/>
                <a:gd name="T61" fmla="*/ 279 h 358"/>
                <a:gd name="T62" fmla="*/ 256 w 532"/>
                <a:gd name="T63" fmla="*/ 279 h 358"/>
                <a:gd name="T64" fmla="*/ 239 w 532"/>
                <a:gd name="T65" fmla="*/ 267 h 358"/>
                <a:gd name="T66" fmla="*/ 230 w 532"/>
                <a:gd name="T67" fmla="*/ 284 h 358"/>
                <a:gd name="T68" fmla="*/ 211 w 532"/>
                <a:gd name="T69" fmla="*/ 299 h 358"/>
                <a:gd name="T70" fmla="*/ 200 w 532"/>
                <a:gd name="T71" fmla="*/ 313 h 358"/>
                <a:gd name="T72" fmla="*/ 172 w 532"/>
                <a:gd name="T73" fmla="*/ 309 h 358"/>
                <a:gd name="T74" fmla="*/ 163 w 532"/>
                <a:gd name="T75" fmla="*/ 330 h 358"/>
                <a:gd name="T76" fmla="*/ 139 w 532"/>
                <a:gd name="T77" fmla="*/ 353 h 358"/>
                <a:gd name="T78" fmla="*/ 106 w 532"/>
                <a:gd name="T79" fmla="*/ 358 h 358"/>
                <a:gd name="T80" fmla="*/ 95 w 532"/>
                <a:gd name="T81" fmla="*/ 343 h 358"/>
                <a:gd name="T82" fmla="*/ 82 w 532"/>
                <a:gd name="T83" fmla="*/ 341 h 358"/>
                <a:gd name="T84" fmla="*/ 62 w 532"/>
                <a:gd name="T85" fmla="*/ 341 h 358"/>
                <a:gd name="T86" fmla="*/ 54 w 532"/>
                <a:gd name="T87" fmla="*/ 334 h 358"/>
                <a:gd name="T88" fmla="*/ 30 w 532"/>
                <a:gd name="T89" fmla="*/ 306 h 358"/>
                <a:gd name="T90" fmla="*/ 9 w 532"/>
                <a:gd name="T91" fmla="*/ 263 h 358"/>
                <a:gd name="T92" fmla="*/ 0 w 532"/>
                <a:gd name="T93" fmla="*/ 234 h 358"/>
                <a:gd name="T94" fmla="*/ 10 w 532"/>
                <a:gd name="T95" fmla="*/ 207 h 358"/>
                <a:gd name="T96" fmla="*/ 29 w 532"/>
                <a:gd name="T97" fmla="*/ 187 h 358"/>
                <a:gd name="T98" fmla="*/ 36 w 532"/>
                <a:gd name="T99" fmla="*/ 167 h 358"/>
                <a:gd name="T100" fmla="*/ 43 w 532"/>
                <a:gd name="T101" fmla="*/ 141 h 358"/>
                <a:gd name="T102" fmla="*/ 61 w 532"/>
                <a:gd name="T103" fmla="*/ 140 h 358"/>
                <a:gd name="T104" fmla="*/ 84 w 532"/>
                <a:gd name="T105" fmla="*/ 146 h 358"/>
                <a:gd name="T106" fmla="*/ 96 w 532"/>
                <a:gd name="T107" fmla="*/ 123 h 358"/>
                <a:gd name="T108" fmla="*/ 128 w 532"/>
                <a:gd name="T109" fmla="*/ 114 h 358"/>
                <a:gd name="T110" fmla="*/ 164 w 532"/>
                <a:gd name="T111" fmla="*/ 130 h 358"/>
                <a:gd name="T112" fmla="*/ 189 w 532"/>
                <a:gd name="T113" fmla="*/ 125 h 358"/>
                <a:gd name="T114" fmla="*/ 211 w 532"/>
                <a:gd name="T115" fmla="*/ 100 h 358"/>
                <a:gd name="T116" fmla="*/ 252 w 532"/>
                <a:gd name="T117" fmla="*/ 103 h 358"/>
                <a:gd name="T118" fmla="*/ 269 w 532"/>
                <a:gd name="T119" fmla="*/ 97 h 358"/>
                <a:gd name="T120" fmla="*/ 275 w 532"/>
                <a:gd name="T121" fmla="*/ 56 h 358"/>
                <a:gd name="T122" fmla="*/ 274 w 532"/>
                <a:gd name="T123" fmla="*/ 29 h 358"/>
                <a:gd name="T124" fmla="*/ 262 w 532"/>
                <a:gd name="T125" fmla="*/ 19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358">
                  <a:moveTo>
                    <a:pt x="280" y="0"/>
                  </a:moveTo>
                  <a:lnTo>
                    <a:pt x="281" y="1"/>
                  </a:lnTo>
                  <a:lnTo>
                    <a:pt x="284" y="3"/>
                  </a:lnTo>
                  <a:lnTo>
                    <a:pt x="285" y="3"/>
                  </a:lnTo>
                  <a:lnTo>
                    <a:pt x="287" y="4"/>
                  </a:lnTo>
                  <a:lnTo>
                    <a:pt x="288" y="5"/>
                  </a:lnTo>
                  <a:lnTo>
                    <a:pt x="289" y="5"/>
                  </a:lnTo>
                  <a:lnTo>
                    <a:pt x="290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6" y="4"/>
                  </a:lnTo>
                  <a:lnTo>
                    <a:pt x="297" y="4"/>
                  </a:lnTo>
                  <a:lnTo>
                    <a:pt x="298" y="4"/>
                  </a:lnTo>
                  <a:lnTo>
                    <a:pt x="299" y="4"/>
                  </a:lnTo>
                  <a:lnTo>
                    <a:pt x="300" y="4"/>
                  </a:lnTo>
                  <a:lnTo>
                    <a:pt x="302" y="5"/>
                  </a:lnTo>
                  <a:lnTo>
                    <a:pt x="308" y="6"/>
                  </a:lnTo>
                  <a:lnTo>
                    <a:pt x="310" y="7"/>
                  </a:lnTo>
                  <a:lnTo>
                    <a:pt x="311" y="8"/>
                  </a:lnTo>
                  <a:lnTo>
                    <a:pt x="312" y="9"/>
                  </a:lnTo>
                  <a:lnTo>
                    <a:pt x="312" y="9"/>
                  </a:lnTo>
                  <a:lnTo>
                    <a:pt x="313" y="10"/>
                  </a:lnTo>
                  <a:lnTo>
                    <a:pt x="313" y="11"/>
                  </a:lnTo>
                  <a:lnTo>
                    <a:pt x="313" y="11"/>
                  </a:lnTo>
                  <a:lnTo>
                    <a:pt x="313" y="14"/>
                  </a:lnTo>
                  <a:lnTo>
                    <a:pt x="314" y="15"/>
                  </a:lnTo>
                  <a:lnTo>
                    <a:pt x="314" y="16"/>
                  </a:lnTo>
                  <a:lnTo>
                    <a:pt x="315" y="17"/>
                  </a:lnTo>
                  <a:lnTo>
                    <a:pt x="315" y="18"/>
                  </a:lnTo>
                  <a:lnTo>
                    <a:pt x="316" y="19"/>
                  </a:lnTo>
                  <a:lnTo>
                    <a:pt x="317" y="19"/>
                  </a:lnTo>
                  <a:lnTo>
                    <a:pt x="319" y="20"/>
                  </a:lnTo>
                  <a:lnTo>
                    <a:pt x="320" y="20"/>
                  </a:lnTo>
                  <a:lnTo>
                    <a:pt x="321" y="20"/>
                  </a:lnTo>
                  <a:lnTo>
                    <a:pt x="322" y="20"/>
                  </a:lnTo>
                  <a:lnTo>
                    <a:pt x="323" y="20"/>
                  </a:lnTo>
                  <a:lnTo>
                    <a:pt x="324" y="20"/>
                  </a:lnTo>
                  <a:lnTo>
                    <a:pt x="325" y="20"/>
                  </a:lnTo>
                  <a:lnTo>
                    <a:pt x="325" y="20"/>
                  </a:lnTo>
                  <a:lnTo>
                    <a:pt x="326" y="19"/>
                  </a:lnTo>
                  <a:lnTo>
                    <a:pt x="327" y="19"/>
                  </a:lnTo>
                  <a:lnTo>
                    <a:pt x="327" y="18"/>
                  </a:lnTo>
                  <a:lnTo>
                    <a:pt x="328" y="17"/>
                  </a:lnTo>
                  <a:lnTo>
                    <a:pt x="329" y="15"/>
                  </a:lnTo>
                  <a:lnTo>
                    <a:pt x="330" y="13"/>
                  </a:lnTo>
                  <a:lnTo>
                    <a:pt x="331" y="11"/>
                  </a:lnTo>
                  <a:lnTo>
                    <a:pt x="332" y="10"/>
                  </a:lnTo>
                  <a:lnTo>
                    <a:pt x="333" y="9"/>
                  </a:lnTo>
                  <a:lnTo>
                    <a:pt x="334" y="9"/>
                  </a:lnTo>
                  <a:lnTo>
                    <a:pt x="335" y="8"/>
                  </a:lnTo>
                  <a:lnTo>
                    <a:pt x="335" y="8"/>
                  </a:lnTo>
                  <a:lnTo>
                    <a:pt x="336" y="8"/>
                  </a:lnTo>
                  <a:lnTo>
                    <a:pt x="336" y="7"/>
                  </a:lnTo>
                  <a:lnTo>
                    <a:pt x="337" y="7"/>
                  </a:lnTo>
                  <a:lnTo>
                    <a:pt x="338" y="7"/>
                  </a:lnTo>
                  <a:lnTo>
                    <a:pt x="339" y="7"/>
                  </a:lnTo>
                  <a:lnTo>
                    <a:pt x="339" y="8"/>
                  </a:lnTo>
                  <a:lnTo>
                    <a:pt x="340" y="8"/>
                  </a:lnTo>
                  <a:lnTo>
                    <a:pt x="340" y="8"/>
                  </a:lnTo>
                  <a:lnTo>
                    <a:pt x="340" y="8"/>
                  </a:lnTo>
                  <a:lnTo>
                    <a:pt x="341" y="9"/>
                  </a:lnTo>
                  <a:lnTo>
                    <a:pt x="342" y="10"/>
                  </a:lnTo>
                  <a:lnTo>
                    <a:pt x="342" y="12"/>
                  </a:lnTo>
                  <a:lnTo>
                    <a:pt x="343" y="13"/>
                  </a:lnTo>
                  <a:lnTo>
                    <a:pt x="344" y="18"/>
                  </a:lnTo>
                  <a:lnTo>
                    <a:pt x="345" y="20"/>
                  </a:lnTo>
                  <a:lnTo>
                    <a:pt x="345" y="21"/>
                  </a:lnTo>
                  <a:lnTo>
                    <a:pt x="346" y="22"/>
                  </a:lnTo>
                  <a:lnTo>
                    <a:pt x="346" y="23"/>
                  </a:lnTo>
                  <a:lnTo>
                    <a:pt x="347" y="23"/>
                  </a:lnTo>
                  <a:lnTo>
                    <a:pt x="348" y="24"/>
                  </a:lnTo>
                  <a:lnTo>
                    <a:pt x="349" y="24"/>
                  </a:lnTo>
                  <a:lnTo>
                    <a:pt x="350" y="24"/>
                  </a:lnTo>
                  <a:lnTo>
                    <a:pt x="351" y="24"/>
                  </a:lnTo>
                  <a:lnTo>
                    <a:pt x="352" y="24"/>
                  </a:lnTo>
                  <a:lnTo>
                    <a:pt x="353" y="23"/>
                  </a:lnTo>
                  <a:lnTo>
                    <a:pt x="356" y="22"/>
                  </a:lnTo>
                  <a:lnTo>
                    <a:pt x="358" y="21"/>
                  </a:lnTo>
                  <a:lnTo>
                    <a:pt x="361" y="20"/>
                  </a:lnTo>
                  <a:lnTo>
                    <a:pt x="362" y="20"/>
                  </a:lnTo>
                  <a:lnTo>
                    <a:pt x="363" y="19"/>
                  </a:lnTo>
                  <a:lnTo>
                    <a:pt x="365" y="19"/>
                  </a:lnTo>
                  <a:lnTo>
                    <a:pt x="366" y="19"/>
                  </a:lnTo>
                  <a:lnTo>
                    <a:pt x="367" y="19"/>
                  </a:lnTo>
                  <a:lnTo>
                    <a:pt x="367" y="19"/>
                  </a:lnTo>
                  <a:lnTo>
                    <a:pt x="368" y="20"/>
                  </a:lnTo>
                  <a:lnTo>
                    <a:pt x="369" y="20"/>
                  </a:lnTo>
                  <a:lnTo>
                    <a:pt x="369" y="20"/>
                  </a:lnTo>
                  <a:lnTo>
                    <a:pt x="370" y="21"/>
                  </a:lnTo>
                  <a:lnTo>
                    <a:pt x="373" y="24"/>
                  </a:lnTo>
                  <a:lnTo>
                    <a:pt x="374" y="25"/>
                  </a:lnTo>
                  <a:lnTo>
                    <a:pt x="376" y="26"/>
                  </a:lnTo>
                  <a:lnTo>
                    <a:pt x="379" y="28"/>
                  </a:lnTo>
                  <a:lnTo>
                    <a:pt x="380" y="29"/>
                  </a:lnTo>
                  <a:lnTo>
                    <a:pt x="382" y="30"/>
                  </a:lnTo>
                  <a:lnTo>
                    <a:pt x="383" y="31"/>
                  </a:lnTo>
                  <a:lnTo>
                    <a:pt x="383" y="33"/>
                  </a:lnTo>
                  <a:lnTo>
                    <a:pt x="384" y="33"/>
                  </a:lnTo>
                  <a:lnTo>
                    <a:pt x="385" y="35"/>
                  </a:lnTo>
                  <a:lnTo>
                    <a:pt x="387" y="41"/>
                  </a:lnTo>
                  <a:lnTo>
                    <a:pt x="388" y="43"/>
                  </a:lnTo>
                  <a:lnTo>
                    <a:pt x="388" y="45"/>
                  </a:lnTo>
                  <a:lnTo>
                    <a:pt x="388" y="46"/>
                  </a:lnTo>
                  <a:lnTo>
                    <a:pt x="388" y="47"/>
                  </a:lnTo>
                  <a:lnTo>
                    <a:pt x="388" y="49"/>
                  </a:lnTo>
                  <a:lnTo>
                    <a:pt x="388" y="50"/>
                  </a:lnTo>
                  <a:lnTo>
                    <a:pt x="388" y="51"/>
                  </a:lnTo>
                  <a:lnTo>
                    <a:pt x="385" y="58"/>
                  </a:lnTo>
                  <a:lnTo>
                    <a:pt x="384" y="60"/>
                  </a:lnTo>
                  <a:lnTo>
                    <a:pt x="384" y="61"/>
                  </a:lnTo>
                  <a:lnTo>
                    <a:pt x="384" y="63"/>
                  </a:lnTo>
                  <a:lnTo>
                    <a:pt x="384" y="65"/>
                  </a:lnTo>
                  <a:lnTo>
                    <a:pt x="383" y="67"/>
                  </a:lnTo>
                  <a:lnTo>
                    <a:pt x="384" y="69"/>
                  </a:lnTo>
                  <a:lnTo>
                    <a:pt x="384" y="72"/>
                  </a:lnTo>
                  <a:lnTo>
                    <a:pt x="384" y="74"/>
                  </a:lnTo>
                  <a:lnTo>
                    <a:pt x="385" y="76"/>
                  </a:lnTo>
                  <a:lnTo>
                    <a:pt x="385" y="79"/>
                  </a:lnTo>
                  <a:lnTo>
                    <a:pt x="386" y="82"/>
                  </a:lnTo>
                  <a:lnTo>
                    <a:pt x="387" y="85"/>
                  </a:lnTo>
                  <a:lnTo>
                    <a:pt x="388" y="87"/>
                  </a:lnTo>
                  <a:lnTo>
                    <a:pt x="389" y="89"/>
                  </a:lnTo>
                  <a:lnTo>
                    <a:pt x="390" y="91"/>
                  </a:lnTo>
                  <a:lnTo>
                    <a:pt x="392" y="94"/>
                  </a:lnTo>
                  <a:lnTo>
                    <a:pt x="393" y="96"/>
                  </a:lnTo>
                  <a:lnTo>
                    <a:pt x="395" y="98"/>
                  </a:lnTo>
                  <a:lnTo>
                    <a:pt x="396" y="100"/>
                  </a:lnTo>
                  <a:lnTo>
                    <a:pt x="398" y="102"/>
                  </a:lnTo>
                  <a:lnTo>
                    <a:pt x="399" y="103"/>
                  </a:lnTo>
                  <a:lnTo>
                    <a:pt x="400" y="104"/>
                  </a:lnTo>
                  <a:lnTo>
                    <a:pt x="401" y="105"/>
                  </a:lnTo>
                  <a:lnTo>
                    <a:pt x="402" y="106"/>
                  </a:lnTo>
                  <a:lnTo>
                    <a:pt x="403" y="106"/>
                  </a:lnTo>
                  <a:lnTo>
                    <a:pt x="405" y="107"/>
                  </a:lnTo>
                  <a:lnTo>
                    <a:pt x="407" y="108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5" y="112"/>
                  </a:lnTo>
                  <a:lnTo>
                    <a:pt x="417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21" y="118"/>
                  </a:lnTo>
                  <a:lnTo>
                    <a:pt x="422" y="121"/>
                  </a:lnTo>
                  <a:lnTo>
                    <a:pt x="423" y="124"/>
                  </a:lnTo>
                  <a:lnTo>
                    <a:pt x="424" y="126"/>
                  </a:lnTo>
                  <a:lnTo>
                    <a:pt x="425" y="129"/>
                  </a:lnTo>
                  <a:lnTo>
                    <a:pt x="425" y="131"/>
                  </a:lnTo>
                  <a:lnTo>
                    <a:pt x="425" y="134"/>
                  </a:lnTo>
                  <a:lnTo>
                    <a:pt x="425" y="139"/>
                  </a:lnTo>
                  <a:lnTo>
                    <a:pt x="425" y="145"/>
                  </a:lnTo>
                  <a:lnTo>
                    <a:pt x="425" y="146"/>
                  </a:lnTo>
                  <a:lnTo>
                    <a:pt x="426" y="148"/>
                  </a:lnTo>
                  <a:lnTo>
                    <a:pt x="426" y="151"/>
                  </a:lnTo>
                  <a:lnTo>
                    <a:pt x="426" y="153"/>
                  </a:lnTo>
                  <a:lnTo>
                    <a:pt x="427" y="154"/>
                  </a:lnTo>
                  <a:lnTo>
                    <a:pt x="427" y="155"/>
                  </a:lnTo>
                  <a:lnTo>
                    <a:pt x="428" y="156"/>
                  </a:lnTo>
                  <a:lnTo>
                    <a:pt x="428" y="156"/>
                  </a:lnTo>
                  <a:lnTo>
                    <a:pt x="428" y="157"/>
                  </a:lnTo>
                  <a:lnTo>
                    <a:pt x="429" y="157"/>
                  </a:lnTo>
                  <a:lnTo>
                    <a:pt x="430" y="158"/>
                  </a:lnTo>
                  <a:lnTo>
                    <a:pt x="431" y="158"/>
                  </a:lnTo>
                  <a:lnTo>
                    <a:pt x="432" y="158"/>
                  </a:lnTo>
                  <a:lnTo>
                    <a:pt x="432" y="158"/>
                  </a:lnTo>
                  <a:lnTo>
                    <a:pt x="433" y="158"/>
                  </a:lnTo>
                  <a:lnTo>
                    <a:pt x="434" y="158"/>
                  </a:lnTo>
                  <a:lnTo>
                    <a:pt x="435" y="158"/>
                  </a:lnTo>
                  <a:lnTo>
                    <a:pt x="436" y="157"/>
                  </a:lnTo>
                  <a:lnTo>
                    <a:pt x="437" y="156"/>
                  </a:lnTo>
                  <a:lnTo>
                    <a:pt x="438" y="156"/>
                  </a:lnTo>
                  <a:lnTo>
                    <a:pt x="439" y="155"/>
                  </a:lnTo>
                  <a:lnTo>
                    <a:pt x="441" y="153"/>
                  </a:lnTo>
                  <a:lnTo>
                    <a:pt x="445" y="148"/>
                  </a:lnTo>
                  <a:lnTo>
                    <a:pt x="447" y="147"/>
                  </a:lnTo>
                  <a:lnTo>
                    <a:pt x="448" y="146"/>
                  </a:lnTo>
                  <a:lnTo>
                    <a:pt x="449" y="145"/>
                  </a:lnTo>
                  <a:lnTo>
                    <a:pt x="450" y="145"/>
                  </a:lnTo>
                  <a:lnTo>
                    <a:pt x="451" y="144"/>
                  </a:lnTo>
                  <a:lnTo>
                    <a:pt x="452" y="144"/>
                  </a:lnTo>
                  <a:lnTo>
                    <a:pt x="453" y="144"/>
                  </a:lnTo>
                  <a:lnTo>
                    <a:pt x="453" y="144"/>
                  </a:lnTo>
                  <a:lnTo>
                    <a:pt x="454" y="144"/>
                  </a:lnTo>
                  <a:lnTo>
                    <a:pt x="455" y="144"/>
                  </a:lnTo>
                  <a:lnTo>
                    <a:pt x="457" y="144"/>
                  </a:lnTo>
                  <a:lnTo>
                    <a:pt x="459" y="144"/>
                  </a:lnTo>
                  <a:lnTo>
                    <a:pt x="461" y="145"/>
                  </a:lnTo>
                  <a:lnTo>
                    <a:pt x="463" y="146"/>
                  </a:lnTo>
                  <a:lnTo>
                    <a:pt x="466" y="147"/>
                  </a:lnTo>
                  <a:lnTo>
                    <a:pt x="471" y="149"/>
                  </a:lnTo>
                  <a:lnTo>
                    <a:pt x="473" y="151"/>
                  </a:lnTo>
                  <a:lnTo>
                    <a:pt x="477" y="152"/>
                  </a:lnTo>
                  <a:lnTo>
                    <a:pt x="482" y="154"/>
                  </a:lnTo>
                  <a:lnTo>
                    <a:pt x="485" y="155"/>
                  </a:lnTo>
                  <a:lnTo>
                    <a:pt x="487" y="156"/>
                  </a:lnTo>
                  <a:lnTo>
                    <a:pt x="491" y="158"/>
                  </a:lnTo>
                  <a:lnTo>
                    <a:pt x="492" y="159"/>
                  </a:lnTo>
                  <a:lnTo>
                    <a:pt x="493" y="159"/>
                  </a:lnTo>
                  <a:lnTo>
                    <a:pt x="493" y="159"/>
                  </a:lnTo>
                  <a:lnTo>
                    <a:pt x="493" y="159"/>
                  </a:lnTo>
                  <a:lnTo>
                    <a:pt x="494" y="159"/>
                  </a:lnTo>
                  <a:lnTo>
                    <a:pt x="493" y="159"/>
                  </a:lnTo>
                  <a:lnTo>
                    <a:pt x="493" y="160"/>
                  </a:lnTo>
                  <a:lnTo>
                    <a:pt x="494" y="161"/>
                  </a:lnTo>
                  <a:lnTo>
                    <a:pt x="494" y="162"/>
                  </a:lnTo>
                  <a:lnTo>
                    <a:pt x="494" y="163"/>
                  </a:lnTo>
                  <a:lnTo>
                    <a:pt x="495" y="165"/>
                  </a:lnTo>
                  <a:lnTo>
                    <a:pt x="496" y="167"/>
                  </a:lnTo>
                  <a:lnTo>
                    <a:pt x="497" y="169"/>
                  </a:lnTo>
                  <a:lnTo>
                    <a:pt x="498" y="172"/>
                  </a:lnTo>
                  <a:lnTo>
                    <a:pt x="500" y="174"/>
                  </a:lnTo>
                  <a:lnTo>
                    <a:pt x="503" y="179"/>
                  </a:lnTo>
                  <a:lnTo>
                    <a:pt x="505" y="182"/>
                  </a:lnTo>
                  <a:lnTo>
                    <a:pt x="505" y="183"/>
                  </a:lnTo>
                  <a:lnTo>
                    <a:pt x="506" y="185"/>
                  </a:lnTo>
                  <a:lnTo>
                    <a:pt x="506" y="186"/>
                  </a:lnTo>
                  <a:lnTo>
                    <a:pt x="507" y="187"/>
                  </a:lnTo>
                  <a:lnTo>
                    <a:pt x="507" y="189"/>
                  </a:lnTo>
                  <a:lnTo>
                    <a:pt x="507" y="191"/>
                  </a:lnTo>
                  <a:lnTo>
                    <a:pt x="507" y="193"/>
                  </a:lnTo>
                  <a:lnTo>
                    <a:pt x="506" y="199"/>
                  </a:lnTo>
                  <a:lnTo>
                    <a:pt x="506" y="201"/>
                  </a:lnTo>
                  <a:lnTo>
                    <a:pt x="506" y="203"/>
                  </a:lnTo>
                  <a:lnTo>
                    <a:pt x="506" y="210"/>
                  </a:lnTo>
                  <a:lnTo>
                    <a:pt x="506" y="220"/>
                  </a:lnTo>
                  <a:lnTo>
                    <a:pt x="507" y="222"/>
                  </a:lnTo>
                  <a:lnTo>
                    <a:pt x="507" y="224"/>
                  </a:lnTo>
                  <a:lnTo>
                    <a:pt x="507" y="227"/>
                  </a:lnTo>
                  <a:lnTo>
                    <a:pt x="508" y="231"/>
                  </a:lnTo>
                  <a:lnTo>
                    <a:pt x="509" y="234"/>
                  </a:lnTo>
                  <a:lnTo>
                    <a:pt x="510" y="239"/>
                  </a:lnTo>
                  <a:lnTo>
                    <a:pt x="511" y="241"/>
                  </a:lnTo>
                  <a:lnTo>
                    <a:pt x="511" y="242"/>
                  </a:lnTo>
                  <a:lnTo>
                    <a:pt x="511" y="244"/>
                  </a:lnTo>
                  <a:lnTo>
                    <a:pt x="511" y="247"/>
                  </a:lnTo>
                  <a:lnTo>
                    <a:pt x="511" y="249"/>
                  </a:lnTo>
                  <a:lnTo>
                    <a:pt x="511" y="250"/>
                  </a:lnTo>
                  <a:lnTo>
                    <a:pt x="511" y="251"/>
                  </a:lnTo>
                  <a:lnTo>
                    <a:pt x="511" y="252"/>
                  </a:lnTo>
                  <a:lnTo>
                    <a:pt x="512" y="254"/>
                  </a:lnTo>
                  <a:lnTo>
                    <a:pt x="515" y="259"/>
                  </a:lnTo>
                  <a:lnTo>
                    <a:pt x="516" y="263"/>
                  </a:lnTo>
                  <a:lnTo>
                    <a:pt x="517" y="264"/>
                  </a:lnTo>
                  <a:lnTo>
                    <a:pt x="517" y="265"/>
                  </a:lnTo>
                  <a:lnTo>
                    <a:pt x="518" y="266"/>
                  </a:lnTo>
                  <a:lnTo>
                    <a:pt x="518" y="267"/>
                  </a:lnTo>
                  <a:lnTo>
                    <a:pt x="518" y="268"/>
                  </a:lnTo>
                  <a:lnTo>
                    <a:pt x="518" y="269"/>
                  </a:lnTo>
                  <a:lnTo>
                    <a:pt x="517" y="270"/>
                  </a:lnTo>
                  <a:lnTo>
                    <a:pt x="517" y="272"/>
                  </a:lnTo>
                  <a:lnTo>
                    <a:pt x="515" y="277"/>
                  </a:lnTo>
                  <a:lnTo>
                    <a:pt x="514" y="280"/>
                  </a:lnTo>
                  <a:lnTo>
                    <a:pt x="514" y="283"/>
                  </a:lnTo>
                  <a:lnTo>
                    <a:pt x="514" y="284"/>
                  </a:lnTo>
                  <a:lnTo>
                    <a:pt x="514" y="286"/>
                  </a:lnTo>
                  <a:lnTo>
                    <a:pt x="514" y="287"/>
                  </a:lnTo>
                  <a:lnTo>
                    <a:pt x="514" y="288"/>
                  </a:lnTo>
                  <a:lnTo>
                    <a:pt x="514" y="290"/>
                  </a:lnTo>
                  <a:lnTo>
                    <a:pt x="515" y="291"/>
                  </a:lnTo>
                  <a:lnTo>
                    <a:pt x="517" y="295"/>
                  </a:lnTo>
                  <a:lnTo>
                    <a:pt x="518" y="298"/>
                  </a:lnTo>
                  <a:lnTo>
                    <a:pt x="521" y="304"/>
                  </a:lnTo>
                  <a:lnTo>
                    <a:pt x="522" y="305"/>
                  </a:lnTo>
                  <a:lnTo>
                    <a:pt x="524" y="308"/>
                  </a:lnTo>
                  <a:lnTo>
                    <a:pt x="528" y="312"/>
                  </a:lnTo>
                  <a:lnTo>
                    <a:pt x="530" y="316"/>
                  </a:lnTo>
                  <a:lnTo>
                    <a:pt x="531" y="317"/>
                  </a:lnTo>
                  <a:lnTo>
                    <a:pt x="531" y="318"/>
                  </a:lnTo>
                  <a:lnTo>
                    <a:pt x="531" y="319"/>
                  </a:lnTo>
                  <a:lnTo>
                    <a:pt x="532" y="320"/>
                  </a:lnTo>
                  <a:lnTo>
                    <a:pt x="532" y="321"/>
                  </a:lnTo>
                  <a:lnTo>
                    <a:pt x="532" y="322"/>
                  </a:lnTo>
                  <a:lnTo>
                    <a:pt x="532" y="323"/>
                  </a:lnTo>
                  <a:lnTo>
                    <a:pt x="532" y="324"/>
                  </a:lnTo>
                  <a:lnTo>
                    <a:pt x="531" y="325"/>
                  </a:lnTo>
                  <a:lnTo>
                    <a:pt x="531" y="326"/>
                  </a:lnTo>
                  <a:lnTo>
                    <a:pt x="530" y="326"/>
                  </a:lnTo>
                  <a:lnTo>
                    <a:pt x="529" y="327"/>
                  </a:lnTo>
                  <a:lnTo>
                    <a:pt x="528" y="327"/>
                  </a:lnTo>
                  <a:lnTo>
                    <a:pt x="527" y="328"/>
                  </a:lnTo>
                  <a:lnTo>
                    <a:pt x="525" y="329"/>
                  </a:lnTo>
                  <a:lnTo>
                    <a:pt x="523" y="330"/>
                  </a:lnTo>
                  <a:lnTo>
                    <a:pt x="521" y="330"/>
                  </a:lnTo>
                  <a:lnTo>
                    <a:pt x="520" y="330"/>
                  </a:lnTo>
                  <a:lnTo>
                    <a:pt x="518" y="330"/>
                  </a:lnTo>
                  <a:lnTo>
                    <a:pt x="517" y="330"/>
                  </a:lnTo>
                  <a:lnTo>
                    <a:pt x="516" y="330"/>
                  </a:lnTo>
                  <a:lnTo>
                    <a:pt x="515" y="330"/>
                  </a:lnTo>
                  <a:lnTo>
                    <a:pt x="513" y="329"/>
                  </a:lnTo>
                  <a:lnTo>
                    <a:pt x="511" y="328"/>
                  </a:lnTo>
                  <a:lnTo>
                    <a:pt x="509" y="328"/>
                  </a:lnTo>
                  <a:lnTo>
                    <a:pt x="507" y="328"/>
                  </a:lnTo>
                  <a:lnTo>
                    <a:pt x="506" y="328"/>
                  </a:lnTo>
                  <a:lnTo>
                    <a:pt x="505" y="328"/>
                  </a:lnTo>
                  <a:lnTo>
                    <a:pt x="502" y="329"/>
                  </a:lnTo>
                  <a:lnTo>
                    <a:pt x="498" y="330"/>
                  </a:lnTo>
                  <a:lnTo>
                    <a:pt x="497" y="331"/>
                  </a:lnTo>
                  <a:lnTo>
                    <a:pt x="496" y="331"/>
                  </a:lnTo>
                  <a:lnTo>
                    <a:pt x="495" y="331"/>
                  </a:lnTo>
                  <a:lnTo>
                    <a:pt x="494" y="331"/>
                  </a:lnTo>
                  <a:lnTo>
                    <a:pt x="493" y="331"/>
                  </a:lnTo>
                  <a:lnTo>
                    <a:pt x="491" y="330"/>
                  </a:lnTo>
                  <a:lnTo>
                    <a:pt x="490" y="330"/>
                  </a:lnTo>
                  <a:lnTo>
                    <a:pt x="488" y="329"/>
                  </a:lnTo>
                  <a:lnTo>
                    <a:pt x="487" y="328"/>
                  </a:lnTo>
                  <a:lnTo>
                    <a:pt x="485" y="327"/>
                  </a:lnTo>
                  <a:lnTo>
                    <a:pt x="484" y="326"/>
                  </a:lnTo>
                  <a:lnTo>
                    <a:pt x="483" y="325"/>
                  </a:lnTo>
                  <a:lnTo>
                    <a:pt x="482" y="324"/>
                  </a:lnTo>
                  <a:lnTo>
                    <a:pt x="480" y="321"/>
                  </a:lnTo>
                  <a:lnTo>
                    <a:pt x="478" y="318"/>
                  </a:lnTo>
                  <a:lnTo>
                    <a:pt x="477" y="317"/>
                  </a:lnTo>
                  <a:lnTo>
                    <a:pt x="477" y="317"/>
                  </a:lnTo>
                  <a:lnTo>
                    <a:pt x="476" y="316"/>
                  </a:lnTo>
                  <a:lnTo>
                    <a:pt x="475" y="316"/>
                  </a:lnTo>
                  <a:lnTo>
                    <a:pt x="474" y="315"/>
                  </a:lnTo>
                  <a:lnTo>
                    <a:pt x="473" y="315"/>
                  </a:lnTo>
                  <a:lnTo>
                    <a:pt x="473" y="316"/>
                  </a:lnTo>
                  <a:lnTo>
                    <a:pt x="472" y="316"/>
                  </a:lnTo>
                  <a:lnTo>
                    <a:pt x="472" y="316"/>
                  </a:lnTo>
                  <a:lnTo>
                    <a:pt x="471" y="317"/>
                  </a:lnTo>
                  <a:lnTo>
                    <a:pt x="470" y="318"/>
                  </a:lnTo>
                  <a:lnTo>
                    <a:pt x="469" y="319"/>
                  </a:lnTo>
                  <a:lnTo>
                    <a:pt x="466" y="321"/>
                  </a:lnTo>
                  <a:lnTo>
                    <a:pt x="463" y="324"/>
                  </a:lnTo>
                  <a:lnTo>
                    <a:pt x="460" y="327"/>
                  </a:lnTo>
                  <a:lnTo>
                    <a:pt x="459" y="328"/>
                  </a:lnTo>
                  <a:lnTo>
                    <a:pt x="458" y="329"/>
                  </a:lnTo>
                  <a:lnTo>
                    <a:pt x="457" y="330"/>
                  </a:lnTo>
                  <a:lnTo>
                    <a:pt x="457" y="331"/>
                  </a:lnTo>
                  <a:lnTo>
                    <a:pt x="456" y="332"/>
                  </a:lnTo>
                  <a:lnTo>
                    <a:pt x="456" y="333"/>
                  </a:lnTo>
                  <a:lnTo>
                    <a:pt x="456" y="334"/>
                  </a:lnTo>
                  <a:lnTo>
                    <a:pt x="456" y="335"/>
                  </a:lnTo>
                  <a:lnTo>
                    <a:pt x="456" y="337"/>
                  </a:lnTo>
                  <a:lnTo>
                    <a:pt x="457" y="341"/>
                  </a:lnTo>
                  <a:lnTo>
                    <a:pt x="457" y="342"/>
                  </a:lnTo>
                  <a:lnTo>
                    <a:pt x="457" y="343"/>
                  </a:lnTo>
                  <a:lnTo>
                    <a:pt x="457" y="344"/>
                  </a:lnTo>
                  <a:lnTo>
                    <a:pt x="456" y="345"/>
                  </a:lnTo>
                  <a:lnTo>
                    <a:pt x="456" y="347"/>
                  </a:lnTo>
                  <a:lnTo>
                    <a:pt x="455" y="348"/>
                  </a:lnTo>
                  <a:lnTo>
                    <a:pt x="454" y="348"/>
                  </a:lnTo>
                  <a:lnTo>
                    <a:pt x="454" y="349"/>
                  </a:lnTo>
                  <a:lnTo>
                    <a:pt x="451" y="350"/>
                  </a:lnTo>
                  <a:lnTo>
                    <a:pt x="450" y="351"/>
                  </a:lnTo>
                  <a:lnTo>
                    <a:pt x="449" y="352"/>
                  </a:lnTo>
                  <a:lnTo>
                    <a:pt x="448" y="353"/>
                  </a:lnTo>
                  <a:lnTo>
                    <a:pt x="446" y="353"/>
                  </a:lnTo>
                  <a:lnTo>
                    <a:pt x="445" y="354"/>
                  </a:lnTo>
                  <a:lnTo>
                    <a:pt x="443" y="354"/>
                  </a:lnTo>
                  <a:lnTo>
                    <a:pt x="441" y="354"/>
                  </a:lnTo>
                  <a:lnTo>
                    <a:pt x="440" y="354"/>
                  </a:lnTo>
                  <a:lnTo>
                    <a:pt x="439" y="354"/>
                  </a:lnTo>
                  <a:lnTo>
                    <a:pt x="438" y="354"/>
                  </a:lnTo>
                  <a:lnTo>
                    <a:pt x="437" y="354"/>
                  </a:lnTo>
                  <a:lnTo>
                    <a:pt x="437" y="353"/>
                  </a:lnTo>
                  <a:lnTo>
                    <a:pt x="436" y="353"/>
                  </a:lnTo>
                  <a:lnTo>
                    <a:pt x="436" y="352"/>
                  </a:lnTo>
                  <a:lnTo>
                    <a:pt x="435" y="352"/>
                  </a:lnTo>
                  <a:lnTo>
                    <a:pt x="434" y="351"/>
                  </a:lnTo>
                  <a:lnTo>
                    <a:pt x="433" y="350"/>
                  </a:lnTo>
                  <a:lnTo>
                    <a:pt x="433" y="349"/>
                  </a:lnTo>
                  <a:lnTo>
                    <a:pt x="433" y="348"/>
                  </a:lnTo>
                  <a:lnTo>
                    <a:pt x="433" y="347"/>
                  </a:lnTo>
                  <a:lnTo>
                    <a:pt x="432" y="345"/>
                  </a:lnTo>
                  <a:lnTo>
                    <a:pt x="431" y="344"/>
                  </a:lnTo>
                  <a:lnTo>
                    <a:pt x="431" y="343"/>
                  </a:lnTo>
                  <a:lnTo>
                    <a:pt x="430" y="342"/>
                  </a:lnTo>
                  <a:lnTo>
                    <a:pt x="430" y="342"/>
                  </a:lnTo>
                  <a:lnTo>
                    <a:pt x="429" y="342"/>
                  </a:lnTo>
                  <a:lnTo>
                    <a:pt x="429" y="341"/>
                  </a:lnTo>
                  <a:lnTo>
                    <a:pt x="428" y="341"/>
                  </a:lnTo>
                  <a:lnTo>
                    <a:pt x="425" y="342"/>
                  </a:lnTo>
                  <a:lnTo>
                    <a:pt x="424" y="342"/>
                  </a:lnTo>
                  <a:lnTo>
                    <a:pt x="423" y="342"/>
                  </a:lnTo>
                  <a:lnTo>
                    <a:pt x="422" y="341"/>
                  </a:lnTo>
                  <a:lnTo>
                    <a:pt x="420" y="340"/>
                  </a:lnTo>
                  <a:lnTo>
                    <a:pt x="417" y="339"/>
                  </a:lnTo>
                  <a:lnTo>
                    <a:pt x="415" y="338"/>
                  </a:lnTo>
                  <a:lnTo>
                    <a:pt x="412" y="337"/>
                  </a:lnTo>
                  <a:lnTo>
                    <a:pt x="411" y="336"/>
                  </a:lnTo>
                  <a:lnTo>
                    <a:pt x="410" y="336"/>
                  </a:lnTo>
                  <a:lnTo>
                    <a:pt x="409" y="335"/>
                  </a:lnTo>
                  <a:lnTo>
                    <a:pt x="406" y="335"/>
                  </a:lnTo>
                  <a:lnTo>
                    <a:pt x="405" y="334"/>
                  </a:lnTo>
                  <a:lnTo>
                    <a:pt x="403" y="334"/>
                  </a:lnTo>
                  <a:lnTo>
                    <a:pt x="401" y="333"/>
                  </a:lnTo>
                  <a:lnTo>
                    <a:pt x="399" y="332"/>
                  </a:lnTo>
                  <a:lnTo>
                    <a:pt x="395" y="331"/>
                  </a:lnTo>
                  <a:lnTo>
                    <a:pt x="394" y="330"/>
                  </a:lnTo>
                  <a:lnTo>
                    <a:pt x="392" y="330"/>
                  </a:lnTo>
                  <a:lnTo>
                    <a:pt x="390" y="329"/>
                  </a:lnTo>
                  <a:lnTo>
                    <a:pt x="389" y="329"/>
                  </a:lnTo>
                  <a:lnTo>
                    <a:pt x="388" y="329"/>
                  </a:lnTo>
                  <a:lnTo>
                    <a:pt x="387" y="329"/>
                  </a:lnTo>
                  <a:lnTo>
                    <a:pt x="386" y="329"/>
                  </a:lnTo>
                  <a:lnTo>
                    <a:pt x="385" y="329"/>
                  </a:lnTo>
                  <a:lnTo>
                    <a:pt x="384" y="329"/>
                  </a:lnTo>
                  <a:lnTo>
                    <a:pt x="383" y="329"/>
                  </a:lnTo>
                  <a:lnTo>
                    <a:pt x="382" y="330"/>
                  </a:lnTo>
                  <a:lnTo>
                    <a:pt x="381" y="330"/>
                  </a:lnTo>
                  <a:lnTo>
                    <a:pt x="380" y="331"/>
                  </a:lnTo>
                  <a:lnTo>
                    <a:pt x="379" y="332"/>
                  </a:lnTo>
                  <a:lnTo>
                    <a:pt x="378" y="333"/>
                  </a:lnTo>
                  <a:lnTo>
                    <a:pt x="375" y="336"/>
                  </a:lnTo>
                  <a:lnTo>
                    <a:pt x="373" y="339"/>
                  </a:lnTo>
                  <a:lnTo>
                    <a:pt x="371" y="341"/>
                  </a:lnTo>
                  <a:lnTo>
                    <a:pt x="370" y="342"/>
                  </a:lnTo>
                  <a:lnTo>
                    <a:pt x="369" y="343"/>
                  </a:lnTo>
                  <a:lnTo>
                    <a:pt x="369" y="343"/>
                  </a:lnTo>
                  <a:lnTo>
                    <a:pt x="368" y="343"/>
                  </a:lnTo>
                  <a:lnTo>
                    <a:pt x="366" y="344"/>
                  </a:lnTo>
                  <a:lnTo>
                    <a:pt x="365" y="344"/>
                  </a:lnTo>
                  <a:lnTo>
                    <a:pt x="364" y="344"/>
                  </a:lnTo>
                  <a:lnTo>
                    <a:pt x="363" y="344"/>
                  </a:lnTo>
                  <a:lnTo>
                    <a:pt x="362" y="344"/>
                  </a:lnTo>
                  <a:lnTo>
                    <a:pt x="360" y="343"/>
                  </a:lnTo>
                  <a:lnTo>
                    <a:pt x="359" y="343"/>
                  </a:lnTo>
                  <a:lnTo>
                    <a:pt x="356" y="342"/>
                  </a:lnTo>
                  <a:lnTo>
                    <a:pt x="354" y="341"/>
                  </a:lnTo>
                  <a:lnTo>
                    <a:pt x="352" y="340"/>
                  </a:lnTo>
                  <a:lnTo>
                    <a:pt x="350" y="339"/>
                  </a:lnTo>
                  <a:lnTo>
                    <a:pt x="348" y="338"/>
                  </a:lnTo>
                  <a:lnTo>
                    <a:pt x="342" y="335"/>
                  </a:lnTo>
                  <a:lnTo>
                    <a:pt x="340" y="334"/>
                  </a:lnTo>
                  <a:lnTo>
                    <a:pt x="337" y="332"/>
                  </a:lnTo>
                  <a:lnTo>
                    <a:pt x="335" y="331"/>
                  </a:lnTo>
                  <a:lnTo>
                    <a:pt x="334" y="330"/>
                  </a:lnTo>
                  <a:lnTo>
                    <a:pt x="333" y="329"/>
                  </a:lnTo>
                  <a:lnTo>
                    <a:pt x="333" y="328"/>
                  </a:lnTo>
                  <a:lnTo>
                    <a:pt x="331" y="327"/>
                  </a:lnTo>
                  <a:lnTo>
                    <a:pt x="330" y="327"/>
                  </a:lnTo>
                  <a:lnTo>
                    <a:pt x="324" y="324"/>
                  </a:lnTo>
                  <a:lnTo>
                    <a:pt x="321" y="323"/>
                  </a:lnTo>
                  <a:lnTo>
                    <a:pt x="319" y="322"/>
                  </a:lnTo>
                  <a:lnTo>
                    <a:pt x="318" y="321"/>
                  </a:lnTo>
                  <a:lnTo>
                    <a:pt x="317" y="320"/>
                  </a:lnTo>
                  <a:lnTo>
                    <a:pt x="316" y="320"/>
                  </a:lnTo>
                  <a:lnTo>
                    <a:pt x="315" y="318"/>
                  </a:lnTo>
                  <a:lnTo>
                    <a:pt x="314" y="318"/>
                  </a:lnTo>
                  <a:lnTo>
                    <a:pt x="313" y="317"/>
                  </a:lnTo>
                  <a:lnTo>
                    <a:pt x="312" y="315"/>
                  </a:lnTo>
                  <a:lnTo>
                    <a:pt x="310" y="311"/>
                  </a:lnTo>
                  <a:lnTo>
                    <a:pt x="309" y="310"/>
                  </a:lnTo>
                  <a:lnTo>
                    <a:pt x="308" y="308"/>
                  </a:lnTo>
                  <a:lnTo>
                    <a:pt x="307" y="307"/>
                  </a:lnTo>
                  <a:lnTo>
                    <a:pt x="306" y="306"/>
                  </a:lnTo>
                  <a:lnTo>
                    <a:pt x="305" y="305"/>
                  </a:lnTo>
                  <a:lnTo>
                    <a:pt x="302" y="303"/>
                  </a:lnTo>
                  <a:lnTo>
                    <a:pt x="300" y="301"/>
                  </a:lnTo>
                  <a:lnTo>
                    <a:pt x="298" y="300"/>
                  </a:lnTo>
                  <a:lnTo>
                    <a:pt x="297" y="299"/>
                  </a:lnTo>
                  <a:lnTo>
                    <a:pt x="296" y="299"/>
                  </a:lnTo>
                  <a:lnTo>
                    <a:pt x="293" y="298"/>
                  </a:lnTo>
                  <a:lnTo>
                    <a:pt x="292" y="297"/>
                  </a:lnTo>
                  <a:lnTo>
                    <a:pt x="290" y="297"/>
                  </a:lnTo>
                  <a:lnTo>
                    <a:pt x="289" y="296"/>
                  </a:lnTo>
                  <a:lnTo>
                    <a:pt x="289" y="295"/>
                  </a:lnTo>
                  <a:lnTo>
                    <a:pt x="288" y="295"/>
                  </a:lnTo>
                  <a:lnTo>
                    <a:pt x="285" y="292"/>
                  </a:lnTo>
                  <a:lnTo>
                    <a:pt x="279" y="285"/>
                  </a:lnTo>
                  <a:lnTo>
                    <a:pt x="275" y="281"/>
                  </a:lnTo>
                  <a:lnTo>
                    <a:pt x="274" y="279"/>
                  </a:lnTo>
                  <a:lnTo>
                    <a:pt x="273" y="278"/>
                  </a:lnTo>
                  <a:lnTo>
                    <a:pt x="272" y="278"/>
                  </a:lnTo>
                  <a:lnTo>
                    <a:pt x="271" y="277"/>
                  </a:lnTo>
                  <a:lnTo>
                    <a:pt x="270" y="277"/>
                  </a:lnTo>
                  <a:lnTo>
                    <a:pt x="269" y="277"/>
                  </a:lnTo>
                  <a:lnTo>
                    <a:pt x="265" y="276"/>
                  </a:lnTo>
                  <a:lnTo>
                    <a:pt x="264" y="276"/>
                  </a:lnTo>
                  <a:lnTo>
                    <a:pt x="263" y="276"/>
                  </a:lnTo>
                  <a:lnTo>
                    <a:pt x="262" y="276"/>
                  </a:lnTo>
                  <a:lnTo>
                    <a:pt x="261" y="276"/>
                  </a:lnTo>
                  <a:lnTo>
                    <a:pt x="260" y="277"/>
                  </a:lnTo>
                  <a:lnTo>
                    <a:pt x="259" y="278"/>
                  </a:lnTo>
                  <a:lnTo>
                    <a:pt x="257" y="279"/>
                  </a:lnTo>
                  <a:lnTo>
                    <a:pt x="257" y="279"/>
                  </a:lnTo>
                  <a:lnTo>
                    <a:pt x="256" y="279"/>
                  </a:lnTo>
                  <a:lnTo>
                    <a:pt x="255" y="280"/>
                  </a:lnTo>
                  <a:lnTo>
                    <a:pt x="255" y="280"/>
                  </a:lnTo>
                  <a:lnTo>
                    <a:pt x="254" y="280"/>
                  </a:lnTo>
                  <a:lnTo>
                    <a:pt x="253" y="279"/>
                  </a:lnTo>
                  <a:lnTo>
                    <a:pt x="252" y="279"/>
                  </a:lnTo>
                  <a:lnTo>
                    <a:pt x="251" y="278"/>
                  </a:lnTo>
                  <a:lnTo>
                    <a:pt x="251" y="278"/>
                  </a:lnTo>
                  <a:lnTo>
                    <a:pt x="250" y="276"/>
                  </a:lnTo>
                  <a:lnTo>
                    <a:pt x="249" y="275"/>
                  </a:lnTo>
                  <a:lnTo>
                    <a:pt x="248" y="274"/>
                  </a:lnTo>
                  <a:lnTo>
                    <a:pt x="245" y="272"/>
                  </a:lnTo>
                  <a:lnTo>
                    <a:pt x="243" y="271"/>
                  </a:lnTo>
                  <a:lnTo>
                    <a:pt x="242" y="270"/>
                  </a:lnTo>
                  <a:lnTo>
                    <a:pt x="239" y="267"/>
                  </a:lnTo>
                  <a:lnTo>
                    <a:pt x="239" y="267"/>
                  </a:lnTo>
                  <a:lnTo>
                    <a:pt x="238" y="266"/>
                  </a:lnTo>
                  <a:lnTo>
                    <a:pt x="237" y="266"/>
                  </a:lnTo>
                  <a:lnTo>
                    <a:pt x="236" y="265"/>
                  </a:lnTo>
                  <a:lnTo>
                    <a:pt x="236" y="265"/>
                  </a:lnTo>
                  <a:lnTo>
                    <a:pt x="235" y="265"/>
                  </a:lnTo>
                  <a:lnTo>
                    <a:pt x="235" y="266"/>
                  </a:lnTo>
                  <a:lnTo>
                    <a:pt x="235" y="268"/>
                  </a:lnTo>
                  <a:lnTo>
                    <a:pt x="234" y="270"/>
                  </a:lnTo>
                  <a:lnTo>
                    <a:pt x="234" y="271"/>
                  </a:lnTo>
                  <a:lnTo>
                    <a:pt x="233" y="274"/>
                  </a:lnTo>
                  <a:lnTo>
                    <a:pt x="232" y="276"/>
                  </a:lnTo>
                  <a:lnTo>
                    <a:pt x="231" y="278"/>
                  </a:lnTo>
                  <a:lnTo>
                    <a:pt x="231" y="282"/>
                  </a:lnTo>
                  <a:lnTo>
                    <a:pt x="231" y="283"/>
                  </a:lnTo>
                  <a:lnTo>
                    <a:pt x="230" y="284"/>
                  </a:lnTo>
                  <a:lnTo>
                    <a:pt x="230" y="285"/>
                  </a:lnTo>
                  <a:lnTo>
                    <a:pt x="229" y="286"/>
                  </a:lnTo>
                  <a:lnTo>
                    <a:pt x="228" y="287"/>
                  </a:lnTo>
                  <a:lnTo>
                    <a:pt x="228" y="288"/>
                  </a:lnTo>
                  <a:lnTo>
                    <a:pt x="227" y="288"/>
                  </a:lnTo>
                  <a:lnTo>
                    <a:pt x="225" y="289"/>
                  </a:lnTo>
                  <a:lnTo>
                    <a:pt x="220" y="292"/>
                  </a:lnTo>
                  <a:lnTo>
                    <a:pt x="217" y="293"/>
                  </a:lnTo>
                  <a:lnTo>
                    <a:pt x="216" y="294"/>
                  </a:lnTo>
                  <a:lnTo>
                    <a:pt x="214" y="295"/>
                  </a:lnTo>
                  <a:lnTo>
                    <a:pt x="213" y="296"/>
                  </a:lnTo>
                  <a:lnTo>
                    <a:pt x="212" y="297"/>
                  </a:lnTo>
                  <a:lnTo>
                    <a:pt x="212" y="297"/>
                  </a:lnTo>
                  <a:lnTo>
                    <a:pt x="211" y="298"/>
                  </a:lnTo>
                  <a:lnTo>
                    <a:pt x="211" y="299"/>
                  </a:lnTo>
                  <a:lnTo>
                    <a:pt x="211" y="299"/>
                  </a:lnTo>
                  <a:lnTo>
                    <a:pt x="210" y="301"/>
                  </a:lnTo>
                  <a:lnTo>
                    <a:pt x="210" y="304"/>
                  </a:lnTo>
                  <a:lnTo>
                    <a:pt x="209" y="305"/>
                  </a:lnTo>
                  <a:lnTo>
                    <a:pt x="209" y="306"/>
                  </a:lnTo>
                  <a:lnTo>
                    <a:pt x="208" y="307"/>
                  </a:lnTo>
                  <a:lnTo>
                    <a:pt x="208" y="308"/>
                  </a:lnTo>
                  <a:lnTo>
                    <a:pt x="207" y="308"/>
                  </a:lnTo>
                  <a:lnTo>
                    <a:pt x="206" y="309"/>
                  </a:lnTo>
                  <a:lnTo>
                    <a:pt x="205" y="310"/>
                  </a:lnTo>
                  <a:lnTo>
                    <a:pt x="204" y="311"/>
                  </a:lnTo>
                  <a:lnTo>
                    <a:pt x="203" y="312"/>
                  </a:lnTo>
                  <a:lnTo>
                    <a:pt x="202" y="312"/>
                  </a:lnTo>
                  <a:lnTo>
                    <a:pt x="201" y="313"/>
                  </a:lnTo>
                  <a:lnTo>
                    <a:pt x="200" y="313"/>
                  </a:lnTo>
                  <a:lnTo>
                    <a:pt x="199" y="313"/>
                  </a:lnTo>
                  <a:lnTo>
                    <a:pt x="198" y="313"/>
                  </a:lnTo>
                  <a:lnTo>
                    <a:pt x="197" y="313"/>
                  </a:lnTo>
                  <a:lnTo>
                    <a:pt x="197" y="313"/>
                  </a:lnTo>
                  <a:lnTo>
                    <a:pt x="195" y="313"/>
                  </a:lnTo>
                  <a:lnTo>
                    <a:pt x="193" y="312"/>
                  </a:lnTo>
                  <a:lnTo>
                    <a:pt x="188" y="311"/>
                  </a:lnTo>
                  <a:lnTo>
                    <a:pt x="185" y="310"/>
                  </a:lnTo>
                  <a:lnTo>
                    <a:pt x="182" y="309"/>
                  </a:lnTo>
                  <a:lnTo>
                    <a:pt x="179" y="309"/>
                  </a:lnTo>
                  <a:lnTo>
                    <a:pt x="177" y="309"/>
                  </a:lnTo>
                  <a:lnTo>
                    <a:pt x="176" y="309"/>
                  </a:lnTo>
                  <a:lnTo>
                    <a:pt x="174" y="309"/>
                  </a:lnTo>
                  <a:lnTo>
                    <a:pt x="173" y="309"/>
                  </a:lnTo>
                  <a:lnTo>
                    <a:pt x="172" y="309"/>
                  </a:lnTo>
                  <a:lnTo>
                    <a:pt x="171" y="310"/>
                  </a:lnTo>
                  <a:lnTo>
                    <a:pt x="170" y="310"/>
                  </a:lnTo>
                  <a:lnTo>
                    <a:pt x="170" y="311"/>
                  </a:lnTo>
                  <a:lnTo>
                    <a:pt x="169" y="313"/>
                  </a:lnTo>
                  <a:lnTo>
                    <a:pt x="169" y="314"/>
                  </a:lnTo>
                  <a:lnTo>
                    <a:pt x="168" y="315"/>
                  </a:lnTo>
                  <a:lnTo>
                    <a:pt x="168" y="321"/>
                  </a:lnTo>
                  <a:lnTo>
                    <a:pt x="167" y="323"/>
                  </a:lnTo>
                  <a:lnTo>
                    <a:pt x="167" y="325"/>
                  </a:lnTo>
                  <a:lnTo>
                    <a:pt x="167" y="326"/>
                  </a:lnTo>
                  <a:lnTo>
                    <a:pt x="166" y="327"/>
                  </a:lnTo>
                  <a:lnTo>
                    <a:pt x="165" y="328"/>
                  </a:lnTo>
                  <a:lnTo>
                    <a:pt x="165" y="329"/>
                  </a:lnTo>
                  <a:lnTo>
                    <a:pt x="164" y="330"/>
                  </a:lnTo>
                  <a:lnTo>
                    <a:pt x="163" y="330"/>
                  </a:lnTo>
                  <a:lnTo>
                    <a:pt x="160" y="333"/>
                  </a:lnTo>
                  <a:lnTo>
                    <a:pt x="159" y="333"/>
                  </a:lnTo>
                  <a:lnTo>
                    <a:pt x="158" y="334"/>
                  </a:lnTo>
                  <a:lnTo>
                    <a:pt x="157" y="335"/>
                  </a:lnTo>
                  <a:lnTo>
                    <a:pt x="157" y="336"/>
                  </a:lnTo>
                  <a:lnTo>
                    <a:pt x="154" y="339"/>
                  </a:lnTo>
                  <a:lnTo>
                    <a:pt x="153" y="341"/>
                  </a:lnTo>
                  <a:lnTo>
                    <a:pt x="152" y="342"/>
                  </a:lnTo>
                  <a:lnTo>
                    <a:pt x="151" y="343"/>
                  </a:lnTo>
                  <a:lnTo>
                    <a:pt x="149" y="345"/>
                  </a:lnTo>
                  <a:lnTo>
                    <a:pt x="144" y="348"/>
                  </a:lnTo>
                  <a:lnTo>
                    <a:pt x="141" y="351"/>
                  </a:lnTo>
                  <a:lnTo>
                    <a:pt x="140" y="352"/>
                  </a:lnTo>
                  <a:lnTo>
                    <a:pt x="139" y="352"/>
                  </a:lnTo>
                  <a:lnTo>
                    <a:pt x="139" y="353"/>
                  </a:lnTo>
                  <a:lnTo>
                    <a:pt x="137" y="353"/>
                  </a:lnTo>
                  <a:lnTo>
                    <a:pt x="128" y="353"/>
                  </a:lnTo>
                  <a:lnTo>
                    <a:pt x="127" y="354"/>
                  </a:lnTo>
                  <a:lnTo>
                    <a:pt x="124" y="354"/>
                  </a:lnTo>
                  <a:lnTo>
                    <a:pt x="123" y="354"/>
                  </a:lnTo>
                  <a:lnTo>
                    <a:pt x="120" y="354"/>
                  </a:lnTo>
                  <a:lnTo>
                    <a:pt x="118" y="354"/>
                  </a:lnTo>
                  <a:lnTo>
                    <a:pt x="117" y="355"/>
                  </a:lnTo>
                  <a:lnTo>
                    <a:pt x="112" y="356"/>
                  </a:lnTo>
                  <a:lnTo>
                    <a:pt x="111" y="357"/>
                  </a:lnTo>
                  <a:lnTo>
                    <a:pt x="109" y="357"/>
                  </a:lnTo>
                  <a:lnTo>
                    <a:pt x="108" y="358"/>
                  </a:lnTo>
                  <a:lnTo>
                    <a:pt x="107" y="358"/>
                  </a:lnTo>
                  <a:lnTo>
                    <a:pt x="107" y="358"/>
                  </a:lnTo>
                  <a:lnTo>
                    <a:pt x="106" y="358"/>
                  </a:lnTo>
                  <a:lnTo>
                    <a:pt x="105" y="358"/>
                  </a:lnTo>
                  <a:lnTo>
                    <a:pt x="104" y="358"/>
                  </a:lnTo>
                  <a:lnTo>
                    <a:pt x="103" y="357"/>
                  </a:lnTo>
                  <a:lnTo>
                    <a:pt x="102" y="357"/>
                  </a:lnTo>
                  <a:lnTo>
                    <a:pt x="101" y="356"/>
                  </a:lnTo>
                  <a:lnTo>
                    <a:pt x="100" y="356"/>
                  </a:lnTo>
                  <a:lnTo>
                    <a:pt x="99" y="356"/>
                  </a:lnTo>
                  <a:lnTo>
                    <a:pt x="99" y="355"/>
                  </a:lnTo>
                  <a:lnTo>
                    <a:pt x="98" y="354"/>
                  </a:lnTo>
                  <a:lnTo>
                    <a:pt x="98" y="353"/>
                  </a:lnTo>
                  <a:lnTo>
                    <a:pt x="97" y="352"/>
                  </a:lnTo>
                  <a:lnTo>
                    <a:pt x="97" y="351"/>
                  </a:lnTo>
                  <a:lnTo>
                    <a:pt x="96" y="349"/>
                  </a:lnTo>
                  <a:lnTo>
                    <a:pt x="96" y="347"/>
                  </a:lnTo>
                  <a:lnTo>
                    <a:pt x="95" y="343"/>
                  </a:lnTo>
                  <a:lnTo>
                    <a:pt x="95" y="342"/>
                  </a:lnTo>
                  <a:lnTo>
                    <a:pt x="94" y="341"/>
                  </a:lnTo>
                  <a:lnTo>
                    <a:pt x="94" y="340"/>
                  </a:lnTo>
                  <a:lnTo>
                    <a:pt x="93" y="339"/>
                  </a:lnTo>
                  <a:lnTo>
                    <a:pt x="93" y="339"/>
                  </a:lnTo>
                  <a:lnTo>
                    <a:pt x="92" y="338"/>
                  </a:lnTo>
                  <a:lnTo>
                    <a:pt x="91" y="338"/>
                  </a:lnTo>
                  <a:lnTo>
                    <a:pt x="91" y="338"/>
                  </a:lnTo>
                  <a:lnTo>
                    <a:pt x="90" y="338"/>
                  </a:lnTo>
                  <a:lnTo>
                    <a:pt x="89" y="338"/>
                  </a:lnTo>
                  <a:lnTo>
                    <a:pt x="88" y="339"/>
                  </a:lnTo>
                  <a:lnTo>
                    <a:pt x="86" y="339"/>
                  </a:lnTo>
                  <a:lnTo>
                    <a:pt x="85" y="340"/>
                  </a:lnTo>
                  <a:lnTo>
                    <a:pt x="83" y="341"/>
                  </a:lnTo>
                  <a:lnTo>
                    <a:pt x="82" y="341"/>
                  </a:lnTo>
                  <a:lnTo>
                    <a:pt x="81" y="341"/>
                  </a:lnTo>
                  <a:lnTo>
                    <a:pt x="80" y="341"/>
                  </a:lnTo>
                  <a:lnTo>
                    <a:pt x="79" y="341"/>
                  </a:lnTo>
                  <a:lnTo>
                    <a:pt x="79" y="341"/>
                  </a:lnTo>
                  <a:lnTo>
                    <a:pt x="77" y="341"/>
                  </a:lnTo>
                  <a:lnTo>
                    <a:pt x="76" y="341"/>
                  </a:lnTo>
                  <a:lnTo>
                    <a:pt x="73" y="339"/>
                  </a:lnTo>
                  <a:lnTo>
                    <a:pt x="72" y="339"/>
                  </a:lnTo>
                  <a:lnTo>
                    <a:pt x="70" y="338"/>
                  </a:lnTo>
                  <a:lnTo>
                    <a:pt x="69" y="338"/>
                  </a:lnTo>
                  <a:lnTo>
                    <a:pt x="68" y="339"/>
                  </a:lnTo>
                  <a:lnTo>
                    <a:pt x="67" y="339"/>
                  </a:lnTo>
                  <a:lnTo>
                    <a:pt x="66" y="340"/>
                  </a:lnTo>
                  <a:lnTo>
                    <a:pt x="63" y="341"/>
                  </a:lnTo>
                  <a:lnTo>
                    <a:pt x="62" y="341"/>
                  </a:lnTo>
                  <a:lnTo>
                    <a:pt x="61" y="342"/>
                  </a:lnTo>
                  <a:lnTo>
                    <a:pt x="61" y="342"/>
                  </a:lnTo>
                  <a:lnTo>
                    <a:pt x="60" y="342"/>
                  </a:lnTo>
                  <a:lnTo>
                    <a:pt x="59" y="342"/>
                  </a:lnTo>
                  <a:lnTo>
                    <a:pt x="59" y="341"/>
                  </a:lnTo>
                  <a:lnTo>
                    <a:pt x="58" y="341"/>
                  </a:lnTo>
                  <a:lnTo>
                    <a:pt x="57" y="340"/>
                  </a:lnTo>
                  <a:lnTo>
                    <a:pt x="57" y="340"/>
                  </a:lnTo>
                  <a:lnTo>
                    <a:pt x="56" y="339"/>
                  </a:lnTo>
                  <a:lnTo>
                    <a:pt x="56" y="339"/>
                  </a:lnTo>
                  <a:lnTo>
                    <a:pt x="56" y="339"/>
                  </a:lnTo>
                  <a:lnTo>
                    <a:pt x="56" y="338"/>
                  </a:lnTo>
                  <a:lnTo>
                    <a:pt x="56" y="338"/>
                  </a:lnTo>
                  <a:lnTo>
                    <a:pt x="55" y="336"/>
                  </a:lnTo>
                  <a:lnTo>
                    <a:pt x="54" y="334"/>
                  </a:lnTo>
                  <a:lnTo>
                    <a:pt x="53" y="333"/>
                  </a:lnTo>
                  <a:lnTo>
                    <a:pt x="52" y="332"/>
                  </a:lnTo>
                  <a:lnTo>
                    <a:pt x="51" y="330"/>
                  </a:lnTo>
                  <a:lnTo>
                    <a:pt x="50" y="329"/>
                  </a:lnTo>
                  <a:lnTo>
                    <a:pt x="49" y="328"/>
                  </a:lnTo>
                  <a:lnTo>
                    <a:pt x="47" y="326"/>
                  </a:lnTo>
                  <a:lnTo>
                    <a:pt x="45" y="325"/>
                  </a:lnTo>
                  <a:lnTo>
                    <a:pt x="42" y="323"/>
                  </a:lnTo>
                  <a:lnTo>
                    <a:pt x="40" y="322"/>
                  </a:lnTo>
                  <a:lnTo>
                    <a:pt x="39" y="322"/>
                  </a:lnTo>
                  <a:lnTo>
                    <a:pt x="38" y="320"/>
                  </a:lnTo>
                  <a:lnTo>
                    <a:pt x="38" y="319"/>
                  </a:lnTo>
                  <a:lnTo>
                    <a:pt x="37" y="318"/>
                  </a:lnTo>
                  <a:lnTo>
                    <a:pt x="34" y="313"/>
                  </a:lnTo>
                  <a:lnTo>
                    <a:pt x="30" y="306"/>
                  </a:lnTo>
                  <a:lnTo>
                    <a:pt x="30" y="305"/>
                  </a:lnTo>
                  <a:lnTo>
                    <a:pt x="29" y="303"/>
                  </a:lnTo>
                  <a:lnTo>
                    <a:pt x="26" y="295"/>
                  </a:lnTo>
                  <a:lnTo>
                    <a:pt x="25" y="293"/>
                  </a:lnTo>
                  <a:lnTo>
                    <a:pt x="24" y="291"/>
                  </a:lnTo>
                  <a:lnTo>
                    <a:pt x="23" y="288"/>
                  </a:lnTo>
                  <a:lnTo>
                    <a:pt x="21" y="285"/>
                  </a:lnTo>
                  <a:lnTo>
                    <a:pt x="21" y="284"/>
                  </a:lnTo>
                  <a:lnTo>
                    <a:pt x="19" y="282"/>
                  </a:lnTo>
                  <a:lnTo>
                    <a:pt x="18" y="280"/>
                  </a:lnTo>
                  <a:lnTo>
                    <a:pt x="16" y="278"/>
                  </a:lnTo>
                  <a:lnTo>
                    <a:pt x="15" y="276"/>
                  </a:lnTo>
                  <a:lnTo>
                    <a:pt x="14" y="274"/>
                  </a:lnTo>
                  <a:lnTo>
                    <a:pt x="12" y="268"/>
                  </a:lnTo>
                  <a:lnTo>
                    <a:pt x="9" y="263"/>
                  </a:lnTo>
                  <a:lnTo>
                    <a:pt x="8" y="261"/>
                  </a:lnTo>
                  <a:lnTo>
                    <a:pt x="7" y="258"/>
                  </a:lnTo>
                  <a:lnTo>
                    <a:pt x="7" y="257"/>
                  </a:lnTo>
                  <a:lnTo>
                    <a:pt x="6" y="255"/>
                  </a:lnTo>
                  <a:lnTo>
                    <a:pt x="6" y="251"/>
                  </a:lnTo>
                  <a:lnTo>
                    <a:pt x="5" y="249"/>
                  </a:lnTo>
                  <a:lnTo>
                    <a:pt x="5" y="247"/>
                  </a:lnTo>
                  <a:lnTo>
                    <a:pt x="4" y="243"/>
                  </a:lnTo>
                  <a:lnTo>
                    <a:pt x="3" y="241"/>
                  </a:lnTo>
                  <a:lnTo>
                    <a:pt x="2" y="241"/>
                  </a:lnTo>
                  <a:lnTo>
                    <a:pt x="1" y="238"/>
                  </a:lnTo>
                  <a:lnTo>
                    <a:pt x="1" y="237"/>
                  </a:lnTo>
                  <a:lnTo>
                    <a:pt x="0" y="236"/>
                  </a:lnTo>
                  <a:lnTo>
                    <a:pt x="0" y="235"/>
                  </a:lnTo>
                  <a:lnTo>
                    <a:pt x="0" y="234"/>
                  </a:lnTo>
                  <a:lnTo>
                    <a:pt x="0" y="233"/>
                  </a:lnTo>
                  <a:lnTo>
                    <a:pt x="1" y="231"/>
                  </a:lnTo>
                  <a:lnTo>
                    <a:pt x="1" y="230"/>
                  </a:lnTo>
                  <a:lnTo>
                    <a:pt x="1" y="229"/>
                  </a:lnTo>
                  <a:lnTo>
                    <a:pt x="2" y="228"/>
                  </a:lnTo>
                  <a:lnTo>
                    <a:pt x="2" y="227"/>
                  </a:lnTo>
                  <a:lnTo>
                    <a:pt x="3" y="225"/>
                  </a:lnTo>
                  <a:lnTo>
                    <a:pt x="7" y="220"/>
                  </a:lnTo>
                  <a:lnTo>
                    <a:pt x="8" y="219"/>
                  </a:lnTo>
                  <a:lnTo>
                    <a:pt x="8" y="217"/>
                  </a:lnTo>
                  <a:lnTo>
                    <a:pt x="8" y="216"/>
                  </a:lnTo>
                  <a:lnTo>
                    <a:pt x="9" y="215"/>
                  </a:lnTo>
                  <a:lnTo>
                    <a:pt x="9" y="210"/>
                  </a:lnTo>
                  <a:lnTo>
                    <a:pt x="10" y="209"/>
                  </a:lnTo>
                  <a:lnTo>
                    <a:pt x="10" y="207"/>
                  </a:lnTo>
                  <a:lnTo>
                    <a:pt x="11" y="205"/>
                  </a:lnTo>
                  <a:lnTo>
                    <a:pt x="12" y="203"/>
                  </a:lnTo>
                  <a:lnTo>
                    <a:pt x="12" y="202"/>
                  </a:lnTo>
                  <a:lnTo>
                    <a:pt x="13" y="201"/>
                  </a:lnTo>
                  <a:lnTo>
                    <a:pt x="14" y="200"/>
                  </a:lnTo>
                  <a:lnTo>
                    <a:pt x="15" y="199"/>
                  </a:lnTo>
                  <a:lnTo>
                    <a:pt x="16" y="198"/>
                  </a:lnTo>
                  <a:lnTo>
                    <a:pt x="17" y="197"/>
                  </a:lnTo>
                  <a:lnTo>
                    <a:pt x="22" y="193"/>
                  </a:lnTo>
                  <a:lnTo>
                    <a:pt x="25" y="190"/>
                  </a:lnTo>
                  <a:lnTo>
                    <a:pt x="26" y="189"/>
                  </a:lnTo>
                  <a:lnTo>
                    <a:pt x="27" y="189"/>
                  </a:lnTo>
                  <a:lnTo>
                    <a:pt x="29" y="188"/>
                  </a:lnTo>
                  <a:lnTo>
                    <a:pt x="29" y="188"/>
                  </a:lnTo>
                  <a:lnTo>
                    <a:pt x="29" y="187"/>
                  </a:lnTo>
                  <a:lnTo>
                    <a:pt x="30" y="187"/>
                  </a:lnTo>
                  <a:lnTo>
                    <a:pt x="30" y="186"/>
                  </a:lnTo>
                  <a:lnTo>
                    <a:pt x="31" y="186"/>
                  </a:lnTo>
                  <a:lnTo>
                    <a:pt x="31" y="185"/>
                  </a:lnTo>
                  <a:lnTo>
                    <a:pt x="31" y="182"/>
                  </a:lnTo>
                  <a:lnTo>
                    <a:pt x="31" y="181"/>
                  </a:lnTo>
                  <a:lnTo>
                    <a:pt x="31" y="180"/>
                  </a:lnTo>
                  <a:lnTo>
                    <a:pt x="31" y="178"/>
                  </a:lnTo>
                  <a:lnTo>
                    <a:pt x="32" y="176"/>
                  </a:lnTo>
                  <a:lnTo>
                    <a:pt x="33" y="174"/>
                  </a:lnTo>
                  <a:lnTo>
                    <a:pt x="33" y="172"/>
                  </a:lnTo>
                  <a:lnTo>
                    <a:pt x="34" y="171"/>
                  </a:lnTo>
                  <a:lnTo>
                    <a:pt x="35" y="169"/>
                  </a:lnTo>
                  <a:lnTo>
                    <a:pt x="35" y="168"/>
                  </a:lnTo>
                  <a:lnTo>
                    <a:pt x="36" y="167"/>
                  </a:lnTo>
                  <a:lnTo>
                    <a:pt x="37" y="166"/>
                  </a:lnTo>
                  <a:lnTo>
                    <a:pt x="38" y="165"/>
                  </a:lnTo>
                  <a:lnTo>
                    <a:pt x="40" y="162"/>
                  </a:lnTo>
                  <a:lnTo>
                    <a:pt x="41" y="161"/>
                  </a:lnTo>
                  <a:lnTo>
                    <a:pt x="42" y="160"/>
                  </a:lnTo>
                  <a:lnTo>
                    <a:pt x="42" y="159"/>
                  </a:lnTo>
                  <a:lnTo>
                    <a:pt x="43" y="158"/>
                  </a:lnTo>
                  <a:lnTo>
                    <a:pt x="43" y="157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0"/>
                  </a:lnTo>
                  <a:lnTo>
                    <a:pt x="43" y="148"/>
                  </a:lnTo>
                  <a:lnTo>
                    <a:pt x="43" y="143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3" y="140"/>
                  </a:lnTo>
                  <a:lnTo>
                    <a:pt x="43" y="139"/>
                  </a:lnTo>
                  <a:lnTo>
                    <a:pt x="44" y="139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8"/>
                  </a:lnTo>
                  <a:lnTo>
                    <a:pt x="49" y="137"/>
                  </a:lnTo>
                  <a:lnTo>
                    <a:pt x="50" y="137"/>
                  </a:lnTo>
                  <a:lnTo>
                    <a:pt x="51" y="137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4" y="138"/>
                  </a:lnTo>
                  <a:lnTo>
                    <a:pt x="57" y="139"/>
                  </a:lnTo>
                  <a:lnTo>
                    <a:pt x="60" y="140"/>
                  </a:lnTo>
                  <a:lnTo>
                    <a:pt x="61" y="140"/>
                  </a:lnTo>
                  <a:lnTo>
                    <a:pt x="64" y="142"/>
                  </a:lnTo>
                  <a:lnTo>
                    <a:pt x="68" y="144"/>
                  </a:lnTo>
                  <a:lnTo>
                    <a:pt x="69" y="145"/>
                  </a:lnTo>
                  <a:lnTo>
                    <a:pt x="71" y="146"/>
                  </a:lnTo>
                  <a:lnTo>
                    <a:pt x="73" y="147"/>
                  </a:lnTo>
                  <a:lnTo>
                    <a:pt x="75" y="147"/>
                  </a:lnTo>
                  <a:lnTo>
                    <a:pt x="76" y="147"/>
                  </a:lnTo>
                  <a:lnTo>
                    <a:pt x="78" y="147"/>
                  </a:lnTo>
                  <a:lnTo>
                    <a:pt x="79" y="148"/>
                  </a:lnTo>
                  <a:lnTo>
                    <a:pt x="80" y="147"/>
                  </a:lnTo>
                  <a:lnTo>
                    <a:pt x="81" y="147"/>
                  </a:lnTo>
                  <a:lnTo>
                    <a:pt x="82" y="147"/>
                  </a:lnTo>
                  <a:lnTo>
                    <a:pt x="83" y="147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5" y="145"/>
                  </a:lnTo>
                  <a:lnTo>
                    <a:pt x="86" y="145"/>
                  </a:lnTo>
                  <a:lnTo>
                    <a:pt x="87" y="144"/>
                  </a:lnTo>
                  <a:lnTo>
                    <a:pt x="87" y="143"/>
                  </a:lnTo>
                  <a:lnTo>
                    <a:pt x="88" y="142"/>
                  </a:lnTo>
                  <a:lnTo>
                    <a:pt x="88" y="141"/>
                  </a:lnTo>
                  <a:lnTo>
                    <a:pt x="89" y="139"/>
                  </a:lnTo>
                  <a:lnTo>
                    <a:pt x="91" y="132"/>
                  </a:lnTo>
                  <a:lnTo>
                    <a:pt x="92" y="130"/>
                  </a:lnTo>
                  <a:lnTo>
                    <a:pt x="93" y="127"/>
                  </a:lnTo>
                  <a:lnTo>
                    <a:pt x="93" y="126"/>
                  </a:lnTo>
                  <a:lnTo>
                    <a:pt x="94" y="125"/>
                  </a:lnTo>
                  <a:lnTo>
                    <a:pt x="94" y="124"/>
                  </a:lnTo>
                  <a:lnTo>
                    <a:pt x="95" y="123"/>
                  </a:lnTo>
                  <a:lnTo>
                    <a:pt x="96" y="123"/>
                  </a:lnTo>
                  <a:lnTo>
                    <a:pt x="97" y="122"/>
                  </a:lnTo>
                  <a:lnTo>
                    <a:pt x="99" y="121"/>
                  </a:lnTo>
                  <a:lnTo>
                    <a:pt x="103" y="118"/>
                  </a:lnTo>
                  <a:lnTo>
                    <a:pt x="104" y="117"/>
                  </a:lnTo>
                  <a:lnTo>
                    <a:pt x="107" y="115"/>
                  </a:lnTo>
                  <a:lnTo>
                    <a:pt x="108" y="114"/>
                  </a:lnTo>
                  <a:lnTo>
                    <a:pt x="110" y="112"/>
                  </a:lnTo>
                  <a:lnTo>
                    <a:pt x="112" y="111"/>
                  </a:lnTo>
                  <a:lnTo>
                    <a:pt x="112" y="110"/>
                  </a:lnTo>
                  <a:lnTo>
                    <a:pt x="113" y="109"/>
                  </a:lnTo>
                  <a:lnTo>
                    <a:pt x="113" y="109"/>
                  </a:lnTo>
                  <a:lnTo>
                    <a:pt x="113" y="108"/>
                  </a:lnTo>
                  <a:lnTo>
                    <a:pt x="114" y="109"/>
                  </a:lnTo>
                  <a:lnTo>
                    <a:pt x="121" y="111"/>
                  </a:lnTo>
                  <a:lnTo>
                    <a:pt x="128" y="114"/>
                  </a:lnTo>
                  <a:lnTo>
                    <a:pt x="131" y="115"/>
                  </a:lnTo>
                  <a:lnTo>
                    <a:pt x="134" y="116"/>
                  </a:lnTo>
                  <a:lnTo>
                    <a:pt x="141" y="120"/>
                  </a:lnTo>
                  <a:lnTo>
                    <a:pt x="146" y="121"/>
                  </a:lnTo>
                  <a:lnTo>
                    <a:pt x="148" y="122"/>
                  </a:lnTo>
                  <a:lnTo>
                    <a:pt x="149" y="123"/>
                  </a:lnTo>
                  <a:lnTo>
                    <a:pt x="150" y="124"/>
                  </a:lnTo>
                  <a:lnTo>
                    <a:pt x="152" y="125"/>
                  </a:lnTo>
                  <a:lnTo>
                    <a:pt x="154" y="127"/>
                  </a:lnTo>
                  <a:lnTo>
                    <a:pt x="155" y="128"/>
                  </a:lnTo>
                  <a:lnTo>
                    <a:pt x="156" y="128"/>
                  </a:lnTo>
                  <a:lnTo>
                    <a:pt x="157" y="129"/>
                  </a:lnTo>
                  <a:lnTo>
                    <a:pt x="158" y="129"/>
                  </a:lnTo>
                  <a:lnTo>
                    <a:pt x="160" y="130"/>
                  </a:lnTo>
                  <a:lnTo>
                    <a:pt x="164" y="130"/>
                  </a:lnTo>
                  <a:lnTo>
                    <a:pt x="165" y="130"/>
                  </a:lnTo>
                  <a:lnTo>
                    <a:pt x="172" y="131"/>
                  </a:lnTo>
                  <a:lnTo>
                    <a:pt x="174" y="132"/>
                  </a:lnTo>
                  <a:lnTo>
                    <a:pt x="176" y="132"/>
                  </a:lnTo>
                  <a:lnTo>
                    <a:pt x="178" y="132"/>
                  </a:lnTo>
                  <a:lnTo>
                    <a:pt x="179" y="132"/>
                  </a:lnTo>
                  <a:lnTo>
                    <a:pt x="181" y="132"/>
                  </a:lnTo>
                  <a:lnTo>
                    <a:pt x="182" y="131"/>
                  </a:lnTo>
                  <a:lnTo>
                    <a:pt x="183" y="131"/>
                  </a:lnTo>
                  <a:lnTo>
                    <a:pt x="184" y="130"/>
                  </a:lnTo>
                  <a:lnTo>
                    <a:pt x="185" y="130"/>
                  </a:lnTo>
                  <a:lnTo>
                    <a:pt x="186" y="129"/>
                  </a:lnTo>
                  <a:lnTo>
                    <a:pt x="187" y="128"/>
                  </a:lnTo>
                  <a:lnTo>
                    <a:pt x="188" y="127"/>
                  </a:lnTo>
                  <a:lnTo>
                    <a:pt x="189" y="125"/>
                  </a:lnTo>
                  <a:lnTo>
                    <a:pt x="190" y="123"/>
                  </a:lnTo>
                  <a:lnTo>
                    <a:pt x="192" y="116"/>
                  </a:lnTo>
                  <a:lnTo>
                    <a:pt x="193" y="114"/>
                  </a:lnTo>
                  <a:lnTo>
                    <a:pt x="195" y="111"/>
                  </a:lnTo>
                  <a:lnTo>
                    <a:pt x="197" y="107"/>
                  </a:lnTo>
                  <a:lnTo>
                    <a:pt x="198" y="105"/>
                  </a:lnTo>
                  <a:lnTo>
                    <a:pt x="199" y="104"/>
                  </a:lnTo>
                  <a:lnTo>
                    <a:pt x="200" y="103"/>
                  </a:lnTo>
                  <a:lnTo>
                    <a:pt x="201" y="103"/>
                  </a:lnTo>
                  <a:lnTo>
                    <a:pt x="201" y="102"/>
                  </a:lnTo>
                  <a:lnTo>
                    <a:pt x="202" y="102"/>
                  </a:lnTo>
                  <a:lnTo>
                    <a:pt x="203" y="101"/>
                  </a:lnTo>
                  <a:lnTo>
                    <a:pt x="204" y="101"/>
                  </a:lnTo>
                  <a:lnTo>
                    <a:pt x="205" y="101"/>
                  </a:lnTo>
                  <a:lnTo>
                    <a:pt x="211" y="100"/>
                  </a:lnTo>
                  <a:lnTo>
                    <a:pt x="217" y="98"/>
                  </a:lnTo>
                  <a:lnTo>
                    <a:pt x="219" y="98"/>
                  </a:lnTo>
                  <a:lnTo>
                    <a:pt x="220" y="98"/>
                  </a:lnTo>
                  <a:lnTo>
                    <a:pt x="222" y="98"/>
                  </a:lnTo>
                  <a:lnTo>
                    <a:pt x="226" y="99"/>
                  </a:lnTo>
                  <a:lnTo>
                    <a:pt x="227" y="99"/>
                  </a:lnTo>
                  <a:lnTo>
                    <a:pt x="228" y="99"/>
                  </a:lnTo>
                  <a:lnTo>
                    <a:pt x="232" y="99"/>
                  </a:lnTo>
                  <a:lnTo>
                    <a:pt x="233" y="99"/>
                  </a:lnTo>
                  <a:lnTo>
                    <a:pt x="235" y="99"/>
                  </a:lnTo>
                  <a:lnTo>
                    <a:pt x="237" y="100"/>
                  </a:lnTo>
                  <a:lnTo>
                    <a:pt x="240" y="100"/>
                  </a:lnTo>
                  <a:lnTo>
                    <a:pt x="248" y="103"/>
                  </a:lnTo>
                  <a:lnTo>
                    <a:pt x="250" y="103"/>
                  </a:lnTo>
                  <a:lnTo>
                    <a:pt x="252" y="103"/>
                  </a:lnTo>
                  <a:lnTo>
                    <a:pt x="253" y="103"/>
                  </a:lnTo>
                  <a:lnTo>
                    <a:pt x="255" y="104"/>
                  </a:lnTo>
                  <a:lnTo>
                    <a:pt x="256" y="103"/>
                  </a:lnTo>
                  <a:lnTo>
                    <a:pt x="258" y="103"/>
                  </a:lnTo>
                  <a:lnTo>
                    <a:pt x="259" y="103"/>
                  </a:lnTo>
                  <a:lnTo>
                    <a:pt x="261" y="103"/>
                  </a:lnTo>
                  <a:lnTo>
                    <a:pt x="263" y="102"/>
                  </a:lnTo>
                  <a:lnTo>
                    <a:pt x="264" y="102"/>
                  </a:lnTo>
                  <a:lnTo>
                    <a:pt x="266" y="101"/>
                  </a:lnTo>
                  <a:lnTo>
                    <a:pt x="267" y="100"/>
                  </a:lnTo>
                  <a:lnTo>
                    <a:pt x="267" y="100"/>
                  </a:lnTo>
                  <a:lnTo>
                    <a:pt x="268" y="99"/>
                  </a:lnTo>
                  <a:lnTo>
                    <a:pt x="269" y="98"/>
                  </a:lnTo>
                  <a:lnTo>
                    <a:pt x="269" y="98"/>
                  </a:lnTo>
                  <a:lnTo>
                    <a:pt x="269" y="97"/>
                  </a:lnTo>
                  <a:lnTo>
                    <a:pt x="270" y="96"/>
                  </a:lnTo>
                  <a:lnTo>
                    <a:pt x="270" y="95"/>
                  </a:lnTo>
                  <a:lnTo>
                    <a:pt x="270" y="94"/>
                  </a:lnTo>
                  <a:lnTo>
                    <a:pt x="270" y="93"/>
                  </a:lnTo>
                  <a:lnTo>
                    <a:pt x="271" y="91"/>
                  </a:lnTo>
                  <a:lnTo>
                    <a:pt x="271" y="85"/>
                  </a:lnTo>
                  <a:lnTo>
                    <a:pt x="271" y="78"/>
                  </a:lnTo>
                  <a:lnTo>
                    <a:pt x="271" y="77"/>
                  </a:lnTo>
                  <a:lnTo>
                    <a:pt x="271" y="73"/>
                  </a:lnTo>
                  <a:lnTo>
                    <a:pt x="271" y="70"/>
                  </a:lnTo>
                  <a:lnTo>
                    <a:pt x="270" y="69"/>
                  </a:lnTo>
                  <a:lnTo>
                    <a:pt x="271" y="67"/>
                  </a:lnTo>
                  <a:lnTo>
                    <a:pt x="271" y="65"/>
                  </a:lnTo>
                  <a:lnTo>
                    <a:pt x="271" y="64"/>
                  </a:lnTo>
                  <a:lnTo>
                    <a:pt x="275" y="56"/>
                  </a:lnTo>
                  <a:lnTo>
                    <a:pt x="275" y="54"/>
                  </a:lnTo>
                  <a:lnTo>
                    <a:pt x="276" y="52"/>
                  </a:lnTo>
                  <a:lnTo>
                    <a:pt x="276" y="49"/>
                  </a:lnTo>
                  <a:lnTo>
                    <a:pt x="277" y="46"/>
                  </a:lnTo>
                  <a:lnTo>
                    <a:pt x="277" y="39"/>
                  </a:lnTo>
                  <a:lnTo>
                    <a:pt x="277" y="37"/>
                  </a:lnTo>
                  <a:lnTo>
                    <a:pt x="277" y="36"/>
                  </a:lnTo>
                  <a:lnTo>
                    <a:pt x="277" y="35"/>
                  </a:lnTo>
                  <a:lnTo>
                    <a:pt x="277" y="34"/>
                  </a:lnTo>
                  <a:lnTo>
                    <a:pt x="276" y="33"/>
                  </a:lnTo>
                  <a:lnTo>
                    <a:pt x="276" y="32"/>
                  </a:lnTo>
                  <a:lnTo>
                    <a:pt x="275" y="31"/>
                  </a:lnTo>
                  <a:lnTo>
                    <a:pt x="275" y="30"/>
                  </a:lnTo>
                  <a:lnTo>
                    <a:pt x="274" y="29"/>
                  </a:lnTo>
                  <a:lnTo>
                    <a:pt x="274" y="29"/>
                  </a:lnTo>
                  <a:lnTo>
                    <a:pt x="273" y="28"/>
                  </a:lnTo>
                  <a:lnTo>
                    <a:pt x="272" y="28"/>
                  </a:lnTo>
                  <a:lnTo>
                    <a:pt x="271" y="27"/>
                  </a:lnTo>
                  <a:lnTo>
                    <a:pt x="268" y="26"/>
                  </a:lnTo>
                  <a:lnTo>
                    <a:pt x="267" y="26"/>
                  </a:lnTo>
                  <a:lnTo>
                    <a:pt x="266" y="25"/>
                  </a:lnTo>
                  <a:lnTo>
                    <a:pt x="265" y="25"/>
                  </a:lnTo>
                  <a:lnTo>
                    <a:pt x="264" y="24"/>
                  </a:lnTo>
                  <a:lnTo>
                    <a:pt x="263" y="23"/>
                  </a:lnTo>
                  <a:lnTo>
                    <a:pt x="263" y="22"/>
                  </a:lnTo>
                  <a:lnTo>
                    <a:pt x="262" y="22"/>
                  </a:lnTo>
                  <a:lnTo>
                    <a:pt x="262" y="21"/>
                  </a:lnTo>
                  <a:lnTo>
                    <a:pt x="262" y="20"/>
                  </a:lnTo>
                  <a:lnTo>
                    <a:pt x="262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7"/>
                  </a:lnTo>
                  <a:lnTo>
                    <a:pt x="263" y="15"/>
                  </a:lnTo>
                  <a:lnTo>
                    <a:pt x="264" y="14"/>
                  </a:lnTo>
                  <a:lnTo>
                    <a:pt x="265" y="13"/>
                  </a:lnTo>
                  <a:lnTo>
                    <a:pt x="265" y="12"/>
                  </a:lnTo>
                  <a:lnTo>
                    <a:pt x="266" y="11"/>
                  </a:lnTo>
                  <a:lnTo>
                    <a:pt x="268" y="10"/>
                  </a:lnTo>
                  <a:lnTo>
                    <a:pt x="269" y="8"/>
                  </a:lnTo>
                  <a:lnTo>
                    <a:pt x="275" y="4"/>
                  </a:lnTo>
                  <a:lnTo>
                    <a:pt x="278" y="2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0"/>
                  </a:lnTo>
                  <a:close/>
                </a:path>
              </a:pathLst>
            </a:custGeom>
            <a:solidFill>
              <a:srgbClr val="CCCCCC"/>
            </a:solidFill>
            <a:ln w="98425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9" name="Freeform 241">
              <a:extLst>
                <a:ext uri="{FF2B5EF4-FFF2-40B4-BE49-F238E27FC236}">
                  <a16:creationId xmlns:a16="http://schemas.microsoft.com/office/drawing/2014/main" id="{8D0DCA4C-088B-45FA-A023-4A25FAA7F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5677" y="2014259"/>
              <a:ext cx="629770" cy="488123"/>
            </a:xfrm>
            <a:custGeom>
              <a:avLst/>
              <a:gdLst>
                <a:gd name="T0" fmla="*/ 232 w 618"/>
                <a:gd name="T1" fmla="*/ 17 h 479"/>
                <a:gd name="T2" fmla="*/ 274 w 618"/>
                <a:gd name="T3" fmla="*/ 22 h 479"/>
                <a:gd name="T4" fmla="*/ 299 w 618"/>
                <a:gd name="T5" fmla="*/ 34 h 479"/>
                <a:gd name="T6" fmla="*/ 319 w 618"/>
                <a:gd name="T7" fmla="*/ 67 h 479"/>
                <a:gd name="T8" fmla="*/ 357 w 618"/>
                <a:gd name="T9" fmla="*/ 59 h 479"/>
                <a:gd name="T10" fmla="*/ 373 w 618"/>
                <a:gd name="T11" fmla="*/ 93 h 479"/>
                <a:gd name="T12" fmla="*/ 372 w 618"/>
                <a:gd name="T13" fmla="*/ 111 h 479"/>
                <a:gd name="T14" fmla="*/ 394 w 618"/>
                <a:gd name="T15" fmla="*/ 101 h 479"/>
                <a:gd name="T16" fmla="*/ 422 w 618"/>
                <a:gd name="T17" fmla="*/ 78 h 479"/>
                <a:gd name="T18" fmla="*/ 452 w 618"/>
                <a:gd name="T19" fmla="*/ 93 h 479"/>
                <a:gd name="T20" fmla="*/ 467 w 618"/>
                <a:gd name="T21" fmla="*/ 72 h 479"/>
                <a:gd name="T22" fmla="*/ 495 w 618"/>
                <a:gd name="T23" fmla="*/ 73 h 479"/>
                <a:gd name="T24" fmla="*/ 534 w 618"/>
                <a:gd name="T25" fmla="*/ 99 h 479"/>
                <a:gd name="T26" fmla="*/ 547 w 618"/>
                <a:gd name="T27" fmla="*/ 131 h 479"/>
                <a:gd name="T28" fmla="*/ 530 w 618"/>
                <a:gd name="T29" fmla="*/ 166 h 479"/>
                <a:gd name="T30" fmla="*/ 504 w 618"/>
                <a:gd name="T31" fmla="*/ 179 h 479"/>
                <a:gd name="T32" fmla="*/ 478 w 618"/>
                <a:gd name="T33" fmla="*/ 196 h 479"/>
                <a:gd name="T34" fmla="*/ 464 w 618"/>
                <a:gd name="T35" fmla="*/ 214 h 479"/>
                <a:gd name="T36" fmla="*/ 456 w 618"/>
                <a:gd name="T37" fmla="*/ 225 h 479"/>
                <a:gd name="T38" fmla="*/ 475 w 618"/>
                <a:gd name="T39" fmla="*/ 244 h 479"/>
                <a:gd name="T40" fmla="*/ 494 w 618"/>
                <a:gd name="T41" fmla="*/ 262 h 479"/>
                <a:gd name="T42" fmla="*/ 521 w 618"/>
                <a:gd name="T43" fmla="*/ 262 h 479"/>
                <a:gd name="T44" fmla="*/ 539 w 618"/>
                <a:gd name="T45" fmla="*/ 293 h 479"/>
                <a:gd name="T46" fmla="*/ 575 w 618"/>
                <a:gd name="T47" fmla="*/ 327 h 479"/>
                <a:gd name="T48" fmla="*/ 606 w 618"/>
                <a:gd name="T49" fmla="*/ 363 h 479"/>
                <a:gd name="T50" fmla="*/ 618 w 618"/>
                <a:gd name="T51" fmla="*/ 409 h 479"/>
                <a:gd name="T52" fmla="*/ 591 w 618"/>
                <a:gd name="T53" fmla="*/ 401 h 479"/>
                <a:gd name="T54" fmla="*/ 576 w 618"/>
                <a:gd name="T55" fmla="*/ 404 h 479"/>
                <a:gd name="T56" fmla="*/ 544 w 618"/>
                <a:gd name="T57" fmla="*/ 430 h 479"/>
                <a:gd name="T58" fmla="*/ 520 w 618"/>
                <a:gd name="T59" fmla="*/ 454 h 479"/>
                <a:gd name="T60" fmla="*/ 510 w 618"/>
                <a:gd name="T61" fmla="*/ 470 h 479"/>
                <a:gd name="T62" fmla="*/ 495 w 618"/>
                <a:gd name="T63" fmla="*/ 475 h 479"/>
                <a:gd name="T64" fmla="*/ 466 w 618"/>
                <a:gd name="T65" fmla="*/ 478 h 479"/>
                <a:gd name="T66" fmla="*/ 432 w 618"/>
                <a:gd name="T67" fmla="*/ 464 h 479"/>
                <a:gd name="T68" fmla="*/ 400 w 618"/>
                <a:gd name="T69" fmla="*/ 440 h 479"/>
                <a:gd name="T70" fmla="*/ 377 w 618"/>
                <a:gd name="T71" fmla="*/ 421 h 479"/>
                <a:gd name="T72" fmla="*/ 344 w 618"/>
                <a:gd name="T73" fmla="*/ 401 h 479"/>
                <a:gd name="T74" fmla="*/ 314 w 618"/>
                <a:gd name="T75" fmla="*/ 415 h 479"/>
                <a:gd name="T76" fmla="*/ 294 w 618"/>
                <a:gd name="T77" fmla="*/ 416 h 479"/>
                <a:gd name="T78" fmla="*/ 280 w 618"/>
                <a:gd name="T79" fmla="*/ 396 h 479"/>
                <a:gd name="T80" fmla="*/ 260 w 618"/>
                <a:gd name="T81" fmla="*/ 417 h 479"/>
                <a:gd name="T82" fmla="*/ 228 w 618"/>
                <a:gd name="T83" fmla="*/ 422 h 479"/>
                <a:gd name="T84" fmla="*/ 200 w 618"/>
                <a:gd name="T85" fmla="*/ 420 h 479"/>
                <a:gd name="T86" fmla="*/ 177 w 618"/>
                <a:gd name="T87" fmla="*/ 422 h 479"/>
                <a:gd name="T88" fmla="*/ 157 w 618"/>
                <a:gd name="T89" fmla="*/ 440 h 479"/>
                <a:gd name="T90" fmla="*/ 137 w 618"/>
                <a:gd name="T91" fmla="*/ 440 h 479"/>
                <a:gd name="T92" fmla="*/ 127 w 618"/>
                <a:gd name="T93" fmla="*/ 422 h 479"/>
                <a:gd name="T94" fmla="*/ 106 w 618"/>
                <a:gd name="T95" fmla="*/ 409 h 479"/>
                <a:gd name="T96" fmla="*/ 118 w 618"/>
                <a:gd name="T97" fmla="*/ 382 h 479"/>
                <a:gd name="T98" fmla="*/ 110 w 618"/>
                <a:gd name="T99" fmla="*/ 354 h 479"/>
                <a:gd name="T100" fmla="*/ 105 w 618"/>
                <a:gd name="T101" fmla="*/ 322 h 479"/>
                <a:gd name="T102" fmla="*/ 78 w 618"/>
                <a:gd name="T103" fmla="*/ 323 h 479"/>
                <a:gd name="T104" fmla="*/ 43 w 618"/>
                <a:gd name="T105" fmla="*/ 317 h 479"/>
                <a:gd name="T106" fmla="*/ 32 w 618"/>
                <a:gd name="T107" fmla="*/ 295 h 479"/>
                <a:gd name="T108" fmla="*/ 11 w 618"/>
                <a:gd name="T109" fmla="*/ 285 h 479"/>
                <a:gd name="T110" fmla="*/ 0 w 618"/>
                <a:gd name="T111" fmla="*/ 265 h 479"/>
                <a:gd name="T112" fmla="*/ 15 w 618"/>
                <a:gd name="T113" fmla="*/ 244 h 479"/>
                <a:gd name="T114" fmla="*/ 10 w 618"/>
                <a:gd name="T115" fmla="*/ 215 h 479"/>
                <a:gd name="T116" fmla="*/ 4 w 618"/>
                <a:gd name="T117" fmla="*/ 181 h 479"/>
                <a:gd name="T118" fmla="*/ 33 w 618"/>
                <a:gd name="T119" fmla="*/ 181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18" h="479">
                  <a:moveTo>
                    <a:pt x="180" y="0"/>
                  </a:moveTo>
                  <a:lnTo>
                    <a:pt x="182" y="0"/>
                  </a:lnTo>
                  <a:lnTo>
                    <a:pt x="190" y="1"/>
                  </a:lnTo>
                  <a:lnTo>
                    <a:pt x="194" y="1"/>
                  </a:lnTo>
                  <a:lnTo>
                    <a:pt x="197" y="2"/>
                  </a:lnTo>
                  <a:lnTo>
                    <a:pt x="200" y="3"/>
                  </a:lnTo>
                  <a:lnTo>
                    <a:pt x="203" y="4"/>
                  </a:lnTo>
                  <a:lnTo>
                    <a:pt x="204" y="4"/>
                  </a:lnTo>
                  <a:lnTo>
                    <a:pt x="206" y="5"/>
                  </a:lnTo>
                  <a:lnTo>
                    <a:pt x="207" y="5"/>
                  </a:lnTo>
                  <a:lnTo>
                    <a:pt x="212" y="8"/>
                  </a:lnTo>
                  <a:lnTo>
                    <a:pt x="216" y="10"/>
                  </a:lnTo>
                  <a:lnTo>
                    <a:pt x="219" y="11"/>
                  </a:lnTo>
                  <a:lnTo>
                    <a:pt x="226" y="14"/>
                  </a:lnTo>
                  <a:lnTo>
                    <a:pt x="228" y="15"/>
                  </a:lnTo>
                  <a:lnTo>
                    <a:pt x="230" y="16"/>
                  </a:lnTo>
                  <a:lnTo>
                    <a:pt x="232" y="17"/>
                  </a:lnTo>
                  <a:lnTo>
                    <a:pt x="234" y="18"/>
                  </a:lnTo>
                  <a:lnTo>
                    <a:pt x="235" y="19"/>
                  </a:lnTo>
                  <a:lnTo>
                    <a:pt x="240" y="22"/>
                  </a:lnTo>
                  <a:lnTo>
                    <a:pt x="241" y="23"/>
                  </a:lnTo>
                  <a:lnTo>
                    <a:pt x="242" y="24"/>
                  </a:lnTo>
                  <a:lnTo>
                    <a:pt x="244" y="24"/>
                  </a:lnTo>
                  <a:lnTo>
                    <a:pt x="245" y="25"/>
                  </a:lnTo>
                  <a:lnTo>
                    <a:pt x="247" y="25"/>
                  </a:lnTo>
                  <a:lnTo>
                    <a:pt x="248" y="25"/>
                  </a:lnTo>
                  <a:lnTo>
                    <a:pt x="250" y="26"/>
                  </a:lnTo>
                  <a:lnTo>
                    <a:pt x="251" y="26"/>
                  </a:lnTo>
                  <a:lnTo>
                    <a:pt x="256" y="26"/>
                  </a:lnTo>
                  <a:lnTo>
                    <a:pt x="258" y="26"/>
                  </a:lnTo>
                  <a:lnTo>
                    <a:pt x="260" y="26"/>
                  </a:lnTo>
                  <a:lnTo>
                    <a:pt x="261" y="25"/>
                  </a:lnTo>
                  <a:lnTo>
                    <a:pt x="264" y="25"/>
                  </a:lnTo>
                  <a:lnTo>
                    <a:pt x="274" y="22"/>
                  </a:lnTo>
                  <a:lnTo>
                    <a:pt x="277" y="21"/>
                  </a:lnTo>
                  <a:lnTo>
                    <a:pt x="282" y="19"/>
                  </a:lnTo>
                  <a:lnTo>
                    <a:pt x="284" y="19"/>
                  </a:lnTo>
                  <a:lnTo>
                    <a:pt x="285" y="18"/>
                  </a:lnTo>
                  <a:lnTo>
                    <a:pt x="287" y="18"/>
                  </a:lnTo>
                  <a:lnTo>
                    <a:pt x="288" y="18"/>
                  </a:lnTo>
                  <a:lnTo>
                    <a:pt x="289" y="18"/>
                  </a:lnTo>
                  <a:lnTo>
                    <a:pt x="290" y="19"/>
                  </a:lnTo>
                  <a:lnTo>
                    <a:pt x="291" y="19"/>
                  </a:lnTo>
                  <a:lnTo>
                    <a:pt x="292" y="20"/>
                  </a:lnTo>
                  <a:lnTo>
                    <a:pt x="293" y="20"/>
                  </a:lnTo>
                  <a:lnTo>
                    <a:pt x="294" y="22"/>
                  </a:lnTo>
                  <a:lnTo>
                    <a:pt x="295" y="23"/>
                  </a:lnTo>
                  <a:lnTo>
                    <a:pt x="296" y="25"/>
                  </a:lnTo>
                  <a:lnTo>
                    <a:pt x="297" y="26"/>
                  </a:lnTo>
                  <a:lnTo>
                    <a:pt x="297" y="27"/>
                  </a:lnTo>
                  <a:lnTo>
                    <a:pt x="299" y="34"/>
                  </a:lnTo>
                  <a:lnTo>
                    <a:pt x="300" y="36"/>
                  </a:lnTo>
                  <a:lnTo>
                    <a:pt x="302" y="40"/>
                  </a:lnTo>
                  <a:lnTo>
                    <a:pt x="306" y="48"/>
                  </a:lnTo>
                  <a:lnTo>
                    <a:pt x="308" y="52"/>
                  </a:lnTo>
                  <a:lnTo>
                    <a:pt x="310" y="58"/>
                  </a:lnTo>
                  <a:lnTo>
                    <a:pt x="311" y="60"/>
                  </a:lnTo>
                  <a:lnTo>
                    <a:pt x="312" y="62"/>
                  </a:lnTo>
                  <a:lnTo>
                    <a:pt x="313" y="64"/>
                  </a:lnTo>
                  <a:lnTo>
                    <a:pt x="313" y="64"/>
                  </a:lnTo>
                  <a:lnTo>
                    <a:pt x="314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7" y="67"/>
                  </a:lnTo>
                  <a:lnTo>
                    <a:pt x="318" y="67"/>
                  </a:lnTo>
                  <a:lnTo>
                    <a:pt x="319" y="67"/>
                  </a:lnTo>
                  <a:lnTo>
                    <a:pt x="320" y="67"/>
                  </a:lnTo>
                  <a:lnTo>
                    <a:pt x="321" y="67"/>
                  </a:lnTo>
                  <a:lnTo>
                    <a:pt x="322" y="67"/>
                  </a:lnTo>
                  <a:lnTo>
                    <a:pt x="324" y="66"/>
                  </a:lnTo>
                  <a:lnTo>
                    <a:pt x="327" y="65"/>
                  </a:lnTo>
                  <a:lnTo>
                    <a:pt x="334" y="63"/>
                  </a:lnTo>
                  <a:lnTo>
                    <a:pt x="337" y="62"/>
                  </a:lnTo>
                  <a:lnTo>
                    <a:pt x="341" y="60"/>
                  </a:lnTo>
                  <a:lnTo>
                    <a:pt x="343" y="60"/>
                  </a:lnTo>
                  <a:lnTo>
                    <a:pt x="345" y="59"/>
                  </a:lnTo>
                  <a:lnTo>
                    <a:pt x="347" y="58"/>
                  </a:lnTo>
                  <a:lnTo>
                    <a:pt x="349" y="58"/>
                  </a:lnTo>
                  <a:lnTo>
                    <a:pt x="350" y="58"/>
                  </a:lnTo>
                  <a:lnTo>
                    <a:pt x="352" y="58"/>
                  </a:lnTo>
                  <a:lnTo>
                    <a:pt x="354" y="58"/>
                  </a:lnTo>
                  <a:lnTo>
                    <a:pt x="355" y="58"/>
                  </a:lnTo>
                  <a:lnTo>
                    <a:pt x="357" y="59"/>
                  </a:lnTo>
                  <a:lnTo>
                    <a:pt x="359" y="60"/>
                  </a:lnTo>
                  <a:lnTo>
                    <a:pt x="360" y="61"/>
                  </a:lnTo>
                  <a:lnTo>
                    <a:pt x="362" y="62"/>
                  </a:lnTo>
                  <a:lnTo>
                    <a:pt x="363" y="63"/>
                  </a:lnTo>
                  <a:lnTo>
                    <a:pt x="364" y="64"/>
                  </a:lnTo>
                  <a:lnTo>
                    <a:pt x="364" y="65"/>
                  </a:lnTo>
                  <a:lnTo>
                    <a:pt x="365" y="66"/>
                  </a:lnTo>
                  <a:lnTo>
                    <a:pt x="366" y="68"/>
                  </a:lnTo>
                  <a:lnTo>
                    <a:pt x="367" y="69"/>
                  </a:lnTo>
                  <a:lnTo>
                    <a:pt x="367" y="71"/>
                  </a:lnTo>
                  <a:lnTo>
                    <a:pt x="369" y="74"/>
                  </a:lnTo>
                  <a:lnTo>
                    <a:pt x="369" y="76"/>
                  </a:lnTo>
                  <a:lnTo>
                    <a:pt x="370" y="79"/>
                  </a:lnTo>
                  <a:lnTo>
                    <a:pt x="371" y="82"/>
                  </a:lnTo>
                  <a:lnTo>
                    <a:pt x="371" y="86"/>
                  </a:lnTo>
                  <a:lnTo>
                    <a:pt x="373" y="91"/>
                  </a:lnTo>
                  <a:lnTo>
                    <a:pt x="373" y="93"/>
                  </a:lnTo>
                  <a:lnTo>
                    <a:pt x="373" y="94"/>
                  </a:lnTo>
                  <a:lnTo>
                    <a:pt x="373" y="95"/>
                  </a:lnTo>
                  <a:lnTo>
                    <a:pt x="373" y="96"/>
                  </a:lnTo>
                  <a:lnTo>
                    <a:pt x="373" y="96"/>
                  </a:lnTo>
                  <a:lnTo>
                    <a:pt x="372" y="97"/>
                  </a:lnTo>
                  <a:lnTo>
                    <a:pt x="372" y="98"/>
                  </a:lnTo>
                  <a:lnTo>
                    <a:pt x="370" y="102"/>
                  </a:lnTo>
                  <a:lnTo>
                    <a:pt x="369" y="104"/>
                  </a:lnTo>
                  <a:lnTo>
                    <a:pt x="369" y="105"/>
                  </a:lnTo>
                  <a:lnTo>
                    <a:pt x="369" y="106"/>
                  </a:lnTo>
                  <a:lnTo>
                    <a:pt x="369" y="106"/>
                  </a:lnTo>
                  <a:lnTo>
                    <a:pt x="369" y="107"/>
                  </a:lnTo>
                  <a:lnTo>
                    <a:pt x="369" y="108"/>
                  </a:lnTo>
                  <a:lnTo>
                    <a:pt x="370" y="109"/>
                  </a:lnTo>
                  <a:lnTo>
                    <a:pt x="370" y="110"/>
                  </a:lnTo>
                  <a:lnTo>
                    <a:pt x="371" y="110"/>
                  </a:lnTo>
                  <a:lnTo>
                    <a:pt x="372" y="111"/>
                  </a:lnTo>
                  <a:lnTo>
                    <a:pt x="373" y="111"/>
                  </a:lnTo>
                  <a:lnTo>
                    <a:pt x="375" y="112"/>
                  </a:lnTo>
                  <a:lnTo>
                    <a:pt x="376" y="112"/>
                  </a:lnTo>
                  <a:lnTo>
                    <a:pt x="377" y="113"/>
                  </a:lnTo>
                  <a:lnTo>
                    <a:pt x="379" y="113"/>
                  </a:lnTo>
                  <a:lnTo>
                    <a:pt x="380" y="112"/>
                  </a:lnTo>
                  <a:lnTo>
                    <a:pt x="381" y="112"/>
                  </a:lnTo>
                  <a:lnTo>
                    <a:pt x="383" y="111"/>
                  </a:lnTo>
                  <a:lnTo>
                    <a:pt x="385" y="110"/>
                  </a:lnTo>
                  <a:lnTo>
                    <a:pt x="388" y="107"/>
                  </a:lnTo>
                  <a:lnTo>
                    <a:pt x="389" y="107"/>
                  </a:lnTo>
                  <a:lnTo>
                    <a:pt x="390" y="106"/>
                  </a:lnTo>
                  <a:lnTo>
                    <a:pt x="391" y="105"/>
                  </a:lnTo>
                  <a:lnTo>
                    <a:pt x="391" y="105"/>
                  </a:lnTo>
                  <a:lnTo>
                    <a:pt x="392" y="104"/>
                  </a:lnTo>
                  <a:lnTo>
                    <a:pt x="392" y="103"/>
                  </a:lnTo>
                  <a:lnTo>
                    <a:pt x="394" y="101"/>
                  </a:lnTo>
                  <a:lnTo>
                    <a:pt x="396" y="95"/>
                  </a:lnTo>
                  <a:lnTo>
                    <a:pt x="398" y="92"/>
                  </a:lnTo>
                  <a:lnTo>
                    <a:pt x="399" y="90"/>
                  </a:lnTo>
                  <a:lnTo>
                    <a:pt x="401" y="87"/>
                  </a:lnTo>
                  <a:lnTo>
                    <a:pt x="403" y="85"/>
                  </a:lnTo>
                  <a:lnTo>
                    <a:pt x="405" y="83"/>
                  </a:lnTo>
                  <a:lnTo>
                    <a:pt x="407" y="81"/>
                  </a:lnTo>
                  <a:lnTo>
                    <a:pt x="409" y="80"/>
                  </a:lnTo>
                  <a:lnTo>
                    <a:pt x="410" y="79"/>
                  </a:lnTo>
                  <a:lnTo>
                    <a:pt x="411" y="78"/>
                  </a:lnTo>
                  <a:lnTo>
                    <a:pt x="413" y="77"/>
                  </a:lnTo>
                  <a:lnTo>
                    <a:pt x="414" y="77"/>
                  </a:lnTo>
                  <a:lnTo>
                    <a:pt x="415" y="77"/>
                  </a:lnTo>
                  <a:lnTo>
                    <a:pt x="417" y="77"/>
                  </a:lnTo>
                  <a:lnTo>
                    <a:pt x="419" y="77"/>
                  </a:lnTo>
                  <a:lnTo>
                    <a:pt x="421" y="77"/>
                  </a:lnTo>
                  <a:lnTo>
                    <a:pt x="422" y="78"/>
                  </a:lnTo>
                  <a:lnTo>
                    <a:pt x="424" y="78"/>
                  </a:lnTo>
                  <a:lnTo>
                    <a:pt x="430" y="81"/>
                  </a:lnTo>
                  <a:lnTo>
                    <a:pt x="432" y="82"/>
                  </a:lnTo>
                  <a:lnTo>
                    <a:pt x="433" y="83"/>
                  </a:lnTo>
                  <a:lnTo>
                    <a:pt x="435" y="84"/>
                  </a:lnTo>
                  <a:lnTo>
                    <a:pt x="437" y="86"/>
                  </a:lnTo>
                  <a:lnTo>
                    <a:pt x="439" y="87"/>
                  </a:lnTo>
                  <a:lnTo>
                    <a:pt x="443" y="91"/>
                  </a:lnTo>
                  <a:lnTo>
                    <a:pt x="444" y="91"/>
                  </a:lnTo>
                  <a:lnTo>
                    <a:pt x="445" y="92"/>
                  </a:lnTo>
                  <a:lnTo>
                    <a:pt x="446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9" y="93"/>
                  </a:lnTo>
                  <a:lnTo>
                    <a:pt x="450" y="93"/>
                  </a:lnTo>
                  <a:lnTo>
                    <a:pt x="451" y="93"/>
                  </a:lnTo>
                  <a:lnTo>
                    <a:pt x="452" y="93"/>
                  </a:lnTo>
                  <a:lnTo>
                    <a:pt x="453" y="92"/>
                  </a:lnTo>
                  <a:lnTo>
                    <a:pt x="454" y="92"/>
                  </a:lnTo>
                  <a:lnTo>
                    <a:pt x="455" y="91"/>
                  </a:lnTo>
                  <a:lnTo>
                    <a:pt x="456" y="91"/>
                  </a:lnTo>
                  <a:lnTo>
                    <a:pt x="457" y="90"/>
                  </a:lnTo>
                  <a:lnTo>
                    <a:pt x="458" y="89"/>
                  </a:lnTo>
                  <a:lnTo>
                    <a:pt x="458" y="89"/>
                  </a:lnTo>
                  <a:lnTo>
                    <a:pt x="459" y="88"/>
                  </a:lnTo>
                  <a:lnTo>
                    <a:pt x="459" y="87"/>
                  </a:lnTo>
                  <a:lnTo>
                    <a:pt x="460" y="85"/>
                  </a:lnTo>
                  <a:lnTo>
                    <a:pt x="462" y="81"/>
                  </a:lnTo>
                  <a:lnTo>
                    <a:pt x="463" y="78"/>
                  </a:lnTo>
                  <a:lnTo>
                    <a:pt x="464" y="76"/>
                  </a:lnTo>
                  <a:lnTo>
                    <a:pt x="465" y="75"/>
                  </a:lnTo>
                  <a:lnTo>
                    <a:pt x="466" y="74"/>
                  </a:lnTo>
                  <a:lnTo>
                    <a:pt x="466" y="73"/>
                  </a:lnTo>
                  <a:lnTo>
                    <a:pt x="467" y="72"/>
                  </a:lnTo>
                  <a:lnTo>
                    <a:pt x="468" y="72"/>
                  </a:lnTo>
                  <a:lnTo>
                    <a:pt x="469" y="71"/>
                  </a:lnTo>
                  <a:lnTo>
                    <a:pt x="469" y="71"/>
                  </a:lnTo>
                  <a:lnTo>
                    <a:pt x="470" y="71"/>
                  </a:lnTo>
                  <a:lnTo>
                    <a:pt x="471" y="70"/>
                  </a:lnTo>
                  <a:lnTo>
                    <a:pt x="473" y="70"/>
                  </a:lnTo>
                  <a:lnTo>
                    <a:pt x="474" y="70"/>
                  </a:lnTo>
                  <a:lnTo>
                    <a:pt x="476" y="70"/>
                  </a:lnTo>
                  <a:lnTo>
                    <a:pt x="478" y="70"/>
                  </a:lnTo>
                  <a:lnTo>
                    <a:pt x="480" y="70"/>
                  </a:lnTo>
                  <a:lnTo>
                    <a:pt x="482" y="70"/>
                  </a:lnTo>
                  <a:lnTo>
                    <a:pt x="483" y="71"/>
                  </a:lnTo>
                  <a:lnTo>
                    <a:pt x="488" y="72"/>
                  </a:lnTo>
                  <a:lnTo>
                    <a:pt x="490" y="72"/>
                  </a:lnTo>
                  <a:lnTo>
                    <a:pt x="491" y="72"/>
                  </a:lnTo>
                  <a:lnTo>
                    <a:pt x="493" y="72"/>
                  </a:lnTo>
                  <a:lnTo>
                    <a:pt x="495" y="73"/>
                  </a:lnTo>
                  <a:lnTo>
                    <a:pt x="500" y="73"/>
                  </a:lnTo>
                  <a:lnTo>
                    <a:pt x="502" y="73"/>
                  </a:lnTo>
                  <a:lnTo>
                    <a:pt x="504" y="73"/>
                  </a:lnTo>
                  <a:lnTo>
                    <a:pt x="505" y="73"/>
                  </a:lnTo>
                  <a:lnTo>
                    <a:pt x="507" y="74"/>
                  </a:lnTo>
                  <a:lnTo>
                    <a:pt x="508" y="74"/>
                  </a:lnTo>
                  <a:lnTo>
                    <a:pt x="510" y="75"/>
                  </a:lnTo>
                  <a:lnTo>
                    <a:pt x="511" y="76"/>
                  </a:lnTo>
                  <a:lnTo>
                    <a:pt x="513" y="77"/>
                  </a:lnTo>
                  <a:lnTo>
                    <a:pt x="516" y="80"/>
                  </a:lnTo>
                  <a:lnTo>
                    <a:pt x="519" y="83"/>
                  </a:lnTo>
                  <a:lnTo>
                    <a:pt x="520" y="84"/>
                  </a:lnTo>
                  <a:lnTo>
                    <a:pt x="523" y="86"/>
                  </a:lnTo>
                  <a:lnTo>
                    <a:pt x="526" y="89"/>
                  </a:lnTo>
                  <a:lnTo>
                    <a:pt x="530" y="94"/>
                  </a:lnTo>
                  <a:lnTo>
                    <a:pt x="532" y="97"/>
                  </a:lnTo>
                  <a:lnTo>
                    <a:pt x="534" y="99"/>
                  </a:lnTo>
                  <a:lnTo>
                    <a:pt x="539" y="103"/>
                  </a:lnTo>
                  <a:lnTo>
                    <a:pt x="543" y="107"/>
                  </a:lnTo>
                  <a:lnTo>
                    <a:pt x="545" y="109"/>
                  </a:lnTo>
                  <a:lnTo>
                    <a:pt x="547" y="112"/>
                  </a:lnTo>
                  <a:lnTo>
                    <a:pt x="548" y="114"/>
                  </a:lnTo>
                  <a:lnTo>
                    <a:pt x="550" y="116"/>
                  </a:lnTo>
                  <a:lnTo>
                    <a:pt x="550" y="118"/>
                  </a:lnTo>
                  <a:lnTo>
                    <a:pt x="551" y="120"/>
                  </a:lnTo>
                  <a:lnTo>
                    <a:pt x="551" y="122"/>
                  </a:lnTo>
                  <a:lnTo>
                    <a:pt x="551" y="123"/>
                  </a:lnTo>
                  <a:lnTo>
                    <a:pt x="551" y="123"/>
                  </a:lnTo>
                  <a:lnTo>
                    <a:pt x="551" y="125"/>
                  </a:lnTo>
                  <a:lnTo>
                    <a:pt x="551" y="126"/>
                  </a:lnTo>
                  <a:lnTo>
                    <a:pt x="550" y="127"/>
                  </a:lnTo>
                  <a:lnTo>
                    <a:pt x="550" y="128"/>
                  </a:lnTo>
                  <a:lnTo>
                    <a:pt x="549" y="129"/>
                  </a:lnTo>
                  <a:lnTo>
                    <a:pt x="547" y="131"/>
                  </a:lnTo>
                  <a:lnTo>
                    <a:pt x="544" y="134"/>
                  </a:lnTo>
                  <a:lnTo>
                    <a:pt x="543" y="135"/>
                  </a:lnTo>
                  <a:lnTo>
                    <a:pt x="543" y="136"/>
                  </a:lnTo>
                  <a:lnTo>
                    <a:pt x="542" y="137"/>
                  </a:lnTo>
                  <a:lnTo>
                    <a:pt x="541" y="139"/>
                  </a:lnTo>
                  <a:lnTo>
                    <a:pt x="540" y="143"/>
                  </a:lnTo>
                  <a:lnTo>
                    <a:pt x="539" y="145"/>
                  </a:lnTo>
                  <a:lnTo>
                    <a:pt x="538" y="147"/>
                  </a:lnTo>
                  <a:lnTo>
                    <a:pt x="536" y="150"/>
                  </a:lnTo>
                  <a:lnTo>
                    <a:pt x="536" y="152"/>
                  </a:lnTo>
                  <a:lnTo>
                    <a:pt x="535" y="153"/>
                  </a:lnTo>
                  <a:lnTo>
                    <a:pt x="535" y="157"/>
                  </a:lnTo>
                  <a:lnTo>
                    <a:pt x="534" y="158"/>
                  </a:lnTo>
                  <a:lnTo>
                    <a:pt x="534" y="160"/>
                  </a:lnTo>
                  <a:lnTo>
                    <a:pt x="533" y="162"/>
                  </a:lnTo>
                  <a:lnTo>
                    <a:pt x="532" y="164"/>
                  </a:lnTo>
                  <a:lnTo>
                    <a:pt x="530" y="166"/>
                  </a:lnTo>
                  <a:lnTo>
                    <a:pt x="529" y="167"/>
                  </a:lnTo>
                  <a:lnTo>
                    <a:pt x="524" y="173"/>
                  </a:lnTo>
                  <a:lnTo>
                    <a:pt x="522" y="175"/>
                  </a:lnTo>
                  <a:lnTo>
                    <a:pt x="521" y="176"/>
                  </a:lnTo>
                  <a:lnTo>
                    <a:pt x="520" y="176"/>
                  </a:lnTo>
                  <a:lnTo>
                    <a:pt x="519" y="177"/>
                  </a:lnTo>
                  <a:lnTo>
                    <a:pt x="518" y="178"/>
                  </a:lnTo>
                  <a:lnTo>
                    <a:pt x="517" y="178"/>
                  </a:lnTo>
                  <a:lnTo>
                    <a:pt x="516" y="178"/>
                  </a:lnTo>
                  <a:lnTo>
                    <a:pt x="514" y="179"/>
                  </a:lnTo>
                  <a:lnTo>
                    <a:pt x="513" y="179"/>
                  </a:lnTo>
                  <a:lnTo>
                    <a:pt x="511" y="179"/>
                  </a:lnTo>
                  <a:lnTo>
                    <a:pt x="508" y="178"/>
                  </a:lnTo>
                  <a:lnTo>
                    <a:pt x="506" y="178"/>
                  </a:lnTo>
                  <a:lnTo>
                    <a:pt x="505" y="178"/>
                  </a:lnTo>
                  <a:lnTo>
                    <a:pt x="505" y="178"/>
                  </a:lnTo>
                  <a:lnTo>
                    <a:pt x="504" y="179"/>
                  </a:lnTo>
                  <a:lnTo>
                    <a:pt x="503" y="179"/>
                  </a:lnTo>
                  <a:lnTo>
                    <a:pt x="502" y="179"/>
                  </a:lnTo>
                  <a:lnTo>
                    <a:pt x="501" y="180"/>
                  </a:lnTo>
                  <a:lnTo>
                    <a:pt x="501" y="181"/>
                  </a:lnTo>
                  <a:lnTo>
                    <a:pt x="499" y="183"/>
                  </a:lnTo>
                  <a:lnTo>
                    <a:pt x="495" y="187"/>
                  </a:lnTo>
                  <a:lnTo>
                    <a:pt x="494" y="188"/>
                  </a:lnTo>
                  <a:lnTo>
                    <a:pt x="493" y="189"/>
                  </a:lnTo>
                  <a:lnTo>
                    <a:pt x="491" y="190"/>
                  </a:lnTo>
                  <a:lnTo>
                    <a:pt x="490" y="190"/>
                  </a:lnTo>
                  <a:lnTo>
                    <a:pt x="489" y="191"/>
                  </a:lnTo>
                  <a:lnTo>
                    <a:pt x="486" y="192"/>
                  </a:lnTo>
                  <a:lnTo>
                    <a:pt x="485" y="192"/>
                  </a:lnTo>
                  <a:lnTo>
                    <a:pt x="484" y="192"/>
                  </a:lnTo>
                  <a:lnTo>
                    <a:pt x="482" y="194"/>
                  </a:lnTo>
                  <a:lnTo>
                    <a:pt x="479" y="195"/>
                  </a:lnTo>
                  <a:lnTo>
                    <a:pt x="478" y="196"/>
                  </a:lnTo>
                  <a:lnTo>
                    <a:pt x="477" y="197"/>
                  </a:lnTo>
                  <a:lnTo>
                    <a:pt x="477" y="197"/>
                  </a:lnTo>
                  <a:lnTo>
                    <a:pt x="475" y="199"/>
                  </a:lnTo>
                  <a:lnTo>
                    <a:pt x="474" y="200"/>
                  </a:lnTo>
                  <a:lnTo>
                    <a:pt x="473" y="201"/>
                  </a:lnTo>
                  <a:lnTo>
                    <a:pt x="470" y="203"/>
                  </a:lnTo>
                  <a:lnTo>
                    <a:pt x="470" y="203"/>
                  </a:lnTo>
                  <a:lnTo>
                    <a:pt x="469" y="204"/>
                  </a:lnTo>
                  <a:lnTo>
                    <a:pt x="467" y="206"/>
                  </a:lnTo>
                  <a:lnTo>
                    <a:pt x="466" y="207"/>
                  </a:lnTo>
                  <a:lnTo>
                    <a:pt x="466" y="208"/>
                  </a:lnTo>
                  <a:lnTo>
                    <a:pt x="466" y="209"/>
                  </a:lnTo>
                  <a:lnTo>
                    <a:pt x="466" y="211"/>
                  </a:lnTo>
                  <a:lnTo>
                    <a:pt x="465" y="212"/>
                  </a:lnTo>
                  <a:lnTo>
                    <a:pt x="465" y="213"/>
                  </a:lnTo>
                  <a:lnTo>
                    <a:pt x="465" y="213"/>
                  </a:lnTo>
                  <a:lnTo>
                    <a:pt x="464" y="214"/>
                  </a:lnTo>
                  <a:lnTo>
                    <a:pt x="463" y="214"/>
                  </a:lnTo>
                  <a:lnTo>
                    <a:pt x="463" y="214"/>
                  </a:lnTo>
                  <a:lnTo>
                    <a:pt x="461" y="215"/>
                  </a:lnTo>
                  <a:lnTo>
                    <a:pt x="460" y="215"/>
                  </a:lnTo>
                  <a:lnTo>
                    <a:pt x="460" y="215"/>
                  </a:lnTo>
                  <a:lnTo>
                    <a:pt x="459" y="215"/>
                  </a:lnTo>
                  <a:lnTo>
                    <a:pt x="458" y="216"/>
                  </a:lnTo>
                  <a:lnTo>
                    <a:pt x="458" y="216"/>
                  </a:lnTo>
                  <a:lnTo>
                    <a:pt x="457" y="217"/>
                  </a:lnTo>
                  <a:lnTo>
                    <a:pt x="457" y="218"/>
                  </a:lnTo>
                  <a:lnTo>
                    <a:pt x="456" y="219"/>
                  </a:lnTo>
                  <a:lnTo>
                    <a:pt x="456" y="220"/>
                  </a:lnTo>
                  <a:lnTo>
                    <a:pt x="456" y="221"/>
                  </a:lnTo>
                  <a:lnTo>
                    <a:pt x="456" y="222"/>
                  </a:lnTo>
                  <a:lnTo>
                    <a:pt x="456" y="223"/>
                  </a:lnTo>
                  <a:lnTo>
                    <a:pt x="456" y="224"/>
                  </a:lnTo>
                  <a:lnTo>
                    <a:pt x="456" y="225"/>
                  </a:lnTo>
                  <a:lnTo>
                    <a:pt x="456" y="226"/>
                  </a:lnTo>
                  <a:lnTo>
                    <a:pt x="457" y="228"/>
                  </a:lnTo>
                  <a:lnTo>
                    <a:pt x="459" y="232"/>
                  </a:lnTo>
                  <a:lnTo>
                    <a:pt x="460" y="234"/>
                  </a:lnTo>
                  <a:lnTo>
                    <a:pt x="461" y="236"/>
                  </a:lnTo>
                  <a:lnTo>
                    <a:pt x="462" y="236"/>
                  </a:lnTo>
                  <a:lnTo>
                    <a:pt x="463" y="237"/>
                  </a:lnTo>
                  <a:lnTo>
                    <a:pt x="463" y="237"/>
                  </a:lnTo>
                  <a:lnTo>
                    <a:pt x="464" y="238"/>
                  </a:lnTo>
                  <a:lnTo>
                    <a:pt x="465" y="238"/>
                  </a:lnTo>
                  <a:lnTo>
                    <a:pt x="468" y="239"/>
                  </a:lnTo>
                  <a:lnTo>
                    <a:pt x="469" y="239"/>
                  </a:lnTo>
                  <a:lnTo>
                    <a:pt x="470" y="240"/>
                  </a:lnTo>
                  <a:lnTo>
                    <a:pt x="471" y="241"/>
                  </a:lnTo>
                  <a:lnTo>
                    <a:pt x="473" y="242"/>
                  </a:lnTo>
                  <a:lnTo>
                    <a:pt x="474" y="243"/>
                  </a:lnTo>
                  <a:lnTo>
                    <a:pt x="475" y="244"/>
                  </a:lnTo>
                  <a:lnTo>
                    <a:pt x="477" y="248"/>
                  </a:lnTo>
                  <a:lnTo>
                    <a:pt x="478" y="249"/>
                  </a:lnTo>
                  <a:lnTo>
                    <a:pt x="480" y="251"/>
                  </a:lnTo>
                  <a:lnTo>
                    <a:pt x="481" y="252"/>
                  </a:lnTo>
                  <a:lnTo>
                    <a:pt x="482" y="254"/>
                  </a:lnTo>
                  <a:lnTo>
                    <a:pt x="484" y="257"/>
                  </a:lnTo>
                  <a:lnTo>
                    <a:pt x="485" y="258"/>
                  </a:lnTo>
                  <a:lnTo>
                    <a:pt x="486" y="259"/>
                  </a:lnTo>
                  <a:lnTo>
                    <a:pt x="487" y="260"/>
                  </a:lnTo>
                  <a:lnTo>
                    <a:pt x="488" y="261"/>
                  </a:lnTo>
                  <a:lnTo>
                    <a:pt x="489" y="262"/>
                  </a:lnTo>
                  <a:lnTo>
                    <a:pt x="489" y="262"/>
                  </a:lnTo>
                  <a:lnTo>
                    <a:pt x="490" y="262"/>
                  </a:lnTo>
                  <a:lnTo>
                    <a:pt x="491" y="262"/>
                  </a:lnTo>
                  <a:lnTo>
                    <a:pt x="492" y="262"/>
                  </a:lnTo>
                  <a:lnTo>
                    <a:pt x="493" y="262"/>
                  </a:lnTo>
                  <a:lnTo>
                    <a:pt x="494" y="262"/>
                  </a:lnTo>
                  <a:lnTo>
                    <a:pt x="498" y="260"/>
                  </a:lnTo>
                  <a:lnTo>
                    <a:pt x="499" y="259"/>
                  </a:lnTo>
                  <a:lnTo>
                    <a:pt x="500" y="259"/>
                  </a:lnTo>
                  <a:lnTo>
                    <a:pt x="502" y="259"/>
                  </a:lnTo>
                  <a:lnTo>
                    <a:pt x="503" y="258"/>
                  </a:lnTo>
                  <a:lnTo>
                    <a:pt x="505" y="258"/>
                  </a:lnTo>
                  <a:lnTo>
                    <a:pt x="507" y="258"/>
                  </a:lnTo>
                  <a:lnTo>
                    <a:pt x="509" y="258"/>
                  </a:lnTo>
                  <a:lnTo>
                    <a:pt x="511" y="258"/>
                  </a:lnTo>
                  <a:lnTo>
                    <a:pt x="513" y="258"/>
                  </a:lnTo>
                  <a:lnTo>
                    <a:pt x="515" y="259"/>
                  </a:lnTo>
                  <a:lnTo>
                    <a:pt x="516" y="259"/>
                  </a:lnTo>
                  <a:lnTo>
                    <a:pt x="517" y="260"/>
                  </a:lnTo>
                  <a:lnTo>
                    <a:pt x="519" y="260"/>
                  </a:lnTo>
                  <a:lnTo>
                    <a:pt x="520" y="261"/>
                  </a:lnTo>
                  <a:lnTo>
                    <a:pt x="520" y="261"/>
                  </a:lnTo>
                  <a:lnTo>
                    <a:pt x="521" y="262"/>
                  </a:lnTo>
                  <a:lnTo>
                    <a:pt x="522" y="263"/>
                  </a:lnTo>
                  <a:lnTo>
                    <a:pt x="523" y="265"/>
                  </a:lnTo>
                  <a:lnTo>
                    <a:pt x="524" y="267"/>
                  </a:lnTo>
                  <a:lnTo>
                    <a:pt x="524" y="269"/>
                  </a:lnTo>
                  <a:lnTo>
                    <a:pt x="525" y="274"/>
                  </a:lnTo>
                  <a:lnTo>
                    <a:pt x="526" y="276"/>
                  </a:lnTo>
                  <a:lnTo>
                    <a:pt x="527" y="278"/>
                  </a:lnTo>
                  <a:lnTo>
                    <a:pt x="528" y="280"/>
                  </a:lnTo>
                  <a:lnTo>
                    <a:pt x="529" y="282"/>
                  </a:lnTo>
                  <a:lnTo>
                    <a:pt x="530" y="284"/>
                  </a:lnTo>
                  <a:lnTo>
                    <a:pt x="531" y="286"/>
                  </a:lnTo>
                  <a:lnTo>
                    <a:pt x="532" y="287"/>
                  </a:lnTo>
                  <a:lnTo>
                    <a:pt x="533" y="289"/>
                  </a:lnTo>
                  <a:lnTo>
                    <a:pt x="535" y="290"/>
                  </a:lnTo>
                  <a:lnTo>
                    <a:pt x="536" y="291"/>
                  </a:lnTo>
                  <a:lnTo>
                    <a:pt x="538" y="292"/>
                  </a:lnTo>
                  <a:lnTo>
                    <a:pt x="539" y="293"/>
                  </a:lnTo>
                  <a:lnTo>
                    <a:pt x="541" y="293"/>
                  </a:lnTo>
                  <a:lnTo>
                    <a:pt x="542" y="294"/>
                  </a:lnTo>
                  <a:lnTo>
                    <a:pt x="546" y="294"/>
                  </a:lnTo>
                  <a:lnTo>
                    <a:pt x="548" y="295"/>
                  </a:lnTo>
                  <a:lnTo>
                    <a:pt x="550" y="295"/>
                  </a:lnTo>
                  <a:lnTo>
                    <a:pt x="551" y="296"/>
                  </a:lnTo>
                  <a:lnTo>
                    <a:pt x="553" y="297"/>
                  </a:lnTo>
                  <a:lnTo>
                    <a:pt x="554" y="298"/>
                  </a:lnTo>
                  <a:lnTo>
                    <a:pt x="556" y="299"/>
                  </a:lnTo>
                  <a:lnTo>
                    <a:pt x="557" y="301"/>
                  </a:lnTo>
                  <a:lnTo>
                    <a:pt x="559" y="304"/>
                  </a:lnTo>
                  <a:lnTo>
                    <a:pt x="563" y="308"/>
                  </a:lnTo>
                  <a:lnTo>
                    <a:pt x="565" y="311"/>
                  </a:lnTo>
                  <a:lnTo>
                    <a:pt x="567" y="313"/>
                  </a:lnTo>
                  <a:lnTo>
                    <a:pt x="570" y="318"/>
                  </a:lnTo>
                  <a:lnTo>
                    <a:pt x="573" y="323"/>
                  </a:lnTo>
                  <a:lnTo>
                    <a:pt x="575" y="327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4" y="337"/>
                  </a:lnTo>
                  <a:lnTo>
                    <a:pt x="589" y="343"/>
                  </a:lnTo>
                  <a:lnTo>
                    <a:pt x="591" y="345"/>
                  </a:lnTo>
                  <a:lnTo>
                    <a:pt x="592" y="346"/>
                  </a:lnTo>
                  <a:lnTo>
                    <a:pt x="594" y="347"/>
                  </a:lnTo>
                  <a:lnTo>
                    <a:pt x="598" y="351"/>
                  </a:lnTo>
                  <a:lnTo>
                    <a:pt x="599" y="352"/>
                  </a:lnTo>
                  <a:lnTo>
                    <a:pt x="600" y="353"/>
                  </a:lnTo>
                  <a:lnTo>
                    <a:pt x="601" y="354"/>
                  </a:lnTo>
                  <a:lnTo>
                    <a:pt x="602" y="356"/>
                  </a:lnTo>
                  <a:lnTo>
                    <a:pt x="603" y="357"/>
                  </a:lnTo>
                  <a:lnTo>
                    <a:pt x="604" y="359"/>
                  </a:lnTo>
                  <a:lnTo>
                    <a:pt x="605" y="361"/>
                  </a:lnTo>
                  <a:lnTo>
                    <a:pt x="606" y="363"/>
                  </a:lnTo>
                  <a:lnTo>
                    <a:pt x="607" y="365"/>
                  </a:lnTo>
                  <a:lnTo>
                    <a:pt x="607" y="368"/>
                  </a:lnTo>
                  <a:lnTo>
                    <a:pt x="607" y="370"/>
                  </a:lnTo>
                  <a:lnTo>
                    <a:pt x="608" y="376"/>
                  </a:lnTo>
                  <a:lnTo>
                    <a:pt x="608" y="380"/>
                  </a:lnTo>
                  <a:lnTo>
                    <a:pt x="609" y="383"/>
                  </a:lnTo>
                  <a:lnTo>
                    <a:pt x="609" y="387"/>
                  </a:lnTo>
                  <a:lnTo>
                    <a:pt x="610" y="390"/>
                  </a:lnTo>
                  <a:lnTo>
                    <a:pt x="610" y="392"/>
                  </a:lnTo>
                  <a:lnTo>
                    <a:pt x="611" y="394"/>
                  </a:lnTo>
                  <a:lnTo>
                    <a:pt x="611" y="395"/>
                  </a:lnTo>
                  <a:lnTo>
                    <a:pt x="612" y="397"/>
                  </a:lnTo>
                  <a:lnTo>
                    <a:pt x="613" y="400"/>
                  </a:lnTo>
                  <a:lnTo>
                    <a:pt x="616" y="405"/>
                  </a:lnTo>
                  <a:lnTo>
                    <a:pt x="617" y="406"/>
                  </a:lnTo>
                  <a:lnTo>
                    <a:pt x="617" y="407"/>
                  </a:lnTo>
                  <a:lnTo>
                    <a:pt x="618" y="409"/>
                  </a:lnTo>
                  <a:lnTo>
                    <a:pt x="618" y="410"/>
                  </a:lnTo>
                  <a:lnTo>
                    <a:pt x="618" y="411"/>
                  </a:lnTo>
                  <a:lnTo>
                    <a:pt x="618" y="411"/>
                  </a:lnTo>
                  <a:lnTo>
                    <a:pt x="618" y="411"/>
                  </a:lnTo>
                  <a:lnTo>
                    <a:pt x="618" y="411"/>
                  </a:lnTo>
                  <a:lnTo>
                    <a:pt x="617" y="412"/>
                  </a:lnTo>
                  <a:lnTo>
                    <a:pt x="617" y="412"/>
                  </a:lnTo>
                  <a:lnTo>
                    <a:pt x="616" y="412"/>
                  </a:lnTo>
                  <a:lnTo>
                    <a:pt x="615" y="412"/>
                  </a:lnTo>
                  <a:lnTo>
                    <a:pt x="613" y="411"/>
                  </a:lnTo>
                  <a:lnTo>
                    <a:pt x="611" y="411"/>
                  </a:lnTo>
                  <a:lnTo>
                    <a:pt x="609" y="410"/>
                  </a:lnTo>
                  <a:lnTo>
                    <a:pt x="602" y="407"/>
                  </a:lnTo>
                  <a:lnTo>
                    <a:pt x="599" y="406"/>
                  </a:lnTo>
                  <a:lnTo>
                    <a:pt x="597" y="405"/>
                  </a:lnTo>
                  <a:lnTo>
                    <a:pt x="594" y="403"/>
                  </a:lnTo>
                  <a:lnTo>
                    <a:pt x="591" y="401"/>
                  </a:lnTo>
                  <a:lnTo>
                    <a:pt x="590" y="401"/>
                  </a:lnTo>
                  <a:lnTo>
                    <a:pt x="588" y="400"/>
                  </a:lnTo>
                  <a:lnTo>
                    <a:pt x="587" y="399"/>
                  </a:lnTo>
                  <a:lnTo>
                    <a:pt x="586" y="399"/>
                  </a:lnTo>
                  <a:lnTo>
                    <a:pt x="585" y="398"/>
                  </a:lnTo>
                  <a:lnTo>
                    <a:pt x="584" y="398"/>
                  </a:lnTo>
                  <a:lnTo>
                    <a:pt x="583" y="398"/>
                  </a:lnTo>
                  <a:lnTo>
                    <a:pt x="582" y="398"/>
                  </a:lnTo>
                  <a:lnTo>
                    <a:pt x="581" y="398"/>
                  </a:lnTo>
                  <a:lnTo>
                    <a:pt x="581" y="399"/>
                  </a:lnTo>
                  <a:lnTo>
                    <a:pt x="580" y="399"/>
                  </a:lnTo>
                  <a:lnTo>
                    <a:pt x="579" y="399"/>
                  </a:lnTo>
                  <a:lnTo>
                    <a:pt x="578" y="400"/>
                  </a:lnTo>
                  <a:lnTo>
                    <a:pt x="578" y="401"/>
                  </a:lnTo>
                  <a:lnTo>
                    <a:pt x="577" y="402"/>
                  </a:lnTo>
                  <a:lnTo>
                    <a:pt x="576" y="402"/>
                  </a:lnTo>
                  <a:lnTo>
                    <a:pt x="576" y="404"/>
                  </a:lnTo>
                  <a:lnTo>
                    <a:pt x="573" y="409"/>
                  </a:lnTo>
                  <a:lnTo>
                    <a:pt x="572" y="411"/>
                  </a:lnTo>
                  <a:lnTo>
                    <a:pt x="572" y="412"/>
                  </a:lnTo>
                  <a:lnTo>
                    <a:pt x="571" y="413"/>
                  </a:lnTo>
                  <a:lnTo>
                    <a:pt x="570" y="415"/>
                  </a:lnTo>
                  <a:lnTo>
                    <a:pt x="568" y="416"/>
                  </a:lnTo>
                  <a:lnTo>
                    <a:pt x="567" y="417"/>
                  </a:lnTo>
                  <a:lnTo>
                    <a:pt x="565" y="419"/>
                  </a:lnTo>
                  <a:lnTo>
                    <a:pt x="563" y="420"/>
                  </a:lnTo>
                  <a:lnTo>
                    <a:pt x="561" y="421"/>
                  </a:lnTo>
                  <a:lnTo>
                    <a:pt x="558" y="422"/>
                  </a:lnTo>
                  <a:lnTo>
                    <a:pt x="555" y="424"/>
                  </a:lnTo>
                  <a:lnTo>
                    <a:pt x="554" y="424"/>
                  </a:lnTo>
                  <a:lnTo>
                    <a:pt x="553" y="426"/>
                  </a:lnTo>
                  <a:lnTo>
                    <a:pt x="552" y="426"/>
                  </a:lnTo>
                  <a:lnTo>
                    <a:pt x="548" y="428"/>
                  </a:lnTo>
                  <a:lnTo>
                    <a:pt x="544" y="430"/>
                  </a:lnTo>
                  <a:lnTo>
                    <a:pt x="541" y="431"/>
                  </a:lnTo>
                  <a:lnTo>
                    <a:pt x="540" y="432"/>
                  </a:lnTo>
                  <a:lnTo>
                    <a:pt x="538" y="433"/>
                  </a:lnTo>
                  <a:lnTo>
                    <a:pt x="534" y="436"/>
                  </a:lnTo>
                  <a:lnTo>
                    <a:pt x="532" y="438"/>
                  </a:lnTo>
                  <a:lnTo>
                    <a:pt x="530" y="439"/>
                  </a:lnTo>
                  <a:lnTo>
                    <a:pt x="527" y="441"/>
                  </a:lnTo>
                  <a:lnTo>
                    <a:pt x="525" y="442"/>
                  </a:lnTo>
                  <a:lnTo>
                    <a:pt x="524" y="443"/>
                  </a:lnTo>
                  <a:lnTo>
                    <a:pt x="523" y="444"/>
                  </a:lnTo>
                  <a:lnTo>
                    <a:pt x="522" y="445"/>
                  </a:lnTo>
                  <a:lnTo>
                    <a:pt x="521" y="446"/>
                  </a:lnTo>
                  <a:lnTo>
                    <a:pt x="521" y="447"/>
                  </a:lnTo>
                  <a:lnTo>
                    <a:pt x="520" y="448"/>
                  </a:lnTo>
                  <a:lnTo>
                    <a:pt x="520" y="449"/>
                  </a:lnTo>
                  <a:lnTo>
                    <a:pt x="520" y="450"/>
                  </a:lnTo>
                  <a:lnTo>
                    <a:pt x="520" y="454"/>
                  </a:lnTo>
                  <a:lnTo>
                    <a:pt x="520" y="455"/>
                  </a:lnTo>
                  <a:lnTo>
                    <a:pt x="519" y="456"/>
                  </a:lnTo>
                  <a:lnTo>
                    <a:pt x="519" y="456"/>
                  </a:lnTo>
                  <a:lnTo>
                    <a:pt x="519" y="457"/>
                  </a:lnTo>
                  <a:lnTo>
                    <a:pt x="518" y="458"/>
                  </a:lnTo>
                  <a:lnTo>
                    <a:pt x="517" y="459"/>
                  </a:lnTo>
                  <a:lnTo>
                    <a:pt x="515" y="460"/>
                  </a:lnTo>
                  <a:lnTo>
                    <a:pt x="513" y="462"/>
                  </a:lnTo>
                  <a:lnTo>
                    <a:pt x="512" y="463"/>
                  </a:lnTo>
                  <a:lnTo>
                    <a:pt x="511" y="464"/>
                  </a:lnTo>
                  <a:lnTo>
                    <a:pt x="511" y="464"/>
                  </a:lnTo>
                  <a:lnTo>
                    <a:pt x="510" y="465"/>
                  </a:lnTo>
                  <a:lnTo>
                    <a:pt x="510" y="466"/>
                  </a:lnTo>
                  <a:lnTo>
                    <a:pt x="510" y="467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10" y="470"/>
                  </a:lnTo>
                  <a:lnTo>
                    <a:pt x="511" y="473"/>
                  </a:lnTo>
                  <a:lnTo>
                    <a:pt x="511" y="474"/>
                  </a:lnTo>
                  <a:lnTo>
                    <a:pt x="511" y="475"/>
                  </a:lnTo>
                  <a:lnTo>
                    <a:pt x="511" y="475"/>
                  </a:lnTo>
                  <a:lnTo>
                    <a:pt x="511" y="476"/>
                  </a:lnTo>
                  <a:lnTo>
                    <a:pt x="510" y="477"/>
                  </a:lnTo>
                  <a:lnTo>
                    <a:pt x="510" y="477"/>
                  </a:lnTo>
                  <a:lnTo>
                    <a:pt x="509" y="477"/>
                  </a:lnTo>
                  <a:lnTo>
                    <a:pt x="508" y="477"/>
                  </a:lnTo>
                  <a:lnTo>
                    <a:pt x="507" y="477"/>
                  </a:lnTo>
                  <a:lnTo>
                    <a:pt x="506" y="477"/>
                  </a:lnTo>
                  <a:lnTo>
                    <a:pt x="505" y="477"/>
                  </a:lnTo>
                  <a:lnTo>
                    <a:pt x="503" y="477"/>
                  </a:lnTo>
                  <a:lnTo>
                    <a:pt x="500" y="476"/>
                  </a:lnTo>
                  <a:lnTo>
                    <a:pt x="498" y="476"/>
                  </a:lnTo>
                  <a:lnTo>
                    <a:pt x="496" y="476"/>
                  </a:lnTo>
                  <a:lnTo>
                    <a:pt x="495" y="475"/>
                  </a:lnTo>
                  <a:lnTo>
                    <a:pt x="494" y="476"/>
                  </a:lnTo>
                  <a:lnTo>
                    <a:pt x="491" y="476"/>
                  </a:lnTo>
                  <a:lnTo>
                    <a:pt x="487" y="476"/>
                  </a:lnTo>
                  <a:lnTo>
                    <a:pt x="485" y="477"/>
                  </a:lnTo>
                  <a:lnTo>
                    <a:pt x="483" y="477"/>
                  </a:lnTo>
                  <a:lnTo>
                    <a:pt x="482" y="476"/>
                  </a:lnTo>
                  <a:lnTo>
                    <a:pt x="482" y="476"/>
                  </a:lnTo>
                  <a:lnTo>
                    <a:pt x="481" y="476"/>
                  </a:lnTo>
                  <a:lnTo>
                    <a:pt x="479" y="475"/>
                  </a:lnTo>
                  <a:lnTo>
                    <a:pt x="478" y="475"/>
                  </a:lnTo>
                  <a:lnTo>
                    <a:pt x="477" y="475"/>
                  </a:lnTo>
                  <a:lnTo>
                    <a:pt x="477" y="475"/>
                  </a:lnTo>
                  <a:lnTo>
                    <a:pt x="476" y="475"/>
                  </a:lnTo>
                  <a:lnTo>
                    <a:pt x="473" y="477"/>
                  </a:lnTo>
                  <a:lnTo>
                    <a:pt x="471" y="477"/>
                  </a:lnTo>
                  <a:lnTo>
                    <a:pt x="470" y="477"/>
                  </a:lnTo>
                  <a:lnTo>
                    <a:pt x="466" y="478"/>
                  </a:lnTo>
                  <a:lnTo>
                    <a:pt x="464" y="479"/>
                  </a:lnTo>
                  <a:lnTo>
                    <a:pt x="462" y="479"/>
                  </a:lnTo>
                  <a:lnTo>
                    <a:pt x="460" y="479"/>
                  </a:lnTo>
                  <a:lnTo>
                    <a:pt x="459" y="479"/>
                  </a:lnTo>
                  <a:lnTo>
                    <a:pt x="458" y="479"/>
                  </a:lnTo>
                  <a:lnTo>
                    <a:pt x="457" y="478"/>
                  </a:lnTo>
                  <a:lnTo>
                    <a:pt x="456" y="478"/>
                  </a:lnTo>
                  <a:lnTo>
                    <a:pt x="455" y="477"/>
                  </a:lnTo>
                  <a:lnTo>
                    <a:pt x="453" y="476"/>
                  </a:lnTo>
                  <a:lnTo>
                    <a:pt x="448" y="472"/>
                  </a:lnTo>
                  <a:lnTo>
                    <a:pt x="446" y="470"/>
                  </a:lnTo>
                  <a:lnTo>
                    <a:pt x="445" y="470"/>
                  </a:lnTo>
                  <a:lnTo>
                    <a:pt x="443" y="469"/>
                  </a:lnTo>
                  <a:lnTo>
                    <a:pt x="440" y="467"/>
                  </a:lnTo>
                  <a:lnTo>
                    <a:pt x="437" y="466"/>
                  </a:lnTo>
                  <a:lnTo>
                    <a:pt x="434" y="465"/>
                  </a:lnTo>
                  <a:lnTo>
                    <a:pt x="432" y="464"/>
                  </a:lnTo>
                  <a:lnTo>
                    <a:pt x="431" y="463"/>
                  </a:lnTo>
                  <a:lnTo>
                    <a:pt x="429" y="462"/>
                  </a:lnTo>
                  <a:lnTo>
                    <a:pt x="428" y="461"/>
                  </a:lnTo>
                  <a:lnTo>
                    <a:pt x="424" y="458"/>
                  </a:lnTo>
                  <a:lnTo>
                    <a:pt x="423" y="457"/>
                  </a:lnTo>
                  <a:lnTo>
                    <a:pt x="422" y="456"/>
                  </a:lnTo>
                  <a:lnTo>
                    <a:pt x="420" y="456"/>
                  </a:lnTo>
                  <a:lnTo>
                    <a:pt x="419" y="455"/>
                  </a:lnTo>
                  <a:lnTo>
                    <a:pt x="415" y="453"/>
                  </a:lnTo>
                  <a:lnTo>
                    <a:pt x="412" y="452"/>
                  </a:lnTo>
                  <a:lnTo>
                    <a:pt x="410" y="451"/>
                  </a:lnTo>
                  <a:lnTo>
                    <a:pt x="409" y="450"/>
                  </a:lnTo>
                  <a:lnTo>
                    <a:pt x="407" y="449"/>
                  </a:lnTo>
                  <a:lnTo>
                    <a:pt x="406" y="447"/>
                  </a:lnTo>
                  <a:lnTo>
                    <a:pt x="405" y="446"/>
                  </a:lnTo>
                  <a:lnTo>
                    <a:pt x="402" y="442"/>
                  </a:lnTo>
                  <a:lnTo>
                    <a:pt x="400" y="440"/>
                  </a:lnTo>
                  <a:lnTo>
                    <a:pt x="399" y="439"/>
                  </a:lnTo>
                  <a:lnTo>
                    <a:pt x="398" y="438"/>
                  </a:lnTo>
                  <a:lnTo>
                    <a:pt x="397" y="438"/>
                  </a:lnTo>
                  <a:lnTo>
                    <a:pt x="396" y="437"/>
                  </a:lnTo>
                  <a:lnTo>
                    <a:pt x="394" y="436"/>
                  </a:lnTo>
                  <a:lnTo>
                    <a:pt x="392" y="436"/>
                  </a:lnTo>
                  <a:lnTo>
                    <a:pt x="387" y="434"/>
                  </a:lnTo>
                  <a:lnTo>
                    <a:pt x="385" y="434"/>
                  </a:lnTo>
                  <a:lnTo>
                    <a:pt x="384" y="433"/>
                  </a:lnTo>
                  <a:lnTo>
                    <a:pt x="383" y="432"/>
                  </a:lnTo>
                  <a:lnTo>
                    <a:pt x="382" y="432"/>
                  </a:lnTo>
                  <a:lnTo>
                    <a:pt x="381" y="431"/>
                  </a:lnTo>
                  <a:lnTo>
                    <a:pt x="380" y="430"/>
                  </a:lnTo>
                  <a:lnTo>
                    <a:pt x="380" y="429"/>
                  </a:lnTo>
                  <a:lnTo>
                    <a:pt x="379" y="428"/>
                  </a:lnTo>
                  <a:lnTo>
                    <a:pt x="378" y="425"/>
                  </a:lnTo>
                  <a:lnTo>
                    <a:pt x="377" y="421"/>
                  </a:lnTo>
                  <a:lnTo>
                    <a:pt x="376" y="419"/>
                  </a:lnTo>
                  <a:lnTo>
                    <a:pt x="375" y="417"/>
                  </a:lnTo>
                  <a:lnTo>
                    <a:pt x="375" y="416"/>
                  </a:lnTo>
                  <a:lnTo>
                    <a:pt x="374" y="415"/>
                  </a:lnTo>
                  <a:lnTo>
                    <a:pt x="374" y="415"/>
                  </a:lnTo>
                  <a:lnTo>
                    <a:pt x="373" y="413"/>
                  </a:lnTo>
                  <a:lnTo>
                    <a:pt x="370" y="410"/>
                  </a:lnTo>
                  <a:lnTo>
                    <a:pt x="369" y="409"/>
                  </a:lnTo>
                  <a:lnTo>
                    <a:pt x="368" y="408"/>
                  </a:lnTo>
                  <a:lnTo>
                    <a:pt x="367" y="408"/>
                  </a:lnTo>
                  <a:lnTo>
                    <a:pt x="365" y="407"/>
                  </a:lnTo>
                  <a:lnTo>
                    <a:pt x="363" y="406"/>
                  </a:lnTo>
                  <a:lnTo>
                    <a:pt x="361" y="405"/>
                  </a:lnTo>
                  <a:lnTo>
                    <a:pt x="356" y="404"/>
                  </a:lnTo>
                  <a:lnTo>
                    <a:pt x="351" y="402"/>
                  </a:lnTo>
                  <a:lnTo>
                    <a:pt x="348" y="402"/>
                  </a:lnTo>
                  <a:lnTo>
                    <a:pt x="344" y="401"/>
                  </a:lnTo>
                  <a:lnTo>
                    <a:pt x="343" y="401"/>
                  </a:lnTo>
                  <a:lnTo>
                    <a:pt x="341" y="401"/>
                  </a:lnTo>
                  <a:lnTo>
                    <a:pt x="340" y="401"/>
                  </a:lnTo>
                  <a:lnTo>
                    <a:pt x="339" y="401"/>
                  </a:lnTo>
                  <a:lnTo>
                    <a:pt x="337" y="401"/>
                  </a:lnTo>
                  <a:lnTo>
                    <a:pt x="333" y="403"/>
                  </a:lnTo>
                  <a:lnTo>
                    <a:pt x="331" y="403"/>
                  </a:lnTo>
                  <a:lnTo>
                    <a:pt x="330" y="404"/>
                  </a:lnTo>
                  <a:lnTo>
                    <a:pt x="328" y="405"/>
                  </a:lnTo>
                  <a:lnTo>
                    <a:pt x="327" y="406"/>
                  </a:lnTo>
                  <a:lnTo>
                    <a:pt x="324" y="410"/>
                  </a:lnTo>
                  <a:lnTo>
                    <a:pt x="323" y="410"/>
                  </a:lnTo>
                  <a:lnTo>
                    <a:pt x="322" y="411"/>
                  </a:lnTo>
                  <a:lnTo>
                    <a:pt x="321" y="412"/>
                  </a:lnTo>
                  <a:lnTo>
                    <a:pt x="320" y="412"/>
                  </a:lnTo>
                  <a:lnTo>
                    <a:pt x="316" y="414"/>
                  </a:lnTo>
                  <a:lnTo>
                    <a:pt x="314" y="415"/>
                  </a:lnTo>
                  <a:lnTo>
                    <a:pt x="313" y="416"/>
                  </a:lnTo>
                  <a:lnTo>
                    <a:pt x="310" y="418"/>
                  </a:lnTo>
                  <a:lnTo>
                    <a:pt x="307" y="419"/>
                  </a:lnTo>
                  <a:lnTo>
                    <a:pt x="306" y="420"/>
                  </a:lnTo>
                  <a:lnTo>
                    <a:pt x="305" y="420"/>
                  </a:lnTo>
                  <a:lnTo>
                    <a:pt x="304" y="420"/>
                  </a:lnTo>
                  <a:lnTo>
                    <a:pt x="304" y="421"/>
                  </a:lnTo>
                  <a:lnTo>
                    <a:pt x="303" y="421"/>
                  </a:lnTo>
                  <a:lnTo>
                    <a:pt x="301" y="420"/>
                  </a:lnTo>
                  <a:lnTo>
                    <a:pt x="300" y="420"/>
                  </a:lnTo>
                  <a:lnTo>
                    <a:pt x="299" y="420"/>
                  </a:lnTo>
                  <a:lnTo>
                    <a:pt x="298" y="420"/>
                  </a:lnTo>
                  <a:lnTo>
                    <a:pt x="297" y="419"/>
                  </a:lnTo>
                  <a:lnTo>
                    <a:pt x="296" y="419"/>
                  </a:lnTo>
                  <a:lnTo>
                    <a:pt x="295" y="418"/>
                  </a:lnTo>
                  <a:lnTo>
                    <a:pt x="294" y="417"/>
                  </a:lnTo>
                  <a:lnTo>
                    <a:pt x="294" y="416"/>
                  </a:lnTo>
                  <a:lnTo>
                    <a:pt x="293" y="415"/>
                  </a:lnTo>
                  <a:lnTo>
                    <a:pt x="292" y="414"/>
                  </a:lnTo>
                  <a:lnTo>
                    <a:pt x="291" y="412"/>
                  </a:lnTo>
                  <a:lnTo>
                    <a:pt x="290" y="408"/>
                  </a:lnTo>
                  <a:lnTo>
                    <a:pt x="289" y="406"/>
                  </a:lnTo>
                  <a:lnTo>
                    <a:pt x="288" y="404"/>
                  </a:lnTo>
                  <a:lnTo>
                    <a:pt x="287" y="402"/>
                  </a:lnTo>
                  <a:lnTo>
                    <a:pt x="286" y="400"/>
                  </a:lnTo>
                  <a:lnTo>
                    <a:pt x="285" y="399"/>
                  </a:lnTo>
                  <a:lnTo>
                    <a:pt x="284" y="399"/>
                  </a:lnTo>
                  <a:lnTo>
                    <a:pt x="284" y="398"/>
                  </a:lnTo>
                  <a:lnTo>
                    <a:pt x="283" y="397"/>
                  </a:lnTo>
                  <a:lnTo>
                    <a:pt x="281" y="396"/>
                  </a:lnTo>
                  <a:lnTo>
                    <a:pt x="281" y="396"/>
                  </a:lnTo>
                  <a:lnTo>
                    <a:pt x="281" y="396"/>
                  </a:lnTo>
                  <a:lnTo>
                    <a:pt x="280" y="396"/>
                  </a:lnTo>
                  <a:lnTo>
                    <a:pt x="280" y="396"/>
                  </a:lnTo>
                  <a:lnTo>
                    <a:pt x="277" y="398"/>
                  </a:lnTo>
                  <a:lnTo>
                    <a:pt x="275" y="399"/>
                  </a:lnTo>
                  <a:lnTo>
                    <a:pt x="273" y="400"/>
                  </a:lnTo>
                  <a:lnTo>
                    <a:pt x="271" y="401"/>
                  </a:lnTo>
                  <a:lnTo>
                    <a:pt x="270" y="402"/>
                  </a:lnTo>
                  <a:lnTo>
                    <a:pt x="269" y="404"/>
                  </a:lnTo>
                  <a:lnTo>
                    <a:pt x="268" y="405"/>
                  </a:lnTo>
                  <a:lnTo>
                    <a:pt x="267" y="406"/>
                  </a:lnTo>
                  <a:lnTo>
                    <a:pt x="267" y="406"/>
                  </a:lnTo>
                  <a:lnTo>
                    <a:pt x="266" y="407"/>
                  </a:lnTo>
                  <a:lnTo>
                    <a:pt x="265" y="409"/>
                  </a:lnTo>
                  <a:lnTo>
                    <a:pt x="264" y="413"/>
                  </a:lnTo>
                  <a:lnTo>
                    <a:pt x="263" y="414"/>
                  </a:lnTo>
                  <a:lnTo>
                    <a:pt x="262" y="415"/>
                  </a:lnTo>
                  <a:lnTo>
                    <a:pt x="262" y="416"/>
                  </a:lnTo>
                  <a:lnTo>
                    <a:pt x="261" y="416"/>
                  </a:lnTo>
                  <a:lnTo>
                    <a:pt x="260" y="417"/>
                  </a:lnTo>
                  <a:lnTo>
                    <a:pt x="259" y="418"/>
                  </a:lnTo>
                  <a:lnTo>
                    <a:pt x="258" y="419"/>
                  </a:lnTo>
                  <a:lnTo>
                    <a:pt x="256" y="420"/>
                  </a:lnTo>
                  <a:lnTo>
                    <a:pt x="255" y="420"/>
                  </a:lnTo>
                  <a:lnTo>
                    <a:pt x="251" y="421"/>
                  </a:lnTo>
                  <a:lnTo>
                    <a:pt x="249" y="422"/>
                  </a:lnTo>
                  <a:lnTo>
                    <a:pt x="247" y="423"/>
                  </a:lnTo>
                  <a:lnTo>
                    <a:pt x="244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8" y="425"/>
                  </a:lnTo>
                  <a:lnTo>
                    <a:pt x="237" y="425"/>
                  </a:lnTo>
                  <a:lnTo>
                    <a:pt x="236" y="425"/>
                  </a:lnTo>
                  <a:lnTo>
                    <a:pt x="234" y="425"/>
                  </a:lnTo>
                  <a:lnTo>
                    <a:pt x="230" y="423"/>
                  </a:lnTo>
                  <a:lnTo>
                    <a:pt x="228" y="422"/>
                  </a:lnTo>
                  <a:lnTo>
                    <a:pt x="227" y="422"/>
                  </a:lnTo>
                  <a:lnTo>
                    <a:pt x="226" y="422"/>
                  </a:lnTo>
                  <a:lnTo>
                    <a:pt x="225" y="422"/>
                  </a:lnTo>
                  <a:lnTo>
                    <a:pt x="223" y="422"/>
                  </a:lnTo>
                  <a:lnTo>
                    <a:pt x="221" y="422"/>
                  </a:lnTo>
                  <a:lnTo>
                    <a:pt x="219" y="422"/>
                  </a:lnTo>
                  <a:lnTo>
                    <a:pt x="217" y="421"/>
                  </a:lnTo>
                  <a:lnTo>
                    <a:pt x="215" y="421"/>
                  </a:lnTo>
                  <a:lnTo>
                    <a:pt x="213" y="421"/>
                  </a:lnTo>
                  <a:lnTo>
                    <a:pt x="209" y="421"/>
                  </a:lnTo>
                  <a:lnTo>
                    <a:pt x="208" y="421"/>
                  </a:lnTo>
                  <a:lnTo>
                    <a:pt x="206" y="421"/>
                  </a:lnTo>
                  <a:lnTo>
                    <a:pt x="204" y="421"/>
                  </a:lnTo>
                  <a:lnTo>
                    <a:pt x="203" y="421"/>
                  </a:lnTo>
                  <a:lnTo>
                    <a:pt x="202" y="421"/>
                  </a:lnTo>
                  <a:lnTo>
                    <a:pt x="201" y="421"/>
                  </a:lnTo>
                  <a:lnTo>
                    <a:pt x="200" y="420"/>
                  </a:lnTo>
                  <a:lnTo>
                    <a:pt x="198" y="419"/>
                  </a:lnTo>
                  <a:lnTo>
                    <a:pt x="196" y="417"/>
                  </a:lnTo>
                  <a:lnTo>
                    <a:pt x="195" y="417"/>
                  </a:lnTo>
                  <a:lnTo>
                    <a:pt x="195" y="416"/>
                  </a:lnTo>
                  <a:lnTo>
                    <a:pt x="194" y="416"/>
                  </a:lnTo>
                  <a:lnTo>
                    <a:pt x="194" y="416"/>
                  </a:lnTo>
                  <a:lnTo>
                    <a:pt x="193" y="416"/>
                  </a:lnTo>
                  <a:lnTo>
                    <a:pt x="192" y="416"/>
                  </a:lnTo>
                  <a:lnTo>
                    <a:pt x="192" y="416"/>
                  </a:lnTo>
                  <a:lnTo>
                    <a:pt x="191" y="416"/>
                  </a:lnTo>
                  <a:lnTo>
                    <a:pt x="186" y="419"/>
                  </a:lnTo>
                  <a:lnTo>
                    <a:pt x="185" y="419"/>
                  </a:lnTo>
                  <a:lnTo>
                    <a:pt x="184" y="420"/>
                  </a:lnTo>
                  <a:lnTo>
                    <a:pt x="181" y="420"/>
                  </a:lnTo>
                  <a:lnTo>
                    <a:pt x="180" y="421"/>
                  </a:lnTo>
                  <a:lnTo>
                    <a:pt x="178" y="421"/>
                  </a:lnTo>
                  <a:lnTo>
                    <a:pt x="177" y="422"/>
                  </a:lnTo>
                  <a:lnTo>
                    <a:pt x="176" y="423"/>
                  </a:lnTo>
                  <a:lnTo>
                    <a:pt x="175" y="423"/>
                  </a:lnTo>
                  <a:lnTo>
                    <a:pt x="175" y="424"/>
                  </a:lnTo>
                  <a:lnTo>
                    <a:pt x="174" y="425"/>
                  </a:lnTo>
                  <a:lnTo>
                    <a:pt x="173" y="426"/>
                  </a:lnTo>
                  <a:lnTo>
                    <a:pt x="173" y="427"/>
                  </a:lnTo>
                  <a:lnTo>
                    <a:pt x="171" y="430"/>
                  </a:lnTo>
                  <a:lnTo>
                    <a:pt x="171" y="431"/>
                  </a:lnTo>
                  <a:lnTo>
                    <a:pt x="170" y="431"/>
                  </a:lnTo>
                  <a:lnTo>
                    <a:pt x="169" y="432"/>
                  </a:lnTo>
                  <a:lnTo>
                    <a:pt x="167" y="434"/>
                  </a:lnTo>
                  <a:lnTo>
                    <a:pt x="166" y="435"/>
                  </a:lnTo>
                  <a:lnTo>
                    <a:pt x="164" y="436"/>
                  </a:lnTo>
                  <a:lnTo>
                    <a:pt x="162" y="437"/>
                  </a:lnTo>
                  <a:lnTo>
                    <a:pt x="161" y="437"/>
                  </a:lnTo>
                  <a:lnTo>
                    <a:pt x="159" y="439"/>
                  </a:lnTo>
                  <a:lnTo>
                    <a:pt x="157" y="440"/>
                  </a:lnTo>
                  <a:lnTo>
                    <a:pt x="155" y="441"/>
                  </a:lnTo>
                  <a:lnTo>
                    <a:pt x="154" y="442"/>
                  </a:lnTo>
                  <a:lnTo>
                    <a:pt x="153" y="442"/>
                  </a:lnTo>
                  <a:lnTo>
                    <a:pt x="151" y="443"/>
                  </a:lnTo>
                  <a:lnTo>
                    <a:pt x="150" y="443"/>
                  </a:lnTo>
                  <a:lnTo>
                    <a:pt x="148" y="443"/>
                  </a:lnTo>
                  <a:lnTo>
                    <a:pt x="147" y="444"/>
                  </a:lnTo>
                  <a:lnTo>
                    <a:pt x="146" y="444"/>
                  </a:lnTo>
                  <a:lnTo>
                    <a:pt x="145" y="444"/>
                  </a:lnTo>
                  <a:lnTo>
                    <a:pt x="143" y="444"/>
                  </a:lnTo>
                  <a:lnTo>
                    <a:pt x="142" y="443"/>
                  </a:lnTo>
                  <a:lnTo>
                    <a:pt x="141" y="443"/>
                  </a:lnTo>
                  <a:lnTo>
                    <a:pt x="140" y="443"/>
                  </a:lnTo>
                  <a:lnTo>
                    <a:pt x="139" y="442"/>
                  </a:lnTo>
                  <a:lnTo>
                    <a:pt x="138" y="441"/>
                  </a:lnTo>
                  <a:lnTo>
                    <a:pt x="137" y="441"/>
                  </a:lnTo>
                  <a:lnTo>
                    <a:pt x="137" y="440"/>
                  </a:lnTo>
                  <a:lnTo>
                    <a:pt x="136" y="439"/>
                  </a:lnTo>
                  <a:lnTo>
                    <a:pt x="137" y="439"/>
                  </a:lnTo>
                  <a:lnTo>
                    <a:pt x="137" y="437"/>
                  </a:lnTo>
                  <a:lnTo>
                    <a:pt x="137" y="435"/>
                  </a:lnTo>
                  <a:lnTo>
                    <a:pt x="138" y="433"/>
                  </a:lnTo>
                  <a:lnTo>
                    <a:pt x="137" y="433"/>
                  </a:lnTo>
                  <a:lnTo>
                    <a:pt x="137" y="432"/>
                  </a:lnTo>
                  <a:lnTo>
                    <a:pt x="137" y="431"/>
                  </a:lnTo>
                  <a:lnTo>
                    <a:pt x="137" y="430"/>
                  </a:lnTo>
                  <a:lnTo>
                    <a:pt x="136" y="430"/>
                  </a:lnTo>
                  <a:lnTo>
                    <a:pt x="136" y="429"/>
                  </a:lnTo>
                  <a:lnTo>
                    <a:pt x="135" y="428"/>
                  </a:lnTo>
                  <a:lnTo>
                    <a:pt x="135" y="428"/>
                  </a:lnTo>
                  <a:lnTo>
                    <a:pt x="133" y="426"/>
                  </a:lnTo>
                  <a:lnTo>
                    <a:pt x="132" y="425"/>
                  </a:lnTo>
                  <a:lnTo>
                    <a:pt x="128" y="423"/>
                  </a:lnTo>
                  <a:lnTo>
                    <a:pt x="127" y="422"/>
                  </a:lnTo>
                  <a:lnTo>
                    <a:pt x="126" y="422"/>
                  </a:lnTo>
                  <a:lnTo>
                    <a:pt x="125" y="421"/>
                  </a:lnTo>
                  <a:lnTo>
                    <a:pt x="123" y="421"/>
                  </a:lnTo>
                  <a:lnTo>
                    <a:pt x="120" y="421"/>
                  </a:lnTo>
                  <a:lnTo>
                    <a:pt x="118" y="420"/>
                  </a:lnTo>
                  <a:lnTo>
                    <a:pt x="117" y="419"/>
                  </a:lnTo>
                  <a:lnTo>
                    <a:pt x="112" y="418"/>
                  </a:lnTo>
                  <a:lnTo>
                    <a:pt x="107" y="416"/>
                  </a:lnTo>
                  <a:lnTo>
                    <a:pt x="106" y="416"/>
                  </a:lnTo>
                  <a:lnTo>
                    <a:pt x="105" y="415"/>
                  </a:lnTo>
                  <a:lnTo>
                    <a:pt x="105" y="415"/>
                  </a:lnTo>
                  <a:lnTo>
                    <a:pt x="104" y="415"/>
                  </a:lnTo>
                  <a:lnTo>
                    <a:pt x="104" y="414"/>
                  </a:lnTo>
                  <a:lnTo>
                    <a:pt x="104" y="414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6" y="409"/>
                  </a:lnTo>
                  <a:lnTo>
                    <a:pt x="106" y="407"/>
                  </a:lnTo>
                  <a:lnTo>
                    <a:pt x="105" y="405"/>
                  </a:lnTo>
                  <a:lnTo>
                    <a:pt x="105" y="405"/>
                  </a:lnTo>
                  <a:lnTo>
                    <a:pt x="105" y="404"/>
                  </a:lnTo>
                  <a:lnTo>
                    <a:pt x="105" y="403"/>
                  </a:lnTo>
                  <a:lnTo>
                    <a:pt x="106" y="402"/>
                  </a:lnTo>
                  <a:lnTo>
                    <a:pt x="107" y="400"/>
                  </a:lnTo>
                  <a:lnTo>
                    <a:pt x="109" y="398"/>
                  </a:lnTo>
                  <a:lnTo>
                    <a:pt x="111" y="396"/>
                  </a:lnTo>
                  <a:lnTo>
                    <a:pt x="112" y="395"/>
                  </a:lnTo>
                  <a:lnTo>
                    <a:pt x="114" y="392"/>
                  </a:lnTo>
                  <a:lnTo>
                    <a:pt x="115" y="390"/>
                  </a:lnTo>
                  <a:lnTo>
                    <a:pt x="116" y="389"/>
                  </a:lnTo>
                  <a:lnTo>
                    <a:pt x="116" y="387"/>
                  </a:lnTo>
                  <a:lnTo>
                    <a:pt x="117" y="385"/>
                  </a:lnTo>
                  <a:lnTo>
                    <a:pt x="118" y="383"/>
                  </a:lnTo>
                  <a:lnTo>
                    <a:pt x="118" y="382"/>
                  </a:lnTo>
                  <a:lnTo>
                    <a:pt x="118" y="381"/>
                  </a:lnTo>
                  <a:lnTo>
                    <a:pt x="118" y="379"/>
                  </a:lnTo>
                  <a:lnTo>
                    <a:pt x="118" y="378"/>
                  </a:lnTo>
                  <a:lnTo>
                    <a:pt x="118" y="377"/>
                  </a:lnTo>
                  <a:lnTo>
                    <a:pt x="118" y="377"/>
                  </a:lnTo>
                  <a:lnTo>
                    <a:pt x="117" y="374"/>
                  </a:lnTo>
                  <a:lnTo>
                    <a:pt x="117" y="373"/>
                  </a:lnTo>
                  <a:lnTo>
                    <a:pt x="116" y="371"/>
                  </a:lnTo>
                  <a:lnTo>
                    <a:pt x="115" y="369"/>
                  </a:lnTo>
                  <a:lnTo>
                    <a:pt x="113" y="366"/>
                  </a:lnTo>
                  <a:lnTo>
                    <a:pt x="112" y="364"/>
                  </a:lnTo>
                  <a:lnTo>
                    <a:pt x="111" y="362"/>
                  </a:lnTo>
                  <a:lnTo>
                    <a:pt x="111" y="361"/>
                  </a:lnTo>
                  <a:lnTo>
                    <a:pt x="111" y="360"/>
                  </a:lnTo>
                  <a:lnTo>
                    <a:pt x="110" y="358"/>
                  </a:lnTo>
                  <a:lnTo>
                    <a:pt x="110" y="356"/>
                  </a:lnTo>
                  <a:lnTo>
                    <a:pt x="110" y="354"/>
                  </a:lnTo>
                  <a:lnTo>
                    <a:pt x="110" y="351"/>
                  </a:lnTo>
                  <a:lnTo>
                    <a:pt x="110" y="350"/>
                  </a:lnTo>
                  <a:lnTo>
                    <a:pt x="110" y="349"/>
                  </a:lnTo>
                  <a:lnTo>
                    <a:pt x="111" y="345"/>
                  </a:lnTo>
                  <a:lnTo>
                    <a:pt x="111" y="343"/>
                  </a:lnTo>
                  <a:lnTo>
                    <a:pt x="111" y="340"/>
                  </a:lnTo>
                  <a:lnTo>
                    <a:pt x="111" y="336"/>
                  </a:lnTo>
                  <a:lnTo>
                    <a:pt x="111" y="333"/>
                  </a:lnTo>
                  <a:lnTo>
                    <a:pt x="111" y="331"/>
                  </a:lnTo>
                  <a:lnTo>
                    <a:pt x="110" y="330"/>
                  </a:lnTo>
                  <a:lnTo>
                    <a:pt x="110" y="328"/>
                  </a:lnTo>
                  <a:lnTo>
                    <a:pt x="109" y="327"/>
                  </a:lnTo>
                  <a:lnTo>
                    <a:pt x="109" y="326"/>
                  </a:lnTo>
                  <a:lnTo>
                    <a:pt x="108" y="325"/>
                  </a:lnTo>
                  <a:lnTo>
                    <a:pt x="107" y="324"/>
                  </a:lnTo>
                  <a:lnTo>
                    <a:pt x="107" y="323"/>
                  </a:lnTo>
                  <a:lnTo>
                    <a:pt x="105" y="322"/>
                  </a:lnTo>
                  <a:lnTo>
                    <a:pt x="104" y="321"/>
                  </a:lnTo>
                  <a:lnTo>
                    <a:pt x="102" y="319"/>
                  </a:lnTo>
                  <a:lnTo>
                    <a:pt x="101" y="319"/>
                  </a:lnTo>
                  <a:lnTo>
                    <a:pt x="100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8" y="318"/>
                  </a:lnTo>
                  <a:lnTo>
                    <a:pt x="97" y="318"/>
                  </a:lnTo>
                  <a:lnTo>
                    <a:pt x="95" y="318"/>
                  </a:lnTo>
                  <a:lnTo>
                    <a:pt x="94" y="319"/>
                  </a:lnTo>
                  <a:lnTo>
                    <a:pt x="92" y="319"/>
                  </a:lnTo>
                  <a:lnTo>
                    <a:pt x="89" y="321"/>
                  </a:lnTo>
                  <a:lnTo>
                    <a:pt x="84" y="322"/>
                  </a:lnTo>
                  <a:lnTo>
                    <a:pt x="82" y="323"/>
                  </a:lnTo>
                  <a:lnTo>
                    <a:pt x="81" y="323"/>
                  </a:lnTo>
                  <a:lnTo>
                    <a:pt x="79" y="323"/>
                  </a:lnTo>
                  <a:lnTo>
                    <a:pt x="78" y="323"/>
                  </a:lnTo>
                  <a:lnTo>
                    <a:pt x="73" y="322"/>
                  </a:lnTo>
                  <a:lnTo>
                    <a:pt x="70" y="322"/>
                  </a:lnTo>
                  <a:lnTo>
                    <a:pt x="64" y="321"/>
                  </a:lnTo>
                  <a:lnTo>
                    <a:pt x="62" y="321"/>
                  </a:lnTo>
                  <a:lnTo>
                    <a:pt x="61" y="321"/>
                  </a:lnTo>
                  <a:lnTo>
                    <a:pt x="54" y="322"/>
                  </a:lnTo>
                  <a:lnTo>
                    <a:pt x="53" y="322"/>
                  </a:lnTo>
                  <a:lnTo>
                    <a:pt x="52" y="322"/>
                  </a:lnTo>
                  <a:lnTo>
                    <a:pt x="51" y="322"/>
                  </a:lnTo>
                  <a:lnTo>
                    <a:pt x="50" y="322"/>
                  </a:lnTo>
                  <a:lnTo>
                    <a:pt x="49" y="321"/>
                  </a:lnTo>
                  <a:lnTo>
                    <a:pt x="48" y="321"/>
                  </a:lnTo>
                  <a:lnTo>
                    <a:pt x="47" y="320"/>
                  </a:lnTo>
                  <a:lnTo>
                    <a:pt x="46" y="320"/>
                  </a:lnTo>
                  <a:lnTo>
                    <a:pt x="45" y="319"/>
                  </a:lnTo>
                  <a:lnTo>
                    <a:pt x="44" y="318"/>
                  </a:lnTo>
                  <a:lnTo>
                    <a:pt x="43" y="317"/>
                  </a:lnTo>
                  <a:lnTo>
                    <a:pt x="42" y="317"/>
                  </a:lnTo>
                  <a:lnTo>
                    <a:pt x="42" y="316"/>
                  </a:lnTo>
                  <a:lnTo>
                    <a:pt x="42" y="315"/>
                  </a:lnTo>
                  <a:lnTo>
                    <a:pt x="41" y="314"/>
                  </a:lnTo>
                  <a:lnTo>
                    <a:pt x="41" y="313"/>
                  </a:lnTo>
                  <a:lnTo>
                    <a:pt x="40" y="311"/>
                  </a:lnTo>
                  <a:lnTo>
                    <a:pt x="40" y="310"/>
                  </a:lnTo>
                  <a:lnTo>
                    <a:pt x="40" y="308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0" y="303"/>
                  </a:lnTo>
                  <a:lnTo>
                    <a:pt x="39" y="302"/>
                  </a:lnTo>
                  <a:lnTo>
                    <a:pt x="38" y="301"/>
                  </a:lnTo>
                  <a:lnTo>
                    <a:pt x="38" y="300"/>
                  </a:lnTo>
                  <a:lnTo>
                    <a:pt x="36" y="298"/>
                  </a:lnTo>
                  <a:lnTo>
                    <a:pt x="34" y="297"/>
                  </a:lnTo>
                  <a:lnTo>
                    <a:pt x="32" y="295"/>
                  </a:lnTo>
                  <a:lnTo>
                    <a:pt x="31" y="294"/>
                  </a:lnTo>
                  <a:lnTo>
                    <a:pt x="30" y="293"/>
                  </a:lnTo>
                  <a:lnTo>
                    <a:pt x="29" y="291"/>
                  </a:lnTo>
                  <a:lnTo>
                    <a:pt x="28" y="290"/>
                  </a:lnTo>
                  <a:lnTo>
                    <a:pt x="27" y="290"/>
                  </a:lnTo>
                  <a:lnTo>
                    <a:pt x="26" y="289"/>
                  </a:lnTo>
                  <a:lnTo>
                    <a:pt x="25" y="288"/>
                  </a:lnTo>
                  <a:lnTo>
                    <a:pt x="23" y="288"/>
                  </a:lnTo>
                  <a:lnTo>
                    <a:pt x="22" y="287"/>
                  </a:lnTo>
                  <a:lnTo>
                    <a:pt x="21" y="287"/>
                  </a:lnTo>
                  <a:lnTo>
                    <a:pt x="17" y="287"/>
                  </a:lnTo>
                  <a:lnTo>
                    <a:pt x="16" y="287"/>
                  </a:lnTo>
                  <a:lnTo>
                    <a:pt x="15" y="286"/>
                  </a:lnTo>
                  <a:lnTo>
                    <a:pt x="14" y="286"/>
                  </a:lnTo>
                  <a:lnTo>
                    <a:pt x="13" y="286"/>
                  </a:lnTo>
                  <a:lnTo>
                    <a:pt x="12" y="285"/>
                  </a:lnTo>
                  <a:lnTo>
                    <a:pt x="11" y="285"/>
                  </a:lnTo>
                  <a:lnTo>
                    <a:pt x="10" y="284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7" y="282"/>
                  </a:lnTo>
                  <a:lnTo>
                    <a:pt x="6" y="281"/>
                  </a:lnTo>
                  <a:lnTo>
                    <a:pt x="6" y="280"/>
                  </a:lnTo>
                  <a:lnTo>
                    <a:pt x="5" y="279"/>
                  </a:lnTo>
                  <a:lnTo>
                    <a:pt x="5" y="277"/>
                  </a:lnTo>
                  <a:lnTo>
                    <a:pt x="4" y="275"/>
                  </a:lnTo>
                  <a:lnTo>
                    <a:pt x="4" y="274"/>
                  </a:lnTo>
                  <a:lnTo>
                    <a:pt x="3" y="273"/>
                  </a:lnTo>
                  <a:lnTo>
                    <a:pt x="1" y="270"/>
                  </a:lnTo>
                  <a:lnTo>
                    <a:pt x="1" y="269"/>
                  </a:lnTo>
                  <a:lnTo>
                    <a:pt x="0" y="268"/>
                  </a:lnTo>
                  <a:lnTo>
                    <a:pt x="0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1" y="262"/>
                  </a:lnTo>
                  <a:lnTo>
                    <a:pt x="2" y="261"/>
                  </a:lnTo>
                  <a:lnTo>
                    <a:pt x="2" y="260"/>
                  </a:lnTo>
                  <a:lnTo>
                    <a:pt x="3" y="260"/>
                  </a:lnTo>
                  <a:lnTo>
                    <a:pt x="4" y="259"/>
                  </a:lnTo>
                  <a:lnTo>
                    <a:pt x="7" y="258"/>
                  </a:lnTo>
                  <a:lnTo>
                    <a:pt x="8" y="257"/>
                  </a:lnTo>
                  <a:lnTo>
                    <a:pt x="9" y="256"/>
                  </a:lnTo>
                  <a:lnTo>
                    <a:pt x="9" y="256"/>
                  </a:lnTo>
                  <a:lnTo>
                    <a:pt x="10" y="255"/>
                  </a:lnTo>
                  <a:lnTo>
                    <a:pt x="10" y="254"/>
                  </a:lnTo>
                  <a:lnTo>
                    <a:pt x="12" y="250"/>
                  </a:lnTo>
                  <a:lnTo>
                    <a:pt x="12" y="249"/>
                  </a:lnTo>
                  <a:lnTo>
                    <a:pt x="13" y="248"/>
                  </a:lnTo>
                  <a:lnTo>
                    <a:pt x="15" y="244"/>
                  </a:lnTo>
                  <a:lnTo>
                    <a:pt x="16" y="243"/>
                  </a:lnTo>
                  <a:lnTo>
                    <a:pt x="16" y="242"/>
                  </a:lnTo>
                  <a:lnTo>
                    <a:pt x="17" y="240"/>
                  </a:lnTo>
                  <a:lnTo>
                    <a:pt x="17" y="238"/>
                  </a:lnTo>
                  <a:lnTo>
                    <a:pt x="17" y="236"/>
                  </a:lnTo>
                  <a:lnTo>
                    <a:pt x="17" y="234"/>
                  </a:lnTo>
                  <a:lnTo>
                    <a:pt x="17" y="233"/>
                  </a:lnTo>
                  <a:lnTo>
                    <a:pt x="17" y="231"/>
                  </a:lnTo>
                  <a:lnTo>
                    <a:pt x="16" y="225"/>
                  </a:lnTo>
                  <a:lnTo>
                    <a:pt x="15" y="224"/>
                  </a:lnTo>
                  <a:lnTo>
                    <a:pt x="14" y="223"/>
                  </a:lnTo>
                  <a:lnTo>
                    <a:pt x="14" y="221"/>
                  </a:lnTo>
                  <a:lnTo>
                    <a:pt x="13" y="220"/>
                  </a:lnTo>
                  <a:lnTo>
                    <a:pt x="12" y="218"/>
                  </a:lnTo>
                  <a:lnTo>
                    <a:pt x="11" y="217"/>
                  </a:lnTo>
                  <a:lnTo>
                    <a:pt x="10" y="216"/>
                  </a:lnTo>
                  <a:lnTo>
                    <a:pt x="10" y="215"/>
                  </a:lnTo>
                  <a:lnTo>
                    <a:pt x="10" y="213"/>
                  </a:lnTo>
                  <a:lnTo>
                    <a:pt x="10" y="211"/>
                  </a:lnTo>
                  <a:lnTo>
                    <a:pt x="10" y="205"/>
                  </a:lnTo>
                  <a:lnTo>
                    <a:pt x="10" y="202"/>
                  </a:lnTo>
                  <a:lnTo>
                    <a:pt x="10" y="201"/>
                  </a:lnTo>
                  <a:lnTo>
                    <a:pt x="10" y="200"/>
                  </a:lnTo>
                  <a:lnTo>
                    <a:pt x="9" y="199"/>
                  </a:lnTo>
                  <a:lnTo>
                    <a:pt x="8" y="196"/>
                  </a:lnTo>
                  <a:lnTo>
                    <a:pt x="7" y="193"/>
                  </a:lnTo>
                  <a:lnTo>
                    <a:pt x="7" y="191"/>
                  </a:lnTo>
                  <a:lnTo>
                    <a:pt x="6" y="189"/>
                  </a:lnTo>
                  <a:lnTo>
                    <a:pt x="4" y="186"/>
                  </a:lnTo>
                  <a:lnTo>
                    <a:pt x="4" y="185"/>
                  </a:lnTo>
                  <a:lnTo>
                    <a:pt x="3" y="184"/>
                  </a:lnTo>
                  <a:lnTo>
                    <a:pt x="3" y="183"/>
                  </a:lnTo>
                  <a:lnTo>
                    <a:pt x="3" y="182"/>
                  </a:lnTo>
                  <a:lnTo>
                    <a:pt x="4" y="181"/>
                  </a:lnTo>
                  <a:lnTo>
                    <a:pt x="4" y="180"/>
                  </a:lnTo>
                  <a:lnTo>
                    <a:pt x="4" y="179"/>
                  </a:lnTo>
                  <a:lnTo>
                    <a:pt x="5" y="178"/>
                  </a:lnTo>
                  <a:lnTo>
                    <a:pt x="6" y="177"/>
                  </a:lnTo>
                  <a:lnTo>
                    <a:pt x="8" y="175"/>
                  </a:lnTo>
                  <a:lnTo>
                    <a:pt x="11" y="172"/>
                  </a:lnTo>
                  <a:lnTo>
                    <a:pt x="13" y="170"/>
                  </a:lnTo>
                  <a:lnTo>
                    <a:pt x="14" y="169"/>
                  </a:lnTo>
                  <a:lnTo>
                    <a:pt x="14" y="170"/>
                  </a:lnTo>
                  <a:lnTo>
                    <a:pt x="15" y="171"/>
                  </a:lnTo>
                  <a:lnTo>
                    <a:pt x="16" y="172"/>
                  </a:lnTo>
                  <a:lnTo>
                    <a:pt x="18" y="173"/>
                  </a:lnTo>
                  <a:lnTo>
                    <a:pt x="21" y="175"/>
                  </a:lnTo>
                  <a:lnTo>
                    <a:pt x="23" y="176"/>
                  </a:lnTo>
                  <a:lnTo>
                    <a:pt x="29" y="179"/>
                  </a:lnTo>
                  <a:lnTo>
                    <a:pt x="31" y="180"/>
                  </a:lnTo>
                  <a:lnTo>
                    <a:pt x="33" y="181"/>
                  </a:lnTo>
                  <a:lnTo>
                    <a:pt x="35" y="182"/>
                  </a:lnTo>
                  <a:lnTo>
                    <a:pt x="37" y="183"/>
                  </a:lnTo>
                  <a:lnTo>
                    <a:pt x="40" y="184"/>
                  </a:lnTo>
                  <a:lnTo>
                    <a:pt x="41" y="184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0" name="Freeform 244">
              <a:extLst>
                <a:ext uri="{FF2B5EF4-FFF2-40B4-BE49-F238E27FC236}">
                  <a16:creationId xmlns:a16="http://schemas.microsoft.com/office/drawing/2014/main" id="{59F4E70F-F860-4472-B067-3CF925CA6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7772" y="2391306"/>
              <a:ext cx="637923" cy="419847"/>
            </a:xfrm>
            <a:custGeom>
              <a:avLst/>
              <a:gdLst>
                <a:gd name="T0" fmla="*/ 185 w 626"/>
                <a:gd name="T1" fmla="*/ 48 h 412"/>
                <a:gd name="T2" fmla="*/ 210 w 626"/>
                <a:gd name="T3" fmla="*/ 42 h 412"/>
                <a:gd name="T4" fmla="*/ 241 w 626"/>
                <a:gd name="T5" fmla="*/ 32 h 412"/>
                <a:gd name="T6" fmla="*/ 269 w 626"/>
                <a:gd name="T7" fmla="*/ 58 h 412"/>
                <a:gd name="T8" fmla="*/ 295 w 626"/>
                <a:gd name="T9" fmla="*/ 76 h 412"/>
                <a:gd name="T10" fmla="*/ 327 w 626"/>
                <a:gd name="T11" fmla="*/ 96 h 412"/>
                <a:gd name="T12" fmla="*/ 361 w 626"/>
                <a:gd name="T13" fmla="*/ 107 h 412"/>
                <a:gd name="T14" fmla="*/ 388 w 626"/>
                <a:gd name="T15" fmla="*/ 106 h 412"/>
                <a:gd name="T16" fmla="*/ 400 w 626"/>
                <a:gd name="T17" fmla="*/ 98 h 412"/>
                <a:gd name="T18" fmla="*/ 410 w 626"/>
                <a:gd name="T19" fmla="*/ 79 h 412"/>
                <a:gd name="T20" fmla="*/ 442 w 626"/>
                <a:gd name="T21" fmla="*/ 56 h 412"/>
                <a:gd name="T22" fmla="*/ 467 w 626"/>
                <a:gd name="T23" fmla="*/ 32 h 412"/>
                <a:gd name="T24" fmla="*/ 487 w 626"/>
                <a:gd name="T25" fmla="*/ 35 h 412"/>
                <a:gd name="T26" fmla="*/ 517 w 626"/>
                <a:gd name="T27" fmla="*/ 47 h 412"/>
                <a:gd name="T28" fmla="*/ 556 w 626"/>
                <a:gd name="T29" fmla="*/ 68 h 412"/>
                <a:gd name="T30" fmla="*/ 580 w 626"/>
                <a:gd name="T31" fmla="*/ 46 h 412"/>
                <a:gd name="T32" fmla="*/ 606 w 626"/>
                <a:gd name="T33" fmla="*/ 8 h 412"/>
                <a:gd name="T34" fmla="*/ 626 w 626"/>
                <a:gd name="T35" fmla="*/ 2 h 412"/>
                <a:gd name="T36" fmla="*/ 609 w 626"/>
                <a:gd name="T37" fmla="*/ 57 h 412"/>
                <a:gd name="T38" fmla="*/ 604 w 626"/>
                <a:gd name="T39" fmla="*/ 87 h 412"/>
                <a:gd name="T40" fmla="*/ 595 w 626"/>
                <a:gd name="T41" fmla="*/ 118 h 412"/>
                <a:gd name="T42" fmla="*/ 571 w 626"/>
                <a:gd name="T43" fmla="*/ 135 h 412"/>
                <a:gd name="T44" fmla="*/ 578 w 626"/>
                <a:gd name="T45" fmla="*/ 172 h 412"/>
                <a:gd name="T46" fmla="*/ 585 w 626"/>
                <a:gd name="T47" fmla="*/ 219 h 412"/>
                <a:gd name="T48" fmla="*/ 584 w 626"/>
                <a:gd name="T49" fmla="*/ 250 h 412"/>
                <a:gd name="T50" fmla="*/ 605 w 626"/>
                <a:gd name="T51" fmla="*/ 285 h 412"/>
                <a:gd name="T52" fmla="*/ 607 w 626"/>
                <a:gd name="T53" fmla="*/ 309 h 412"/>
                <a:gd name="T54" fmla="*/ 625 w 626"/>
                <a:gd name="T55" fmla="*/ 320 h 412"/>
                <a:gd name="T56" fmla="*/ 613 w 626"/>
                <a:gd name="T57" fmla="*/ 357 h 412"/>
                <a:gd name="T58" fmla="*/ 611 w 626"/>
                <a:gd name="T59" fmla="*/ 391 h 412"/>
                <a:gd name="T60" fmla="*/ 586 w 626"/>
                <a:gd name="T61" fmla="*/ 389 h 412"/>
                <a:gd name="T62" fmla="*/ 543 w 626"/>
                <a:gd name="T63" fmla="*/ 380 h 412"/>
                <a:gd name="T64" fmla="*/ 507 w 626"/>
                <a:gd name="T65" fmla="*/ 377 h 412"/>
                <a:gd name="T66" fmla="*/ 493 w 626"/>
                <a:gd name="T67" fmla="*/ 402 h 412"/>
                <a:gd name="T68" fmla="*/ 458 w 626"/>
                <a:gd name="T69" fmla="*/ 401 h 412"/>
                <a:gd name="T70" fmla="*/ 439 w 626"/>
                <a:gd name="T71" fmla="*/ 412 h 412"/>
                <a:gd name="T72" fmla="*/ 409 w 626"/>
                <a:gd name="T73" fmla="*/ 389 h 412"/>
                <a:gd name="T74" fmla="*/ 370 w 626"/>
                <a:gd name="T75" fmla="*/ 362 h 412"/>
                <a:gd name="T76" fmla="*/ 323 w 626"/>
                <a:gd name="T77" fmla="*/ 343 h 412"/>
                <a:gd name="T78" fmla="*/ 296 w 626"/>
                <a:gd name="T79" fmla="*/ 328 h 412"/>
                <a:gd name="T80" fmla="*/ 269 w 626"/>
                <a:gd name="T81" fmla="*/ 314 h 412"/>
                <a:gd name="T82" fmla="*/ 250 w 626"/>
                <a:gd name="T83" fmla="*/ 336 h 412"/>
                <a:gd name="T84" fmla="*/ 224 w 626"/>
                <a:gd name="T85" fmla="*/ 339 h 412"/>
                <a:gd name="T86" fmla="*/ 208 w 626"/>
                <a:gd name="T87" fmla="*/ 313 h 412"/>
                <a:gd name="T88" fmla="*/ 184 w 626"/>
                <a:gd name="T89" fmla="*/ 300 h 412"/>
                <a:gd name="T90" fmla="*/ 170 w 626"/>
                <a:gd name="T91" fmla="*/ 286 h 412"/>
                <a:gd name="T92" fmla="*/ 142 w 626"/>
                <a:gd name="T93" fmla="*/ 272 h 412"/>
                <a:gd name="T94" fmla="*/ 117 w 626"/>
                <a:gd name="T95" fmla="*/ 265 h 412"/>
                <a:gd name="T96" fmla="*/ 88 w 626"/>
                <a:gd name="T97" fmla="*/ 258 h 412"/>
                <a:gd name="T98" fmla="*/ 56 w 626"/>
                <a:gd name="T99" fmla="*/ 209 h 412"/>
                <a:gd name="T100" fmla="*/ 64 w 626"/>
                <a:gd name="T101" fmla="*/ 178 h 412"/>
                <a:gd name="T102" fmla="*/ 48 w 626"/>
                <a:gd name="T103" fmla="*/ 156 h 412"/>
                <a:gd name="T104" fmla="*/ 37 w 626"/>
                <a:gd name="T105" fmla="*/ 139 h 412"/>
                <a:gd name="T106" fmla="*/ 19 w 626"/>
                <a:gd name="T107" fmla="*/ 130 h 412"/>
                <a:gd name="T108" fmla="*/ 0 w 626"/>
                <a:gd name="T109" fmla="*/ 116 h 412"/>
                <a:gd name="T110" fmla="*/ 6 w 626"/>
                <a:gd name="T111" fmla="*/ 106 h 412"/>
                <a:gd name="T112" fmla="*/ 15 w 626"/>
                <a:gd name="T113" fmla="*/ 89 h 412"/>
                <a:gd name="T114" fmla="*/ 15 w 626"/>
                <a:gd name="T115" fmla="*/ 76 h 412"/>
                <a:gd name="T116" fmla="*/ 29 w 626"/>
                <a:gd name="T117" fmla="*/ 72 h 412"/>
                <a:gd name="T118" fmla="*/ 52 w 626"/>
                <a:gd name="T119" fmla="*/ 67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26" h="412">
                  <a:moveTo>
                    <a:pt x="171" y="26"/>
                  </a:moveTo>
                  <a:lnTo>
                    <a:pt x="171" y="26"/>
                  </a:lnTo>
                  <a:lnTo>
                    <a:pt x="173" y="27"/>
                  </a:lnTo>
                  <a:lnTo>
                    <a:pt x="174" y="28"/>
                  </a:lnTo>
                  <a:lnTo>
                    <a:pt x="174" y="29"/>
                  </a:lnTo>
                  <a:lnTo>
                    <a:pt x="175" y="29"/>
                  </a:lnTo>
                  <a:lnTo>
                    <a:pt x="176" y="30"/>
                  </a:lnTo>
                  <a:lnTo>
                    <a:pt x="177" y="32"/>
                  </a:lnTo>
                  <a:lnTo>
                    <a:pt x="178" y="34"/>
                  </a:lnTo>
                  <a:lnTo>
                    <a:pt x="179" y="36"/>
                  </a:lnTo>
                  <a:lnTo>
                    <a:pt x="180" y="38"/>
                  </a:lnTo>
                  <a:lnTo>
                    <a:pt x="181" y="42"/>
                  </a:lnTo>
                  <a:lnTo>
                    <a:pt x="182" y="44"/>
                  </a:lnTo>
                  <a:lnTo>
                    <a:pt x="183" y="45"/>
                  </a:lnTo>
                  <a:lnTo>
                    <a:pt x="184" y="46"/>
                  </a:lnTo>
                  <a:lnTo>
                    <a:pt x="184" y="47"/>
                  </a:lnTo>
                  <a:lnTo>
                    <a:pt x="185" y="48"/>
                  </a:lnTo>
                  <a:lnTo>
                    <a:pt x="186" y="49"/>
                  </a:lnTo>
                  <a:lnTo>
                    <a:pt x="187" y="49"/>
                  </a:lnTo>
                  <a:lnTo>
                    <a:pt x="188" y="50"/>
                  </a:lnTo>
                  <a:lnTo>
                    <a:pt x="189" y="50"/>
                  </a:lnTo>
                  <a:lnTo>
                    <a:pt x="190" y="50"/>
                  </a:lnTo>
                  <a:lnTo>
                    <a:pt x="191" y="50"/>
                  </a:lnTo>
                  <a:lnTo>
                    <a:pt x="193" y="51"/>
                  </a:lnTo>
                  <a:lnTo>
                    <a:pt x="194" y="51"/>
                  </a:lnTo>
                  <a:lnTo>
                    <a:pt x="194" y="50"/>
                  </a:lnTo>
                  <a:lnTo>
                    <a:pt x="195" y="50"/>
                  </a:lnTo>
                  <a:lnTo>
                    <a:pt x="196" y="50"/>
                  </a:lnTo>
                  <a:lnTo>
                    <a:pt x="197" y="49"/>
                  </a:lnTo>
                  <a:lnTo>
                    <a:pt x="200" y="48"/>
                  </a:lnTo>
                  <a:lnTo>
                    <a:pt x="203" y="46"/>
                  </a:lnTo>
                  <a:lnTo>
                    <a:pt x="204" y="45"/>
                  </a:lnTo>
                  <a:lnTo>
                    <a:pt x="206" y="44"/>
                  </a:lnTo>
                  <a:lnTo>
                    <a:pt x="210" y="42"/>
                  </a:lnTo>
                  <a:lnTo>
                    <a:pt x="211" y="42"/>
                  </a:lnTo>
                  <a:lnTo>
                    <a:pt x="212" y="41"/>
                  </a:lnTo>
                  <a:lnTo>
                    <a:pt x="213" y="40"/>
                  </a:lnTo>
                  <a:lnTo>
                    <a:pt x="214" y="40"/>
                  </a:lnTo>
                  <a:lnTo>
                    <a:pt x="217" y="36"/>
                  </a:lnTo>
                  <a:lnTo>
                    <a:pt x="218" y="35"/>
                  </a:lnTo>
                  <a:lnTo>
                    <a:pt x="220" y="34"/>
                  </a:lnTo>
                  <a:lnTo>
                    <a:pt x="221" y="33"/>
                  </a:lnTo>
                  <a:lnTo>
                    <a:pt x="223" y="33"/>
                  </a:lnTo>
                  <a:lnTo>
                    <a:pt x="227" y="31"/>
                  </a:lnTo>
                  <a:lnTo>
                    <a:pt x="229" y="31"/>
                  </a:lnTo>
                  <a:lnTo>
                    <a:pt x="230" y="31"/>
                  </a:lnTo>
                  <a:lnTo>
                    <a:pt x="231" y="31"/>
                  </a:lnTo>
                  <a:lnTo>
                    <a:pt x="233" y="31"/>
                  </a:lnTo>
                  <a:lnTo>
                    <a:pt x="234" y="31"/>
                  </a:lnTo>
                  <a:lnTo>
                    <a:pt x="238" y="32"/>
                  </a:lnTo>
                  <a:lnTo>
                    <a:pt x="241" y="32"/>
                  </a:lnTo>
                  <a:lnTo>
                    <a:pt x="246" y="34"/>
                  </a:lnTo>
                  <a:lnTo>
                    <a:pt x="251" y="35"/>
                  </a:lnTo>
                  <a:lnTo>
                    <a:pt x="253" y="36"/>
                  </a:lnTo>
                  <a:lnTo>
                    <a:pt x="255" y="37"/>
                  </a:lnTo>
                  <a:lnTo>
                    <a:pt x="257" y="38"/>
                  </a:lnTo>
                  <a:lnTo>
                    <a:pt x="258" y="38"/>
                  </a:lnTo>
                  <a:lnTo>
                    <a:pt x="259" y="39"/>
                  </a:lnTo>
                  <a:lnTo>
                    <a:pt x="260" y="40"/>
                  </a:lnTo>
                  <a:lnTo>
                    <a:pt x="263" y="43"/>
                  </a:lnTo>
                  <a:lnTo>
                    <a:pt x="264" y="45"/>
                  </a:lnTo>
                  <a:lnTo>
                    <a:pt x="264" y="45"/>
                  </a:lnTo>
                  <a:lnTo>
                    <a:pt x="265" y="46"/>
                  </a:lnTo>
                  <a:lnTo>
                    <a:pt x="265" y="47"/>
                  </a:lnTo>
                  <a:lnTo>
                    <a:pt x="266" y="49"/>
                  </a:lnTo>
                  <a:lnTo>
                    <a:pt x="267" y="51"/>
                  </a:lnTo>
                  <a:lnTo>
                    <a:pt x="268" y="55"/>
                  </a:lnTo>
                  <a:lnTo>
                    <a:pt x="269" y="58"/>
                  </a:lnTo>
                  <a:lnTo>
                    <a:pt x="270" y="59"/>
                  </a:lnTo>
                  <a:lnTo>
                    <a:pt x="270" y="60"/>
                  </a:lnTo>
                  <a:lnTo>
                    <a:pt x="271" y="61"/>
                  </a:lnTo>
                  <a:lnTo>
                    <a:pt x="272" y="62"/>
                  </a:lnTo>
                  <a:lnTo>
                    <a:pt x="273" y="62"/>
                  </a:lnTo>
                  <a:lnTo>
                    <a:pt x="274" y="63"/>
                  </a:lnTo>
                  <a:lnTo>
                    <a:pt x="275" y="64"/>
                  </a:lnTo>
                  <a:lnTo>
                    <a:pt x="277" y="64"/>
                  </a:lnTo>
                  <a:lnTo>
                    <a:pt x="282" y="66"/>
                  </a:lnTo>
                  <a:lnTo>
                    <a:pt x="284" y="66"/>
                  </a:lnTo>
                  <a:lnTo>
                    <a:pt x="286" y="67"/>
                  </a:lnTo>
                  <a:lnTo>
                    <a:pt x="287" y="68"/>
                  </a:lnTo>
                  <a:lnTo>
                    <a:pt x="288" y="68"/>
                  </a:lnTo>
                  <a:lnTo>
                    <a:pt x="289" y="69"/>
                  </a:lnTo>
                  <a:lnTo>
                    <a:pt x="290" y="70"/>
                  </a:lnTo>
                  <a:lnTo>
                    <a:pt x="292" y="72"/>
                  </a:lnTo>
                  <a:lnTo>
                    <a:pt x="295" y="76"/>
                  </a:lnTo>
                  <a:lnTo>
                    <a:pt x="296" y="77"/>
                  </a:lnTo>
                  <a:lnTo>
                    <a:pt x="297" y="79"/>
                  </a:lnTo>
                  <a:lnTo>
                    <a:pt x="299" y="80"/>
                  </a:lnTo>
                  <a:lnTo>
                    <a:pt x="300" y="81"/>
                  </a:lnTo>
                  <a:lnTo>
                    <a:pt x="302" y="82"/>
                  </a:lnTo>
                  <a:lnTo>
                    <a:pt x="305" y="83"/>
                  </a:lnTo>
                  <a:lnTo>
                    <a:pt x="309" y="85"/>
                  </a:lnTo>
                  <a:lnTo>
                    <a:pt x="310" y="86"/>
                  </a:lnTo>
                  <a:lnTo>
                    <a:pt x="312" y="86"/>
                  </a:lnTo>
                  <a:lnTo>
                    <a:pt x="313" y="87"/>
                  </a:lnTo>
                  <a:lnTo>
                    <a:pt x="314" y="88"/>
                  </a:lnTo>
                  <a:lnTo>
                    <a:pt x="318" y="91"/>
                  </a:lnTo>
                  <a:lnTo>
                    <a:pt x="319" y="92"/>
                  </a:lnTo>
                  <a:lnTo>
                    <a:pt x="321" y="93"/>
                  </a:lnTo>
                  <a:lnTo>
                    <a:pt x="322" y="94"/>
                  </a:lnTo>
                  <a:lnTo>
                    <a:pt x="324" y="95"/>
                  </a:lnTo>
                  <a:lnTo>
                    <a:pt x="327" y="96"/>
                  </a:lnTo>
                  <a:lnTo>
                    <a:pt x="330" y="97"/>
                  </a:lnTo>
                  <a:lnTo>
                    <a:pt x="333" y="99"/>
                  </a:lnTo>
                  <a:lnTo>
                    <a:pt x="335" y="100"/>
                  </a:lnTo>
                  <a:lnTo>
                    <a:pt x="336" y="100"/>
                  </a:lnTo>
                  <a:lnTo>
                    <a:pt x="338" y="102"/>
                  </a:lnTo>
                  <a:lnTo>
                    <a:pt x="343" y="106"/>
                  </a:lnTo>
                  <a:lnTo>
                    <a:pt x="345" y="107"/>
                  </a:lnTo>
                  <a:lnTo>
                    <a:pt x="346" y="108"/>
                  </a:lnTo>
                  <a:lnTo>
                    <a:pt x="347" y="108"/>
                  </a:lnTo>
                  <a:lnTo>
                    <a:pt x="348" y="109"/>
                  </a:lnTo>
                  <a:lnTo>
                    <a:pt x="349" y="109"/>
                  </a:lnTo>
                  <a:lnTo>
                    <a:pt x="350" y="109"/>
                  </a:lnTo>
                  <a:lnTo>
                    <a:pt x="352" y="109"/>
                  </a:lnTo>
                  <a:lnTo>
                    <a:pt x="354" y="109"/>
                  </a:lnTo>
                  <a:lnTo>
                    <a:pt x="356" y="108"/>
                  </a:lnTo>
                  <a:lnTo>
                    <a:pt x="360" y="107"/>
                  </a:lnTo>
                  <a:lnTo>
                    <a:pt x="361" y="107"/>
                  </a:lnTo>
                  <a:lnTo>
                    <a:pt x="363" y="107"/>
                  </a:lnTo>
                  <a:lnTo>
                    <a:pt x="366" y="105"/>
                  </a:lnTo>
                  <a:lnTo>
                    <a:pt x="367" y="105"/>
                  </a:lnTo>
                  <a:lnTo>
                    <a:pt x="367" y="105"/>
                  </a:lnTo>
                  <a:lnTo>
                    <a:pt x="368" y="105"/>
                  </a:lnTo>
                  <a:lnTo>
                    <a:pt x="369" y="105"/>
                  </a:lnTo>
                  <a:lnTo>
                    <a:pt x="371" y="106"/>
                  </a:lnTo>
                  <a:lnTo>
                    <a:pt x="372" y="106"/>
                  </a:lnTo>
                  <a:lnTo>
                    <a:pt x="372" y="106"/>
                  </a:lnTo>
                  <a:lnTo>
                    <a:pt x="373" y="107"/>
                  </a:lnTo>
                  <a:lnTo>
                    <a:pt x="375" y="107"/>
                  </a:lnTo>
                  <a:lnTo>
                    <a:pt x="377" y="106"/>
                  </a:lnTo>
                  <a:lnTo>
                    <a:pt x="381" y="106"/>
                  </a:lnTo>
                  <a:lnTo>
                    <a:pt x="384" y="106"/>
                  </a:lnTo>
                  <a:lnTo>
                    <a:pt x="385" y="105"/>
                  </a:lnTo>
                  <a:lnTo>
                    <a:pt x="386" y="106"/>
                  </a:lnTo>
                  <a:lnTo>
                    <a:pt x="388" y="106"/>
                  </a:lnTo>
                  <a:lnTo>
                    <a:pt x="390" y="106"/>
                  </a:lnTo>
                  <a:lnTo>
                    <a:pt x="393" y="107"/>
                  </a:lnTo>
                  <a:lnTo>
                    <a:pt x="395" y="107"/>
                  </a:lnTo>
                  <a:lnTo>
                    <a:pt x="396" y="107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9" y="107"/>
                  </a:lnTo>
                  <a:lnTo>
                    <a:pt x="400" y="107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1" y="105"/>
                  </a:lnTo>
                  <a:lnTo>
                    <a:pt x="401" y="105"/>
                  </a:lnTo>
                  <a:lnTo>
                    <a:pt x="401" y="104"/>
                  </a:lnTo>
                  <a:lnTo>
                    <a:pt x="401" y="103"/>
                  </a:lnTo>
                  <a:lnTo>
                    <a:pt x="400" y="100"/>
                  </a:lnTo>
                  <a:lnTo>
                    <a:pt x="400" y="98"/>
                  </a:lnTo>
                  <a:lnTo>
                    <a:pt x="400" y="98"/>
                  </a:lnTo>
                  <a:lnTo>
                    <a:pt x="400" y="97"/>
                  </a:lnTo>
                  <a:lnTo>
                    <a:pt x="400" y="96"/>
                  </a:lnTo>
                  <a:lnTo>
                    <a:pt x="400" y="95"/>
                  </a:lnTo>
                  <a:lnTo>
                    <a:pt x="401" y="94"/>
                  </a:lnTo>
                  <a:lnTo>
                    <a:pt x="401" y="94"/>
                  </a:lnTo>
                  <a:lnTo>
                    <a:pt x="402" y="93"/>
                  </a:lnTo>
                  <a:lnTo>
                    <a:pt x="403" y="92"/>
                  </a:lnTo>
                  <a:lnTo>
                    <a:pt x="405" y="90"/>
                  </a:lnTo>
                  <a:lnTo>
                    <a:pt x="407" y="89"/>
                  </a:lnTo>
                  <a:lnTo>
                    <a:pt x="408" y="88"/>
                  </a:lnTo>
                  <a:lnTo>
                    <a:pt x="409" y="87"/>
                  </a:lnTo>
                  <a:lnTo>
                    <a:pt x="409" y="86"/>
                  </a:lnTo>
                  <a:lnTo>
                    <a:pt x="409" y="86"/>
                  </a:lnTo>
                  <a:lnTo>
                    <a:pt x="410" y="85"/>
                  </a:lnTo>
                  <a:lnTo>
                    <a:pt x="410" y="84"/>
                  </a:lnTo>
                  <a:lnTo>
                    <a:pt x="410" y="80"/>
                  </a:lnTo>
                  <a:lnTo>
                    <a:pt x="410" y="79"/>
                  </a:lnTo>
                  <a:lnTo>
                    <a:pt x="410" y="78"/>
                  </a:lnTo>
                  <a:lnTo>
                    <a:pt x="411" y="77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3" y="74"/>
                  </a:lnTo>
                  <a:lnTo>
                    <a:pt x="414" y="73"/>
                  </a:lnTo>
                  <a:lnTo>
                    <a:pt x="415" y="72"/>
                  </a:lnTo>
                  <a:lnTo>
                    <a:pt x="417" y="71"/>
                  </a:lnTo>
                  <a:lnTo>
                    <a:pt x="420" y="69"/>
                  </a:lnTo>
                  <a:lnTo>
                    <a:pt x="422" y="68"/>
                  </a:lnTo>
                  <a:lnTo>
                    <a:pt x="424" y="66"/>
                  </a:lnTo>
                  <a:lnTo>
                    <a:pt x="428" y="63"/>
                  </a:lnTo>
                  <a:lnTo>
                    <a:pt x="430" y="62"/>
                  </a:lnTo>
                  <a:lnTo>
                    <a:pt x="431" y="61"/>
                  </a:lnTo>
                  <a:lnTo>
                    <a:pt x="434" y="60"/>
                  </a:lnTo>
                  <a:lnTo>
                    <a:pt x="438" y="58"/>
                  </a:lnTo>
                  <a:lnTo>
                    <a:pt x="442" y="56"/>
                  </a:lnTo>
                  <a:lnTo>
                    <a:pt x="443" y="56"/>
                  </a:lnTo>
                  <a:lnTo>
                    <a:pt x="444" y="54"/>
                  </a:lnTo>
                  <a:lnTo>
                    <a:pt x="445" y="54"/>
                  </a:lnTo>
                  <a:lnTo>
                    <a:pt x="448" y="52"/>
                  </a:lnTo>
                  <a:lnTo>
                    <a:pt x="451" y="51"/>
                  </a:lnTo>
                  <a:lnTo>
                    <a:pt x="453" y="50"/>
                  </a:lnTo>
                  <a:lnTo>
                    <a:pt x="455" y="49"/>
                  </a:lnTo>
                  <a:lnTo>
                    <a:pt x="457" y="47"/>
                  </a:lnTo>
                  <a:lnTo>
                    <a:pt x="458" y="46"/>
                  </a:lnTo>
                  <a:lnTo>
                    <a:pt x="460" y="45"/>
                  </a:lnTo>
                  <a:lnTo>
                    <a:pt x="461" y="43"/>
                  </a:lnTo>
                  <a:lnTo>
                    <a:pt x="462" y="42"/>
                  </a:lnTo>
                  <a:lnTo>
                    <a:pt x="462" y="41"/>
                  </a:lnTo>
                  <a:lnTo>
                    <a:pt x="463" y="39"/>
                  </a:lnTo>
                  <a:lnTo>
                    <a:pt x="466" y="34"/>
                  </a:lnTo>
                  <a:lnTo>
                    <a:pt x="466" y="32"/>
                  </a:lnTo>
                  <a:lnTo>
                    <a:pt x="467" y="32"/>
                  </a:lnTo>
                  <a:lnTo>
                    <a:pt x="468" y="31"/>
                  </a:lnTo>
                  <a:lnTo>
                    <a:pt x="468" y="30"/>
                  </a:lnTo>
                  <a:lnTo>
                    <a:pt x="469" y="29"/>
                  </a:lnTo>
                  <a:lnTo>
                    <a:pt x="470" y="29"/>
                  </a:lnTo>
                  <a:lnTo>
                    <a:pt x="471" y="29"/>
                  </a:lnTo>
                  <a:lnTo>
                    <a:pt x="471" y="28"/>
                  </a:lnTo>
                  <a:lnTo>
                    <a:pt x="472" y="28"/>
                  </a:lnTo>
                  <a:lnTo>
                    <a:pt x="473" y="28"/>
                  </a:lnTo>
                  <a:lnTo>
                    <a:pt x="474" y="28"/>
                  </a:lnTo>
                  <a:lnTo>
                    <a:pt x="475" y="28"/>
                  </a:lnTo>
                  <a:lnTo>
                    <a:pt x="476" y="29"/>
                  </a:lnTo>
                  <a:lnTo>
                    <a:pt x="477" y="29"/>
                  </a:lnTo>
                  <a:lnTo>
                    <a:pt x="478" y="30"/>
                  </a:lnTo>
                  <a:lnTo>
                    <a:pt x="480" y="31"/>
                  </a:lnTo>
                  <a:lnTo>
                    <a:pt x="481" y="31"/>
                  </a:lnTo>
                  <a:lnTo>
                    <a:pt x="484" y="33"/>
                  </a:lnTo>
                  <a:lnTo>
                    <a:pt x="487" y="35"/>
                  </a:lnTo>
                  <a:lnTo>
                    <a:pt x="489" y="36"/>
                  </a:lnTo>
                  <a:lnTo>
                    <a:pt x="492" y="37"/>
                  </a:lnTo>
                  <a:lnTo>
                    <a:pt x="499" y="40"/>
                  </a:lnTo>
                  <a:lnTo>
                    <a:pt x="501" y="41"/>
                  </a:lnTo>
                  <a:lnTo>
                    <a:pt x="503" y="41"/>
                  </a:lnTo>
                  <a:lnTo>
                    <a:pt x="505" y="42"/>
                  </a:lnTo>
                  <a:lnTo>
                    <a:pt x="506" y="42"/>
                  </a:lnTo>
                  <a:lnTo>
                    <a:pt x="507" y="42"/>
                  </a:lnTo>
                  <a:lnTo>
                    <a:pt x="507" y="42"/>
                  </a:lnTo>
                  <a:lnTo>
                    <a:pt x="508" y="41"/>
                  </a:lnTo>
                  <a:lnTo>
                    <a:pt x="508" y="41"/>
                  </a:lnTo>
                  <a:lnTo>
                    <a:pt x="509" y="41"/>
                  </a:lnTo>
                  <a:lnTo>
                    <a:pt x="510" y="42"/>
                  </a:lnTo>
                  <a:lnTo>
                    <a:pt x="511" y="42"/>
                  </a:lnTo>
                  <a:lnTo>
                    <a:pt x="512" y="43"/>
                  </a:lnTo>
                  <a:lnTo>
                    <a:pt x="515" y="45"/>
                  </a:lnTo>
                  <a:lnTo>
                    <a:pt x="517" y="47"/>
                  </a:lnTo>
                  <a:lnTo>
                    <a:pt x="518" y="48"/>
                  </a:lnTo>
                  <a:lnTo>
                    <a:pt x="520" y="49"/>
                  </a:lnTo>
                  <a:lnTo>
                    <a:pt x="524" y="54"/>
                  </a:lnTo>
                  <a:lnTo>
                    <a:pt x="526" y="55"/>
                  </a:lnTo>
                  <a:lnTo>
                    <a:pt x="528" y="57"/>
                  </a:lnTo>
                  <a:lnTo>
                    <a:pt x="530" y="58"/>
                  </a:lnTo>
                  <a:lnTo>
                    <a:pt x="531" y="59"/>
                  </a:lnTo>
                  <a:lnTo>
                    <a:pt x="532" y="60"/>
                  </a:lnTo>
                  <a:lnTo>
                    <a:pt x="534" y="61"/>
                  </a:lnTo>
                  <a:lnTo>
                    <a:pt x="536" y="62"/>
                  </a:lnTo>
                  <a:lnTo>
                    <a:pt x="538" y="63"/>
                  </a:lnTo>
                  <a:lnTo>
                    <a:pt x="543" y="65"/>
                  </a:lnTo>
                  <a:lnTo>
                    <a:pt x="548" y="66"/>
                  </a:lnTo>
                  <a:lnTo>
                    <a:pt x="552" y="67"/>
                  </a:lnTo>
                  <a:lnTo>
                    <a:pt x="553" y="68"/>
                  </a:lnTo>
                  <a:lnTo>
                    <a:pt x="554" y="68"/>
                  </a:lnTo>
                  <a:lnTo>
                    <a:pt x="556" y="68"/>
                  </a:lnTo>
                  <a:lnTo>
                    <a:pt x="557" y="68"/>
                  </a:lnTo>
                  <a:lnTo>
                    <a:pt x="558" y="68"/>
                  </a:lnTo>
                  <a:lnTo>
                    <a:pt x="559" y="68"/>
                  </a:lnTo>
                  <a:lnTo>
                    <a:pt x="560" y="68"/>
                  </a:lnTo>
                  <a:lnTo>
                    <a:pt x="561" y="67"/>
                  </a:lnTo>
                  <a:lnTo>
                    <a:pt x="562" y="67"/>
                  </a:lnTo>
                  <a:lnTo>
                    <a:pt x="563" y="67"/>
                  </a:lnTo>
                  <a:lnTo>
                    <a:pt x="564" y="66"/>
                  </a:lnTo>
                  <a:lnTo>
                    <a:pt x="566" y="65"/>
                  </a:lnTo>
                  <a:lnTo>
                    <a:pt x="567" y="63"/>
                  </a:lnTo>
                  <a:lnTo>
                    <a:pt x="568" y="62"/>
                  </a:lnTo>
                  <a:lnTo>
                    <a:pt x="570" y="60"/>
                  </a:lnTo>
                  <a:lnTo>
                    <a:pt x="575" y="52"/>
                  </a:lnTo>
                  <a:lnTo>
                    <a:pt x="576" y="50"/>
                  </a:lnTo>
                  <a:lnTo>
                    <a:pt x="578" y="49"/>
                  </a:lnTo>
                  <a:lnTo>
                    <a:pt x="579" y="48"/>
                  </a:lnTo>
                  <a:lnTo>
                    <a:pt x="580" y="46"/>
                  </a:lnTo>
                  <a:lnTo>
                    <a:pt x="585" y="43"/>
                  </a:lnTo>
                  <a:lnTo>
                    <a:pt x="587" y="40"/>
                  </a:lnTo>
                  <a:lnTo>
                    <a:pt x="589" y="38"/>
                  </a:lnTo>
                  <a:lnTo>
                    <a:pt x="591" y="36"/>
                  </a:lnTo>
                  <a:lnTo>
                    <a:pt x="592" y="35"/>
                  </a:lnTo>
                  <a:lnTo>
                    <a:pt x="594" y="32"/>
                  </a:lnTo>
                  <a:lnTo>
                    <a:pt x="595" y="30"/>
                  </a:lnTo>
                  <a:lnTo>
                    <a:pt x="596" y="28"/>
                  </a:lnTo>
                  <a:lnTo>
                    <a:pt x="597" y="26"/>
                  </a:lnTo>
                  <a:lnTo>
                    <a:pt x="598" y="24"/>
                  </a:lnTo>
                  <a:lnTo>
                    <a:pt x="601" y="17"/>
                  </a:lnTo>
                  <a:lnTo>
                    <a:pt x="601" y="16"/>
                  </a:lnTo>
                  <a:lnTo>
                    <a:pt x="602" y="14"/>
                  </a:lnTo>
                  <a:lnTo>
                    <a:pt x="603" y="12"/>
                  </a:lnTo>
                  <a:lnTo>
                    <a:pt x="604" y="11"/>
                  </a:lnTo>
                  <a:lnTo>
                    <a:pt x="605" y="10"/>
                  </a:lnTo>
                  <a:lnTo>
                    <a:pt x="606" y="8"/>
                  </a:lnTo>
                  <a:lnTo>
                    <a:pt x="608" y="7"/>
                  </a:lnTo>
                  <a:lnTo>
                    <a:pt x="609" y="6"/>
                  </a:lnTo>
                  <a:lnTo>
                    <a:pt x="611" y="5"/>
                  </a:lnTo>
                  <a:lnTo>
                    <a:pt x="613" y="4"/>
                  </a:lnTo>
                  <a:lnTo>
                    <a:pt x="614" y="3"/>
                  </a:lnTo>
                  <a:lnTo>
                    <a:pt x="616" y="2"/>
                  </a:lnTo>
                  <a:lnTo>
                    <a:pt x="617" y="1"/>
                  </a:lnTo>
                  <a:lnTo>
                    <a:pt x="618" y="1"/>
                  </a:lnTo>
                  <a:lnTo>
                    <a:pt x="619" y="0"/>
                  </a:lnTo>
                  <a:lnTo>
                    <a:pt x="621" y="0"/>
                  </a:lnTo>
                  <a:lnTo>
                    <a:pt x="622" y="0"/>
                  </a:lnTo>
                  <a:lnTo>
                    <a:pt x="623" y="0"/>
                  </a:lnTo>
                  <a:lnTo>
                    <a:pt x="624" y="0"/>
                  </a:lnTo>
                  <a:lnTo>
                    <a:pt x="625" y="1"/>
                  </a:lnTo>
                  <a:lnTo>
                    <a:pt x="625" y="1"/>
                  </a:lnTo>
                  <a:lnTo>
                    <a:pt x="626" y="2"/>
                  </a:lnTo>
                  <a:lnTo>
                    <a:pt x="626" y="2"/>
                  </a:lnTo>
                  <a:lnTo>
                    <a:pt x="626" y="2"/>
                  </a:lnTo>
                  <a:lnTo>
                    <a:pt x="626" y="4"/>
                  </a:lnTo>
                  <a:lnTo>
                    <a:pt x="626" y="6"/>
                  </a:lnTo>
                  <a:lnTo>
                    <a:pt x="626" y="8"/>
                  </a:lnTo>
                  <a:lnTo>
                    <a:pt x="626" y="10"/>
                  </a:lnTo>
                  <a:lnTo>
                    <a:pt x="625" y="12"/>
                  </a:lnTo>
                  <a:lnTo>
                    <a:pt x="625" y="14"/>
                  </a:lnTo>
                  <a:lnTo>
                    <a:pt x="624" y="16"/>
                  </a:lnTo>
                  <a:lnTo>
                    <a:pt x="624" y="18"/>
                  </a:lnTo>
                  <a:lnTo>
                    <a:pt x="621" y="24"/>
                  </a:lnTo>
                  <a:lnTo>
                    <a:pt x="620" y="29"/>
                  </a:lnTo>
                  <a:lnTo>
                    <a:pt x="616" y="40"/>
                  </a:lnTo>
                  <a:lnTo>
                    <a:pt x="614" y="45"/>
                  </a:lnTo>
                  <a:lnTo>
                    <a:pt x="613" y="47"/>
                  </a:lnTo>
                  <a:lnTo>
                    <a:pt x="612" y="51"/>
                  </a:lnTo>
                  <a:lnTo>
                    <a:pt x="610" y="56"/>
                  </a:lnTo>
                  <a:lnTo>
                    <a:pt x="609" y="57"/>
                  </a:lnTo>
                  <a:lnTo>
                    <a:pt x="607" y="60"/>
                  </a:lnTo>
                  <a:lnTo>
                    <a:pt x="607" y="61"/>
                  </a:lnTo>
                  <a:lnTo>
                    <a:pt x="607" y="62"/>
                  </a:lnTo>
                  <a:lnTo>
                    <a:pt x="606" y="63"/>
                  </a:lnTo>
                  <a:lnTo>
                    <a:pt x="606" y="64"/>
                  </a:lnTo>
                  <a:lnTo>
                    <a:pt x="606" y="66"/>
                  </a:lnTo>
                  <a:lnTo>
                    <a:pt x="606" y="68"/>
                  </a:lnTo>
                  <a:lnTo>
                    <a:pt x="607" y="73"/>
                  </a:lnTo>
                  <a:lnTo>
                    <a:pt x="607" y="74"/>
                  </a:lnTo>
                  <a:lnTo>
                    <a:pt x="607" y="76"/>
                  </a:lnTo>
                  <a:lnTo>
                    <a:pt x="607" y="77"/>
                  </a:lnTo>
                  <a:lnTo>
                    <a:pt x="607" y="78"/>
                  </a:lnTo>
                  <a:lnTo>
                    <a:pt x="605" y="82"/>
                  </a:lnTo>
                  <a:lnTo>
                    <a:pt x="605" y="84"/>
                  </a:lnTo>
                  <a:lnTo>
                    <a:pt x="605" y="85"/>
                  </a:lnTo>
                  <a:lnTo>
                    <a:pt x="605" y="86"/>
                  </a:lnTo>
                  <a:lnTo>
                    <a:pt x="604" y="87"/>
                  </a:lnTo>
                  <a:lnTo>
                    <a:pt x="605" y="89"/>
                  </a:lnTo>
                  <a:lnTo>
                    <a:pt x="605" y="90"/>
                  </a:lnTo>
                  <a:lnTo>
                    <a:pt x="605" y="93"/>
                  </a:lnTo>
                  <a:lnTo>
                    <a:pt x="606" y="95"/>
                  </a:lnTo>
                  <a:lnTo>
                    <a:pt x="606" y="100"/>
                  </a:lnTo>
                  <a:lnTo>
                    <a:pt x="606" y="102"/>
                  </a:lnTo>
                  <a:lnTo>
                    <a:pt x="606" y="103"/>
                  </a:lnTo>
                  <a:lnTo>
                    <a:pt x="606" y="104"/>
                  </a:lnTo>
                  <a:lnTo>
                    <a:pt x="606" y="106"/>
                  </a:lnTo>
                  <a:lnTo>
                    <a:pt x="605" y="108"/>
                  </a:lnTo>
                  <a:lnTo>
                    <a:pt x="604" y="109"/>
                  </a:lnTo>
                  <a:lnTo>
                    <a:pt x="604" y="110"/>
                  </a:lnTo>
                  <a:lnTo>
                    <a:pt x="603" y="111"/>
                  </a:lnTo>
                  <a:lnTo>
                    <a:pt x="602" y="112"/>
                  </a:lnTo>
                  <a:lnTo>
                    <a:pt x="601" y="113"/>
                  </a:lnTo>
                  <a:lnTo>
                    <a:pt x="600" y="115"/>
                  </a:lnTo>
                  <a:lnTo>
                    <a:pt x="595" y="118"/>
                  </a:lnTo>
                  <a:lnTo>
                    <a:pt x="594" y="120"/>
                  </a:lnTo>
                  <a:lnTo>
                    <a:pt x="590" y="123"/>
                  </a:lnTo>
                  <a:lnTo>
                    <a:pt x="589" y="124"/>
                  </a:lnTo>
                  <a:lnTo>
                    <a:pt x="588" y="126"/>
                  </a:lnTo>
                  <a:lnTo>
                    <a:pt x="587" y="127"/>
                  </a:lnTo>
                  <a:lnTo>
                    <a:pt x="586" y="129"/>
                  </a:lnTo>
                  <a:lnTo>
                    <a:pt x="584" y="130"/>
                  </a:lnTo>
                  <a:lnTo>
                    <a:pt x="584" y="131"/>
                  </a:lnTo>
                  <a:lnTo>
                    <a:pt x="583" y="131"/>
                  </a:lnTo>
                  <a:lnTo>
                    <a:pt x="582" y="132"/>
                  </a:lnTo>
                  <a:lnTo>
                    <a:pt x="581" y="132"/>
                  </a:lnTo>
                  <a:lnTo>
                    <a:pt x="579" y="133"/>
                  </a:lnTo>
                  <a:lnTo>
                    <a:pt x="576" y="133"/>
                  </a:lnTo>
                  <a:lnTo>
                    <a:pt x="574" y="133"/>
                  </a:lnTo>
                  <a:lnTo>
                    <a:pt x="573" y="134"/>
                  </a:lnTo>
                  <a:lnTo>
                    <a:pt x="572" y="134"/>
                  </a:lnTo>
                  <a:lnTo>
                    <a:pt x="571" y="135"/>
                  </a:lnTo>
                  <a:lnTo>
                    <a:pt x="571" y="135"/>
                  </a:lnTo>
                  <a:lnTo>
                    <a:pt x="570" y="136"/>
                  </a:lnTo>
                  <a:lnTo>
                    <a:pt x="570" y="136"/>
                  </a:lnTo>
                  <a:lnTo>
                    <a:pt x="570" y="137"/>
                  </a:lnTo>
                  <a:lnTo>
                    <a:pt x="569" y="137"/>
                  </a:lnTo>
                  <a:lnTo>
                    <a:pt x="569" y="138"/>
                  </a:lnTo>
                  <a:lnTo>
                    <a:pt x="569" y="139"/>
                  </a:lnTo>
                  <a:lnTo>
                    <a:pt x="569" y="140"/>
                  </a:lnTo>
                  <a:lnTo>
                    <a:pt x="570" y="142"/>
                  </a:lnTo>
                  <a:lnTo>
                    <a:pt x="570" y="144"/>
                  </a:lnTo>
                  <a:lnTo>
                    <a:pt x="572" y="149"/>
                  </a:lnTo>
                  <a:lnTo>
                    <a:pt x="573" y="153"/>
                  </a:lnTo>
                  <a:lnTo>
                    <a:pt x="574" y="156"/>
                  </a:lnTo>
                  <a:lnTo>
                    <a:pt x="576" y="163"/>
                  </a:lnTo>
                  <a:lnTo>
                    <a:pt x="576" y="166"/>
                  </a:lnTo>
                  <a:lnTo>
                    <a:pt x="577" y="168"/>
                  </a:lnTo>
                  <a:lnTo>
                    <a:pt x="578" y="172"/>
                  </a:lnTo>
                  <a:lnTo>
                    <a:pt x="581" y="179"/>
                  </a:lnTo>
                  <a:lnTo>
                    <a:pt x="583" y="185"/>
                  </a:lnTo>
                  <a:lnTo>
                    <a:pt x="584" y="187"/>
                  </a:lnTo>
                  <a:lnTo>
                    <a:pt x="584" y="189"/>
                  </a:lnTo>
                  <a:lnTo>
                    <a:pt x="585" y="191"/>
                  </a:lnTo>
                  <a:lnTo>
                    <a:pt x="585" y="197"/>
                  </a:lnTo>
                  <a:lnTo>
                    <a:pt x="585" y="201"/>
                  </a:lnTo>
                  <a:lnTo>
                    <a:pt x="586" y="203"/>
                  </a:lnTo>
                  <a:lnTo>
                    <a:pt x="586" y="205"/>
                  </a:lnTo>
                  <a:lnTo>
                    <a:pt x="587" y="210"/>
                  </a:lnTo>
                  <a:lnTo>
                    <a:pt x="587" y="212"/>
                  </a:lnTo>
                  <a:lnTo>
                    <a:pt x="587" y="213"/>
                  </a:lnTo>
                  <a:lnTo>
                    <a:pt x="587" y="215"/>
                  </a:lnTo>
                  <a:lnTo>
                    <a:pt x="587" y="216"/>
                  </a:lnTo>
                  <a:lnTo>
                    <a:pt x="586" y="217"/>
                  </a:lnTo>
                  <a:lnTo>
                    <a:pt x="586" y="218"/>
                  </a:lnTo>
                  <a:lnTo>
                    <a:pt x="585" y="219"/>
                  </a:lnTo>
                  <a:lnTo>
                    <a:pt x="583" y="223"/>
                  </a:lnTo>
                  <a:lnTo>
                    <a:pt x="581" y="224"/>
                  </a:lnTo>
                  <a:lnTo>
                    <a:pt x="581" y="226"/>
                  </a:lnTo>
                  <a:lnTo>
                    <a:pt x="580" y="227"/>
                  </a:lnTo>
                  <a:lnTo>
                    <a:pt x="580" y="228"/>
                  </a:lnTo>
                  <a:lnTo>
                    <a:pt x="580" y="230"/>
                  </a:lnTo>
                  <a:lnTo>
                    <a:pt x="579" y="231"/>
                  </a:lnTo>
                  <a:lnTo>
                    <a:pt x="579" y="233"/>
                  </a:lnTo>
                  <a:lnTo>
                    <a:pt x="579" y="234"/>
                  </a:lnTo>
                  <a:lnTo>
                    <a:pt x="579" y="235"/>
                  </a:lnTo>
                  <a:lnTo>
                    <a:pt x="579" y="238"/>
                  </a:lnTo>
                  <a:lnTo>
                    <a:pt x="579" y="239"/>
                  </a:lnTo>
                  <a:lnTo>
                    <a:pt x="579" y="241"/>
                  </a:lnTo>
                  <a:lnTo>
                    <a:pt x="580" y="242"/>
                  </a:lnTo>
                  <a:lnTo>
                    <a:pt x="580" y="244"/>
                  </a:lnTo>
                  <a:lnTo>
                    <a:pt x="581" y="245"/>
                  </a:lnTo>
                  <a:lnTo>
                    <a:pt x="584" y="250"/>
                  </a:lnTo>
                  <a:lnTo>
                    <a:pt x="585" y="252"/>
                  </a:lnTo>
                  <a:lnTo>
                    <a:pt x="586" y="253"/>
                  </a:lnTo>
                  <a:lnTo>
                    <a:pt x="586" y="254"/>
                  </a:lnTo>
                  <a:lnTo>
                    <a:pt x="587" y="256"/>
                  </a:lnTo>
                  <a:lnTo>
                    <a:pt x="588" y="260"/>
                  </a:lnTo>
                  <a:lnTo>
                    <a:pt x="589" y="262"/>
                  </a:lnTo>
                  <a:lnTo>
                    <a:pt x="590" y="265"/>
                  </a:lnTo>
                  <a:lnTo>
                    <a:pt x="592" y="268"/>
                  </a:lnTo>
                  <a:lnTo>
                    <a:pt x="593" y="269"/>
                  </a:lnTo>
                  <a:lnTo>
                    <a:pt x="594" y="271"/>
                  </a:lnTo>
                  <a:lnTo>
                    <a:pt x="596" y="274"/>
                  </a:lnTo>
                  <a:lnTo>
                    <a:pt x="599" y="277"/>
                  </a:lnTo>
                  <a:lnTo>
                    <a:pt x="602" y="280"/>
                  </a:lnTo>
                  <a:lnTo>
                    <a:pt x="603" y="281"/>
                  </a:lnTo>
                  <a:lnTo>
                    <a:pt x="604" y="283"/>
                  </a:lnTo>
                  <a:lnTo>
                    <a:pt x="605" y="284"/>
                  </a:lnTo>
                  <a:lnTo>
                    <a:pt x="605" y="285"/>
                  </a:lnTo>
                  <a:lnTo>
                    <a:pt x="605" y="286"/>
                  </a:lnTo>
                  <a:lnTo>
                    <a:pt x="606" y="290"/>
                  </a:lnTo>
                  <a:lnTo>
                    <a:pt x="606" y="291"/>
                  </a:lnTo>
                  <a:lnTo>
                    <a:pt x="606" y="292"/>
                  </a:lnTo>
                  <a:lnTo>
                    <a:pt x="608" y="296"/>
                  </a:lnTo>
                  <a:lnTo>
                    <a:pt x="608" y="297"/>
                  </a:lnTo>
                  <a:lnTo>
                    <a:pt x="608" y="298"/>
                  </a:lnTo>
                  <a:lnTo>
                    <a:pt x="608" y="299"/>
                  </a:lnTo>
                  <a:lnTo>
                    <a:pt x="608" y="301"/>
                  </a:lnTo>
                  <a:lnTo>
                    <a:pt x="608" y="302"/>
                  </a:lnTo>
                  <a:lnTo>
                    <a:pt x="607" y="305"/>
                  </a:lnTo>
                  <a:lnTo>
                    <a:pt x="606" y="306"/>
                  </a:lnTo>
                  <a:lnTo>
                    <a:pt x="606" y="307"/>
                  </a:lnTo>
                  <a:lnTo>
                    <a:pt x="606" y="308"/>
                  </a:lnTo>
                  <a:lnTo>
                    <a:pt x="607" y="308"/>
                  </a:lnTo>
                  <a:lnTo>
                    <a:pt x="607" y="308"/>
                  </a:lnTo>
                  <a:lnTo>
                    <a:pt x="607" y="309"/>
                  </a:lnTo>
                  <a:lnTo>
                    <a:pt x="608" y="309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11" y="310"/>
                  </a:lnTo>
                  <a:lnTo>
                    <a:pt x="612" y="310"/>
                  </a:lnTo>
                  <a:lnTo>
                    <a:pt x="616" y="311"/>
                  </a:lnTo>
                  <a:lnTo>
                    <a:pt x="618" y="311"/>
                  </a:lnTo>
                  <a:lnTo>
                    <a:pt x="618" y="312"/>
                  </a:lnTo>
                  <a:lnTo>
                    <a:pt x="619" y="312"/>
                  </a:lnTo>
                  <a:lnTo>
                    <a:pt x="620" y="313"/>
                  </a:lnTo>
                  <a:lnTo>
                    <a:pt x="621" y="314"/>
                  </a:lnTo>
                  <a:lnTo>
                    <a:pt x="622" y="315"/>
                  </a:lnTo>
                  <a:lnTo>
                    <a:pt x="623" y="315"/>
                  </a:lnTo>
                  <a:lnTo>
                    <a:pt x="624" y="316"/>
                  </a:lnTo>
                  <a:lnTo>
                    <a:pt x="624" y="318"/>
                  </a:lnTo>
                  <a:lnTo>
                    <a:pt x="625" y="319"/>
                  </a:lnTo>
                  <a:lnTo>
                    <a:pt x="625" y="320"/>
                  </a:lnTo>
                  <a:lnTo>
                    <a:pt x="626" y="322"/>
                  </a:lnTo>
                  <a:lnTo>
                    <a:pt x="626" y="327"/>
                  </a:lnTo>
                  <a:lnTo>
                    <a:pt x="626" y="329"/>
                  </a:lnTo>
                  <a:lnTo>
                    <a:pt x="626" y="330"/>
                  </a:lnTo>
                  <a:lnTo>
                    <a:pt x="626" y="333"/>
                  </a:lnTo>
                  <a:lnTo>
                    <a:pt x="626" y="335"/>
                  </a:lnTo>
                  <a:lnTo>
                    <a:pt x="625" y="338"/>
                  </a:lnTo>
                  <a:lnTo>
                    <a:pt x="625" y="340"/>
                  </a:lnTo>
                  <a:lnTo>
                    <a:pt x="624" y="341"/>
                  </a:lnTo>
                  <a:lnTo>
                    <a:pt x="624" y="342"/>
                  </a:lnTo>
                  <a:lnTo>
                    <a:pt x="623" y="344"/>
                  </a:lnTo>
                  <a:lnTo>
                    <a:pt x="622" y="345"/>
                  </a:lnTo>
                  <a:lnTo>
                    <a:pt x="619" y="349"/>
                  </a:lnTo>
                  <a:lnTo>
                    <a:pt x="615" y="354"/>
                  </a:lnTo>
                  <a:lnTo>
                    <a:pt x="615" y="355"/>
                  </a:lnTo>
                  <a:lnTo>
                    <a:pt x="614" y="356"/>
                  </a:lnTo>
                  <a:lnTo>
                    <a:pt x="613" y="357"/>
                  </a:lnTo>
                  <a:lnTo>
                    <a:pt x="612" y="359"/>
                  </a:lnTo>
                  <a:lnTo>
                    <a:pt x="612" y="360"/>
                  </a:lnTo>
                  <a:lnTo>
                    <a:pt x="611" y="362"/>
                  </a:lnTo>
                  <a:lnTo>
                    <a:pt x="611" y="363"/>
                  </a:lnTo>
                  <a:lnTo>
                    <a:pt x="611" y="365"/>
                  </a:lnTo>
                  <a:lnTo>
                    <a:pt x="611" y="366"/>
                  </a:lnTo>
                  <a:lnTo>
                    <a:pt x="611" y="368"/>
                  </a:lnTo>
                  <a:lnTo>
                    <a:pt x="611" y="369"/>
                  </a:lnTo>
                  <a:lnTo>
                    <a:pt x="612" y="371"/>
                  </a:lnTo>
                  <a:lnTo>
                    <a:pt x="614" y="376"/>
                  </a:lnTo>
                  <a:lnTo>
                    <a:pt x="614" y="377"/>
                  </a:lnTo>
                  <a:lnTo>
                    <a:pt x="614" y="377"/>
                  </a:lnTo>
                  <a:lnTo>
                    <a:pt x="614" y="379"/>
                  </a:lnTo>
                  <a:lnTo>
                    <a:pt x="613" y="381"/>
                  </a:lnTo>
                  <a:lnTo>
                    <a:pt x="612" y="385"/>
                  </a:lnTo>
                  <a:lnTo>
                    <a:pt x="611" y="388"/>
                  </a:lnTo>
                  <a:lnTo>
                    <a:pt x="611" y="391"/>
                  </a:lnTo>
                  <a:lnTo>
                    <a:pt x="611" y="394"/>
                  </a:lnTo>
                  <a:lnTo>
                    <a:pt x="611" y="395"/>
                  </a:lnTo>
                  <a:lnTo>
                    <a:pt x="611" y="395"/>
                  </a:lnTo>
                  <a:lnTo>
                    <a:pt x="611" y="395"/>
                  </a:lnTo>
                  <a:lnTo>
                    <a:pt x="610" y="395"/>
                  </a:lnTo>
                  <a:lnTo>
                    <a:pt x="610" y="395"/>
                  </a:lnTo>
                  <a:lnTo>
                    <a:pt x="608" y="396"/>
                  </a:lnTo>
                  <a:lnTo>
                    <a:pt x="606" y="396"/>
                  </a:lnTo>
                  <a:lnTo>
                    <a:pt x="604" y="395"/>
                  </a:lnTo>
                  <a:lnTo>
                    <a:pt x="602" y="395"/>
                  </a:lnTo>
                  <a:lnTo>
                    <a:pt x="600" y="395"/>
                  </a:lnTo>
                  <a:lnTo>
                    <a:pt x="598" y="394"/>
                  </a:lnTo>
                  <a:lnTo>
                    <a:pt x="595" y="393"/>
                  </a:lnTo>
                  <a:lnTo>
                    <a:pt x="593" y="392"/>
                  </a:lnTo>
                  <a:lnTo>
                    <a:pt x="590" y="391"/>
                  </a:lnTo>
                  <a:lnTo>
                    <a:pt x="588" y="390"/>
                  </a:lnTo>
                  <a:lnTo>
                    <a:pt x="586" y="389"/>
                  </a:lnTo>
                  <a:lnTo>
                    <a:pt x="576" y="385"/>
                  </a:lnTo>
                  <a:lnTo>
                    <a:pt x="572" y="383"/>
                  </a:lnTo>
                  <a:lnTo>
                    <a:pt x="571" y="382"/>
                  </a:lnTo>
                  <a:lnTo>
                    <a:pt x="569" y="381"/>
                  </a:lnTo>
                  <a:lnTo>
                    <a:pt x="567" y="381"/>
                  </a:lnTo>
                  <a:lnTo>
                    <a:pt x="565" y="380"/>
                  </a:lnTo>
                  <a:lnTo>
                    <a:pt x="563" y="380"/>
                  </a:lnTo>
                  <a:lnTo>
                    <a:pt x="562" y="380"/>
                  </a:lnTo>
                  <a:lnTo>
                    <a:pt x="558" y="379"/>
                  </a:lnTo>
                  <a:lnTo>
                    <a:pt x="555" y="379"/>
                  </a:lnTo>
                  <a:lnTo>
                    <a:pt x="553" y="379"/>
                  </a:lnTo>
                  <a:lnTo>
                    <a:pt x="552" y="379"/>
                  </a:lnTo>
                  <a:lnTo>
                    <a:pt x="550" y="379"/>
                  </a:lnTo>
                  <a:lnTo>
                    <a:pt x="546" y="380"/>
                  </a:lnTo>
                  <a:lnTo>
                    <a:pt x="545" y="380"/>
                  </a:lnTo>
                  <a:lnTo>
                    <a:pt x="544" y="380"/>
                  </a:lnTo>
                  <a:lnTo>
                    <a:pt x="543" y="380"/>
                  </a:lnTo>
                  <a:lnTo>
                    <a:pt x="542" y="380"/>
                  </a:lnTo>
                  <a:lnTo>
                    <a:pt x="539" y="378"/>
                  </a:lnTo>
                  <a:lnTo>
                    <a:pt x="537" y="378"/>
                  </a:lnTo>
                  <a:lnTo>
                    <a:pt x="535" y="378"/>
                  </a:lnTo>
                  <a:lnTo>
                    <a:pt x="534" y="378"/>
                  </a:lnTo>
                  <a:lnTo>
                    <a:pt x="533" y="378"/>
                  </a:lnTo>
                  <a:lnTo>
                    <a:pt x="532" y="378"/>
                  </a:lnTo>
                  <a:lnTo>
                    <a:pt x="528" y="379"/>
                  </a:lnTo>
                  <a:lnTo>
                    <a:pt x="526" y="380"/>
                  </a:lnTo>
                  <a:lnTo>
                    <a:pt x="524" y="380"/>
                  </a:lnTo>
                  <a:lnTo>
                    <a:pt x="522" y="380"/>
                  </a:lnTo>
                  <a:lnTo>
                    <a:pt x="518" y="380"/>
                  </a:lnTo>
                  <a:lnTo>
                    <a:pt x="515" y="379"/>
                  </a:lnTo>
                  <a:lnTo>
                    <a:pt x="513" y="379"/>
                  </a:lnTo>
                  <a:lnTo>
                    <a:pt x="509" y="378"/>
                  </a:lnTo>
                  <a:lnTo>
                    <a:pt x="507" y="377"/>
                  </a:lnTo>
                  <a:lnTo>
                    <a:pt x="507" y="377"/>
                  </a:lnTo>
                  <a:lnTo>
                    <a:pt x="506" y="377"/>
                  </a:lnTo>
                  <a:lnTo>
                    <a:pt x="506" y="377"/>
                  </a:lnTo>
                  <a:lnTo>
                    <a:pt x="506" y="377"/>
                  </a:lnTo>
                  <a:lnTo>
                    <a:pt x="505" y="378"/>
                  </a:lnTo>
                  <a:lnTo>
                    <a:pt x="504" y="379"/>
                  </a:lnTo>
                  <a:lnTo>
                    <a:pt x="504" y="381"/>
                  </a:lnTo>
                  <a:lnTo>
                    <a:pt x="503" y="384"/>
                  </a:lnTo>
                  <a:lnTo>
                    <a:pt x="500" y="395"/>
                  </a:lnTo>
                  <a:lnTo>
                    <a:pt x="500" y="397"/>
                  </a:lnTo>
                  <a:lnTo>
                    <a:pt x="499" y="398"/>
                  </a:lnTo>
                  <a:lnTo>
                    <a:pt x="498" y="400"/>
                  </a:lnTo>
                  <a:lnTo>
                    <a:pt x="498" y="400"/>
                  </a:lnTo>
                  <a:lnTo>
                    <a:pt x="497" y="401"/>
                  </a:lnTo>
                  <a:lnTo>
                    <a:pt x="496" y="402"/>
                  </a:lnTo>
                  <a:lnTo>
                    <a:pt x="496" y="402"/>
                  </a:lnTo>
                  <a:lnTo>
                    <a:pt x="495" y="402"/>
                  </a:lnTo>
                  <a:lnTo>
                    <a:pt x="493" y="402"/>
                  </a:lnTo>
                  <a:lnTo>
                    <a:pt x="491" y="403"/>
                  </a:lnTo>
                  <a:lnTo>
                    <a:pt x="488" y="403"/>
                  </a:lnTo>
                  <a:lnTo>
                    <a:pt x="486" y="402"/>
                  </a:lnTo>
                  <a:lnTo>
                    <a:pt x="484" y="402"/>
                  </a:lnTo>
                  <a:lnTo>
                    <a:pt x="478" y="401"/>
                  </a:lnTo>
                  <a:lnTo>
                    <a:pt x="477" y="401"/>
                  </a:lnTo>
                  <a:lnTo>
                    <a:pt x="476" y="401"/>
                  </a:lnTo>
                  <a:lnTo>
                    <a:pt x="475" y="401"/>
                  </a:lnTo>
                  <a:lnTo>
                    <a:pt x="473" y="401"/>
                  </a:lnTo>
                  <a:lnTo>
                    <a:pt x="469" y="402"/>
                  </a:lnTo>
                  <a:lnTo>
                    <a:pt x="467" y="402"/>
                  </a:lnTo>
                  <a:lnTo>
                    <a:pt x="464" y="403"/>
                  </a:lnTo>
                  <a:lnTo>
                    <a:pt x="462" y="403"/>
                  </a:lnTo>
                  <a:lnTo>
                    <a:pt x="461" y="403"/>
                  </a:lnTo>
                  <a:lnTo>
                    <a:pt x="460" y="403"/>
                  </a:lnTo>
                  <a:lnTo>
                    <a:pt x="459" y="402"/>
                  </a:lnTo>
                  <a:lnTo>
                    <a:pt x="458" y="401"/>
                  </a:lnTo>
                  <a:lnTo>
                    <a:pt x="456" y="401"/>
                  </a:lnTo>
                  <a:lnTo>
                    <a:pt x="456" y="401"/>
                  </a:lnTo>
                  <a:lnTo>
                    <a:pt x="455" y="401"/>
                  </a:lnTo>
                  <a:lnTo>
                    <a:pt x="454" y="401"/>
                  </a:lnTo>
                  <a:lnTo>
                    <a:pt x="453" y="401"/>
                  </a:lnTo>
                  <a:lnTo>
                    <a:pt x="452" y="401"/>
                  </a:lnTo>
                  <a:lnTo>
                    <a:pt x="451" y="402"/>
                  </a:lnTo>
                  <a:lnTo>
                    <a:pt x="449" y="402"/>
                  </a:lnTo>
                  <a:lnTo>
                    <a:pt x="448" y="403"/>
                  </a:lnTo>
                  <a:lnTo>
                    <a:pt x="447" y="404"/>
                  </a:lnTo>
                  <a:lnTo>
                    <a:pt x="447" y="404"/>
                  </a:lnTo>
                  <a:lnTo>
                    <a:pt x="444" y="407"/>
                  </a:lnTo>
                  <a:lnTo>
                    <a:pt x="443" y="409"/>
                  </a:lnTo>
                  <a:lnTo>
                    <a:pt x="441" y="410"/>
                  </a:lnTo>
                  <a:lnTo>
                    <a:pt x="440" y="411"/>
                  </a:lnTo>
                  <a:lnTo>
                    <a:pt x="439" y="412"/>
                  </a:lnTo>
                  <a:lnTo>
                    <a:pt x="439" y="412"/>
                  </a:lnTo>
                  <a:lnTo>
                    <a:pt x="438" y="412"/>
                  </a:lnTo>
                  <a:lnTo>
                    <a:pt x="437" y="412"/>
                  </a:lnTo>
                  <a:lnTo>
                    <a:pt x="437" y="412"/>
                  </a:lnTo>
                  <a:lnTo>
                    <a:pt x="436" y="412"/>
                  </a:lnTo>
                  <a:lnTo>
                    <a:pt x="436" y="412"/>
                  </a:lnTo>
                  <a:lnTo>
                    <a:pt x="435" y="412"/>
                  </a:lnTo>
                  <a:lnTo>
                    <a:pt x="435" y="411"/>
                  </a:lnTo>
                  <a:lnTo>
                    <a:pt x="429" y="403"/>
                  </a:lnTo>
                  <a:lnTo>
                    <a:pt x="428" y="401"/>
                  </a:lnTo>
                  <a:lnTo>
                    <a:pt x="426" y="400"/>
                  </a:lnTo>
                  <a:lnTo>
                    <a:pt x="425" y="399"/>
                  </a:lnTo>
                  <a:lnTo>
                    <a:pt x="424" y="398"/>
                  </a:lnTo>
                  <a:lnTo>
                    <a:pt x="420" y="395"/>
                  </a:lnTo>
                  <a:lnTo>
                    <a:pt x="415" y="392"/>
                  </a:lnTo>
                  <a:lnTo>
                    <a:pt x="413" y="391"/>
                  </a:lnTo>
                  <a:lnTo>
                    <a:pt x="411" y="390"/>
                  </a:lnTo>
                  <a:lnTo>
                    <a:pt x="409" y="389"/>
                  </a:lnTo>
                  <a:lnTo>
                    <a:pt x="404" y="387"/>
                  </a:lnTo>
                  <a:lnTo>
                    <a:pt x="398" y="386"/>
                  </a:lnTo>
                  <a:lnTo>
                    <a:pt x="397" y="385"/>
                  </a:lnTo>
                  <a:lnTo>
                    <a:pt x="394" y="385"/>
                  </a:lnTo>
                  <a:lnTo>
                    <a:pt x="393" y="384"/>
                  </a:lnTo>
                  <a:lnTo>
                    <a:pt x="392" y="384"/>
                  </a:lnTo>
                  <a:lnTo>
                    <a:pt x="391" y="384"/>
                  </a:lnTo>
                  <a:lnTo>
                    <a:pt x="389" y="382"/>
                  </a:lnTo>
                  <a:lnTo>
                    <a:pt x="387" y="381"/>
                  </a:lnTo>
                  <a:lnTo>
                    <a:pt x="386" y="379"/>
                  </a:lnTo>
                  <a:lnTo>
                    <a:pt x="384" y="378"/>
                  </a:lnTo>
                  <a:lnTo>
                    <a:pt x="382" y="375"/>
                  </a:lnTo>
                  <a:lnTo>
                    <a:pt x="381" y="373"/>
                  </a:lnTo>
                  <a:lnTo>
                    <a:pt x="379" y="371"/>
                  </a:lnTo>
                  <a:lnTo>
                    <a:pt x="374" y="365"/>
                  </a:lnTo>
                  <a:lnTo>
                    <a:pt x="372" y="364"/>
                  </a:lnTo>
                  <a:lnTo>
                    <a:pt x="370" y="362"/>
                  </a:lnTo>
                  <a:lnTo>
                    <a:pt x="368" y="361"/>
                  </a:lnTo>
                  <a:lnTo>
                    <a:pt x="366" y="359"/>
                  </a:lnTo>
                  <a:lnTo>
                    <a:pt x="364" y="358"/>
                  </a:lnTo>
                  <a:lnTo>
                    <a:pt x="362" y="357"/>
                  </a:lnTo>
                  <a:lnTo>
                    <a:pt x="356" y="355"/>
                  </a:lnTo>
                  <a:lnTo>
                    <a:pt x="351" y="351"/>
                  </a:lnTo>
                  <a:lnTo>
                    <a:pt x="349" y="351"/>
                  </a:lnTo>
                  <a:lnTo>
                    <a:pt x="348" y="351"/>
                  </a:lnTo>
                  <a:lnTo>
                    <a:pt x="344" y="349"/>
                  </a:lnTo>
                  <a:lnTo>
                    <a:pt x="339" y="348"/>
                  </a:lnTo>
                  <a:lnTo>
                    <a:pt x="333" y="346"/>
                  </a:lnTo>
                  <a:lnTo>
                    <a:pt x="332" y="346"/>
                  </a:lnTo>
                  <a:lnTo>
                    <a:pt x="328" y="344"/>
                  </a:lnTo>
                  <a:lnTo>
                    <a:pt x="327" y="344"/>
                  </a:lnTo>
                  <a:lnTo>
                    <a:pt x="326" y="343"/>
                  </a:lnTo>
                  <a:lnTo>
                    <a:pt x="325" y="343"/>
                  </a:lnTo>
                  <a:lnTo>
                    <a:pt x="323" y="343"/>
                  </a:lnTo>
                  <a:lnTo>
                    <a:pt x="317" y="343"/>
                  </a:lnTo>
                  <a:lnTo>
                    <a:pt x="315" y="343"/>
                  </a:lnTo>
                  <a:lnTo>
                    <a:pt x="314" y="342"/>
                  </a:lnTo>
                  <a:lnTo>
                    <a:pt x="313" y="342"/>
                  </a:lnTo>
                  <a:lnTo>
                    <a:pt x="312" y="342"/>
                  </a:lnTo>
                  <a:lnTo>
                    <a:pt x="312" y="342"/>
                  </a:lnTo>
                  <a:lnTo>
                    <a:pt x="311" y="341"/>
                  </a:lnTo>
                  <a:lnTo>
                    <a:pt x="310" y="341"/>
                  </a:lnTo>
                  <a:lnTo>
                    <a:pt x="309" y="340"/>
                  </a:lnTo>
                  <a:lnTo>
                    <a:pt x="307" y="338"/>
                  </a:lnTo>
                  <a:lnTo>
                    <a:pt x="304" y="334"/>
                  </a:lnTo>
                  <a:lnTo>
                    <a:pt x="302" y="333"/>
                  </a:lnTo>
                  <a:lnTo>
                    <a:pt x="300" y="331"/>
                  </a:lnTo>
                  <a:lnTo>
                    <a:pt x="299" y="330"/>
                  </a:lnTo>
                  <a:lnTo>
                    <a:pt x="298" y="329"/>
                  </a:lnTo>
                  <a:lnTo>
                    <a:pt x="297" y="329"/>
                  </a:lnTo>
                  <a:lnTo>
                    <a:pt x="296" y="328"/>
                  </a:lnTo>
                  <a:lnTo>
                    <a:pt x="295" y="327"/>
                  </a:lnTo>
                  <a:lnTo>
                    <a:pt x="293" y="327"/>
                  </a:lnTo>
                  <a:lnTo>
                    <a:pt x="291" y="326"/>
                  </a:lnTo>
                  <a:lnTo>
                    <a:pt x="287" y="325"/>
                  </a:lnTo>
                  <a:lnTo>
                    <a:pt x="284" y="325"/>
                  </a:lnTo>
                  <a:lnTo>
                    <a:pt x="282" y="324"/>
                  </a:lnTo>
                  <a:lnTo>
                    <a:pt x="280" y="323"/>
                  </a:lnTo>
                  <a:lnTo>
                    <a:pt x="279" y="323"/>
                  </a:lnTo>
                  <a:lnTo>
                    <a:pt x="278" y="322"/>
                  </a:lnTo>
                  <a:lnTo>
                    <a:pt x="277" y="321"/>
                  </a:lnTo>
                  <a:lnTo>
                    <a:pt x="276" y="321"/>
                  </a:lnTo>
                  <a:lnTo>
                    <a:pt x="275" y="320"/>
                  </a:lnTo>
                  <a:lnTo>
                    <a:pt x="274" y="319"/>
                  </a:lnTo>
                  <a:lnTo>
                    <a:pt x="273" y="318"/>
                  </a:lnTo>
                  <a:lnTo>
                    <a:pt x="271" y="315"/>
                  </a:lnTo>
                  <a:lnTo>
                    <a:pt x="270" y="314"/>
                  </a:lnTo>
                  <a:lnTo>
                    <a:pt x="269" y="314"/>
                  </a:lnTo>
                  <a:lnTo>
                    <a:pt x="268" y="313"/>
                  </a:lnTo>
                  <a:lnTo>
                    <a:pt x="268" y="313"/>
                  </a:lnTo>
                  <a:lnTo>
                    <a:pt x="267" y="313"/>
                  </a:lnTo>
                  <a:lnTo>
                    <a:pt x="266" y="313"/>
                  </a:lnTo>
                  <a:lnTo>
                    <a:pt x="265" y="314"/>
                  </a:lnTo>
                  <a:lnTo>
                    <a:pt x="264" y="315"/>
                  </a:lnTo>
                  <a:lnTo>
                    <a:pt x="263" y="316"/>
                  </a:lnTo>
                  <a:lnTo>
                    <a:pt x="261" y="318"/>
                  </a:lnTo>
                  <a:lnTo>
                    <a:pt x="260" y="319"/>
                  </a:lnTo>
                  <a:lnTo>
                    <a:pt x="259" y="321"/>
                  </a:lnTo>
                  <a:lnTo>
                    <a:pt x="257" y="323"/>
                  </a:lnTo>
                  <a:lnTo>
                    <a:pt x="256" y="326"/>
                  </a:lnTo>
                  <a:lnTo>
                    <a:pt x="254" y="330"/>
                  </a:lnTo>
                  <a:lnTo>
                    <a:pt x="254" y="331"/>
                  </a:lnTo>
                  <a:lnTo>
                    <a:pt x="253" y="332"/>
                  </a:lnTo>
                  <a:lnTo>
                    <a:pt x="252" y="334"/>
                  </a:lnTo>
                  <a:lnTo>
                    <a:pt x="250" y="336"/>
                  </a:lnTo>
                  <a:lnTo>
                    <a:pt x="248" y="340"/>
                  </a:lnTo>
                  <a:lnTo>
                    <a:pt x="247" y="340"/>
                  </a:lnTo>
                  <a:lnTo>
                    <a:pt x="246" y="341"/>
                  </a:lnTo>
                  <a:lnTo>
                    <a:pt x="245" y="342"/>
                  </a:lnTo>
                  <a:lnTo>
                    <a:pt x="245" y="342"/>
                  </a:lnTo>
                  <a:lnTo>
                    <a:pt x="243" y="343"/>
                  </a:lnTo>
                  <a:lnTo>
                    <a:pt x="242" y="343"/>
                  </a:lnTo>
                  <a:lnTo>
                    <a:pt x="241" y="343"/>
                  </a:lnTo>
                  <a:lnTo>
                    <a:pt x="239" y="343"/>
                  </a:lnTo>
                  <a:lnTo>
                    <a:pt x="237" y="343"/>
                  </a:lnTo>
                  <a:lnTo>
                    <a:pt x="235" y="343"/>
                  </a:lnTo>
                  <a:lnTo>
                    <a:pt x="234" y="343"/>
                  </a:lnTo>
                  <a:lnTo>
                    <a:pt x="233" y="343"/>
                  </a:lnTo>
                  <a:lnTo>
                    <a:pt x="232" y="342"/>
                  </a:lnTo>
                  <a:lnTo>
                    <a:pt x="231" y="342"/>
                  </a:lnTo>
                  <a:lnTo>
                    <a:pt x="229" y="341"/>
                  </a:lnTo>
                  <a:lnTo>
                    <a:pt x="224" y="339"/>
                  </a:lnTo>
                  <a:lnTo>
                    <a:pt x="216" y="334"/>
                  </a:lnTo>
                  <a:lnTo>
                    <a:pt x="213" y="333"/>
                  </a:lnTo>
                  <a:lnTo>
                    <a:pt x="212" y="332"/>
                  </a:lnTo>
                  <a:lnTo>
                    <a:pt x="211" y="331"/>
                  </a:lnTo>
                  <a:lnTo>
                    <a:pt x="210" y="330"/>
                  </a:lnTo>
                  <a:lnTo>
                    <a:pt x="209" y="329"/>
                  </a:lnTo>
                  <a:lnTo>
                    <a:pt x="208" y="327"/>
                  </a:lnTo>
                  <a:lnTo>
                    <a:pt x="207" y="326"/>
                  </a:lnTo>
                  <a:lnTo>
                    <a:pt x="207" y="325"/>
                  </a:lnTo>
                  <a:lnTo>
                    <a:pt x="207" y="323"/>
                  </a:lnTo>
                  <a:lnTo>
                    <a:pt x="207" y="322"/>
                  </a:lnTo>
                  <a:lnTo>
                    <a:pt x="207" y="320"/>
                  </a:lnTo>
                  <a:lnTo>
                    <a:pt x="207" y="318"/>
                  </a:lnTo>
                  <a:lnTo>
                    <a:pt x="208" y="315"/>
                  </a:lnTo>
                  <a:lnTo>
                    <a:pt x="208" y="314"/>
                  </a:lnTo>
                  <a:lnTo>
                    <a:pt x="208" y="314"/>
                  </a:lnTo>
                  <a:lnTo>
                    <a:pt x="208" y="313"/>
                  </a:lnTo>
                  <a:lnTo>
                    <a:pt x="208" y="312"/>
                  </a:lnTo>
                  <a:lnTo>
                    <a:pt x="208" y="311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06" y="310"/>
                  </a:lnTo>
                  <a:lnTo>
                    <a:pt x="203" y="309"/>
                  </a:lnTo>
                  <a:lnTo>
                    <a:pt x="202" y="309"/>
                  </a:lnTo>
                  <a:lnTo>
                    <a:pt x="200" y="308"/>
                  </a:lnTo>
                  <a:lnTo>
                    <a:pt x="199" y="308"/>
                  </a:lnTo>
                  <a:lnTo>
                    <a:pt x="197" y="307"/>
                  </a:lnTo>
                  <a:lnTo>
                    <a:pt x="196" y="306"/>
                  </a:lnTo>
                  <a:lnTo>
                    <a:pt x="194" y="305"/>
                  </a:lnTo>
                  <a:lnTo>
                    <a:pt x="191" y="303"/>
                  </a:lnTo>
                  <a:lnTo>
                    <a:pt x="190" y="302"/>
                  </a:lnTo>
                  <a:lnTo>
                    <a:pt x="188" y="301"/>
                  </a:lnTo>
                  <a:lnTo>
                    <a:pt x="186" y="301"/>
                  </a:lnTo>
                  <a:lnTo>
                    <a:pt x="184" y="300"/>
                  </a:lnTo>
                  <a:lnTo>
                    <a:pt x="182" y="299"/>
                  </a:lnTo>
                  <a:lnTo>
                    <a:pt x="180" y="299"/>
                  </a:lnTo>
                  <a:lnTo>
                    <a:pt x="178" y="298"/>
                  </a:lnTo>
                  <a:lnTo>
                    <a:pt x="177" y="298"/>
                  </a:lnTo>
                  <a:lnTo>
                    <a:pt x="176" y="297"/>
                  </a:lnTo>
                  <a:lnTo>
                    <a:pt x="175" y="297"/>
                  </a:lnTo>
                  <a:lnTo>
                    <a:pt x="174" y="296"/>
                  </a:lnTo>
                  <a:lnTo>
                    <a:pt x="174" y="296"/>
                  </a:lnTo>
                  <a:lnTo>
                    <a:pt x="173" y="295"/>
                  </a:lnTo>
                  <a:lnTo>
                    <a:pt x="173" y="294"/>
                  </a:lnTo>
                  <a:lnTo>
                    <a:pt x="172" y="293"/>
                  </a:lnTo>
                  <a:lnTo>
                    <a:pt x="171" y="289"/>
                  </a:lnTo>
                  <a:lnTo>
                    <a:pt x="171" y="288"/>
                  </a:lnTo>
                  <a:lnTo>
                    <a:pt x="171" y="288"/>
                  </a:lnTo>
                  <a:lnTo>
                    <a:pt x="170" y="287"/>
                  </a:lnTo>
                  <a:lnTo>
                    <a:pt x="170" y="287"/>
                  </a:lnTo>
                  <a:lnTo>
                    <a:pt x="170" y="286"/>
                  </a:lnTo>
                  <a:lnTo>
                    <a:pt x="169" y="286"/>
                  </a:lnTo>
                  <a:lnTo>
                    <a:pt x="168" y="286"/>
                  </a:lnTo>
                  <a:lnTo>
                    <a:pt x="167" y="285"/>
                  </a:lnTo>
                  <a:lnTo>
                    <a:pt x="164" y="284"/>
                  </a:lnTo>
                  <a:lnTo>
                    <a:pt x="162" y="283"/>
                  </a:lnTo>
                  <a:lnTo>
                    <a:pt x="158" y="283"/>
                  </a:lnTo>
                  <a:lnTo>
                    <a:pt x="157" y="282"/>
                  </a:lnTo>
                  <a:lnTo>
                    <a:pt x="155" y="282"/>
                  </a:lnTo>
                  <a:lnTo>
                    <a:pt x="154" y="281"/>
                  </a:lnTo>
                  <a:lnTo>
                    <a:pt x="152" y="280"/>
                  </a:lnTo>
                  <a:lnTo>
                    <a:pt x="150" y="279"/>
                  </a:lnTo>
                  <a:lnTo>
                    <a:pt x="149" y="278"/>
                  </a:lnTo>
                  <a:lnTo>
                    <a:pt x="148" y="277"/>
                  </a:lnTo>
                  <a:lnTo>
                    <a:pt x="147" y="276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2" y="272"/>
                  </a:lnTo>
                  <a:lnTo>
                    <a:pt x="141" y="271"/>
                  </a:lnTo>
                  <a:lnTo>
                    <a:pt x="139" y="270"/>
                  </a:lnTo>
                  <a:lnTo>
                    <a:pt x="135" y="268"/>
                  </a:lnTo>
                  <a:lnTo>
                    <a:pt x="134" y="268"/>
                  </a:lnTo>
                  <a:lnTo>
                    <a:pt x="132" y="267"/>
                  </a:lnTo>
                  <a:lnTo>
                    <a:pt x="131" y="266"/>
                  </a:lnTo>
                  <a:lnTo>
                    <a:pt x="130" y="266"/>
                  </a:lnTo>
                  <a:lnTo>
                    <a:pt x="129" y="265"/>
                  </a:lnTo>
                  <a:lnTo>
                    <a:pt x="126" y="264"/>
                  </a:lnTo>
                  <a:lnTo>
                    <a:pt x="125" y="264"/>
                  </a:lnTo>
                  <a:lnTo>
                    <a:pt x="124" y="264"/>
                  </a:lnTo>
                  <a:lnTo>
                    <a:pt x="123" y="264"/>
                  </a:lnTo>
                  <a:lnTo>
                    <a:pt x="122" y="264"/>
                  </a:lnTo>
                  <a:lnTo>
                    <a:pt x="120" y="265"/>
                  </a:lnTo>
                  <a:lnTo>
                    <a:pt x="119" y="265"/>
                  </a:lnTo>
                  <a:lnTo>
                    <a:pt x="118" y="265"/>
                  </a:lnTo>
                  <a:lnTo>
                    <a:pt x="117" y="265"/>
                  </a:lnTo>
                  <a:lnTo>
                    <a:pt x="115" y="265"/>
                  </a:lnTo>
                  <a:lnTo>
                    <a:pt x="112" y="264"/>
                  </a:lnTo>
                  <a:lnTo>
                    <a:pt x="111" y="264"/>
                  </a:lnTo>
                  <a:lnTo>
                    <a:pt x="110" y="264"/>
                  </a:lnTo>
                  <a:lnTo>
                    <a:pt x="109" y="264"/>
                  </a:lnTo>
                  <a:lnTo>
                    <a:pt x="104" y="265"/>
                  </a:lnTo>
                  <a:lnTo>
                    <a:pt x="102" y="265"/>
                  </a:lnTo>
                  <a:lnTo>
                    <a:pt x="101" y="265"/>
                  </a:lnTo>
                  <a:lnTo>
                    <a:pt x="99" y="264"/>
                  </a:lnTo>
                  <a:lnTo>
                    <a:pt x="97" y="264"/>
                  </a:lnTo>
                  <a:lnTo>
                    <a:pt x="96" y="264"/>
                  </a:lnTo>
                  <a:lnTo>
                    <a:pt x="95" y="263"/>
                  </a:lnTo>
                  <a:lnTo>
                    <a:pt x="94" y="263"/>
                  </a:lnTo>
                  <a:lnTo>
                    <a:pt x="93" y="263"/>
                  </a:lnTo>
                  <a:lnTo>
                    <a:pt x="92" y="261"/>
                  </a:lnTo>
                  <a:lnTo>
                    <a:pt x="89" y="259"/>
                  </a:lnTo>
                  <a:lnTo>
                    <a:pt x="88" y="258"/>
                  </a:lnTo>
                  <a:lnTo>
                    <a:pt x="85" y="255"/>
                  </a:lnTo>
                  <a:lnTo>
                    <a:pt x="84" y="254"/>
                  </a:lnTo>
                  <a:lnTo>
                    <a:pt x="74" y="247"/>
                  </a:lnTo>
                  <a:lnTo>
                    <a:pt x="69" y="244"/>
                  </a:lnTo>
                  <a:lnTo>
                    <a:pt x="67" y="242"/>
                  </a:lnTo>
                  <a:lnTo>
                    <a:pt x="59" y="236"/>
                  </a:lnTo>
                  <a:lnTo>
                    <a:pt x="53" y="232"/>
                  </a:lnTo>
                  <a:lnTo>
                    <a:pt x="53" y="232"/>
                  </a:lnTo>
                  <a:lnTo>
                    <a:pt x="53" y="231"/>
                  </a:lnTo>
                  <a:lnTo>
                    <a:pt x="53" y="228"/>
                  </a:lnTo>
                  <a:lnTo>
                    <a:pt x="54" y="223"/>
                  </a:lnTo>
                  <a:lnTo>
                    <a:pt x="55" y="218"/>
                  </a:lnTo>
                  <a:lnTo>
                    <a:pt x="55" y="213"/>
                  </a:lnTo>
                  <a:lnTo>
                    <a:pt x="55" y="212"/>
                  </a:lnTo>
                  <a:lnTo>
                    <a:pt x="56" y="211"/>
                  </a:lnTo>
                  <a:lnTo>
                    <a:pt x="56" y="210"/>
                  </a:lnTo>
                  <a:lnTo>
                    <a:pt x="56" y="209"/>
                  </a:lnTo>
                  <a:lnTo>
                    <a:pt x="57" y="208"/>
                  </a:lnTo>
                  <a:lnTo>
                    <a:pt x="59" y="205"/>
                  </a:lnTo>
                  <a:lnTo>
                    <a:pt x="60" y="204"/>
                  </a:lnTo>
                  <a:lnTo>
                    <a:pt x="61" y="203"/>
                  </a:lnTo>
                  <a:lnTo>
                    <a:pt x="63" y="198"/>
                  </a:lnTo>
                  <a:lnTo>
                    <a:pt x="64" y="195"/>
                  </a:lnTo>
                  <a:lnTo>
                    <a:pt x="65" y="193"/>
                  </a:lnTo>
                  <a:lnTo>
                    <a:pt x="65" y="191"/>
                  </a:lnTo>
                  <a:lnTo>
                    <a:pt x="66" y="190"/>
                  </a:lnTo>
                  <a:lnTo>
                    <a:pt x="66" y="189"/>
                  </a:lnTo>
                  <a:lnTo>
                    <a:pt x="66" y="187"/>
                  </a:lnTo>
                  <a:lnTo>
                    <a:pt x="65" y="186"/>
                  </a:lnTo>
                  <a:lnTo>
                    <a:pt x="65" y="182"/>
                  </a:lnTo>
                  <a:lnTo>
                    <a:pt x="64" y="181"/>
                  </a:lnTo>
                  <a:lnTo>
                    <a:pt x="64" y="180"/>
                  </a:lnTo>
                  <a:lnTo>
                    <a:pt x="64" y="179"/>
                  </a:lnTo>
                  <a:lnTo>
                    <a:pt x="64" y="178"/>
                  </a:lnTo>
                  <a:lnTo>
                    <a:pt x="65" y="177"/>
                  </a:lnTo>
                  <a:lnTo>
                    <a:pt x="65" y="174"/>
                  </a:lnTo>
                  <a:lnTo>
                    <a:pt x="65" y="172"/>
                  </a:lnTo>
                  <a:lnTo>
                    <a:pt x="65" y="171"/>
                  </a:lnTo>
                  <a:lnTo>
                    <a:pt x="65" y="170"/>
                  </a:lnTo>
                  <a:lnTo>
                    <a:pt x="65" y="169"/>
                  </a:lnTo>
                  <a:lnTo>
                    <a:pt x="65" y="168"/>
                  </a:lnTo>
                  <a:lnTo>
                    <a:pt x="64" y="167"/>
                  </a:lnTo>
                  <a:lnTo>
                    <a:pt x="63" y="166"/>
                  </a:lnTo>
                  <a:lnTo>
                    <a:pt x="62" y="165"/>
                  </a:lnTo>
                  <a:lnTo>
                    <a:pt x="61" y="164"/>
                  </a:lnTo>
                  <a:lnTo>
                    <a:pt x="59" y="163"/>
                  </a:lnTo>
                  <a:lnTo>
                    <a:pt x="58" y="162"/>
                  </a:lnTo>
                  <a:lnTo>
                    <a:pt x="54" y="160"/>
                  </a:lnTo>
                  <a:lnTo>
                    <a:pt x="53" y="160"/>
                  </a:lnTo>
                  <a:lnTo>
                    <a:pt x="50" y="158"/>
                  </a:lnTo>
                  <a:lnTo>
                    <a:pt x="48" y="156"/>
                  </a:lnTo>
                  <a:lnTo>
                    <a:pt x="46" y="155"/>
                  </a:lnTo>
                  <a:lnTo>
                    <a:pt x="45" y="154"/>
                  </a:lnTo>
                  <a:lnTo>
                    <a:pt x="43" y="152"/>
                  </a:lnTo>
                  <a:lnTo>
                    <a:pt x="43" y="151"/>
                  </a:lnTo>
                  <a:lnTo>
                    <a:pt x="42" y="151"/>
                  </a:lnTo>
                  <a:lnTo>
                    <a:pt x="42" y="150"/>
                  </a:lnTo>
                  <a:lnTo>
                    <a:pt x="41" y="149"/>
                  </a:lnTo>
                  <a:lnTo>
                    <a:pt x="41" y="148"/>
                  </a:lnTo>
                  <a:lnTo>
                    <a:pt x="41" y="147"/>
                  </a:lnTo>
                  <a:lnTo>
                    <a:pt x="41" y="144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1"/>
                  </a:lnTo>
                  <a:lnTo>
                    <a:pt x="40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7" y="139"/>
                  </a:lnTo>
                  <a:lnTo>
                    <a:pt x="37" y="139"/>
                  </a:lnTo>
                  <a:lnTo>
                    <a:pt x="36" y="138"/>
                  </a:lnTo>
                  <a:lnTo>
                    <a:pt x="35" y="137"/>
                  </a:lnTo>
                  <a:lnTo>
                    <a:pt x="34" y="137"/>
                  </a:lnTo>
                  <a:lnTo>
                    <a:pt x="34" y="136"/>
                  </a:lnTo>
                  <a:lnTo>
                    <a:pt x="33" y="136"/>
                  </a:lnTo>
                  <a:lnTo>
                    <a:pt x="32" y="136"/>
                  </a:lnTo>
                  <a:lnTo>
                    <a:pt x="30" y="136"/>
                  </a:lnTo>
                  <a:lnTo>
                    <a:pt x="29" y="135"/>
                  </a:lnTo>
                  <a:lnTo>
                    <a:pt x="26" y="135"/>
                  </a:lnTo>
                  <a:lnTo>
                    <a:pt x="24" y="134"/>
                  </a:lnTo>
                  <a:lnTo>
                    <a:pt x="23" y="134"/>
                  </a:lnTo>
                  <a:lnTo>
                    <a:pt x="23" y="133"/>
                  </a:lnTo>
                  <a:lnTo>
                    <a:pt x="22" y="133"/>
                  </a:lnTo>
                  <a:lnTo>
                    <a:pt x="21" y="131"/>
                  </a:lnTo>
                  <a:lnTo>
                    <a:pt x="20" y="131"/>
                  </a:lnTo>
                  <a:lnTo>
                    <a:pt x="19" y="130"/>
                  </a:lnTo>
                  <a:lnTo>
                    <a:pt x="17" y="129"/>
                  </a:lnTo>
                  <a:lnTo>
                    <a:pt x="16" y="129"/>
                  </a:lnTo>
                  <a:lnTo>
                    <a:pt x="15" y="128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8" y="126"/>
                  </a:lnTo>
                  <a:lnTo>
                    <a:pt x="7" y="125"/>
                  </a:lnTo>
                  <a:lnTo>
                    <a:pt x="5" y="124"/>
                  </a:lnTo>
                  <a:lnTo>
                    <a:pt x="4" y="124"/>
                  </a:lnTo>
                  <a:lnTo>
                    <a:pt x="3" y="123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1" y="119"/>
                  </a:lnTo>
                  <a:lnTo>
                    <a:pt x="0" y="118"/>
                  </a:lnTo>
                  <a:lnTo>
                    <a:pt x="0" y="117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1" y="114"/>
                  </a:lnTo>
                  <a:lnTo>
                    <a:pt x="1" y="113"/>
                  </a:lnTo>
                  <a:lnTo>
                    <a:pt x="2" y="113"/>
                  </a:lnTo>
                  <a:lnTo>
                    <a:pt x="3" y="112"/>
                  </a:lnTo>
                  <a:lnTo>
                    <a:pt x="4" y="112"/>
                  </a:lnTo>
                  <a:lnTo>
                    <a:pt x="5" y="111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8"/>
                  </a:lnTo>
                  <a:lnTo>
                    <a:pt x="7" y="108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6" y="105"/>
                  </a:lnTo>
                  <a:lnTo>
                    <a:pt x="6" y="105"/>
                  </a:lnTo>
                  <a:lnTo>
                    <a:pt x="6" y="105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3"/>
                  </a:lnTo>
                  <a:lnTo>
                    <a:pt x="7" y="102"/>
                  </a:lnTo>
                  <a:lnTo>
                    <a:pt x="10" y="100"/>
                  </a:lnTo>
                  <a:lnTo>
                    <a:pt x="11" y="99"/>
                  </a:lnTo>
                  <a:lnTo>
                    <a:pt x="12" y="98"/>
                  </a:lnTo>
                  <a:lnTo>
                    <a:pt x="13" y="98"/>
                  </a:lnTo>
                  <a:lnTo>
                    <a:pt x="13" y="97"/>
                  </a:lnTo>
                  <a:lnTo>
                    <a:pt x="14" y="96"/>
                  </a:lnTo>
                  <a:lnTo>
                    <a:pt x="14" y="95"/>
                  </a:lnTo>
                  <a:lnTo>
                    <a:pt x="14" y="94"/>
                  </a:lnTo>
                  <a:lnTo>
                    <a:pt x="15" y="93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7" y="84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1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14" y="76"/>
                  </a:lnTo>
                  <a:lnTo>
                    <a:pt x="15" y="76"/>
                  </a:lnTo>
                  <a:lnTo>
                    <a:pt x="15" y="75"/>
                  </a:lnTo>
                  <a:lnTo>
                    <a:pt x="16" y="75"/>
                  </a:lnTo>
                  <a:lnTo>
                    <a:pt x="16" y="74"/>
                  </a:lnTo>
                  <a:lnTo>
                    <a:pt x="17" y="74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2" y="72"/>
                  </a:lnTo>
                  <a:lnTo>
                    <a:pt x="23" y="72"/>
                  </a:lnTo>
                  <a:lnTo>
                    <a:pt x="24" y="71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6" y="70"/>
                  </a:lnTo>
                  <a:lnTo>
                    <a:pt x="26" y="69"/>
                  </a:lnTo>
                  <a:lnTo>
                    <a:pt x="27" y="70"/>
                  </a:lnTo>
                  <a:lnTo>
                    <a:pt x="27" y="71"/>
                  </a:lnTo>
                  <a:lnTo>
                    <a:pt x="28" y="71"/>
                  </a:lnTo>
                  <a:lnTo>
                    <a:pt x="29" y="72"/>
                  </a:lnTo>
                  <a:lnTo>
                    <a:pt x="30" y="73"/>
                  </a:lnTo>
                  <a:lnTo>
                    <a:pt x="31" y="73"/>
                  </a:lnTo>
                  <a:lnTo>
                    <a:pt x="32" y="73"/>
                  </a:lnTo>
                  <a:lnTo>
                    <a:pt x="33" y="74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7" y="74"/>
                  </a:lnTo>
                  <a:lnTo>
                    <a:pt x="38" y="73"/>
                  </a:lnTo>
                  <a:lnTo>
                    <a:pt x="40" y="73"/>
                  </a:lnTo>
                  <a:lnTo>
                    <a:pt x="41" y="73"/>
                  </a:lnTo>
                  <a:lnTo>
                    <a:pt x="43" y="72"/>
                  </a:lnTo>
                  <a:lnTo>
                    <a:pt x="44" y="72"/>
                  </a:lnTo>
                  <a:lnTo>
                    <a:pt x="45" y="71"/>
                  </a:lnTo>
                  <a:lnTo>
                    <a:pt x="47" y="70"/>
                  </a:lnTo>
                  <a:lnTo>
                    <a:pt x="49" y="69"/>
                  </a:lnTo>
                  <a:lnTo>
                    <a:pt x="51" y="67"/>
                  </a:lnTo>
                  <a:lnTo>
                    <a:pt x="52" y="67"/>
                  </a:lnTo>
                  <a:lnTo>
                    <a:pt x="54" y="66"/>
                  </a:lnTo>
                  <a:lnTo>
                    <a:pt x="56" y="65"/>
                  </a:lnTo>
                  <a:lnTo>
                    <a:pt x="57" y="64"/>
                  </a:lnTo>
                  <a:lnTo>
                    <a:pt x="59" y="62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1" name="Freeform 245">
              <a:extLst>
                <a:ext uri="{FF2B5EF4-FFF2-40B4-BE49-F238E27FC236}">
                  <a16:creationId xmlns:a16="http://schemas.microsoft.com/office/drawing/2014/main" id="{D38C5DC9-6886-4A53-852B-7AE7FF663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7895" y="2417801"/>
              <a:ext cx="114133" cy="36686"/>
            </a:xfrm>
            <a:custGeom>
              <a:avLst/>
              <a:gdLst>
                <a:gd name="T0" fmla="*/ 1 w 112"/>
                <a:gd name="T1" fmla="*/ 35 h 36"/>
                <a:gd name="T2" fmla="*/ 2 w 112"/>
                <a:gd name="T3" fmla="*/ 34 h 36"/>
                <a:gd name="T4" fmla="*/ 4 w 112"/>
                <a:gd name="T5" fmla="*/ 30 h 36"/>
                <a:gd name="T6" fmla="*/ 6 w 112"/>
                <a:gd name="T7" fmla="*/ 28 h 36"/>
                <a:gd name="T8" fmla="*/ 7 w 112"/>
                <a:gd name="T9" fmla="*/ 27 h 36"/>
                <a:gd name="T10" fmla="*/ 9 w 112"/>
                <a:gd name="T11" fmla="*/ 25 h 36"/>
                <a:gd name="T12" fmla="*/ 12 w 112"/>
                <a:gd name="T13" fmla="*/ 24 h 36"/>
                <a:gd name="T14" fmla="*/ 16 w 112"/>
                <a:gd name="T15" fmla="*/ 23 h 36"/>
                <a:gd name="T16" fmla="*/ 22 w 112"/>
                <a:gd name="T17" fmla="*/ 20 h 36"/>
                <a:gd name="T18" fmla="*/ 23 w 112"/>
                <a:gd name="T19" fmla="*/ 20 h 36"/>
                <a:gd name="T20" fmla="*/ 25 w 112"/>
                <a:gd name="T21" fmla="*/ 20 h 36"/>
                <a:gd name="T22" fmla="*/ 26 w 112"/>
                <a:gd name="T23" fmla="*/ 20 h 36"/>
                <a:gd name="T24" fmla="*/ 27 w 112"/>
                <a:gd name="T25" fmla="*/ 21 h 36"/>
                <a:gd name="T26" fmla="*/ 31 w 112"/>
                <a:gd name="T27" fmla="*/ 24 h 36"/>
                <a:gd name="T28" fmla="*/ 33 w 112"/>
                <a:gd name="T29" fmla="*/ 25 h 36"/>
                <a:gd name="T30" fmla="*/ 35 w 112"/>
                <a:gd name="T31" fmla="*/ 25 h 36"/>
                <a:gd name="T32" fmla="*/ 39 w 112"/>
                <a:gd name="T33" fmla="*/ 25 h 36"/>
                <a:gd name="T34" fmla="*/ 44 w 112"/>
                <a:gd name="T35" fmla="*/ 25 h 36"/>
                <a:gd name="T36" fmla="*/ 48 w 112"/>
                <a:gd name="T37" fmla="*/ 25 h 36"/>
                <a:gd name="T38" fmla="*/ 52 w 112"/>
                <a:gd name="T39" fmla="*/ 26 h 36"/>
                <a:gd name="T40" fmla="*/ 56 w 112"/>
                <a:gd name="T41" fmla="*/ 26 h 36"/>
                <a:gd name="T42" fmla="*/ 58 w 112"/>
                <a:gd name="T43" fmla="*/ 26 h 36"/>
                <a:gd name="T44" fmla="*/ 61 w 112"/>
                <a:gd name="T45" fmla="*/ 27 h 36"/>
                <a:gd name="T46" fmla="*/ 67 w 112"/>
                <a:gd name="T47" fmla="*/ 29 h 36"/>
                <a:gd name="T48" fmla="*/ 69 w 112"/>
                <a:gd name="T49" fmla="*/ 29 h 36"/>
                <a:gd name="T50" fmla="*/ 72 w 112"/>
                <a:gd name="T51" fmla="*/ 29 h 36"/>
                <a:gd name="T52" fmla="*/ 75 w 112"/>
                <a:gd name="T53" fmla="*/ 29 h 36"/>
                <a:gd name="T54" fmla="*/ 80 w 112"/>
                <a:gd name="T55" fmla="*/ 26 h 36"/>
                <a:gd name="T56" fmla="*/ 86 w 112"/>
                <a:gd name="T57" fmla="*/ 24 h 36"/>
                <a:gd name="T58" fmla="*/ 89 w 112"/>
                <a:gd name="T59" fmla="*/ 23 h 36"/>
                <a:gd name="T60" fmla="*/ 91 w 112"/>
                <a:gd name="T61" fmla="*/ 21 h 36"/>
                <a:gd name="T62" fmla="*/ 93 w 112"/>
                <a:gd name="T63" fmla="*/ 20 h 36"/>
                <a:gd name="T64" fmla="*/ 94 w 112"/>
                <a:gd name="T65" fmla="*/ 18 h 36"/>
                <a:gd name="T66" fmla="*/ 96 w 112"/>
                <a:gd name="T67" fmla="*/ 13 h 36"/>
                <a:gd name="T68" fmla="*/ 98 w 112"/>
                <a:gd name="T69" fmla="*/ 10 h 36"/>
                <a:gd name="T70" fmla="*/ 99 w 112"/>
                <a:gd name="T71" fmla="*/ 9 h 36"/>
                <a:gd name="T72" fmla="*/ 101 w 112"/>
                <a:gd name="T73" fmla="*/ 6 h 36"/>
                <a:gd name="T74" fmla="*/ 104 w 112"/>
                <a:gd name="T75" fmla="*/ 4 h 36"/>
                <a:gd name="T76" fmla="*/ 108 w 112"/>
                <a:gd name="T77" fmla="*/ 2 h 36"/>
                <a:gd name="T78" fmla="*/ 111 w 112"/>
                <a:gd name="T79" fmla="*/ 0 h 36"/>
                <a:gd name="T80" fmla="*/ 112 w 112"/>
                <a:gd name="T8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1" y="35"/>
                  </a:lnTo>
                  <a:lnTo>
                    <a:pt x="2" y="35"/>
                  </a:lnTo>
                  <a:lnTo>
                    <a:pt x="2" y="34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5" y="29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7" y="27"/>
                  </a:lnTo>
                  <a:lnTo>
                    <a:pt x="8" y="26"/>
                  </a:lnTo>
                  <a:lnTo>
                    <a:pt x="9" y="25"/>
                  </a:lnTo>
                  <a:lnTo>
                    <a:pt x="11" y="25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6" y="23"/>
                  </a:lnTo>
                  <a:lnTo>
                    <a:pt x="17" y="23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4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9" y="23"/>
                  </a:lnTo>
                  <a:lnTo>
                    <a:pt x="31" y="24"/>
                  </a:lnTo>
                  <a:lnTo>
                    <a:pt x="32" y="25"/>
                  </a:lnTo>
                  <a:lnTo>
                    <a:pt x="33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9" y="25"/>
                  </a:lnTo>
                  <a:lnTo>
                    <a:pt x="40" y="25"/>
                  </a:lnTo>
                  <a:lnTo>
                    <a:pt x="44" y="25"/>
                  </a:lnTo>
                  <a:lnTo>
                    <a:pt x="46" y="25"/>
                  </a:lnTo>
                  <a:lnTo>
                    <a:pt x="48" y="25"/>
                  </a:lnTo>
                  <a:lnTo>
                    <a:pt x="50" y="26"/>
                  </a:lnTo>
                  <a:lnTo>
                    <a:pt x="52" y="26"/>
                  </a:lnTo>
                  <a:lnTo>
                    <a:pt x="54" y="26"/>
                  </a:lnTo>
                  <a:lnTo>
                    <a:pt x="56" y="26"/>
                  </a:lnTo>
                  <a:lnTo>
                    <a:pt x="57" y="26"/>
                  </a:lnTo>
                  <a:lnTo>
                    <a:pt x="58" y="26"/>
                  </a:lnTo>
                  <a:lnTo>
                    <a:pt x="59" y="26"/>
                  </a:lnTo>
                  <a:lnTo>
                    <a:pt x="61" y="27"/>
                  </a:lnTo>
                  <a:lnTo>
                    <a:pt x="65" y="29"/>
                  </a:lnTo>
                  <a:lnTo>
                    <a:pt x="67" y="29"/>
                  </a:lnTo>
                  <a:lnTo>
                    <a:pt x="68" y="29"/>
                  </a:lnTo>
                  <a:lnTo>
                    <a:pt x="69" y="29"/>
                  </a:lnTo>
                  <a:lnTo>
                    <a:pt x="71" y="29"/>
                  </a:lnTo>
                  <a:lnTo>
                    <a:pt x="72" y="29"/>
                  </a:lnTo>
                  <a:lnTo>
                    <a:pt x="73" y="29"/>
                  </a:lnTo>
                  <a:lnTo>
                    <a:pt x="75" y="29"/>
                  </a:lnTo>
                  <a:lnTo>
                    <a:pt x="78" y="27"/>
                  </a:lnTo>
                  <a:lnTo>
                    <a:pt x="80" y="26"/>
                  </a:lnTo>
                  <a:lnTo>
                    <a:pt x="82" y="25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9" y="23"/>
                  </a:lnTo>
                  <a:lnTo>
                    <a:pt x="90" y="22"/>
                  </a:lnTo>
                  <a:lnTo>
                    <a:pt x="91" y="21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19"/>
                  </a:lnTo>
                  <a:lnTo>
                    <a:pt x="94" y="18"/>
                  </a:lnTo>
                  <a:lnTo>
                    <a:pt x="95" y="17"/>
                  </a:lnTo>
                  <a:lnTo>
                    <a:pt x="96" y="13"/>
                  </a:lnTo>
                  <a:lnTo>
                    <a:pt x="97" y="11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9" y="9"/>
                  </a:lnTo>
                  <a:lnTo>
                    <a:pt x="100" y="8"/>
                  </a:lnTo>
                  <a:lnTo>
                    <a:pt x="101" y="6"/>
                  </a:lnTo>
                  <a:lnTo>
                    <a:pt x="102" y="5"/>
                  </a:lnTo>
                  <a:lnTo>
                    <a:pt x="104" y="4"/>
                  </a:lnTo>
                  <a:lnTo>
                    <a:pt x="106" y="3"/>
                  </a:lnTo>
                  <a:lnTo>
                    <a:pt x="108" y="2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2" y="0"/>
                  </a:lnTo>
                  <a:lnTo>
                    <a:pt x="112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2" name="Freeform 247">
              <a:extLst>
                <a:ext uri="{FF2B5EF4-FFF2-40B4-BE49-F238E27FC236}">
                  <a16:creationId xmlns:a16="http://schemas.microsoft.com/office/drawing/2014/main" id="{74BD30D3-5086-4B38-A9F3-F8A1AA8D3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4467" y="2631800"/>
              <a:ext cx="575761" cy="608370"/>
            </a:xfrm>
            <a:custGeom>
              <a:avLst/>
              <a:gdLst>
                <a:gd name="T0" fmla="*/ 223 w 565"/>
                <a:gd name="T1" fmla="*/ 29 h 597"/>
                <a:gd name="T2" fmla="*/ 251 w 565"/>
                <a:gd name="T3" fmla="*/ 30 h 597"/>
                <a:gd name="T4" fmla="*/ 278 w 565"/>
                <a:gd name="T5" fmla="*/ 46 h 597"/>
                <a:gd name="T6" fmla="*/ 295 w 565"/>
                <a:gd name="T7" fmla="*/ 60 h 597"/>
                <a:gd name="T8" fmla="*/ 323 w 565"/>
                <a:gd name="T9" fmla="*/ 73 h 597"/>
                <a:gd name="T10" fmla="*/ 329 w 565"/>
                <a:gd name="T11" fmla="*/ 91 h 597"/>
                <a:gd name="T12" fmla="*/ 363 w 565"/>
                <a:gd name="T13" fmla="*/ 107 h 597"/>
                <a:gd name="T14" fmla="*/ 384 w 565"/>
                <a:gd name="T15" fmla="*/ 80 h 597"/>
                <a:gd name="T16" fmla="*/ 401 w 565"/>
                <a:gd name="T17" fmla="*/ 87 h 597"/>
                <a:gd name="T18" fmla="*/ 432 w 565"/>
                <a:gd name="T19" fmla="*/ 105 h 597"/>
                <a:gd name="T20" fmla="*/ 470 w 565"/>
                <a:gd name="T21" fmla="*/ 115 h 597"/>
                <a:gd name="T22" fmla="*/ 512 w 565"/>
                <a:gd name="T23" fmla="*/ 148 h 597"/>
                <a:gd name="T24" fmla="*/ 556 w 565"/>
                <a:gd name="T25" fmla="*/ 175 h 597"/>
                <a:gd name="T26" fmla="*/ 555 w 565"/>
                <a:gd name="T27" fmla="*/ 200 h 597"/>
                <a:gd name="T28" fmla="*/ 564 w 565"/>
                <a:gd name="T29" fmla="*/ 218 h 597"/>
                <a:gd name="T30" fmla="*/ 545 w 565"/>
                <a:gd name="T31" fmla="*/ 230 h 597"/>
                <a:gd name="T32" fmla="*/ 553 w 565"/>
                <a:gd name="T33" fmla="*/ 247 h 597"/>
                <a:gd name="T34" fmla="*/ 542 w 565"/>
                <a:gd name="T35" fmla="*/ 257 h 597"/>
                <a:gd name="T36" fmla="*/ 526 w 565"/>
                <a:gd name="T37" fmla="*/ 252 h 597"/>
                <a:gd name="T38" fmla="*/ 529 w 565"/>
                <a:gd name="T39" fmla="*/ 264 h 597"/>
                <a:gd name="T40" fmla="*/ 518 w 565"/>
                <a:gd name="T41" fmla="*/ 274 h 597"/>
                <a:gd name="T42" fmla="*/ 493 w 565"/>
                <a:gd name="T43" fmla="*/ 295 h 597"/>
                <a:gd name="T44" fmla="*/ 489 w 565"/>
                <a:gd name="T45" fmla="*/ 326 h 597"/>
                <a:gd name="T46" fmla="*/ 500 w 565"/>
                <a:gd name="T47" fmla="*/ 342 h 597"/>
                <a:gd name="T48" fmla="*/ 514 w 565"/>
                <a:gd name="T49" fmla="*/ 352 h 597"/>
                <a:gd name="T50" fmla="*/ 507 w 565"/>
                <a:gd name="T51" fmla="*/ 376 h 597"/>
                <a:gd name="T52" fmla="*/ 502 w 565"/>
                <a:gd name="T53" fmla="*/ 394 h 597"/>
                <a:gd name="T54" fmla="*/ 496 w 565"/>
                <a:gd name="T55" fmla="*/ 415 h 597"/>
                <a:gd name="T56" fmla="*/ 508 w 565"/>
                <a:gd name="T57" fmla="*/ 435 h 597"/>
                <a:gd name="T58" fmla="*/ 493 w 565"/>
                <a:gd name="T59" fmla="*/ 451 h 597"/>
                <a:gd name="T60" fmla="*/ 486 w 565"/>
                <a:gd name="T61" fmla="*/ 467 h 597"/>
                <a:gd name="T62" fmla="*/ 498 w 565"/>
                <a:gd name="T63" fmla="*/ 485 h 597"/>
                <a:gd name="T64" fmla="*/ 487 w 565"/>
                <a:gd name="T65" fmla="*/ 503 h 597"/>
                <a:gd name="T66" fmla="*/ 457 w 565"/>
                <a:gd name="T67" fmla="*/ 513 h 597"/>
                <a:gd name="T68" fmla="*/ 445 w 565"/>
                <a:gd name="T69" fmla="*/ 531 h 597"/>
                <a:gd name="T70" fmla="*/ 409 w 565"/>
                <a:gd name="T71" fmla="*/ 531 h 597"/>
                <a:gd name="T72" fmla="*/ 382 w 565"/>
                <a:gd name="T73" fmla="*/ 531 h 597"/>
                <a:gd name="T74" fmla="*/ 366 w 565"/>
                <a:gd name="T75" fmla="*/ 529 h 597"/>
                <a:gd name="T76" fmla="*/ 347 w 565"/>
                <a:gd name="T77" fmla="*/ 536 h 597"/>
                <a:gd name="T78" fmla="*/ 331 w 565"/>
                <a:gd name="T79" fmla="*/ 551 h 597"/>
                <a:gd name="T80" fmla="*/ 300 w 565"/>
                <a:gd name="T81" fmla="*/ 570 h 597"/>
                <a:gd name="T82" fmla="*/ 277 w 565"/>
                <a:gd name="T83" fmla="*/ 589 h 597"/>
                <a:gd name="T84" fmla="*/ 251 w 565"/>
                <a:gd name="T85" fmla="*/ 585 h 597"/>
                <a:gd name="T86" fmla="*/ 233 w 565"/>
                <a:gd name="T87" fmla="*/ 595 h 597"/>
                <a:gd name="T88" fmla="*/ 216 w 565"/>
                <a:gd name="T89" fmla="*/ 594 h 597"/>
                <a:gd name="T90" fmla="*/ 194 w 565"/>
                <a:gd name="T91" fmla="*/ 575 h 597"/>
                <a:gd name="T92" fmla="*/ 177 w 565"/>
                <a:gd name="T93" fmla="*/ 563 h 597"/>
                <a:gd name="T94" fmla="*/ 190 w 565"/>
                <a:gd name="T95" fmla="*/ 542 h 597"/>
                <a:gd name="T96" fmla="*/ 204 w 565"/>
                <a:gd name="T97" fmla="*/ 514 h 597"/>
                <a:gd name="T98" fmla="*/ 220 w 565"/>
                <a:gd name="T99" fmla="*/ 501 h 597"/>
                <a:gd name="T100" fmla="*/ 205 w 565"/>
                <a:gd name="T101" fmla="*/ 482 h 597"/>
                <a:gd name="T102" fmla="*/ 195 w 565"/>
                <a:gd name="T103" fmla="*/ 474 h 597"/>
                <a:gd name="T104" fmla="*/ 161 w 565"/>
                <a:gd name="T105" fmla="*/ 479 h 597"/>
                <a:gd name="T106" fmla="*/ 131 w 565"/>
                <a:gd name="T107" fmla="*/ 471 h 597"/>
                <a:gd name="T108" fmla="*/ 112 w 565"/>
                <a:gd name="T109" fmla="*/ 438 h 597"/>
                <a:gd name="T110" fmla="*/ 103 w 565"/>
                <a:gd name="T111" fmla="*/ 418 h 597"/>
                <a:gd name="T112" fmla="*/ 70 w 565"/>
                <a:gd name="T113" fmla="*/ 418 h 597"/>
                <a:gd name="T114" fmla="*/ 35 w 565"/>
                <a:gd name="T115" fmla="*/ 415 h 597"/>
                <a:gd name="T116" fmla="*/ 14 w 565"/>
                <a:gd name="T117" fmla="*/ 402 h 597"/>
                <a:gd name="T118" fmla="*/ 4 w 565"/>
                <a:gd name="T119" fmla="*/ 395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5" h="597">
                  <a:moveTo>
                    <a:pt x="180" y="0"/>
                  </a:moveTo>
                  <a:lnTo>
                    <a:pt x="188" y="6"/>
                  </a:lnTo>
                  <a:lnTo>
                    <a:pt x="190" y="8"/>
                  </a:lnTo>
                  <a:lnTo>
                    <a:pt x="195" y="11"/>
                  </a:lnTo>
                  <a:lnTo>
                    <a:pt x="205" y="18"/>
                  </a:lnTo>
                  <a:lnTo>
                    <a:pt x="206" y="19"/>
                  </a:lnTo>
                  <a:lnTo>
                    <a:pt x="209" y="22"/>
                  </a:lnTo>
                  <a:lnTo>
                    <a:pt x="210" y="23"/>
                  </a:lnTo>
                  <a:lnTo>
                    <a:pt x="213" y="25"/>
                  </a:lnTo>
                  <a:lnTo>
                    <a:pt x="214" y="27"/>
                  </a:lnTo>
                  <a:lnTo>
                    <a:pt x="215" y="27"/>
                  </a:lnTo>
                  <a:lnTo>
                    <a:pt x="216" y="27"/>
                  </a:lnTo>
                  <a:lnTo>
                    <a:pt x="217" y="28"/>
                  </a:lnTo>
                  <a:lnTo>
                    <a:pt x="218" y="28"/>
                  </a:lnTo>
                  <a:lnTo>
                    <a:pt x="220" y="28"/>
                  </a:lnTo>
                  <a:lnTo>
                    <a:pt x="222" y="29"/>
                  </a:lnTo>
                  <a:lnTo>
                    <a:pt x="223" y="29"/>
                  </a:lnTo>
                  <a:lnTo>
                    <a:pt x="225" y="29"/>
                  </a:lnTo>
                  <a:lnTo>
                    <a:pt x="230" y="28"/>
                  </a:lnTo>
                  <a:lnTo>
                    <a:pt x="231" y="28"/>
                  </a:lnTo>
                  <a:lnTo>
                    <a:pt x="232" y="28"/>
                  </a:lnTo>
                  <a:lnTo>
                    <a:pt x="233" y="28"/>
                  </a:lnTo>
                  <a:lnTo>
                    <a:pt x="236" y="29"/>
                  </a:lnTo>
                  <a:lnTo>
                    <a:pt x="238" y="29"/>
                  </a:lnTo>
                  <a:lnTo>
                    <a:pt x="239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5" y="28"/>
                  </a:lnTo>
                  <a:lnTo>
                    <a:pt x="246" y="28"/>
                  </a:lnTo>
                  <a:lnTo>
                    <a:pt x="247" y="28"/>
                  </a:lnTo>
                  <a:lnTo>
                    <a:pt x="250" y="29"/>
                  </a:lnTo>
                  <a:lnTo>
                    <a:pt x="251" y="30"/>
                  </a:lnTo>
                  <a:lnTo>
                    <a:pt x="252" y="30"/>
                  </a:lnTo>
                  <a:lnTo>
                    <a:pt x="253" y="31"/>
                  </a:lnTo>
                  <a:lnTo>
                    <a:pt x="255" y="32"/>
                  </a:lnTo>
                  <a:lnTo>
                    <a:pt x="256" y="32"/>
                  </a:lnTo>
                  <a:lnTo>
                    <a:pt x="260" y="34"/>
                  </a:lnTo>
                  <a:lnTo>
                    <a:pt x="262" y="35"/>
                  </a:lnTo>
                  <a:lnTo>
                    <a:pt x="263" y="36"/>
                  </a:lnTo>
                  <a:lnTo>
                    <a:pt x="264" y="36"/>
                  </a:lnTo>
                  <a:lnTo>
                    <a:pt x="264" y="36"/>
                  </a:lnTo>
                  <a:lnTo>
                    <a:pt x="268" y="40"/>
                  </a:lnTo>
                  <a:lnTo>
                    <a:pt x="269" y="41"/>
                  </a:lnTo>
                  <a:lnTo>
                    <a:pt x="270" y="42"/>
                  </a:lnTo>
                  <a:lnTo>
                    <a:pt x="271" y="43"/>
                  </a:lnTo>
                  <a:lnTo>
                    <a:pt x="273" y="44"/>
                  </a:lnTo>
                  <a:lnTo>
                    <a:pt x="275" y="45"/>
                  </a:lnTo>
                  <a:lnTo>
                    <a:pt x="276" y="46"/>
                  </a:lnTo>
                  <a:lnTo>
                    <a:pt x="278" y="46"/>
                  </a:lnTo>
                  <a:lnTo>
                    <a:pt x="279" y="47"/>
                  </a:lnTo>
                  <a:lnTo>
                    <a:pt x="283" y="47"/>
                  </a:lnTo>
                  <a:lnTo>
                    <a:pt x="285" y="48"/>
                  </a:lnTo>
                  <a:lnTo>
                    <a:pt x="288" y="49"/>
                  </a:lnTo>
                  <a:lnTo>
                    <a:pt x="289" y="50"/>
                  </a:lnTo>
                  <a:lnTo>
                    <a:pt x="290" y="50"/>
                  </a:lnTo>
                  <a:lnTo>
                    <a:pt x="291" y="50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2" y="52"/>
                  </a:lnTo>
                  <a:lnTo>
                    <a:pt x="292" y="52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4" y="58"/>
                  </a:lnTo>
                  <a:lnTo>
                    <a:pt x="294" y="59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6" y="61"/>
                  </a:lnTo>
                  <a:lnTo>
                    <a:pt x="297" y="61"/>
                  </a:lnTo>
                  <a:lnTo>
                    <a:pt x="298" y="62"/>
                  </a:lnTo>
                  <a:lnTo>
                    <a:pt x="299" y="62"/>
                  </a:lnTo>
                  <a:lnTo>
                    <a:pt x="301" y="63"/>
                  </a:lnTo>
                  <a:lnTo>
                    <a:pt x="303" y="63"/>
                  </a:lnTo>
                  <a:lnTo>
                    <a:pt x="305" y="64"/>
                  </a:lnTo>
                  <a:lnTo>
                    <a:pt x="307" y="65"/>
                  </a:lnTo>
                  <a:lnTo>
                    <a:pt x="309" y="65"/>
                  </a:lnTo>
                  <a:lnTo>
                    <a:pt x="311" y="66"/>
                  </a:lnTo>
                  <a:lnTo>
                    <a:pt x="312" y="67"/>
                  </a:lnTo>
                  <a:lnTo>
                    <a:pt x="315" y="69"/>
                  </a:lnTo>
                  <a:lnTo>
                    <a:pt x="317" y="70"/>
                  </a:lnTo>
                  <a:lnTo>
                    <a:pt x="318" y="71"/>
                  </a:lnTo>
                  <a:lnTo>
                    <a:pt x="320" y="72"/>
                  </a:lnTo>
                  <a:lnTo>
                    <a:pt x="321" y="72"/>
                  </a:lnTo>
                  <a:lnTo>
                    <a:pt x="323" y="73"/>
                  </a:lnTo>
                  <a:lnTo>
                    <a:pt x="324" y="73"/>
                  </a:lnTo>
                  <a:lnTo>
                    <a:pt x="327" y="74"/>
                  </a:lnTo>
                  <a:lnTo>
                    <a:pt x="328" y="74"/>
                  </a:lnTo>
                  <a:lnTo>
                    <a:pt x="328" y="74"/>
                  </a:lnTo>
                  <a:lnTo>
                    <a:pt x="329" y="75"/>
                  </a:lnTo>
                  <a:lnTo>
                    <a:pt x="329" y="76"/>
                  </a:lnTo>
                  <a:lnTo>
                    <a:pt x="329" y="77"/>
                  </a:lnTo>
                  <a:lnTo>
                    <a:pt x="329" y="78"/>
                  </a:lnTo>
                  <a:lnTo>
                    <a:pt x="329" y="78"/>
                  </a:lnTo>
                  <a:lnTo>
                    <a:pt x="329" y="79"/>
                  </a:lnTo>
                  <a:lnTo>
                    <a:pt x="328" y="82"/>
                  </a:lnTo>
                  <a:lnTo>
                    <a:pt x="328" y="84"/>
                  </a:lnTo>
                  <a:lnTo>
                    <a:pt x="328" y="86"/>
                  </a:lnTo>
                  <a:lnTo>
                    <a:pt x="328" y="87"/>
                  </a:lnTo>
                  <a:lnTo>
                    <a:pt x="328" y="89"/>
                  </a:lnTo>
                  <a:lnTo>
                    <a:pt x="328" y="90"/>
                  </a:lnTo>
                  <a:lnTo>
                    <a:pt x="329" y="91"/>
                  </a:lnTo>
                  <a:lnTo>
                    <a:pt x="330" y="93"/>
                  </a:lnTo>
                  <a:lnTo>
                    <a:pt x="331" y="94"/>
                  </a:lnTo>
                  <a:lnTo>
                    <a:pt x="332" y="95"/>
                  </a:lnTo>
                  <a:lnTo>
                    <a:pt x="333" y="96"/>
                  </a:lnTo>
                  <a:lnTo>
                    <a:pt x="334" y="97"/>
                  </a:lnTo>
                  <a:lnTo>
                    <a:pt x="337" y="98"/>
                  </a:lnTo>
                  <a:lnTo>
                    <a:pt x="345" y="103"/>
                  </a:lnTo>
                  <a:lnTo>
                    <a:pt x="350" y="105"/>
                  </a:lnTo>
                  <a:lnTo>
                    <a:pt x="352" y="106"/>
                  </a:lnTo>
                  <a:lnTo>
                    <a:pt x="353" y="106"/>
                  </a:lnTo>
                  <a:lnTo>
                    <a:pt x="354" y="107"/>
                  </a:lnTo>
                  <a:lnTo>
                    <a:pt x="355" y="107"/>
                  </a:lnTo>
                  <a:lnTo>
                    <a:pt x="356" y="107"/>
                  </a:lnTo>
                  <a:lnTo>
                    <a:pt x="358" y="107"/>
                  </a:lnTo>
                  <a:lnTo>
                    <a:pt x="360" y="107"/>
                  </a:lnTo>
                  <a:lnTo>
                    <a:pt x="362" y="107"/>
                  </a:lnTo>
                  <a:lnTo>
                    <a:pt x="363" y="107"/>
                  </a:lnTo>
                  <a:lnTo>
                    <a:pt x="364" y="107"/>
                  </a:lnTo>
                  <a:lnTo>
                    <a:pt x="366" y="106"/>
                  </a:lnTo>
                  <a:lnTo>
                    <a:pt x="366" y="106"/>
                  </a:lnTo>
                  <a:lnTo>
                    <a:pt x="367" y="105"/>
                  </a:lnTo>
                  <a:lnTo>
                    <a:pt x="368" y="104"/>
                  </a:lnTo>
                  <a:lnTo>
                    <a:pt x="369" y="104"/>
                  </a:lnTo>
                  <a:lnTo>
                    <a:pt x="371" y="100"/>
                  </a:lnTo>
                  <a:lnTo>
                    <a:pt x="373" y="98"/>
                  </a:lnTo>
                  <a:lnTo>
                    <a:pt x="374" y="96"/>
                  </a:lnTo>
                  <a:lnTo>
                    <a:pt x="375" y="95"/>
                  </a:lnTo>
                  <a:lnTo>
                    <a:pt x="375" y="94"/>
                  </a:lnTo>
                  <a:lnTo>
                    <a:pt x="377" y="90"/>
                  </a:lnTo>
                  <a:lnTo>
                    <a:pt x="378" y="87"/>
                  </a:lnTo>
                  <a:lnTo>
                    <a:pt x="380" y="85"/>
                  </a:lnTo>
                  <a:lnTo>
                    <a:pt x="381" y="83"/>
                  </a:lnTo>
                  <a:lnTo>
                    <a:pt x="382" y="82"/>
                  </a:lnTo>
                  <a:lnTo>
                    <a:pt x="384" y="80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7"/>
                  </a:lnTo>
                  <a:lnTo>
                    <a:pt x="388" y="77"/>
                  </a:lnTo>
                  <a:lnTo>
                    <a:pt x="389" y="77"/>
                  </a:lnTo>
                  <a:lnTo>
                    <a:pt x="389" y="77"/>
                  </a:lnTo>
                  <a:lnTo>
                    <a:pt x="390" y="78"/>
                  </a:lnTo>
                  <a:lnTo>
                    <a:pt x="391" y="78"/>
                  </a:lnTo>
                  <a:lnTo>
                    <a:pt x="392" y="79"/>
                  </a:lnTo>
                  <a:lnTo>
                    <a:pt x="394" y="82"/>
                  </a:lnTo>
                  <a:lnTo>
                    <a:pt x="395" y="83"/>
                  </a:lnTo>
                  <a:lnTo>
                    <a:pt x="396" y="84"/>
                  </a:lnTo>
                  <a:lnTo>
                    <a:pt x="397" y="85"/>
                  </a:lnTo>
                  <a:lnTo>
                    <a:pt x="398" y="85"/>
                  </a:lnTo>
                  <a:lnTo>
                    <a:pt x="399" y="86"/>
                  </a:lnTo>
                  <a:lnTo>
                    <a:pt x="400" y="87"/>
                  </a:lnTo>
                  <a:lnTo>
                    <a:pt x="401" y="87"/>
                  </a:lnTo>
                  <a:lnTo>
                    <a:pt x="403" y="88"/>
                  </a:lnTo>
                  <a:lnTo>
                    <a:pt x="405" y="89"/>
                  </a:lnTo>
                  <a:lnTo>
                    <a:pt x="408" y="89"/>
                  </a:lnTo>
                  <a:lnTo>
                    <a:pt x="412" y="90"/>
                  </a:lnTo>
                  <a:lnTo>
                    <a:pt x="414" y="91"/>
                  </a:lnTo>
                  <a:lnTo>
                    <a:pt x="416" y="91"/>
                  </a:lnTo>
                  <a:lnTo>
                    <a:pt x="417" y="92"/>
                  </a:lnTo>
                  <a:lnTo>
                    <a:pt x="418" y="93"/>
                  </a:lnTo>
                  <a:lnTo>
                    <a:pt x="419" y="93"/>
                  </a:lnTo>
                  <a:lnTo>
                    <a:pt x="420" y="94"/>
                  </a:lnTo>
                  <a:lnTo>
                    <a:pt x="421" y="95"/>
                  </a:lnTo>
                  <a:lnTo>
                    <a:pt x="423" y="97"/>
                  </a:lnTo>
                  <a:lnTo>
                    <a:pt x="425" y="98"/>
                  </a:lnTo>
                  <a:lnTo>
                    <a:pt x="428" y="102"/>
                  </a:lnTo>
                  <a:lnTo>
                    <a:pt x="430" y="104"/>
                  </a:lnTo>
                  <a:lnTo>
                    <a:pt x="431" y="105"/>
                  </a:lnTo>
                  <a:lnTo>
                    <a:pt x="432" y="105"/>
                  </a:lnTo>
                  <a:lnTo>
                    <a:pt x="433" y="106"/>
                  </a:lnTo>
                  <a:lnTo>
                    <a:pt x="433" y="106"/>
                  </a:lnTo>
                  <a:lnTo>
                    <a:pt x="434" y="106"/>
                  </a:lnTo>
                  <a:lnTo>
                    <a:pt x="435" y="106"/>
                  </a:lnTo>
                  <a:lnTo>
                    <a:pt x="436" y="107"/>
                  </a:lnTo>
                  <a:lnTo>
                    <a:pt x="438" y="107"/>
                  </a:lnTo>
                  <a:lnTo>
                    <a:pt x="444" y="107"/>
                  </a:lnTo>
                  <a:lnTo>
                    <a:pt x="446" y="107"/>
                  </a:lnTo>
                  <a:lnTo>
                    <a:pt x="447" y="107"/>
                  </a:lnTo>
                  <a:lnTo>
                    <a:pt x="448" y="108"/>
                  </a:lnTo>
                  <a:lnTo>
                    <a:pt x="449" y="108"/>
                  </a:lnTo>
                  <a:lnTo>
                    <a:pt x="453" y="110"/>
                  </a:lnTo>
                  <a:lnTo>
                    <a:pt x="454" y="110"/>
                  </a:lnTo>
                  <a:lnTo>
                    <a:pt x="460" y="112"/>
                  </a:lnTo>
                  <a:lnTo>
                    <a:pt x="465" y="113"/>
                  </a:lnTo>
                  <a:lnTo>
                    <a:pt x="469" y="115"/>
                  </a:lnTo>
                  <a:lnTo>
                    <a:pt x="470" y="115"/>
                  </a:lnTo>
                  <a:lnTo>
                    <a:pt x="472" y="115"/>
                  </a:lnTo>
                  <a:lnTo>
                    <a:pt x="477" y="119"/>
                  </a:lnTo>
                  <a:lnTo>
                    <a:pt x="483" y="121"/>
                  </a:lnTo>
                  <a:lnTo>
                    <a:pt x="485" y="122"/>
                  </a:lnTo>
                  <a:lnTo>
                    <a:pt x="487" y="123"/>
                  </a:lnTo>
                  <a:lnTo>
                    <a:pt x="489" y="125"/>
                  </a:lnTo>
                  <a:lnTo>
                    <a:pt x="491" y="126"/>
                  </a:lnTo>
                  <a:lnTo>
                    <a:pt x="493" y="128"/>
                  </a:lnTo>
                  <a:lnTo>
                    <a:pt x="495" y="129"/>
                  </a:lnTo>
                  <a:lnTo>
                    <a:pt x="500" y="135"/>
                  </a:lnTo>
                  <a:lnTo>
                    <a:pt x="502" y="137"/>
                  </a:lnTo>
                  <a:lnTo>
                    <a:pt x="503" y="139"/>
                  </a:lnTo>
                  <a:lnTo>
                    <a:pt x="505" y="142"/>
                  </a:lnTo>
                  <a:lnTo>
                    <a:pt x="507" y="143"/>
                  </a:lnTo>
                  <a:lnTo>
                    <a:pt x="508" y="145"/>
                  </a:lnTo>
                  <a:lnTo>
                    <a:pt x="510" y="146"/>
                  </a:lnTo>
                  <a:lnTo>
                    <a:pt x="512" y="148"/>
                  </a:lnTo>
                  <a:lnTo>
                    <a:pt x="513" y="148"/>
                  </a:lnTo>
                  <a:lnTo>
                    <a:pt x="514" y="148"/>
                  </a:lnTo>
                  <a:lnTo>
                    <a:pt x="515" y="149"/>
                  </a:lnTo>
                  <a:lnTo>
                    <a:pt x="518" y="149"/>
                  </a:lnTo>
                  <a:lnTo>
                    <a:pt x="519" y="150"/>
                  </a:lnTo>
                  <a:lnTo>
                    <a:pt x="525" y="151"/>
                  </a:lnTo>
                  <a:lnTo>
                    <a:pt x="530" y="153"/>
                  </a:lnTo>
                  <a:lnTo>
                    <a:pt x="532" y="154"/>
                  </a:lnTo>
                  <a:lnTo>
                    <a:pt x="534" y="155"/>
                  </a:lnTo>
                  <a:lnTo>
                    <a:pt x="536" y="156"/>
                  </a:lnTo>
                  <a:lnTo>
                    <a:pt x="541" y="159"/>
                  </a:lnTo>
                  <a:lnTo>
                    <a:pt x="545" y="162"/>
                  </a:lnTo>
                  <a:lnTo>
                    <a:pt x="546" y="163"/>
                  </a:lnTo>
                  <a:lnTo>
                    <a:pt x="547" y="164"/>
                  </a:lnTo>
                  <a:lnTo>
                    <a:pt x="549" y="165"/>
                  </a:lnTo>
                  <a:lnTo>
                    <a:pt x="550" y="167"/>
                  </a:lnTo>
                  <a:lnTo>
                    <a:pt x="556" y="175"/>
                  </a:lnTo>
                  <a:lnTo>
                    <a:pt x="556" y="176"/>
                  </a:lnTo>
                  <a:lnTo>
                    <a:pt x="556" y="177"/>
                  </a:lnTo>
                  <a:lnTo>
                    <a:pt x="556" y="178"/>
                  </a:lnTo>
                  <a:lnTo>
                    <a:pt x="556" y="180"/>
                  </a:lnTo>
                  <a:lnTo>
                    <a:pt x="555" y="182"/>
                  </a:lnTo>
                  <a:lnTo>
                    <a:pt x="554" y="185"/>
                  </a:lnTo>
                  <a:lnTo>
                    <a:pt x="552" y="191"/>
                  </a:lnTo>
                  <a:lnTo>
                    <a:pt x="552" y="192"/>
                  </a:lnTo>
                  <a:lnTo>
                    <a:pt x="551" y="193"/>
                  </a:lnTo>
                  <a:lnTo>
                    <a:pt x="551" y="194"/>
                  </a:lnTo>
                  <a:lnTo>
                    <a:pt x="551" y="195"/>
                  </a:lnTo>
                  <a:lnTo>
                    <a:pt x="551" y="195"/>
                  </a:lnTo>
                  <a:lnTo>
                    <a:pt x="552" y="196"/>
                  </a:lnTo>
                  <a:lnTo>
                    <a:pt x="552" y="197"/>
                  </a:lnTo>
                  <a:lnTo>
                    <a:pt x="553" y="198"/>
                  </a:lnTo>
                  <a:lnTo>
                    <a:pt x="554" y="200"/>
                  </a:lnTo>
                  <a:lnTo>
                    <a:pt x="555" y="200"/>
                  </a:lnTo>
                  <a:lnTo>
                    <a:pt x="557" y="201"/>
                  </a:lnTo>
                  <a:lnTo>
                    <a:pt x="560" y="203"/>
                  </a:lnTo>
                  <a:lnTo>
                    <a:pt x="561" y="204"/>
                  </a:lnTo>
                  <a:lnTo>
                    <a:pt x="562" y="205"/>
                  </a:lnTo>
                  <a:lnTo>
                    <a:pt x="563" y="206"/>
                  </a:lnTo>
                  <a:lnTo>
                    <a:pt x="564" y="206"/>
                  </a:lnTo>
                  <a:lnTo>
                    <a:pt x="564" y="207"/>
                  </a:lnTo>
                  <a:lnTo>
                    <a:pt x="565" y="208"/>
                  </a:lnTo>
                  <a:lnTo>
                    <a:pt x="565" y="209"/>
                  </a:lnTo>
                  <a:lnTo>
                    <a:pt x="565" y="210"/>
                  </a:lnTo>
                  <a:lnTo>
                    <a:pt x="565" y="211"/>
                  </a:lnTo>
                  <a:lnTo>
                    <a:pt x="565" y="212"/>
                  </a:lnTo>
                  <a:lnTo>
                    <a:pt x="565" y="213"/>
                  </a:lnTo>
                  <a:lnTo>
                    <a:pt x="565" y="214"/>
                  </a:lnTo>
                  <a:lnTo>
                    <a:pt x="565" y="215"/>
                  </a:lnTo>
                  <a:lnTo>
                    <a:pt x="565" y="216"/>
                  </a:lnTo>
                  <a:lnTo>
                    <a:pt x="564" y="218"/>
                  </a:lnTo>
                  <a:lnTo>
                    <a:pt x="563" y="220"/>
                  </a:lnTo>
                  <a:lnTo>
                    <a:pt x="562" y="221"/>
                  </a:lnTo>
                  <a:lnTo>
                    <a:pt x="560" y="223"/>
                  </a:lnTo>
                  <a:lnTo>
                    <a:pt x="558" y="225"/>
                  </a:lnTo>
                  <a:lnTo>
                    <a:pt x="557" y="227"/>
                  </a:lnTo>
                  <a:lnTo>
                    <a:pt x="555" y="228"/>
                  </a:lnTo>
                  <a:lnTo>
                    <a:pt x="554" y="228"/>
                  </a:lnTo>
                  <a:lnTo>
                    <a:pt x="553" y="229"/>
                  </a:lnTo>
                  <a:lnTo>
                    <a:pt x="552" y="229"/>
                  </a:lnTo>
                  <a:lnTo>
                    <a:pt x="551" y="230"/>
                  </a:lnTo>
                  <a:lnTo>
                    <a:pt x="550" y="230"/>
                  </a:lnTo>
                  <a:lnTo>
                    <a:pt x="549" y="230"/>
                  </a:lnTo>
                  <a:lnTo>
                    <a:pt x="547" y="230"/>
                  </a:lnTo>
                  <a:lnTo>
                    <a:pt x="546" y="230"/>
                  </a:lnTo>
                  <a:lnTo>
                    <a:pt x="545" y="230"/>
                  </a:lnTo>
                  <a:lnTo>
                    <a:pt x="545" y="230"/>
                  </a:lnTo>
                  <a:lnTo>
                    <a:pt x="545" y="230"/>
                  </a:lnTo>
                  <a:lnTo>
                    <a:pt x="545" y="230"/>
                  </a:lnTo>
                  <a:lnTo>
                    <a:pt x="545" y="231"/>
                  </a:lnTo>
                  <a:lnTo>
                    <a:pt x="545" y="232"/>
                  </a:lnTo>
                  <a:lnTo>
                    <a:pt x="545" y="233"/>
                  </a:lnTo>
                  <a:lnTo>
                    <a:pt x="546" y="234"/>
                  </a:lnTo>
                  <a:lnTo>
                    <a:pt x="546" y="235"/>
                  </a:lnTo>
                  <a:lnTo>
                    <a:pt x="547" y="236"/>
                  </a:lnTo>
                  <a:lnTo>
                    <a:pt x="548" y="237"/>
                  </a:lnTo>
                  <a:lnTo>
                    <a:pt x="550" y="239"/>
                  </a:lnTo>
                  <a:lnTo>
                    <a:pt x="551" y="240"/>
                  </a:lnTo>
                  <a:lnTo>
                    <a:pt x="552" y="241"/>
                  </a:lnTo>
                  <a:lnTo>
                    <a:pt x="553" y="243"/>
                  </a:lnTo>
                  <a:lnTo>
                    <a:pt x="553" y="244"/>
                  </a:lnTo>
                  <a:lnTo>
                    <a:pt x="553" y="245"/>
                  </a:lnTo>
                  <a:lnTo>
                    <a:pt x="553" y="246"/>
                  </a:lnTo>
                  <a:lnTo>
                    <a:pt x="553" y="247"/>
                  </a:lnTo>
                  <a:lnTo>
                    <a:pt x="553" y="247"/>
                  </a:lnTo>
                  <a:lnTo>
                    <a:pt x="553" y="248"/>
                  </a:lnTo>
                  <a:lnTo>
                    <a:pt x="553" y="249"/>
                  </a:lnTo>
                  <a:lnTo>
                    <a:pt x="552" y="252"/>
                  </a:lnTo>
                  <a:lnTo>
                    <a:pt x="551" y="255"/>
                  </a:lnTo>
                  <a:lnTo>
                    <a:pt x="551" y="256"/>
                  </a:lnTo>
                  <a:lnTo>
                    <a:pt x="550" y="257"/>
                  </a:lnTo>
                  <a:lnTo>
                    <a:pt x="550" y="257"/>
                  </a:lnTo>
                  <a:lnTo>
                    <a:pt x="549" y="258"/>
                  </a:lnTo>
                  <a:lnTo>
                    <a:pt x="548" y="258"/>
                  </a:lnTo>
                  <a:lnTo>
                    <a:pt x="548" y="258"/>
                  </a:lnTo>
                  <a:lnTo>
                    <a:pt x="547" y="259"/>
                  </a:lnTo>
                  <a:lnTo>
                    <a:pt x="545" y="259"/>
                  </a:lnTo>
                  <a:lnTo>
                    <a:pt x="544" y="259"/>
                  </a:lnTo>
                  <a:lnTo>
                    <a:pt x="544" y="258"/>
                  </a:lnTo>
                  <a:lnTo>
                    <a:pt x="543" y="258"/>
                  </a:lnTo>
                  <a:lnTo>
                    <a:pt x="542" y="258"/>
                  </a:lnTo>
                  <a:lnTo>
                    <a:pt x="542" y="257"/>
                  </a:lnTo>
                  <a:lnTo>
                    <a:pt x="541" y="256"/>
                  </a:lnTo>
                  <a:lnTo>
                    <a:pt x="540" y="255"/>
                  </a:lnTo>
                  <a:lnTo>
                    <a:pt x="540" y="255"/>
                  </a:lnTo>
                  <a:lnTo>
                    <a:pt x="539" y="253"/>
                  </a:lnTo>
                  <a:lnTo>
                    <a:pt x="538" y="251"/>
                  </a:lnTo>
                  <a:lnTo>
                    <a:pt x="538" y="251"/>
                  </a:lnTo>
                  <a:lnTo>
                    <a:pt x="537" y="251"/>
                  </a:lnTo>
                  <a:lnTo>
                    <a:pt x="537" y="250"/>
                  </a:lnTo>
                  <a:lnTo>
                    <a:pt x="536" y="250"/>
                  </a:lnTo>
                  <a:lnTo>
                    <a:pt x="535" y="250"/>
                  </a:lnTo>
                  <a:lnTo>
                    <a:pt x="534" y="249"/>
                  </a:lnTo>
                  <a:lnTo>
                    <a:pt x="533" y="249"/>
                  </a:lnTo>
                  <a:lnTo>
                    <a:pt x="531" y="250"/>
                  </a:lnTo>
                  <a:lnTo>
                    <a:pt x="530" y="250"/>
                  </a:lnTo>
                  <a:lnTo>
                    <a:pt x="529" y="251"/>
                  </a:lnTo>
                  <a:lnTo>
                    <a:pt x="527" y="251"/>
                  </a:lnTo>
                  <a:lnTo>
                    <a:pt x="526" y="252"/>
                  </a:lnTo>
                  <a:lnTo>
                    <a:pt x="525" y="253"/>
                  </a:lnTo>
                  <a:lnTo>
                    <a:pt x="524" y="254"/>
                  </a:lnTo>
                  <a:lnTo>
                    <a:pt x="522" y="256"/>
                  </a:lnTo>
                  <a:lnTo>
                    <a:pt x="521" y="257"/>
                  </a:lnTo>
                  <a:lnTo>
                    <a:pt x="521" y="258"/>
                  </a:lnTo>
                  <a:lnTo>
                    <a:pt x="520" y="259"/>
                  </a:lnTo>
                  <a:lnTo>
                    <a:pt x="520" y="259"/>
                  </a:lnTo>
                  <a:lnTo>
                    <a:pt x="520" y="260"/>
                  </a:lnTo>
                  <a:lnTo>
                    <a:pt x="520" y="260"/>
                  </a:lnTo>
                  <a:lnTo>
                    <a:pt x="520" y="261"/>
                  </a:lnTo>
                  <a:lnTo>
                    <a:pt x="520" y="261"/>
                  </a:lnTo>
                  <a:lnTo>
                    <a:pt x="521" y="261"/>
                  </a:lnTo>
                  <a:lnTo>
                    <a:pt x="522" y="261"/>
                  </a:lnTo>
                  <a:lnTo>
                    <a:pt x="526" y="262"/>
                  </a:lnTo>
                  <a:lnTo>
                    <a:pt x="527" y="263"/>
                  </a:lnTo>
                  <a:lnTo>
                    <a:pt x="528" y="263"/>
                  </a:lnTo>
                  <a:lnTo>
                    <a:pt x="529" y="264"/>
                  </a:lnTo>
                  <a:lnTo>
                    <a:pt x="529" y="264"/>
                  </a:lnTo>
                  <a:lnTo>
                    <a:pt x="530" y="265"/>
                  </a:lnTo>
                  <a:lnTo>
                    <a:pt x="530" y="265"/>
                  </a:lnTo>
                  <a:lnTo>
                    <a:pt x="531" y="266"/>
                  </a:lnTo>
                  <a:lnTo>
                    <a:pt x="531" y="267"/>
                  </a:lnTo>
                  <a:lnTo>
                    <a:pt x="531" y="267"/>
                  </a:lnTo>
                  <a:lnTo>
                    <a:pt x="531" y="268"/>
                  </a:lnTo>
                  <a:lnTo>
                    <a:pt x="530" y="269"/>
                  </a:lnTo>
                  <a:lnTo>
                    <a:pt x="530" y="269"/>
                  </a:lnTo>
                  <a:lnTo>
                    <a:pt x="530" y="270"/>
                  </a:lnTo>
                  <a:lnTo>
                    <a:pt x="529" y="271"/>
                  </a:lnTo>
                  <a:lnTo>
                    <a:pt x="528" y="272"/>
                  </a:lnTo>
                  <a:lnTo>
                    <a:pt x="527" y="272"/>
                  </a:lnTo>
                  <a:lnTo>
                    <a:pt x="526" y="273"/>
                  </a:lnTo>
                  <a:lnTo>
                    <a:pt x="524" y="273"/>
                  </a:lnTo>
                  <a:lnTo>
                    <a:pt x="521" y="274"/>
                  </a:lnTo>
                  <a:lnTo>
                    <a:pt x="518" y="274"/>
                  </a:lnTo>
                  <a:lnTo>
                    <a:pt x="514" y="274"/>
                  </a:lnTo>
                  <a:lnTo>
                    <a:pt x="512" y="275"/>
                  </a:lnTo>
                  <a:lnTo>
                    <a:pt x="510" y="275"/>
                  </a:lnTo>
                  <a:lnTo>
                    <a:pt x="509" y="276"/>
                  </a:lnTo>
                  <a:lnTo>
                    <a:pt x="507" y="277"/>
                  </a:lnTo>
                  <a:lnTo>
                    <a:pt x="506" y="278"/>
                  </a:lnTo>
                  <a:lnTo>
                    <a:pt x="505" y="278"/>
                  </a:lnTo>
                  <a:lnTo>
                    <a:pt x="505" y="279"/>
                  </a:lnTo>
                  <a:lnTo>
                    <a:pt x="504" y="280"/>
                  </a:lnTo>
                  <a:lnTo>
                    <a:pt x="503" y="281"/>
                  </a:lnTo>
                  <a:lnTo>
                    <a:pt x="502" y="282"/>
                  </a:lnTo>
                  <a:lnTo>
                    <a:pt x="501" y="284"/>
                  </a:lnTo>
                  <a:lnTo>
                    <a:pt x="499" y="288"/>
                  </a:lnTo>
                  <a:lnTo>
                    <a:pt x="498" y="289"/>
                  </a:lnTo>
                  <a:lnTo>
                    <a:pt x="497" y="291"/>
                  </a:lnTo>
                  <a:lnTo>
                    <a:pt x="495" y="294"/>
                  </a:lnTo>
                  <a:lnTo>
                    <a:pt x="493" y="295"/>
                  </a:lnTo>
                  <a:lnTo>
                    <a:pt x="492" y="297"/>
                  </a:lnTo>
                  <a:lnTo>
                    <a:pt x="491" y="299"/>
                  </a:lnTo>
                  <a:lnTo>
                    <a:pt x="491" y="300"/>
                  </a:lnTo>
                  <a:lnTo>
                    <a:pt x="491" y="301"/>
                  </a:lnTo>
                  <a:lnTo>
                    <a:pt x="490" y="303"/>
                  </a:lnTo>
                  <a:lnTo>
                    <a:pt x="490" y="307"/>
                  </a:lnTo>
                  <a:lnTo>
                    <a:pt x="490" y="310"/>
                  </a:lnTo>
                  <a:lnTo>
                    <a:pt x="490" y="312"/>
                  </a:lnTo>
                  <a:lnTo>
                    <a:pt x="489" y="315"/>
                  </a:lnTo>
                  <a:lnTo>
                    <a:pt x="488" y="319"/>
                  </a:lnTo>
                  <a:lnTo>
                    <a:pt x="488" y="321"/>
                  </a:lnTo>
                  <a:lnTo>
                    <a:pt x="488" y="322"/>
                  </a:lnTo>
                  <a:lnTo>
                    <a:pt x="488" y="323"/>
                  </a:lnTo>
                  <a:lnTo>
                    <a:pt x="488" y="324"/>
                  </a:lnTo>
                  <a:lnTo>
                    <a:pt x="488" y="325"/>
                  </a:lnTo>
                  <a:lnTo>
                    <a:pt x="489" y="325"/>
                  </a:lnTo>
                  <a:lnTo>
                    <a:pt x="489" y="326"/>
                  </a:lnTo>
                  <a:lnTo>
                    <a:pt x="490" y="327"/>
                  </a:lnTo>
                  <a:lnTo>
                    <a:pt x="491" y="327"/>
                  </a:lnTo>
                  <a:lnTo>
                    <a:pt x="495" y="331"/>
                  </a:lnTo>
                  <a:lnTo>
                    <a:pt x="502" y="336"/>
                  </a:lnTo>
                  <a:lnTo>
                    <a:pt x="503" y="336"/>
                  </a:lnTo>
                  <a:lnTo>
                    <a:pt x="503" y="337"/>
                  </a:lnTo>
                  <a:lnTo>
                    <a:pt x="503" y="337"/>
                  </a:lnTo>
                  <a:lnTo>
                    <a:pt x="504" y="338"/>
                  </a:lnTo>
                  <a:lnTo>
                    <a:pt x="503" y="338"/>
                  </a:lnTo>
                  <a:lnTo>
                    <a:pt x="503" y="338"/>
                  </a:lnTo>
                  <a:lnTo>
                    <a:pt x="503" y="339"/>
                  </a:lnTo>
                  <a:lnTo>
                    <a:pt x="501" y="340"/>
                  </a:lnTo>
                  <a:lnTo>
                    <a:pt x="501" y="340"/>
                  </a:lnTo>
                  <a:lnTo>
                    <a:pt x="500" y="341"/>
                  </a:lnTo>
                  <a:lnTo>
                    <a:pt x="500" y="341"/>
                  </a:lnTo>
                  <a:lnTo>
                    <a:pt x="500" y="342"/>
                  </a:lnTo>
                  <a:lnTo>
                    <a:pt x="500" y="342"/>
                  </a:lnTo>
                  <a:lnTo>
                    <a:pt x="500" y="343"/>
                  </a:lnTo>
                  <a:lnTo>
                    <a:pt x="501" y="343"/>
                  </a:lnTo>
                  <a:lnTo>
                    <a:pt x="501" y="344"/>
                  </a:lnTo>
                  <a:lnTo>
                    <a:pt x="502" y="344"/>
                  </a:lnTo>
                  <a:lnTo>
                    <a:pt x="503" y="345"/>
                  </a:lnTo>
                  <a:lnTo>
                    <a:pt x="504" y="345"/>
                  </a:lnTo>
                  <a:lnTo>
                    <a:pt x="506" y="346"/>
                  </a:lnTo>
                  <a:lnTo>
                    <a:pt x="507" y="346"/>
                  </a:lnTo>
                  <a:lnTo>
                    <a:pt x="511" y="347"/>
                  </a:lnTo>
                  <a:lnTo>
                    <a:pt x="512" y="348"/>
                  </a:lnTo>
                  <a:lnTo>
                    <a:pt x="512" y="348"/>
                  </a:lnTo>
                  <a:lnTo>
                    <a:pt x="513" y="349"/>
                  </a:lnTo>
                  <a:lnTo>
                    <a:pt x="513" y="349"/>
                  </a:lnTo>
                  <a:lnTo>
                    <a:pt x="514" y="350"/>
                  </a:lnTo>
                  <a:lnTo>
                    <a:pt x="514" y="351"/>
                  </a:lnTo>
                  <a:lnTo>
                    <a:pt x="514" y="351"/>
                  </a:lnTo>
                  <a:lnTo>
                    <a:pt x="514" y="352"/>
                  </a:lnTo>
                  <a:lnTo>
                    <a:pt x="514" y="353"/>
                  </a:lnTo>
                  <a:lnTo>
                    <a:pt x="514" y="354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2" y="358"/>
                  </a:lnTo>
                  <a:lnTo>
                    <a:pt x="511" y="360"/>
                  </a:lnTo>
                  <a:lnTo>
                    <a:pt x="507" y="365"/>
                  </a:lnTo>
                  <a:lnTo>
                    <a:pt x="506" y="366"/>
                  </a:lnTo>
                  <a:lnTo>
                    <a:pt x="506" y="367"/>
                  </a:lnTo>
                  <a:lnTo>
                    <a:pt x="505" y="368"/>
                  </a:lnTo>
                  <a:lnTo>
                    <a:pt x="505" y="369"/>
                  </a:lnTo>
                  <a:lnTo>
                    <a:pt x="505" y="370"/>
                  </a:lnTo>
                  <a:lnTo>
                    <a:pt x="505" y="371"/>
                  </a:lnTo>
                  <a:lnTo>
                    <a:pt x="505" y="372"/>
                  </a:lnTo>
                  <a:lnTo>
                    <a:pt x="506" y="374"/>
                  </a:lnTo>
                  <a:lnTo>
                    <a:pt x="506" y="375"/>
                  </a:lnTo>
                  <a:lnTo>
                    <a:pt x="507" y="376"/>
                  </a:lnTo>
                  <a:lnTo>
                    <a:pt x="507" y="377"/>
                  </a:lnTo>
                  <a:lnTo>
                    <a:pt x="509" y="379"/>
                  </a:lnTo>
                  <a:lnTo>
                    <a:pt x="510" y="381"/>
                  </a:lnTo>
                  <a:lnTo>
                    <a:pt x="511" y="382"/>
                  </a:lnTo>
                  <a:lnTo>
                    <a:pt x="511" y="383"/>
                  </a:lnTo>
                  <a:lnTo>
                    <a:pt x="512" y="384"/>
                  </a:lnTo>
                  <a:lnTo>
                    <a:pt x="512" y="384"/>
                  </a:lnTo>
                  <a:lnTo>
                    <a:pt x="512" y="385"/>
                  </a:lnTo>
                  <a:lnTo>
                    <a:pt x="512" y="386"/>
                  </a:lnTo>
                  <a:lnTo>
                    <a:pt x="511" y="387"/>
                  </a:lnTo>
                  <a:lnTo>
                    <a:pt x="511" y="387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08" y="390"/>
                  </a:lnTo>
                  <a:lnTo>
                    <a:pt x="505" y="392"/>
                  </a:lnTo>
                  <a:lnTo>
                    <a:pt x="503" y="393"/>
                  </a:lnTo>
                  <a:lnTo>
                    <a:pt x="502" y="394"/>
                  </a:lnTo>
                  <a:lnTo>
                    <a:pt x="501" y="396"/>
                  </a:lnTo>
                  <a:lnTo>
                    <a:pt x="500" y="397"/>
                  </a:lnTo>
                  <a:lnTo>
                    <a:pt x="499" y="399"/>
                  </a:lnTo>
                  <a:lnTo>
                    <a:pt x="498" y="400"/>
                  </a:lnTo>
                  <a:lnTo>
                    <a:pt x="497" y="402"/>
                  </a:lnTo>
                  <a:lnTo>
                    <a:pt x="497" y="403"/>
                  </a:lnTo>
                  <a:lnTo>
                    <a:pt x="496" y="405"/>
                  </a:lnTo>
                  <a:lnTo>
                    <a:pt x="496" y="406"/>
                  </a:lnTo>
                  <a:lnTo>
                    <a:pt x="495" y="408"/>
                  </a:lnTo>
                  <a:lnTo>
                    <a:pt x="495" y="409"/>
                  </a:lnTo>
                  <a:lnTo>
                    <a:pt x="495" y="410"/>
                  </a:lnTo>
                  <a:lnTo>
                    <a:pt x="495" y="411"/>
                  </a:lnTo>
                  <a:lnTo>
                    <a:pt x="495" y="412"/>
                  </a:lnTo>
                  <a:lnTo>
                    <a:pt x="495" y="413"/>
                  </a:lnTo>
                  <a:lnTo>
                    <a:pt x="496" y="414"/>
                  </a:lnTo>
                  <a:lnTo>
                    <a:pt x="496" y="415"/>
                  </a:lnTo>
                  <a:lnTo>
                    <a:pt x="496" y="415"/>
                  </a:lnTo>
                  <a:lnTo>
                    <a:pt x="497" y="416"/>
                  </a:lnTo>
                  <a:lnTo>
                    <a:pt x="498" y="417"/>
                  </a:lnTo>
                  <a:lnTo>
                    <a:pt x="500" y="418"/>
                  </a:lnTo>
                  <a:lnTo>
                    <a:pt x="503" y="421"/>
                  </a:lnTo>
                  <a:lnTo>
                    <a:pt x="504" y="422"/>
                  </a:lnTo>
                  <a:lnTo>
                    <a:pt x="505" y="423"/>
                  </a:lnTo>
                  <a:lnTo>
                    <a:pt x="506" y="423"/>
                  </a:lnTo>
                  <a:lnTo>
                    <a:pt x="506" y="424"/>
                  </a:lnTo>
                  <a:lnTo>
                    <a:pt x="507" y="425"/>
                  </a:lnTo>
                  <a:lnTo>
                    <a:pt x="507" y="426"/>
                  </a:lnTo>
                  <a:lnTo>
                    <a:pt x="508" y="427"/>
                  </a:lnTo>
                  <a:lnTo>
                    <a:pt x="508" y="428"/>
                  </a:lnTo>
                  <a:lnTo>
                    <a:pt x="508" y="429"/>
                  </a:lnTo>
                  <a:lnTo>
                    <a:pt x="508" y="431"/>
                  </a:lnTo>
                  <a:lnTo>
                    <a:pt x="508" y="433"/>
                  </a:lnTo>
                  <a:lnTo>
                    <a:pt x="508" y="434"/>
                  </a:lnTo>
                  <a:lnTo>
                    <a:pt x="508" y="435"/>
                  </a:lnTo>
                  <a:lnTo>
                    <a:pt x="507" y="436"/>
                  </a:lnTo>
                  <a:lnTo>
                    <a:pt x="507" y="437"/>
                  </a:lnTo>
                  <a:lnTo>
                    <a:pt x="506" y="438"/>
                  </a:lnTo>
                  <a:lnTo>
                    <a:pt x="504" y="439"/>
                  </a:lnTo>
                  <a:lnTo>
                    <a:pt x="502" y="440"/>
                  </a:lnTo>
                  <a:lnTo>
                    <a:pt x="501" y="441"/>
                  </a:lnTo>
                  <a:lnTo>
                    <a:pt x="498" y="442"/>
                  </a:lnTo>
                  <a:lnTo>
                    <a:pt x="497" y="443"/>
                  </a:lnTo>
                  <a:lnTo>
                    <a:pt x="496" y="444"/>
                  </a:lnTo>
                  <a:lnTo>
                    <a:pt x="495" y="444"/>
                  </a:lnTo>
                  <a:lnTo>
                    <a:pt x="495" y="445"/>
                  </a:lnTo>
                  <a:lnTo>
                    <a:pt x="494" y="446"/>
                  </a:lnTo>
                  <a:lnTo>
                    <a:pt x="494" y="446"/>
                  </a:lnTo>
                  <a:lnTo>
                    <a:pt x="493" y="448"/>
                  </a:lnTo>
                  <a:lnTo>
                    <a:pt x="493" y="449"/>
                  </a:lnTo>
                  <a:lnTo>
                    <a:pt x="493" y="450"/>
                  </a:lnTo>
                  <a:lnTo>
                    <a:pt x="493" y="451"/>
                  </a:lnTo>
                  <a:lnTo>
                    <a:pt x="493" y="452"/>
                  </a:lnTo>
                  <a:lnTo>
                    <a:pt x="494" y="455"/>
                  </a:lnTo>
                  <a:lnTo>
                    <a:pt x="494" y="457"/>
                  </a:lnTo>
                  <a:lnTo>
                    <a:pt x="495" y="458"/>
                  </a:lnTo>
                  <a:lnTo>
                    <a:pt x="495" y="459"/>
                  </a:lnTo>
                  <a:lnTo>
                    <a:pt x="495" y="460"/>
                  </a:lnTo>
                  <a:lnTo>
                    <a:pt x="495" y="460"/>
                  </a:lnTo>
                  <a:lnTo>
                    <a:pt x="494" y="461"/>
                  </a:lnTo>
                  <a:lnTo>
                    <a:pt x="494" y="462"/>
                  </a:lnTo>
                  <a:lnTo>
                    <a:pt x="493" y="463"/>
                  </a:lnTo>
                  <a:lnTo>
                    <a:pt x="492" y="464"/>
                  </a:lnTo>
                  <a:lnTo>
                    <a:pt x="492" y="465"/>
                  </a:lnTo>
                  <a:lnTo>
                    <a:pt x="491" y="465"/>
                  </a:lnTo>
                  <a:lnTo>
                    <a:pt x="489" y="466"/>
                  </a:lnTo>
                  <a:lnTo>
                    <a:pt x="488" y="466"/>
                  </a:lnTo>
                  <a:lnTo>
                    <a:pt x="487" y="467"/>
                  </a:lnTo>
                  <a:lnTo>
                    <a:pt x="486" y="467"/>
                  </a:lnTo>
                  <a:lnTo>
                    <a:pt x="485" y="467"/>
                  </a:lnTo>
                  <a:lnTo>
                    <a:pt x="485" y="468"/>
                  </a:lnTo>
                  <a:lnTo>
                    <a:pt x="485" y="468"/>
                  </a:lnTo>
                  <a:lnTo>
                    <a:pt x="485" y="468"/>
                  </a:lnTo>
                  <a:lnTo>
                    <a:pt x="485" y="469"/>
                  </a:lnTo>
                  <a:lnTo>
                    <a:pt x="485" y="470"/>
                  </a:lnTo>
                  <a:lnTo>
                    <a:pt x="485" y="471"/>
                  </a:lnTo>
                  <a:lnTo>
                    <a:pt x="486" y="472"/>
                  </a:lnTo>
                  <a:lnTo>
                    <a:pt x="487" y="473"/>
                  </a:lnTo>
                  <a:lnTo>
                    <a:pt x="489" y="475"/>
                  </a:lnTo>
                  <a:lnTo>
                    <a:pt x="490" y="476"/>
                  </a:lnTo>
                  <a:lnTo>
                    <a:pt x="494" y="480"/>
                  </a:lnTo>
                  <a:lnTo>
                    <a:pt x="496" y="481"/>
                  </a:lnTo>
                  <a:lnTo>
                    <a:pt x="496" y="482"/>
                  </a:lnTo>
                  <a:lnTo>
                    <a:pt x="497" y="483"/>
                  </a:lnTo>
                  <a:lnTo>
                    <a:pt x="498" y="484"/>
                  </a:lnTo>
                  <a:lnTo>
                    <a:pt x="498" y="485"/>
                  </a:lnTo>
                  <a:lnTo>
                    <a:pt x="499" y="486"/>
                  </a:lnTo>
                  <a:lnTo>
                    <a:pt x="499" y="487"/>
                  </a:lnTo>
                  <a:lnTo>
                    <a:pt x="498" y="487"/>
                  </a:lnTo>
                  <a:lnTo>
                    <a:pt x="498" y="488"/>
                  </a:lnTo>
                  <a:lnTo>
                    <a:pt x="498" y="489"/>
                  </a:lnTo>
                  <a:lnTo>
                    <a:pt x="497" y="490"/>
                  </a:lnTo>
                  <a:lnTo>
                    <a:pt x="496" y="491"/>
                  </a:lnTo>
                  <a:lnTo>
                    <a:pt x="495" y="491"/>
                  </a:lnTo>
                  <a:lnTo>
                    <a:pt x="493" y="494"/>
                  </a:lnTo>
                  <a:lnTo>
                    <a:pt x="492" y="495"/>
                  </a:lnTo>
                  <a:lnTo>
                    <a:pt x="491" y="495"/>
                  </a:lnTo>
                  <a:lnTo>
                    <a:pt x="491" y="496"/>
                  </a:lnTo>
                  <a:lnTo>
                    <a:pt x="490" y="497"/>
                  </a:lnTo>
                  <a:lnTo>
                    <a:pt x="489" y="500"/>
                  </a:lnTo>
                  <a:lnTo>
                    <a:pt x="489" y="501"/>
                  </a:lnTo>
                  <a:lnTo>
                    <a:pt x="488" y="502"/>
                  </a:lnTo>
                  <a:lnTo>
                    <a:pt x="487" y="503"/>
                  </a:lnTo>
                  <a:lnTo>
                    <a:pt x="486" y="504"/>
                  </a:lnTo>
                  <a:lnTo>
                    <a:pt x="486" y="505"/>
                  </a:lnTo>
                  <a:lnTo>
                    <a:pt x="485" y="505"/>
                  </a:lnTo>
                  <a:lnTo>
                    <a:pt x="484" y="506"/>
                  </a:lnTo>
                  <a:lnTo>
                    <a:pt x="483" y="507"/>
                  </a:lnTo>
                  <a:lnTo>
                    <a:pt x="483" y="507"/>
                  </a:lnTo>
                  <a:lnTo>
                    <a:pt x="482" y="507"/>
                  </a:lnTo>
                  <a:lnTo>
                    <a:pt x="481" y="508"/>
                  </a:lnTo>
                  <a:lnTo>
                    <a:pt x="478" y="508"/>
                  </a:lnTo>
                  <a:lnTo>
                    <a:pt x="475" y="509"/>
                  </a:lnTo>
                  <a:lnTo>
                    <a:pt x="471" y="510"/>
                  </a:lnTo>
                  <a:lnTo>
                    <a:pt x="466" y="510"/>
                  </a:lnTo>
                  <a:lnTo>
                    <a:pt x="463" y="510"/>
                  </a:lnTo>
                  <a:lnTo>
                    <a:pt x="461" y="511"/>
                  </a:lnTo>
                  <a:lnTo>
                    <a:pt x="459" y="512"/>
                  </a:lnTo>
                  <a:lnTo>
                    <a:pt x="458" y="512"/>
                  </a:lnTo>
                  <a:lnTo>
                    <a:pt x="457" y="513"/>
                  </a:lnTo>
                  <a:lnTo>
                    <a:pt x="456" y="514"/>
                  </a:lnTo>
                  <a:lnTo>
                    <a:pt x="455" y="514"/>
                  </a:lnTo>
                  <a:lnTo>
                    <a:pt x="454" y="516"/>
                  </a:lnTo>
                  <a:lnTo>
                    <a:pt x="453" y="517"/>
                  </a:lnTo>
                  <a:lnTo>
                    <a:pt x="453" y="518"/>
                  </a:lnTo>
                  <a:lnTo>
                    <a:pt x="452" y="519"/>
                  </a:lnTo>
                  <a:lnTo>
                    <a:pt x="453" y="520"/>
                  </a:lnTo>
                  <a:lnTo>
                    <a:pt x="453" y="523"/>
                  </a:lnTo>
                  <a:lnTo>
                    <a:pt x="453" y="524"/>
                  </a:lnTo>
                  <a:lnTo>
                    <a:pt x="453" y="524"/>
                  </a:lnTo>
                  <a:lnTo>
                    <a:pt x="452" y="525"/>
                  </a:lnTo>
                  <a:lnTo>
                    <a:pt x="452" y="526"/>
                  </a:lnTo>
                  <a:lnTo>
                    <a:pt x="451" y="526"/>
                  </a:lnTo>
                  <a:lnTo>
                    <a:pt x="451" y="527"/>
                  </a:lnTo>
                  <a:lnTo>
                    <a:pt x="450" y="528"/>
                  </a:lnTo>
                  <a:lnTo>
                    <a:pt x="446" y="530"/>
                  </a:lnTo>
                  <a:lnTo>
                    <a:pt x="445" y="531"/>
                  </a:lnTo>
                  <a:lnTo>
                    <a:pt x="444" y="531"/>
                  </a:lnTo>
                  <a:lnTo>
                    <a:pt x="442" y="531"/>
                  </a:lnTo>
                  <a:lnTo>
                    <a:pt x="439" y="532"/>
                  </a:lnTo>
                  <a:lnTo>
                    <a:pt x="434" y="533"/>
                  </a:lnTo>
                  <a:lnTo>
                    <a:pt x="431" y="534"/>
                  </a:lnTo>
                  <a:lnTo>
                    <a:pt x="430" y="534"/>
                  </a:lnTo>
                  <a:lnTo>
                    <a:pt x="429" y="534"/>
                  </a:lnTo>
                  <a:lnTo>
                    <a:pt x="425" y="533"/>
                  </a:lnTo>
                  <a:lnTo>
                    <a:pt x="422" y="533"/>
                  </a:lnTo>
                  <a:lnTo>
                    <a:pt x="421" y="532"/>
                  </a:lnTo>
                  <a:lnTo>
                    <a:pt x="418" y="532"/>
                  </a:lnTo>
                  <a:lnTo>
                    <a:pt x="416" y="531"/>
                  </a:lnTo>
                  <a:lnTo>
                    <a:pt x="413" y="531"/>
                  </a:lnTo>
                  <a:lnTo>
                    <a:pt x="412" y="531"/>
                  </a:lnTo>
                  <a:lnTo>
                    <a:pt x="411" y="531"/>
                  </a:lnTo>
                  <a:lnTo>
                    <a:pt x="410" y="531"/>
                  </a:lnTo>
                  <a:lnTo>
                    <a:pt x="409" y="531"/>
                  </a:lnTo>
                  <a:lnTo>
                    <a:pt x="408" y="532"/>
                  </a:lnTo>
                  <a:lnTo>
                    <a:pt x="406" y="533"/>
                  </a:lnTo>
                  <a:lnTo>
                    <a:pt x="405" y="534"/>
                  </a:lnTo>
                  <a:lnTo>
                    <a:pt x="403" y="536"/>
                  </a:lnTo>
                  <a:lnTo>
                    <a:pt x="401" y="536"/>
                  </a:lnTo>
                  <a:lnTo>
                    <a:pt x="399" y="537"/>
                  </a:lnTo>
                  <a:lnTo>
                    <a:pt x="397" y="537"/>
                  </a:lnTo>
                  <a:lnTo>
                    <a:pt x="395" y="537"/>
                  </a:lnTo>
                  <a:lnTo>
                    <a:pt x="394" y="537"/>
                  </a:lnTo>
                  <a:lnTo>
                    <a:pt x="393" y="537"/>
                  </a:lnTo>
                  <a:lnTo>
                    <a:pt x="392" y="537"/>
                  </a:lnTo>
                  <a:lnTo>
                    <a:pt x="390" y="536"/>
                  </a:lnTo>
                  <a:lnTo>
                    <a:pt x="389" y="536"/>
                  </a:lnTo>
                  <a:lnTo>
                    <a:pt x="388" y="535"/>
                  </a:lnTo>
                  <a:lnTo>
                    <a:pt x="384" y="533"/>
                  </a:lnTo>
                  <a:lnTo>
                    <a:pt x="383" y="532"/>
                  </a:lnTo>
                  <a:lnTo>
                    <a:pt x="382" y="531"/>
                  </a:lnTo>
                  <a:lnTo>
                    <a:pt x="382" y="530"/>
                  </a:lnTo>
                  <a:lnTo>
                    <a:pt x="380" y="528"/>
                  </a:lnTo>
                  <a:lnTo>
                    <a:pt x="379" y="527"/>
                  </a:lnTo>
                  <a:lnTo>
                    <a:pt x="378" y="526"/>
                  </a:lnTo>
                  <a:lnTo>
                    <a:pt x="378" y="525"/>
                  </a:lnTo>
                  <a:lnTo>
                    <a:pt x="377" y="525"/>
                  </a:lnTo>
                  <a:lnTo>
                    <a:pt x="377" y="525"/>
                  </a:lnTo>
                  <a:lnTo>
                    <a:pt x="376" y="525"/>
                  </a:lnTo>
                  <a:lnTo>
                    <a:pt x="375" y="525"/>
                  </a:lnTo>
                  <a:lnTo>
                    <a:pt x="374" y="525"/>
                  </a:lnTo>
                  <a:lnTo>
                    <a:pt x="373" y="525"/>
                  </a:lnTo>
                  <a:lnTo>
                    <a:pt x="371" y="526"/>
                  </a:lnTo>
                  <a:lnTo>
                    <a:pt x="369" y="527"/>
                  </a:lnTo>
                  <a:lnTo>
                    <a:pt x="368" y="527"/>
                  </a:lnTo>
                  <a:lnTo>
                    <a:pt x="367" y="528"/>
                  </a:lnTo>
                  <a:lnTo>
                    <a:pt x="367" y="528"/>
                  </a:lnTo>
                  <a:lnTo>
                    <a:pt x="366" y="529"/>
                  </a:lnTo>
                  <a:lnTo>
                    <a:pt x="363" y="532"/>
                  </a:lnTo>
                  <a:lnTo>
                    <a:pt x="362" y="533"/>
                  </a:lnTo>
                  <a:lnTo>
                    <a:pt x="361" y="534"/>
                  </a:lnTo>
                  <a:lnTo>
                    <a:pt x="360" y="535"/>
                  </a:lnTo>
                  <a:lnTo>
                    <a:pt x="359" y="535"/>
                  </a:lnTo>
                  <a:lnTo>
                    <a:pt x="358" y="536"/>
                  </a:lnTo>
                  <a:lnTo>
                    <a:pt x="358" y="536"/>
                  </a:lnTo>
                  <a:lnTo>
                    <a:pt x="357" y="536"/>
                  </a:lnTo>
                  <a:lnTo>
                    <a:pt x="356" y="536"/>
                  </a:lnTo>
                  <a:lnTo>
                    <a:pt x="355" y="537"/>
                  </a:lnTo>
                  <a:lnTo>
                    <a:pt x="354" y="536"/>
                  </a:lnTo>
                  <a:lnTo>
                    <a:pt x="351" y="536"/>
                  </a:lnTo>
                  <a:lnTo>
                    <a:pt x="350" y="536"/>
                  </a:lnTo>
                  <a:lnTo>
                    <a:pt x="349" y="536"/>
                  </a:lnTo>
                  <a:lnTo>
                    <a:pt x="348" y="536"/>
                  </a:lnTo>
                  <a:lnTo>
                    <a:pt x="348" y="536"/>
                  </a:lnTo>
                  <a:lnTo>
                    <a:pt x="347" y="536"/>
                  </a:lnTo>
                  <a:lnTo>
                    <a:pt x="347" y="537"/>
                  </a:lnTo>
                  <a:lnTo>
                    <a:pt x="346" y="537"/>
                  </a:lnTo>
                  <a:lnTo>
                    <a:pt x="345" y="538"/>
                  </a:lnTo>
                  <a:lnTo>
                    <a:pt x="345" y="539"/>
                  </a:lnTo>
                  <a:lnTo>
                    <a:pt x="344" y="540"/>
                  </a:lnTo>
                  <a:lnTo>
                    <a:pt x="343" y="542"/>
                  </a:lnTo>
                  <a:lnTo>
                    <a:pt x="342" y="546"/>
                  </a:lnTo>
                  <a:lnTo>
                    <a:pt x="341" y="547"/>
                  </a:lnTo>
                  <a:lnTo>
                    <a:pt x="341" y="548"/>
                  </a:lnTo>
                  <a:lnTo>
                    <a:pt x="340" y="549"/>
                  </a:lnTo>
                  <a:lnTo>
                    <a:pt x="339" y="550"/>
                  </a:lnTo>
                  <a:lnTo>
                    <a:pt x="339" y="550"/>
                  </a:lnTo>
                  <a:lnTo>
                    <a:pt x="338" y="550"/>
                  </a:lnTo>
                  <a:lnTo>
                    <a:pt x="337" y="551"/>
                  </a:lnTo>
                  <a:lnTo>
                    <a:pt x="336" y="551"/>
                  </a:lnTo>
                  <a:lnTo>
                    <a:pt x="334" y="551"/>
                  </a:lnTo>
                  <a:lnTo>
                    <a:pt x="331" y="551"/>
                  </a:lnTo>
                  <a:lnTo>
                    <a:pt x="330" y="551"/>
                  </a:lnTo>
                  <a:lnTo>
                    <a:pt x="327" y="551"/>
                  </a:lnTo>
                  <a:lnTo>
                    <a:pt x="324" y="552"/>
                  </a:lnTo>
                  <a:lnTo>
                    <a:pt x="322" y="553"/>
                  </a:lnTo>
                  <a:lnTo>
                    <a:pt x="318" y="554"/>
                  </a:lnTo>
                  <a:lnTo>
                    <a:pt x="316" y="555"/>
                  </a:lnTo>
                  <a:lnTo>
                    <a:pt x="314" y="556"/>
                  </a:lnTo>
                  <a:lnTo>
                    <a:pt x="312" y="557"/>
                  </a:lnTo>
                  <a:lnTo>
                    <a:pt x="312" y="558"/>
                  </a:lnTo>
                  <a:lnTo>
                    <a:pt x="311" y="559"/>
                  </a:lnTo>
                  <a:lnTo>
                    <a:pt x="310" y="560"/>
                  </a:lnTo>
                  <a:lnTo>
                    <a:pt x="308" y="562"/>
                  </a:lnTo>
                  <a:lnTo>
                    <a:pt x="307" y="564"/>
                  </a:lnTo>
                  <a:lnTo>
                    <a:pt x="305" y="567"/>
                  </a:lnTo>
                  <a:lnTo>
                    <a:pt x="303" y="568"/>
                  </a:lnTo>
                  <a:lnTo>
                    <a:pt x="301" y="569"/>
                  </a:lnTo>
                  <a:lnTo>
                    <a:pt x="300" y="570"/>
                  </a:lnTo>
                  <a:lnTo>
                    <a:pt x="299" y="571"/>
                  </a:lnTo>
                  <a:lnTo>
                    <a:pt x="295" y="573"/>
                  </a:lnTo>
                  <a:lnTo>
                    <a:pt x="294" y="574"/>
                  </a:lnTo>
                  <a:lnTo>
                    <a:pt x="293" y="575"/>
                  </a:lnTo>
                  <a:lnTo>
                    <a:pt x="292" y="575"/>
                  </a:lnTo>
                  <a:lnTo>
                    <a:pt x="290" y="577"/>
                  </a:lnTo>
                  <a:lnTo>
                    <a:pt x="288" y="579"/>
                  </a:lnTo>
                  <a:lnTo>
                    <a:pt x="286" y="581"/>
                  </a:lnTo>
                  <a:lnTo>
                    <a:pt x="285" y="582"/>
                  </a:lnTo>
                  <a:lnTo>
                    <a:pt x="284" y="584"/>
                  </a:lnTo>
                  <a:lnTo>
                    <a:pt x="282" y="587"/>
                  </a:lnTo>
                  <a:lnTo>
                    <a:pt x="281" y="588"/>
                  </a:lnTo>
                  <a:lnTo>
                    <a:pt x="280" y="589"/>
                  </a:lnTo>
                  <a:lnTo>
                    <a:pt x="279" y="589"/>
                  </a:lnTo>
                  <a:lnTo>
                    <a:pt x="279" y="589"/>
                  </a:lnTo>
                  <a:lnTo>
                    <a:pt x="278" y="589"/>
                  </a:lnTo>
                  <a:lnTo>
                    <a:pt x="277" y="589"/>
                  </a:lnTo>
                  <a:lnTo>
                    <a:pt x="276" y="589"/>
                  </a:lnTo>
                  <a:lnTo>
                    <a:pt x="276" y="589"/>
                  </a:lnTo>
                  <a:lnTo>
                    <a:pt x="275" y="588"/>
                  </a:lnTo>
                  <a:lnTo>
                    <a:pt x="272" y="586"/>
                  </a:lnTo>
                  <a:lnTo>
                    <a:pt x="270" y="585"/>
                  </a:lnTo>
                  <a:lnTo>
                    <a:pt x="269" y="584"/>
                  </a:lnTo>
                  <a:lnTo>
                    <a:pt x="267" y="584"/>
                  </a:lnTo>
                  <a:lnTo>
                    <a:pt x="266" y="583"/>
                  </a:lnTo>
                  <a:lnTo>
                    <a:pt x="264" y="583"/>
                  </a:lnTo>
                  <a:lnTo>
                    <a:pt x="263" y="583"/>
                  </a:lnTo>
                  <a:lnTo>
                    <a:pt x="261" y="583"/>
                  </a:lnTo>
                  <a:lnTo>
                    <a:pt x="256" y="584"/>
                  </a:lnTo>
                  <a:lnTo>
                    <a:pt x="254" y="584"/>
                  </a:lnTo>
                  <a:lnTo>
                    <a:pt x="253" y="584"/>
                  </a:lnTo>
                  <a:lnTo>
                    <a:pt x="253" y="585"/>
                  </a:lnTo>
                  <a:lnTo>
                    <a:pt x="252" y="585"/>
                  </a:lnTo>
                  <a:lnTo>
                    <a:pt x="251" y="585"/>
                  </a:lnTo>
                  <a:lnTo>
                    <a:pt x="251" y="586"/>
                  </a:lnTo>
                  <a:lnTo>
                    <a:pt x="250" y="587"/>
                  </a:lnTo>
                  <a:lnTo>
                    <a:pt x="248" y="590"/>
                  </a:lnTo>
                  <a:lnTo>
                    <a:pt x="246" y="592"/>
                  </a:lnTo>
                  <a:lnTo>
                    <a:pt x="245" y="593"/>
                  </a:lnTo>
                  <a:lnTo>
                    <a:pt x="244" y="594"/>
                  </a:lnTo>
                  <a:lnTo>
                    <a:pt x="243" y="595"/>
                  </a:lnTo>
                  <a:lnTo>
                    <a:pt x="243" y="596"/>
                  </a:lnTo>
                  <a:lnTo>
                    <a:pt x="242" y="596"/>
                  </a:lnTo>
                  <a:lnTo>
                    <a:pt x="241" y="597"/>
                  </a:lnTo>
                  <a:lnTo>
                    <a:pt x="240" y="597"/>
                  </a:lnTo>
                  <a:lnTo>
                    <a:pt x="240" y="597"/>
                  </a:lnTo>
                  <a:lnTo>
                    <a:pt x="238" y="597"/>
                  </a:lnTo>
                  <a:lnTo>
                    <a:pt x="237" y="596"/>
                  </a:lnTo>
                  <a:lnTo>
                    <a:pt x="235" y="596"/>
                  </a:lnTo>
                  <a:lnTo>
                    <a:pt x="234" y="596"/>
                  </a:lnTo>
                  <a:lnTo>
                    <a:pt x="233" y="595"/>
                  </a:lnTo>
                  <a:lnTo>
                    <a:pt x="232" y="595"/>
                  </a:lnTo>
                  <a:lnTo>
                    <a:pt x="230" y="593"/>
                  </a:lnTo>
                  <a:lnTo>
                    <a:pt x="229" y="592"/>
                  </a:lnTo>
                  <a:lnTo>
                    <a:pt x="228" y="591"/>
                  </a:lnTo>
                  <a:lnTo>
                    <a:pt x="227" y="591"/>
                  </a:lnTo>
                  <a:lnTo>
                    <a:pt x="226" y="591"/>
                  </a:lnTo>
                  <a:lnTo>
                    <a:pt x="225" y="591"/>
                  </a:lnTo>
                  <a:lnTo>
                    <a:pt x="223" y="591"/>
                  </a:lnTo>
                  <a:lnTo>
                    <a:pt x="222" y="591"/>
                  </a:lnTo>
                  <a:lnTo>
                    <a:pt x="220" y="591"/>
                  </a:lnTo>
                  <a:lnTo>
                    <a:pt x="219" y="592"/>
                  </a:lnTo>
                  <a:lnTo>
                    <a:pt x="218" y="592"/>
                  </a:lnTo>
                  <a:lnTo>
                    <a:pt x="217" y="593"/>
                  </a:lnTo>
                  <a:lnTo>
                    <a:pt x="217" y="593"/>
                  </a:lnTo>
                  <a:lnTo>
                    <a:pt x="217" y="594"/>
                  </a:lnTo>
                  <a:lnTo>
                    <a:pt x="216" y="594"/>
                  </a:lnTo>
                  <a:lnTo>
                    <a:pt x="216" y="594"/>
                  </a:lnTo>
                  <a:lnTo>
                    <a:pt x="216" y="594"/>
                  </a:lnTo>
                  <a:lnTo>
                    <a:pt x="215" y="593"/>
                  </a:lnTo>
                  <a:lnTo>
                    <a:pt x="215" y="592"/>
                  </a:lnTo>
                  <a:lnTo>
                    <a:pt x="213" y="589"/>
                  </a:lnTo>
                  <a:lnTo>
                    <a:pt x="213" y="588"/>
                  </a:lnTo>
                  <a:lnTo>
                    <a:pt x="212" y="587"/>
                  </a:lnTo>
                  <a:lnTo>
                    <a:pt x="211" y="586"/>
                  </a:lnTo>
                  <a:lnTo>
                    <a:pt x="211" y="585"/>
                  </a:lnTo>
                  <a:lnTo>
                    <a:pt x="210" y="584"/>
                  </a:lnTo>
                  <a:lnTo>
                    <a:pt x="209" y="583"/>
                  </a:lnTo>
                  <a:lnTo>
                    <a:pt x="206" y="581"/>
                  </a:lnTo>
                  <a:lnTo>
                    <a:pt x="205" y="580"/>
                  </a:lnTo>
                  <a:lnTo>
                    <a:pt x="203" y="580"/>
                  </a:lnTo>
                  <a:lnTo>
                    <a:pt x="201" y="578"/>
                  </a:lnTo>
                  <a:lnTo>
                    <a:pt x="198" y="577"/>
                  </a:lnTo>
                  <a:lnTo>
                    <a:pt x="196" y="576"/>
                  </a:lnTo>
                  <a:lnTo>
                    <a:pt x="194" y="575"/>
                  </a:lnTo>
                  <a:lnTo>
                    <a:pt x="193" y="574"/>
                  </a:lnTo>
                  <a:lnTo>
                    <a:pt x="192" y="573"/>
                  </a:lnTo>
                  <a:lnTo>
                    <a:pt x="191" y="572"/>
                  </a:lnTo>
                  <a:lnTo>
                    <a:pt x="190" y="571"/>
                  </a:lnTo>
                  <a:lnTo>
                    <a:pt x="189" y="568"/>
                  </a:lnTo>
                  <a:lnTo>
                    <a:pt x="188" y="567"/>
                  </a:lnTo>
                  <a:lnTo>
                    <a:pt x="187" y="566"/>
                  </a:lnTo>
                  <a:lnTo>
                    <a:pt x="186" y="565"/>
                  </a:lnTo>
                  <a:lnTo>
                    <a:pt x="186" y="565"/>
                  </a:lnTo>
                  <a:lnTo>
                    <a:pt x="185" y="565"/>
                  </a:lnTo>
                  <a:lnTo>
                    <a:pt x="184" y="564"/>
                  </a:lnTo>
                  <a:lnTo>
                    <a:pt x="183" y="564"/>
                  </a:lnTo>
                  <a:lnTo>
                    <a:pt x="182" y="564"/>
                  </a:lnTo>
                  <a:lnTo>
                    <a:pt x="179" y="564"/>
                  </a:lnTo>
                  <a:lnTo>
                    <a:pt x="179" y="564"/>
                  </a:lnTo>
                  <a:lnTo>
                    <a:pt x="178" y="563"/>
                  </a:lnTo>
                  <a:lnTo>
                    <a:pt x="177" y="563"/>
                  </a:lnTo>
                  <a:lnTo>
                    <a:pt x="177" y="563"/>
                  </a:lnTo>
                  <a:lnTo>
                    <a:pt x="177" y="562"/>
                  </a:lnTo>
                  <a:lnTo>
                    <a:pt x="177" y="561"/>
                  </a:lnTo>
                  <a:lnTo>
                    <a:pt x="177" y="561"/>
                  </a:lnTo>
                  <a:lnTo>
                    <a:pt x="177" y="560"/>
                  </a:lnTo>
                  <a:lnTo>
                    <a:pt x="177" y="559"/>
                  </a:lnTo>
                  <a:lnTo>
                    <a:pt x="177" y="559"/>
                  </a:lnTo>
                  <a:lnTo>
                    <a:pt x="178" y="557"/>
                  </a:lnTo>
                  <a:lnTo>
                    <a:pt x="179" y="556"/>
                  </a:lnTo>
                  <a:lnTo>
                    <a:pt x="180" y="554"/>
                  </a:lnTo>
                  <a:lnTo>
                    <a:pt x="182" y="551"/>
                  </a:lnTo>
                  <a:lnTo>
                    <a:pt x="183" y="551"/>
                  </a:lnTo>
                  <a:lnTo>
                    <a:pt x="185" y="549"/>
                  </a:lnTo>
                  <a:lnTo>
                    <a:pt x="188" y="545"/>
                  </a:lnTo>
                  <a:lnTo>
                    <a:pt x="189" y="544"/>
                  </a:lnTo>
                  <a:lnTo>
                    <a:pt x="190" y="543"/>
                  </a:lnTo>
                  <a:lnTo>
                    <a:pt x="190" y="542"/>
                  </a:lnTo>
                  <a:lnTo>
                    <a:pt x="191" y="541"/>
                  </a:lnTo>
                  <a:lnTo>
                    <a:pt x="192" y="537"/>
                  </a:lnTo>
                  <a:lnTo>
                    <a:pt x="193" y="536"/>
                  </a:lnTo>
                  <a:lnTo>
                    <a:pt x="193" y="535"/>
                  </a:lnTo>
                  <a:lnTo>
                    <a:pt x="195" y="531"/>
                  </a:lnTo>
                  <a:lnTo>
                    <a:pt x="196" y="530"/>
                  </a:lnTo>
                  <a:lnTo>
                    <a:pt x="197" y="529"/>
                  </a:lnTo>
                  <a:lnTo>
                    <a:pt x="197" y="528"/>
                  </a:lnTo>
                  <a:lnTo>
                    <a:pt x="197" y="527"/>
                  </a:lnTo>
                  <a:lnTo>
                    <a:pt x="198" y="524"/>
                  </a:lnTo>
                  <a:lnTo>
                    <a:pt x="198" y="523"/>
                  </a:lnTo>
                  <a:lnTo>
                    <a:pt x="199" y="521"/>
                  </a:lnTo>
                  <a:lnTo>
                    <a:pt x="200" y="520"/>
                  </a:lnTo>
                  <a:lnTo>
                    <a:pt x="201" y="518"/>
                  </a:lnTo>
                  <a:lnTo>
                    <a:pt x="202" y="515"/>
                  </a:lnTo>
                  <a:lnTo>
                    <a:pt x="203" y="514"/>
                  </a:lnTo>
                  <a:lnTo>
                    <a:pt x="204" y="514"/>
                  </a:lnTo>
                  <a:lnTo>
                    <a:pt x="204" y="513"/>
                  </a:lnTo>
                  <a:lnTo>
                    <a:pt x="205" y="513"/>
                  </a:lnTo>
                  <a:lnTo>
                    <a:pt x="206" y="513"/>
                  </a:lnTo>
                  <a:lnTo>
                    <a:pt x="207" y="512"/>
                  </a:lnTo>
                  <a:lnTo>
                    <a:pt x="210" y="512"/>
                  </a:lnTo>
                  <a:lnTo>
                    <a:pt x="213" y="511"/>
                  </a:lnTo>
                  <a:lnTo>
                    <a:pt x="214" y="510"/>
                  </a:lnTo>
                  <a:lnTo>
                    <a:pt x="216" y="510"/>
                  </a:lnTo>
                  <a:lnTo>
                    <a:pt x="216" y="509"/>
                  </a:lnTo>
                  <a:lnTo>
                    <a:pt x="217" y="509"/>
                  </a:lnTo>
                  <a:lnTo>
                    <a:pt x="218" y="508"/>
                  </a:lnTo>
                  <a:lnTo>
                    <a:pt x="218" y="508"/>
                  </a:lnTo>
                  <a:lnTo>
                    <a:pt x="219" y="506"/>
                  </a:lnTo>
                  <a:lnTo>
                    <a:pt x="219" y="504"/>
                  </a:lnTo>
                  <a:lnTo>
                    <a:pt x="220" y="503"/>
                  </a:lnTo>
                  <a:lnTo>
                    <a:pt x="220" y="502"/>
                  </a:lnTo>
                  <a:lnTo>
                    <a:pt x="220" y="501"/>
                  </a:lnTo>
                  <a:lnTo>
                    <a:pt x="219" y="500"/>
                  </a:lnTo>
                  <a:lnTo>
                    <a:pt x="219" y="499"/>
                  </a:lnTo>
                  <a:lnTo>
                    <a:pt x="218" y="498"/>
                  </a:lnTo>
                  <a:lnTo>
                    <a:pt x="215" y="494"/>
                  </a:lnTo>
                  <a:lnTo>
                    <a:pt x="214" y="493"/>
                  </a:lnTo>
                  <a:lnTo>
                    <a:pt x="214" y="492"/>
                  </a:lnTo>
                  <a:lnTo>
                    <a:pt x="212" y="492"/>
                  </a:lnTo>
                  <a:lnTo>
                    <a:pt x="210" y="490"/>
                  </a:lnTo>
                  <a:lnTo>
                    <a:pt x="208" y="489"/>
                  </a:lnTo>
                  <a:lnTo>
                    <a:pt x="207" y="488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5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3"/>
                  </a:lnTo>
                  <a:lnTo>
                    <a:pt x="205" y="482"/>
                  </a:lnTo>
                  <a:lnTo>
                    <a:pt x="206" y="481"/>
                  </a:lnTo>
                  <a:lnTo>
                    <a:pt x="206" y="481"/>
                  </a:lnTo>
                  <a:lnTo>
                    <a:pt x="206" y="480"/>
                  </a:lnTo>
                  <a:lnTo>
                    <a:pt x="205" y="479"/>
                  </a:lnTo>
                  <a:lnTo>
                    <a:pt x="205" y="478"/>
                  </a:lnTo>
                  <a:lnTo>
                    <a:pt x="205" y="477"/>
                  </a:lnTo>
                  <a:lnTo>
                    <a:pt x="204" y="477"/>
                  </a:lnTo>
                  <a:lnTo>
                    <a:pt x="203" y="476"/>
                  </a:lnTo>
                  <a:lnTo>
                    <a:pt x="202" y="475"/>
                  </a:lnTo>
                  <a:lnTo>
                    <a:pt x="201" y="475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8" y="474"/>
                  </a:lnTo>
                  <a:lnTo>
                    <a:pt x="198" y="474"/>
                  </a:lnTo>
                  <a:lnTo>
                    <a:pt x="197" y="474"/>
                  </a:lnTo>
                  <a:lnTo>
                    <a:pt x="196" y="474"/>
                  </a:lnTo>
                  <a:lnTo>
                    <a:pt x="195" y="474"/>
                  </a:lnTo>
                  <a:lnTo>
                    <a:pt x="195" y="474"/>
                  </a:lnTo>
                  <a:lnTo>
                    <a:pt x="193" y="475"/>
                  </a:lnTo>
                  <a:lnTo>
                    <a:pt x="191" y="476"/>
                  </a:lnTo>
                  <a:lnTo>
                    <a:pt x="191" y="476"/>
                  </a:lnTo>
                  <a:lnTo>
                    <a:pt x="187" y="476"/>
                  </a:lnTo>
                  <a:lnTo>
                    <a:pt x="185" y="477"/>
                  </a:lnTo>
                  <a:lnTo>
                    <a:pt x="183" y="477"/>
                  </a:lnTo>
                  <a:lnTo>
                    <a:pt x="180" y="479"/>
                  </a:lnTo>
                  <a:lnTo>
                    <a:pt x="178" y="479"/>
                  </a:lnTo>
                  <a:lnTo>
                    <a:pt x="177" y="480"/>
                  </a:lnTo>
                  <a:lnTo>
                    <a:pt x="175" y="480"/>
                  </a:lnTo>
                  <a:lnTo>
                    <a:pt x="173" y="480"/>
                  </a:lnTo>
                  <a:lnTo>
                    <a:pt x="169" y="480"/>
                  </a:lnTo>
                  <a:lnTo>
                    <a:pt x="166" y="480"/>
                  </a:lnTo>
                  <a:lnTo>
                    <a:pt x="164" y="480"/>
                  </a:lnTo>
                  <a:lnTo>
                    <a:pt x="162" y="480"/>
                  </a:lnTo>
                  <a:lnTo>
                    <a:pt x="161" y="479"/>
                  </a:lnTo>
                  <a:lnTo>
                    <a:pt x="156" y="478"/>
                  </a:lnTo>
                  <a:lnTo>
                    <a:pt x="155" y="478"/>
                  </a:lnTo>
                  <a:lnTo>
                    <a:pt x="154" y="478"/>
                  </a:lnTo>
                  <a:lnTo>
                    <a:pt x="153" y="477"/>
                  </a:lnTo>
                  <a:lnTo>
                    <a:pt x="152" y="477"/>
                  </a:lnTo>
                  <a:lnTo>
                    <a:pt x="150" y="478"/>
                  </a:lnTo>
                  <a:lnTo>
                    <a:pt x="149" y="478"/>
                  </a:lnTo>
                  <a:lnTo>
                    <a:pt x="147" y="479"/>
                  </a:lnTo>
                  <a:lnTo>
                    <a:pt x="146" y="479"/>
                  </a:lnTo>
                  <a:lnTo>
                    <a:pt x="146" y="479"/>
                  </a:lnTo>
                  <a:lnTo>
                    <a:pt x="145" y="479"/>
                  </a:lnTo>
                  <a:lnTo>
                    <a:pt x="145" y="479"/>
                  </a:lnTo>
                  <a:lnTo>
                    <a:pt x="144" y="479"/>
                  </a:lnTo>
                  <a:lnTo>
                    <a:pt x="143" y="479"/>
                  </a:lnTo>
                  <a:lnTo>
                    <a:pt x="140" y="477"/>
                  </a:lnTo>
                  <a:lnTo>
                    <a:pt x="133" y="473"/>
                  </a:lnTo>
                  <a:lnTo>
                    <a:pt x="131" y="471"/>
                  </a:lnTo>
                  <a:lnTo>
                    <a:pt x="129" y="470"/>
                  </a:lnTo>
                  <a:lnTo>
                    <a:pt x="128" y="469"/>
                  </a:lnTo>
                  <a:lnTo>
                    <a:pt x="124" y="465"/>
                  </a:lnTo>
                  <a:lnTo>
                    <a:pt x="120" y="463"/>
                  </a:lnTo>
                  <a:lnTo>
                    <a:pt x="119" y="461"/>
                  </a:lnTo>
                  <a:lnTo>
                    <a:pt x="116" y="459"/>
                  </a:lnTo>
                  <a:lnTo>
                    <a:pt x="115" y="458"/>
                  </a:lnTo>
                  <a:lnTo>
                    <a:pt x="114" y="457"/>
                  </a:lnTo>
                  <a:lnTo>
                    <a:pt x="114" y="456"/>
                  </a:lnTo>
                  <a:lnTo>
                    <a:pt x="113" y="454"/>
                  </a:lnTo>
                  <a:lnTo>
                    <a:pt x="112" y="452"/>
                  </a:lnTo>
                  <a:lnTo>
                    <a:pt x="111" y="450"/>
                  </a:lnTo>
                  <a:lnTo>
                    <a:pt x="111" y="449"/>
                  </a:lnTo>
                  <a:lnTo>
                    <a:pt x="111" y="447"/>
                  </a:lnTo>
                  <a:lnTo>
                    <a:pt x="111" y="445"/>
                  </a:lnTo>
                  <a:lnTo>
                    <a:pt x="111" y="442"/>
                  </a:lnTo>
                  <a:lnTo>
                    <a:pt x="112" y="438"/>
                  </a:lnTo>
                  <a:lnTo>
                    <a:pt x="112" y="435"/>
                  </a:lnTo>
                  <a:lnTo>
                    <a:pt x="112" y="434"/>
                  </a:lnTo>
                  <a:lnTo>
                    <a:pt x="112" y="433"/>
                  </a:lnTo>
                  <a:lnTo>
                    <a:pt x="112" y="431"/>
                  </a:lnTo>
                  <a:lnTo>
                    <a:pt x="112" y="430"/>
                  </a:lnTo>
                  <a:lnTo>
                    <a:pt x="111" y="428"/>
                  </a:lnTo>
                  <a:lnTo>
                    <a:pt x="111" y="425"/>
                  </a:lnTo>
                  <a:lnTo>
                    <a:pt x="110" y="424"/>
                  </a:lnTo>
                  <a:lnTo>
                    <a:pt x="110" y="423"/>
                  </a:lnTo>
                  <a:lnTo>
                    <a:pt x="109" y="422"/>
                  </a:lnTo>
                  <a:lnTo>
                    <a:pt x="108" y="421"/>
                  </a:lnTo>
                  <a:lnTo>
                    <a:pt x="108" y="420"/>
                  </a:lnTo>
                  <a:lnTo>
                    <a:pt x="107" y="419"/>
                  </a:lnTo>
                  <a:lnTo>
                    <a:pt x="106" y="419"/>
                  </a:lnTo>
                  <a:lnTo>
                    <a:pt x="105" y="419"/>
                  </a:lnTo>
                  <a:lnTo>
                    <a:pt x="104" y="418"/>
                  </a:lnTo>
                  <a:lnTo>
                    <a:pt x="103" y="418"/>
                  </a:lnTo>
                  <a:lnTo>
                    <a:pt x="101" y="418"/>
                  </a:lnTo>
                  <a:lnTo>
                    <a:pt x="99" y="418"/>
                  </a:lnTo>
                  <a:lnTo>
                    <a:pt x="98" y="418"/>
                  </a:lnTo>
                  <a:lnTo>
                    <a:pt x="94" y="419"/>
                  </a:lnTo>
                  <a:lnTo>
                    <a:pt x="90" y="419"/>
                  </a:lnTo>
                  <a:lnTo>
                    <a:pt x="89" y="419"/>
                  </a:lnTo>
                  <a:lnTo>
                    <a:pt x="87" y="420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76" y="422"/>
                  </a:lnTo>
                  <a:lnTo>
                    <a:pt x="75" y="422"/>
                  </a:lnTo>
                  <a:lnTo>
                    <a:pt x="75" y="422"/>
                  </a:lnTo>
                  <a:lnTo>
                    <a:pt x="74" y="421"/>
                  </a:lnTo>
                  <a:lnTo>
                    <a:pt x="73" y="421"/>
                  </a:lnTo>
                  <a:lnTo>
                    <a:pt x="72" y="420"/>
                  </a:lnTo>
                  <a:lnTo>
                    <a:pt x="71" y="418"/>
                  </a:lnTo>
                  <a:lnTo>
                    <a:pt x="70" y="418"/>
                  </a:lnTo>
                  <a:lnTo>
                    <a:pt x="69" y="417"/>
                  </a:lnTo>
                  <a:lnTo>
                    <a:pt x="67" y="416"/>
                  </a:lnTo>
                  <a:lnTo>
                    <a:pt x="65" y="415"/>
                  </a:lnTo>
                  <a:lnTo>
                    <a:pt x="62" y="414"/>
                  </a:lnTo>
                  <a:lnTo>
                    <a:pt x="57" y="412"/>
                  </a:lnTo>
                  <a:lnTo>
                    <a:pt x="50" y="411"/>
                  </a:lnTo>
                  <a:lnTo>
                    <a:pt x="49" y="410"/>
                  </a:lnTo>
                  <a:lnTo>
                    <a:pt x="48" y="410"/>
                  </a:lnTo>
                  <a:lnTo>
                    <a:pt x="47" y="410"/>
                  </a:lnTo>
                  <a:lnTo>
                    <a:pt x="46" y="410"/>
                  </a:lnTo>
                  <a:lnTo>
                    <a:pt x="46" y="410"/>
                  </a:lnTo>
                  <a:lnTo>
                    <a:pt x="45" y="411"/>
                  </a:lnTo>
                  <a:lnTo>
                    <a:pt x="43" y="411"/>
                  </a:lnTo>
                  <a:lnTo>
                    <a:pt x="39" y="413"/>
                  </a:lnTo>
                  <a:lnTo>
                    <a:pt x="38" y="414"/>
                  </a:lnTo>
                  <a:lnTo>
                    <a:pt x="36" y="415"/>
                  </a:lnTo>
                  <a:lnTo>
                    <a:pt x="35" y="415"/>
                  </a:lnTo>
                  <a:lnTo>
                    <a:pt x="33" y="415"/>
                  </a:lnTo>
                  <a:lnTo>
                    <a:pt x="32" y="415"/>
                  </a:lnTo>
                  <a:lnTo>
                    <a:pt x="30" y="415"/>
                  </a:lnTo>
                  <a:lnTo>
                    <a:pt x="28" y="414"/>
                  </a:lnTo>
                  <a:lnTo>
                    <a:pt x="27" y="414"/>
                  </a:lnTo>
                  <a:lnTo>
                    <a:pt x="27" y="413"/>
                  </a:lnTo>
                  <a:lnTo>
                    <a:pt x="26" y="413"/>
                  </a:lnTo>
                  <a:lnTo>
                    <a:pt x="25" y="412"/>
                  </a:lnTo>
                  <a:lnTo>
                    <a:pt x="24" y="411"/>
                  </a:lnTo>
                  <a:lnTo>
                    <a:pt x="23" y="411"/>
                  </a:lnTo>
                  <a:lnTo>
                    <a:pt x="20" y="407"/>
                  </a:lnTo>
                  <a:lnTo>
                    <a:pt x="19" y="405"/>
                  </a:lnTo>
                  <a:lnTo>
                    <a:pt x="17" y="404"/>
                  </a:lnTo>
                  <a:lnTo>
                    <a:pt x="16" y="403"/>
                  </a:lnTo>
                  <a:lnTo>
                    <a:pt x="15" y="402"/>
                  </a:lnTo>
                  <a:lnTo>
                    <a:pt x="14" y="402"/>
                  </a:lnTo>
                  <a:lnTo>
                    <a:pt x="14" y="402"/>
                  </a:lnTo>
                  <a:lnTo>
                    <a:pt x="13" y="401"/>
                  </a:lnTo>
                  <a:lnTo>
                    <a:pt x="12" y="401"/>
                  </a:lnTo>
                  <a:lnTo>
                    <a:pt x="10" y="401"/>
                  </a:lnTo>
                  <a:lnTo>
                    <a:pt x="6" y="400"/>
                  </a:lnTo>
                  <a:lnTo>
                    <a:pt x="5" y="400"/>
                  </a:lnTo>
                  <a:lnTo>
                    <a:pt x="4" y="400"/>
                  </a:lnTo>
                  <a:lnTo>
                    <a:pt x="3" y="399"/>
                  </a:lnTo>
                  <a:lnTo>
                    <a:pt x="2" y="399"/>
                  </a:lnTo>
                  <a:lnTo>
                    <a:pt x="1" y="39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1" y="397"/>
                  </a:lnTo>
                  <a:lnTo>
                    <a:pt x="2" y="396"/>
                  </a:lnTo>
                  <a:lnTo>
                    <a:pt x="3" y="395"/>
                  </a:lnTo>
                  <a:lnTo>
                    <a:pt x="4" y="395"/>
                  </a:lnTo>
                  <a:lnTo>
                    <a:pt x="4" y="394"/>
                  </a:lnTo>
                  <a:lnTo>
                    <a:pt x="5" y="393"/>
                  </a:lnTo>
                  <a:lnTo>
                    <a:pt x="5" y="393"/>
                  </a:lnTo>
                  <a:lnTo>
                    <a:pt x="5" y="392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3" name="Freeform 250">
              <a:extLst>
                <a:ext uri="{FF2B5EF4-FFF2-40B4-BE49-F238E27FC236}">
                  <a16:creationId xmlns:a16="http://schemas.microsoft.com/office/drawing/2014/main" id="{F7C28FC3-D550-4C59-952B-B8A60004E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91771" y="2775486"/>
              <a:ext cx="791799" cy="669513"/>
            </a:xfrm>
            <a:custGeom>
              <a:avLst/>
              <a:gdLst>
                <a:gd name="T0" fmla="*/ 329 w 777"/>
                <a:gd name="T1" fmla="*/ 1 h 657"/>
                <a:gd name="T2" fmla="*/ 362 w 777"/>
                <a:gd name="T3" fmla="*/ 6 h 657"/>
                <a:gd name="T4" fmla="*/ 400 w 777"/>
                <a:gd name="T5" fmla="*/ 20 h 657"/>
                <a:gd name="T6" fmla="*/ 380 w 777"/>
                <a:gd name="T7" fmla="*/ 30 h 657"/>
                <a:gd name="T8" fmla="*/ 377 w 777"/>
                <a:gd name="T9" fmla="*/ 51 h 657"/>
                <a:gd name="T10" fmla="*/ 409 w 777"/>
                <a:gd name="T11" fmla="*/ 62 h 657"/>
                <a:gd name="T12" fmla="*/ 396 w 777"/>
                <a:gd name="T13" fmla="*/ 86 h 657"/>
                <a:gd name="T14" fmla="*/ 410 w 777"/>
                <a:gd name="T15" fmla="*/ 124 h 657"/>
                <a:gd name="T16" fmla="*/ 403 w 777"/>
                <a:gd name="T17" fmla="*/ 140 h 657"/>
                <a:gd name="T18" fmla="*/ 432 w 777"/>
                <a:gd name="T19" fmla="*/ 153 h 657"/>
                <a:gd name="T20" fmla="*/ 448 w 777"/>
                <a:gd name="T21" fmla="*/ 125 h 657"/>
                <a:gd name="T22" fmla="*/ 431 w 777"/>
                <a:gd name="T23" fmla="*/ 99 h 657"/>
                <a:gd name="T24" fmla="*/ 448 w 777"/>
                <a:gd name="T25" fmla="*/ 84 h 657"/>
                <a:gd name="T26" fmla="*/ 473 w 777"/>
                <a:gd name="T27" fmla="*/ 103 h 657"/>
                <a:gd name="T28" fmla="*/ 487 w 777"/>
                <a:gd name="T29" fmla="*/ 132 h 657"/>
                <a:gd name="T30" fmla="*/ 503 w 777"/>
                <a:gd name="T31" fmla="*/ 151 h 657"/>
                <a:gd name="T32" fmla="*/ 511 w 777"/>
                <a:gd name="T33" fmla="*/ 151 h 657"/>
                <a:gd name="T34" fmla="*/ 515 w 777"/>
                <a:gd name="T35" fmla="*/ 178 h 657"/>
                <a:gd name="T36" fmla="*/ 549 w 777"/>
                <a:gd name="T37" fmla="*/ 200 h 657"/>
                <a:gd name="T38" fmla="*/ 551 w 777"/>
                <a:gd name="T39" fmla="*/ 254 h 657"/>
                <a:gd name="T40" fmla="*/ 559 w 777"/>
                <a:gd name="T41" fmla="*/ 289 h 657"/>
                <a:gd name="T42" fmla="*/ 576 w 777"/>
                <a:gd name="T43" fmla="*/ 294 h 657"/>
                <a:gd name="T44" fmla="*/ 561 w 777"/>
                <a:gd name="T45" fmla="*/ 320 h 657"/>
                <a:gd name="T46" fmla="*/ 543 w 777"/>
                <a:gd name="T47" fmla="*/ 345 h 657"/>
                <a:gd name="T48" fmla="*/ 557 w 777"/>
                <a:gd name="T49" fmla="*/ 355 h 657"/>
                <a:gd name="T50" fmla="*/ 590 w 777"/>
                <a:gd name="T51" fmla="*/ 358 h 657"/>
                <a:gd name="T52" fmla="*/ 599 w 777"/>
                <a:gd name="T53" fmla="*/ 382 h 657"/>
                <a:gd name="T54" fmla="*/ 637 w 777"/>
                <a:gd name="T55" fmla="*/ 396 h 657"/>
                <a:gd name="T56" fmla="*/ 650 w 777"/>
                <a:gd name="T57" fmla="*/ 416 h 657"/>
                <a:gd name="T58" fmla="*/ 681 w 777"/>
                <a:gd name="T59" fmla="*/ 431 h 657"/>
                <a:gd name="T60" fmla="*/ 716 w 777"/>
                <a:gd name="T61" fmla="*/ 430 h 657"/>
                <a:gd name="T62" fmla="*/ 731 w 777"/>
                <a:gd name="T63" fmla="*/ 448 h 657"/>
                <a:gd name="T64" fmla="*/ 762 w 777"/>
                <a:gd name="T65" fmla="*/ 470 h 657"/>
                <a:gd name="T66" fmla="*/ 766 w 777"/>
                <a:gd name="T67" fmla="*/ 501 h 657"/>
                <a:gd name="T68" fmla="*/ 733 w 777"/>
                <a:gd name="T69" fmla="*/ 520 h 657"/>
                <a:gd name="T70" fmla="*/ 709 w 777"/>
                <a:gd name="T71" fmla="*/ 512 h 657"/>
                <a:gd name="T72" fmla="*/ 680 w 777"/>
                <a:gd name="T73" fmla="*/ 515 h 657"/>
                <a:gd name="T74" fmla="*/ 648 w 777"/>
                <a:gd name="T75" fmla="*/ 519 h 657"/>
                <a:gd name="T76" fmla="*/ 601 w 777"/>
                <a:gd name="T77" fmla="*/ 492 h 657"/>
                <a:gd name="T78" fmla="*/ 570 w 777"/>
                <a:gd name="T79" fmla="*/ 499 h 657"/>
                <a:gd name="T80" fmla="*/ 539 w 777"/>
                <a:gd name="T81" fmla="*/ 538 h 657"/>
                <a:gd name="T82" fmla="*/ 499 w 777"/>
                <a:gd name="T83" fmla="*/ 602 h 657"/>
                <a:gd name="T84" fmla="*/ 483 w 777"/>
                <a:gd name="T85" fmla="*/ 649 h 657"/>
                <a:gd name="T86" fmla="*/ 469 w 777"/>
                <a:gd name="T87" fmla="*/ 654 h 657"/>
                <a:gd name="T88" fmla="*/ 461 w 777"/>
                <a:gd name="T89" fmla="*/ 605 h 657"/>
                <a:gd name="T90" fmla="*/ 442 w 777"/>
                <a:gd name="T91" fmla="*/ 596 h 657"/>
                <a:gd name="T92" fmla="*/ 393 w 777"/>
                <a:gd name="T93" fmla="*/ 593 h 657"/>
                <a:gd name="T94" fmla="*/ 365 w 777"/>
                <a:gd name="T95" fmla="*/ 585 h 657"/>
                <a:gd name="T96" fmla="*/ 357 w 777"/>
                <a:gd name="T97" fmla="*/ 564 h 657"/>
                <a:gd name="T98" fmla="*/ 328 w 777"/>
                <a:gd name="T99" fmla="*/ 554 h 657"/>
                <a:gd name="T100" fmla="*/ 292 w 777"/>
                <a:gd name="T101" fmla="*/ 541 h 657"/>
                <a:gd name="T102" fmla="*/ 260 w 777"/>
                <a:gd name="T103" fmla="*/ 548 h 657"/>
                <a:gd name="T104" fmla="*/ 230 w 777"/>
                <a:gd name="T105" fmla="*/ 590 h 657"/>
                <a:gd name="T106" fmla="*/ 212 w 777"/>
                <a:gd name="T107" fmla="*/ 586 h 657"/>
                <a:gd name="T108" fmla="*/ 176 w 777"/>
                <a:gd name="T109" fmla="*/ 586 h 657"/>
                <a:gd name="T110" fmla="*/ 104 w 777"/>
                <a:gd name="T111" fmla="*/ 581 h 657"/>
                <a:gd name="T112" fmla="*/ 51 w 777"/>
                <a:gd name="T113" fmla="*/ 550 h 657"/>
                <a:gd name="T114" fmla="*/ 39 w 777"/>
                <a:gd name="T115" fmla="*/ 533 h 657"/>
                <a:gd name="T116" fmla="*/ 21 w 777"/>
                <a:gd name="T117" fmla="*/ 523 h 657"/>
                <a:gd name="T118" fmla="*/ 3 w 777"/>
                <a:gd name="T119" fmla="*/ 51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77" h="657">
                  <a:moveTo>
                    <a:pt x="296" y="0"/>
                  </a:moveTo>
                  <a:lnTo>
                    <a:pt x="297" y="0"/>
                  </a:lnTo>
                  <a:lnTo>
                    <a:pt x="297" y="0"/>
                  </a:lnTo>
                  <a:lnTo>
                    <a:pt x="299" y="1"/>
                  </a:lnTo>
                  <a:lnTo>
                    <a:pt x="303" y="2"/>
                  </a:lnTo>
                  <a:lnTo>
                    <a:pt x="305" y="2"/>
                  </a:lnTo>
                  <a:lnTo>
                    <a:pt x="308" y="3"/>
                  </a:lnTo>
                  <a:lnTo>
                    <a:pt x="312" y="3"/>
                  </a:lnTo>
                  <a:lnTo>
                    <a:pt x="314" y="3"/>
                  </a:lnTo>
                  <a:lnTo>
                    <a:pt x="316" y="3"/>
                  </a:lnTo>
                  <a:lnTo>
                    <a:pt x="318" y="2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7" y="1"/>
                  </a:lnTo>
                  <a:lnTo>
                    <a:pt x="329" y="1"/>
                  </a:lnTo>
                  <a:lnTo>
                    <a:pt x="332" y="3"/>
                  </a:lnTo>
                  <a:lnTo>
                    <a:pt x="333" y="3"/>
                  </a:lnTo>
                  <a:lnTo>
                    <a:pt x="334" y="3"/>
                  </a:lnTo>
                  <a:lnTo>
                    <a:pt x="335" y="3"/>
                  </a:lnTo>
                  <a:lnTo>
                    <a:pt x="336" y="3"/>
                  </a:lnTo>
                  <a:lnTo>
                    <a:pt x="340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5" y="2"/>
                  </a:lnTo>
                  <a:lnTo>
                    <a:pt x="348" y="2"/>
                  </a:lnTo>
                  <a:lnTo>
                    <a:pt x="352" y="3"/>
                  </a:lnTo>
                  <a:lnTo>
                    <a:pt x="353" y="3"/>
                  </a:lnTo>
                  <a:lnTo>
                    <a:pt x="355" y="3"/>
                  </a:lnTo>
                  <a:lnTo>
                    <a:pt x="357" y="4"/>
                  </a:lnTo>
                  <a:lnTo>
                    <a:pt x="359" y="4"/>
                  </a:lnTo>
                  <a:lnTo>
                    <a:pt x="361" y="5"/>
                  </a:lnTo>
                  <a:lnTo>
                    <a:pt x="362" y="6"/>
                  </a:lnTo>
                  <a:lnTo>
                    <a:pt x="366" y="8"/>
                  </a:lnTo>
                  <a:lnTo>
                    <a:pt x="376" y="12"/>
                  </a:lnTo>
                  <a:lnTo>
                    <a:pt x="378" y="13"/>
                  </a:lnTo>
                  <a:lnTo>
                    <a:pt x="380" y="14"/>
                  </a:lnTo>
                  <a:lnTo>
                    <a:pt x="383" y="15"/>
                  </a:lnTo>
                  <a:lnTo>
                    <a:pt x="385" y="16"/>
                  </a:lnTo>
                  <a:lnTo>
                    <a:pt x="388" y="17"/>
                  </a:lnTo>
                  <a:lnTo>
                    <a:pt x="390" y="18"/>
                  </a:lnTo>
                  <a:lnTo>
                    <a:pt x="392" y="18"/>
                  </a:lnTo>
                  <a:lnTo>
                    <a:pt x="394" y="18"/>
                  </a:lnTo>
                  <a:lnTo>
                    <a:pt x="396" y="19"/>
                  </a:lnTo>
                  <a:lnTo>
                    <a:pt x="398" y="19"/>
                  </a:lnTo>
                  <a:lnTo>
                    <a:pt x="400" y="18"/>
                  </a:lnTo>
                  <a:lnTo>
                    <a:pt x="400" y="18"/>
                  </a:lnTo>
                  <a:lnTo>
                    <a:pt x="401" y="18"/>
                  </a:lnTo>
                  <a:lnTo>
                    <a:pt x="400" y="19"/>
                  </a:lnTo>
                  <a:lnTo>
                    <a:pt x="400" y="20"/>
                  </a:lnTo>
                  <a:lnTo>
                    <a:pt x="399" y="21"/>
                  </a:lnTo>
                  <a:lnTo>
                    <a:pt x="399" y="22"/>
                  </a:lnTo>
                  <a:lnTo>
                    <a:pt x="398" y="24"/>
                  </a:lnTo>
                  <a:lnTo>
                    <a:pt x="397" y="28"/>
                  </a:lnTo>
                  <a:lnTo>
                    <a:pt x="397" y="29"/>
                  </a:lnTo>
                  <a:lnTo>
                    <a:pt x="397" y="29"/>
                  </a:lnTo>
                  <a:lnTo>
                    <a:pt x="396" y="30"/>
                  </a:lnTo>
                  <a:lnTo>
                    <a:pt x="396" y="31"/>
                  </a:lnTo>
                  <a:lnTo>
                    <a:pt x="395" y="31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3" y="32"/>
                  </a:lnTo>
                  <a:lnTo>
                    <a:pt x="392" y="32"/>
                  </a:lnTo>
                  <a:lnTo>
                    <a:pt x="391" y="32"/>
                  </a:lnTo>
                  <a:lnTo>
                    <a:pt x="390" y="32"/>
                  </a:lnTo>
                  <a:lnTo>
                    <a:pt x="384" y="31"/>
                  </a:lnTo>
                  <a:lnTo>
                    <a:pt x="380" y="30"/>
                  </a:lnTo>
                  <a:lnTo>
                    <a:pt x="379" y="30"/>
                  </a:lnTo>
                  <a:lnTo>
                    <a:pt x="378" y="30"/>
                  </a:lnTo>
                  <a:lnTo>
                    <a:pt x="378" y="31"/>
                  </a:lnTo>
                  <a:lnTo>
                    <a:pt x="377" y="31"/>
                  </a:lnTo>
                  <a:lnTo>
                    <a:pt x="377" y="32"/>
                  </a:lnTo>
                  <a:lnTo>
                    <a:pt x="377" y="33"/>
                  </a:lnTo>
                  <a:lnTo>
                    <a:pt x="376" y="34"/>
                  </a:lnTo>
                  <a:lnTo>
                    <a:pt x="376" y="36"/>
                  </a:lnTo>
                  <a:lnTo>
                    <a:pt x="376" y="37"/>
                  </a:lnTo>
                  <a:lnTo>
                    <a:pt x="376" y="38"/>
                  </a:lnTo>
                  <a:lnTo>
                    <a:pt x="376" y="42"/>
                  </a:lnTo>
                  <a:lnTo>
                    <a:pt x="376" y="43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6" y="51"/>
                  </a:lnTo>
                  <a:lnTo>
                    <a:pt x="377" y="51"/>
                  </a:lnTo>
                  <a:lnTo>
                    <a:pt x="377" y="52"/>
                  </a:lnTo>
                  <a:lnTo>
                    <a:pt x="377" y="53"/>
                  </a:lnTo>
                  <a:lnTo>
                    <a:pt x="378" y="53"/>
                  </a:lnTo>
                  <a:lnTo>
                    <a:pt x="378" y="54"/>
                  </a:lnTo>
                  <a:lnTo>
                    <a:pt x="379" y="54"/>
                  </a:lnTo>
                  <a:lnTo>
                    <a:pt x="380" y="54"/>
                  </a:lnTo>
                  <a:lnTo>
                    <a:pt x="384" y="56"/>
                  </a:lnTo>
                  <a:lnTo>
                    <a:pt x="388" y="57"/>
                  </a:lnTo>
                  <a:lnTo>
                    <a:pt x="394" y="58"/>
                  </a:lnTo>
                  <a:lnTo>
                    <a:pt x="397" y="59"/>
                  </a:lnTo>
                  <a:lnTo>
                    <a:pt x="399" y="60"/>
                  </a:lnTo>
                  <a:lnTo>
                    <a:pt x="401" y="60"/>
                  </a:lnTo>
                  <a:lnTo>
                    <a:pt x="404" y="60"/>
                  </a:lnTo>
                  <a:lnTo>
                    <a:pt x="407" y="61"/>
                  </a:lnTo>
                  <a:lnTo>
                    <a:pt x="408" y="61"/>
                  </a:lnTo>
                  <a:lnTo>
                    <a:pt x="408" y="61"/>
                  </a:lnTo>
                  <a:lnTo>
                    <a:pt x="409" y="62"/>
                  </a:lnTo>
                  <a:lnTo>
                    <a:pt x="409" y="62"/>
                  </a:lnTo>
                  <a:lnTo>
                    <a:pt x="409" y="62"/>
                  </a:lnTo>
                  <a:lnTo>
                    <a:pt x="409" y="63"/>
                  </a:lnTo>
                  <a:lnTo>
                    <a:pt x="408" y="63"/>
                  </a:lnTo>
                  <a:lnTo>
                    <a:pt x="407" y="64"/>
                  </a:lnTo>
                  <a:lnTo>
                    <a:pt x="406" y="65"/>
                  </a:lnTo>
                  <a:lnTo>
                    <a:pt x="405" y="66"/>
                  </a:lnTo>
                  <a:lnTo>
                    <a:pt x="404" y="67"/>
                  </a:lnTo>
                  <a:lnTo>
                    <a:pt x="403" y="68"/>
                  </a:lnTo>
                  <a:lnTo>
                    <a:pt x="402" y="71"/>
                  </a:lnTo>
                  <a:lnTo>
                    <a:pt x="401" y="73"/>
                  </a:lnTo>
                  <a:lnTo>
                    <a:pt x="398" y="77"/>
                  </a:lnTo>
                  <a:lnTo>
                    <a:pt x="397" y="78"/>
                  </a:lnTo>
                  <a:lnTo>
                    <a:pt x="397" y="80"/>
                  </a:lnTo>
                  <a:lnTo>
                    <a:pt x="396" y="82"/>
                  </a:lnTo>
                  <a:lnTo>
                    <a:pt x="396" y="84"/>
                  </a:lnTo>
                  <a:lnTo>
                    <a:pt x="396" y="86"/>
                  </a:lnTo>
                  <a:lnTo>
                    <a:pt x="396" y="88"/>
                  </a:lnTo>
                  <a:lnTo>
                    <a:pt x="397" y="90"/>
                  </a:lnTo>
                  <a:lnTo>
                    <a:pt x="397" y="92"/>
                  </a:lnTo>
                  <a:lnTo>
                    <a:pt x="398" y="97"/>
                  </a:lnTo>
                  <a:lnTo>
                    <a:pt x="400" y="102"/>
                  </a:lnTo>
                  <a:lnTo>
                    <a:pt x="401" y="106"/>
                  </a:lnTo>
                  <a:lnTo>
                    <a:pt x="402" y="108"/>
                  </a:lnTo>
                  <a:lnTo>
                    <a:pt x="402" y="109"/>
                  </a:lnTo>
                  <a:lnTo>
                    <a:pt x="403" y="110"/>
                  </a:lnTo>
                  <a:lnTo>
                    <a:pt x="404" y="112"/>
                  </a:lnTo>
                  <a:lnTo>
                    <a:pt x="407" y="116"/>
                  </a:lnTo>
                  <a:lnTo>
                    <a:pt x="408" y="117"/>
                  </a:lnTo>
                  <a:lnTo>
                    <a:pt x="408" y="119"/>
                  </a:lnTo>
                  <a:lnTo>
                    <a:pt x="409" y="120"/>
                  </a:lnTo>
                  <a:lnTo>
                    <a:pt x="410" y="122"/>
                  </a:lnTo>
                  <a:lnTo>
                    <a:pt x="410" y="123"/>
                  </a:lnTo>
                  <a:lnTo>
                    <a:pt x="410" y="124"/>
                  </a:lnTo>
                  <a:lnTo>
                    <a:pt x="410" y="125"/>
                  </a:lnTo>
                  <a:lnTo>
                    <a:pt x="410" y="126"/>
                  </a:lnTo>
                  <a:lnTo>
                    <a:pt x="409" y="126"/>
                  </a:lnTo>
                  <a:lnTo>
                    <a:pt x="409" y="127"/>
                  </a:lnTo>
                  <a:lnTo>
                    <a:pt x="408" y="128"/>
                  </a:lnTo>
                  <a:lnTo>
                    <a:pt x="406" y="130"/>
                  </a:lnTo>
                  <a:lnTo>
                    <a:pt x="405" y="131"/>
                  </a:lnTo>
                  <a:lnTo>
                    <a:pt x="404" y="132"/>
                  </a:lnTo>
                  <a:lnTo>
                    <a:pt x="404" y="133"/>
                  </a:lnTo>
                  <a:lnTo>
                    <a:pt x="403" y="134"/>
                  </a:lnTo>
                  <a:lnTo>
                    <a:pt x="403" y="135"/>
                  </a:lnTo>
                  <a:lnTo>
                    <a:pt x="403" y="136"/>
                  </a:lnTo>
                  <a:lnTo>
                    <a:pt x="402" y="137"/>
                  </a:lnTo>
                  <a:lnTo>
                    <a:pt x="402" y="138"/>
                  </a:lnTo>
                  <a:lnTo>
                    <a:pt x="402" y="139"/>
                  </a:lnTo>
                  <a:lnTo>
                    <a:pt x="403" y="140"/>
                  </a:lnTo>
                  <a:lnTo>
                    <a:pt x="403" y="140"/>
                  </a:lnTo>
                  <a:lnTo>
                    <a:pt x="404" y="141"/>
                  </a:lnTo>
                  <a:lnTo>
                    <a:pt x="404" y="142"/>
                  </a:lnTo>
                  <a:lnTo>
                    <a:pt x="406" y="144"/>
                  </a:lnTo>
                  <a:lnTo>
                    <a:pt x="407" y="145"/>
                  </a:lnTo>
                  <a:lnTo>
                    <a:pt x="408" y="146"/>
                  </a:lnTo>
                  <a:lnTo>
                    <a:pt x="410" y="148"/>
                  </a:lnTo>
                  <a:lnTo>
                    <a:pt x="415" y="151"/>
                  </a:lnTo>
                  <a:lnTo>
                    <a:pt x="417" y="153"/>
                  </a:lnTo>
                  <a:lnTo>
                    <a:pt x="419" y="154"/>
                  </a:lnTo>
                  <a:lnTo>
                    <a:pt x="422" y="155"/>
                  </a:lnTo>
                  <a:lnTo>
                    <a:pt x="424" y="155"/>
                  </a:lnTo>
                  <a:lnTo>
                    <a:pt x="425" y="156"/>
                  </a:lnTo>
                  <a:lnTo>
                    <a:pt x="427" y="156"/>
                  </a:lnTo>
                  <a:lnTo>
                    <a:pt x="428" y="155"/>
                  </a:lnTo>
                  <a:lnTo>
                    <a:pt x="429" y="155"/>
                  </a:lnTo>
                  <a:lnTo>
                    <a:pt x="430" y="154"/>
                  </a:lnTo>
                  <a:lnTo>
                    <a:pt x="432" y="153"/>
                  </a:lnTo>
                  <a:lnTo>
                    <a:pt x="434" y="152"/>
                  </a:lnTo>
                  <a:lnTo>
                    <a:pt x="436" y="150"/>
                  </a:lnTo>
                  <a:lnTo>
                    <a:pt x="437" y="148"/>
                  </a:lnTo>
                  <a:lnTo>
                    <a:pt x="438" y="147"/>
                  </a:lnTo>
                  <a:lnTo>
                    <a:pt x="439" y="146"/>
                  </a:lnTo>
                  <a:lnTo>
                    <a:pt x="440" y="144"/>
                  </a:lnTo>
                  <a:lnTo>
                    <a:pt x="441" y="142"/>
                  </a:lnTo>
                  <a:lnTo>
                    <a:pt x="442" y="138"/>
                  </a:lnTo>
                  <a:lnTo>
                    <a:pt x="444" y="135"/>
                  </a:lnTo>
                  <a:lnTo>
                    <a:pt x="445" y="133"/>
                  </a:lnTo>
                  <a:lnTo>
                    <a:pt x="447" y="131"/>
                  </a:lnTo>
                  <a:lnTo>
                    <a:pt x="447" y="129"/>
                  </a:lnTo>
                  <a:lnTo>
                    <a:pt x="448" y="129"/>
                  </a:lnTo>
                  <a:lnTo>
                    <a:pt x="448" y="128"/>
                  </a:lnTo>
                  <a:lnTo>
                    <a:pt x="448" y="127"/>
                  </a:lnTo>
                  <a:lnTo>
                    <a:pt x="448" y="126"/>
                  </a:lnTo>
                  <a:lnTo>
                    <a:pt x="448" y="125"/>
                  </a:lnTo>
                  <a:lnTo>
                    <a:pt x="447" y="124"/>
                  </a:lnTo>
                  <a:lnTo>
                    <a:pt x="447" y="123"/>
                  </a:lnTo>
                  <a:lnTo>
                    <a:pt x="447" y="122"/>
                  </a:lnTo>
                  <a:lnTo>
                    <a:pt x="446" y="120"/>
                  </a:lnTo>
                  <a:lnTo>
                    <a:pt x="444" y="117"/>
                  </a:lnTo>
                  <a:lnTo>
                    <a:pt x="444" y="117"/>
                  </a:lnTo>
                  <a:lnTo>
                    <a:pt x="443" y="115"/>
                  </a:lnTo>
                  <a:lnTo>
                    <a:pt x="442" y="113"/>
                  </a:lnTo>
                  <a:lnTo>
                    <a:pt x="442" y="112"/>
                  </a:lnTo>
                  <a:lnTo>
                    <a:pt x="442" y="111"/>
                  </a:lnTo>
                  <a:lnTo>
                    <a:pt x="441" y="110"/>
                  </a:lnTo>
                  <a:lnTo>
                    <a:pt x="440" y="109"/>
                  </a:lnTo>
                  <a:lnTo>
                    <a:pt x="433" y="102"/>
                  </a:lnTo>
                  <a:lnTo>
                    <a:pt x="432" y="101"/>
                  </a:lnTo>
                  <a:lnTo>
                    <a:pt x="432" y="101"/>
                  </a:lnTo>
                  <a:lnTo>
                    <a:pt x="431" y="100"/>
                  </a:lnTo>
                  <a:lnTo>
                    <a:pt x="431" y="99"/>
                  </a:lnTo>
                  <a:lnTo>
                    <a:pt x="430" y="98"/>
                  </a:lnTo>
                  <a:lnTo>
                    <a:pt x="430" y="97"/>
                  </a:lnTo>
                  <a:lnTo>
                    <a:pt x="429" y="96"/>
                  </a:lnTo>
                  <a:lnTo>
                    <a:pt x="429" y="96"/>
                  </a:lnTo>
                  <a:lnTo>
                    <a:pt x="429" y="96"/>
                  </a:lnTo>
                  <a:lnTo>
                    <a:pt x="430" y="95"/>
                  </a:lnTo>
                  <a:lnTo>
                    <a:pt x="430" y="95"/>
                  </a:lnTo>
                  <a:lnTo>
                    <a:pt x="430" y="94"/>
                  </a:lnTo>
                  <a:lnTo>
                    <a:pt x="432" y="92"/>
                  </a:lnTo>
                  <a:lnTo>
                    <a:pt x="434" y="90"/>
                  </a:lnTo>
                  <a:lnTo>
                    <a:pt x="436" y="89"/>
                  </a:lnTo>
                  <a:lnTo>
                    <a:pt x="438" y="88"/>
                  </a:lnTo>
                  <a:lnTo>
                    <a:pt x="441" y="86"/>
                  </a:lnTo>
                  <a:lnTo>
                    <a:pt x="443" y="85"/>
                  </a:lnTo>
                  <a:lnTo>
                    <a:pt x="445" y="85"/>
                  </a:lnTo>
                  <a:lnTo>
                    <a:pt x="446" y="84"/>
                  </a:lnTo>
                  <a:lnTo>
                    <a:pt x="448" y="84"/>
                  </a:lnTo>
                  <a:lnTo>
                    <a:pt x="449" y="84"/>
                  </a:lnTo>
                  <a:lnTo>
                    <a:pt x="451" y="84"/>
                  </a:lnTo>
                  <a:lnTo>
                    <a:pt x="453" y="85"/>
                  </a:lnTo>
                  <a:lnTo>
                    <a:pt x="457" y="86"/>
                  </a:lnTo>
                  <a:lnTo>
                    <a:pt x="459" y="87"/>
                  </a:lnTo>
                  <a:lnTo>
                    <a:pt x="460" y="87"/>
                  </a:lnTo>
                  <a:lnTo>
                    <a:pt x="461" y="87"/>
                  </a:lnTo>
                  <a:lnTo>
                    <a:pt x="462" y="88"/>
                  </a:lnTo>
                  <a:lnTo>
                    <a:pt x="463" y="89"/>
                  </a:lnTo>
                  <a:lnTo>
                    <a:pt x="464" y="90"/>
                  </a:lnTo>
                  <a:lnTo>
                    <a:pt x="466" y="92"/>
                  </a:lnTo>
                  <a:lnTo>
                    <a:pt x="467" y="94"/>
                  </a:lnTo>
                  <a:lnTo>
                    <a:pt x="467" y="94"/>
                  </a:lnTo>
                  <a:lnTo>
                    <a:pt x="468" y="97"/>
                  </a:lnTo>
                  <a:lnTo>
                    <a:pt x="470" y="99"/>
                  </a:lnTo>
                  <a:lnTo>
                    <a:pt x="471" y="100"/>
                  </a:lnTo>
                  <a:lnTo>
                    <a:pt x="473" y="103"/>
                  </a:lnTo>
                  <a:lnTo>
                    <a:pt x="474" y="104"/>
                  </a:lnTo>
                  <a:lnTo>
                    <a:pt x="474" y="105"/>
                  </a:lnTo>
                  <a:lnTo>
                    <a:pt x="475" y="107"/>
                  </a:lnTo>
                  <a:lnTo>
                    <a:pt x="476" y="107"/>
                  </a:lnTo>
                  <a:lnTo>
                    <a:pt x="477" y="108"/>
                  </a:lnTo>
                  <a:lnTo>
                    <a:pt x="478" y="110"/>
                  </a:lnTo>
                  <a:lnTo>
                    <a:pt x="479" y="111"/>
                  </a:lnTo>
                  <a:lnTo>
                    <a:pt x="479" y="113"/>
                  </a:lnTo>
                  <a:lnTo>
                    <a:pt x="480" y="114"/>
                  </a:lnTo>
                  <a:lnTo>
                    <a:pt x="481" y="118"/>
                  </a:lnTo>
                  <a:lnTo>
                    <a:pt x="483" y="123"/>
                  </a:lnTo>
                  <a:lnTo>
                    <a:pt x="484" y="127"/>
                  </a:lnTo>
                  <a:lnTo>
                    <a:pt x="484" y="128"/>
                  </a:lnTo>
                  <a:lnTo>
                    <a:pt x="485" y="129"/>
                  </a:lnTo>
                  <a:lnTo>
                    <a:pt x="486" y="130"/>
                  </a:lnTo>
                  <a:lnTo>
                    <a:pt x="486" y="131"/>
                  </a:lnTo>
                  <a:lnTo>
                    <a:pt x="487" y="132"/>
                  </a:lnTo>
                  <a:lnTo>
                    <a:pt x="490" y="135"/>
                  </a:lnTo>
                  <a:lnTo>
                    <a:pt x="491" y="135"/>
                  </a:lnTo>
                  <a:lnTo>
                    <a:pt x="491" y="136"/>
                  </a:lnTo>
                  <a:lnTo>
                    <a:pt x="492" y="137"/>
                  </a:lnTo>
                  <a:lnTo>
                    <a:pt x="492" y="138"/>
                  </a:lnTo>
                  <a:lnTo>
                    <a:pt x="494" y="141"/>
                  </a:lnTo>
                  <a:lnTo>
                    <a:pt x="495" y="143"/>
                  </a:lnTo>
                  <a:lnTo>
                    <a:pt x="495" y="144"/>
                  </a:lnTo>
                  <a:lnTo>
                    <a:pt x="497" y="145"/>
                  </a:lnTo>
                  <a:lnTo>
                    <a:pt x="498" y="147"/>
                  </a:lnTo>
                  <a:lnTo>
                    <a:pt x="499" y="148"/>
                  </a:lnTo>
                  <a:lnTo>
                    <a:pt x="500" y="149"/>
                  </a:lnTo>
                  <a:lnTo>
                    <a:pt x="500" y="149"/>
                  </a:lnTo>
                  <a:lnTo>
                    <a:pt x="501" y="150"/>
                  </a:lnTo>
                  <a:lnTo>
                    <a:pt x="502" y="150"/>
                  </a:lnTo>
                  <a:lnTo>
                    <a:pt x="502" y="150"/>
                  </a:lnTo>
                  <a:lnTo>
                    <a:pt x="503" y="151"/>
                  </a:lnTo>
                  <a:lnTo>
                    <a:pt x="503" y="151"/>
                  </a:lnTo>
                  <a:lnTo>
                    <a:pt x="504" y="151"/>
                  </a:lnTo>
                  <a:lnTo>
                    <a:pt x="505" y="150"/>
                  </a:lnTo>
                  <a:lnTo>
                    <a:pt x="505" y="150"/>
                  </a:lnTo>
                  <a:lnTo>
                    <a:pt x="506" y="150"/>
                  </a:lnTo>
                  <a:lnTo>
                    <a:pt x="506" y="149"/>
                  </a:lnTo>
                  <a:lnTo>
                    <a:pt x="507" y="147"/>
                  </a:lnTo>
                  <a:lnTo>
                    <a:pt x="508" y="146"/>
                  </a:lnTo>
                  <a:lnTo>
                    <a:pt x="508" y="146"/>
                  </a:lnTo>
                  <a:lnTo>
                    <a:pt x="509" y="146"/>
                  </a:lnTo>
                  <a:lnTo>
                    <a:pt x="509" y="146"/>
                  </a:lnTo>
                  <a:lnTo>
                    <a:pt x="510" y="146"/>
                  </a:lnTo>
                  <a:lnTo>
                    <a:pt x="510" y="146"/>
                  </a:lnTo>
                  <a:lnTo>
                    <a:pt x="510" y="147"/>
                  </a:lnTo>
                  <a:lnTo>
                    <a:pt x="510" y="148"/>
                  </a:lnTo>
                  <a:lnTo>
                    <a:pt x="511" y="149"/>
                  </a:lnTo>
                  <a:lnTo>
                    <a:pt x="511" y="151"/>
                  </a:lnTo>
                  <a:lnTo>
                    <a:pt x="511" y="153"/>
                  </a:lnTo>
                  <a:lnTo>
                    <a:pt x="510" y="155"/>
                  </a:lnTo>
                  <a:lnTo>
                    <a:pt x="510" y="158"/>
                  </a:lnTo>
                  <a:lnTo>
                    <a:pt x="510" y="159"/>
                  </a:lnTo>
                  <a:lnTo>
                    <a:pt x="509" y="164"/>
                  </a:lnTo>
                  <a:lnTo>
                    <a:pt x="508" y="168"/>
                  </a:lnTo>
                  <a:lnTo>
                    <a:pt x="508" y="171"/>
                  </a:lnTo>
                  <a:lnTo>
                    <a:pt x="508" y="172"/>
                  </a:lnTo>
                  <a:lnTo>
                    <a:pt x="508" y="172"/>
                  </a:lnTo>
                  <a:lnTo>
                    <a:pt x="508" y="173"/>
                  </a:lnTo>
                  <a:lnTo>
                    <a:pt x="508" y="173"/>
                  </a:lnTo>
                  <a:lnTo>
                    <a:pt x="509" y="174"/>
                  </a:lnTo>
                  <a:lnTo>
                    <a:pt x="509" y="175"/>
                  </a:lnTo>
                  <a:lnTo>
                    <a:pt x="510" y="175"/>
                  </a:lnTo>
                  <a:lnTo>
                    <a:pt x="511" y="176"/>
                  </a:lnTo>
                  <a:lnTo>
                    <a:pt x="512" y="177"/>
                  </a:lnTo>
                  <a:lnTo>
                    <a:pt x="515" y="178"/>
                  </a:lnTo>
                  <a:lnTo>
                    <a:pt x="517" y="180"/>
                  </a:lnTo>
                  <a:lnTo>
                    <a:pt x="520" y="181"/>
                  </a:lnTo>
                  <a:lnTo>
                    <a:pt x="522" y="182"/>
                  </a:lnTo>
                  <a:lnTo>
                    <a:pt x="526" y="183"/>
                  </a:lnTo>
                  <a:lnTo>
                    <a:pt x="530" y="184"/>
                  </a:lnTo>
                  <a:lnTo>
                    <a:pt x="532" y="185"/>
                  </a:lnTo>
                  <a:lnTo>
                    <a:pt x="534" y="186"/>
                  </a:lnTo>
                  <a:lnTo>
                    <a:pt x="537" y="187"/>
                  </a:lnTo>
                  <a:lnTo>
                    <a:pt x="538" y="188"/>
                  </a:lnTo>
                  <a:lnTo>
                    <a:pt x="540" y="190"/>
                  </a:lnTo>
                  <a:lnTo>
                    <a:pt x="544" y="193"/>
                  </a:lnTo>
                  <a:lnTo>
                    <a:pt x="546" y="194"/>
                  </a:lnTo>
                  <a:lnTo>
                    <a:pt x="546" y="195"/>
                  </a:lnTo>
                  <a:lnTo>
                    <a:pt x="547" y="196"/>
                  </a:lnTo>
                  <a:lnTo>
                    <a:pt x="548" y="197"/>
                  </a:lnTo>
                  <a:lnTo>
                    <a:pt x="548" y="198"/>
                  </a:lnTo>
                  <a:lnTo>
                    <a:pt x="549" y="200"/>
                  </a:lnTo>
                  <a:lnTo>
                    <a:pt x="551" y="207"/>
                  </a:lnTo>
                  <a:lnTo>
                    <a:pt x="552" y="211"/>
                  </a:lnTo>
                  <a:lnTo>
                    <a:pt x="553" y="213"/>
                  </a:lnTo>
                  <a:lnTo>
                    <a:pt x="555" y="218"/>
                  </a:lnTo>
                  <a:lnTo>
                    <a:pt x="557" y="224"/>
                  </a:lnTo>
                  <a:lnTo>
                    <a:pt x="558" y="226"/>
                  </a:lnTo>
                  <a:lnTo>
                    <a:pt x="558" y="226"/>
                  </a:lnTo>
                  <a:lnTo>
                    <a:pt x="553" y="236"/>
                  </a:lnTo>
                  <a:lnTo>
                    <a:pt x="552" y="239"/>
                  </a:lnTo>
                  <a:lnTo>
                    <a:pt x="551" y="241"/>
                  </a:lnTo>
                  <a:lnTo>
                    <a:pt x="550" y="242"/>
                  </a:lnTo>
                  <a:lnTo>
                    <a:pt x="550" y="243"/>
                  </a:lnTo>
                  <a:lnTo>
                    <a:pt x="550" y="245"/>
                  </a:lnTo>
                  <a:lnTo>
                    <a:pt x="549" y="247"/>
                  </a:lnTo>
                  <a:lnTo>
                    <a:pt x="550" y="249"/>
                  </a:lnTo>
                  <a:lnTo>
                    <a:pt x="550" y="250"/>
                  </a:lnTo>
                  <a:lnTo>
                    <a:pt x="551" y="254"/>
                  </a:lnTo>
                  <a:lnTo>
                    <a:pt x="551" y="256"/>
                  </a:lnTo>
                  <a:lnTo>
                    <a:pt x="551" y="258"/>
                  </a:lnTo>
                  <a:lnTo>
                    <a:pt x="552" y="263"/>
                  </a:lnTo>
                  <a:lnTo>
                    <a:pt x="552" y="265"/>
                  </a:lnTo>
                  <a:lnTo>
                    <a:pt x="552" y="266"/>
                  </a:lnTo>
                  <a:lnTo>
                    <a:pt x="553" y="268"/>
                  </a:lnTo>
                  <a:lnTo>
                    <a:pt x="553" y="270"/>
                  </a:lnTo>
                  <a:lnTo>
                    <a:pt x="556" y="276"/>
                  </a:lnTo>
                  <a:lnTo>
                    <a:pt x="558" y="280"/>
                  </a:lnTo>
                  <a:lnTo>
                    <a:pt x="558" y="281"/>
                  </a:lnTo>
                  <a:lnTo>
                    <a:pt x="558" y="282"/>
                  </a:lnTo>
                  <a:lnTo>
                    <a:pt x="558" y="283"/>
                  </a:lnTo>
                  <a:lnTo>
                    <a:pt x="558" y="284"/>
                  </a:lnTo>
                  <a:lnTo>
                    <a:pt x="558" y="287"/>
                  </a:lnTo>
                  <a:lnTo>
                    <a:pt x="558" y="288"/>
                  </a:lnTo>
                  <a:lnTo>
                    <a:pt x="559" y="289"/>
                  </a:lnTo>
                  <a:lnTo>
                    <a:pt x="559" y="289"/>
                  </a:lnTo>
                  <a:lnTo>
                    <a:pt x="559" y="290"/>
                  </a:lnTo>
                  <a:lnTo>
                    <a:pt x="559" y="290"/>
                  </a:lnTo>
                  <a:lnTo>
                    <a:pt x="560" y="290"/>
                  </a:lnTo>
                  <a:lnTo>
                    <a:pt x="561" y="291"/>
                  </a:lnTo>
                  <a:lnTo>
                    <a:pt x="562" y="291"/>
                  </a:lnTo>
                  <a:lnTo>
                    <a:pt x="564" y="291"/>
                  </a:lnTo>
                  <a:lnTo>
                    <a:pt x="568" y="291"/>
                  </a:lnTo>
                  <a:lnTo>
                    <a:pt x="569" y="291"/>
                  </a:lnTo>
                  <a:lnTo>
                    <a:pt x="572" y="290"/>
                  </a:lnTo>
                  <a:lnTo>
                    <a:pt x="572" y="290"/>
                  </a:lnTo>
                  <a:lnTo>
                    <a:pt x="573" y="290"/>
                  </a:lnTo>
                  <a:lnTo>
                    <a:pt x="574" y="291"/>
                  </a:lnTo>
                  <a:lnTo>
                    <a:pt x="575" y="291"/>
                  </a:lnTo>
                  <a:lnTo>
                    <a:pt x="575" y="292"/>
                  </a:lnTo>
                  <a:lnTo>
                    <a:pt x="576" y="292"/>
                  </a:lnTo>
                  <a:lnTo>
                    <a:pt x="576" y="293"/>
                  </a:lnTo>
                  <a:lnTo>
                    <a:pt x="576" y="294"/>
                  </a:lnTo>
                  <a:lnTo>
                    <a:pt x="576" y="296"/>
                  </a:lnTo>
                  <a:lnTo>
                    <a:pt x="576" y="297"/>
                  </a:lnTo>
                  <a:lnTo>
                    <a:pt x="576" y="298"/>
                  </a:lnTo>
                  <a:lnTo>
                    <a:pt x="576" y="300"/>
                  </a:lnTo>
                  <a:lnTo>
                    <a:pt x="576" y="302"/>
                  </a:lnTo>
                  <a:lnTo>
                    <a:pt x="575" y="304"/>
                  </a:lnTo>
                  <a:lnTo>
                    <a:pt x="574" y="306"/>
                  </a:lnTo>
                  <a:lnTo>
                    <a:pt x="574" y="308"/>
                  </a:lnTo>
                  <a:lnTo>
                    <a:pt x="573" y="309"/>
                  </a:lnTo>
                  <a:lnTo>
                    <a:pt x="572" y="311"/>
                  </a:lnTo>
                  <a:lnTo>
                    <a:pt x="571" y="312"/>
                  </a:lnTo>
                  <a:lnTo>
                    <a:pt x="571" y="313"/>
                  </a:lnTo>
                  <a:lnTo>
                    <a:pt x="570" y="313"/>
                  </a:lnTo>
                  <a:lnTo>
                    <a:pt x="568" y="315"/>
                  </a:lnTo>
                  <a:lnTo>
                    <a:pt x="565" y="318"/>
                  </a:lnTo>
                  <a:lnTo>
                    <a:pt x="562" y="319"/>
                  </a:lnTo>
                  <a:lnTo>
                    <a:pt x="561" y="320"/>
                  </a:lnTo>
                  <a:lnTo>
                    <a:pt x="559" y="321"/>
                  </a:lnTo>
                  <a:lnTo>
                    <a:pt x="558" y="322"/>
                  </a:lnTo>
                  <a:lnTo>
                    <a:pt x="557" y="324"/>
                  </a:lnTo>
                  <a:lnTo>
                    <a:pt x="556" y="326"/>
                  </a:lnTo>
                  <a:lnTo>
                    <a:pt x="555" y="327"/>
                  </a:lnTo>
                  <a:lnTo>
                    <a:pt x="553" y="333"/>
                  </a:lnTo>
                  <a:lnTo>
                    <a:pt x="551" y="335"/>
                  </a:lnTo>
                  <a:lnTo>
                    <a:pt x="551" y="336"/>
                  </a:lnTo>
                  <a:lnTo>
                    <a:pt x="550" y="337"/>
                  </a:lnTo>
                  <a:lnTo>
                    <a:pt x="549" y="338"/>
                  </a:lnTo>
                  <a:lnTo>
                    <a:pt x="548" y="339"/>
                  </a:lnTo>
                  <a:lnTo>
                    <a:pt x="546" y="341"/>
                  </a:lnTo>
                  <a:lnTo>
                    <a:pt x="545" y="341"/>
                  </a:lnTo>
                  <a:lnTo>
                    <a:pt x="544" y="342"/>
                  </a:lnTo>
                  <a:lnTo>
                    <a:pt x="544" y="343"/>
                  </a:lnTo>
                  <a:lnTo>
                    <a:pt x="543" y="344"/>
                  </a:lnTo>
                  <a:lnTo>
                    <a:pt x="543" y="345"/>
                  </a:lnTo>
                  <a:lnTo>
                    <a:pt x="543" y="347"/>
                  </a:lnTo>
                  <a:lnTo>
                    <a:pt x="543" y="348"/>
                  </a:lnTo>
                  <a:lnTo>
                    <a:pt x="543" y="350"/>
                  </a:lnTo>
                  <a:lnTo>
                    <a:pt x="543" y="352"/>
                  </a:lnTo>
                  <a:lnTo>
                    <a:pt x="544" y="354"/>
                  </a:lnTo>
                  <a:lnTo>
                    <a:pt x="544" y="354"/>
                  </a:lnTo>
                  <a:lnTo>
                    <a:pt x="544" y="355"/>
                  </a:lnTo>
                  <a:lnTo>
                    <a:pt x="545" y="355"/>
                  </a:lnTo>
                  <a:lnTo>
                    <a:pt x="546" y="356"/>
                  </a:lnTo>
                  <a:lnTo>
                    <a:pt x="547" y="356"/>
                  </a:lnTo>
                  <a:lnTo>
                    <a:pt x="548" y="356"/>
                  </a:lnTo>
                  <a:lnTo>
                    <a:pt x="549" y="356"/>
                  </a:lnTo>
                  <a:lnTo>
                    <a:pt x="550" y="357"/>
                  </a:lnTo>
                  <a:lnTo>
                    <a:pt x="552" y="356"/>
                  </a:lnTo>
                  <a:lnTo>
                    <a:pt x="554" y="356"/>
                  </a:lnTo>
                  <a:lnTo>
                    <a:pt x="555" y="356"/>
                  </a:lnTo>
                  <a:lnTo>
                    <a:pt x="557" y="355"/>
                  </a:lnTo>
                  <a:lnTo>
                    <a:pt x="561" y="354"/>
                  </a:lnTo>
                  <a:lnTo>
                    <a:pt x="571" y="351"/>
                  </a:lnTo>
                  <a:lnTo>
                    <a:pt x="573" y="350"/>
                  </a:lnTo>
                  <a:lnTo>
                    <a:pt x="576" y="349"/>
                  </a:lnTo>
                  <a:lnTo>
                    <a:pt x="577" y="349"/>
                  </a:lnTo>
                  <a:lnTo>
                    <a:pt x="578" y="349"/>
                  </a:lnTo>
                  <a:lnTo>
                    <a:pt x="579" y="349"/>
                  </a:lnTo>
                  <a:lnTo>
                    <a:pt x="581" y="349"/>
                  </a:lnTo>
                  <a:lnTo>
                    <a:pt x="582" y="349"/>
                  </a:lnTo>
                  <a:lnTo>
                    <a:pt x="582" y="349"/>
                  </a:lnTo>
                  <a:lnTo>
                    <a:pt x="583" y="350"/>
                  </a:lnTo>
                  <a:lnTo>
                    <a:pt x="584" y="350"/>
                  </a:lnTo>
                  <a:lnTo>
                    <a:pt x="585" y="351"/>
                  </a:lnTo>
                  <a:lnTo>
                    <a:pt x="586" y="352"/>
                  </a:lnTo>
                  <a:lnTo>
                    <a:pt x="587" y="355"/>
                  </a:lnTo>
                  <a:lnTo>
                    <a:pt x="589" y="357"/>
                  </a:lnTo>
                  <a:lnTo>
                    <a:pt x="590" y="358"/>
                  </a:lnTo>
                  <a:lnTo>
                    <a:pt x="590" y="360"/>
                  </a:lnTo>
                  <a:lnTo>
                    <a:pt x="591" y="362"/>
                  </a:lnTo>
                  <a:lnTo>
                    <a:pt x="591" y="363"/>
                  </a:lnTo>
                  <a:lnTo>
                    <a:pt x="591" y="365"/>
                  </a:lnTo>
                  <a:lnTo>
                    <a:pt x="591" y="366"/>
                  </a:lnTo>
                  <a:lnTo>
                    <a:pt x="591" y="369"/>
                  </a:lnTo>
                  <a:lnTo>
                    <a:pt x="591" y="374"/>
                  </a:lnTo>
                  <a:lnTo>
                    <a:pt x="591" y="376"/>
                  </a:lnTo>
                  <a:lnTo>
                    <a:pt x="591" y="377"/>
                  </a:lnTo>
                  <a:lnTo>
                    <a:pt x="591" y="378"/>
                  </a:lnTo>
                  <a:lnTo>
                    <a:pt x="591" y="378"/>
                  </a:lnTo>
                  <a:lnTo>
                    <a:pt x="592" y="379"/>
                  </a:lnTo>
                  <a:lnTo>
                    <a:pt x="592" y="380"/>
                  </a:lnTo>
                  <a:lnTo>
                    <a:pt x="593" y="380"/>
                  </a:lnTo>
                  <a:lnTo>
                    <a:pt x="593" y="380"/>
                  </a:lnTo>
                  <a:lnTo>
                    <a:pt x="597" y="381"/>
                  </a:lnTo>
                  <a:lnTo>
                    <a:pt x="599" y="382"/>
                  </a:lnTo>
                  <a:lnTo>
                    <a:pt x="600" y="382"/>
                  </a:lnTo>
                  <a:lnTo>
                    <a:pt x="601" y="383"/>
                  </a:lnTo>
                  <a:lnTo>
                    <a:pt x="603" y="384"/>
                  </a:lnTo>
                  <a:lnTo>
                    <a:pt x="606" y="385"/>
                  </a:lnTo>
                  <a:lnTo>
                    <a:pt x="607" y="385"/>
                  </a:lnTo>
                  <a:lnTo>
                    <a:pt x="608" y="386"/>
                  </a:lnTo>
                  <a:lnTo>
                    <a:pt x="609" y="387"/>
                  </a:lnTo>
                  <a:lnTo>
                    <a:pt x="611" y="389"/>
                  </a:lnTo>
                  <a:lnTo>
                    <a:pt x="613" y="391"/>
                  </a:lnTo>
                  <a:lnTo>
                    <a:pt x="614" y="391"/>
                  </a:lnTo>
                  <a:lnTo>
                    <a:pt x="614" y="392"/>
                  </a:lnTo>
                  <a:lnTo>
                    <a:pt x="616" y="393"/>
                  </a:lnTo>
                  <a:lnTo>
                    <a:pt x="617" y="393"/>
                  </a:lnTo>
                  <a:lnTo>
                    <a:pt x="618" y="393"/>
                  </a:lnTo>
                  <a:lnTo>
                    <a:pt x="626" y="394"/>
                  </a:lnTo>
                  <a:lnTo>
                    <a:pt x="630" y="395"/>
                  </a:lnTo>
                  <a:lnTo>
                    <a:pt x="637" y="396"/>
                  </a:lnTo>
                  <a:lnTo>
                    <a:pt x="638" y="396"/>
                  </a:lnTo>
                  <a:lnTo>
                    <a:pt x="640" y="397"/>
                  </a:lnTo>
                  <a:lnTo>
                    <a:pt x="641" y="397"/>
                  </a:lnTo>
                  <a:lnTo>
                    <a:pt x="642" y="398"/>
                  </a:lnTo>
                  <a:lnTo>
                    <a:pt x="644" y="399"/>
                  </a:lnTo>
                  <a:lnTo>
                    <a:pt x="645" y="400"/>
                  </a:lnTo>
                  <a:lnTo>
                    <a:pt x="646" y="402"/>
                  </a:lnTo>
                  <a:lnTo>
                    <a:pt x="647" y="402"/>
                  </a:lnTo>
                  <a:lnTo>
                    <a:pt x="647" y="403"/>
                  </a:lnTo>
                  <a:lnTo>
                    <a:pt x="648" y="404"/>
                  </a:lnTo>
                  <a:lnTo>
                    <a:pt x="648" y="406"/>
                  </a:lnTo>
                  <a:lnTo>
                    <a:pt x="648" y="408"/>
                  </a:lnTo>
                  <a:lnTo>
                    <a:pt x="649" y="412"/>
                  </a:lnTo>
                  <a:lnTo>
                    <a:pt x="649" y="413"/>
                  </a:lnTo>
                  <a:lnTo>
                    <a:pt x="649" y="414"/>
                  </a:lnTo>
                  <a:lnTo>
                    <a:pt x="650" y="415"/>
                  </a:lnTo>
                  <a:lnTo>
                    <a:pt x="650" y="416"/>
                  </a:lnTo>
                  <a:lnTo>
                    <a:pt x="651" y="416"/>
                  </a:lnTo>
                  <a:lnTo>
                    <a:pt x="651" y="417"/>
                  </a:lnTo>
                  <a:lnTo>
                    <a:pt x="652" y="417"/>
                  </a:lnTo>
                  <a:lnTo>
                    <a:pt x="653" y="418"/>
                  </a:lnTo>
                  <a:lnTo>
                    <a:pt x="655" y="418"/>
                  </a:lnTo>
                  <a:lnTo>
                    <a:pt x="657" y="418"/>
                  </a:lnTo>
                  <a:lnTo>
                    <a:pt x="660" y="419"/>
                  </a:lnTo>
                  <a:lnTo>
                    <a:pt x="661" y="419"/>
                  </a:lnTo>
                  <a:lnTo>
                    <a:pt x="663" y="419"/>
                  </a:lnTo>
                  <a:lnTo>
                    <a:pt x="664" y="420"/>
                  </a:lnTo>
                  <a:lnTo>
                    <a:pt x="665" y="420"/>
                  </a:lnTo>
                  <a:lnTo>
                    <a:pt x="666" y="421"/>
                  </a:lnTo>
                  <a:lnTo>
                    <a:pt x="674" y="427"/>
                  </a:lnTo>
                  <a:lnTo>
                    <a:pt x="676" y="428"/>
                  </a:lnTo>
                  <a:lnTo>
                    <a:pt x="678" y="429"/>
                  </a:lnTo>
                  <a:lnTo>
                    <a:pt x="679" y="430"/>
                  </a:lnTo>
                  <a:lnTo>
                    <a:pt x="681" y="431"/>
                  </a:lnTo>
                  <a:lnTo>
                    <a:pt x="682" y="431"/>
                  </a:lnTo>
                  <a:lnTo>
                    <a:pt x="683" y="431"/>
                  </a:lnTo>
                  <a:lnTo>
                    <a:pt x="684" y="431"/>
                  </a:lnTo>
                  <a:lnTo>
                    <a:pt x="685" y="431"/>
                  </a:lnTo>
                  <a:lnTo>
                    <a:pt x="687" y="431"/>
                  </a:lnTo>
                  <a:lnTo>
                    <a:pt x="689" y="431"/>
                  </a:lnTo>
                  <a:lnTo>
                    <a:pt x="694" y="430"/>
                  </a:lnTo>
                  <a:lnTo>
                    <a:pt x="697" y="429"/>
                  </a:lnTo>
                  <a:lnTo>
                    <a:pt x="699" y="429"/>
                  </a:lnTo>
                  <a:lnTo>
                    <a:pt x="703" y="429"/>
                  </a:lnTo>
                  <a:lnTo>
                    <a:pt x="708" y="428"/>
                  </a:lnTo>
                  <a:lnTo>
                    <a:pt x="709" y="428"/>
                  </a:lnTo>
                  <a:lnTo>
                    <a:pt x="710" y="428"/>
                  </a:lnTo>
                  <a:lnTo>
                    <a:pt x="711" y="428"/>
                  </a:lnTo>
                  <a:lnTo>
                    <a:pt x="712" y="428"/>
                  </a:lnTo>
                  <a:lnTo>
                    <a:pt x="713" y="429"/>
                  </a:lnTo>
                  <a:lnTo>
                    <a:pt x="716" y="430"/>
                  </a:lnTo>
                  <a:lnTo>
                    <a:pt x="720" y="431"/>
                  </a:lnTo>
                  <a:lnTo>
                    <a:pt x="721" y="432"/>
                  </a:lnTo>
                  <a:lnTo>
                    <a:pt x="723" y="432"/>
                  </a:lnTo>
                  <a:lnTo>
                    <a:pt x="724" y="433"/>
                  </a:lnTo>
                  <a:lnTo>
                    <a:pt x="726" y="435"/>
                  </a:lnTo>
                  <a:lnTo>
                    <a:pt x="727" y="436"/>
                  </a:lnTo>
                  <a:lnTo>
                    <a:pt x="728" y="436"/>
                  </a:lnTo>
                  <a:lnTo>
                    <a:pt x="729" y="437"/>
                  </a:lnTo>
                  <a:lnTo>
                    <a:pt x="729" y="438"/>
                  </a:lnTo>
                  <a:lnTo>
                    <a:pt x="729" y="439"/>
                  </a:lnTo>
                  <a:lnTo>
                    <a:pt x="730" y="439"/>
                  </a:lnTo>
                  <a:lnTo>
                    <a:pt x="730" y="440"/>
                  </a:lnTo>
                  <a:lnTo>
                    <a:pt x="730" y="441"/>
                  </a:lnTo>
                  <a:lnTo>
                    <a:pt x="731" y="443"/>
                  </a:lnTo>
                  <a:lnTo>
                    <a:pt x="731" y="446"/>
                  </a:lnTo>
                  <a:lnTo>
                    <a:pt x="731" y="448"/>
                  </a:lnTo>
                  <a:lnTo>
                    <a:pt x="731" y="448"/>
                  </a:lnTo>
                  <a:lnTo>
                    <a:pt x="732" y="449"/>
                  </a:lnTo>
                  <a:lnTo>
                    <a:pt x="732" y="450"/>
                  </a:lnTo>
                  <a:lnTo>
                    <a:pt x="733" y="451"/>
                  </a:lnTo>
                  <a:lnTo>
                    <a:pt x="733" y="451"/>
                  </a:lnTo>
                  <a:lnTo>
                    <a:pt x="734" y="452"/>
                  </a:lnTo>
                  <a:lnTo>
                    <a:pt x="735" y="452"/>
                  </a:lnTo>
                  <a:lnTo>
                    <a:pt x="736" y="453"/>
                  </a:lnTo>
                  <a:lnTo>
                    <a:pt x="739" y="454"/>
                  </a:lnTo>
                  <a:lnTo>
                    <a:pt x="741" y="455"/>
                  </a:lnTo>
                  <a:lnTo>
                    <a:pt x="751" y="459"/>
                  </a:lnTo>
                  <a:lnTo>
                    <a:pt x="752" y="460"/>
                  </a:lnTo>
                  <a:lnTo>
                    <a:pt x="754" y="461"/>
                  </a:lnTo>
                  <a:lnTo>
                    <a:pt x="756" y="463"/>
                  </a:lnTo>
                  <a:lnTo>
                    <a:pt x="757" y="464"/>
                  </a:lnTo>
                  <a:lnTo>
                    <a:pt x="759" y="466"/>
                  </a:lnTo>
                  <a:lnTo>
                    <a:pt x="760" y="468"/>
                  </a:lnTo>
                  <a:lnTo>
                    <a:pt x="762" y="470"/>
                  </a:lnTo>
                  <a:lnTo>
                    <a:pt x="767" y="477"/>
                  </a:lnTo>
                  <a:lnTo>
                    <a:pt x="770" y="481"/>
                  </a:lnTo>
                  <a:lnTo>
                    <a:pt x="771" y="483"/>
                  </a:lnTo>
                  <a:lnTo>
                    <a:pt x="772" y="484"/>
                  </a:lnTo>
                  <a:lnTo>
                    <a:pt x="773" y="486"/>
                  </a:lnTo>
                  <a:lnTo>
                    <a:pt x="774" y="491"/>
                  </a:lnTo>
                  <a:lnTo>
                    <a:pt x="775" y="493"/>
                  </a:lnTo>
                  <a:lnTo>
                    <a:pt x="776" y="495"/>
                  </a:lnTo>
                  <a:lnTo>
                    <a:pt x="776" y="495"/>
                  </a:lnTo>
                  <a:lnTo>
                    <a:pt x="777" y="495"/>
                  </a:lnTo>
                  <a:lnTo>
                    <a:pt x="776" y="495"/>
                  </a:lnTo>
                  <a:lnTo>
                    <a:pt x="776" y="495"/>
                  </a:lnTo>
                  <a:lnTo>
                    <a:pt x="775" y="495"/>
                  </a:lnTo>
                  <a:lnTo>
                    <a:pt x="775" y="496"/>
                  </a:lnTo>
                  <a:lnTo>
                    <a:pt x="773" y="496"/>
                  </a:lnTo>
                  <a:lnTo>
                    <a:pt x="771" y="498"/>
                  </a:lnTo>
                  <a:lnTo>
                    <a:pt x="766" y="501"/>
                  </a:lnTo>
                  <a:lnTo>
                    <a:pt x="760" y="506"/>
                  </a:lnTo>
                  <a:lnTo>
                    <a:pt x="758" y="508"/>
                  </a:lnTo>
                  <a:lnTo>
                    <a:pt x="754" y="511"/>
                  </a:lnTo>
                  <a:lnTo>
                    <a:pt x="752" y="512"/>
                  </a:lnTo>
                  <a:lnTo>
                    <a:pt x="751" y="513"/>
                  </a:lnTo>
                  <a:lnTo>
                    <a:pt x="750" y="513"/>
                  </a:lnTo>
                  <a:lnTo>
                    <a:pt x="749" y="514"/>
                  </a:lnTo>
                  <a:lnTo>
                    <a:pt x="748" y="514"/>
                  </a:lnTo>
                  <a:lnTo>
                    <a:pt x="747" y="514"/>
                  </a:lnTo>
                  <a:lnTo>
                    <a:pt x="744" y="515"/>
                  </a:lnTo>
                  <a:lnTo>
                    <a:pt x="740" y="515"/>
                  </a:lnTo>
                  <a:lnTo>
                    <a:pt x="739" y="516"/>
                  </a:lnTo>
                  <a:lnTo>
                    <a:pt x="738" y="516"/>
                  </a:lnTo>
                  <a:lnTo>
                    <a:pt x="737" y="517"/>
                  </a:lnTo>
                  <a:lnTo>
                    <a:pt x="734" y="519"/>
                  </a:lnTo>
                  <a:lnTo>
                    <a:pt x="734" y="519"/>
                  </a:lnTo>
                  <a:lnTo>
                    <a:pt x="733" y="520"/>
                  </a:lnTo>
                  <a:lnTo>
                    <a:pt x="732" y="520"/>
                  </a:lnTo>
                  <a:lnTo>
                    <a:pt x="731" y="520"/>
                  </a:lnTo>
                  <a:lnTo>
                    <a:pt x="728" y="521"/>
                  </a:lnTo>
                  <a:lnTo>
                    <a:pt x="727" y="521"/>
                  </a:lnTo>
                  <a:lnTo>
                    <a:pt x="726" y="521"/>
                  </a:lnTo>
                  <a:lnTo>
                    <a:pt x="725" y="521"/>
                  </a:lnTo>
                  <a:lnTo>
                    <a:pt x="724" y="521"/>
                  </a:lnTo>
                  <a:lnTo>
                    <a:pt x="723" y="520"/>
                  </a:lnTo>
                  <a:lnTo>
                    <a:pt x="723" y="520"/>
                  </a:lnTo>
                  <a:lnTo>
                    <a:pt x="721" y="518"/>
                  </a:lnTo>
                  <a:lnTo>
                    <a:pt x="721" y="518"/>
                  </a:lnTo>
                  <a:lnTo>
                    <a:pt x="720" y="518"/>
                  </a:lnTo>
                  <a:lnTo>
                    <a:pt x="717" y="517"/>
                  </a:lnTo>
                  <a:lnTo>
                    <a:pt x="716" y="517"/>
                  </a:lnTo>
                  <a:lnTo>
                    <a:pt x="715" y="516"/>
                  </a:lnTo>
                  <a:lnTo>
                    <a:pt x="713" y="515"/>
                  </a:lnTo>
                  <a:lnTo>
                    <a:pt x="709" y="512"/>
                  </a:lnTo>
                  <a:lnTo>
                    <a:pt x="707" y="510"/>
                  </a:lnTo>
                  <a:lnTo>
                    <a:pt x="705" y="509"/>
                  </a:lnTo>
                  <a:lnTo>
                    <a:pt x="703" y="508"/>
                  </a:lnTo>
                  <a:lnTo>
                    <a:pt x="701" y="507"/>
                  </a:lnTo>
                  <a:lnTo>
                    <a:pt x="699" y="507"/>
                  </a:lnTo>
                  <a:lnTo>
                    <a:pt x="697" y="506"/>
                  </a:lnTo>
                  <a:lnTo>
                    <a:pt x="695" y="506"/>
                  </a:lnTo>
                  <a:lnTo>
                    <a:pt x="694" y="506"/>
                  </a:lnTo>
                  <a:lnTo>
                    <a:pt x="693" y="507"/>
                  </a:lnTo>
                  <a:lnTo>
                    <a:pt x="693" y="507"/>
                  </a:lnTo>
                  <a:lnTo>
                    <a:pt x="692" y="507"/>
                  </a:lnTo>
                  <a:lnTo>
                    <a:pt x="690" y="508"/>
                  </a:lnTo>
                  <a:lnTo>
                    <a:pt x="687" y="509"/>
                  </a:lnTo>
                  <a:lnTo>
                    <a:pt x="687" y="510"/>
                  </a:lnTo>
                  <a:lnTo>
                    <a:pt x="685" y="511"/>
                  </a:lnTo>
                  <a:lnTo>
                    <a:pt x="682" y="514"/>
                  </a:lnTo>
                  <a:lnTo>
                    <a:pt x="680" y="515"/>
                  </a:lnTo>
                  <a:lnTo>
                    <a:pt x="674" y="520"/>
                  </a:lnTo>
                  <a:lnTo>
                    <a:pt x="671" y="521"/>
                  </a:lnTo>
                  <a:lnTo>
                    <a:pt x="670" y="522"/>
                  </a:lnTo>
                  <a:lnTo>
                    <a:pt x="669" y="523"/>
                  </a:lnTo>
                  <a:lnTo>
                    <a:pt x="668" y="523"/>
                  </a:lnTo>
                  <a:lnTo>
                    <a:pt x="667" y="523"/>
                  </a:lnTo>
                  <a:lnTo>
                    <a:pt x="665" y="523"/>
                  </a:lnTo>
                  <a:lnTo>
                    <a:pt x="663" y="524"/>
                  </a:lnTo>
                  <a:lnTo>
                    <a:pt x="659" y="524"/>
                  </a:lnTo>
                  <a:lnTo>
                    <a:pt x="657" y="524"/>
                  </a:lnTo>
                  <a:lnTo>
                    <a:pt x="656" y="523"/>
                  </a:lnTo>
                  <a:lnTo>
                    <a:pt x="655" y="523"/>
                  </a:lnTo>
                  <a:lnTo>
                    <a:pt x="654" y="523"/>
                  </a:lnTo>
                  <a:lnTo>
                    <a:pt x="653" y="522"/>
                  </a:lnTo>
                  <a:lnTo>
                    <a:pt x="651" y="521"/>
                  </a:lnTo>
                  <a:lnTo>
                    <a:pt x="649" y="520"/>
                  </a:lnTo>
                  <a:lnTo>
                    <a:pt x="648" y="519"/>
                  </a:lnTo>
                  <a:lnTo>
                    <a:pt x="645" y="517"/>
                  </a:lnTo>
                  <a:lnTo>
                    <a:pt x="643" y="516"/>
                  </a:lnTo>
                  <a:lnTo>
                    <a:pt x="640" y="513"/>
                  </a:lnTo>
                  <a:lnTo>
                    <a:pt x="636" y="509"/>
                  </a:lnTo>
                  <a:lnTo>
                    <a:pt x="635" y="509"/>
                  </a:lnTo>
                  <a:lnTo>
                    <a:pt x="634" y="508"/>
                  </a:lnTo>
                  <a:lnTo>
                    <a:pt x="633" y="507"/>
                  </a:lnTo>
                  <a:lnTo>
                    <a:pt x="630" y="506"/>
                  </a:lnTo>
                  <a:lnTo>
                    <a:pt x="628" y="505"/>
                  </a:lnTo>
                  <a:lnTo>
                    <a:pt x="622" y="501"/>
                  </a:lnTo>
                  <a:lnTo>
                    <a:pt x="617" y="498"/>
                  </a:lnTo>
                  <a:lnTo>
                    <a:pt x="616" y="498"/>
                  </a:lnTo>
                  <a:lnTo>
                    <a:pt x="614" y="497"/>
                  </a:lnTo>
                  <a:lnTo>
                    <a:pt x="613" y="497"/>
                  </a:lnTo>
                  <a:lnTo>
                    <a:pt x="609" y="495"/>
                  </a:lnTo>
                  <a:lnTo>
                    <a:pt x="603" y="493"/>
                  </a:lnTo>
                  <a:lnTo>
                    <a:pt x="601" y="492"/>
                  </a:lnTo>
                  <a:lnTo>
                    <a:pt x="599" y="492"/>
                  </a:lnTo>
                  <a:lnTo>
                    <a:pt x="597" y="491"/>
                  </a:lnTo>
                  <a:lnTo>
                    <a:pt x="595" y="490"/>
                  </a:lnTo>
                  <a:lnTo>
                    <a:pt x="593" y="490"/>
                  </a:lnTo>
                  <a:lnTo>
                    <a:pt x="590" y="490"/>
                  </a:lnTo>
                  <a:lnTo>
                    <a:pt x="588" y="489"/>
                  </a:lnTo>
                  <a:lnTo>
                    <a:pt x="587" y="489"/>
                  </a:lnTo>
                  <a:lnTo>
                    <a:pt x="586" y="489"/>
                  </a:lnTo>
                  <a:lnTo>
                    <a:pt x="584" y="489"/>
                  </a:lnTo>
                  <a:lnTo>
                    <a:pt x="583" y="490"/>
                  </a:lnTo>
                  <a:lnTo>
                    <a:pt x="582" y="490"/>
                  </a:lnTo>
                  <a:lnTo>
                    <a:pt x="580" y="491"/>
                  </a:lnTo>
                  <a:lnTo>
                    <a:pt x="579" y="491"/>
                  </a:lnTo>
                  <a:lnTo>
                    <a:pt x="578" y="492"/>
                  </a:lnTo>
                  <a:lnTo>
                    <a:pt x="576" y="494"/>
                  </a:lnTo>
                  <a:lnTo>
                    <a:pt x="574" y="495"/>
                  </a:lnTo>
                  <a:lnTo>
                    <a:pt x="570" y="499"/>
                  </a:lnTo>
                  <a:lnTo>
                    <a:pt x="563" y="506"/>
                  </a:lnTo>
                  <a:lnTo>
                    <a:pt x="561" y="507"/>
                  </a:lnTo>
                  <a:lnTo>
                    <a:pt x="556" y="511"/>
                  </a:lnTo>
                  <a:lnTo>
                    <a:pt x="553" y="514"/>
                  </a:lnTo>
                  <a:lnTo>
                    <a:pt x="550" y="516"/>
                  </a:lnTo>
                  <a:lnTo>
                    <a:pt x="549" y="517"/>
                  </a:lnTo>
                  <a:lnTo>
                    <a:pt x="548" y="518"/>
                  </a:lnTo>
                  <a:lnTo>
                    <a:pt x="547" y="519"/>
                  </a:lnTo>
                  <a:lnTo>
                    <a:pt x="547" y="520"/>
                  </a:lnTo>
                  <a:lnTo>
                    <a:pt x="546" y="521"/>
                  </a:lnTo>
                  <a:lnTo>
                    <a:pt x="545" y="523"/>
                  </a:lnTo>
                  <a:lnTo>
                    <a:pt x="544" y="525"/>
                  </a:lnTo>
                  <a:lnTo>
                    <a:pt x="542" y="531"/>
                  </a:lnTo>
                  <a:lnTo>
                    <a:pt x="542" y="533"/>
                  </a:lnTo>
                  <a:lnTo>
                    <a:pt x="541" y="534"/>
                  </a:lnTo>
                  <a:lnTo>
                    <a:pt x="540" y="536"/>
                  </a:lnTo>
                  <a:lnTo>
                    <a:pt x="539" y="538"/>
                  </a:lnTo>
                  <a:lnTo>
                    <a:pt x="536" y="543"/>
                  </a:lnTo>
                  <a:lnTo>
                    <a:pt x="535" y="545"/>
                  </a:lnTo>
                  <a:lnTo>
                    <a:pt x="534" y="547"/>
                  </a:lnTo>
                  <a:lnTo>
                    <a:pt x="532" y="549"/>
                  </a:lnTo>
                  <a:lnTo>
                    <a:pt x="527" y="554"/>
                  </a:lnTo>
                  <a:lnTo>
                    <a:pt x="521" y="560"/>
                  </a:lnTo>
                  <a:lnTo>
                    <a:pt x="519" y="563"/>
                  </a:lnTo>
                  <a:lnTo>
                    <a:pt x="517" y="565"/>
                  </a:lnTo>
                  <a:lnTo>
                    <a:pt x="516" y="567"/>
                  </a:lnTo>
                  <a:lnTo>
                    <a:pt x="512" y="575"/>
                  </a:lnTo>
                  <a:lnTo>
                    <a:pt x="510" y="578"/>
                  </a:lnTo>
                  <a:lnTo>
                    <a:pt x="507" y="584"/>
                  </a:lnTo>
                  <a:lnTo>
                    <a:pt x="506" y="587"/>
                  </a:lnTo>
                  <a:lnTo>
                    <a:pt x="504" y="592"/>
                  </a:lnTo>
                  <a:lnTo>
                    <a:pt x="501" y="597"/>
                  </a:lnTo>
                  <a:lnTo>
                    <a:pt x="500" y="599"/>
                  </a:lnTo>
                  <a:lnTo>
                    <a:pt x="499" y="602"/>
                  </a:lnTo>
                  <a:lnTo>
                    <a:pt x="498" y="607"/>
                  </a:lnTo>
                  <a:lnTo>
                    <a:pt x="497" y="610"/>
                  </a:lnTo>
                  <a:lnTo>
                    <a:pt x="495" y="612"/>
                  </a:lnTo>
                  <a:lnTo>
                    <a:pt x="493" y="616"/>
                  </a:lnTo>
                  <a:lnTo>
                    <a:pt x="492" y="618"/>
                  </a:lnTo>
                  <a:lnTo>
                    <a:pt x="491" y="621"/>
                  </a:lnTo>
                  <a:lnTo>
                    <a:pt x="490" y="623"/>
                  </a:lnTo>
                  <a:lnTo>
                    <a:pt x="488" y="627"/>
                  </a:lnTo>
                  <a:lnTo>
                    <a:pt x="488" y="628"/>
                  </a:lnTo>
                  <a:lnTo>
                    <a:pt x="488" y="629"/>
                  </a:lnTo>
                  <a:lnTo>
                    <a:pt x="487" y="633"/>
                  </a:lnTo>
                  <a:lnTo>
                    <a:pt x="486" y="639"/>
                  </a:lnTo>
                  <a:lnTo>
                    <a:pt x="485" y="642"/>
                  </a:lnTo>
                  <a:lnTo>
                    <a:pt x="485" y="644"/>
                  </a:lnTo>
                  <a:lnTo>
                    <a:pt x="484" y="646"/>
                  </a:lnTo>
                  <a:lnTo>
                    <a:pt x="483" y="648"/>
                  </a:lnTo>
                  <a:lnTo>
                    <a:pt x="483" y="649"/>
                  </a:lnTo>
                  <a:lnTo>
                    <a:pt x="482" y="651"/>
                  </a:lnTo>
                  <a:lnTo>
                    <a:pt x="481" y="652"/>
                  </a:lnTo>
                  <a:lnTo>
                    <a:pt x="480" y="653"/>
                  </a:lnTo>
                  <a:lnTo>
                    <a:pt x="479" y="655"/>
                  </a:lnTo>
                  <a:lnTo>
                    <a:pt x="478" y="656"/>
                  </a:lnTo>
                  <a:lnTo>
                    <a:pt x="477" y="656"/>
                  </a:lnTo>
                  <a:lnTo>
                    <a:pt x="476" y="656"/>
                  </a:lnTo>
                  <a:lnTo>
                    <a:pt x="475" y="657"/>
                  </a:lnTo>
                  <a:lnTo>
                    <a:pt x="474" y="657"/>
                  </a:lnTo>
                  <a:lnTo>
                    <a:pt x="474" y="657"/>
                  </a:lnTo>
                  <a:lnTo>
                    <a:pt x="473" y="657"/>
                  </a:lnTo>
                  <a:lnTo>
                    <a:pt x="472" y="657"/>
                  </a:lnTo>
                  <a:lnTo>
                    <a:pt x="471" y="656"/>
                  </a:lnTo>
                  <a:lnTo>
                    <a:pt x="470" y="656"/>
                  </a:lnTo>
                  <a:lnTo>
                    <a:pt x="470" y="655"/>
                  </a:lnTo>
                  <a:lnTo>
                    <a:pt x="469" y="655"/>
                  </a:lnTo>
                  <a:lnTo>
                    <a:pt x="469" y="654"/>
                  </a:lnTo>
                  <a:lnTo>
                    <a:pt x="469" y="653"/>
                  </a:lnTo>
                  <a:lnTo>
                    <a:pt x="468" y="652"/>
                  </a:lnTo>
                  <a:lnTo>
                    <a:pt x="468" y="651"/>
                  </a:lnTo>
                  <a:lnTo>
                    <a:pt x="468" y="646"/>
                  </a:lnTo>
                  <a:lnTo>
                    <a:pt x="467" y="640"/>
                  </a:lnTo>
                  <a:lnTo>
                    <a:pt x="466" y="637"/>
                  </a:lnTo>
                  <a:lnTo>
                    <a:pt x="466" y="633"/>
                  </a:lnTo>
                  <a:lnTo>
                    <a:pt x="466" y="630"/>
                  </a:lnTo>
                  <a:lnTo>
                    <a:pt x="465" y="626"/>
                  </a:lnTo>
                  <a:lnTo>
                    <a:pt x="464" y="622"/>
                  </a:lnTo>
                  <a:lnTo>
                    <a:pt x="464" y="620"/>
                  </a:lnTo>
                  <a:lnTo>
                    <a:pt x="463" y="618"/>
                  </a:lnTo>
                  <a:lnTo>
                    <a:pt x="463" y="611"/>
                  </a:lnTo>
                  <a:lnTo>
                    <a:pt x="463" y="610"/>
                  </a:lnTo>
                  <a:lnTo>
                    <a:pt x="462" y="608"/>
                  </a:lnTo>
                  <a:lnTo>
                    <a:pt x="462" y="607"/>
                  </a:lnTo>
                  <a:lnTo>
                    <a:pt x="461" y="605"/>
                  </a:lnTo>
                  <a:lnTo>
                    <a:pt x="461" y="603"/>
                  </a:lnTo>
                  <a:lnTo>
                    <a:pt x="460" y="602"/>
                  </a:lnTo>
                  <a:lnTo>
                    <a:pt x="459" y="600"/>
                  </a:lnTo>
                  <a:lnTo>
                    <a:pt x="457" y="599"/>
                  </a:lnTo>
                  <a:lnTo>
                    <a:pt x="457" y="598"/>
                  </a:lnTo>
                  <a:lnTo>
                    <a:pt x="456" y="597"/>
                  </a:lnTo>
                  <a:lnTo>
                    <a:pt x="455" y="596"/>
                  </a:lnTo>
                  <a:lnTo>
                    <a:pt x="454" y="596"/>
                  </a:lnTo>
                  <a:lnTo>
                    <a:pt x="453" y="596"/>
                  </a:lnTo>
                  <a:lnTo>
                    <a:pt x="452" y="595"/>
                  </a:lnTo>
                  <a:lnTo>
                    <a:pt x="450" y="595"/>
                  </a:lnTo>
                  <a:lnTo>
                    <a:pt x="449" y="595"/>
                  </a:lnTo>
                  <a:lnTo>
                    <a:pt x="448" y="595"/>
                  </a:lnTo>
                  <a:lnTo>
                    <a:pt x="447" y="595"/>
                  </a:lnTo>
                  <a:lnTo>
                    <a:pt x="446" y="595"/>
                  </a:lnTo>
                  <a:lnTo>
                    <a:pt x="445" y="595"/>
                  </a:lnTo>
                  <a:lnTo>
                    <a:pt x="442" y="596"/>
                  </a:lnTo>
                  <a:lnTo>
                    <a:pt x="440" y="597"/>
                  </a:lnTo>
                  <a:lnTo>
                    <a:pt x="438" y="597"/>
                  </a:lnTo>
                  <a:lnTo>
                    <a:pt x="435" y="597"/>
                  </a:lnTo>
                  <a:lnTo>
                    <a:pt x="432" y="598"/>
                  </a:lnTo>
                  <a:lnTo>
                    <a:pt x="428" y="598"/>
                  </a:lnTo>
                  <a:lnTo>
                    <a:pt x="422" y="599"/>
                  </a:lnTo>
                  <a:lnTo>
                    <a:pt x="419" y="600"/>
                  </a:lnTo>
                  <a:lnTo>
                    <a:pt x="414" y="600"/>
                  </a:lnTo>
                  <a:lnTo>
                    <a:pt x="413" y="600"/>
                  </a:lnTo>
                  <a:lnTo>
                    <a:pt x="412" y="600"/>
                  </a:lnTo>
                  <a:lnTo>
                    <a:pt x="409" y="600"/>
                  </a:lnTo>
                  <a:lnTo>
                    <a:pt x="404" y="598"/>
                  </a:lnTo>
                  <a:lnTo>
                    <a:pt x="402" y="598"/>
                  </a:lnTo>
                  <a:lnTo>
                    <a:pt x="400" y="597"/>
                  </a:lnTo>
                  <a:lnTo>
                    <a:pt x="397" y="595"/>
                  </a:lnTo>
                  <a:lnTo>
                    <a:pt x="395" y="594"/>
                  </a:lnTo>
                  <a:lnTo>
                    <a:pt x="393" y="593"/>
                  </a:lnTo>
                  <a:lnTo>
                    <a:pt x="390" y="590"/>
                  </a:lnTo>
                  <a:lnTo>
                    <a:pt x="389" y="589"/>
                  </a:lnTo>
                  <a:lnTo>
                    <a:pt x="388" y="589"/>
                  </a:lnTo>
                  <a:lnTo>
                    <a:pt x="387" y="588"/>
                  </a:lnTo>
                  <a:lnTo>
                    <a:pt x="383" y="587"/>
                  </a:lnTo>
                  <a:lnTo>
                    <a:pt x="382" y="586"/>
                  </a:lnTo>
                  <a:lnTo>
                    <a:pt x="380" y="586"/>
                  </a:lnTo>
                  <a:lnTo>
                    <a:pt x="379" y="585"/>
                  </a:lnTo>
                  <a:lnTo>
                    <a:pt x="378" y="585"/>
                  </a:lnTo>
                  <a:lnTo>
                    <a:pt x="377" y="585"/>
                  </a:lnTo>
                  <a:lnTo>
                    <a:pt x="375" y="585"/>
                  </a:lnTo>
                  <a:lnTo>
                    <a:pt x="374" y="585"/>
                  </a:lnTo>
                  <a:lnTo>
                    <a:pt x="373" y="585"/>
                  </a:lnTo>
                  <a:lnTo>
                    <a:pt x="368" y="585"/>
                  </a:lnTo>
                  <a:lnTo>
                    <a:pt x="367" y="585"/>
                  </a:lnTo>
                  <a:lnTo>
                    <a:pt x="366" y="585"/>
                  </a:lnTo>
                  <a:lnTo>
                    <a:pt x="365" y="585"/>
                  </a:lnTo>
                  <a:lnTo>
                    <a:pt x="364" y="585"/>
                  </a:lnTo>
                  <a:lnTo>
                    <a:pt x="364" y="585"/>
                  </a:lnTo>
                  <a:lnTo>
                    <a:pt x="363" y="585"/>
                  </a:lnTo>
                  <a:lnTo>
                    <a:pt x="363" y="584"/>
                  </a:lnTo>
                  <a:lnTo>
                    <a:pt x="362" y="584"/>
                  </a:lnTo>
                  <a:lnTo>
                    <a:pt x="362" y="583"/>
                  </a:lnTo>
                  <a:lnTo>
                    <a:pt x="361" y="582"/>
                  </a:lnTo>
                  <a:lnTo>
                    <a:pt x="361" y="582"/>
                  </a:lnTo>
                  <a:lnTo>
                    <a:pt x="360" y="581"/>
                  </a:lnTo>
                  <a:lnTo>
                    <a:pt x="360" y="580"/>
                  </a:lnTo>
                  <a:lnTo>
                    <a:pt x="360" y="579"/>
                  </a:lnTo>
                  <a:lnTo>
                    <a:pt x="359" y="573"/>
                  </a:lnTo>
                  <a:lnTo>
                    <a:pt x="358" y="570"/>
                  </a:lnTo>
                  <a:lnTo>
                    <a:pt x="358" y="568"/>
                  </a:lnTo>
                  <a:lnTo>
                    <a:pt x="358" y="567"/>
                  </a:lnTo>
                  <a:lnTo>
                    <a:pt x="357" y="566"/>
                  </a:lnTo>
                  <a:lnTo>
                    <a:pt x="357" y="564"/>
                  </a:lnTo>
                  <a:lnTo>
                    <a:pt x="356" y="563"/>
                  </a:lnTo>
                  <a:lnTo>
                    <a:pt x="355" y="562"/>
                  </a:lnTo>
                  <a:lnTo>
                    <a:pt x="354" y="560"/>
                  </a:lnTo>
                  <a:lnTo>
                    <a:pt x="352" y="559"/>
                  </a:lnTo>
                  <a:lnTo>
                    <a:pt x="351" y="558"/>
                  </a:lnTo>
                  <a:lnTo>
                    <a:pt x="350" y="557"/>
                  </a:lnTo>
                  <a:lnTo>
                    <a:pt x="349" y="556"/>
                  </a:lnTo>
                  <a:lnTo>
                    <a:pt x="348" y="555"/>
                  </a:lnTo>
                  <a:lnTo>
                    <a:pt x="346" y="555"/>
                  </a:lnTo>
                  <a:lnTo>
                    <a:pt x="344" y="554"/>
                  </a:lnTo>
                  <a:lnTo>
                    <a:pt x="343" y="554"/>
                  </a:lnTo>
                  <a:lnTo>
                    <a:pt x="341" y="554"/>
                  </a:lnTo>
                  <a:lnTo>
                    <a:pt x="336" y="554"/>
                  </a:lnTo>
                  <a:lnTo>
                    <a:pt x="334" y="554"/>
                  </a:lnTo>
                  <a:lnTo>
                    <a:pt x="332" y="554"/>
                  </a:lnTo>
                  <a:lnTo>
                    <a:pt x="330" y="554"/>
                  </a:lnTo>
                  <a:lnTo>
                    <a:pt x="328" y="554"/>
                  </a:lnTo>
                  <a:lnTo>
                    <a:pt x="327" y="553"/>
                  </a:lnTo>
                  <a:lnTo>
                    <a:pt x="325" y="553"/>
                  </a:lnTo>
                  <a:lnTo>
                    <a:pt x="323" y="552"/>
                  </a:lnTo>
                  <a:lnTo>
                    <a:pt x="322" y="552"/>
                  </a:lnTo>
                  <a:lnTo>
                    <a:pt x="312" y="547"/>
                  </a:lnTo>
                  <a:lnTo>
                    <a:pt x="310" y="545"/>
                  </a:lnTo>
                  <a:lnTo>
                    <a:pt x="306" y="542"/>
                  </a:lnTo>
                  <a:lnTo>
                    <a:pt x="304" y="542"/>
                  </a:lnTo>
                  <a:lnTo>
                    <a:pt x="302" y="540"/>
                  </a:lnTo>
                  <a:lnTo>
                    <a:pt x="301" y="540"/>
                  </a:lnTo>
                  <a:lnTo>
                    <a:pt x="300" y="540"/>
                  </a:lnTo>
                  <a:lnTo>
                    <a:pt x="299" y="540"/>
                  </a:lnTo>
                  <a:lnTo>
                    <a:pt x="298" y="540"/>
                  </a:lnTo>
                  <a:lnTo>
                    <a:pt x="298" y="540"/>
                  </a:lnTo>
                  <a:lnTo>
                    <a:pt x="297" y="540"/>
                  </a:lnTo>
                  <a:lnTo>
                    <a:pt x="295" y="540"/>
                  </a:lnTo>
                  <a:lnTo>
                    <a:pt x="292" y="541"/>
                  </a:lnTo>
                  <a:lnTo>
                    <a:pt x="290" y="542"/>
                  </a:lnTo>
                  <a:lnTo>
                    <a:pt x="288" y="542"/>
                  </a:lnTo>
                  <a:lnTo>
                    <a:pt x="286" y="542"/>
                  </a:lnTo>
                  <a:lnTo>
                    <a:pt x="282" y="542"/>
                  </a:lnTo>
                  <a:lnTo>
                    <a:pt x="279" y="542"/>
                  </a:lnTo>
                  <a:lnTo>
                    <a:pt x="275" y="542"/>
                  </a:lnTo>
                  <a:lnTo>
                    <a:pt x="270" y="542"/>
                  </a:lnTo>
                  <a:lnTo>
                    <a:pt x="269" y="542"/>
                  </a:lnTo>
                  <a:lnTo>
                    <a:pt x="268" y="542"/>
                  </a:lnTo>
                  <a:lnTo>
                    <a:pt x="267" y="542"/>
                  </a:lnTo>
                  <a:lnTo>
                    <a:pt x="266" y="542"/>
                  </a:lnTo>
                  <a:lnTo>
                    <a:pt x="265" y="542"/>
                  </a:lnTo>
                  <a:lnTo>
                    <a:pt x="264" y="543"/>
                  </a:lnTo>
                  <a:lnTo>
                    <a:pt x="263" y="544"/>
                  </a:lnTo>
                  <a:lnTo>
                    <a:pt x="262" y="545"/>
                  </a:lnTo>
                  <a:lnTo>
                    <a:pt x="261" y="546"/>
                  </a:lnTo>
                  <a:lnTo>
                    <a:pt x="260" y="548"/>
                  </a:lnTo>
                  <a:lnTo>
                    <a:pt x="258" y="550"/>
                  </a:lnTo>
                  <a:lnTo>
                    <a:pt x="256" y="555"/>
                  </a:lnTo>
                  <a:lnTo>
                    <a:pt x="255" y="558"/>
                  </a:lnTo>
                  <a:lnTo>
                    <a:pt x="253" y="563"/>
                  </a:lnTo>
                  <a:lnTo>
                    <a:pt x="252" y="565"/>
                  </a:lnTo>
                  <a:lnTo>
                    <a:pt x="251" y="567"/>
                  </a:lnTo>
                  <a:lnTo>
                    <a:pt x="251" y="568"/>
                  </a:lnTo>
                  <a:lnTo>
                    <a:pt x="247" y="573"/>
                  </a:lnTo>
                  <a:lnTo>
                    <a:pt x="244" y="579"/>
                  </a:lnTo>
                  <a:lnTo>
                    <a:pt x="242" y="581"/>
                  </a:lnTo>
                  <a:lnTo>
                    <a:pt x="241" y="582"/>
                  </a:lnTo>
                  <a:lnTo>
                    <a:pt x="240" y="583"/>
                  </a:lnTo>
                  <a:lnTo>
                    <a:pt x="238" y="584"/>
                  </a:lnTo>
                  <a:lnTo>
                    <a:pt x="237" y="586"/>
                  </a:lnTo>
                  <a:lnTo>
                    <a:pt x="233" y="588"/>
                  </a:lnTo>
                  <a:lnTo>
                    <a:pt x="232" y="589"/>
                  </a:lnTo>
                  <a:lnTo>
                    <a:pt x="230" y="590"/>
                  </a:lnTo>
                  <a:lnTo>
                    <a:pt x="229" y="590"/>
                  </a:lnTo>
                  <a:lnTo>
                    <a:pt x="227" y="590"/>
                  </a:lnTo>
                  <a:lnTo>
                    <a:pt x="226" y="590"/>
                  </a:lnTo>
                  <a:lnTo>
                    <a:pt x="224" y="590"/>
                  </a:lnTo>
                  <a:lnTo>
                    <a:pt x="223" y="590"/>
                  </a:lnTo>
                  <a:lnTo>
                    <a:pt x="222" y="589"/>
                  </a:lnTo>
                  <a:lnTo>
                    <a:pt x="221" y="589"/>
                  </a:lnTo>
                  <a:lnTo>
                    <a:pt x="220" y="588"/>
                  </a:lnTo>
                  <a:lnTo>
                    <a:pt x="218" y="587"/>
                  </a:lnTo>
                  <a:lnTo>
                    <a:pt x="217" y="586"/>
                  </a:lnTo>
                  <a:lnTo>
                    <a:pt x="217" y="586"/>
                  </a:lnTo>
                  <a:lnTo>
                    <a:pt x="216" y="585"/>
                  </a:lnTo>
                  <a:lnTo>
                    <a:pt x="215" y="585"/>
                  </a:lnTo>
                  <a:lnTo>
                    <a:pt x="215" y="585"/>
                  </a:lnTo>
                  <a:lnTo>
                    <a:pt x="214" y="585"/>
                  </a:lnTo>
                  <a:lnTo>
                    <a:pt x="213" y="585"/>
                  </a:lnTo>
                  <a:lnTo>
                    <a:pt x="212" y="586"/>
                  </a:lnTo>
                  <a:lnTo>
                    <a:pt x="210" y="587"/>
                  </a:lnTo>
                  <a:lnTo>
                    <a:pt x="209" y="587"/>
                  </a:lnTo>
                  <a:lnTo>
                    <a:pt x="208" y="588"/>
                  </a:lnTo>
                  <a:lnTo>
                    <a:pt x="207" y="588"/>
                  </a:lnTo>
                  <a:lnTo>
                    <a:pt x="206" y="588"/>
                  </a:lnTo>
                  <a:lnTo>
                    <a:pt x="205" y="588"/>
                  </a:lnTo>
                  <a:lnTo>
                    <a:pt x="204" y="588"/>
                  </a:lnTo>
                  <a:lnTo>
                    <a:pt x="203" y="588"/>
                  </a:lnTo>
                  <a:lnTo>
                    <a:pt x="201" y="588"/>
                  </a:lnTo>
                  <a:lnTo>
                    <a:pt x="197" y="587"/>
                  </a:lnTo>
                  <a:lnTo>
                    <a:pt x="195" y="587"/>
                  </a:lnTo>
                  <a:lnTo>
                    <a:pt x="191" y="586"/>
                  </a:lnTo>
                  <a:lnTo>
                    <a:pt x="189" y="586"/>
                  </a:lnTo>
                  <a:lnTo>
                    <a:pt x="186" y="586"/>
                  </a:lnTo>
                  <a:lnTo>
                    <a:pt x="184" y="586"/>
                  </a:lnTo>
                  <a:lnTo>
                    <a:pt x="179" y="586"/>
                  </a:lnTo>
                  <a:lnTo>
                    <a:pt x="176" y="586"/>
                  </a:lnTo>
                  <a:lnTo>
                    <a:pt x="172" y="586"/>
                  </a:lnTo>
                  <a:lnTo>
                    <a:pt x="167" y="585"/>
                  </a:lnTo>
                  <a:lnTo>
                    <a:pt x="161" y="585"/>
                  </a:lnTo>
                  <a:lnTo>
                    <a:pt x="143" y="583"/>
                  </a:lnTo>
                  <a:lnTo>
                    <a:pt x="139" y="583"/>
                  </a:lnTo>
                  <a:lnTo>
                    <a:pt x="137" y="583"/>
                  </a:lnTo>
                  <a:lnTo>
                    <a:pt x="134" y="583"/>
                  </a:lnTo>
                  <a:lnTo>
                    <a:pt x="133" y="583"/>
                  </a:lnTo>
                  <a:lnTo>
                    <a:pt x="128" y="583"/>
                  </a:lnTo>
                  <a:lnTo>
                    <a:pt x="125" y="583"/>
                  </a:lnTo>
                  <a:lnTo>
                    <a:pt x="123" y="583"/>
                  </a:lnTo>
                  <a:lnTo>
                    <a:pt x="119" y="583"/>
                  </a:lnTo>
                  <a:lnTo>
                    <a:pt x="112" y="582"/>
                  </a:lnTo>
                  <a:lnTo>
                    <a:pt x="110" y="582"/>
                  </a:lnTo>
                  <a:lnTo>
                    <a:pt x="108" y="582"/>
                  </a:lnTo>
                  <a:lnTo>
                    <a:pt x="106" y="581"/>
                  </a:lnTo>
                  <a:lnTo>
                    <a:pt x="104" y="581"/>
                  </a:lnTo>
                  <a:lnTo>
                    <a:pt x="103" y="580"/>
                  </a:lnTo>
                  <a:lnTo>
                    <a:pt x="101" y="580"/>
                  </a:lnTo>
                  <a:lnTo>
                    <a:pt x="99" y="579"/>
                  </a:lnTo>
                  <a:lnTo>
                    <a:pt x="97" y="578"/>
                  </a:lnTo>
                  <a:lnTo>
                    <a:pt x="95" y="577"/>
                  </a:lnTo>
                  <a:lnTo>
                    <a:pt x="91" y="575"/>
                  </a:lnTo>
                  <a:lnTo>
                    <a:pt x="83" y="571"/>
                  </a:lnTo>
                  <a:lnTo>
                    <a:pt x="71" y="565"/>
                  </a:lnTo>
                  <a:lnTo>
                    <a:pt x="67" y="562"/>
                  </a:lnTo>
                  <a:lnTo>
                    <a:pt x="65" y="561"/>
                  </a:lnTo>
                  <a:lnTo>
                    <a:pt x="63" y="560"/>
                  </a:lnTo>
                  <a:lnTo>
                    <a:pt x="62" y="559"/>
                  </a:lnTo>
                  <a:lnTo>
                    <a:pt x="60" y="557"/>
                  </a:lnTo>
                  <a:lnTo>
                    <a:pt x="57" y="555"/>
                  </a:lnTo>
                  <a:lnTo>
                    <a:pt x="55" y="553"/>
                  </a:lnTo>
                  <a:lnTo>
                    <a:pt x="53" y="552"/>
                  </a:lnTo>
                  <a:lnTo>
                    <a:pt x="51" y="550"/>
                  </a:lnTo>
                  <a:lnTo>
                    <a:pt x="50" y="548"/>
                  </a:lnTo>
                  <a:lnTo>
                    <a:pt x="49" y="547"/>
                  </a:lnTo>
                  <a:lnTo>
                    <a:pt x="48" y="546"/>
                  </a:lnTo>
                  <a:lnTo>
                    <a:pt x="47" y="545"/>
                  </a:lnTo>
                  <a:lnTo>
                    <a:pt x="46" y="544"/>
                  </a:lnTo>
                  <a:lnTo>
                    <a:pt x="46" y="543"/>
                  </a:lnTo>
                  <a:lnTo>
                    <a:pt x="45" y="542"/>
                  </a:lnTo>
                  <a:lnTo>
                    <a:pt x="44" y="538"/>
                  </a:lnTo>
                  <a:lnTo>
                    <a:pt x="44" y="537"/>
                  </a:lnTo>
                  <a:lnTo>
                    <a:pt x="44" y="536"/>
                  </a:lnTo>
                  <a:lnTo>
                    <a:pt x="44" y="536"/>
                  </a:lnTo>
                  <a:lnTo>
                    <a:pt x="43" y="535"/>
                  </a:lnTo>
                  <a:lnTo>
                    <a:pt x="43" y="535"/>
                  </a:lnTo>
                  <a:lnTo>
                    <a:pt x="42" y="534"/>
                  </a:lnTo>
                  <a:lnTo>
                    <a:pt x="41" y="533"/>
                  </a:lnTo>
                  <a:lnTo>
                    <a:pt x="40" y="533"/>
                  </a:lnTo>
                  <a:lnTo>
                    <a:pt x="39" y="533"/>
                  </a:lnTo>
                  <a:lnTo>
                    <a:pt x="38" y="532"/>
                  </a:lnTo>
                  <a:lnTo>
                    <a:pt x="37" y="532"/>
                  </a:lnTo>
                  <a:lnTo>
                    <a:pt x="36" y="532"/>
                  </a:lnTo>
                  <a:lnTo>
                    <a:pt x="36" y="532"/>
                  </a:lnTo>
                  <a:lnTo>
                    <a:pt x="35" y="531"/>
                  </a:lnTo>
                  <a:lnTo>
                    <a:pt x="34" y="530"/>
                  </a:lnTo>
                  <a:lnTo>
                    <a:pt x="32" y="528"/>
                  </a:lnTo>
                  <a:lnTo>
                    <a:pt x="31" y="528"/>
                  </a:lnTo>
                  <a:lnTo>
                    <a:pt x="30" y="527"/>
                  </a:lnTo>
                  <a:lnTo>
                    <a:pt x="29" y="526"/>
                  </a:lnTo>
                  <a:lnTo>
                    <a:pt x="28" y="526"/>
                  </a:lnTo>
                  <a:lnTo>
                    <a:pt x="27" y="525"/>
                  </a:lnTo>
                  <a:lnTo>
                    <a:pt x="23" y="524"/>
                  </a:lnTo>
                  <a:lnTo>
                    <a:pt x="22" y="524"/>
                  </a:lnTo>
                  <a:lnTo>
                    <a:pt x="22" y="524"/>
                  </a:lnTo>
                  <a:lnTo>
                    <a:pt x="21" y="523"/>
                  </a:lnTo>
                  <a:lnTo>
                    <a:pt x="21" y="523"/>
                  </a:lnTo>
                  <a:lnTo>
                    <a:pt x="20" y="522"/>
                  </a:lnTo>
                  <a:lnTo>
                    <a:pt x="20" y="521"/>
                  </a:lnTo>
                  <a:lnTo>
                    <a:pt x="20" y="521"/>
                  </a:lnTo>
                  <a:lnTo>
                    <a:pt x="20" y="520"/>
                  </a:lnTo>
                  <a:lnTo>
                    <a:pt x="19" y="519"/>
                  </a:lnTo>
                  <a:lnTo>
                    <a:pt x="18" y="519"/>
                  </a:lnTo>
                  <a:lnTo>
                    <a:pt x="16" y="518"/>
                  </a:lnTo>
                  <a:lnTo>
                    <a:pt x="15" y="517"/>
                  </a:lnTo>
                  <a:lnTo>
                    <a:pt x="14" y="516"/>
                  </a:lnTo>
                  <a:lnTo>
                    <a:pt x="12" y="514"/>
                  </a:lnTo>
                  <a:lnTo>
                    <a:pt x="11" y="513"/>
                  </a:lnTo>
                  <a:lnTo>
                    <a:pt x="10" y="513"/>
                  </a:lnTo>
                  <a:lnTo>
                    <a:pt x="10" y="512"/>
                  </a:lnTo>
                  <a:lnTo>
                    <a:pt x="9" y="512"/>
                  </a:lnTo>
                  <a:lnTo>
                    <a:pt x="7" y="512"/>
                  </a:lnTo>
                  <a:lnTo>
                    <a:pt x="5" y="511"/>
                  </a:lnTo>
                  <a:lnTo>
                    <a:pt x="3" y="510"/>
                  </a:lnTo>
                  <a:lnTo>
                    <a:pt x="2" y="510"/>
                  </a:lnTo>
                  <a:lnTo>
                    <a:pt x="1" y="509"/>
                  </a:lnTo>
                  <a:lnTo>
                    <a:pt x="1" y="508"/>
                  </a:lnTo>
                  <a:lnTo>
                    <a:pt x="0" y="507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4" name="Freeform 251">
              <a:extLst>
                <a:ext uri="{FF2B5EF4-FFF2-40B4-BE49-F238E27FC236}">
                  <a16:creationId xmlns:a16="http://schemas.microsoft.com/office/drawing/2014/main" id="{9B589760-2AC7-4659-AC73-293D95C8F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55219" y="2775486"/>
              <a:ext cx="438190" cy="521751"/>
            </a:xfrm>
            <a:custGeom>
              <a:avLst/>
              <a:gdLst>
                <a:gd name="T0" fmla="*/ 127 w 430"/>
                <a:gd name="T1" fmla="*/ 501 h 512"/>
                <a:gd name="T2" fmla="*/ 103 w 430"/>
                <a:gd name="T3" fmla="*/ 504 h 512"/>
                <a:gd name="T4" fmla="*/ 83 w 430"/>
                <a:gd name="T5" fmla="*/ 512 h 512"/>
                <a:gd name="T6" fmla="*/ 50 w 430"/>
                <a:gd name="T7" fmla="*/ 499 h 512"/>
                <a:gd name="T8" fmla="*/ 18 w 430"/>
                <a:gd name="T9" fmla="*/ 485 h 512"/>
                <a:gd name="T10" fmla="*/ 5 w 430"/>
                <a:gd name="T11" fmla="*/ 469 h 512"/>
                <a:gd name="T12" fmla="*/ 9 w 430"/>
                <a:gd name="T13" fmla="*/ 465 h 512"/>
                <a:gd name="T14" fmla="*/ 15 w 430"/>
                <a:gd name="T15" fmla="*/ 458 h 512"/>
                <a:gd name="T16" fmla="*/ 21 w 430"/>
                <a:gd name="T17" fmla="*/ 451 h 512"/>
                <a:gd name="T18" fmla="*/ 35 w 430"/>
                <a:gd name="T19" fmla="*/ 454 h 512"/>
                <a:gd name="T20" fmla="*/ 46 w 430"/>
                <a:gd name="T21" fmla="*/ 454 h 512"/>
                <a:gd name="T22" fmla="*/ 57 w 430"/>
                <a:gd name="T23" fmla="*/ 443 h 512"/>
                <a:gd name="T24" fmla="*/ 79 w 430"/>
                <a:gd name="T25" fmla="*/ 448 h 512"/>
                <a:gd name="T26" fmla="*/ 89 w 430"/>
                <a:gd name="T27" fmla="*/ 440 h 512"/>
                <a:gd name="T28" fmla="*/ 108 w 430"/>
                <a:gd name="T29" fmla="*/ 426 h 512"/>
                <a:gd name="T30" fmla="*/ 127 w 430"/>
                <a:gd name="T31" fmla="*/ 411 h 512"/>
                <a:gd name="T32" fmla="*/ 144 w 430"/>
                <a:gd name="T33" fmla="*/ 407 h 512"/>
                <a:gd name="T34" fmla="*/ 151 w 430"/>
                <a:gd name="T35" fmla="*/ 395 h 512"/>
                <a:gd name="T36" fmla="*/ 163 w 430"/>
                <a:gd name="T37" fmla="*/ 394 h 512"/>
                <a:gd name="T38" fmla="*/ 177 w 430"/>
                <a:gd name="T39" fmla="*/ 384 h 512"/>
                <a:gd name="T40" fmla="*/ 186 w 430"/>
                <a:gd name="T41" fmla="*/ 391 h 512"/>
                <a:gd name="T42" fmla="*/ 204 w 430"/>
                <a:gd name="T43" fmla="*/ 395 h 512"/>
                <a:gd name="T44" fmla="*/ 221 w 430"/>
                <a:gd name="T45" fmla="*/ 391 h 512"/>
                <a:gd name="T46" fmla="*/ 248 w 430"/>
                <a:gd name="T47" fmla="*/ 390 h 512"/>
                <a:gd name="T48" fmla="*/ 255 w 430"/>
                <a:gd name="T49" fmla="*/ 378 h 512"/>
                <a:gd name="T50" fmla="*/ 269 w 430"/>
                <a:gd name="T51" fmla="*/ 369 h 512"/>
                <a:gd name="T52" fmla="*/ 289 w 430"/>
                <a:gd name="T53" fmla="*/ 363 h 512"/>
                <a:gd name="T54" fmla="*/ 299 w 430"/>
                <a:gd name="T55" fmla="*/ 350 h 512"/>
                <a:gd name="T56" fmla="*/ 299 w 430"/>
                <a:gd name="T57" fmla="*/ 340 h 512"/>
                <a:gd name="T58" fmla="*/ 288 w 430"/>
                <a:gd name="T59" fmla="*/ 327 h 512"/>
                <a:gd name="T60" fmla="*/ 297 w 430"/>
                <a:gd name="T61" fmla="*/ 320 h 512"/>
                <a:gd name="T62" fmla="*/ 296 w 430"/>
                <a:gd name="T63" fmla="*/ 307 h 512"/>
                <a:gd name="T64" fmla="*/ 309 w 430"/>
                <a:gd name="T65" fmla="*/ 297 h 512"/>
                <a:gd name="T66" fmla="*/ 310 w 430"/>
                <a:gd name="T67" fmla="*/ 284 h 512"/>
                <a:gd name="T68" fmla="*/ 299 w 430"/>
                <a:gd name="T69" fmla="*/ 273 h 512"/>
                <a:gd name="T70" fmla="*/ 301 w 430"/>
                <a:gd name="T71" fmla="*/ 259 h 512"/>
                <a:gd name="T72" fmla="*/ 314 w 430"/>
                <a:gd name="T73" fmla="*/ 246 h 512"/>
                <a:gd name="T74" fmla="*/ 309 w 430"/>
                <a:gd name="T75" fmla="*/ 234 h 512"/>
                <a:gd name="T76" fmla="*/ 315 w 430"/>
                <a:gd name="T77" fmla="*/ 217 h 512"/>
                <a:gd name="T78" fmla="*/ 315 w 430"/>
                <a:gd name="T79" fmla="*/ 207 h 512"/>
                <a:gd name="T80" fmla="*/ 303 w 430"/>
                <a:gd name="T81" fmla="*/ 201 h 512"/>
                <a:gd name="T82" fmla="*/ 306 w 430"/>
                <a:gd name="T83" fmla="*/ 196 h 512"/>
                <a:gd name="T84" fmla="*/ 291 w 430"/>
                <a:gd name="T85" fmla="*/ 181 h 512"/>
                <a:gd name="T86" fmla="*/ 295 w 430"/>
                <a:gd name="T87" fmla="*/ 156 h 512"/>
                <a:gd name="T88" fmla="*/ 308 w 430"/>
                <a:gd name="T89" fmla="*/ 137 h 512"/>
                <a:gd name="T90" fmla="*/ 330 w 430"/>
                <a:gd name="T91" fmla="*/ 131 h 512"/>
                <a:gd name="T92" fmla="*/ 333 w 430"/>
                <a:gd name="T93" fmla="*/ 124 h 512"/>
                <a:gd name="T94" fmla="*/ 323 w 430"/>
                <a:gd name="T95" fmla="*/ 119 h 512"/>
                <a:gd name="T96" fmla="*/ 333 w 430"/>
                <a:gd name="T97" fmla="*/ 109 h 512"/>
                <a:gd name="T98" fmla="*/ 343 w 430"/>
                <a:gd name="T99" fmla="*/ 114 h 512"/>
                <a:gd name="T100" fmla="*/ 351 w 430"/>
                <a:gd name="T101" fmla="*/ 117 h 512"/>
                <a:gd name="T102" fmla="*/ 356 w 430"/>
                <a:gd name="T103" fmla="*/ 105 h 512"/>
                <a:gd name="T104" fmla="*/ 348 w 430"/>
                <a:gd name="T105" fmla="*/ 92 h 512"/>
                <a:gd name="T106" fmla="*/ 354 w 430"/>
                <a:gd name="T107" fmla="*/ 89 h 512"/>
                <a:gd name="T108" fmla="*/ 368 w 430"/>
                <a:gd name="T109" fmla="*/ 75 h 512"/>
                <a:gd name="T110" fmla="*/ 366 w 430"/>
                <a:gd name="T111" fmla="*/ 65 h 512"/>
                <a:gd name="T112" fmla="*/ 354 w 430"/>
                <a:gd name="T113" fmla="*/ 54 h 512"/>
                <a:gd name="T114" fmla="*/ 359 w 430"/>
                <a:gd name="T115" fmla="*/ 34 h 512"/>
                <a:gd name="T116" fmla="*/ 367 w 430"/>
                <a:gd name="T117" fmla="*/ 32 h 512"/>
                <a:gd name="T118" fmla="*/ 380 w 430"/>
                <a:gd name="T119" fmla="*/ 24 h 512"/>
                <a:gd name="T120" fmla="*/ 399 w 430"/>
                <a:gd name="T121" fmla="*/ 24 h 512"/>
                <a:gd name="T122" fmla="*/ 420 w 430"/>
                <a:gd name="T123" fmla="*/ 25 h 512"/>
                <a:gd name="T124" fmla="*/ 430 w 430"/>
                <a:gd name="T125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0" h="512">
                  <a:moveTo>
                    <a:pt x="134" y="507"/>
                  </a:moveTo>
                  <a:lnTo>
                    <a:pt x="133" y="507"/>
                  </a:lnTo>
                  <a:lnTo>
                    <a:pt x="132" y="505"/>
                  </a:lnTo>
                  <a:lnTo>
                    <a:pt x="132" y="504"/>
                  </a:lnTo>
                  <a:lnTo>
                    <a:pt x="131" y="504"/>
                  </a:lnTo>
                  <a:lnTo>
                    <a:pt x="131" y="503"/>
                  </a:lnTo>
                  <a:lnTo>
                    <a:pt x="130" y="502"/>
                  </a:lnTo>
                  <a:lnTo>
                    <a:pt x="129" y="502"/>
                  </a:lnTo>
                  <a:lnTo>
                    <a:pt x="129" y="502"/>
                  </a:lnTo>
                  <a:lnTo>
                    <a:pt x="128" y="501"/>
                  </a:lnTo>
                  <a:lnTo>
                    <a:pt x="127" y="501"/>
                  </a:lnTo>
                  <a:lnTo>
                    <a:pt x="126" y="501"/>
                  </a:lnTo>
                  <a:lnTo>
                    <a:pt x="121" y="501"/>
                  </a:lnTo>
                  <a:lnTo>
                    <a:pt x="119" y="501"/>
                  </a:lnTo>
                  <a:lnTo>
                    <a:pt x="116" y="501"/>
                  </a:lnTo>
                  <a:lnTo>
                    <a:pt x="113" y="501"/>
                  </a:lnTo>
                  <a:lnTo>
                    <a:pt x="110" y="502"/>
                  </a:lnTo>
                  <a:lnTo>
                    <a:pt x="108" y="502"/>
                  </a:lnTo>
                  <a:lnTo>
                    <a:pt x="107" y="503"/>
                  </a:lnTo>
                  <a:lnTo>
                    <a:pt x="106" y="503"/>
                  </a:lnTo>
                  <a:lnTo>
                    <a:pt x="105" y="504"/>
                  </a:lnTo>
                  <a:lnTo>
                    <a:pt x="103" y="504"/>
                  </a:lnTo>
                  <a:lnTo>
                    <a:pt x="102" y="505"/>
                  </a:lnTo>
                  <a:lnTo>
                    <a:pt x="97" y="509"/>
                  </a:lnTo>
                  <a:lnTo>
                    <a:pt x="95" y="510"/>
                  </a:lnTo>
                  <a:lnTo>
                    <a:pt x="94" y="510"/>
                  </a:lnTo>
                  <a:lnTo>
                    <a:pt x="92" y="511"/>
                  </a:lnTo>
                  <a:lnTo>
                    <a:pt x="91" y="512"/>
                  </a:lnTo>
                  <a:lnTo>
                    <a:pt x="90" y="512"/>
                  </a:lnTo>
                  <a:lnTo>
                    <a:pt x="89" y="512"/>
                  </a:lnTo>
                  <a:lnTo>
                    <a:pt x="87" y="512"/>
                  </a:lnTo>
                  <a:lnTo>
                    <a:pt x="85" y="512"/>
                  </a:lnTo>
                  <a:lnTo>
                    <a:pt x="83" y="512"/>
                  </a:lnTo>
                  <a:lnTo>
                    <a:pt x="81" y="512"/>
                  </a:lnTo>
                  <a:lnTo>
                    <a:pt x="77" y="512"/>
                  </a:lnTo>
                  <a:lnTo>
                    <a:pt x="68" y="511"/>
                  </a:lnTo>
                  <a:lnTo>
                    <a:pt x="67" y="510"/>
                  </a:lnTo>
                  <a:lnTo>
                    <a:pt x="65" y="510"/>
                  </a:lnTo>
                  <a:lnTo>
                    <a:pt x="63" y="509"/>
                  </a:lnTo>
                  <a:lnTo>
                    <a:pt x="62" y="508"/>
                  </a:lnTo>
                  <a:lnTo>
                    <a:pt x="60" y="507"/>
                  </a:lnTo>
                  <a:lnTo>
                    <a:pt x="58" y="505"/>
                  </a:lnTo>
                  <a:lnTo>
                    <a:pt x="56" y="504"/>
                  </a:lnTo>
                  <a:lnTo>
                    <a:pt x="50" y="499"/>
                  </a:lnTo>
                  <a:lnTo>
                    <a:pt x="48" y="497"/>
                  </a:lnTo>
                  <a:lnTo>
                    <a:pt x="47" y="496"/>
                  </a:lnTo>
                  <a:lnTo>
                    <a:pt x="45" y="495"/>
                  </a:lnTo>
                  <a:lnTo>
                    <a:pt x="44" y="494"/>
                  </a:lnTo>
                  <a:lnTo>
                    <a:pt x="39" y="492"/>
                  </a:lnTo>
                  <a:lnTo>
                    <a:pt x="34" y="489"/>
                  </a:lnTo>
                  <a:lnTo>
                    <a:pt x="33" y="488"/>
                  </a:lnTo>
                  <a:lnTo>
                    <a:pt x="31" y="488"/>
                  </a:lnTo>
                  <a:lnTo>
                    <a:pt x="29" y="487"/>
                  </a:lnTo>
                  <a:lnTo>
                    <a:pt x="26" y="486"/>
                  </a:lnTo>
                  <a:lnTo>
                    <a:pt x="18" y="485"/>
                  </a:lnTo>
                  <a:lnTo>
                    <a:pt x="15" y="484"/>
                  </a:lnTo>
                  <a:lnTo>
                    <a:pt x="13" y="484"/>
                  </a:lnTo>
                  <a:lnTo>
                    <a:pt x="11" y="483"/>
                  </a:lnTo>
                  <a:lnTo>
                    <a:pt x="9" y="482"/>
                  </a:lnTo>
                  <a:lnTo>
                    <a:pt x="0" y="479"/>
                  </a:lnTo>
                  <a:lnTo>
                    <a:pt x="1" y="478"/>
                  </a:lnTo>
                  <a:lnTo>
                    <a:pt x="2" y="476"/>
                  </a:lnTo>
                  <a:lnTo>
                    <a:pt x="4" y="471"/>
                  </a:lnTo>
                  <a:lnTo>
                    <a:pt x="4" y="470"/>
                  </a:lnTo>
                  <a:lnTo>
                    <a:pt x="5" y="470"/>
                  </a:lnTo>
                  <a:lnTo>
                    <a:pt x="5" y="469"/>
                  </a:lnTo>
                  <a:lnTo>
                    <a:pt x="6" y="469"/>
                  </a:lnTo>
                  <a:lnTo>
                    <a:pt x="7" y="469"/>
                  </a:lnTo>
                  <a:lnTo>
                    <a:pt x="7" y="468"/>
                  </a:lnTo>
                  <a:lnTo>
                    <a:pt x="9" y="467"/>
                  </a:lnTo>
                  <a:lnTo>
                    <a:pt x="10" y="467"/>
                  </a:lnTo>
                  <a:lnTo>
                    <a:pt x="10" y="466"/>
                  </a:lnTo>
                  <a:lnTo>
                    <a:pt x="10" y="466"/>
                  </a:lnTo>
                  <a:lnTo>
                    <a:pt x="10" y="466"/>
                  </a:lnTo>
                  <a:lnTo>
                    <a:pt x="9" y="465"/>
                  </a:lnTo>
                  <a:lnTo>
                    <a:pt x="9" y="465"/>
                  </a:lnTo>
                  <a:lnTo>
                    <a:pt x="9" y="465"/>
                  </a:lnTo>
                  <a:lnTo>
                    <a:pt x="9" y="464"/>
                  </a:lnTo>
                  <a:lnTo>
                    <a:pt x="10" y="464"/>
                  </a:lnTo>
                  <a:lnTo>
                    <a:pt x="11" y="463"/>
                  </a:lnTo>
                  <a:lnTo>
                    <a:pt x="11" y="462"/>
                  </a:lnTo>
                  <a:lnTo>
                    <a:pt x="12" y="460"/>
                  </a:lnTo>
                  <a:lnTo>
                    <a:pt x="12" y="460"/>
                  </a:lnTo>
                  <a:lnTo>
                    <a:pt x="12" y="459"/>
                  </a:lnTo>
                  <a:lnTo>
                    <a:pt x="12" y="458"/>
                  </a:lnTo>
                  <a:lnTo>
                    <a:pt x="13" y="458"/>
                  </a:lnTo>
                  <a:lnTo>
                    <a:pt x="13" y="458"/>
                  </a:lnTo>
                  <a:lnTo>
                    <a:pt x="15" y="458"/>
                  </a:lnTo>
                  <a:lnTo>
                    <a:pt x="15" y="457"/>
                  </a:lnTo>
                  <a:lnTo>
                    <a:pt x="16" y="457"/>
                  </a:lnTo>
                  <a:lnTo>
                    <a:pt x="16" y="457"/>
                  </a:lnTo>
                  <a:lnTo>
                    <a:pt x="17" y="456"/>
                  </a:lnTo>
                  <a:lnTo>
                    <a:pt x="19" y="454"/>
                  </a:lnTo>
                  <a:lnTo>
                    <a:pt x="19" y="453"/>
                  </a:lnTo>
                  <a:lnTo>
                    <a:pt x="19" y="453"/>
                  </a:lnTo>
                  <a:lnTo>
                    <a:pt x="20" y="453"/>
                  </a:lnTo>
                  <a:lnTo>
                    <a:pt x="20" y="452"/>
                  </a:lnTo>
                  <a:lnTo>
                    <a:pt x="20" y="452"/>
                  </a:lnTo>
                  <a:lnTo>
                    <a:pt x="21" y="451"/>
                  </a:lnTo>
                  <a:lnTo>
                    <a:pt x="22" y="451"/>
                  </a:lnTo>
                  <a:lnTo>
                    <a:pt x="23" y="450"/>
                  </a:lnTo>
                  <a:lnTo>
                    <a:pt x="25" y="450"/>
                  </a:lnTo>
                  <a:lnTo>
                    <a:pt x="26" y="450"/>
                  </a:lnTo>
                  <a:lnTo>
                    <a:pt x="28" y="450"/>
                  </a:lnTo>
                  <a:lnTo>
                    <a:pt x="29" y="450"/>
                  </a:lnTo>
                  <a:lnTo>
                    <a:pt x="30" y="450"/>
                  </a:lnTo>
                  <a:lnTo>
                    <a:pt x="31" y="450"/>
                  </a:lnTo>
                  <a:lnTo>
                    <a:pt x="32" y="451"/>
                  </a:lnTo>
                  <a:lnTo>
                    <a:pt x="33" y="452"/>
                  </a:lnTo>
                  <a:lnTo>
                    <a:pt x="35" y="454"/>
                  </a:lnTo>
                  <a:lnTo>
                    <a:pt x="36" y="454"/>
                  </a:lnTo>
                  <a:lnTo>
                    <a:pt x="37" y="455"/>
                  </a:lnTo>
                  <a:lnTo>
                    <a:pt x="38" y="455"/>
                  </a:lnTo>
                  <a:lnTo>
                    <a:pt x="40" y="455"/>
                  </a:lnTo>
                  <a:lnTo>
                    <a:pt x="41" y="456"/>
                  </a:lnTo>
                  <a:lnTo>
                    <a:pt x="43" y="456"/>
                  </a:lnTo>
                  <a:lnTo>
                    <a:pt x="43" y="456"/>
                  </a:lnTo>
                  <a:lnTo>
                    <a:pt x="44" y="456"/>
                  </a:lnTo>
                  <a:lnTo>
                    <a:pt x="45" y="455"/>
                  </a:lnTo>
                  <a:lnTo>
                    <a:pt x="46" y="455"/>
                  </a:lnTo>
                  <a:lnTo>
                    <a:pt x="46" y="454"/>
                  </a:lnTo>
                  <a:lnTo>
                    <a:pt x="47" y="453"/>
                  </a:lnTo>
                  <a:lnTo>
                    <a:pt x="48" y="452"/>
                  </a:lnTo>
                  <a:lnTo>
                    <a:pt x="49" y="451"/>
                  </a:lnTo>
                  <a:lnTo>
                    <a:pt x="51" y="449"/>
                  </a:lnTo>
                  <a:lnTo>
                    <a:pt x="53" y="446"/>
                  </a:lnTo>
                  <a:lnTo>
                    <a:pt x="54" y="445"/>
                  </a:lnTo>
                  <a:lnTo>
                    <a:pt x="54" y="444"/>
                  </a:lnTo>
                  <a:lnTo>
                    <a:pt x="55" y="444"/>
                  </a:lnTo>
                  <a:lnTo>
                    <a:pt x="56" y="444"/>
                  </a:lnTo>
                  <a:lnTo>
                    <a:pt x="56" y="443"/>
                  </a:lnTo>
                  <a:lnTo>
                    <a:pt x="57" y="443"/>
                  </a:lnTo>
                  <a:lnTo>
                    <a:pt x="59" y="443"/>
                  </a:lnTo>
                  <a:lnTo>
                    <a:pt x="64" y="442"/>
                  </a:lnTo>
                  <a:lnTo>
                    <a:pt x="66" y="442"/>
                  </a:lnTo>
                  <a:lnTo>
                    <a:pt x="67" y="442"/>
                  </a:lnTo>
                  <a:lnTo>
                    <a:pt x="69" y="442"/>
                  </a:lnTo>
                  <a:lnTo>
                    <a:pt x="70" y="443"/>
                  </a:lnTo>
                  <a:lnTo>
                    <a:pt x="72" y="443"/>
                  </a:lnTo>
                  <a:lnTo>
                    <a:pt x="73" y="444"/>
                  </a:lnTo>
                  <a:lnTo>
                    <a:pt x="75" y="445"/>
                  </a:lnTo>
                  <a:lnTo>
                    <a:pt x="78" y="447"/>
                  </a:lnTo>
                  <a:lnTo>
                    <a:pt x="79" y="448"/>
                  </a:lnTo>
                  <a:lnTo>
                    <a:pt x="79" y="448"/>
                  </a:lnTo>
                  <a:lnTo>
                    <a:pt x="80" y="448"/>
                  </a:lnTo>
                  <a:lnTo>
                    <a:pt x="81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8"/>
                  </a:lnTo>
                  <a:lnTo>
                    <a:pt x="84" y="447"/>
                  </a:lnTo>
                  <a:lnTo>
                    <a:pt x="85" y="446"/>
                  </a:lnTo>
                  <a:lnTo>
                    <a:pt x="87" y="443"/>
                  </a:lnTo>
                  <a:lnTo>
                    <a:pt x="88" y="441"/>
                  </a:lnTo>
                  <a:lnTo>
                    <a:pt x="89" y="440"/>
                  </a:lnTo>
                  <a:lnTo>
                    <a:pt x="91" y="438"/>
                  </a:lnTo>
                  <a:lnTo>
                    <a:pt x="93" y="436"/>
                  </a:lnTo>
                  <a:lnTo>
                    <a:pt x="95" y="434"/>
                  </a:lnTo>
                  <a:lnTo>
                    <a:pt x="96" y="434"/>
                  </a:lnTo>
                  <a:lnTo>
                    <a:pt x="97" y="433"/>
                  </a:lnTo>
                  <a:lnTo>
                    <a:pt x="98" y="432"/>
                  </a:lnTo>
                  <a:lnTo>
                    <a:pt x="102" y="430"/>
                  </a:lnTo>
                  <a:lnTo>
                    <a:pt x="103" y="429"/>
                  </a:lnTo>
                  <a:lnTo>
                    <a:pt x="104" y="428"/>
                  </a:lnTo>
                  <a:lnTo>
                    <a:pt x="106" y="427"/>
                  </a:lnTo>
                  <a:lnTo>
                    <a:pt x="108" y="426"/>
                  </a:lnTo>
                  <a:lnTo>
                    <a:pt x="110" y="423"/>
                  </a:lnTo>
                  <a:lnTo>
                    <a:pt x="111" y="421"/>
                  </a:lnTo>
                  <a:lnTo>
                    <a:pt x="113" y="419"/>
                  </a:lnTo>
                  <a:lnTo>
                    <a:pt x="114" y="418"/>
                  </a:lnTo>
                  <a:lnTo>
                    <a:pt x="115" y="417"/>
                  </a:lnTo>
                  <a:lnTo>
                    <a:pt x="115" y="416"/>
                  </a:lnTo>
                  <a:lnTo>
                    <a:pt x="117" y="415"/>
                  </a:lnTo>
                  <a:lnTo>
                    <a:pt x="119" y="414"/>
                  </a:lnTo>
                  <a:lnTo>
                    <a:pt x="121" y="413"/>
                  </a:lnTo>
                  <a:lnTo>
                    <a:pt x="125" y="412"/>
                  </a:lnTo>
                  <a:lnTo>
                    <a:pt x="127" y="411"/>
                  </a:lnTo>
                  <a:lnTo>
                    <a:pt x="130" y="410"/>
                  </a:lnTo>
                  <a:lnTo>
                    <a:pt x="133" y="410"/>
                  </a:lnTo>
                  <a:lnTo>
                    <a:pt x="134" y="410"/>
                  </a:lnTo>
                  <a:lnTo>
                    <a:pt x="137" y="410"/>
                  </a:lnTo>
                  <a:lnTo>
                    <a:pt x="139" y="410"/>
                  </a:lnTo>
                  <a:lnTo>
                    <a:pt x="140" y="410"/>
                  </a:lnTo>
                  <a:lnTo>
                    <a:pt x="141" y="409"/>
                  </a:lnTo>
                  <a:lnTo>
                    <a:pt x="142" y="409"/>
                  </a:lnTo>
                  <a:lnTo>
                    <a:pt x="142" y="409"/>
                  </a:lnTo>
                  <a:lnTo>
                    <a:pt x="143" y="408"/>
                  </a:lnTo>
                  <a:lnTo>
                    <a:pt x="144" y="407"/>
                  </a:lnTo>
                  <a:lnTo>
                    <a:pt x="144" y="406"/>
                  </a:lnTo>
                  <a:lnTo>
                    <a:pt x="145" y="405"/>
                  </a:lnTo>
                  <a:lnTo>
                    <a:pt x="146" y="401"/>
                  </a:lnTo>
                  <a:lnTo>
                    <a:pt x="147" y="399"/>
                  </a:lnTo>
                  <a:lnTo>
                    <a:pt x="148" y="398"/>
                  </a:lnTo>
                  <a:lnTo>
                    <a:pt x="148" y="397"/>
                  </a:lnTo>
                  <a:lnTo>
                    <a:pt x="149" y="396"/>
                  </a:lnTo>
                  <a:lnTo>
                    <a:pt x="150" y="396"/>
                  </a:lnTo>
                  <a:lnTo>
                    <a:pt x="150" y="395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2" y="395"/>
                  </a:lnTo>
                  <a:lnTo>
                    <a:pt x="153" y="395"/>
                  </a:lnTo>
                  <a:lnTo>
                    <a:pt x="154" y="395"/>
                  </a:lnTo>
                  <a:lnTo>
                    <a:pt x="157" y="395"/>
                  </a:lnTo>
                  <a:lnTo>
                    <a:pt x="158" y="396"/>
                  </a:lnTo>
                  <a:lnTo>
                    <a:pt x="159" y="395"/>
                  </a:lnTo>
                  <a:lnTo>
                    <a:pt x="160" y="395"/>
                  </a:lnTo>
                  <a:lnTo>
                    <a:pt x="161" y="395"/>
                  </a:lnTo>
                  <a:lnTo>
                    <a:pt x="161" y="395"/>
                  </a:lnTo>
                  <a:lnTo>
                    <a:pt x="162" y="394"/>
                  </a:lnTo>
                  <a:lnTo>
                    <a:pt x="163" y="394"/>
                  </a:lnTo>
                  <a:lnTo>
                    <a:pt x="164" y="393"/>
                  </a:lnTo>
                  <a:lnTo>
                    <a:pt x="165" y="392"/>
                  </a:lnTo>
                  <a:lnTo>
                    <a:pt x="166" y="391"/>
                  </a:lnTo>
                  <a:lnTo>
                    <a:pt x="169" y="388"/>
                  </a:lnTo>
                  <a:lnTo>
                    <a:pt x="170" y="387"/>
                  </a:lnTo>
                  <a:lnTo>
                    <a:pt x="170" y="387"/>
                  </a:lnTo>
                  <a:lnTo>
                    <a:pt x="171" y="386"/>
                  </a:lnTo>
                  <a:lnTo>
                    <a:pt x="172" y="386"/>
                  </a:lnTo>
                  <a:lnTo>
                    <a:pt x="174" y="385"/>
                  </a:lnTo>
                  <a:lnTo>
                    <a:pt x="176" y="384"/>
                  </a:lnTo>
                  <a:lnTo>
                    <a:pt x="177" y="384"/>
                  </a:lnTo>
                  <a:lnTo>
                    <a:pt x="178" y="384"/>
                  </a:lnTo>
                  <a:lnTo>
                    <a:pt x="179" y="384"/>
                  </a:lnTo>
                  <a:lnTo>
                    <a:pt x="180" y="384"/>
                  </a:lnTo>
                  <a:lnTo>
                    <a:pt x="180" y="384"/>
                  </a:lnTo>
                  <a:lnTo>
                    <a:pt x="181" y="384"/>
                  </a:lnTo>
                  <a:lnTo>
                    <a:pt x="181" y="385"/>
                  </a:lnTo>
                  <a:lnTo>
                    <a:pt x="182" y="386"/>
                  </a:lnTo>
                  <a:lnTo>
                    <a:pt x="183" y="387"/>
                  </a:lnTo>
                  <a:lnTo>
                    <a:pt x="185" y="389"/>
                  </a:lnTo>
                  <a:lnTo>
                    <a:pt x="185" y="390"/>
                  </a:lnTo>
                  <a:lnTo>
                    <a:pt x="186" y="391"/>
                  </a:lnTo>
                  <a:lnTo>
                    <a:pt x="187" y="392"/>
                  </a:lnTo>
                  <a:lnTo>
                    <a:pt x="191" y="394"/>
                  </a:lnTo>
                  <a:lnTo>
                    <a:pt x="192" y="395"/>
                  </a:lnTo>
                  <a:lnTo>
                    <a:pt x="193" y="395"/>
                  </a:lnTo>
                  <a:lnTo>
                    <a:pt x="195" y="396"/>
                  </a:lnTo>
                  <a:lnTo>
                    <a:pt x="196" y="396"/>
                  </a:lnTo>
                  <a:lnTo>
                    <a:pt x="197" y="396"/>
                  </a:lnTo>
                  <a:lnTo>
                    <a:pt x="198" y="396"/>
                  </a:lnTo>
                  <a:lnTo>
                    <a:pt x="200" y="396"/>
                  </a:lnTo>
                  <a:lnTo>
                    <a:pt x="202" y="396"/>
                  </a:lnTo>
                  <a:lnTo>
                    <a:pt x="204" y="395"/>
                  </a:lnTo>
                  <a:lnTo>
                    <a:pt x="206" y="395"/>
                  </a:lnTo>
                  <a:lnTo>
                    <a:pt x="208" y="393"/>
                  </a:lnTo>
                  <a:lnTo>
                    <a:pt x="209" y="392"/>
                  </a:lnTo>
                  <a:lnTo>
                    <a:pt x="211" y="391"/>
                  </a:lnTo>
                  <a:lnTo>
                    <a:pt x="212" y="390"/>
                  </a:lnTo>
                  <a:lnTo>
                    <a:pt x="213" y="390"/>
                  </a:lnTo>
                  <a:lnTo>
                    <a:pt x="214" y="390"/>
                  </a:lnTo>
                  <a:lnTo>
                    <a:pt x="215" y="390"/>
                  </a:lnTo>
                  <a:lnTo>
                    <a:pt x="216" y="390"/>
                  </a:lnTo>
                  <a:lnTo>
                    <a:pt x="219" y="390"/>
                  </a:lnTo>
                  <a:lnTo>
                    <a:pt x="221" y="391"/>
                  </a:lnTo>
                  <a:lnTo>
                    <a:pt x="224" y="391"/>
                  </a:lnTo>
                  <a:lnTo>
                    <a:pt x="225" y="392"/>
                  </a:lnTo>
                  <a:lnTo>
                    <a:pt x="228" y="392"/>
                  </a:lnTo>
                  <a:lnTo>
                    <a:pt x="232" y="393"/>
                  </a:lnTo>
                  <a:lnTo>
                    <a:pt x="233" y="393"/>
                  </a:lnTo>
                  <a:lnTo>
                    <a:pt x="234" y="393"/>
                  </a:lnTo>
                  <a:lnTo>
                    <a:pt x="237" y="392"/>
                  </a:lnTo>
                  <a:lnTo>
                    <a:pt x="242" y="391"/>
                  </a:lnTo>
                  <a:lnTo>
                    <a:pt x="245" y="390"/>
                  </a:lnTo>
                  <a:lnTo>
                    <a:pt x="247" y="390"/>
                  </a:lnTo>
                  <a:lnTo>
                    <a:pt x="248" y="390"/>
                  </a:lnTo>
                  <a:lnTo>
                    <a:pt x="249" y="389"/>
                  </a:lnTo>
                  <a:lnTo>
                    <a:pt x="253" y="387"/>
                  </a:lnTo>
                  <a:lnTo>
                    <a:pt x="254" y="386"/>
                  </a:lnTo>
                  <a:lnTo>
                    <a:pt x="254" y="385"/>
                  </a:lnTo>
                  <a:lnTo>
                    <a:pt x="255" y="385"/>
                  </a:lnTo>
                  <a:lnTo>
                    <a:pt x="255" y="384"/>
                  </a:lnTo>
                  <a:lnTo>
                    <a:pt x="256" y="383"/>
                  </a:lnTo>
                  <a:lnTo>
                    <a:pt x="256" y="383"/>
                  </a:lnTo>
                  <a:lnTo>
                    <a:pt x="256" y="382"/>
                  </a:lnTo>
                  <a:lnTo>
                    <a:pt x="256" y="379"/>
                  </a:lnTo>
                  <a:lnTo>
                    <a:pt x="255" y="378"/>
                  </a:lnTo>
                  <a:lnTo>
                    <a:pt x="256" y="377"/>
                  </a:lnTo>
                  <a:lnTo>
                    <a:pt x="256" y="376"/>
                  </a:lnTo>
                  <a:lnTo>
                    <a:pt x="257" y="375"/>
                  </a:lnTo>
                  <a:lnTo>
                    <a:pt x="258" y="373"/>
                  </a:lnTo>
                  <a:lnTo>
                    <a:pt x="259" y="373"/>
                  </a:lnTo>
                  <a:lnTo>
                    <a:pt x="260" y="372"/>
                  </a:lnTo>
                  <a:lnTo>
                    <a:pt x="261" y="371"/>
                  </a:lnTo>
                  <a:lnTo>
                    <a:pt x="262" y="371"/>
                  </a:lnTo>
                  <a:lnTo>
                    <a:pt x="264" y="370"/>
                  </a:lnTo>
                  <a:lnTo>
                    <a:pt x="266" y="369"/>
                  </a:lnTo>
                  <a:lnTo>
                    <a:pt x="269" y="369"/>
                  </a:lnTo>
                  <a:lnTo>
                    <a:pt x="274" y="369"/>
                  </a:lnTo>
                  <a:lnTo>
                    <a:pt x="278" y="368"/>
                  </a:lnTo>
                  <a:lnTo>
                    <a:pt x="281" y="367"/>
                  </a:lnTo>
                  <a:lnTo>
                    <a:pt x="284" y="367"/>
                  </a:lnTo>
                  <a:lnTo>
                    <a:pt x="285" y="366"/>
                  </a:lnTo>
                  <a:lnTo>
                    <a:pt x="286" y="366"/>
                  </a:lnTo>
                  <a:lnTo>
                    <a:pt x="286" y="366"/>
                  </a:lnTo>
                  <a:lnTo>
                    <a:pt x="287" y="365"/>
                  </a:lnTo>
                  <a:lnTo>
                    <a:pt x="288" y="364"/>
                  </a:lnTo>
                  <a:lnTo>
                    <a:pt x="289" y="364"/>
                  </a:lnTo>
                  <a:lnTo>
                    <a:pt x="289" y="363"/>
                  </a:lnTo>
                  <a:lnTo>
                    <a:pt x="290" y="362"/>
                  </a:lnTo>
                  <a:lnTo>
                    <a:pt x="291" y="361"/>
                  </a:lnTo>
                  <a:lnTo>
                    <a:pt x="292" y="360"/>
                  </a:lnTo>
                  <a:lnTo>
                    <a:pt x="292" y="359"/>
                  </a:lnTo>
                  <a:lnTo>
                    <a:pt x="293" y="356"/>
                  </a:lnTo>
                  <a:lnTo>
                    <a:pt x="294" y="355"/>
                  </a:lnTo>
                  <a:lnTo>
                    <a:pt x="294" y="354"/>
                  </a:lnTo>
                  <a:lnTo>
                    <a:pt x="295" y="354"/>
                  </a:lnTo>
                  <a:lnTo>
                    <a:pt x="296" y="353"/>
                  </a:lnTo>
                  <a:lnTo>
                    <a:pt x="298" y="350"/>
                  </a:lnTo>
                  <a:lnTo>
                    <a:pt x="299" y="350"/>
                  </a:lnTo>
                  <a:lnTo>
                    <a:pt x="300" y="349"/>
                  </a:lnTo>
                  <a:lnTo>
                    <a:pt x="301" y="348"/>
                  </a:lnTo>
                  <a:lnTo>
                    <a:pt x="301" y="347"/>
                  </a:lnTo>
                  <a:lnTo>
                    <a:pt x="301" y="346"/>
                  </a:lnTo>
                  <a:lnTo>
                    <a:pt x="302" y="346"/>
                  </a:lnTo>
                  <a:lnTo>
                    <a:pt x="302" y="345"/>
                  </a:lnTo>
                  <a:lnTo>
                    <a:pt x="301" y="344"/>
                  </a:lnTo>
                  <a:lnTo>
                    <a:pt x="301" y="343"/>
                  </a:lnTo>
                  <a:lnTo>
                    <a:pt x="300" y="342"/>
                  </a:lnTo>
                  <a:lnTo>
                    <a:pt x="299" y="341"/>
                  </a:lnTo>
                  <a:lnTo>
                    <a:pt x="299" y="340"/>
                  </a:lnTo>
                  <a:lnTo>
                    <a:pt x="297" y="339"/>
                  </a:lnTo>
                  <a:lnTo>
                    <a:pt x="293" y="335"/>
                  </a:lnTo>
                  <a:lnTo>
                    <a:pt x="292" y="334"/>
                  </a:lnTo>
                  <a:lnTo>
                    <a:pt x="290" y="332"/>
                  </a:lnTo>
                  <a:lnTo>
                    <a:pt x="289" y="331"/>
                  </a:lnTo>
                  <a:lnTo>
                    <a:pt x="288" y="330"/>
                  </a:lnTo>
                  <a:lnTo>
                    <a:pt x="288" y="329"/>
                  </a:lnTo>
                  <a:lnTo>
                    <a:pt x="288" y="328"/>
                  </a:lnTo>
                  <a:lnTo>
                    <a:pt x="288" y="327"/>
                  </a:lnTo>
                  <a:lnTo>
                    <a:pt x="288" y="327"/>
                  </a:lnTo>
                  <a:lnTo>
                    <a:pt x="288" y="327"/>
                  </a:lnTo>
                  <a:lnTo>
                    <a:pt x="288" y="326"/>
                  </a:lnTo>
                  <a:lnTo>
                    <a:pt x="289" y="326"/>
                  </a:lnTo>
                  <a:lnTo>
                    <a:pt x="290" y="326"/>
                  </a:lnTo>
                  <a:lnTo>
                    <a:pt x="291" y="325"/>
                  </a:lnTo>
                  <a:lnTo>
                    <a:pt x="292" y="325"/>
                  </a:lnTo>
                  <a:lnTo>
                    <a:pt x="294" y="324"/>
                  </a:lnTo>
                  <a:lnTo>
                    <a:pt x="295" y="324"/>
                  </a:lnTo>
                  <a:lnTo>
                    <a:pt x="295" y="323"/>
                  </a:lnTo>
                  <a:lnTo>
                    <a:pt x="296" y="322"/>
                  </a:lnTo>
                  <a:lnTo>
                    <a:pt x="297" y="321"/>
                  </a:lnTo>
                  <a:lnTo>
                    <a:pt x="297" y="320"/>
                  </a:lnTo>
                  <a:lnTo>
                    <a:pt x="298" y="319"/>
                  </a:lnTo>
                  <a:lnTo>
                    <a:pt x="298" y="319"/>
                  </a:lnTo>
                  <a:lnTo>
                    <a:pt x="298" y="318"/>
                  </a:lnTo>
                  <a:lnTo>
                    <a:pt x="298" y="317"/>
                  </a:lnTo>
                  <a:lnTo>
                    <a:pt x="297" y="316"/>
                  </a:lnTo>
                  <a:lnTo>
                    <a:pt x="297" y="314"/>
                  </a:lnTo>
                  <a:lnTo>
                    <a:pt x="296" y="311"/>
                  </a:lnTo>
                  <a:lnTo>
                    <a:pt x="296" y="310"/>
                  </a:lnTo>
                  <a:lnTo>
                    <a:pt x="296" y="309"/>
                  </a:lnTo>
                  <a:lnTo>
                    <a:pt x="296" y="308"/>
                  </a:lnTo>
                  <a:lnTo>
                    <a:pt x="296" y="307"/>
                  </a:lnTo>
                  <a:lnTo>
                    <a:pt x="297" y="305"/>
                  </a:lnTo>
                  <a:lnTo>
                    <a:pt x="297" y="305"/>
                  </a:lnTo>
                  <a:lnTo>
                    <a:pt x="298" y="304"/>
                  </a:lnTo>
                  <a:lnTo>
                    <a:pt x="298" y="303"/>
                  </a:lnTo>
                  <a:lnTo>
                    <a:pt x="299" y="303"/>
                  </a:lnTo>
                  <a:lnTo>
                    <a:pt x="300" y="302"/>
                  </a:lnTo>
                  <a:lnTo>
                    <a:pt x="301" y="301"/>
                  </a:lnTo>
                  <a:lnTo>
                    <a:pt x="304" y="300"/>
                  </a:lnTo>
                  <a:lnTo>
                    <a:pt x="305" y="299"/>
                  </a:lnTo>
                  <a:lnTo>
                    <a:pt x="307" y="298"/>
                  </a:lnTo>
                  <a:lnTo>
                    <a:pt x="309" y="297"/>
                  </a:lnTo>
                  <a:lnTo>
                    <a:pt x="310" y="296"/>
                  </a:lnTo>
                  <a:lnTo>
                    <a:pt x="310" y="295"/>
                  </a:lnTo>
                  <a:lnTo>
                    <a:pt x="311" y="294"/>
                  </a:lnTo>
                  <a:lnTo>
                    <a:pt x="311" y="293"/>
                  </a:lnTo>
                  <a:lnTo>
                    <a:pt x="311" y="292"/>
                  </a:lnTo>
                  <a:lnTo>
                    <a:pt x="311" y="290"/>
                  </a:lnTo>
                  <a:lnTo>
                    <a:pt x="311" y="288"/>
                  </a:lnTo>
                  <a:lnTo>
                    <a:pt x="311" y="287"/>
                  </a:lnTo>
                  <a:lnTo>
                    <a:pt x="311" y="286"/>
                  </a:lnTo>
                  <a:lnTo>
                    <a:pt x="310" y="285"/>
                  </a:lnTo>
                  <a:lnTo>
                    <a:pt x="310" y="284"/>
                  </a:lnTo>
                  <a:lnTo>
                    <a:pt x="309" y="283"/>
                  </a:lnTo>
                  <a:lnTo>
                    <a:pt x="309" y="282"/>
                  </a:lnTo>
                  <a:lnTo>
                    <a:pt x="308" y="282"/>
                  </a:lnTo>
                  <a:lnTo>
                    <a:pt x="307" y="281"/>
                  </a:lnTo>
                  <a:lnTo>
                    <a:pt x="306" y="280"/>
                  </a:lnTo>
                  <a:lnTo>
                    <a:pt x="303" y="277"/>
                  </a:lnTo>
                  <a:lnTo>
                    <a:pt x="301" y="276"/>
                  </a:lnTo>
                  <a:lnTo>
                    <a:pt x="300" y="275"/>
                  </a:lnTo>
                  <a:lnTo>
                    <a:pt x="299" y="274"/>
                  </a:lnTo>
                  <a:lnTo>
                    <a:pt x="299" y="274"/>
                  </a:lnTo>
                  <a:lnTo>
                    <a:pt x="299" y="273"/>
                  </a:lnTo>
                  <a:lnTo>
                    <a:pt x="298" y="272"/>
                  </a:lnTo>
                  <a:lnTo>
                    <a:pt x="298" y="271"/>
                  </a:lnTo>
                  <a:lnTo>
                    <a:pt x="298" y="270"/>
                  </a:lnTo>
                  <a:lnTo>
                    <a:pt x="298" y="269"/>
                  </a:lnTo>
                  <a:lnTo>
                    <a:pt x="298" y="268"/>
                  </a:lnTo>
                  <a:lnTo>
                    <a:pt x="298" y="267"/>
                  </a:lnTo>
                  <a:lnTo>
                    <a:pt x="299" y="265"/>
                  </a:lnTo>
                  <a:lnTo>
                    <a:pt x="299" y="264"/>
                  </a:lnTo>
                  <a:lnTo>
                    <a:pt x="300" y="262"/>
                  </a:lnTo>
                  <a:lnTo>
                    <a:pt x="300" y="261"/>
                  </a:lnTo>
                  <a:lnTo>
                    <a:pt x="301" y="259"/>
                  </a:lnTo>
                  <a:lnTo>
                    <a:pt x="302" y="258"/>
                  </a:lnTo>
                  <a:lnTo>
                    <a:pt x="303" y="256"/>
                  </a:lnTo>
                  <a:lnTo>
                    <a:pt x="304" y="255"/>
                  </a:lnTo>
                  <a:lnTo>
                    <a:pt x="305" y="253"/>
                  </a:lnTo>
                  <a:lnTo>
                    <a:pt x="306" y="252"/>
                  </a:lnTo>
                  <a:lnTo>
                    <a:pt x="308" y="251"/>
                  </a:lnTo>
                  <a:lnTo>
                    <a:pt x="311" y="249"/>
                  </a:lnTo>
                  <a:lnTo>
                    <a:pt x="313" y="247"/>
                  </a:lnTo>
                  <a:lnTo>
                    <a:pt x="313" y="247"/>
                  </a:lnTo>
                  <a:lnTo>
                    <a:pt x="314" y="246"/>
                  </a:lnTo>
                  <a:lnTo>
                    <a:pt x="314" y="246"/>
                  </a:lnTo>
                  <a:lnTo>
                    <a:pt x="315" y="245"/>
                  </a:lnTo>
                  <a:lnTo>
                    <a:pt x="315" y="244"/>
                  </a:lnTo>
                  <a:lnTo>
                    <a:pt x="315" y="243"/>
                  </a:lnTo>
                  <a:lnTo>
                    <a:pt x="315" y="243"/>
                  </a:lnTo>
                  <a:lnTo>
                    <a:pt x="314" y="242"/>
                  </a:lnTo>
                  <a:lnTo>
                    <a:pt x="314" y="241"/>
                  </a:lnTo>
                  <a:lnTo>
                    <a:pt x="313" y="240"/>
                  </a:lnTo>
                  <a:lnTo>
                    <a:pt x="312" y="238"/>
                  </a:lnTo>
                  <a:lnTo>
                    <a:pt x="310" y="236"/>
                  </a:lnTo>
                  <a:lnTo>
                    <a:pt x="310" y="235"/>
                  </a:lnTo>
                  <a:lnTo>
                    <a:pt x="309" y="234"/>
                  </a:lnTo>
                  <a:lnTo>
                    <a:pt x="309" y="233"/>
                  </a:lnTo>
                  <a:lnTo>
                    <a:pt x="308" y="231"/>
                  </a:lnTo>
                  <a:lnTo>
                    <a:pt x="308" y="230"/>
                  </a:lnTo>
                  <a:lnTo>
                    <a:pt x="308" y="229"/>
                  </a:lnTo>
                  <a:lnTo>
                    <a:pt x="308" y="228"/>
                  </a:lnTo>
                  <a:lnTo>
                    <a:pt x="308" y="227"/>
                  </a:lnTo>
                  <a:lnTo>
                    <a:pt x="309" y="226"/>
                  </a:lnTo>
                  <a:lnTo>
                    <a:pt x="309" y="225"/>
                  </a:lnTo>
                  <a:lnTo>
                    <a:pt x="310" y="224"/>
                  </a:lnTo>
                  <a:lnTo>
                    <a:pt x="314" y="219"/>
                  </a:lnTo>
                  <a:lnTo>
                    <a:pt x="315" y="217"/>
                  </a:lnTo>
                  <a:lnTo>
                    <a:pt x="316" y="215"/>
                  </a:lnTo>
                  <a:lnTo>
                    <a:pt x="316" y="214"/>
                  </a:lnTo>
                  <a:lnTo>
                    <a:pt x="317" y="213"/>
                  </a:lnTo>
                  <a:lnTo>
                    <a:pt x="317" y="212"/>
                  </a:lnTo>
                  <a:lnTo>
                    <a:pt x="317" y="211"/>
                  </a:lnTo>
                  <a:lnTo>
                    <a:pt x="317" y="210"/>
                  </a:lnTo>
                  <a:lnTo>
                    <a:pt x="317" y="210"/>
                  </a:lnTo>
                  <a:lnTo>
                    <a:pt x="317" y="209"/>
                  </a:lnTo>
                  <a:lnTo>
                    <a:pt x="316" y="208"/>
                  </a:lnTo>
                  <a:lnTo>
                    <a:pt x="316" y="208"/>
                  </a:lnTo>
                  <a:lnTo>
                    <a:pt x="315" y="207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0" y="205"/>
                  </a:lnTo>
                  <a:lnTo>
                    <a:pt x="309" y="205"/>
                  </a:lnTo>
                  <a:lnTo>
                    <a:pt x="307" y="204"/>
                  </a:lnTo>
                  <a:lnTo>
                    <a:pt x="306" y="204"/>
                  </a:lnTo>
                  <a:lnTo>
                    <a:pt x="305" y="203"/>
                  </a:lnTo>
                  <a:lnTo>
                    <a:pt x="304" y="203"/>
                  </a:lnTo>
                  <a:lnTo>
                    <a:pt x="304" y="202"/>
                  </a:lnTo>
                  <a:lnTo>
                    <a:pt x="303" y="202"/>
                  </a:lnTo>
                  <a:lnTo>
                    <a:pt x="303" y="201"/>
                  </a:lnTo>
                  <a:lnTo>
                    <a:pt x="303" y="201"/>
                  </a:lnTo>
                  <a:lnTo>
                    <a:pt x="303" y="200"/>
                  </a:lnTo>
                  <a:lnTo>
                    <a:pt x="303" y="200"/>
                  </a:lnTo>
                  <a:lnTo>
                    <a:pt x="304" y="199"/>
                  </a:lnTo>
                  <a:lnTo>
                    <a:pt x="304" y="199"/>
                  </a:lnTo>
                  <a:lnTo>
                    <a:pt x="306" y="198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7" y="197"/>
                  </a:lnTo>
                  <a:lnTo>
                    <a:pt x="306" y="196"/>
                  </a:lnTo>
                  <a:lnTo>
                    <a:pt x="306" y="196"/>
                  </a:lnTo>
                  <a:lnTo>
                    <a:pt x="306" y="195"/>
                  </a:lnTo>
                  <a:lnTo>
                    <a:pt x="305" y="195"/>
                  </a:lnTo>
                  <a:lnTo>
                    <a:pt x="298" y="190"/>
                  </a:lnTo>
                  <a:lnTo>
                    <a:pt x="294" y="186"/>
                  </a:lnTo>
                  <a:lnTo>
                    <a:pt x="293" y="186"/>
                  </a:lnTo>
                  <a:lnTo>
                    <a:pt x="292" y="185"/>
                  </a:lnTo>
                  <a:lnTo>
                    <a:pt x="292" y="184"/>
                  </a:lnTo>
                  <a:lnTo>
                    <a:pt x="291" y="184"/>
                  </a:lnTo>
                  <a:lnTo>
                    <a:pt x="291" y="183"/>
                  </a:lnTo>
                  <a:lnTo>
                    <a:pt x="291" y="182"/>
                  </a:lnTo>
                  <a:lnTo>
                    <a:pt x="291" y="181"/>
                  </a:lnTo>
                  <a:lnTo>
                    <a:pt x="291" y="180"/>
                  </a:lnTo>
                  <a:lnTo>
                    <a:pt x="291" y="178"/>
                  </a:lnTo>
                  <a:lnTo>
                    <a:pt x="292" y="174"/>
                  </a:lnTo>
                  <a:lnTo>
                    <a:pt x="293" y="171"/>
                  </a:lnTo>
                  <a:lnTo>
                    <a:pt x="293" y="169"/>
                  </a:lnTo>
                  <a:lnTo>
                    <a:pt x="293" y="166"/>
                  </a:lnTo>
                  <a:lnTo>
                    <a:pt x="293" y="162"/>
                  </a:lnTo>
                  <a:lnTo>
                    <a:pt x="294" y="160"/>
                  </a:lnTo>
                  <a:lnTo>
                    <a:pt x="294" y="159"/>
                  </a:lnTo>
                  <a:lnTo>
                    <a:pt x="294" y="158"/>
                  </a:lnTo>
                  <a:lnTo>
                    <a:pt x="295" y="156"/>
                  </a:lnTo>
                  <a:lnTo>
                    <a:pt x="296" y="154"/>
                  </a:lnTo>
                  <a:lnTo>
                    <a:pt x="298" y="153"/>
                  </a:lnTo>
                  <a:lnTo>
                    <a:pt x="300" y="150"/>
                  </a:lnTo>
                  <a:lnTo>
                    <a:pt x="301" y="148"/>
                  </a:lnTo>
                  <a:lnTo>
                    <a:pt x="302" y="147"/>
                  </a:lnTo>
                  <a:lnTo>
                    <a:pt x="304" y="143"/>
                  </a:lnTo>
                  <a:lnTo>
                    <a:pt x="305" y="141"/>
                  </a:lnTo>
                  <a:lnTo>
                    <a:pt x="306" y="140"/>
                  </a:lnTo>
                  <a:lnTo>
                    <a:pt x="307" y="139"/>
                  </a:lnTo>
                  <a:lnTo>
                    <a:pt x="308" y="138"/>
                  </a:lnTo>
                  <a:lnTo>
                    <a:pt x="308" y="137"/>
                  </a:lnTo>
                  <a:lnTo>
                    <a:pt x="309" y="137"/>
                  </a:lnTo>
                  <a:lnTo>
                    <a:pt x="310" y="136"/>
                  </a:lnTo>
                  <a:lnTo>
                    <a:pt x="312" y="135"/>
                  </a:lnTo>
                  <a:lnTo>
                    <a:pt x="313" y="134"/>
                  </a:lnTo>
                  <a:lnTo>
                    <a:pt x="315" y="134"/>
                  </a:lnTo>
                  <a:lnTo>
                    <a:pt x="317" y="133"/>
                  </a:lnTo>
                  <a:lnTo>
                    <a:pt x="321" y="133"/>
                  </a:lnTo>
                  <a:lnTo>
                    <a:pt x="324" y="133"/>
                  </a:lnTo>
                  <a:lnTo>
                    <a:pt x="327" y="132"/>
                  </a:lnTo>
                  <a:lnTo>
                    <a:pt x="329" y="132"/>
                  </a:lnTo>
                  <a:lnTo>
                    <a:pt x="330" y="131"/>
                  </a:lnTo>
                  <a:lnTo>
                    <a:pt x="331" y="131"/>
                  </a:lnTo>
                  <a:lnTo>
                    <a:pt x="332" y="130"/>
                  </a:lnTo>
                  <a:lnTo>
                    <a:pt x="333" y="129"/>
                  </a:lnTo>
                  <a:lnTo>
                    <a:pt x="333" y="128"/>
                  </a:lnTo>
                  <a:lnTo>
                    <a:pt x="333" y="128"/>
                  </a:lnTo>
                  <a:lnTo>
                    <a:pt x="334" y="127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5"/>
                  </a:lnTo>
                  <a:lnTo>
                    <a:pt x="333" y="124"/>
                  </a:lnTo>
                  <a:lnTo>
                    <a:pt x="333" y="124"/>
                  </a:lnTo>
                  <a:lnTo>
                    <a:pt x="332" y="123"/>
                  </a:lnTo>
                  <a:lnTo>
                    <a:pt x="332" y="123"/>
                  </a:lnTo>
                  <a:lnTo>
                    <a:pt x="331" y="122"/>
                  </a:lnTo>
                  <a:lnTo>
                    <a:pt x="330" y="122"/>
                  </a:lnTo>
                  <a:lnTo>
                    <a:pt x="329" y="121"/>
                  </a:lnTo>
                  <a:lnTo>
                    <a:pt x="325" y="120"/>
                  </a:lnTo>
                  <a:lnTo>
                    <a:pt x="324" y="120"/>
                  </a:lnTo>
                  <a:lnTo>
                    <a:pt x="323" y="120"/>
                  </a:lnTo>
                  <a:lnTo>
                    <a:pt x="323" y="120"/>
                  </a:lnTo>
                  <a:lnTo>
                    <a:pt x="323" y="119"/>
                  </a:lnTo>
                  <a:lnTo>
                    <a:pt x="323" y="119"/>
                  </a:lnTo>
                  <a:lnTo>
                    <a:pt x="323" y="118"/>
                  </a:lnTo>
                  <a:lnTo>
                    <a:pt x="323" y="118"/>
                  </a:lnTo>
                  <a:lnTo>
                    <a:pt x="324" y="117"/>
                  </a:lnTo>
                  <a:lnTo>
                    <a:pt x="324" y="116"/>
                  </a:lnTo>
                  <a:lnTo>
                    <a:pt x="325" y="115"/>
                  </a:lnTo>
                  <a:lnTo>
                    <a:pt x="327" y="113"/>
                  </a:lnTo>
                  <a:lnTo>
                    <a:pt x="328" y="112"/>
                  </a:lnTo>
                  <a:lnTo>
                    <a:pt x="329" y="111"/>
                  </a:lnTo>
                  <a:lnTo>
                    <a:pt x="330" y="110"/>
                  </a:lnTo>
                  <a:lnTo>
                    <a:pt x="332" y="110"/>
                  </a:lnTo>
                  <a:lnTo>
                    <a:pt x="333" y="109"/>
                  </a:lnTo>
                  <a:lnTo>
                    <a:pt x="334" y="109"/>
                  </a:lnTo>
                  <a:lnTo>
                    <a:pt x="336" y="108"/>
                  </a:lnTo>
                  <a:lnTo>
                    <a:pt x="337" y="108"/>
                  </a:lnTo>
                  <a:lnTo>
                    <a:pt x="338" y="109"/>
                  </a:lnTo>
                  <a:lnTo>
                    <a:pt x="339" y="109"/>
                  </a:lnTo>
                  <a:lnTo>
                    <a:pt x="340" y="109"/>
                  </a:lnTo>
                  <a:lnTo>
                    <a:pt x="340" y="110"/>
                  </a:lnTo>
                  <a:lnTo>
                    <a:pt x="341" y="110"/>
                  </a:lnTo>
                  <a:lnTo>
                    <a:pt x="341" y="110"/>
                  </a:lnTo>
                  <a:lnTo>
                    <a:pt x="342" y="112"/>
                  </a:lnTo>
                  <a:lnTo>
                    <a:pt x="343" y="114"/>
                  </a:lnTo>
                  <a:lnTo>
                    <a:pt x="343" y="114"/>
                  </a:lnTo>
                  <a:lnTo>
                    <a:pt x="344" y="115"/>
                  </a:lnTo>
                  <a:lnTo>
                    <a:pt x="345" y="116"/>
                  </a:lnTo>
                  <a:lnTo>
                    <a:pt x="345" y="117"/>
                  </a:lnTo>
                  <a:lnTo>
                    <a:pt x="346" y="117"/>
                  </a:lnTo>
                  <a:lnTo>
                    <a:pt x="347" y="117"/>
                  </a:lnTo>
                  <a:lnTo>
                    <a:pt x="347" y="118"/>
                  </a:lnTo>
                  <a:lnTo>
                    <a:pt x="348" y="118"/>
                  </a:lnTo>
                  <a:lnTo>
                    <a:pt x="350" y="118"/>
                  </a:lnTo>
                  <a:lnTo>
                    <a:pt x="351" y="117"/>
                  </a:lnTo>
                  <a:lnTo>
                    <a:pt x="351" y="117"/>
                  </a:lnTo>
                  <a:lnTo>
                    <a:pt x="352" y="117"/>
                  </a:lnTo>
                  <a:lnTo>
                    <a:pt x="353" y="116"/>
                  </a:lnTo>
                  <a:lnTo>
                    <a:pt x="353" y="116"/>
                  </a:lnTo>
                  <a:lnTo>
                    <a:pt x="354" y="115"/>
                  </a:lnTo>
                  <a:lnTo>
                    <a:pt x="354" y="114"/>
                  </a:lnTo>
                  <a:lnTo>
                    <a:pt x="355" y="111"/>
                  </a:lnTo>
                  <a:lnTo>
                    <a:pt x="356" y="108"/>
                  </a:lnTo>
                  <a:lnTo>
                    <a:pt x="356" y="107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5"/>
                  </a:lnTo>
                  <a:lnTo>
                    <a:pt x="356" y="104"/>
                  </a:lnTo>
                  <a:lnTo>
                    <a:pt x="356" y="103"/>
                  </a:lnTo>
                  <a:lnTo>
                    <a:pt x="356" y="102"/>
                  </a:lnTo>
                  <a:lnTo>
                    <a:pt x="355" y="100"/>
                  </a:lnTo>
                  <a:lnTo>
                    <a:pt x="354" y="99"/>
                  </a:lnTo>
                  <a:lnTo>
                    <a:pt x="353" y="98"/>
                  </a:lnTo>
                  <a:lnTo>
                    <a:pt x="351" y="96"/>
                  </a:lnTo>
                  <a:lnTo>
                    <a:pt x="350" y="95"/>
                  </a:lnTo>
                  <a:lnTo>
                    <a:pt x="349" y="94"/>
                  </a:lnTo>
                  <a:lnTo>
                    <a:pt x="349" y="93"/>
                  </a:lnTo>
                  <a:lnTo>
                    <a:pt x="348" y="92"/>
                  </a:lnTo>
                  <a:lnTo>
                    <a:pt x="348" y="91"/>
                  </a:lnTo>
                  <a:lnTo>
                    <a:pt x="348" y="90"/>
                  </a:lnTo>
                  <a:lnTo>
                    <a:pt x="348" y="89"/>
                  </a:lnTo>
                  <a:lnTo>
                    <a:pt x="348" y="89"/>
                  </a:lnTo>
                  <a:lnTo>
                    <a:pt x="348" y="89"/>
                  </a:lnTo>
                  <a:lnTo>
                    <a:pt x="348" y="89"/>
                  </a:lnTo>
                  <a:lnTo>
                    <a:pt x="349" y="89"/>
                  </a:lnTo>
                  <a:lnTo>
                    <a:pt x="350" y="89"/>
                  </a:lnTo>
                  <a:lnTo>
                    <a:pt x="352" y="89"/>
                  </a:lnTo>
                  <a:lnTo>
                    <a:pt x="353" y="89"/>
                  </a:lnTo>
                  <a:lnTo>
                    <a:pt x="354" y="89"/>
                  </a:lnTo>
                  <a:lnTo>
                    <a:pt x="355" y="88"/>
                  </a:lnTo>
                  <a:lnTo>
                    <a:pt x="356" y="88"/>
                  </a:lnTo>
                  <a:lnTo>
                    <a:pt x="357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1" y="84"/>
                  </a:lnTo>
                  <a:lnTo>
                    <a:pt x="363" y="82"/>
                  </a:lnTo>
                  <a:lnTo>
                    <a:pt x="365" y="80"/>
                  </a:lnTo>
                  <a:lnTo>
                    <a:pt x="366" y="79"/>
                  </a:lnTo>
                  <a:lnTo>
                    <a:pt x="367" y="77"/>
                  </a:lnTo>
                  <a:lnTo>
                    <a:pt x="368" y="75"/>
                  </a:lnTo>
                  <a:lnTo>
                    <a:pt x="368" y="74"/>
                  </a:lnTo>
                  <a:lnTo>
                    <a:pt x="368" y="73"/>
                  </a:lnTo>
                  <a:lnTo>
                    <a:pt x="368" y="72"/>
                  </a:lnTo>
                  <a:lnTo>
                    <a:pt x="368" y="71"/>
                  </a:lnTo>
                  <a:lnTo>
                    <a:pt x="368" y="70"/>
                  </a:lnTo>
                  <a:lnTo>
                    <a:pt x="368" y="69"/>
                  </a:lnTo>
                  <a:lnTo>
                    <a:pt x="368" y="68"/>
                  </a:lnTo>
                  <a:lnTo>
                    <a:pt x="368" y="67"/>
                  </a:lnTo>
                  <a:lnTo>
                    <a:pt x="367" y="66"/>
                  </a:lnTo>
                  <a:lnTo>
                    <a:pt x="367" y="65"/>
                  </a:lnTo>
                  <a:lnTo>
                    <a:pt x="366" y="65"/>
                  </a:lnTo>
                  <a:lnTo>
                    <a:pt x="365" y="64"/>
                  </a:lnTo>
                  <a:lnTo>
                    <a:pt x="364" y="63"/>
                  </a:lnTo>
                  <a:lnTo>
                    <a:pt x="363" y="62"/>
                  </a:lnTo>
                  <a:lnTo>
                    <a:pt x="360" y="60"/>
                  </a:lnTo>
                  <a:lnTo>
                    <a:pt x="358" y="59"/>
                  </a:lnTo>
                  <a:lnTo>
                    <a:pt x="357" y="59"/>
                  </a:lnTo>
                  <a:lnTo>
                    <a:pt x="356" y="57"/>
                  </a:lnTo>
                  <a:lnTo>
                    <a:pt x="355" y="56"/>
                  </a:lnTo>
                  <a:lnTo>
                    <a:pt x="355" y="55"/>
                  </a:lnTo>
                  <a:lnTo>
                    <a:pt x="354" y="54"/>
                  </a:lnTo>
                  <a:lnTo>
                    <a:pt x="354" y="54"/>
                  </a:lnTo>
                  <a:lnTo>
                    <a:pt x="354" y="53"/>
                  </a:lnTo>
                  <a:lnTo>
                    <a:pt x="354" y="52"/>
                  </a:lnTo>
                  <a:lnTo>
                    <a:pt x="355" y="51"/>
                  </a:lnTo>
                  <a:lnTo>
                    <a:pt x="355" y="50"/>
                  </a:lnTo>
                  <a:lnTo>
                    <a:pt x="357" y="44"/>
                  </a:lnTo>
                  <a:lnTo>
                    <a:pt x="358" y="41"/>
                  </a:lnTo>
                  <a:lnTo>
                    <a:pt x="359" y="39"/>
                  </a:lnTo>
                  <a:lnTo>
                    <a:pt x="359" y="37"/>
                  </a:lnTo>
                  <a:lnTo>
                    <a:pt x="359" y="36"/>
                  </a:lnTo>
                  <a:lnTo>
                    <a:pt x="359" y="35"/>
                  </a:lnTo>
                  <a:lnTo>
                    <a:pt x="359" y="34"/>
                  </a:lnTo>
                  <a:lnTo>
                    <a:pt x="359" y="35"/>
                  </a:lnTo>
                  <a:lnTo>
                    <a:pt x="360" y="35"/>
                  </a:lnTo>
                  <a:lnTo>
                    <a:pt x="360" y="35"/>
                  </a:lnTo>
                  <a:lnTo>
                    <a:pt x="361" y="35"/>
                  </a:lnTo>
                  <a:lnTo>
                    <a:pt x="361" y="35"/>
                  </a:lnTo>
                  <a:lnTo>
                    <a:pt x="362" y="35"/>
                  </a:lnTo>
                  <a:lnTo>
                    <a:pt x="363" y="35"/>
                  </a:lnTo>
                  <a:lnTo>
                    <a:pt x="363" y="35"/>
                  </a:lnTo>
                  <a:lnTo>
                    <a:pt x="364" y="34"/>
                  </a:lnTo>
                  <a:lnTo>
                    <a:pt x="365" y="33"/>
                  </a:lnTo>
                  <a:lnTo>
                    <a:pt x="367" y="32"/>
                  </a:lnTo>
                  <a:lnTo>
                    <a:pt x="368" y="30"/>
                  </a:lnTo>
                  <a:lnTo>
                    <a:pt x="371" y="27"/>
                  </a:lnTo>
                  <a:lnTo>
                    <a:pt x="371" y="27"/>
                  </a:lnTo>
                  <a:lnTo>
                    <a:pt x="372" y="26"/>
                  </a:lnTo>
                  <a:lnTo>
                    <a:pt x="373" y="25"/>
                  </a:lnTo>
                  <a:lnTo>
                    <a:pt x="375" y="25"/>
                  </a:lnTo>
                  <a:lnTo>
                    <a:pt x="376" y="24"/>
                  </a:lnTo>
                  <a:lnTo>
                    <a:pt x="377" y="24"/>
                  </a:lnTo>
                  <a:lnTo>
                    <a:pt x="378" y="24"/>
                  </a:lnTo>
                  <a:lnTo>
                    <a:pt x="379" y="24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82" y="24"/>
                  </a:lnTo>
                  <a:lnTo>
                    <a:pt x="383" y="25"/>
                  </a:lnTo>
                  <a:lnTo>
                    <a:pt x="384" y="26"/>
                  </a:lnTo>
                  <a:lnTo>
                    <a:pt x="385" y="26"/>
                  </a:lnTo>
                  <a:lnTo>
                    <a:pt x="386" y="26"/>
                  </a:lnTo>
                  <a:lnTo>
                    <a:pt x="388" y="26"/>
                  </a:lnTo>
                  <a:lnTo>
                    <a:pt x="391" y="25"/>
                  </a:lnTo>
                  <a:lnTo>
                    <a:pt x="393" y="25"/>
                  </a:lnTo>
                  <a:lnTo>
                    <a:pt x="397" y="24"/>
                  </a:lnTo>
                  <a:lnTo>
                    <a:pt x="399" y="24"/>
                  </a:lnTo>
                  <a:lnTo>
                    <a:pt x="400" y="24"/>
                  </a:lnTo>
                  <a:lnTo>
                    <a:pt x="401" y="24"/>
                  </a:lnTo>
                  <a:lnTo>
                    <a:pt x="402" y="24"/>
                  </a:lnTo>
                  <a:lnTo>
                    <a:pt x="408" y="25"/>
                  </a:lnTo>
                  <a:lnTo>
                    <a:pt x="410" y="25"/>
                  </a:lnTo>
                  <a:lnTo>
                    <a:pt x="412" y="26"/>
                  </a:lnTo>
                  <a:lnTo>
                    <a:pt x="415" y="26"/>
                  </a:lnTo>
                  <a:lnTo>
                    <a:pt x="417" y="25"/>
                  </a:lnTo>
                  <a:lnTo>
                    <a:pt x="419" y="25"/>
                  </a:lnTo>
                  <a:lnTo>
                    <a:pt x="420" y="25"/>
                  </a:lnTo>
                  <a:lnTo>
                    <a:pt x="420" y="25"/>
                  </a:lnTo>
                  <a:lnTo>
                    <a:pt x="421" y="24"/>
                  </a:lnTo>
                  <a:lnTo>
                    <a:pt x="422" y="23"/>
                  </a:lnTo>
                  <a:lnTo>
                    <a:pt x="422" y="23"/>
                  </a:lnTo>
                  <a:lnTo>
                    <a:pt x="423" y="21"/>
                  </a:lnTo>
                  <a:lnTo>
                    <a:pt x="424" y="20"/>
                  </a:lnTo>
                  <a:lnTo>
                    <a:pt x="424" y="18"/>
                  </a:lnTo>
                  <a:lnTo>
                    <a:pt x="427" y="7"/>
                  </a:lnTo>
                  <a:lnTo>
                    <a:pt x="428" y="4"/>
                  </a:lnTo>
                  <a:lnTo>
                    <a:pt x="428" y="2"/>
                  </a:lnTo>
                  <a:lnTo>
                    <a:pt x="429" y="1"/>
                  </a:lnTo>
                  <a:lnTo>
                    <a:pt x="430" y="0"/>
                  </a:lnTo>
                  <a:lnTo>
                    <a:pt x="430" y="0"/>
                  </a:lnTo>
                  <a:lnTo>
                    <a:pt x="430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5" name="Freeform 253">
              <a:extLst>
                <a:ext uri="{FF2B5EF4-FFF2-40B4-BE49-F238E27FC236}">
                  <a16:creationId xmlns:a16="http://schemas.microsoft.com/office/drawing/2014/main" id="{81903A65-7869-4C6F-BA9A-5A8D9F739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1428" y="2303668"/>
              <a:ext cx="483028" cy="703142"/>
            </a:xfrm>
            <a:custGeom>
              <a:avLst/>
              <a:gdLst>
                <a:gd name="T0" fmla="*/ 215 w 474"/>
                <a:gd name="T1" fmla="*/ 10 h 690"/>
                <a:gd name="T2" fmla="*/ 220 w 474"/>
                <a:gd name="T3" fmla="*/ 35 h 690"/>
                <a:gd name="T4" fmla="*/ 242 w 474"/>
                <a:gd name="T5" fmla="*/ 32 h 690"/>
                <a:gd name="T6" fmla="*/ 249 w 474"/>
                <a:gd name="T7" fmla="*/ 66 h 690"/>
                <a:gd name="T8" fmla="*/ 231 w 474"/>
                <a:gd name="T9" fmla="*/ 71 h 690"/>
                <a:gd name="T10" fmla="*/ 202 w 474"/>
                <a:gd name="T11" fmla="*/ 94 h 690"/>
                <a:gd name="T12" fmla="*/ 174 w 474"/>
                <a:gd name="T13" fmla="*/ 135 h 690"/>
                <a:gd name="T14" fmla="*/ 168 w 474"/>
                <a:gd name="T15" fmla="*/ 178 h 690"/>
                <a:gd name="T16" fmla="*/ 145 w 474"/>
                <a:gd name="T17" fmla="*/ 223 h 690"/>
                <a:gd name="T18" fmla="*/ 159 w 474"/>
                <a:gd name="T19" fmla="*/ 245 h 690"/>
                <a:gd name="T20" fmla="*/ 147 w 474"/>
                <a:gd name="T21" fmla="*/ 271 h 690"/>
                <a:gd name="T22" fmla="*/ 144 w 474"/>
                <a:gd name="T23" fmla="*/ 298 h 690"/>
                <a:gd name="T24" fmla="*/ 167 w 474"/>
                <a:gd name="T25" fmla="*/ 311 h 690"/>
                <a:gd name="T26" fmla="*/ 171 w 474"/>
                <a:gd name="T27" fmla="*/ 328 h 690"/>
                <a:gd name="T28" fmla="*/ 194 w 474"/>
                <a:gd name="T29" fmla="*/ 322 h 690"/>
                <a:gd name="T30" fmla="*/ 228 w 474"/>
                <a:gd name="T31" fmla="*/ 305 h 690"/>
                <a:gd name="T32" fmla="*/ 233 w 474"/>
                <a:gd name="T33" fmla="*/ 331 h 690"/>
                <a:gd name="T34" fmla="*/ 244 w 474"/>
                <a:gd name="T35" fmla="*/ 341 h 690"/>
                <a:gd name="T36" fmla="*/ 261 w 474"/>
                <a:gd name="T37" fmla="*/ 323 h 690"/>
                <a:gd name="T38" fmla="*/ 272 w 474"/>
                <a:gd name="T39" fmla="*/ 316 h 690"/>
                <a:gd name="T40" fmla="*/ 276 w 474"/>
                <a:gd name="T41" fmla="*/ 297 h 690"/>
                <a:gd name="T42" fmla="*/ 289 w 474"/>
                <a:gd name="T43" fmla="*/ 331 h 690"/>
                <a:gd name="T44" fmla="*/ 303 w 474"/>
                <a:gd name="T45" fmla="*/ 356 h 690"/>
                <a:gd name="T46" fmla="*/ 336 w 474"/>
                <a:gd name="T47" fmla="*/ 372 h 690"/>
                <a:gd name="T48" fmla="*/ 367 w 474"/>
                <a:gd name="T49" fmla="*/ 365 h 690"/>
                <a:gd name="T50" fmla="*/ 372 w 474"/>
                <a:gd name="T51" fmla="*/ 394 h 690"/>
                <a:gd name="T52" fmla="*/ 380 w 474"/>
                <a:gd name="T53" fmla="*/ 421 h 690"/>
                <a:gd name="T54" fmla="*/ 397 w 474"/>
                <a:gd name="T55" fmla="*/ 421 h 690"/>
                <a:gd name="T56" fmla="*/ 425 w 474"/>
                <a:gd name="T57" fmla="*/ 452 h 690"/>
                <a:gd name="T58" fmla="*/ 447 w 474"/>
                <a:gd name="T59" fmla="*/ 487 h 690"/>
                <a:gd name="T60" fmla="*/ 457 w 474"/>
                <a:gd name="T61" fmla="*/ 493 h 690"/>
                <a:gd name="T62" fmla="*/ 474 w 474"/>
                <a:gd name="T63" fmla="*/ 506 h 690"/>
                <a:gd name="T64" fmla="*/ 462 w 474"/>
                <a:gd name="T65" fmla="*/ 522 h 690"/>
                <a:gd name="T66" fmla="*/ 439 w 474"/>
                <a:gd name="T67" fmla="*/ 527 h 690"/>
                <a:gd name="T68" fmla="*/ 423 w 474"/>
                <a:gd name="T69" fmla="*/ 552 h 690"/>
                <a:gd name="T70" fmla="*/ 399 w 474"/>
                <a:gd name="T71" fmla="*/ 575 h 690"/>
                <a:gd name="T72" fmla="*/ 375 w 474"/>
                <a:gd name="T73" fmla="*/ 562 h 690"/>
                <a:gd name="T74" fmla="*/ 359 w 474"/>
                <a:gd name="T75" fmla="*/ 570 h 690"/>
                <a:gd name="T76" fmla="*/ 359 w 474"/>
                <a:gd name="T77" fmla="*/ 586 h 690"/>
                <a:gd name="T78" fmla="*/ 348 w 474"/>
                <a:gd name="T79" fmla="*/ 602 h 690"/>
                <a:gd name="T80" fmla="*/ 319 w 474"/>
                <a:gd name="T81" fmla="*/ 600 h 690"/>
                <a:gd name="T82" fmla="*/ 302 w 474"/>
                <a:gd name="T83" fmla="*/ 617 h 690"/>
                <a:gd name="T84" fmla="*/ 280 w 474"/>
                <a:gd name="T85" fmla="*/ 621 h 690"/>
                <a:gd name="T86" fmla="*/ 249 w 474"/>
                <a:gd name="T87" fmla="*/ 614 h 690"/>
                <a:gd name="T88" fmla="*/ 240 w 474"/>
                <a:gd name="T89" fmla="*/ 600 h 690"/>
                <a:gd name="T90" fmla="*/ 232 w 474"/>
                <a:gd name="T91" fmla="*/ 627 h 690"/>
                <a:gd name="T92" fmla="*/ 224 w 474"/>
                <a:gd name="T93" fmla="*/ 653 h 690"/>
                <a:gd name="T94" fmla="*/ 196 w 474"/>
                <a:gd name="T95" fmla="*/ 673 h 690"/>
                <a:gd name="T96" fmla="*/ 161 w 474"/>
                <a:gd name="T97" fmla="*/ 688 h 690"/>
                <a:gd name="T98" fmla="*/ 146 w 474"/>
                <a:gd name="T99" fmla="*/ 661 h 690"/>
                <a:gd name="T100" fmla="*/ 110 w 474"/>
                <a:gd name="T101" fmla="*/ 640 h 690"/>
                <a:gd name="T102" fmla="*/ 109 w 474"/>
                <a:gd name="T103" fmla="*/ 612 h 690"/>
                <a:gd name="T104" fmla="*/ 100 w 474"/>
                <a:gd name="T105" fmla="*/ 613 h 690"/>
                <a:gd name="T106" fmla="*/ 84 w 474"/>
                <a:gd name="T107" fmla="*/ 594 h 690"/>
                <a:gd name="T108" fmla="*/ 69 w 474"/>
                <a:gd name="T109" fmla="*/ 563 h 690"/>
                <a:gd name="T110" fmla="*/ 44 w 474"/>
                <a:gd name="T111" fmla="*/ 547 h 690"/>
                <a:gd name="T112" fmla="*/ 29 w 474"/>
                <a:gd name="T113" fmla="*/ 563 h 690"/>
                <a:gd name="T114" fmla="*/ 46 w 474"/>
                <a:gd name="T115" fmla="*/ 589 h 690"/>
                <a:gd name="T116" fmla="*/ 28 w 474"/>
                <a:gd name="T117" fmla="*/ 617 h 690"/>
                <a:gd name="T118" fmla="*/ 1 w 474"/>
                <a:gd name="T119" fmla="*/ 6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4" h="690">
                  <a:moveTo>
                    <a:pt x="195" y="2"/>
                  </a:moveTo>
                  <a:lnTo>
                    <a:pt x="197" y="2"/>
                  </a:lnTo>
                  <a:lnTo>
                    <a:pt x="198" y="2"/>
                  </a:lnTo>
                  <a:lnTo>
                    <a:pt x="200" y="1"/>
                  </a:lnTo>
                  <a:lnTo>
                    <a:pt x="206" y="0"/>
                  </a:lnTo>
                  <a:lnTo>
                    <a:pt x="207" y="0"/>
                  </a:lnTo>
                  <a:lnTo>
                    <a:pt x="208" y="0"/>
                  </a:lnTo>
                  <a:lnTo>
                    <a:pt x="209" y="0"/>
                  </a:lnTo>
                  <a:lnTo>
                    <a:pt x="210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2" y="1"/>
                  </a:lnTo>
                  <a:lnTo>
                    <a:pt x="212" y="1"/>
                  </a:lnTo>
                  <a:lnTo>
                    <a:pt x="213" y="2"/>
                  </a:lnTo>
                  <a:lnTo>
                    <a:pt x="214" y="6"/>
                  </a:lnTo>
                  <a:lnTo>
                    <a:pt x="215" y="10"/>
                  </a:lnTo>
                  <a:lnTo>
                    <a:pt x="215" y="10"/>
                  </a:lnTo>
                  <a:lnTo>
                    <a:pt x="215" y="12"/>
                  </a:lnTo>
                  <a:lnTo>
                    <a:pt x="215" y="13"/>
                  </a:lnTo>
                  <a:lnTo>
                    <a:pt x="215" y="15"/>
                  </a:lnTo>
                  <a:lnTo>
                    <a:pt x="215" y="26"/>
                  </a:lnTo>
                  <a:lnTo>
                    <a:pt x="215" y="27"/>
                  </a:lnTo>
                  <a:lnTo>
                    <a:pt x="215" y="28"/>
                  </a:lnTo>
                  <a:lnTo>
                    <a:pt x="215" y="30"/>
                  </a:lnTo>
                  <a:lnTo>
                    <a:pt x="216" y="32"/>
                  </a:lnTo>
                  <a:lnTo>
                    <a:pt x="216" y="33"/>
                  </a:lnTo>
                  <a:lnTo>
                    <a:pt x="217" y="33"/>
                  </a:lnTo>
                  <a:lnTo>
                    <a:pt x="217" y="34"/>
                  </a:lnTo>
                  <a:lnTo>
                    <a:pt x="217" y="34"/>
                  </a:lnTo>
                  <a:lnTo>
                    <a:pt x="218" y="35"/>
                  </a:lnTo>
                  <a:lnTo>
                    <a:pt x="219" y="35"/>
                  </a:lnTo>
                  <a:lnTo>
                    <a:pt x="220" y="35"/>
                  </a:lnTo>
                  <a:lnTo>
                    <a:pt x="220" y="35"/>
                  </a:lnTo>
                  <a:lnTo>
                    <a:pt x="221" y="34"/>
                  </a:lnTo>
                  <a:lnTo>
                    <a:pt x="221" y="34"/>
                  </a:lnTo>
                  <a:lnTo>
                    <a:pt x="224" y="32"/>
                  </a:lnTo>
                  <a:lnTo>
                    <a:pt x="225" y="31"/>
                  </a:lnTo>
                  <a:lnTo>
                    <a:pt x="226" y="30"/>
                  </a:lnTo>
                  <a:lnTo>
                    <a:pt x="227" y="30"/>
                  </a:lnTo>
                  <a:lnTo>
                    <a:pt x="228" y="30"/>
                  </a:lnTo>
                  <a:lnTo>
                    <a:pt x="229" y="29"/>
                  </a:lnTo>
                  <a:lnTo>
                    <a:pt x="231" y="29"/>
                  </a:lnTo>
                  <a:lnTo>
                    <a:pt x="232" y="29"/>
                  </a:lnTo>
                  <a:lnTo>
                    <a:pt x="233" y="29"/>
                  </a:lnTo>
                  <a:lnTo>
                    <a:pt x="235" y="29"/>
                  </a:lnTo>
                  <a:lnTo>
                    <a:pt x="236" y="29"/>
                  </a:lnTo>
                  <a:lnTo>
                    <a:pt x="238" y="30"/>
                  </a:lnTo>
                  <a:lnTo>
                    <a:pt x="239" y="30"/>
                  </a:lnTo>
                  <a:lnTo>
                    <a:pt x="241" y="31"/>
                  </a:lnTo>
                  <a:lnTo>
                    <a:pt x="242" y="32"/>
                  </a:lnTo>
                  <a:lnTo>
                    <a:pt x="244" y="33"/>
                  </a:lnTo>
                  <a:lnTo>
                    <a:pt x="245" y="34"/>
                  </a:lnTo>
                  <a:lnTo>
                    <a:pt x="246" y="35"/>
                  </a:lnTo>
                  <a:lnTo>
                    <a:pt x="247" y="35"/>
                  </a:lnTo>
                  <a:lnTo>
                    <a:pt x="248" y="36"/>
                  </a:lnTo>
                  <a:lnTo>
                    <a:pt x="249" y="38"/>
                  </a:lnTo>
                  <a:lnTo>
                    <a:pt x="249" y="39"/>
                  </a:lnTo>
                  <a:lnTo>
                    <a:pt x="250" y="40"/>
                  </a:lnTo>
                  <a:lnTo>
                    <a:pt x="251" y="42"/>
                  </a:lnTo>
                  <a:lnTo>
                    <a:pt x="251" y="43"/>
                  </a:lnTo>
                  <a:lnTo>
                    <a:pt x="251" y="44"/>
                  </a:lnTo>
                  <a:lnTo>
                    <a:pt x="251" y="44"/>
                  </a:lnTo>
                  <a:lnTo>
                    <a:pt x="251" y="45"/>
                  </a:lnTo>
                  <a:lnTo>
                    <a:pt x="250" y="57"/>
                  </a:lnTo>
                  <a:lnTo>
                    <a:pt x="250" y="60"/>
                  </a:lnTo>
                  <a:lnTo>
                    <a:pt x="250" y="63"/>
                  </a:lnTo>
                  <a:lnTo>
                    <a:pt x="249" y="66"/>
                  </a:lnTo>
                  <a:lnTo>
                    <a:pt x="249" y="67"/>
                  </a:lnTo>
                  <a:lnTo>
                    <a:pt x="248" y="68"/>
                  </a:lnTo>
                  <a:lnTo>
                    <a:pt x="248" y="70"/>
                  </a:lnTo>
                  <a:lnTo>
                    <a:pt x="247" y="70"/>
                  </a:lnTo>
                  <a:lnTo>
                    <a:pt x="247" y="71"/>
                  </a:lnTo>
                  <a:lnTo>
                    <a:pt x="246" y="71"/>
                  </a:lnTo>
                  <a:lnTo>
                    <a:pt x="245" y="72"/>
                  </a:lnTo>
                  <a:lnTo>
                    <a:pt x="244" y="72"/>
                  </a:lnTo>
                  <a:lnTo>
                    <a:pt x="243" y="72"/>
                  </a:lnTo>
                  <a:lnTo>
                    <a:pt x="242" y="72"/>
                  </a:lnTo>
                  <a:lnTo>
                    <a:pt x="241" y="72"/>
                  </a:lnTo>
                  <a:lnTo>
                    <a:pt x="239" y="72"/>
                  </a:lnTo>
                  <a:lnTo>
                    <a:pt x="237" y="72"/>
                  </a:lnTo>
                  <a:lnTo>
                    <a:pt x="235" y="71"/>
                  </a:lnTo>
                  <a:lnTo>
                    <a:pt x="233" y="71"/>
                  </a:lnTo>
                  <a:lnTo>
                    <a:pt x="232" y="71"/>
                  </a:lnTo>
                  <a:lnTo>
                    <a:pt x="231" y="71"/>
                  </a:lnTo>
                  <a:lnTo>
                    <a:pt x="230" y="72"/>
                  </a:lnTo>
                  <a:lnTo>
                    <a:pt x="229" y="72"/>
                  </a:lnTo>
                  <a:lnTo>
                    <a:pt x="228" y="73"/>
                  </a:lnTo>
                  <a:lnTo>
                    <a:pt x="226" y="75"/>
                  </a:lnTo>
                  <a:lnTo>
                    <a:pt x="223" y="78"/>
                  </a:lnTo>
                  <a:lnTo>
                    <a:pt x="219" y="83"/>
                  </a:lnTo>
                  <a:lnTo>
                    <a:pt x="217" y="84"/>
                  </a:lnTo>
                  <a:lnTo>
                    <a:pt x="216" y="85"/>
                  </a:lnTo>
                  <a:lnTo>
                    <a:pt x="214" y="87"/>
                  </a:lnTo>
                  <a:lnTo>
                    <a:pt x="213" y="88"/>
                  </a:lnTo>
                  <a:lnTo>
                    <a:pt x="211" y="88"/>
                  </a:lnTo>
                  <a:lnTo>
                    <a:pt x="208" y="89"/>
                  </a:lnTo>
                  <a:lnTo>
                    <a:pt x="207" y="90"/>
                  </a:lnTo>
                  <a:lnTo>
                    <a:pt x="205" y="91"/>
                  </a:lnTo>
                  <a:lnTo>
                    <a:pt x="204" y="92"/>
                  </a:lnTo>
                  <a:lnTo>
                    <a:pt x="203" y="93"/>
                  </a:lnTo>
                  <a:lnTo>
                    <a:pt x="202" y="94"/>
                  </a:lnTo>
                  <a:lnTo>
                    <a:pt x="198" y="97"/>
                  </a:lnTo>
                  <a:lnTo>
                    <a:pt x="197" y="98"/>
                  </a:lnTo>
                  <a:lnTo>
                    <a:pt x="196" y="99"/>
                  </a:lnTo>
                  <a:lnTo>
                    <a:pt x="193" y="101"/>
                  </a:lnTo>
                  <a:lnTo>
                    <a:pt x="192" y="102"/>
                  </a:lnTo>
                  <a:lnTo>
                    <a:pt x="190" y="104"/>
                  </a:lnTo>
                  <a:lnTo>
                    <a:pt x="187" y="108"/>
                  </a:lnTo>
                  <a:lnTo>
                    <a:pt x="180" y="116"/>
                  </a:lnTo>
                  <a:lnTo>
                    <a:pt x="178" y="119"/>
                  </a:lnTo>
                  <a:lnTo>
                    <a:pt x="177" y="121"/>
                  </a:lnTo>
                  <a:lnTo>
                    <a:pt x="177" y="122"/>
                  </a:lnTo>
                  <a:lnTo>
                    <a:pt x="176" y="123"/>
                  </a:lnTo>
                  <a:lnTo>
                    <a:pt x="176" y="125"/>
                  </a:lnTo>
                  <a:lnTo>
                    <a:pt x="175" y="128"/>
                  </a:lnTo>
                  <a:lnTo>
                    <a:pt x="175" y="132"/>
                  </a:lnTo>
                  <a:lnTo>
                    <a:pt x="175" y="134"/>
                  </a:lnTo>
                  <a:lnTo>
                    <a:pt x="174" y="135"/>
                  </a:lnTo>
                  <a:lnTo>
                    <a:pt x="174" y="136"/>
                  </a:lnTo>
                  <a:lnTo>
                    <a:pt x="173" y="138"/>
                  </a:lnTo>
                  <a:lnTo>
                    <a:pt x="171" y="143"/>
                  </a:lnTo>
                  <a:lnTo>
                    <a:pt x="171" y="145"/>
                  </a:lnTo>
                  <a:lnTo>
                    <a:pt x="170" y="146"/>
                  </a:lnTo>
                  <a:lnTo>
                    <a:pt x="170" y="148"/>
                  </a:lnTo>
                  <a:lnTo>
                    <a:pt x="170" y="150"/>
                  </a:lnTo>
                  <a:lnTo>
                    <a:pt x="170" y="152"/>
                  </a:lnTo>
                  <a:lnTo>
                    <a:pt x="170" y="159"/>
                  </a:lnTo>
                  <a:lnTo>
                    <a:pt x="170" y="165"/>
                  </a:lnTo>
                  <a:lnTo>
                    <a:pt x="170" y="168"/>
                  </a:lnTo>
                  <a:lnTo>
                    <a:pt x="170" y="170"/>
                  </a:lnTo>
                  <a:lnTo>
                    <a:pt x="170" y="172"/>
                  </a:lnTo>
                  <a:lnTo>
                    <a:pt x="170" y="173"/>
                  </a:lnTo>
                  <a:lnTo>
                    <a:pt x="169" y="175"/>
                  </a:lnTo>
                  <a:lnTo>
                    <a:pt x="168" y="177"/>
                  </a:lnTo>
                  <a:lnTo>
                    <a:pt x="168" y="178"/>
                  </a:lnTo>
                  <a:lnTo>
                    <a:pt x="167" y="180"/>
                  </a:lnTo>
                  <a:lnTo>
                    <a:pt x="166" y="182"/>
                  </a:lnTo>
                  <a:lnTo>
                    <a:pt x="165" y="183"/>
                  </a:lnTo>
                  <a:lnTo>
                    <a:pt x="164" y="184"/>
                  </a:lnTo>
                  <a:lnTo>
                    <a:pt x="156" y="193"/>
                  </a:lnTo>
                  <a:lnTo>
                    <a:pt x="154" y="196"/>
                  </a:lnTo>
                  <a:lnTo>
                    <a:pt x="153" y="198"/>
                  </a:lnTo>
                  <a:lnTo>
                    <a:pt x="151" y="200"/>
                  </a:lnTo>
                  <a:lnTo>
                    <a:pt x="150" y="202"/>
                  </a:lnTo>
                  <a:lnTo>
                    <a:pt x="149" y="206"/>
                  </a:lnTo>
                  <a:lnTo>
                    <a:pt x="148" y="207"/>
                  </a:lnTo>
                  <a:lnTo>
                    <a:pt x="148" y="208"/>
                  </a:lnTo>
                  <a:lnTo>
                    <a:pt x="147" y="210"/>
                  </a:lnTo>
                  <a:lnTo>
                    <a:pt x="147" y="211"/>
                  </a:lnTo>
                  <a:lnTo>
                    <a:pt x="147" y="213"/>
                  </a:lnTo>
                  <a:lnTo>
                    <a:pt x="146" y="218"/>
                  </a:lnTo>
                  <a:lnTo>
                    <a:pt x="145" y="223"/>
                  </a:lnTo>
                  <a:lnTo>
                    <a:pt x="145" y="224"/>
                  </a:lnTo>
                  <a:lnTo>
                    <a:pt x="145" y="225"/>
                  </a:lnTo>
                  <a:lnTo>
                    <a:pt x="146" y="226"/>
                  </a:lnTo>
                  <a:lnTo>
                    <a:pt x="146" y="227"/>
                  </a:lnTo>
                  <a:lnTo>
                    <a:pt x="146" y="227"/>
                  </a:lnTo>
                  <a:lnTo>
                    <a:pt x="146" y="228"/>
                  </a:lnTo>
                  <a:lnTo>
                    <a:pt x="147" y="229"/>
                  </a:lnTo>
                  <a:lnTo>
                    <a:pt x="148" y="230"/>
                  </a:lnTo>
                  <a:lnTo>
                    <a:pt x="149" y="232"/>
                  </a:lnTo>
                  <a:lnTo>
                    <a:pt x="155" y="238"/>
                  </a:lnTo>
                  <a:lnTo>
                    <a:pt x="156" y="239"/>
                  </a:lnTo>
                  <a:lnTo>
                    <a:pt x="157" y="241"/>
                  </a:lnTo>
                  <a:lnTo>
                    <a:pt x="157" y="241"/>
                  </a:lnTo>
                  <a:lnTo>
                    <a:pt x="158" y="242"/>
                  </a:lnTo>
                  <a:lnTo>
                    <a:pt x="158" y="243"/>
                  </a:lnTo>
                  <a:lnTo>
                    <a:pt x="158" y="244"/>
                  </a:lnTo>
                  <a:lnTo>
                    <a:pt x="159" y="245"/>
                  </a:lnTo>
                  <a:lnTo>
                    <a:pt x="159" y="246"/>
                  </a:lnTo>
                  <a:lnTo>
                    <a:pt x="159" y="247"/>
                  </a:lnTo>
                  <a:lnTo>
                    <a:pt x="159" y="248"/>
                  </a:lnTo>
                  <a:lnTo>
                    <a:pt x="159" y="249"/>
                  </a:lnTo>
                  <a:lnTo>
                    <a:pt x="158" y="251"/>
                  </a:lnTo>
                  <a:lnTo>
                    <a:pt x="158" y="252"/>
                  </a:lnTo>
                  <a:lnTo>
                    <a:pt x="157" y="254"/>
                  </a:lnTo>
                  <a:lnTo>
                    <a:pt x="156" y="256"/>
                  </a:lnTo>
                  <a:lnTo>
                    <a:pt x="155" y="257"/>
                  </a:lnTo>
                  <a:lnTo>
                    <a:pt x="152" y="261"/>
                  </a:lnTo>
                  <a:lnTo>
                    <a:pt x="150" y="263"/>
                  </a:lnTo>
                  <a:lnTo>
                    <a:pt x="148" y="265"/>
                  </a:lnTo>
                  <a:lnTo>
                    <a:pt x="148" y="266"/>
                  </a:lnTo>
                  <a:lnTo>
                    <a:pt x="148" y="267"/>
                  </a:lnTo>
                  <a:lnTo>
                    <a:pt x="147" y="268"/>
                  </a:lnTo>
                  <a:lnTo>
                    <a:pt x="147" y="270"/>
                  </a:lnTo>
                  <a:lnTo>
                    <a:pt x="147" y="271"/>
                  </a:lnTo>
                  <a:lnTo>
                    <a:pt x="147" y="273"/>
                  </a:lnTo>
                  <a:lnTo>
                    <a:pt x="147" y="274"/>
                  </a:lnTo>
                  <a:lnTo>
                    <a:pt x="147" y="276"/>
                  </a:lnTo>
                  <a:lnTo>
                    <a:pt x="147" y="277"/>
                  </a:lnTo>
                  <a:lnTo>
                    <a:pt x="146" y="279"/>
                  </a:lnTo>
                  <a:lnTo>
                    <a:pt x="145" y="281"/>
                  </a:lnTo>
                  <a:lnTo>
                    <a:pt x="143" y="286"/>
                  </a:lnTo>
                  <a:lnTo>
                    <a:pt x="142" y="288"/>
                  </a:lnTo>
                  <a:lnTo>
                    <a:pt x="142" y="289"/>
                  </a:lnTo>
                  <a:lnTo>
                    <a:pt x="142" y="290"/>
                  </a:lnTo>
                  <a:lnTo>
                    <a:pt x="142" y="292"/>
                  </a:lnTo>
                  <a:lnTo>
                    <a:pt x="142" y="292"/>
                  </a:lnTo>
                  <a:lnTo>
                    <a:pt x="142" y="293"/>
                  </a:lnTo>
                  <a:lnTo>
                    <a:pt x="142" y="294"/>
                  </a:lnTo>
                  <a:lnTo>
                    <a:pt x="142" y="295"/>
                  </a:lnTo>
                  <a:lnTo>
                    <a:pt x="143" y="296"/>
                  </a:lnTo>
                  <a:lnTo>
                    <a:pt x="144" y="298"/>
                  </a:lnTo>
                  <a:lnTo>
                    <a:pt x="145" y="300"/>
                  </a:lnTo>
                  <a:lnTo>
                    <a:pt x="146" y="301"/>
                  </a:lnTo>
                  <a:lnTo>
                    <a:pt x="146" y="302"/>
                  </a:lnTo>
                  <a:lnTo>
                    <a:pt x="149" y="305"/>
                  </a:lnTo>
                  <a:lnTo>
                    <a:pt x="151" y="308"/>
                  </a:lnTo>
                  <a:lnTo>
                    <a:pt x="152" y="309"/>
                  </a:lnTo>
                  <a:lnTo>
                    <a:pt x="154" y="311"/>
                  </a:lnTo>
                  <a:lnTo>
                    <a:pt x="154" y="311"/>
                  </a:lnTo>
                  <a:lnTo>
                    <a:pt x="155" y="312"/>
                  </a:lnTo>
                  <a:lnTo>
                    <a:pt x="156" y="312"/>
                  </a:lnTo>
                  <a:lnTo>
                    <a:pt x="157" y="312"/>
                  </a:lnTo>
                  <a:lnTo>
                    <a:pt x="158" y="312"/>
                  </a:lnTo>
                  <a:lnTo>
                    <a:pt x="159" y="312"/>
                  </a:lnTo>
                  <a:lnTo>
                    <a:pt x="160" y="312"/>
                  </a:lnTo>
                  <a:lnTo>
                    <a:pt x="164" y="312"/>
                  </a:lnTo>
                  <a:lnTo>
                    <a:pt x="165" y="311"/>
                  </a:lnTo>
                  <a:lnTo>
                    <a:pt x="167" y="311"/>
                  </a:lnTo>
                  <a:lnTo>
                    <a:pt x="168" y="310"/>
                  </a:lnTo>
                  <a:lnTo>
                    <a:pt x="169" y="310"/>
                  </a:lnTo>
                  <a:lnTo>
                    <a:pt x="169" y="310"/>
                  </a:lnTo>
                  <a:lnTo>
                    <a:pt x="170" y="310"/>
                  </a:lnTo>
                  <a:lnTo>
                    <a:pt x="170" y="311"/>
                  </a:lnTo>
                  <a:lnTo>
                    <a:pt x="170" y="311"/>
                  </a:lnTo>
                  <a:lnTo>
                    <a:pt x="170" y="312"/>
                  </a:lnTo>
                  <a:lnTo>
                    <a:pt x="171" y="313"/>
                  </a:lnTo>
                  <a:lnTo>
                    <a:pt x="171" y="314"/>
                  </a:lnTo>
                  <a:lnTo>
                    <a:pt x="170" y="317"/>
                  </a:lnTo>
                  <a:lnTo>
                    <a:pt x="170" y="321"/>
                  </a:lnTo>
                  <a:lnTo>
                    <a:pt x="170" y="323"/>
                  </a:lnTo>
                  <a:lnTo>
                    <a:pt x="169" y="324"/>
                  </a:lnTo>
                  <a:lnTo>
                    <a:pt x="170" y="326"/>
                  </a:lnTo>
                  <a:lnTo>
                    <a:pt x="170" y="326"/>
                  </a:lnTo>
                  <a:lnTo>
                    <a:pt x="170" y="327"/>
                  </a:lnTo>
                  <a:lnTo>
                    <a:pt x="171" y="328"/>
                  </a:lnTo>
                  <a:lnTo>
                    <a:pt x="171" y="329"/>
                  </a:lnTo>
                  <a:lnTo>
                    <a:pt x="172" y="329"/>
                  </a:lnTo>
                  <a:lnTo>
                    <a:pt x="172" y="329"/>
                  </a:lnTo>
                  <a:lnTo>
                    <a:pt x="173" y="329"/>
                  </a:lnTo>
                  <a:lnTo>
                    <a:pt x="174" y="330"/>
                  </a:lnTo>
                  <a:lnTo>
                    <a:pt x="175" y="330"/>
                  </a:lnTo>
                  <a:lnTo>
                    <a:pt x="180" y="329"/>
                  </a:lnTo>
                  <a:lnTo>
                    <a:pt x="185" y="329"/>
                  </a:lnTo>
                  <a:lnTo>
                    <a:pt x="186" y="329"/>
                  </a:lnTo>
                  <a:lnTo>
                    <a:pt x="187" y="329"/>
                  </a:lnTo>
                  <a:lnTo>
                    <a:pt x="188" y="329"/>
                  </a:lnTo>
                  <a:lnTo>
                    <a:pt x="189" y="328"/>
                  </a:lnTo>
                  <a:lnTo>
                    <a:pt x="189" y="327"/>
                  </a:lnTo>
                  <a:lnTo>
                    <a:pt x="191" y="325"/>
                  </a:lnTo>
                  <a:lnTo>
                    <a:pt x="192" y="324"/>
                  </a:lnTo>
                  <a:lnTo>
                    <a:pt x="193" y="323"/>
                  </a:lnTo>
                  <a:lnTo>
                    <a:pt x="194" y="322"/>
                  </a:lnTo>
                  <a:lnTo>
                    <a:pt x="195" y="320"/>
                  </a:lnTo>
                  <a:lnTo>
                    <a:pt x="200" y="317"/>
                  </a:lnTo>
                  <a:lnTo>
                    <a:pt x="204" y="314"/>
                  </a:lnTo>
                  <a:lnTo>
                    <a:pt x="206" y="312"/>
                  </a:lnTo>
                  <a:lnTo>
                    <a:pt x="209" y="310"/>
                  </a:lnTo>
                  <a:lnTo>
                    <a:pt x="210" y="309"/>
                  </a:lnTo>
                  <a:lnTo>
                    <a:pt x="211" y="309"/>
                  </a:lnTo>
                  <a:lnTo>
                    <a:pt x="212" y="308"/>
                  </a:lnTo>
                  <a:lnTo>
                    <a:pt x="215" y="307"/>
                  </a:lnTo>
                  <a:lnTo>
                    <a:pt x="217" y="306"/>
                  </a:lnTo>
                  <a:lnTo>
                    <a:pt x="218" y="306"/>
                  </a:lnTo>
                  <a:lnTo>
                    <a:pt x="219" y="305"/>
                  </a:lnTo>
                  <a:lnTo>
                    <a:pt x="221" y="305"/>
                  </a:lnTo>
                  <a:lnTo>
                    <a:pt x="224" y="305"/>
                  </a:lnTo>
                  <a:lnTo>
                    <a:pt x="226" y="304"/>
                  </a:lnTo>
                  <a:lnTo>
                    <a:pt x="227" y="304"/>
                  </a:lnTo>
                  <a:lnTo>
                    <a:pt x="228" y="305"/>
                  </a:lnTo>
                  <a:lnTo>
                    <a:pt x="229" y="305"/>
                  </a:lnTo>
                  <a:lnTo>
                    <a:pt x="230" y="305"/>
                  </a:lnTo>
                  <a:lnTo>
                    <a:pt x="231" y="306"/>
                  </a:lnTo>
                  <a:lnTo>
                    <a:pt x="232" y="307"/>
                  </a:lnTo>
                  <a:lnTo>
                    <a:pt x="233" y="307"/>
                  </a:lnTo>
                  <a:lnTo>
                    <a:pt x="234" y="308"/>
                  </a:lnTo>
                  <a:lnTo>
                    <a:pt x="234" y="309"/>
                  </a:lnTo>
                  <a:lnTo>
                    <a:pt x="235" y="310"/>
                  </a:lnTo>
                  <a:lnTo>
                    <a:pt x="235" y="312"/>
                  </a:lnTo>
                  <a:lnTo>
                    <a:pt x="235" y="313"/>
                  </a:lnTo>
                  <a:lnTo>
                    <a:pt x="235" y="313"/>
                  </a:lnTo>
                  <a:lnTo>
                    <a:pt x="235" y="314"/>
                  </a:lnTo>
                  <a:lnTo>
                    <a:pt x="235" y="317"/>
                  </a:lnTo>
                  <a:lnTo>
                    <a:pt x="234" y="320"/>
                  </a:lnTo>
                  <a:lnTo>
                    <a:pt x="233" y="326"/>
                  </a:lnTo>
                  <a:lnTo>
                    <a:pt x="233" y="329"/>
                  </a:lnTo>
                  <a:lnTo>
                    <a:pt x="233" y="331"/>
                  </a:lnTo>
                  <a:lnTo>
                    <a:pt x="233" y="332"/>
                  </a:lnTo>
                  <a:lnTo>
                    <a:pt x="233" y="333"/>
                  </a:lnTo>
                  <a:lnTo>
                    <a:pt x="233" y="335"/>
                  </a:lnTo>
                  <a:lnTo>
                    <a:pt x="234" y="336"/>
                  </a:lnTo>
                  <a:lnTo>
                    <a:pt x="235" y="338"/>
                  </a:lnTo>
                  <a:lnTo>
                    <a:pt x="236" y="340"/>
                  </a:lnTo>
                  <a:lnTo>
                    <a:pt x="237" y="341"/>
                  </a:lnTo>
                  <a:lnTo>
                    <a:pt x="238" y="342"/>
                  </a:lnTo>
                  <a:lnTo>
                    <a:pt x="239" y="343"/>
                  </a:lnTo>
                  <a:lnTo>
                    <a:pt x="240" y="343"/>
                  </a:lnTo>
                  <a:lnTo>
                    <a:pt x="240" y="344"/>
                  </a:lnTo>
                  <a:lnTo>
                    <a:pt x="241" y="344"/>
                  </a:lnTo>
                  <a:lnTo>
                    <a:pt x="241" y="343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43" y="343"/>
                  </a:lnTo>
                  <a:lnTo>
                    <a:pt x="244" y="341"/>
                  </a:lnTo>
                  <a:lnTo>
                    <a:pt x="245" y="338"/>
                  </a:lnTo>
                  <a:lnTo>
                    <a:pt x="246" y="337"/>
                  </a:lnTo>
                  <a:lnTo>
                    <a:pt x="247" y="337"/>
                  </a:lnTo>
                  <a:lnTo>
                    <a:pt x="250" y="333"/>
                  </a:lnTo>
                  <a:lnTo>
                    <a:pt x="251" y="333"/>
                  </a:lnTo>
                  <a:lnTo>
                    <a:pt x="251" y="332"/>
                  </a:lnTo>
                  <a:lnTo>
                    <a:pt x="252" y="331"/>
                  </a:lnTo>
                  <a:lnTo>
                    <a:pt x="253" y="329"/>
                  </a:lnTo>
                  <a:lnTo>
                    <a:pt x="253" y="328"/>
                  </a:lnTo>
                  <a:lnTo>
                    <a:pt x="254" y="327"/>
                  </a:lnTo>
                  <a:lnTo>
                    <a:pt x="254" y="327"/>
                  </a:lnTo>
                  <a:lnTo>
                    <a:pt x="255" y="326"/>
                  </a:lnTo>
                  <a:lnTo>
                    <a:pt x="256" y="326"/>
                  </a:lnTo>
                  <a:lnTo>
                    <a:pt x="258" y="324"/>
                  </a:lnTo>
                  <a:lnTo>
                    <a:pt x="259" y="324"/>
                  </a:lnTo>
                  <a:lnTo>
                    <a:pt x="260" y="323"/>
                  </a:lnTo>
                  <a:lnTo>
                    <a:pt x="261" y="323"/>
                  </a:lnTo>
                  <a:lnTo>
                    <a:pt x="261" y="322"/>
                  </a:lnTo>
                  <a:lnTo>
                    <a:pt x="262" y="322"/>
                  </a:lnTo>
                  <a:lnTo>
                    <a:pt x="262" y="322"/>
                  </a:lnTo>
                  <a:lnTo>
                    <a:pt x="263" y="323"/>
                  </a:lnTo>
                  <a:lnTo>
                    <a:pt x="264" y="323"/>
                  </a:lnTo>
                  <a:lnTo>
                    <a:pt x="265" y="323"/>
                  </a:lnTo>
                  <a:lnTo>
                    <a:pt x="265" y="323"/>
                  </a:lnTo>
                  <a:lnTo>
                    <a:pt x="266" y="323"/>
                  </a:lnTo>
                  <a:lnTo>
                    <a:pt x="267" y="323"/>
                  </a:lnTo>
                  <a:lnTo>
                    <a:pt x="268" y="322"/>
                  </a:lnTo>
                  <a:lnTo>
                    <a:pt x="268" y="321"/>
                  </a:lnTo>
                  <a:lnTo>
                    <a:pt x="270" y="320"/>
                  </a:lnTo>
                  <a:lnTo>
                    <a:pt x="271" y="319"/>
                  </a:lnTo>
                  <a:lnTo>
                    <a:pt x="271" y="318"/>
                  </a:lnTo>
                  <a:lnTo>
                    <a:pt x="271" y="318"/>
                  </a:lnTo>
                  <a:lnTo>
                    <a:pt x="272" y="317"/>
                  </a:lnTo>
                  <a:lnTo>
                    <a:pt x="272" y="316"/>
                  </a:lnTo>
                  <a:lnTo>
                    <a:pt x="272" y="314"/>
                  </a:lnTo>
                  <a:lnTo>
                    <a:pt x="272" y="313"/>
                  </a:lnTo>
                  <a:lnTo>
                    <a:pt x="271" y="312"/>
                  </a:lnTo>
                  <a:lnTo>
                    <a:pt x="269" y="302"/>
                  </a:lnTo>
                  <a:lnTo>
                    <a:pt x="269" y="300"/>
                  </a:lnTo>
                  <a:lnTo>
                    <a:pt x="269" y="299"/>
                  </a:lnTo>
                  <a:lnTo>
                    <a:pt x="269" y="298"/>
                  </a:lnTo>
                  <a:lnTo>
                    <a:pt x="269" y="297"/>
                  </a:lnTo>
                  <a:lnTo>
                    <a:pt x="270" y="297"/>
                  </a:lnTo>
                  <a:lnTo>
                    <a:pt x="270" y="296"/>
                  </a:lnTo>
                  <a:lnTo>
                    <a:pt x="271" y="296"/>
                  </a:lnTo>
                  <a:lnTo>
                    <a:pt x="272" y="296"/>
                  </a:lnTo>
                  <a:lnTo>
                    <a:pt x="273" y="296"/>
                  </a:lnTo>
                  <a:lnTo>
                    <a:pt x="275" y="296"/>
                  </a:lnTo>
                  <a:lnTo>
                    <a:pt x="276" y="296"/>
                  </a:lnTo>
                  <a:lnTo>
                    <a:pt x="276" y="297"/>
                  </a:lnTo>
                  <a:lnTo>
                    <a:pt x="276" y="297"/>
                  </a:lnTo>
                  <a:lnTo>
                    <a:pt x="277" y="298"/>
                  </a:lnTo>
                  <a:lnTo>
                    <a:pt x="277" y="299"/>
                  </a:lnTo>
                  <a:lnTo>
                    <a:pt x="279" y="302"/>
                  </a:lnTo>
                  <a:lnTo>
                    <a:pt x="281" y="306"/>
                  </a:lnTo>
                  <a:lnTo>
                    <a:pt x="282" y="308"/>
                  </a:lnTo>
                  <a:lnTo>
                    <a:pt x="283" y="310"/>
                  </a:lnTo>
                  <a:lnTo>
                    <a:pt x="283" y="312"/>
                  </a:lnTo>
                  <a:lnTo>
                    <a:pt x="283" y="314"/>
                  </a:lnTo>
                  <a:lnTo>
                    <a:pt x="283" y="317"/>
                  </a:lnTo>
                  <a:lnTo>
                    <a:pt x="283" y="318"/>
                  </a:lnTo>
                  <a:lnTo>
                    <a:pt x="284" y="320"/>
                  </a:lnTo>
                  <a:lnTo>
                    <a:pt x="284" y="321"/>
                  </a:lnTo>
                  <a:lnTo>
                    <a:pt x="285" y="324"/>
                  </a:lnTo>
                  <a:lnTo>
                    <a:pt x="286" y="325"/>
                  </a:lnTo>
                  <a:lnTo>
                    <a:pt x="288" y="329"/>
                  </a:lnTo>
                  <a:lnTo>
                    <a:pt x="288" y="330"/>
                  </a:lnTo>
                  <a:lnTo>
                    <a:pt x="289" y="331"/>
                  </a:lnTo>
                  <a:lnTo>
                    <a:pt x="290" y="332"/>
                  </a:lnTo>
                  <a:lnTo>
                    <a:pt x="290" y="333"/>
                  </a:lnTo>
                  <a:lnTo>
                    <a:pt x="290" y="334"/>
                  </a:lnTo>
                  <a:lnTo>
                    <a:pt x="290" y="335"/>
                  </a:lnTo>
                  <a:lnTo>
                    <a:pt x="291" y="337"/>
                  </a:lnTo>
                  <a:lnTo>
                    <a:pt x="291" y="339"/>
                  </a:lnTo>
                  <a:lnTo>
                    <a:pt x="291" y="340"/>
                  </a:lnTo>
                  <a:lnTo>
                    <a:pt x="292" y="341"/>
                  </a:lnTo>
                  <a:lnTo>
                    <a:pt x="292" y="342"/>
                  </a:lnTo>
                  <a:lnTo>
                    <a:pt x="293" y="343"/>
                  </a:lnTo>
                  <a:lnTo>
                    <a:pt x="297" y="347"/>
                  </a:lnTo>
                  <a:lnTo>
                    <a:pt x="298" y="348"/>
                  </a:lnTo>
                  <a:lnTo>
                    <a:pt x="299" y="350"/>
                  </a:lnTo>
                  <a:lnTo>
                    <a:pt x="300" y="352"/>
                  </a:lnTo>
                  <a:lnTo>
                    <a:pt x="301" y="354"/>
                  </a:lnTo>
                  <a:lnTo>
                    <a:pt x="302" y="355"/>
                  </a:lnTo>
                  <a:lnTo>
                    <a:pt x="303" y="356"/>
                  </a:lnTo>
                  <a:lnTo>
                    <a:pt x="304" y="357"/>
                  </a:lnTo>
                  <a:lnTo>
                    <a:pt x="306" y="358"/>
                  </a:lnTo>
                  <a:lnTo>
                    <a:pt x="306" y="358"/>
                  </a:lnTo>
                  <a:lnTo>
                    <a:pt x="309" y="359"/>
                  </a:lnTo>
                  <a:lnTo>
                    <a:pt x="310" y="360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15" y="364"/>
                  </a:lnTo>
                  <a:lnTo>
                    <a:pt x="316" y="365"/>
                  </a:lnTo>
                  <a:lnTo>
                    <a:pt x="318" y="366"/>
                  </a:lnTo>
                  <a:lnTo>
                    <a:pt x="319" y="367"/>
                  </a:lnTo>
                  <a:lnTo>
                    <a:pt x="325" y="370"/>
                  </a:lnTo>
                  <a:lnTo>
                    <a:pt x="328" y="371"/>
                  </a:lnTo>
                  <a:lnTo>
                    <a:pt x="329" y="371"/>
                  </a:lnTo>
                  <a:lnTo>
                    <a:pt x="330" y="371"/>
                  </a:lnTo>
                  <a:lnTo>
                    <a:pt x="335" y="372"/>
                  </a:lnTo>
                  <a:lnTo>
                    <a:pt x="336" y="372"/>
                  </a:lnTo>
                  <a:lnTo>
                    <a:pt x="337" y="372"/>
                  </a:lnTo>
                  <a:lnTo>
                    <a:pt x="338" y="372"/>
                  </a:lnTo>
                  <a:lnTo>
                    <a:pt x="339" y="372"/>
                  </a:lnTo>
                  <a:lnTo>
                    <a:pt x="340" y="372"/>
                  </a:lnTo>
                  <a:lnTo>
                    <a:pt x="343" y="370"/>
                  </a:lnTo>
                  <a:lnTo>
                    <a:pt x="346" y="369"/>
                  </a:lnTo>
                  <a:lnTo>
                    <a:pt x="348" y="368"/>
                  </a:lnTo>
                  <a:lnTo>
                    <a:pt x="350" y="368"/>
                  </a:lnTo>
                  <a:lnTo>
                    <a:pt x="357" y="365"/>
                  </a:lnTo>
                  <a:lnTo>
                    <a:pt x="359" y="365"/>
                  </a:lnTo>
                  <a:lnTo>
                    <a:pt x="363" y="364"/>
                  </a:lnTo>
                  <a:lnTo>
                    <a:pt x="364" y="364"/>
                  </a:lnTo>
                  <a:lnTo>
                    <a:pt x="364" y="364"/>
                  </a:lnTo>
                  <a:lnTo>
                    <a:pt x="365" y="364"/>
                  </a:lnTo>
                  <a:lnTo>
                    <a:pt x="366" y="364"/>
                  </a:lnTo>
                  <a:lnTo>
                    <a:pt x="367" y="364"/>
                  </a:lnTo>
                  <a:lnTo>
                    <a:pt x="367" y="365"/>
                  </a:lnTo>
                  <a:lnTo>
                    <a:pt x="368" y="365"/>
                  </a:lnTo>
                  <a:lnTo>
                    <a:pt x="369" y="365"/>
                  </a:lnTo>
                  <a:lnTo>
                    <a:pt x="370" y="366"/>
                  </a:lnTo>
                  <a:lnTo>
                    <a:pt x="371" y="368"/>
                  </a:lnTo>
                  <a:lnTo>
                    <a:pt x="371" y="369"/>
                  </a:lnTo>
                  <a:lnTo>
                    <a:pt x="372" y="370"/>
                  </a:lnTo>
                  <a:lnTo>
                    <a:pt x="373" y="372"/>
                  </a:lnTo>
                  <a:lnTo>
                    <a:pt x="373" y="374"/>
                  </a:lnTo>
                  <a:lnTo>
                    <a:pt x="374" y="377"/>
                  </a:lnTo>
                  <a:lnTo>
                    <a:pt x="374" y="379"/>
                  </a:lnTo>
                  <a:lnTo>
                    <a:pt x="374" y="380"/>
                  </a:lnTo>
                  <a:lnTo>
                    <a:pt x="375" y="382"/>
                  </a:lnTo>
                  <a:lnTo>
                    <a:pt x="374" y="384"/>
                  </a:lnTo>
                  <a:lnTo>
                    <a:pt x="374" y="385"/>
                  </a:lnTo>
                  <a:lnTo>
                    <a:pt x="374" y="387"/>
                  </a:lnTo>
                  <a:lnTo>
                    <a:pt x="374" y="388"/>
                  </a:lnTo>
                  <a:lnTo>
                    <a:pt x="372" y="394"/>
                  </a:lnTo>
                  <a:lnTo>
                    <a:pt x="372" y="397"/>
                  </a:lnTo>
                  <a:lnTo>
                    <a:pt x="372" y="398"/>
                  </a:lnTo>
                  <a:lnTo>
                    <a:pt x="372" y="400"/>
                  </a:lnTo>
                  <a:lnTo>
                    <a:pt x="371" y="401"/>
                  </a:lnTo>
                  <a:lnTo>
                    <a:pt x="371" y="403"/>
                  </a:lnTo>
                  <a:lnTo>
                    <a:pt x="372" y="405"/>
                  </a:lnTo>
                  <a:lnTo>
                    <a:pt x="372" y="407"/>
                  </a:lnTo>
                  <a:lnTo>
                    <a:pt x="372" y="409"/>
                  </a:lnTo>
                  <a:lnTo>
                    <a:pt x="373" y="411"/>
                  </a:lnTo>
                  <a:lnTo>
                    <a:pt x="373" y="413"/>
                  </a:lnTo>
                  <a:lnTo>
                    <a:pt x="374" y="415"/>
                  </a:lnTo>
                  <a:lnTo>
                    <a:pt x="375" y="416"/>
                  </a:lnTo>
                  <a:lnTo>
                    <a:pt x="376" y="417"/>
                  </a:lnTo>
                  <a:lnTo>
                    <a:pt x="376" y="418"/>
                  </a:lnTo>
                  <a:lnTo>
                    <a:pt x="377" y="419"/>
                  </a:lnTo>
                  <a:lnTo>
                    <a:pt x="379" y="420"/>
                  </a:lnTo>
                  <a:lnTo>
                    <a:pt x="380" y="421"/>
                  </a:lnTo>
                  <a:lnTo>
                    <a:pt x="382" y="422"/>
                  </a:lnTo>
                  <a:lnTo>
                    <a:pt x="383" y="423"/>
                  </a:lnTo>
                  <a:lnTo>
                    <a:pt x="385" y="424"/>
                  </a:lnTo>
                  <a:lnTo>
                    <a:pt x="386" y="424"/>
                  </a:lnTo>
                  <a:lnTo>
                    <a:pt x="387" y="424"/>
                  </a:lnTo>
                  <a:lnTo>
                    <a:pt x="388" y="424"/>
                  </a:lnTo>
                  <a:lnTo>
                    <a:pt x="389" y="424"/>
                  </a:lnTo>
                  <a:lnTo>
                    <a:pt x="390" y="424"/>
                  </a:lnTo>
                  <a:lnTo>
                    <a:pt x="391" y="424"/>
                  </a:lnTo>
                  <a:lnTo>
                    <a:pt x="391" y="423"/>
                  </a:lnTo>
                  <a:lnTo>
                    <a:pt x="393" y="422"/>
                  </a:lnTo>
                  <a:lnTo>
                    <a:pt x="394" y="422"/>
                  </a:lnTo>
                  <a:lnTo>
                    <a:pt x="394" y="421"/>
                  </a:lnTo>
                  <a:lnTo>
                    <a:pt x="395" y="421"/>
                  </a:lnTo>
                  <a:lnTo>
                    <a:pt x="396" y="421"/>
                  </a:lnTo>
                  <a:lnTo>
                    <a:pt x="396" y="421"/>
                  </a:lnTo>
                  <a:lnTo>
                    <a:pt x="397" y="421"/>
                  </a:lnTo>
                  <a:lnTo>
                    <a:pt x="397" y="422"/>
                  </a:lnTo>
                  <a:lnTo>
                    <a:pt x="398" y="422"/>
                  </a:lnTo>
                  <a:lnTo>
                    <a:pt x="400" y="423"/>
                  </a:lnTo>
                  <a:lnTo>
                    <a:pt x="401" y="424"/>
                  </a:lnTo>
                  <a:lnTo>
                    <a:pt x="402" y="426"/>
                  </a:lnTo>
                  <a:lnTo>
                    <a:pt x="404" y="428"/>
                  </a:lnTo>
                  <a:lnTo>
                    <a:pt x="405" y="430"/>
                  </a:lnTo>
                  <a:lnTo>
                    <a:pt x="406" y="431"/>
                  </a:lnTo>
                  <a:lnTo>
                    <a:pt x="407" y="433"/>
                  </a:lnTo>
                  <a:lnTo>
                    <a:pt x="409" y="437"/>
                  </a:lnTo>
                  <a:lnTo>
                    <a:pt x="410" y="438"/>
                  </a:lnTo>
                  <a:lnTo>
                    <a:pt x="411" y="441"/>
                  </a:lnTo>
                  <a:lnTo>
                    <a:pt x="412" y="442"/>
                  </a:lnTo>
                  <a:lnTo>
                    <a:pt x="413" y="443"/>
                  </a:lnTo>
                  <a:lnTo>
                    <a:pt x="414" y="444"/>
                  </a:lnTo>
                  <a:lnTo>
                    <a:pt x="415" y="444"/>
                  </a:lnTo>
                  <a:lnTo>
                    <a:pt x="425" y="452"/>
                  </a:lnTo>
                  <a:lnTo>
                    <a:pt x="427" y="454"/>
                  </a:lnTo>
                  <a:lnTo>
                    <a:pt x="429" y="455"/>
                  </a:lnTo>
                  <a:lnTo>
                    <a:pt x="434" y="460"/>
                  </a:lnTo>
                  <a:lnTo>
                    <a:pt x="437" y="463"/>
                  </a:lnTo>
                  <a:lnTo>
                    <a:pt x="438" y="465"/>
                  </a:lnTo>
                  <a:lnTo>
                    <a:pt x="441" y="468"/>
                  </a:lnTo>
                  <a:lnTo>
                    <a:pt x="443" y="471"/>
                  </a:lnTo>
                  <a:lnTo>
                    <a:pt x="445" y="474"/>
                  </a:lnTo>
                  <a:lnTo>
                    <a:pt x="447" y="478"/>
                  </a:lnTo>
                  <a:lnTo>
                    <a:pt x="448" y="479"/>
                  </a:lnTo>
                  <a:lnTo>
                    <a:pt x="448" y="481"/>
                  </a:lnTo>
                  <a:lnTo>
                    <a:pt x="448" y="482"/>
                  </a:lnTo>
                  <a:lnTo>
                    <a:pt x="448" y="482"/>
                  </a:lnTo>
                  <a:lnTo>
                    <a:pt x="448" y="483"/>
                  </a:lnTo>
                  <a:lnTo>
                    <a:pt x="448" y="484"/>
                  </a:lnTo>
                  <a:lnTo>
                    <a:pt x="448" y="485"/>
                  </a:lnTo>
                  <a:lnTo>
                    <a:pt x="447" y="487"/>
                  </a:lnTo>
                  <a:lnTo>
                    <a:pt x="446" y="488"/>
                  </a:lnTo>
                  <a:lnTo>
                    <a:pt x="446" y="490"/>
                  </a:lnTo>
                  <a:lnTo>
                    <a:pt x="446" y="491"/>
                  </a:lnTo>
                  <a:lnTo>
                    <a:pt x="446" y="491"/>
                  </a:lnTo>
                  <a:lnTo>
                    <a:pt x="446" y="492"/>
                  </a:lnTo>
                  <a:lnTo>
                    <a:pt x="446" y="494"/>
                  </a:lnTo>
                  <a:lnTo>
                    <a:pt x="447" y="495"/>
                  </a:lnTo>
                  <a:lnTo>
                    <a:pt x="447" y="496"/>
                  </a:lnTo>
                  <a:lnTo>
                    <a:pt x="448" y="497"/>
                  </a:lnTo>
                  <a:lnTo>
                    <a:pt x="449" y="497"/>
                  </a:lnTo>
                  <a:lnTo>
                    <a:pt x="449" y="498"/>
                  </a:lnTo>
                  <a:lnTo>
                    <a:pt x="450" y="498"/>
                  </a:lnTo>
                  <a:lnTo>
                    <a:pt x="451" y="498"/>
                  </a:lnTo>
                  <a:lnTo>
                    <a:pt x="451" y="497"/>
                  </a:lnTo>
                  <a:lnTo>
                    <a:pt x="452" y="497"/>
                  </a:lnTo>
                  <a:lnTo>
                    <a:pt x="455" y="494"/>
                  </a:lnTo>
                  <a:lnTo>
                    <a:pt x="457" y="493"/>
                  </a:lnTo>
                  <a:lnTo>
                    <a:pt x="458" y="492"/>
                  </a:lnTo>
                  <a:lnTo>
                    <a:pt x="459" y="491"/>
                  </a:lnTo>
                  <a:lnTo>
                    <a:pt x="460" y="491"/>
                  </a:lnTo>
                  <a:lnTo>
                    <a:pt x="462" y="491"/>
                  </a:lnTo>
                  <a:lnTo>
                    <a:pt x="463" y="491"/>
                  </a:lnTo>
                  <a:lnTo>
                    <a:pt x="464" y="491"/>
                  </a:lnTo>
                  <a:lnTo>
                    <a:pt x="464" y="491"/>
                  </a:lnTo>
                  <a:lnTo>
                    <a:pt x="465" y="491"/>
                  </a:lnTo>
                  <a:lnTo>
                    <a:pt x="465" y="491"/>
                  </a:lnTo>
                  <a:lnTo>
                    <a:pt x="466" y="491"/>
                  </a:lnTo>
                  <a:lnTo>
                    <a:pt x="466" y="492"/>
                  </a:lnTo>
                  <a:lnTo>
                    <a:pt x="468" y="493"/>
                  </a:lnTo>
                  <a:lnTo>
                    <a:pt x="469" y="495"/>
                  </a:lnTo>
                  <a:lnTo>
                    <a:pt x="470" y="497"/>
                  </a:lnTo>
                  <a:lnTo>
                    <a:pt x="472" y="502"/>
                  </a:lnTo>
                  <a:lnTo>
                    <a:pt x="473" y="505"/>
                  </a:lnTo>
                  <a:lnTo>
                    <a:pt x="474" y="506"/>
                  </a:lnTo>
                  <a:lnTo>
                    <a:pt x="474" y="506"/>
                  </a:lnTo>
                  <a:lnTo>
                    <a:pt x="474" y="507"/>
                  </a:lnTo>
                  <a:lnTo>
                    <a:pt x="474" y="508"/>
                  </a:lnTo>
                  <a:lnTo>
                    <a:pt x="473" y="509"/>
                  </a:lnTo>
                  <a:lnTo>
                    <a:pt x="473" y="510"/>
                  </a:lnTo>
                  <a:lnTo>
                    <a:pt x="472" y="511"/>
                  </a:lnTo>
                  <a:lnTo>
                    <a:pt x="471" y="513"/>
                  </a:lnTo>
                  <a:lnTo>
                    <a:pt x="470" y="516"/>
                  </a:lnTo>
                  <a:lnTo>
                    <a:pt x="468" y="518"/>
                  </a:lnTo>
                  <a:lnTo>
                    <a:pt x="467" y="519"/>
                  </a:lnTo>
                  <a:lnTo>
                    <a:pt x="467" y="519"/>
                  </a:lnTo>
                  <a:lnTo>
                    <a:pt x="466" y="520"/>
                  </a:lnTo>
                  <a:lnTo>
                    <a:pt x="465" y="521"/>
                  </a:lnTo>
                  <a:lnTo>
                    <a:pt x="464" y="521"/>
                  </a:lnTo>
                  <a:lnTo>
                    <a:pt x="463" y="522"/>
                  </a:lnTo>
                  <a:lnTo>
                    <a:pt x="462" y="522"/>
                  </a:lnTo>
                  <a:lnTo>
                    <a:pt x="462" y="522"/>
                  </a:lnTo>
                  <a:lnTo>
                    <a:pt x="461" y="522"/>
                  </a:lnTo>
                  <a:lnTo>
                    <a:pt x="460" y="522"/>
                  </a:lnTo>
                  <a:lnTo>
                    <a:pt x="459" y="522"/>
                  </a:lnTo>
                  <a:lnTo>
                    <a:pt x="458" y="522"/>
                  </a:lnTo>
                  <a:lnTo>
                    <a:pt x="456" y="522"/>
                  </a:lnTo>
                  <a:lnTo>
                    <a:pt x="454" y="521"/>
                  </a:lnTo>
                  <a:lnTo>
                    <a:pt x="450" y="520"/>
                  </a:lnTo>
                  <a:lnTo>
                    <a:pt x="448" y="520"/>
                  </a:lnTo>
                  <a:lnTo>
                    <a:pt x="446" y="520"/>
                  </a:lnTo>
                  <a:lnTo>
                    <a:pt x="445" y="520"/>
                  </a:lnTo>
                  <a:lnTo>
                    <a:pt x="445" y="520"/>
                  </a:lnTo>
                  <a:lnTo>
                    <a:pt x="444" y="520"/>
                  </a:lnTo>
                  <a:lnTo>
                    <a:pt x="443" y="521"/>
                  </a:lnTo>
                  <a:lnTo>
                    <a:pt x="442" y="522"/>
                  </a:lnTo>
                  <a:lnTo>
                    <a:pt x="441" y="525"/>
                  </a:lnTo>
                  <a:lnTo>
                    <a:pt x="440" y="526"/>
                  </a:lnTo>
                  <a:lnTo>
                    <a:pt x="439" y="527"/>
                  </a:lnTo>
                  <a:lnTo>
                    <a:pt x="439" y="528"/>
                  </a:lnTo>
                  <a:lnTo>
                    <a:pt x="438" y="529"/>
                  </a:lnTo>
                  <a:lnTo>
                    <a:pt x="437" y="530"/>
                  </a:lnTo>
                  <a:lnTo>
                    <a:pt x="436" y="531"/>
                  </a:lnTo>
                  <a:lnTo>
                    <a:pt x="433" y="533"/>
                  </a:lnTo>
                  <a:lnTo>
                    <a:pt x="431" y="534"/>
                  </a:lnTo>
                  <a:lnTo>
                    <a:pt x="430" y="535"/>
                  </a:lnTo>
                  <a:lnTo>
                    <a:pt x="428" y="538"/>
                  </a:lnTo>
                  <a:lnTo>
                    <a:pt x="425" y="540"/>
                  </a:lnTo>
                  <a:lnTo>
                    <a:pt x="425" y="541"/>
                  </a:lnTo>
                  <a:lnTo>
                    <a:pt x="424" y="542"/>
                  </a:lnTo>
                  <a:lnTo>
                    <a:pt x="424" y="543"/>
                  </a:lnTo>
                  <a:lnTo>
                    <a:pt x="423" y="544"/>
                  </a:lnTo>
                  <a:lnTo>
                    <a:pt x="423" y="545"/>
                  </a:lnTo>
                  <a:lnTo>
                    <a:pt x="423" y="549"/>
                  </a:lnTo>
                  <a:lnTo>
                    <a:pt x="423" y="551"/>
                  </a:lnTo>
                  <a:lnTo>
                    <a:pt x="423" y="552"/>
                  </a:lnTo>
                  <a:lnTo>
                    <a:pt x="422" y="555"/>
                  </a:lnTo>
                  <a:lnTo>
                    <a:pt x="421" y="557"/>
                  </a:lnTo>
                  <a:lnTo>
                    <a:pt x="419" y="561"/>
                  </a:lnTo>
                  <a:lnTo>
                    <a:pt x="418" y="565"/>
                  </a:lnTo>
                  <a:lnTo>
                    <a:pt x="416" y="569"/>
                  </a:lnTo>
                  <a:lnTo>
                    <a:pt x="416" y="570"/>
                  </a:lnTo>
                  <a:lnTo>
                    <a:pt x="415" y="570"/>
                  </a:lnTo>
                  <a:lnTo>
                    <a:pt x="414" y="571"/>
                  </a:lnTo>
                  <a:lnTo>
                    <a:pt x="413" y="572"/>
                  </a:lnTo>
                  <a:lnTo>
                    <a:pt x="413" y="572"/>
                  </a:lnTo>
                  <a:lnTo>
                    <a:pt x="413" y="573"/>
                  </a:lnTo>
                  <a:lnTo>
                    <a:pt x="411" y="573"/>
                  </a:lnTo>
                  <a:lnTo>
                    <a:pt x="407" y="574"/>
                  </a:lnTo>
                  <a:lnTo>
                    <a:pt x="404" y="575"/>
                  </a:lnTo>
                  <a:lnTo>
                    <a:pt x="402" y="575"/>
                  </a:lnTo>
                  <a:lnTo>
                    <a:pt x="401" y="575"/>
                  </a:lnTo>
                  <a:lnTo>
                    <a:pt x="399" y="575"/>
                  </a:lnTo>
                  <a:lnTo>
                    <a:pt x="397" y="574"/>
                  </a:lnTo>
                  <a:lnTo>
                    <a:pt x="396" y="574"/>
                  </a:lnTo>
                  <a:lnTo>
                    <a:pt x="394" y="573"/>
                  </a:lnTo>
                  <a:lnTo>
                    <a:pt x="393" y="573"/>
                  </a:lnTo>
                  <a:lnTo>
                    <a:pt x="392" y="572"/>
                  </a:lnTo>
                  <a:lnTo>
                    <a:pt x="391" y="571"/>
                  </a:lnTo>
                  <a:lnTo>
                    <a:pt x="390" y="570"/>
                  </a:lnTo>
                  <a:lnTo>
                    <a:pt x="387" y="568"/>
                  </a:lnTo>
                  <a:lnTo>
                    <a:pt x="386" y="566"/>
                  </a:lnTo>
                  <a:lnTo>
                    <a:pt x="384" y="565"/>
                  </a:lnTo>
                  <a:lnTo>
                    <a:pt x="382" y="564"/>
                  </a:lnTo>
                  <a:lnTo>
                    <a:pt x="381" y="563"/>
                  </a:lnTo>
                  <a:lnTo>
                    <a:pt x="380" y="563"/>
                  </a:lnTo>
                  <a:lnTo>
                    <a:pt x="379" y="562"/>
                  </a:lnTo>
                  <a:lnTo>
                    <a:pt x="378" y="562"/>
                  </a:lnTo>
                  <a:lnTo>
                    <a:pt x="376" y="562"/>
                  </a:lnTo>
                  <a:lnTo>
                    <a:pt x="375" y="562"/>
                  </a:lnTo>
                  <a:lnTo>
                    <a:pt x="374" y="563"/>
                  </a:lnTo>
                  <a:lnTo>
                    <a:pt x="374" y="563"/>
                  </a:lnTo>
                  <a:lnTo>
                    <a:pt x="373" y="564"/>
                  </a:lnTo>
                  <a:lnTo>
                    <a:pt x="372" y="565"/>
                  </a:lnTo>
                  <a:lnTo>
                    <a:pt x="370" y="568"/>
                  </a:lnTo>
                  <a:lnTo>
                    <a:pt x="369" y="569"/>
                  </a:lnTo>
                  <a:lnTo>
                    <a:pt x="369" y="569"/>
                  </a:lnTo>
                  <a:lnTo>
                    <a:pt x="368" y="570"/>
                  </a:lnTo>
                  <a:lnTo>
                    <a:pt x="368" y="570"/>
                  </a:lnTo>
                  <a:lnTo>
                    <a:pt x="367" y="571"/>
                  </a:lnTo>
                  <a:lnTo>
                    <a:pt x="367" y="571"/>
                  </a:lnTo>
                  <a:lnTo>
                    <a:pt x="366" y="571"/>
                  </a:lnTo>
                  <a:lnTo>
                    <a:pt x="365" y="571"/>
                  </a:lnTo>
                  <a:lnTo>
                    <a:pt x="364" y="570"/>
                  </a:lnTo>
                  <a:lnTo>
                    <a:pt x="361" y="570"/>
                  </a:lnTo>
                  <a:lnTo>
                    <a:pt x="360" y="570"/>
                  </a:lnTo>
                  <a:lnTo>
                    <a:pt x="359" y="570"/>
                  </a:lnTo>
                  <a:lnTo>
                    <a:pt x="358" y="570"/>
                  </a:lnTo>
                  <a:lnTo>
                    <a:pt x="357" y="570"/>
                  </a:lnTo>
                  <a:lnTo>
                    <a:pt x="356" y="570"/>
                  </a:lnTo>
                  <a:lnTo>
                    <a:pt x="356" y="570"/>
                  </a:lnTo>
                  <a:lnTo>
                    <a:pt x="355" y="571"/>
                  </a:lnTo>
                  <a:lnTo>
                    <a:pt x="355" y="571"/>
                  </a:lnTo>
                  <a:lnTo>
                    <a:pt x="354" y="571"/>
                  </a:lnTo>
                  <a:lnTo>
                    <a:pt x="354" y="572"/>
                  </a:lnTo>
                  <a:lnTo>
                    <a:pt x="354" y="572"/>
                  </a:lnTo>
                  <a:lnTo>
                    <a:pt x="354" y="573"/>
                  </a:lnTo>
                  <a:lnTo>
                    <a:pt x="354" y="573"/>
                  </a:lnTo>
                  <a:lnTo>
                    <a:pt x="354" y="574"/>
                  </a:lnTo>
                  <a:lnTo>
                    <a:pt x="354" y="575"/>
                  </a:lnTo>
                  <a:lnTo>
                    <a:pt x="355" y="576"/>
                  </a:lnTo>
                  <a:lnTo>
                    <a:pt x="358" y="582"/>
                  </a:lnTo>
                  <a:lnTo>
                    <a:pt x="359" y="585"/>
                  </a:lnTo>
                  <a:lnTo>
                    <a:pt x="359" y="586"/>
                  </a:lnTo>
                  <a:lnTo>
                    <a:pt x="359" y="587"/>
                  </a:lnTo>
                  <a:lnTo>
                    <a:pt x="360" y="589"/>
                  </a:lnTo>
                  <a:lnTo>
                    <a:pt x="360" y="590"/>
                  </a:lnTo>
                  <a:lnTo>
                    <a:pt x="359" y="591"/>
                  </a:lnTo>
                  <a:lnTo>
                    <a:pt x="359" y="592"/>
                  </a:lnTo>
                  <a:lnTo>
                    <a:pt x="359" y="593"/>
                  </a:lnTo>
                  <a:lnTo>
                    <a:pt x="358" y="594"/>
                  </a:lnTo>
                  <a:lnTo>
                    <a:pt x="358" y="596"/>
                  </a:lnTo>
                  <a:lnTo>
                    <a:pt x="357" y="597"/>
                  </a:lnTo>
                  <a:lnTo>
                    <a:pt x="355" y="598"/>
                  </a:lnTo>
                  <a:lnTo>
                    <a:pt x="355" y="599"/>
                  </a:lnTo>
                  <a:lnTo>
                    <a:pt x="354" y="600"/>
                  </a:lnTo>
                  <a:lnTo>
                    <a:pt x="353" y="600"/>
                  </a:lnTo>
                  <a:lnTo>
                    <a:pt x="352" y="601"/>
                  </a:lnTo>
                  <a:lnTo>
                    <a:pt x="351" y="601"/>
                  </a:lnTo>
                  <a:lnTo>
                    <a:pt x="349" y="602"/>
                  </a:lnTo>
                  <a:lnTo>
                    <a:pt x="348" y="602"/>
                  </a:lnTo>
                  <a:lnTo>
                    <a:pt x="347" y="602"/>
                  </a:lnTo>
                  <a:lnTo>
                    <a:pt x="345" y="602"/>
                  </a:lnTo>
                  <a:lnTo>
                    <a:pt x="344" y="602"/>
                  </a:lnTo>
                  <a:lnTo>
                    <a:pt x="343" y="602"/>
                  </a:lnTo>
                  <a:lnTo>
                    <a:pt x="341" y="602"/>
                  </a:lnTo>
                  <a:lnTo>
                    <a:pt x="340" y="601"/>
                  </a:lnTo>
                  <a:lnTo>
                    <a:pt x="339" y="601"/>
                  </a:lnTo>
                  <a:lnTo>
                    <a:pt x="336" y="600"/>
                  </a:lnTo>
                  <a:lnTo>
                    <a:pt x="335" y="600"/>
                  </a:lnTo>
                  <a:lnTo>
                    <a:pt x="334" y="599"/>
                  </a:lnTo>
                  <a:lnTo>
                    <a:pt x="333" y="599"/>
                  </a:lnTo>
                  <a:lnTo>
                    <a:pt x="331" y="599"/>
                  </a:lnTo>
                  <a:lnTo>
                    <a:pt x="329" y="599"/>
                  </a:lnTo>
                  <a:lnTo>
                    <a:pt x="327" y="599"/>
                  </a:lnTo>
                  <a:lnTo>
                    <a:pt x="325" y="599"/>
                  </a:lnTo>
                  <a:lnTo>
                    <a:pt x="321" y="599"/>
                  </a:lnTo>
                  <a:lnTo>
                    <a:pt x="319" y="600"/>
                  </a:lnTo>
                  <a:lnTo>
                    <a:pt x="318" y="600"/>
                  </a:lnTo>
                  <a:lnTo>
                    <a:pt x="315" y="601"/>
                  </a:lnTo>
                  <a:lnTo>
                    <a:pt x="312" y="602"/>
                  </a:lnTo>
                  <a:lnTo>
                    <a:pt x="309" y="603"/>
                  </a:lnTo>
                  <a:lnTo>
                    <a:pt x="307" y="603"/>
                  </a:lnTo>
                  <a:lnTo>
                    <a:pt x="306" y="603"/>
                  </a:lnTo>
                  <a:lnTo>
                    <a:pt x="306" y="604"/>
                  </a:lnTo>
                  <a:lnTo>
                    <a:pt x="305" y="604"/>
                  </a:lnTo>
                  <a:lnTo>
                    <a:pt x="305" y="605"/>
                  </a:lnTo>
                  <a:lnTo>
                    <a:pt x="305" y="605"/>
                  </a:lnTo>
                  <a:lnTo>
                    <a:pt x="305" y="607"/>
                  </a:lnTo>
                  <a:lnTo>
                    <a:pt x="305" y="608"/>
                  </a:lnTo>
                  <a:lnTo>
                    <a:pt x="304" y="611"/>
                  </a:lnTo>
                  <a:lnTo>
                    <a:pt x="304" y="613"/>
                  </a:lnTo>
                  <a:lnTo>
                    <a:pt x="303" y="614"/>
                  </a:lnTo>
                  <a:lnTo>
                    <a:pt x="303" y="615"/>
                  </a:lnTo>
                  <a:lnTo>
                    <a:pt x="302" y="617"/>
                  </a:lnTo>
                  <a:lnTo>
                    <a:pt x="301" y="618"/>
                  </a:lnTo>
                  <a:lnTo>
                    <a:pt x="300" y="620"/>
                  </a:lnTo>
                  <a:lnTo>
                    <a:pt x="299" y="621"/>
                  </a:lnTo>
                  <a:lnTo>
                    <a:pt x="298" y="623"/>
                  </a:lnTo>
                  <a:lnTo>
                    <a:pt x="297" y="624"/>
                  </a:lnTo>
                  <a:lnTo>
                    <a:pt x="296" y="625"/>
                  </a:lnTo>
                  <a:lnTo>
                    <a:pt x="295" y="626"/>
                  </a:lnTo>
                  <a:lnTo>
                    <a:pt x="293" y="627"/>
                  </a:lnTo>
                  <a:lnTo>
                    <a:pt x="292" y="627"/>
                  </a:lnTo>
                  <a:lnTo>
                    <a:pt x="291" y="628"/>
                  </a:lnTo>
                  <a:lnTo>
                    <a:pt x="290" y="628"/>
                  </a:lnTo>
                  <a:lnTo>
                    <a:pt x="290" y="628"/>
                  </a:lnTo>
                  <a:lnTo>
                    <a:pt x="289" y="627"/>
                  </a:lnTo>
                  <a:lnTo>
                    <a:pt x="287" y="626"/>
                  </a:lnTo>
                  <a:lnTo>
                    <a:pt x="283" y="623"/>
                  </a:lnTo>
                  <a:lnTo>
                    <a:pt x="281" y="622"/>
                  </a:lnTo>
                  <a:lnTo>
                    <a:pt x="280" y="621"/>
                  </a:lnTo>
                  <a:lnTo>
                    <a:pt x="278" y="620"/>
                  </a:lnTo>
                  <a:lnTo>
                    <a:pt x="277" y="620"/>
                  </a:lnTo>
                  <a:lnTo>
                    <a:pt x="276" y="619"/>
                  </a:lnTo>
                  <a:lnTo>
                    <a:pt x="275" y="619"/>
                  </a:lnTo>
                  <a:lnTo>
                    <a:pt x="273" y="619"/>
                  </a:lnTo>
                  <a:lnTo>
                    <a:pt x="272" y="618"/>
                  </a:lnTo>
                  <a:lnTo>
                    <a:pt x="269" y="618"/>
                  </a:lnTo>
                  <a:lnTo>
                    <a:pt x="266" y="618"/>
                  </a:lnTo>
                  <a:lnTo>
                    <a:pt x="264" y="617"/>
                  </a:lnTo>
                  <a:lnTo>
                    <a:pt x="261" y="616"/>
                  </a:lnTo>
                  <a:lnTo>
                    <a:pt x="258" y="615"/>
                  </a:lnTo>
                  <a:lnTo>
                    <a:pt x="257" y="615"/>
                  </a:lnTo>
                  <a:lnTo>
                    <a:pt x="255" y="615"/>
                  </a:lnTo>
                  <a:lnTo>
                    <a:pt x="252" y="615"/>
                  </a:lnTo>
                  <a:lnTo>
                    <a:pt x="250" y="614"/>
                  </a:lnTo>
                  <a:lnTo>
                    <a:pt x="250" y="614"/>
                  </a:lnTo>
                  <a:lnTo>
                    <a:pt x="249" y="614"/>
                  </a:lnTo>
                  <a:lnTo>
                    <a:pt x="249" y="613"/>
                  </a:lnTo>
                  <a:lnTo>
                    <a:pt x="248" y="612"/>
                  </a:lnTo>
                  <a:lnTo>
                    <a:pt x="248" y="611"/>
                  </a:lnTo>
                  <a:lnTo>
                    <a:pt x="247" y="610"/>
                  </a:lnTo>
                  <a:lnTo>
                    <a:pt x="247" y="609"/>
                  </a:lnTo>
                  <a:lnTo>
                    <a:pt x="246" y="605"/>
                  </a:lnTo>
                  <a:lnTo>
                    <a:pt x="246" y="604"/>
                  </a:lnTo>
                  <a:lnTo>
                    <a:pt x="246" y="603"/>
                  </a:lnTo>
                  <a:lnTo>
                    <a:pt x="246" y="602"/>
                  </a:lnTo>
                  <a:lnTo>
                    <a:pt x="245" y="601"/>
                  </a:lnTo>
                  <a:lnTo>
                    <a:pt x="244" y="600"/>
                  </a:lnTo>
                  <a:lnTo>
                    <a:pt x="244" y="600"/>
                  </a:lnTo>
                  <a:lnTo>
                    <a:pt x="243" y="599"/>
                  </a:lnTo>
                  <a:lnTo>
                    <a:pt x="242" y="599"/>
                  </a:lnTo>
                  <a:lnTo>
                    <a:pt x="242" y="599"/>
                  </a:lnTo>
                  <a:lnTo>
                    <a:pt x="241" y="599"/>
                  </a:lnTo>
                  <a:lnTo>
                    <a:pt x="240" y="600"/>
                  </a:lnTo>
                  <a:lnTo>
                    <a:pt x="239" y="600"/>
                  </a:lnTo>
                  <a:lnTo>
                    <a:pt x="238" y="600"/>
                  </a:lnTo>
                  <a:lnTo>
                    <a:pt x="238" y="601"/>
                  </a:lnTo>
                  <a:lnTo>
                    <a:pt x="237" y="602"/>
                  </a:lnTo>
                  <a:lnTo>
                    <a:pt x="237" y="602"/>
                  </a:lnTo>
                  <a:lnTo>
                    <a:pt x="235" y="604"/>
                  </a:lnTo>
                  <a:lnTo>
                    <a:pt x="232" y="609"/>
                  </a:lnTo>
                  <a:lnTo>
                    <a:pt x="231" y="611"/>
                  </a:lnTo>
                  <a:lnTo>
                    <a:pt x="230" y="613"/>
                  </a:lnTo>
                  <a:lnTo>
                    <a:pt x="230" y="614"/>
                  </a:lnTo>
                  <a:lnTo>
                    <a:pt x="230" y="616"/>
                  </a:lnTo>
                  <a:lnTo>
                    <a:pt x="230" y="618"/>
                  </a:lnTo>
                  <a:lnTo>
                    <a:pt x="230" y="620"/>
                  </a:lnTo>
                  <a:lnTo>
                    <a:pt x="230" y="621"/>
                  </a:lnTo>
                  <a:lnTo>
                    <a:pt x="231" y="624"/>
                  </a:lnTo>
                  <a:lnTo>
                    <a:pt x="231" y="625"/>
                  </a:lnTo>
                  <a:lnTo>
                    <a:pt x="232" y="627"/>
                  </a:lnTo>
                  <a:lnTo>
                    <a:pt x="233" y="631"/>
                  </a:lnTo>
                  <a:lnTo>
                    <a:pt x="235" y="634"/>
                  </a:lnTo>
                  <a:lnTo>
                    <a:pt x="235" y="635"/>
                  </a:lnTo>
                  <a:lnTo>
                    <a:pt x="236" y="636"/>
                  </a:lnTo>
                  <a:lnTo>
                    <a:pt x="236" y="637"/>
                  </a:lnTo>
                  <a:lnTo>
                    <a:pt x="236" y="638"/>
                  </a:lnTo>
                  <a:lnTo>
                    <a:pt x="236" y="640"/>
                  </a:lnTo>
                  <a:lnTo>
                    <a:pt x="236" y="641"/>
                  </a:lnTo>
                  <a:lnTo>
                    <a:pt x="235" y="641"/>
                  </a:lnTo>
                  <a:lnTo>
                    <a:pt x="235" y="642"/>
                  </a:lnTo>
                  <a:lnTo>
                    <a:pt x="234" y="643"/>
                  </a:lnTo>
                  <a:lnTo>
                    <a:pt x="233" y="644"/>
                  </a:lnTo>
                  <a:lnTo>
                    <a:pt x="230" y="647"/>
                  </a:lnTo>
                  <a:lnTo>
                    <a:pt x="227" y="649"/>
                  </a:lnTo>
                  <a:lnTo>
                    <a:pt x="226" y="651"/>
                  </a:lnTo>
                  <a:lnTo>
                    <a:pt x="225" y="652"/>
                  </a:lnTo>
                  <a:lnTo>
                    <a:pt x="224" y="653"/>
                  </a:lnTo>
                  <a:lnTo>
                    <a:pt x="222" y="654"/>
                  </a:lnTo>
                  <a:lnTo>
                    <a:pt x="220" y="659"/>
                  </a:lnTo>
                  <a:lnTo>
                    <a:pt x="217" y="662"/>
                  </a:lnTo>
                  <a:lnTo>
                    <a:pt x="215" y="665"/>
                  </a:lnTo>
                  <a:lnTo>
                    <a:pt x="213" y="668"/>
                  </a:lnTo>
                  <a:lnTo>
                    <a:pt x="211" y="669"/>
                  </a:lnTo>
                  <a:lnTo>
                    <a:pt x="211" y="669"/>
                  </a:lnTo>
                  <a:lnTo>
                    <a:pt x="210" y="670"/>
                  </a:lnTo>
                  <a:lnTo>
                    <a:pt x="209" y="671"/>
                  </a:lnTo>
                  <a:lnTo>
                    <a:pt x="208" y="671"/>
                  </a:lnTo>
                  <a:lnTo>
                    <a:pt x="207" y="672"/>
                  </a:lnTo>
                  <a:lnTo>
                    <a:pt x="206" y="672"/>
                  </a:lnTo>
                  <a:lnTo>
                    <a:pt x="205" y="673"/>
                  </a:lnTo>
                  <a:lnTo>
                    <a:pt x="204" y="673"/>
                  </a:lnTo>
                  <a:lnTo>
                    <a:pt x="202" y="673"/>
                  </a:lnTo>
                  <a:lnTo>
                    <a:pt x="198" y="673"/>
                  </a:lnTo>
                  <a:lnTo>
                    <a:pt x="196" y="673"/>
                  </a:lnTo>
                  <a:lnTo>
                    <a:pt x="191" y="674"/>
                  </a:lnTo>
                  <a:lnTo>
                    <a:pt x="187" y="675"/>
                  </a:lnTo>
                  <a:lnTo>
                    <a:pt x="186" y="675"/>
                  </a:lnTo>
                  <a:lnTo>
                    <a:pt x="178" y="677"/>
                  </a:lnTo>
                  <a:lnTo>
                    <a:pt x="176" y="677"/>
                  </a:lnTo>
                  <a:lnTo>
                    <a:pt x="173" y="677"/>
                  </a:lnTo>
                  <a:lnTo>
                    <a:pt x="172" y="677"/>
                  </a:lnTo>
                  <a:lnTo>
                    <a:pt x="171" y="678"/>
                  </a:lnTo>
                  <a:lnTo>
                    <a:pt x="170" y="678"/>
                  </a:lnTo>
                  <a:lnTo>
                    <a:pt x="169" y="679"/>
                  </a:lnTo>
                  <a:lnTo>
                    <a:pt x="168" y="680"/>
                  </a:lnTo>
                  <a:lnTo>
                    <a:pt x="166" y="681"/>
                  </a:lnTo>
                  <a:lnTo>
                    <a:pt x="166" y="682"/>
                  </a:lnTo>
                  <a:lnTo>
                    <a:pt x="165" y="683"/>
                  </a:lnTo>
                  <a:lnTo>
                    <a:pt x="163" y="686"/>
                  </a:lnTo>
                  <a:lnTo>
                    <a:pt x="162" y="687"/>
                  </a:lnTo>
                  <a:lnTo>
                    <a:pt x="161" y="688"/>
                  </a:lnTo>
                  <a:lnTo>
                    <a:pt x="160" y="689"/>
                  </a:lnTo>
                  <a:lnTo>
                    <a:pt x="160" y="690"/>
                  </a:lnTo>
                  <a:lnTo>
                    <a:pt x="159" y="690"/>
                  </a:lnTo>
                  <a:lnTo>
                    <a:pt x="158" y="690"/>
                  </a:lnTo>
                  <a:lnTo>
                    <a:pt x="158" y="690"/>
                  </a:lnTo>
                  <a:lnTo>
                    <a:pt x="157" y="690"/>
                  </a:lnTo>
                  <a:lnTo>
                    <a:pt x="157" y="690"/>
                  </a:lnTo>
                  <a:lnTo>
                    <a:pt x="156" y="690"/>
                  </a:lnTo>
                  <a:lnTo>
                    <a:pt x="156" y="689"/>
                  </a:lnTo>
                  <a:lnTo>
                    <a:pt x="156" y="689"/>
                  </a:lnTo>
                  <a:lnTo>
                    <a:pt x="155" y="687"/>
                  </a:lnTo>
                  <a:lnTo>
                    <a:pt x="153" y="681"/>
                  </a:lnTo>
                  <a:lnTo>
                    <a:pt x="151" y="676"/>
                  </a:lnTo>
                  <a:lnTo>
                    <a:pt x="150" y="674"/>
                  </a:lnTo>
                  <a:lnTo>
                    <a:pt x="149" y="670"/>
                  </a:lnTo>
                  <a:lnTo>
                    <a:pt x="147" y="663"/>
                  </a:lnTo>
                  <a:lnTo>
                    <a:pt x="146" y="661"/>
                  </a:lnTo>
                  <a:lnTo>
                    <a:pt x="146" y="660"/>
                  </a:lnTo>
                  <a:lnTo>
                    <a:pt x="145" y="659"/>
                  </a:lnTo>
                  <a:lnTo>
                    <a:pt x="144" y="658"/>
                  </a:lnTo>
                  <a:lnTo>
                    <a:pt x="144" y="657"/>
                  </a:lnTo>
                  <a:lnTo>
                    <a:pt x="142" y="656"/>
                  </a:lnTo>
                  <a:lnTo>
                    <a:pt x="138" y="653"/>
                  </a:lnTo>
                  <a:lnTo>
                    <a:pt x="136" y="651"/>
                  </a:lnTo>
                  <a:lnTo>
                    <a:pt x="135" y="650"/>
                  </a:lnTo>
                  <a:lnTo>
                    <a:pt x="132" y="649"/>
                  </a:lnTo>
                  <a:lnTo>
                    <a:pt x="130" y="648"/>
                  </a:lnTo>
                  <a:lnTo>
                    <a:pt x="128" y="647"/>
                  </a:lnTo>
                  <a:lnTo>
                    <a:pt x="124" y="646"/>
                  </a:lnTo>
                  <a:lnTo>
                    <a:pt x="120" y="645"/>
                  </a:lnTo>
                  <a:lnTo>
                    <a:pt x="118" y="644"/>
                  </a:lnTo>
                  <a:lnTo>
                    <a:pt x="115" y="643"/>
                  </a:lnTo>
                  <a:lnTo>
                    <a:pt x="113" y="641"/>
                  </a:lnTo>
                  <a:lnTo>
                    <a:pt x="110" y="640"/>
                  </a:lnTo>
                  <a:lnTo>
                    <a:pt x="109" y="639"/>
                  </a:lnTo>
                  <a:lnTo>
                    <a:pt x="108" y="638"/>
                  </a:lnTo>
                  <a:lnTo>
                    <a:pt x="107" y="638"/>
                  </a:lnTo>
                  <a:lnTo>
                    <a:pt x="107" y="637"/>
                  </a:lnTo>
                  <a:lnTo>
                    <a:pt x="106" y="636"/>
                  </a:lnTo>
                  <a:lnTo>
                    <a:pt x="106" y="636"/>
                  </a:lnTo>
                  <a:lnTo>
                    <a:pt x="106" y="635"/>
                  </a:lnTo>
                  <a:lnTo>
                    <a:pt x="106" y="635"/>
                  </a:lnTo>
                  <a:lnTo>
                    <a:pt x="106" y="634"/>
                  </a:lnTo>
                  <a:lnTo>
                    <a:pt x="106" y="631"/>
                  </a:lnTo>
                  <a:lnTo>
                    <a:pt x="107" y="627"/>
                  </a:lnTo>
                  <a:lnTo>
                    <a:pt x="108" y="622"/>
                  </a:lnTo>
                  <a:lnTo>
                    <a:pt x="108" y="621"/>
                  </a:lnTo>
                  <a:lnTo>
                    <a:pt x="108" y="618"/>
                  </a:lnTo>
                  <a:lnTo>
                    <a:pt x="109" y="616"/>
                  </a:lnTo>
                  <a:lnTo>
                    <a:pt x="109" y="614"/>
                  </a:lnTo>
                  <a:lnTo>
                    <a:pt x="109" y="612"/>
                  </a:lnTo>
                  <a:lnTo>
                    <a:pt x="108" y="611"/>
                  </a:lnTo>
                  <a:lnTo>
                    <a:pt x="108" y="610"/>
                  </a:lnTo>
                  <a:lnTo>
                    <a:pt x="108" y="609"/>
                  </a:lnTo>
                  <a:lnTo>
                    <a:pt x="108" y="609"/>
                  </a:lnTo>
                  <a:lnTo>
                    <a:pt x="107" y="609"/>
                  </a:lnTo>
                  <a:lnTo>
                    <a:pt x="107" y="609"/>
                  </a:lnTo>
                  <a:lnTo>
                    <a:pt x="106" y="609"/>
                  </a:lnTo>
                  <a:lnTo>
                    <a:pt x="106" y="609"/>
                  </a:lnTo>
                  <a:lnTo>
                    <a:pt x="105" y="610"/>
                  </a:lnTo>
                  <a:lnTo>
                    <a:pt x="104" y="612"/>
                  </a:lnTo>
                  <a:lnTo>
                    <a:pt x="104" y="613"/>
                  </a:lnTo>
                  <a:lnTo>
                    <a:pt x="103" y="613"/>
                  </a:lnTo>
                  <a:lnTo>
                    <a:pt x="103" y="613"/>
                  </a:lnTo>
                  <a:lnTo>
                    <a:pt x="102" y="614"/>
                  </a:lnTo>
                  <a:lnTo>
                    <a:pt x="101" y="614"/>
                  </a:lnTo>
                  <a:lnTo>
                    <a:pt x="101" y="614"/>
                  </a:lnTo>
                  <a:lnTo>
                    <a:pt x="100" y="613"/>
                  </a:lnTo>
                  <a:lnTo>
                    <a:pt x="100" y="613"/>
                  </a:lnTo>
                  <a:lnTo>
                    <a:pt x="99" y="613"/>
                  </a:lnTo>
                  <a:lnTo>
                    <a:pt x="98" y="612"/>
                  </a:lnTo>
                  <a:lnTo>
                    <a:pt x="98" y="612"/>
                  </a:lnTo>
                  <a:lnTo>
                    <a:pt x="97" y="611"/>
                  </a:lnTo>
                  <a:lnTo>
                    <a:pt x="96" y="610"/>
                  </a:lnTo>
                  <a:lnTo>
                    <a:pt x="95" y="608"/>
                  </a:lnTo>
                  <a:lnTo>
                    <a:pt x="93" y="607"/>
                  </a:lnTo>
                  <a:lnTo>
                    <a:pt x="93" y="606"/>
                  </a:lnTo>
                  <a:lnTo>
                    <a:pt x="92" y="604"/>
                  </a:lnTo>
                  <a:lnTo>
                    <a:pt x="90" y="601"/>
                  </a:lnTo>
                  <a:lnTo>
                    <a:pt x="90" y="600"/>
                  </a:lnTo>
                  <a:lnTo>
                    <a:pt x="89" y="599"/>
                  </a:lnTo>
                  <a:lnTo>
                    <a:pt x="89" y="598"/>
                  </a:lnTo>
                  <a:lnTo>
                    <a:pt x="88" y="598"/>
                  </a:lnTo>
                  <a:lnTo>
                    <a:pt x="85" y="595"/>
                  </a:lnTo>
                  <a:lnTo>
                    <a:pt x="84" y="594"/>
                  </a:lnTo>
                  <a:lnTo>
                    <a:pt x="84" y="593"/>
                  </a:lnTo>
                  <a:lnTo>
                    <a:pt x="83" y="592"/>
                  </a:lnTo>
                  <a:lnTo>
                    <a:pt x="82" y="591"/>
                  </a:lnTo>
                  <a:lnTo>
                    <a:pt x="82" y="590"/>
                  </a:lnTo>
                  <a:lnTo>
                    <a:pt x="81" y="586"/>
                  </a:lnTo>
                  <a:lnTo>
                    <a:pt x="79" y="581"/>
                  </a:lnTo>
                  <a:lnTo>
                    <a:pt x="78" y="577"/>
                  </a:lnTo>
                  <a:lnTo>
                    <a:pt x="77" y="576"/>
                  </a:lnTo>
                  <a:lnTo>
                    <a:pt x="77" y="574"/>
                  </a:lnTo>
                  <a:lnTo>
                    <a:pt x="76" y="573"/>
                  </a:lnTo>
                  <a:lnTo>
                    <a:pt x="75" y="571"/>
                  </a:lnTo>
                  <a:lnTo>
                    <a:pt x="74" y="570"/>
                  </a:lnTo>
                  <a:lnTo>
                    <a:pt x="73" y="570"/>
                  </a:lnTo>
                  <a:lnTo>
                    <a:pt x="72" y="568"/>
                  </a:lnTo>
                  <a:lnTo>
                    <a:pt x="72" y="567"/>
                  </a:lnTo>
                  <a:lnTo>
                    <a:pt x="71" y="566"/>
                  </a:lnTo>
                  <a:lnTo>
                    <a:pt x="69" y="563"/>
                  </a:lnTo>
                  <a:lnTo>
                    <a:pt x="68" y="562"/>
                  </a:lnTo>
                  <a:lnTo>
                    <a:pt x="66" y="560"/>
                  </a:lnTo>
                  <a:lnTo>
                    <a:pt x="65" y="557"/>
                  </a:lnTo>
                  <a:lnTo>
                    <a:pt x="65" y="557"/>
                  </a:lnTo>
                  <a:lnTo>
                    <a:pt x="64" y="555"/>
                  </a:lnTo>
                  <a:lnTo>
                    <a:pt x="62" y="553"/>
                  </a:lnTo>
                  <a:lnTo>
                    <a:pt x="61" y="552"/>
                  </a:lnTo>
                  <a:lnTo>
                    <a:pt x="60" y="551"/>
                  </a:lnTo>
                  <a:lnTo>
                    <a:pt x="59" y="550"/>
                  </a:lnTo>
                  <a:lnTo>
                    <a:pt x="58" y="550"/>
                  </a:lnTo>
                  <a:lnTo>
                    <a:pt x="57" y="550"/>
                  </a:lnTo>
                  <a:lnTo>
                    <a:pt x="55" y="549"/>
                  </a:lnTo>
                  <a:lnTo>
                    <a:pt x="51" y="548"/>
                  </a:lnTo>
                  <a:lnTo>
                    <a:pt x="49" y="547"/>
                  </a:lnTo>
                  <a:lnTo>
                    <a:pt x="47" y="547"/>
                  </a:lnTo>
                  <a:lnTo>
                    <a:pt x="46" y="547"/>
                  </a:lnTo>
                  <a:lnTo>
                    <a:pt x="44" y="547"/>
                  </a:lnTo>
                  <a:lnTo>
                    <a:pt x="43" y="548"/>
                  </a:lnTo>
                  <a:lnTo>
                    <a:pt x="41" y="548"/>
                  </a:lnTo>
                  <a:lnTo>
                    <a:pt x="39" y="549"/>
                  </a:lnTo>
                  <a:lnTo>
                    <a:pt x="36" y="551"/>
                  </a:lnTo>
                  <a:lnTo>
                    <a:pt x="34" y="552"/>
                  </a:lnTo>
                  <a:lnTo>
                    <a:pt x="32" y="553"/>
                  </a:lnTo>
                  <a:lnTo>
                    <a:pt x="30" y="555"/>
                  </a:lnTo>
                  <a:lnTo>
                    <a:pt x="28" y="557"/>
                  </a:lnTo>
                  <a:lnTo>
                    <a:pt x="28" y="558"/>
                  </a:lnTo>
                  <a:lnTo>
                    <a:pt x="28" y="558"/>
                  </a:lnTo>
                  <a:lnTo>
                    <a:pt x="27" y="559"/>
                  </a:lnTo>
                  <a:lnTo>
                    <a:pt x="27" y="559"/>
                  </a:lnTo>
                  <a:lnTo>
                    <a:pt x="27" y="559"/>
                  </a:lnTo>
                  <a:lnTo>
                    <a:pt x="28" y="560"/>
                  </a:lnTo>
                  <a:lnTo>
                    <a:pt x="28" y="561"/>
                  </a:lnTo>
                  <a:lnTo>
                    <a:pt x="29" y="562"/>
                  </a:lnTo>
                  <a:lnTo>
                    <a:pt x="29" y="563"/>
                  </a:lnTo>
                  <a:lnTo>
                    <a:pt x="30" y="564"/>
                  </a:lnTo>
                  <a:lnTo>
                    <a:pt x="30" y="564"/>
                  </a:lnTo>
                  <a:lnTo>
                    <a:pt x="31" y="565"/>
                  </a:lnTo>
                  <a:lnTo>
                    <a:pt x="38" y="572"/>
                  </a:lnTo>
                  <a:lnTo>
                    <a:pt x="39" y="573"/>
                  </a:lnTo>
                  <a:lnTo>
                    <a:pt x="40" y="574"/>
                  </a:lnTo>
                  <a:lnTo>
                    <a:pt x="40" y="575"/>
                  </a:lnTo>
                  <a:lnTo>
                    <a:pt x="40" y="576"/>
                  </a:lnTo>
                  <a:lnTo>
                    <a:pt x="41" y="578"/>
                  </a:lnTo>
                  <a:lnTo>
                    <a:pt x="42" y="580"/>
                  </a:lnTo>
                  <a:lnTo>
                    <a:pt x="42" y="580"/>
                  </a:lnTo>
                  <a:lnTo>
                    <a:pt x="44" y="583"/>
                  </a:lnTo>
                  <a:lnTo>
                    <a:pt x="45" y="585"/>
                  </a:lnTo>
                  <a:lnTo>
                    <a:pt x="45" y="586"/>
                  </a:lnTo>
                  <a:lnTo>
                    <a:pt x="45" y="587"/>
                  </a:lnTo>
                  <a:lnTo>
                    <a:pt x="46" y="588"/>
                  </a:lnTo>
                  <a:lnTo>
                    <a:pt x="46" y="589"/>
                  </a:lnTo>
                  <a:lnTo>
                    <a:pt x="46" y="590"/>
                  </a:lnTo>
                  <a:lnTo>
                    <a:pt x="46" y="591"/>
                  </a:lnTo>
                  <a:lnTo>
                    <a:pt x="46" y="592"/>
                  </a:lnTo>
                  <a:lnTo>
                    <a:pt x="45" y="592"/>
                  </a:lnTo>
                  <a:lnTo>
                    <a:pt x="45" y="594"/>
                  </a:lnTo>
                  <a:lnTo>
                    <a:pt x="43" y="596"/>
                  </a:lnTo>
                  <a:lnTo>
                    <a:pt x="42" y="598"/>
                  </a:lnTo>
                  <a:lnTo>
                    <a:pt x="40" y="601"/>
                  </a:lnTo>
                  <a:lnTo>
                    <a:pt x="39" y="605"/>
                  </a:lnTo>
                  <a:lnTo>
                    <a:pt x="38" y="607"/>
                  </a:lnTo>
                  <a:lnTo>
                    <a:pt x="37" y="609"/>
                  </a:lnTo>
                  <a:lnTo>
                    <a:pt x="36" y="610"/>
                  </a:lnTo>
                  <a:lnTo>
                    <a:pt x="35" y="611"/>
                  </a:lnTo>
                  <a:lnTo>
                    <a:pt x="34" y="613"/>
                  </a:lnTo>
                  <a:lnTo>
                    <a:pt x="32" y="615"/>
                  </a:lnTo>
                  <a:lnTo>
                    <a:pt x="30" y="616"/>
                  </a:lnTo>
                  <a:lnTo>
                    <a:pt x="28" y="617"/>
                  </a:lnTo>
                  <a:lnTo>
                    <a:pt x="27" y="618"/>
                  </a:lnTo>
                  <a:lnTo>
                    <a:pt x="26" y="618"/>
                  </a:lnTo>
                  <a:lnTo>
                    <a:pt x="25" y="619"/>
                  </a:lnTo>
                  <a:lnTo>
                    <a:pt x="23" y="619"/>
                  </a:lnTo>
                  <a:lnTo>
                    <a:pt x="22" y="618"/>
                  </a:lnTo>
                  <a:lnTo>
                    <a:pt x="20" y="618"/>
                  </a:lnTo>
                  <a:lnTo>
                    <a:pt x="17" y="617"/>
                  </a:lnTo>
                  <a:lnTo>
                    <a:pt x="15" y="616"/>
                  </a:lnTo>
                  <a:lnTo>
                    <a:pt x="13" y="614"/>
                  </a:lnTo>
                  <a:lnTo>
                    <a:pt x="8" y="611"/>
                  </a:lnTo>
                  <a:lnTo>
                    <a:pt x="6" y="609"/>
                  </a:lnTo>
                  <a:lnTo>
                    <a:pt x="5" y="608"/>
                  </a:lnTo>
                  <a:lnTo>
                    <a:pt x="4" y="607"/>
                  </a:lnTo>
                  <a:lnTo>
                    <a:pt x="2" y="605"/>
                  </a:lnTo>
                  <a:lnTo>
                    <a:pt x="2" y="604"/>
                  </a:lnTo>
                  <a:lnTo>
                    <a:pt x="1" y="603"/>
                  </a:lnTo>
                  <a:lnTo>
                    <a:pt x="1" y="603"/>
                  </a:lnTo>
                  <a:lnTo>
                    <a:pt x="0" y="602"/>
                  </a:lnTo>
                  <a:lnTo>
                    <a:pt x="0" y="601"/>
                  </a:lnTo>
                  <a:lnTo>
                    <a:pt x="0" y="600"/>
                  </a:lnTo>
                  <a:lnTo>
                    <a:pt x="1" y="599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6" name="Freeform 254">
              <a:extLst>
                <a:ext uri="{FF2B5EF4-FFF2-40B4-BE49-F238E27FC236}">
                  <a16:creationId xmlns:a16="http://schemas.microsoft.com/office/drawing/2014/main" id="{1358C2E4-1FF3-4E68-A207-802AACAD0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57609" y="2225201"/>
              <a:ext cx="242533" cy="688875"/>
            </a:xfrm>
            <a:custGeom>
              <a:avLst/>
              <a:gdLst>
                <a:gd name="T0" fmla="*/ 49 w 238"/>
                <a:gd name="T1" fmla="*/ 668 h 676"/>
                <a:gd name="T2" fmla="*/ 50 w 238"/>
                <a:gd name="T3" fmla="*/ 660 h 676"/>
                <a:gd name="T4" fmla="*/ 42 w 238"/>
                <a:gd name="T5" fmla="*/ 646 h 676"/>
                <a:gd name="T6" fmla="*/ 37 w 238"/>
                <a:gd name="T7" fmla="*/ 622 h 676"/>
                <a:gd name="T8" fmla="*/ 46 w 238"/>
                <a:gd name="T9" fmla="*/ 606 h 676"/>
                <a:gd name="T10" fmla="*/ 49 w 238"/>
                <a:gd name="T11" fmla="*/ 601 h 676"/>
                <a:gd name="T12" fmla="*/ 29 w 238"/>
                <a:gd name="T13" fmla="*/ 597 h 676"/>
                <a:gd name="T14" fmla="*/ 18 w 238"/>
                <a:gd name="T15" fmla="*/ 591 h 676"/>
                <a:gd name="T16" fmla="*/ 17 w 238"/>
                <a:gd name="T17" fmla="*/ 577 h 676"/>
                <a:gd name="T18" fmla="*/ 20 w 238"/>
                <a:gd name="T19" fmla="*/ 570 h 676"/>
                <a:gd name="T20" fmla="*/ 36 w 238"/>
                <a:gd name="T21" fmla="*/ 572 h 676"/>
                <a:gd name="T22" fmla="*/ 40 w 238"/>
                <a:gd name="T23" fmla="*/ 562 h 676"/>
                <a:gd name="T24" fmla="*/ 42 w 238"/>
                <a:gd name="T25" fmla="*/ 554 h 676"/>
                <a:gd name="T26" fmla="*/ 43 w 238"/>
                <a:gd name="T27" fmla="*/ 534 h 676"/>
                <a:gd name="T28" fmla="*/ 43 w 238"/>
                <a:gd name="T29" fmla="*/ 522 h 676"/>
                <a:gd name="T30" fmla="*/ 55 w 238"/>
                <a:gd name="T31" fmla="*/ 505 h 676"/>
                <a:gd name="T32" fmla="*/ 57 w 238"/>
                <a:gd name="T33" fmla="*/ 490 h 676"/>
                <a:gd name="T34" fmla="*/ 52 w 238"/>
                <a:gd name="T35" fmla="*/ 477 h 676"/>
                <a:gd name="T36" fmla="*/ 40 w 238"/>
                <a:gd name="T37" fmla="*/ 472 h 676"/>
                <a:gd name="T38" fmla="*/ 37 w 238"/>
                <a:gd name="T39" fmla="*/ 469 h 676"/>
                <a:gd name="T40" fmla="*/ 37 w 238"/>
                <a:gd name="T41" fmla="*/ 455 h 676"/>
                <a:gd name="T42" fmla="*/ 33 w 238"/>
                <a:gd name="T43" fmla="*/ 443 h 676"/>
                <a:gd name="T44" fmla="*/ 19 w 238"/>
                <a:gd name="T45" fmla="*/ 423 h 676"/>
                <a:gd name="T46" fmla="*/ 11 w 238"/>
                <a:gd name="T47" fmla="*/ 405 h 676"/>
                <a:gd name="T48" fmla="*/ 11 w 238"/>
                <a:gd name="T49" fmla="*/ 393 h 676"/>
                <a:gd name="T50" fmla="*/ 17 w 238"/>
                <a:gd name="T51" fmla="*/ 380 h 676"/>
                <a:gd name="T52" fmla="*/ 16 w 238"/>
                <a:gd name="T53" fmla="*/ 364 h 676"/>
                <a:gd name="T54" fmla="*/ 8 w 238"/>
                <a:gd name="T55" fmla="*/ 331 h 676"/>
                <a:gd name="T56" fmla="*/ 0 w 238"/>
                <a:gd name="T57" fmla="*/ 303 h 676"/>
                <a:gd name="T58" fmla="*/ 2 w 238"/>
                <a:gd name="T59" fmla="*/ 298 h 676"/>
                <a:gd name="T60" fmla="*/ 14 w 238"/>
                <a:gd name="T61" fmla="*/ 294 h 676"/>
                <a:gd name="T62" fmla="*/ 25 w 238"/>
                <a:gd name="T63" fmla="*/ 283 h 676"/>
                <a:gd name="T64" fmla="*/ 36 w 238"/>
                <a:gd name="T65" fmla="*/ 271 h 676"/>
                <a:gd name="T66" fmla="*/ 36 w 238"/>
                <a:gd name="T67" fmla="*/ 253 h 676"/>
                <a:gd name="T68" fmla="*/ 38 w 238"/>
                <a:gd name="T69" fmla="*/ 240 h 676"/>
                <a:gd name="T70" fmla="*/ 38 w 238"/>
                <a:gd name="T71" fmla="*/ 225 h 676"/>
                <a:gd name="T72" fmla="*/ 47 w 238"/>
                <a:gd name="T73" fmla="*/ 203 h 676"/>
                <a:gd name="T74" fmla="*/ 57 w 238"/>
                <a:gd name="T75" fmla="*/ 171 h 676"/>
                <a:gd name="T76" fmla="*/ 60 w 238"/>
                <a:gd name="T77" fmla="*/ 163 h 676"/>
                <a:gd name="T78" fmla="*/ 72 w 238"/>
                <a:gd name="T79" fmla="*/ 151 h 676"/>
                <a:gd name="T80" fmla="*/ 88 w 238"/>
                <a:gd name="T81" fmla="*/ 147 h 676"/>
                <a:gd name="T82" fmla="*/ 101 w 238"/>
                <a:gd name="T83" fmla="*/ 140 h 676"/>
                <a:gd name="T84" fmla="*/ 111 w 238"/>
                <a:gd name="T85" fmla="*/ 145 h 676"/>
                <a:gd name="T86" fmla="*/ 119 w 238"/>
                <a:gd name="T87" fmla="*/ 147 h 676"/>
                <a:gd name="T88" fmla="*/ 121 w 238"/>
                <a:gd name="T89" fmla="*/ 138 h 676"/>
                <a:gd name="T90" fmla="*/ 119 w 238"/>
                <a:gd name="T91" fmla="*/ 116 h 676"/>
                <a:gd name="T92" fmla="*/ 114 w 238"/>
                <a:gd name="T93" fmla="*/ 99 h 676"/>
                <a:gd name="T94" fmla="*/ 94 w 238"/>
                <a:gd name="T95" fmla="*/ 87 h 676"/>
                <a:gd name="T96" fmla="*/ 86 w 238"/>
                <a:gd name="T97" fmla="*/ 77 h 676"/>
                <a:gd name="T98" fmla="*/ 73 w 238"/>
                <a:gd name="T99" fmla="*/ 44 h 676"/>
                <a:gd name="T100" fmla="*/ 59 w 238"/>
                <a:gd name="T101" fmla="*/ 31 h 676"/>
                <a:gd name="T102" fmla="*/ 55 w 238"/>
                <a:gd name="T103" fmla="*/ 23 h 676"/>
                <a:gd name="T104" fmla="*/ 61 w 238"/>
                <a:gd name="T105" fmla="*/ 9 h 676"/>
                <a:gd name="T106" fmla="*/ 72 w 238"/>
                <a:gd name="T107" fmla="*/ 0 h 676"/>
                <a:gd name="T108" fmla="*/ 92 w 238"/>
                <a:gd name="T109" fmla="*/ 13 h 676"/>
                <a:gd name="T110" fmla="*/ 109 w 238"/>
                <a:gd name="T111" fmla="*/ 16 h 676"/>
                <a:gd name="T112" fmla="*/ 135 w 238"/>
                <a:gd name="T113" fmla="*/ 25 h 676"/>
                <a:gd name="T114" fmla="*/ 155 w 238"/>
                <a:gd name="T115" fmla="*/ 30 h 676"/>
                <a:gd name="T116" fmla="*/ 174 w 238"/>
                <a:gd name="T117" fmla="*/ 39 h 676"/>
                <a:gd name="T118" fmla="*/ 191 w 238"/>
                <a:gd name="T119" fmla="*/ 40 h 676"/>
                <a:gd name="T120" fmla="*/ 198 w 238"/>
                <a:gd name="T121" fmla="*/ 52 h 676"/>
                <a:gd name="T122" fmla="*/ 211 w 238"/>
                <a:gd name="T123" fmla="*/ 67 h 676"/>
                <a:gd name="T124" fmla="*/ 227 w 238"/>
                <a:gd name="T125" fmla="*/ 77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8" h="676">
                  <a:moveTo>
                    <a:pt x="44" y="676"/>
                  </a:moveTo>
                  <a:lnTo>
                    <a:pt x="44" y="675"/>
                  </a:lnTo>
                  <a:lnTo>
                    <a:pt x="44" y="674"/>
                  </a:lnTo>
                  <a:lnTo>
                    <a:pt x="45" y="673"/>
                  </a:lnTo>
                  <a:lnTo>
                    <a:pt x="45" y="672"/>
                  </a:lnTo>
                  <a:lnTo>
                    <a:pt x="46" y="671"/>
                  </a:lnTo>
                  <a:lnTo>
                    <a:pt x="47" y="670"/>
                  </a:lnTo>
                  <a:lnTo>
                    <a:pt x="49" y="668"/>
                  </a:lnTo>
                  <a:lnTo>
                    <a:pt x="50" y="667"/>
                  </a:lnTo>
                  <a:lnTo>
                    <a:pt x="50" y="666"/>
                  </a:lnTo>
                  <a:lnTo>
                    <a:pt x="51" y="666"/>
                  </a:lnTo>
                  <a:lnTo>
                    <a:pt x="51" y="665"/>
                  </a:lnTo>
                  <a:lnTo>
                    <a:pt x="51" y="664"/>
                  </a:lnTo>
                  <a:lnTo>
                    <a:pt x="51" y="663"/>
                  </a:lnTo>
                  <a:lnTo>
                    <a:pt x="51" y="662"/>
                  </a:lnTo>
                  <a:lnTo>
                    <a:pt x="50" y="660"/>
                  </a:lnTo>
                  <a:lnTo>
                    <a:pt x="49" y="659"/>
                  </a:lnTo>
                  <a:lnTo>
                    <a:pt x="49" y="657"/>
                  </a:lnTo>
                  <a:lnTo>
                    <a:pt x="48" y="656"/>
                  </a:lnTo>
                  <a:lnTo>
                    <a:pt x="45" y="652"/>
                  </a:lnTo>
                  <a:lnTo>
                    <a:pt x="44" y="650"/>
                  </a:lnTo>
                  <a:lnTo>
                    <a:pt x="43" y="649"/>
                  </a:lnTo>
                  <a:lnTo>
                    <a:pt x="43" y="648"/>
                  </a:lnTo>
                  <a:lnTo>
                    <a:pt x="42" y="646"/>
                  </a:lnTo>
                  <a:lnTo>
                    <a:pt x="41" y="642"/>
                  </a:lnTo>
                  <a:lnTo>
                    <a:pt x="39" y="637"/>
                  </a:lnTo>
                  <a:lnTo>
                    <a:pt x="38" y="632"/>
                  </a:lnTo>
                  <a:lnTo>
                    <a:pt x="38" y="630"/>
                  </a:lnTo>
                  <a:lnTo>
                    <a:pt x="37" y="628"/>
                  </a:lnTo>
                  <a:lnTo>
                    <a:pt x="37" y="626"/>
                  </a:lnTo>
                  <a:lnTo>
                    <a:pt x="37" y="624"/>
                  </a:lnTo>
                  <a:lnTo>
                    <a:pt x="37" y="622"/>
                  </a:lnTo>
                  <a:lnTo>
                    <a:pt x="38" y="620"/>
                  </a:lnTo>
                  <a:lnTo>
                    <a:pt x="38" y="618"/>
                  </a:lnTo>
                  <a:lnTo>
                    <a:pt x="39" y="617"/>
                  </a:lnTo>
                  <a:lnTo>
                    <a:pt x="42" y="613"/>
                  </a:lnTo>
                  <a:lnTo>
                    <a:pt x="43" y="611"/>
                  </a:lnTo>
                  <a:lnTo>
                    <a:pt x="44" y="608"/>
                  </a:lnTo>
                  <a:lnTo>
                    <a:pt x="45" y="607"/>
                  </a:lnTo>
                  <a:lnTo>
                    <a:pt x="46" y="606"/>
                  </a:lnTo>
                  <a:lnTo>
                    <a:pt x="47" y="605"/>
                  </a:lnTo>
                  <a:lnTo>
                    <a:pt x="48" y="604"/>
                  </a:lnTo>
                  <a:lnTo>
                    <a:pt x="49" y="603"/>
                  </a:lnTo>
                  <a:lnTo>
                    <a:pt x="50" y="603"/>
                  </a:lnTo>
                  <a:lnTo>
                    <a:pt x="50" y="602"/>
                  </a:lnTo>
                  <a:lnTo>
                    <a:pt x="50" y="602"/>
                  </a:lnTo>
                  <a:lnTo>
                    <a:pt x="50" y="602"/>
                  </a:lnTo>
                  <a:lnTo>
                    <a:pt x="49" y="601"/>
                  </a:lnTo>
                  <a:lnTo>
                    <a:pt x="49" y="601"/>
                  </a:lnTo>
                  <a:lnTo>
                    <a:pt x="48" y="601"/>
                  </a:lnTo>
                  <a:lnTo>
                    <a:pt x="45" y="600"/>
                  </a:lnTo>
                  <a:lnTo>
                    <a:pt x="42" y="600"/>
                  </a:lnTo>
                  <a:lnTo>
                    <a:pt x="40" y="600"/>
                  </a:lnTo>
                  <a:lnTo>
                    <a:pt x="38" y="599"/>
                  </a:lnTo>
                  <a:lnTo>
                    <a:pt x="35" y="598"/>
                  </a:lnTo>
                  <a:lnTo>
                    <a:pt x="29" y="597"/>
                  </a:lnTo>
                  <a:lnTo>
                    <a:pt x="25" y="596"/>
                  </a:lnTo>
                  <a:lnTo>
                    <a:pt x="21" y="594"/>
                  </a:lnTo>
                  <a:lnTo>
                    <a:pt x="20" y="594"/>
                  </a:lnTo>
                  <a:lnTo>
                    <a:pt x="19" y="594"/>
                  </a:lnTo>
                  <a:lnTo>
                    <a:pt x="19" y="593"/>
                  </a:lnTo>
                  <a:lnTo>
                    <a:pt x="18" y="593"/>
                  </a:lnTo>
                  <a:lnTo>
                    <a:pt x="18" y="592"/>
                  </a:lnTo>
                  <a:lnTo>
                    <a:pt x="18" y="591"/>
                  </a:lnTo>
                  <a:lnTo>
                    <a:pt x="17" y="591"/>
                  </a:lnTo>
                  <a:lnTo>
                    <a:pt x="17" y="590"/>
                  </a:lnTo>
                  <a:lnTo>
                    <a:pt x="17" y="588"/>
                  </a:lnTo>
                  <a:lnTo>
                    <a:pt x="17" y="585"/>
                  </a:lnTo>
                  <a:lnTo>
                    <a:pt x="17" y="583"/>
                  </a:lnTo>
                  <a:lnTo>
                    <a:pt x="17" y="582"/>
                  </a:lnTo>
                  <a:lnTo>
                    <a:pt x="17" y="578"/>
                  </a:lnTo>
                  <a:lnTo>
                    <a:pt x="17" y="577"/>
                  </a:lnTo>
                  <a:lnTo>
                    <a:pt x="17" y="576"/>
                  </a:lnTo>
                  <a:lnTo>
                    <a:pt x="17" y="574"/>
                  </a:lnTo>
                  <a:lnTo>
                    <a:pt x="18" y="573"/>
                  </a:lnTo>
                  <a:lnTo>
                    <a:pt x="18" y="572"/>
                  </a:lnTo>
                  <a:lnTo>
                    <a:pt x="18" y="571"/>
                  </a:lnTo>
                  <a:lnTo>
                    <a:pt x="19" y="571"/>
                  </a:lnTo>
                  <a:lnTo>
                    <a:pt x="19" y="570"/>
                  </a:lnTo>
                  <a:lnTo>
                    <a:pt x="20" y="570"/>
                  </a:lnTo>
                  <a:lnTo>
                    <a:pt x="21" y="570"/>
                  </a:lnTo>
                  <a:lnTo>
                    <a:pt x="25" y="571"/>
                  </a:lnTo>
                  <a:lnTo>
                    <a:pt x="31" y="572"/>
                  </a:lnTo>
                  <a:lnTo>
                    <a:pt x="32" y="572"/>
                  </a:lnTo>
                  <a:lnTo>
                    <a:pt x="33" y="572"/>
                  </a:lnTo>
                  <a:lnTo>
                    <a:pt x="34" y="572"/>
                  </a:lnTo>
                  <a:lnTo>
                    <a:pt x="35" y="572"/>
                  </a:lnTo>
                  <a:lnTo>
                    <a:pt x="36" y="572"/>
                  </a:lnTo>
                  <a:lnTo>
                    <a:pt x="36" y="571"/>
                  </a:lnTo>
                  <a:lnTo>
                    <a:pt x="37" y="571"/>
                  </a:lnTo>
                  <a:lnTo>
                    <a:pt x="37" y="570"/>
                  </a:lnTo>
                  <a:lnTo>
                    <a:pt x="38" y="569"/>
                  </a:lnTo>
                  <a:lnTo>
                    <a:pt x="38" y="569"/>
                  </a:lnTo>
                  <a:lnTo>
                    <a:pt x="38" y="568"/>
                  </a:lnTo>
                  <a:lnTo>
                    <a:pt x="39" y="564"/>
                  </a:lnTo>
                  <a:lnTo>
                    <a:pt x="40" y="562"/>
                  </a:lnTo>
                  <a:lnTo>
                    <a:pt x="40" y="561"/>
                  </a:lnTo>
                  <a:lnTo>
                    <a:pt x="41" y="560"/>
                  </a:lnTo>
                  <a:lnTo>
                    <a:pt x="41" y="559"/>
                  </a:lnTo>
                  <a:lnTo>
                    <a:pt x="42" y="558"/>
                  </a:lnTo>
                  <a:lnTo>
                    <a:pt x="42" y="558"/>
                  </a:lnTo>
                  <a:lnTo>
                    <a:pt x="42" y="558"/>
                  </a:lnTo>
                  <a:lnTo>
                    <a:pt x="42" y="557"/>
                  </a:lnTo>
                  <a:lnTo>
                    <a:pt x="42" y="554"/>
                  </a:lnTo>
                  <a:lnTo>
                    <a:pt x="42" y="551"/>
                  </a:lnTo>
                  <a:lnTo>
                    <a:pt x="43" y="548"/>
                  </a:lnTo>
                  <a:lnTo>
                    <a:pt x="44" y="544"/>
                  </a:lnTo>
                  <a:lnTo>
                    <a:pt x="45" y="542"/>
                  </a:lnTo>
                  <a:lnTo>
                    <a:pt x="45" y="540"/>
                  </a:lnTo>
                  <a:lnTo>
                    <a:pt x="45" y="540"/>
                  </a:lnTo>
                  <a:lnTo>
                    <a:pt x="45" y="539"/>
                  </a:lnTo>
                  <a:lnTo>
                    <a:pt x="43" y="534"/>
                  </a:lnTo>
                  <a:lnTo>
                    <a:pt x="42" y="532"/>
                  </a:lnTo>
                  <a:lnTo>
                    <a:pt x="42" y="531"/>
                  </a:lnTo>
                  <a:lnTo>
                    <a:pt x="42" y="529"/>
                  </a:lnTo>
                  <a:lnTo>
                    <a:pt x="42" y="528"/>
                  </a:lnTo>
                  <a:lnTo>
                    <a:pt x="42" y="526"/>
                  </a:lnTo>
                  <a:lnTo>
                    <a:pt x="42" y="525"/>
                  </a:lnTo>
                  <a:lnTo>
                    <a:pt x="43" y="523"/>
                  </a:lnTo>
                  <a:lnTo>
                    <a:pt x="43" y="522"/>
                  </a:lnTo>
                  <a:lnTo>
                    <a:pt x="44" y="520"/>
                  </a:lnTo>
                  <a:lnTo>
                    <a:pt x="45" y="519"/>
                  </a:lnTo>
                  <a:lnTo>
                    <a:pt x="46" y="518"/>
                  </a:lnTo>
                  <a:lnTo>
                    <a:pt x="46" y="517"/>
                  </a:lnTo>
                  <a:lnTo>
                    <a:pt x="50" y="512"/>
                  </a:lnTo>
                  <a:lnTo>
                    <a:pt x="53" y="508"/>
                  </a:lnTo>
                  <a:lnTo>
                    <a:pt x="54" y="507"/>
                  </a:lnTo>
                  <a:lnTo>
                    <a:pt x="55" y="505"/>
                  </a:lnTo>
                  <a:lnTo>
                    <a:pt x="55" y="504"/>
                  </a:lnTo>
                  <a:lnTo>
                    <a:pt x="56" y="503"/>
                  </a:lnTo>
                  <a:lnTo>
                    <a:pt x="56" y="501"/>
                  </a:lnTo>
                  <a:lnTo>
                    <a:pt x="57" y="498"/>
                  </a:lnTo>
                  <a:lnTo>
                    <a:pt x="57" y="496"/>
                  </a:lnTo>
                  <a:lnTo>
                    <a:pt x="57" y="493"/>
                  </a:lnTo>
                  <a:lnTo>
                    <a:pt x="57" y="492"/>
                  </a:lnTo>
                  <a:lnTo>
                    <a:pt x="57" y="490"/>
                  </a:lnTo>
                  <a:lnTo>
                    <a:pt x="57" y="485"/>
                  </a:lnTo>
                  <a:lnTo>
                    <a:pt x="56" y="483"/>
                  </a:lnTo>
                  <a:lnTo>
                    <a:pt x="56" y="482"/>
                  </a:lnTo>
                  <a:lnTo>
                    <a:pt x="55" y="481"/>
                  </a:lnTo>
                  <a:lnTo>
                    <a:pt x="55" y="479"/>
                  </a:lnTo>
                  <a:lnTo>
                    <a:pt x="54" y="478"/>
                  </a:lnTo>
                  <a:lnTo>
                    <a:pt x="53" y="478"/>
                  </a:lnTo>
                  <a:lnTo>
                    <a:pt x="52" y="477"/>
                  </a:lnTo>
                  <a:lnTo>
                    <a:pt x="51" y="476"/>
                  </a:lnTo>
                  <a:lnTo>
                    <a:pt x="50" y="475"/>
                  </a:lnTo>
                  <a:lnTo>
                    <a:pt x="49" y="475"/>
                  </a:lnTo>
                  <a:lnTo>
                    <a:pt x="49" y="474"/>
                  </a:lnTo>
                  <a:lnTo>
                    <a:pt x="47" y="474"/>
                  </a:lnTo>
                  <a:lnTo>
                    <a:pt x="43" y="473"/>
                  </a:lnTo>
                  <a:lnTo>
                    <a:pt x="42" y="473"/>
                  </a:lnTo>
                  <a:lnTo>
                    <a:pt x="40" y="472"/>
                  </a:lnTo>
                  <a:lnTo>
                    <a:pt x="39" y="472"/>
                  </a:lnTo>
                  <a:lnTo>
                    <a:pt x="39" y="472"/>
                  </a:lnTo>
                  <a:lnTo>
                    <a:pt x="38" y="472"/>
                  </a:lnTo>
                  <a:lnTo>
                    <a:pt x="38" y="471"/>
                  </a:lnTo>
                  <a:lnTo>
                    <a:pt x="38" y="471"/>
                  </a:lnTo>
                  <a:lnTo>
                    <a:pt x="37" y="471"/>
                  </a:lnTo>
                  <a:lnTo>
                    <a:pt x="37" y="470"/>
                  </a:lnTo>
                  <a:lnTo>
                    <a:pt x="37" y="469"/>
                  </a:lnTo>
                  <a:lnTo>
                    <a:pt x="38" y="468"/>
                  </a:lnTo>
                  <a:lnTo>
                    <a:pt x="39" y="465"/>
                  </a:lnTo>
                  <a:lnTo>
                    <a:pt x="39" y="464"/>
                  </a:lnTo>
                  <a:lnTo>
                    <a:pt x="39" y="462"/>
                  </a:lnTo>
                  <a:lnTo>
                    <a:pt x="39" y="461"/>
                  </a:lnTo>
                  <a:lnTo>
                    <a:pt x="39" y="460"/>
                  </a:lnTo>
                  <a:lnTo>
                    <a:pt x="39" y="459"/>
                  </a:lnTo>
                  <a:lnTo>
                    <a:pt x="37" y="455"/>
                  </a:lnTo>
                  <a:lnTo>
                    <a:pt x="37" y="454"/>
                  </a:lnTo>
                  <a:lnTo>
                    <a:pt x="37" y="453"/>
                  </a:lnTo>
                  <a:lnTo>
                    <a:pt x="36" y="449"/>
                  </a:lnTo>
                  <a:lnTo>
                    <a:pt x="36" y="448"/>
                  </a:lnTo>
                  <a:lnTo>
                    <a:pt x="36" y="447"/>
                  </a:lnTo>
                  <a:lnTo>
                    <a:pt x="35" y="446"/>
                  </a:lnTo>
                  <a:lnTo>
                    <a:pt x="34" y="444"/>
                  </a:lnTo>
                  <a:lnTo>
                    <a:pt x="33" y="443"/>
                  </a:lnTo>
                  <a:lnTo>
                    <a:pt x="30" y="440"/>
                  </a:lnTo>
                  <a:lnTo>
                    <a:pt x="27" y="437"/>
                  </a:lnTo>
                  <a:lnTo>
                    <a:pt x="25" y="434"/>
                  </a:lnTo>
                  <a:lnTo>
                    <a:pt x="24" y="432"/>
                  </a:lnTo>
                  <a:lnTo>
                    <a:pt x="23" y="431"/>
                  </a:lnTo>
                  <a:lnTo>
                    <a:pt x="21" y="428"/>
                  </a:lnTo>
                  <a:lnTo>
                    <a:pt x="20" y="425"/>
                  </a:lnTo>
                  <a:lnTo>
                    <a:pt x="19" y="423"/>
                  </a:lnTo>
                  <a:lnTo>
                    <a:pt x="18" y="419"/>
                  </a:lnTo>
                  <a:lnTo>
                    <a:pt x="17" y="417"/>
                  </a:lnTo>
                  <a:lnTo>
                    <a:pt x="17" y="416"/>
                  </a:lnTo>
                  <a:lnTo>
                    <a:pt x="16" y="415"/>
                  </a:lnTo>
                  <a:lnTo>
                    <a:pt x="15" y="413"/>
                  </a:lnTo>
                  <a:lnTo>
                    <a:pt x="12" y="408"/>
                  </a:lnTo>
                  <a:lnTo>
                    <a:pt x="11" y="407"/>
                  </a:lnTo>
                  <a:lnTo>
                    <a:pt x="11" y="405"/>
                  </a:lnTo>
                  <a:lnTo>
                    <a:pt x="10" y="404"/>
                  </a:lnTo>
                  <a:lnTo>
                    <a:pt x="10" y="402"/>
                  </a:lnTo>
                  <a:lnTo>
                    <a:pt x="10" y="401"/>
                  </a:lnTo>
                  <a:lnTo>
                    <a:pt x="10" y="398"/>
                  </a:lnTo>
                  <a:lnTo>
                    <a:pt x="10" y="397"/>
                  </a:lnTo>
                  <a:lnTo>
                    <a:pt x="10" y="396"/>
                  </a:lnTo>
                  <a:lnTo>
                    <a:pt x="10" y="394"/>
                  </a:lnTo>
                  <a:lnTo>
                    <a:pt x="11" y="393"/>
                  </a:lnTo>
                  <a:lnTo>
                    <a:pt x="11" y="391"/>
                  </a:lnTo>
                  <a:lnTo>
                    <a:pt x="11" y="390"/>
                  </a:lnTo>
                  <a:lnTo>
                    <a:pt x="12" y="389"/>
                  </a:lnTo>
                  <a:lnTo>
                    <a:pt x="12" y="387"/>
                  </a:lnTo>
                  <a:lnTo>
                    <a:pt x="14" y="386"/>
                  </a:lnTo>
                  <a:lnTo>
                    <a:pt x="16" y="382"/>
                  </a:lnTo>
                  <a:lnTo>
                    <a:pt x="17" y="381"/>
                  </a:lnTo>
                  <a:lnTo>
                    <a:pt x="17" y="380"/>
                  </a:lnTo>
                  <a:lnTo>
                    <a:pt x="18" y="379"/>
                  </a:lnTo>
                  <a:lnTo>
                    <a:pt x="18" y="378"/>
                  </a:lnTo>
                  <a:lnTo>
                    <a:pt x="18" y="376"/>
                  </a:lnTo>
                  <a:lnTo>
                    <a:pt x="18" y="375"/>
                  </a:lnTo>
                  <a:lnTo>
                    <a:pt x="18" y="373"/>
                  </a:lnTo>
                  <a:lnTo>
                    <a:pt x="17" y="368"/>
                  </a:lnTo>
                  <a:lnTo>
                    <a:pt x="17" y="366"/>
                  </a:lnTo>
                  <a:lnTo>
                    <a:pt x="16" y="364"/>
                  </a:lnTo>
                  <a:lnTo>
                    <a:pt x="16" y="360"/>
                  </a:lnTo>
                  <a:lnTo>
                    <a:pt x="16" y="354"/>
                  </a:lnTo>
                  <a:lnTo>
                    <a:pt x="15" y="352"/>
                  </a:lnTo>
                  <a:lnTo>
                    <a:pt x="15" y="350"/>
                  </a:lnTo>
                  <a:lnTo>
                    <a:pt x="14" y="348"/>
                  </a:lnTo>
                  <a:lnTo>
                    <a:pt x="12" y="342"/>
                  </a:lnTo>
                  <a:lnTo>
                    <a:pt x="9" y="335"/>
                  </a:lnTo>
                  <a:lnTo>
                    <a:pt x="8" y="331"/>
                  </a:lnTo>
                  <a:lnTo>
                    <a:pt x="7" y="329"/>
                  </a:lnTo>
                  <a:lnTo>
                    <a:pt x="7" y="326"/>
                  </a:lnTo>
                  <a:lnTo>
                    <a:pt x="5" y="319"/>
                  </a:lnTo>
                  <a:lnTo>
                    <a:pt x="4" y="316"/>
                  </a:lnTo>
                  <a:lnTo>
                    <a:pt x="3" y="312"/>
                  </a:lnTo>
                  <a:lnTo>
                    <a:pt x="1" y="307"/>
                  </a:lnTo>
                  <a:lnTo>
                    <a:pt x="1" y="305"/>
                  </a:lnTo>
                  <a:lnTo>
                    <a:pt x="0" y="303"/>
                  </a:lnTo>
                  <a:lnTo>
                    <a:pt x="0" y="302"/>
                  </a:lnTo>
                  <a:lnTo>
                    <a:pt x="0" y="301"/>
                  </a:lnTo>
                  <a:lnTo>
                    <a:pt x="0" y="300"/>
                  </a:lnTo>
                  <a:lnTo>
                    <a:pt x="1" y="300"/>
                  </a:lnTo>
                  <a:lnTo>
                    <a:pt x="1" y="299"/>
                  </a:lnTo>
                  <a:lnTo>
                    <a:pt x="1" y="299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3" y="297"/>
                  </a:lnTo>
                  <a:lnTo>
                    <a:pt x="4" y="297"/>
                  </a:lnTo>
                  <a:lnTo>
                    <a:pt x="5" y="296"/>
                  </a:lnTo>
                  <a:lnTo>
                    <a:pt x="7" y="296"/>
                  </a:lnTo>
                  <a:lnTo>
                    <a:pt x="10" y="296"/>
                  </a:lnTo>
                  <a:lnTo>
                    <a:pt x="12" y="295"/>
                  </a:lnTo>
                  <a:lnTo>
                    <a:pt x="13" y="295"/>
                  </a:lnTo>
                  <a:lnTo>
                    <a:pt x="14" y="294"/>
                  </a:lnTo>
                  <a:lnTo>
                    <a:pt x="15" y="294"/>
                  </a:lnTo>
                  <a:lnTo>
                    <a:pt x="15" y="293"/>
                  </a:lnTo>
                  <a:lnTo>
                    <a:pt x="17" y="292"/>
                  </a:lnTo>
                  <a:lnTo>
                    <a:pt x="18" y="290"/>
                  </a:lnTo>
                  <a:lnTo>
                    <a:pt x="19" y="289"/>
                  </a:lnTo>
                  <a:lnTo>
                    <a:pt x="20" y="287"/>
                  </a:lnTo>
                  <a:lnTo>
                    <a:pt x="21" y="286"/>
                  </a:lnTo>
                  <a:lnTo>
                    <a:pt x="25" y="283"/>
                  </a:lnTo>
                  <a:lnTo>
                    <a:pt x="26" y="281"/>
                  </a:lnTo>
                  <a:lnTo>
                    <a:pt x="31" y="278"/>
                  </a:lnTo>
                  <a:lnTo>
                    <a:pt x="32" y="276"/>
                  </a:lnTo>
                  <a:lnTo>
                    <a:pt x="33" y="275"/>
                  </a:lnTo>
                  <a:lnTo>
                    <a:pt x="34" y="274"/>
                  </a:lnTo>
                  <a:lnTo>
                    <a:pt x="35" y="273"/>
                  </a:lnTo>
                  <a:lnTo>
                    <a:pt x="35" y="272"/>
                  </a:lnTo>
                  <a:lnTo>
                    <a:pt x="36" y="271"/>
                  </a:lnTo>
                  <a:lnTo>
                    <a:pt x="37" y="269"/>
                  </a:lnTo>
                  <a:lnTo>
                    <a:pt x="37" y="267"/>
                  </a:lnTo>
                  <a:lnTo>
                    <a:pt x="37" y="266"/>
                  </a:lnTo>
                  <a:lnTo>
                    <a:pt x="37" y="265"/>
                  </a:lnTo>
                  <a:lnTo>
                    <a:pt x="37" y="263"/>
                  </a:lnTo>
                  <a:lnTo>
                    <a:pt x="37" y="258"/>
                  </a:lnTo>
                  <a:lnTo>
                    <a:pt x="36" y="256"/>
                  </a:lnTo>
                  <a:lnTo>
                    <a:pt x="36" y="253"/>
                  </a:lnTo>
                  <a:lnTo>
                    <a:pt x="36" y="252"/>
                  </a:lnTo>
                  <a:lnTo>
                    <a:pt x="35" y="250"/>
                  </a:lnTo>
                  <a:lnTo>
                    <a:pt x="36" y="249"/>
                  </a:lnTo>
                  <a:lnTo>
                    <a:pt x="36" y="248"/>
                  </a:lnTo>
                  <a:lnTo>
                    <a:pt x="36" y="247"/>
                  </a:lnTo>
                  <a:lnTo>
                    <a:pt x="36" y="245"/>
                  </a:lnTo>
                  <a:lnTo>
                    <a:pt x="38" y="241"/>
                  </a:lnTo>
                  <a:lnTo>
                    <a:pt x="38" y="240"/>
                  </a:lnTo>
                  <a:lnTo>
                    <a:pt x="38" y="239"/>
                  </a:lnTo>
                  <a:lnTo>
                    <a:pt x="38" y="237"/>
                  </a:lnTo>
                  <a:lnTo>
                    <a:pt x="38" y="236"/>
                  </a:lnTo>
                  <a:lnTo>
                    <a:pt x="37" y="231"/>
                  </a:lnTo>
                  <a:lnTo>
                    <a:pt x="37" y="229"/>
                  </a:lnTo>
                  <a:lnTo>
                    <a:pt x="37" y="227"/>
                  </a:lnTo>
                  <a:lnTo>
                    <a:pt x="37" y="226"/>
                  </a:lnTo>
                  <a:lnTo>
                    <a:pt x="38" y="225"/>
                  </a:lnTo>
                  <a:lnTo>
                    <a:pt x="38" y="224"/>
                  </a:lnTo>
                  <a:lnTo>
                    <a:pt x="38" y="223"/>
                  </a:lnTo>
                  <a:lnTo>
                    <a:pt x="40" y="220"/>
                  </a:lnTo>
                  <a:lnTo>
                    <a:pt x="41" y="219"/>
                  </a:lnTo>
                  <a:lnTo>
                    <a:pt x="43" y="214"/>
                  </a:lnTo>
                  <a:lnTo>
                    <a:pt x="44" y="210"/>
                  </a:lnTo>
                  <a:lnTo>
                    <a:pt x="45" y="208"/>
                  </a:lnTo>
                  <a:lnTo>
                    <a:pt x="47" y="203"/>
                  </a:lnTo>
                  <a:lnTo>
                    <a:pt x="51" y="192"/>
                  </a:lnTo>
                  <a:lnTo>
                    <a:pt x="52" y="187"/>
                  </a:lnTo>
                  <a:lnTo>
                    <a:pt x="55" y="181"/>
                  </a:lnTo>
                  <a:lnTo>
                    <a:pt x="55" y="179"/>
                  </a:lnTo>
                  <a:lnTo>
                    <a:pt x="56" y="177"/>
                  </a:lnTo>
                  <a:lnTo>
                    <a:pt x="56" y="175"/>
                  </a:lnTo>
                  <a:lnTo>
                    <a:pt x="57" y="173"/>
                  </a:lnTo>
                  <a:lnTo>
                    <a:pt x="57" y="171"/>
                  </a:lnTo>
                  <a:lnTo>
                    <a:pt x="57" y="169"/>
                  </a:lnTo>
                  <a:lnTo>
                    <a:pt x="57" y="167"/>
                  </a:lnTo>
                  <a:lnTo>
                    <a:pt x="57" y="165"/>
                  </a:lnTo>
                  <a:lnTo>
                    <a:pt x="57" y="165"/>
                  </a:lnTo>
                  <a:lnTo>
                    <a:pt x="57" y="165"/>
                  </a:lnTo>
                  <a:lnTo>
                    <a:pt x="58" y="165"/>
                  </a:lnTo>
                  <a:lnTo>
                    <a:pt x="59" y="164"/>
                  </a:lnTo>
                  <a:lnTo>
                    <a:pt x="60" y="163"/>
                  </a:lnTo>
                  <a:lnTo>
                    <a:pt x="60" y="163"/>
                  </a:lnTo>
                  <a:lnTo>
                    <a:pt x="61" y="162"/>
                  </a:lnTo>
                  <a:lnTo>
                    <a:pt x="65" y="157"/>
                  </a:lnTo>
                  <a:lnTo>
                    <a:pt x="66" y="156"/>
                  </a:lnTo>
                  <a:lnTo>
                    <a:pt x="67" y="155"/>
                  </a:lnTo>
                  <a:lnTo>
                    <a:pt x="69" y="154"/>
                  </a:lnTo>
                  <a:lnTo>
                    <a:pt x="71" y="152"/>
                  </a:lnTo>
                  <a:lnTo>
                    <a:pt x="72" y="151"/>
                  </a:lnTo>
                  <a:lnTo>
                    <a:pt x="74" y="150"/>
                  </a:lnTo>
                  <a:lnTo>
                    <a:pt x="75" y="150"/>
                  </a:lnTo>
                  <a:lnTo>
                    <a:pt x="76" y="149"/>
                  </a:lnTo>
                  <a:lnTo>
                    <a:pt x="78" y="149"/>
                  </a:lnTo>
                  <a:lnTo>
                    <a:pt x="79" y="148"/>
                  </a:lnTo>
                  <a:lnTo>
                    <a:pt x="81" y="148"/>
                  </a:lnTo>
                  <a:lnTo>
                    <a:pt x="86" y="147"/>
                  </a:lnTo>
                  <a:lnTo>
                    <a:pt x="88" y="147"/>
                  </a:lnTo>
                  <a:lnTo>
                    <a:pt x="91" y="146"/>
                  </a:lnTo>
                  <a:lnTo>
                    <a:pt x="92" y="146"/>
                  </a:lnTo>
                  <a:lnTo>
                    <a:pt x="94" y="145"/>
                  </a:lnTo>
                  <a:lnTo>
                    <a:pt x="95" y="144"/>
                  </a:lnTo>
                  <a:lnTo>
                    <a:pt x="97" y="143"/>
                  </a:lnTo>
                  <a:lnTo>
                    <a:pt x="99" y="141"/>
                  </a:lnTo>
                  <a:lnTo>
                    <a:pt x="100" y="140"/>
                  </a:lnTo>
                  <a:lnTo>
                    <a:pt x="101" y="140"/>
                  </a:lnTo>
                  <a:lnTo>
                    <a:pt x="102" y="139"/>
                  </a:lnTo>
                  <a:lnTo>
                    <a:pt x="102" y="139"/>
                  </a:lnTo>
                  <a:lnTo>
                    <a:pt x="103" y="139"/>
                  </a:lnTo>
                  <a:lnTo>
                    <a:pt x="104" y="139"/>
                  </a:lnTo>
                  <a:lnTo>
                    <a:pt x="105" y="139"/>
                  </a:lnTo>
                  <a:lnTo>
                    <a:pt x="106" y="140"/>
                  </a:lnTo>
                  <a:lnTo>
                    <a:pt x="107" y="141"/>
                  </a:lnTo>
                  <a:lnTo>
                    <a:pt x="111" y="145"/>
                  </a:lnTo>
                  <a:lnTo>
                    <a:pt x="113" y="146"/>
                  </a:lnTo>
                  <a:lnTo>
                    <a:pt x="113" y="147"/>
                  </a:lnTo>
                  <a:lnTo>
                    <a:pt x="114" y="147"/>
                  </a:lnTo>
                  <a:lnTo>
                    <a:pt x="115" y="147"/>
                  </a:lnTo>
                  <a:lnTo>
                    <a:pt x="116" y="148"/>
                  </a:lnTo>
                  <a:lnTo>
                    <a:pt x="117" y="148"/>
                  </a:lnTo>
                  <a:lnTo>
                    <a:pt x="118" y="147"/>
                  </a:lnTo>
                  <a:lnTo>
                    <a:pt x="119" y="147"/>
                  </a:lnTo>
                  <a:lnTo>
                    <a:pt x="119" y="146"/>
                  </a:lnTo>
                  <a:lnTo>
                    <a:pt x="120" y="145"/>
                  </a:lnTo>
                  <a:lnTo>
                    <a:pt x="121" y="144"/>
                  </a:lnTo>
                  <a:lnTo>
                    <a:pt x="121" y="143"/>
                  </a:lnTo>
                  <a:lnTo>
                    <a:pt x="122" y="142"/>
                  </a:lnTo>
                  <a:lnTo>
                    <a:pt x="122" y="141"/>
                  </a:lnTo>
                  <a:lnTo>
                    <a:pt x="121" y="139"/>
                  </a:lnTo>
                  <a:lnTo>
                    <a:pt x="121" y="138"/>
                  </a:lnTo>
                  <a:lnTo>
                    <a:pt x="120" y="134"/>
                  </a:lnTo>
                  <a:lnTo>
                    <a:pt x="119" y="132"/>
                  </a:lnTo>
                  <a:lnTo>
                    <a:pt x="119" y="129"/>
                  </a:lnTo>
                  <a:lnTo>
                    <a:pt x="119" y="127"/>
                  </a:lnTo>
                  <a:lnTo>
                    <a:pt x="118" y="126"/>
                  </a:lnTo>
                  <a:lnTo>
                    <a:pt x="119" y="124"/>
                  </a:lnTo>
                  <a:lnTo>
                    <a:pt x="119" y="119"/>
                  </a:lnTo>
                  <a:lnTo>
                    <a:pt x="119" y="116"/>
                  </a:lnTo>
                  <a:lnTo>
                    <a:pt x="120" y="114"/>
                  </a:lnTo>
                  <a:lnTo>
                    <a:pt x="119" y="111"/>
                  </a:lnTo>
                  <a:lnTo>
                    <a:pt x="119" y="109"/>
                  </a:lnTo>
                  <a:lnTo>
                    <a:pt x="118" y="107"/>
                  </a:lnTo>
                  <a:lnTo>
                    <a:pt x="118" y="105"/>
                  </a:lnTo>
                  <a:lnTo>
                    <a:pt x="117" y="103"/>
                  </a:lnTo>
                  <a:lnTo>
                    <a:pt x="115" y="101"/>
                  </a:lnTo>
                  <a:lnTo>
                    <a:pt x="114" y="99"/>
                  </a:lnTo>
                  <a:lnTo>
                    <a:pt x="112" y="98"/>
                  </a:lnTo>
                  <a:lnTo>
                    <a:pt x="111" y="97"/>
                  </a:lnTo>
                  <a:lnTo>
                    <a:pt x="110" y="96"/>
                  </a:lnTo>
                  <a:lnTo>
                    <a:pt x="108" y="94"/>
                  </a:lnTo>
                  <a:lnTo>
                    <a:pt x="100" y="90"/>
                  </a:lnTo>
                  <a:lnTo>
                    <a:pt x="98" y="89"/>
                  </a:lnTo>
                  <a:lnTo>
                    <a:pt x="95" y="88"/>
                  </a:lnTo>
                  <a:lnTo>
                    <a:pt x="94" y="87"/>
                  </a:lnTo>
                  <a:lnTo>
                    <a:pt x="92" y="86"/>
                  </a:lnTo>
                  <a:lnTo>
                    <a:pt x="91" y="85"/>
                  </a:lnTo>
                  <a:lnTo>
                    <a:pt x="90" y="84"/>
                  </a:lnTo>
                  <a:lnTo>
                    <a:pt x="89" y="83"/>
                  </a:lnTo>
                  <a:lnTo>
                    <a:pt x="88" y="82"/>
                  </a:lnTo>
                  <a:lnTo>
                    <a:pt x="88" y="80"/>
                  </a:lnTo>
                  <a:lnTo>
                    <a:pt x="87" y="79"/>
                  </a:lnTo>
                  <a:lnTo>
                    <a:pt x="86" y="77"/>
                  </a:lnTo>
                  <a:lnTo>
                    <a:pt x="84" y="70"/>
                  </a:lnTo>
                  <a:lnTo>
                    <a:pt x="80" y="64"/>
                  </a:lnTo>
                  <a:lnTo>
                    <a:pt x="79" y="60"/>
                  </a:lnTo>
                  <a:lnTo>
                    <a:pt x="78" y="57"/>
                  </a:lnTo>
                  <a:lnTo>
                    <a:pt x="76" y="52"/>
                  </a:lnTo>
                  <a:lnTo>
                    <a:pt x="75" y="48"/>
                  </a:lnTo>
                  <a:lnTo>
                    <a:pt x="74" y="46"/>
                  </a:lnTo>
                  <a:lnTo>
                    <a:pt x="73" y="44"/>
                  </a:lnTo>
                  <a:lnTo>
                    <a:pt x="72" y="43"/>
                  </a:lnTo>
                  <a:lnTo>
                    <a:pt x="72" y="42"/>
                  </a:lnTo>
                  <a:lnTo>
                    <a:pt x="71" y="41"/>
                  </a:lnTo>
                  <a:lnTo>
                    <a:pt x="70" y="40"/>
                  </a:lnTo>
                  <a:lnTo>
                    <a:pt x="69" y="39"/>
                  </a:lnTo>
                  <a:lnTo>
                    <a:pt x="65" y="36"/>
                  </a:lnTo>
                  <a:lnTo>
                    <a:pt x="61" y="32"/>
                  </a:lnTo>
                  <a:lnTo>
                    <a:pt x="59" y="31"/>
                  </a:lnTo>
                  <a:lnTo>
                    <a:pt x="58" y="30"/>
                  </a:lnTo>
                  <a:lnTo>
                    <a:pt x="58" y="29"/>
                  </a:lnTo>
                  <a:lnTo>
                    <a:pt x="57" y="28"/>
                  </a:lnTo>
                  <a:lnTo>
                    <a:pt x="56" y="27"/>
                  </a:lnTo>
                  <a:lnTo>
                    <a:pt x="56" y="26"/>
                  </a:lnTo>
                  <a:lnTo>
                    <a:pt x="55" y="25"/>
                  </a:lnTo>
                  <a:lnTo>
                    <a:pt x="55" y="24"/>
                  </a:lnTo>
                  <a:lnTo>
                    <a:pt x="55" y="23"/>
                  </a:lnTo>
                  <a:lnTo>
                    <a:pt x="55" y="22"/>
                  </a:lnTo>
                  <a:lnTo>
                    <a:pt x="55" y="21"/>
                  </a:lnTo>
                  <a:lnTo>
                    <a:pt x="56" y="19"/>
                  </a:lnTo>
                  <a:lnTo>
                    <a:pt x="56" y="17"/>
                  </a:lnTo>
                  <a:lnTo>
                    <a:pt x="57" y="15"/>
                  </a:lnTo>
                  <a:lnTo>
                    <a:pt x="58" y="13"/>
                  </a:lnTo>
                  <a:lnTo>
                    <a:pt x="60" y="11"/>
                  </a:lnTo>
                  <a:lnTo>
                    <a:pt x="61" y="9"/>
                  </a:lnTo>
                  <a:lnTo>
                    <a:pt x="63" y="7"/>
                  </a:lnTo>
                  <a:lnTo>
                    <a:pt x="64" y="5"/>
                  </a:lnTo>
                  <a:lnTo>
                    <a:pt x="65" y="4"/>
                  </a:lnTo>
                  <a:lnTo>
                    <a:pt x="67" y="3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1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1"/>
                  </a:lnTo>
                  <a:lnTo>
                    <a:pt x="74" y="2"/>
                  </a:lnTo>
                  <a:lnTo>
                    <a:pt x="76" y="4"/>
                  </a:lnTo>
                  <a:lnTo>
                    <a:pt x="79" y="5"/>
                  </a:lnTo>
                  <a:lnTo>
                    <a:pt x="83" y="7"/>
                  </a:lnTo>
                  <a:lnTo>
                    <a:pt x="89" y="11"/>
                  </a:lnTo>
                  <a:lnTo>
                    <a:pt x="92" y="13"/>
                  </a:lnTo>
                  <a:lnTo>
                    <a:pt x="96" y="15"/>
                  </a:lnTo>
                  <a:lnTo>
                    <a:pt x="97" y="15"/>
                  </a:lnTo>
                  <a:lnTo>
                    <a:pt x="98" y="16"/>
                  </a:lnTo>
                  <a:lnTo>
                    <a:pt x="100" y="16"/>
                  </a:lnTo>
                  <a:lnTo>
                    <a:pt x="102" y="16"/>
                  </a:lnTo>
                  <a:lnTo>
                    <a:pt x="104" y="16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13" y="17"/>
                  </a:lnTo>
                  <a:lnTo>
                    <a:pt x="118" y="18"/>
                  </a:lnTo>
                  <a:lnTo>
                    <a:pt x="120" y="19"/>
                  </a:lnTo>
                  <a:lnTo>
                    <a:pt x="122" y="20"/>
                  </a:lnTo>
                  <a:lnTo>
                    <a:pt x="130" y="23"/>
                  </a:lnTo>
                  <a:lnTo>
                    <a:pt x="133" y="24"/>
                  </a:lnTo>
                  <a:lnTo>
                    <a:pt x="135" y="25"/>
                  </a:lnTo>
                  <a:lnTo>
                    <a:pt x="138" y="26"/>
                  </a:lnTo>
                  <a:lnTo>
                    <a:pt x="142" y="27"/>
                  </a:lnTo>
                  <a:lnTo>
                    <a:pt x="144" y="27"/>
                  </a:lnTo>
                  <a:lnTo>
                    <a:pt x="149" y="28"/>
                  </a:lnTo>
                  <a:lnTo>
                    <a:pt x="151" y="28"/>
                  </a:lnTo>
                  <a:lnTo>
                    <a:pt x="152" y="28"/>
                  </a:lnTo>
                  <a:lnTo>
                    <a:pt x="154" y="29"/>
                  </a:lnTo>
                  <a:lnTo>
                    <a:pt x="155" y="30"/>
                  </a:lnTo>
                  <a:lnTo>
                    <a:pt x="157" y="31"/>
                  </a:lnTo>
                  <a:lnTo>
                    <a:pt x="159" y="32"/>
                  </a:lnTo>
                  <a:lnTo>
                    <a:pt x="160" y="33"/>
                  </a:lnTo>
                  <a:lnTo>
                    <a:pt x="167" y="37"/>
                  </a:lnTo>
                  <a:lnTo>
                    <a:pt x="169" y="38"/>
                  </a:lnTo>
                  <a:lnTo>
                    <a:pt x="170" y="38"/>
                  </a:lnTo>
                  <a:lnTo>
                    <a:pt x="172" y="39"/>
                  </a:lnTo>
                  <a:lnTo>
                    <a:pt x="174" y="39"/>
                  </a:lnTo>
                  <a:lnTo>
                    <a:pt x="175" y="39"/>
                  </a:lnTo>
                  <a:lnTo>
                    <a:pt x="177" y="40"/>
                  </a:lnTo>
                  <a:lnTo>
                    <a:pt x="179" y="40"/>
                  </a:lnTo>
                  <a:lnTo>
                    <a:pt x="185" y="39"/>
                  </a:lnTo>
                  <a:lnTo>
                    <a:pt x="187" y="39"/>
                  </a:lnTo>
                  <a:lnTo>
                    <a:pt x="188" y="39"/>
                  </a:lnTo>
                  <a:lnTo>
                    <a:pt x="189" y="39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2" y="40"/>
                  </a:lnTo>
                  <a:lnTo>
                    <a:pt x="193" y="41"/>
                  </a:lnTo>
                  <a:lnTo>
                    <a:pt x="193" y="42"/>
                  </a:lnTo>
                  <a:lnTo>
                    <a:pt x="194" y="42"/>
                  </a:lnTo>
                  <a:lnTo>
                    <a:pt x="195" y="44"/>
                  </a:lnTo>
                  <a:lnTo>
                    <a:pt x="197" y="50"/>
                  </a:lnTo>
                  <a:lnTo>
                    <a:pt x="198" y="52"/>
                  </a:lnTo>
                  <a:lnTo>
                    <a:pt x="200" y="54"/>
                  </a:lnTo>
                  <a:lnTo>
                    <a:pt x="201" y="57"/>
                  </a:lnTo>
                  <a:lnTo>
                    <a:pt x="203" y="59"/>
                  </a:lnTo>
                  <a:lnTo>
                    <a:pt x="205" y="61"/>
                  </a:lnTo>
                  <a:lnTo>
                    <a:pt x="206" y="63"/>
                  </a:lnTo>
                  <a:lnTo>
                    <a:pt x="207" y="64"/>
                  </a:lnTo>
                  <a:lnTo>
                    <a:pt x="209" y="66"/>
                  </a:lnTo>
                  <a:lnTo>
                    <a:pt x="211" y="67"/>
                  </a:lnTo>
                  <a:lnTo>
                    <a:pt x="213" y="69"/>
                  </a:lnTo>
                  <a:lnTo>
                    <a:pt x="216" y="71"/>
                  </a:lnTo>
                  <a:lnTo>
                    <a:pt x="217" y="72"/>
                  </a:lnTo>
                  <a:lnTo>
                    <a:pt x="219" y="73"/>
                  </a:lnTo>
                  <a:lnTo>
                    <a:pt x="221" y="74"/>
                  </a:lnTo>
                  <a:lnTo>
                    <a:pt x="223" y="76"/>
                  </a:lnTo>
                  <a:lnTo>
                    <a:pt x="226" y="77"/>
                  </a:lnTo>
                  <a:lnTo>
                    <a:pt x="227" y="77"/>
                  </a:lnTo>
                  <a:lnTo>
                    <a:pt x="229" y="78"/>
                  </a:lnTo>
                  <a:lnTo>
                    <a:pt x="230" y="78"/>
                  </a:lnTo>
                  <a:lnTo>
                    <a:pt x="232" y="79"/>
                  </a:lnTo>
                  <a:lnTo>
                    <a:pt x="233" y="79"/>
                  </a:lnTo>
                  <a:lnTo>
                    <a:pt x="235" y="79"/>
                  </a:lnTo>
                  <a:lnTo>
                    <a:pt x="236" y="79"/>
                  </a:lnTo>
                  <a:lnTo>
                    <a:pt x="238" y="79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7" name="Freeform 255">
              <a:extLst>
                <a:ext uri="{FF2B5EF4-FFF2-40B4-BE49-F238E27FC236}">
                  <a16:creationId xmlns:a16="http://schemas.microsoft.com/office/drawing/2014/main" id="{907199A2-1020-4271-96E5-27FC2AD83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5113" y="2818286"/>
              <a:ext cx="558437" cy="461628"/>
            </a:xfrm>
            <a:custGeom>
              <a:avLst/>
              <a:gdLst>
                <a:gd name="T0" fmla="*/ 363 w 548"/>
                <a:gd name="T1" fmla="*/ 11 h 453"/>
                <a:gd name="T2" fmla="*/ 390 w 548"/>
                <a:gd name="T3" fmla="*/ 16 h 453"/>
                <a:gd name="T4" fmla="*/ 436 w 548"/>
                <a:gd name="T5" fmla="*/ 14 h 453"/>
                <a:gd name="T6" fmla="*/ 469 w 548"/>
                <a:gd name="T7" fmla="*/ 28 h 453"/>
                <a:gd name="T8" fmla="*/ 495 w 548"/>
                <a:gd name="T9" fmla="*/ 28 h 453"/>
                <a:gd name="T10" fmla="*/ 518 w 548"/>
                <a:gd name="T11" fmla="*/ 54 h 453"/>
                <a:gd name="T12" fmla="*/ 534 w 548"/>
                <a:gd name="T13" fmla="*/ 78 h 453"/>
                <a:gd name="T14" fmla="*/ 547 w 548"/>
                <a:gd name="T15" fmla="*/ 93 h 453"/>
                <a:gd name="T16" fmla="*/ 536 w 548"/>
                <a:gd name="T17" fmla="*/ 126 h 453"/>
                <a:gd name="T18" fmla="*/ 481 w 548"/>
                <a:gd name="T19" fmla="*/ 153 h 453"/>
                <a:gd name="T20" fmla="*/ 452 w 548"/>
                <a:gd name="T21" fmla="*/ 172 h 453"/>
                <a:gd name="T22" fmla="*/ 441 w 548"/>
                <a:gd name="T23" fmla="*/ 204 h 453"/>
                <a:gd name="T24" fmla="*/ 434 w 548"/>
                <a:gd name="T25" fmla="*/ 242 h 453"/>
                <a:gd name="T26" fmla="*/ 429 w 548"/>
                <a:gd name="T27" fmla="*/ 272 h 453"/>
                <a:gd name="T28" fmla="*/ 420 w 548"/>
                <a:gd name="T29" fmla="*/ 313 h 453"/>
                <a:gd name="T30" fmla="*/ 391 w 548"/>
                <a:gd name="T31" fmla="*/ 336 h 453"/>
                <a:gd name="T32" fmla="*/ 355 w 548"/>
                <a:gd name="T33" fmla="*/ 340 h 453"/>
                <a:gd name="T34" fmla="*/ 342 w 548"/>
                <a:gd name="T35" fmla="*/ 366 h 453"/>
                <a:gd name="T36" fmla="*/ 332 w 548"/>
                <a:gd name="T37" fmla="*/ 399 h 453"/>
                <a:gd name="T38" fmla="*/ 297 w 548"/>
                <a:gd name="T39" fmla="*/ 406 h 453"/>
                <a:gd name="T40" fmla="*/ 272 w 548"/>
                <a:gd name="T41" fmla="*/ 432 h 453"/>
                <a:gd name="T42" fmla="*/ 233 w 548"/>
                <a:gd name="T43" fmla="*/ 453 h 453"/>
                <a:gd name="T44" fmla="*/ 211 w 548"/>
                <a:gd name="T45" fmla="*/ 419 h 453"/>
                <a:gd name="T46" fmla="*/ 188 w 548"/>
                <a:gd name="T47" fmla="*/ 404 h 453"/>
                <a:gd name="T48" fmla="*/ 177 w 548"/>
                <a:gd name="T49" fmla="*/ 389 h 453"/>
                <a:gd name="T50" fmla="*/ 142 w 548"/>
                <a:gd name="T51" fmla="*/ 389 h 453"/>
                <a:gd name="T52" fmla="*/ 117 w 548"/>
                <a:gd name="T53" fmla="*/ 377 h 453"/>
                <a:gd name="T54" fmla="*/ 105 w 548"/>
                <a:gd name="T55" fmla="*/ 362 h 453"/>
                <a:gd name="T56" fmla="*/ 74 w 548"/>
                <a:gd name="T57" fmla="*/ 351 h 453"/>
                <a:gd name="T58" fmla="*/ 54 w 548"/>
                <a:gd name="T59" fmla="*/ 339 h 453"/>
                <a:gd name="T60" fmla="*/ 48 w 548"/>
                <a:gd name="T61" fmla="*/ 320 h 453"/>
                <a:gd name="T62" fmla="*/ 34 w 548"/>
                <a:gd name="T63" fmla="*/ 307 h 453"/>
                <a:gd name="T64" fmla="*/ 2 w 548"/>
                <a:gd name="T65" fmla="*/ 313 h 453"/>
                <a:gd name="T66" fmla="*/ 5 w 548"/>
                <a:gd name="T67" fmla="*/ 297 h 453"/>
                <a:gd name="T68" fmla="*/ 25 w 548"/>
                <a:gd name="T69" fmla="*/ 273 h 453"/>
                <a:gd name="T70" fmla="*/ 33 w 548"/>
                <a:gd name="T71" fmla="*/ 252 h 453"/>
                <a:gd name="T72" fmla="*/ 17 w 548"/>
                <a:gd name="T73" fmla="*/ 248 h 453"/>
                <a:gd name="T74" fmla="*/ 10 w 548"/>
                <a:gd name="T75" fmla="*/ 226 h 453"/>
                <a:gd name="T76" fmla="*/ 9 w 548"/>
                <a:gd name="T77" fmla="*/ 197 h 453"/>
                <a:gd name="T78" fmla="*/ 24 w 548"/>
                <a:gd name="T79" fmla="*/ 178 h 453"/>
                <a:gd name="T80" fmla="*/ 55 w 548"/>
                <a:gd name="T81" fmla="*/ 168 h 453"/>
                <a:gd name="T82" fmla="*/ 76 w 548"/>
                <a:gd name="T83" fmla="*/ 157 h 453"/>
                <a:gd name="T84" fmla="*/ 95 w 548"/>
                <a:gd name="T85" fmla="*/ 133 h 453"/>
                <a:gd name="T86" fmla="*/ 89 w 548"/>
                <a:gd name="T87" fmla="*/ 108 h 453"/>
                <a:gd name="T88" fmla="*/ 103 w 548"/>
                <a:gd name="T89" fmla="*/ 95 h 453"/>
                <a:gd name="T90" fmla="*/ 109 w 548"/>
                <a:gd name="T91" fmla="*/ 109 h 453"/>
                <a:gd name="T92" fmla="*/ 137 w 548"/>
                <a:gd name="T93" fmla="*/ 115 h 453"/>
                <a:gd name="T94" fmla="*/ 157 w 548"/>
                <a:gd name="T95" fmla="*/ 118 h 453"/>
                <a:gd name="T96" fmla="*/ 165 w 548"/>
                <a:gd name="T97" fmla="*/ 99 h 453"/>
                <a:gd name="T98" fmla="*/ 193 w 548"/>
                <a:gd name="T99" fmla="*/ 94 h 453"/>
                <a:gd name="T100" fmla="*/ 212 w 548"/>
                <a:gd name="T101" fmla="*/ 95 h 453"/>
                <a:gd name="T102" fmla="*/ 218 w 548"/>
                <a:gd name="T103" fmla="*/ 80 h 453"/>
                <a:gd name="T104" fmla="*/ 216 w 548"/>
                <a:gd name="T105" fmla="*/ 65 h 453"/>
                <a:gd name="T106" fmla="*/ 229 w 548"/>
                <a:gd name="T107" fmla="*/ 63 h 453"/>
                <a:gd name="T108" fmla="*/ 246 w 548"/>
                <a:gd name="T109" fmla="*/ 63 h 453"/>
                <a:gd name="T110" fmla="*/ 272 w 548"/>
                <a:gd name="T111" fmla="*/ 68 h 453"/>
                <a:gd name="T112" fmla="*/ 282 w 548"/>
                <a:gd name="T113" fmla="*/ 40 h 453"/>
                <a:gd name="T114" fmla="*/ 298 w 548"/>
                <a:gd name="T115" fmla="*/ 22 h 453"/>
                <a:gd name="T116" fmla="*/ 318 w 548"/>
                <a:gd name="T117" fmla="*/ 17 h 453"/>
                <a:gd name="T118" fmla="*/ 331 w 548"/>
                <a:gd name="T119" fmla="*/ 6 h 453"/>
                <a:gd name="T120" fmla="*/ 340 w 548"/>
                <a:gd name="T121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8" h="453">
                  <a:moveTo>
                    <a:pt x="341" y="0"/>
                  </a:moveTo>
                  <a:lnTo>
                    <a:pt x="343" y="0"/>
                  </a:lnTo>
                  <a:lnTo>
                    <a:pt x="345" y="0"/>
                  </a:lnTo>
                  <a:lnTo>
                    <a:pt x="348" y="1"/>
                  </a:lnTo>
                  <a:lnTo>
                    <a:pt x="350" y="2"/>
                  </a:lnTo>
                  <a:lnTo>
                    <a:pt x="352" y="2"/>
                  </a:lnTo>
                  <a:lnTo>
                    <a:pt x="354" y="3"/>
                  </a:lnTo>
                  <a:lnTo>
                    <a:pt x="356" y="4"/>
                  </a:lnTo>
                  <a:lnTo>
                    <a:pt x="358" y="5"/>
                  </a:lnTo>
                  <a:lnTo>
                    <a:pt x="359" y="6"/>
                  </a:lnTo>
                  <a:lnTo>
                    <a:pt x="361" y="8"/>
                  </a:lnTo>
                  <a:lnTo>
                    <a:pt x="362" y="9"/>
                  </a:lnTo>
                  <a:lnTo>
                    <a:pt x="363" y="10"/>
                  </a:lnTo>
                  <a:lnTo>
                    <a:pt x="363" y="11"/>
                  </a:lnTo>
                  <a:lnTo>
                    <a:pt x="366" y="15"/>
                  </a:lnTo>
                  <a:lnTo>
                    <a:pt x="366" y="16"/>
                  </a:lnTo>
                  <a:lnTo>
                    <a:pt x="367" y="17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9" y="19"/>
                  </a:lnTo>
                  <a:lnTo>
                    <a:pt x="370" y="19"/>
                  </a:lnTo>
                  <a:lnTo>
                    <a:pt x="371" y="20"/>
                  </a:lnTo>
                  <a:lnTo>
                    <a:pt x="373" y="20"/>
                  </a:lnTo>
                  <a:lnTo>
                    <a:pt x="374" y="20"/>
                  </a:lnTo>
                  <a:lnTo>
                    <a:pt x="375" y="20"/>
                  </a:lnTo>
                  <a:lnTo>
                    <a:pt x="377" y="19"/>
                  </a:lnTo>
                  <a:lnTo>
                    <a:pt x="380" y="19"/>
                  </a:lnTo>
                  <a:lnTo>
                    <a:pt x="390" y="16"/>
                  </a:lnTo>
                  <a:lnTo>
                    <a:pt x="395" y="14"/>
                  </a:lnTo>
                  <a:lnTo>
                    <a:pt x="398" y="13"/>
                  </a:lnTo>
                  <a:lnTo>
                    <a:pt x="404" y="12"/>
                  </a:lnTo>
                  <a:lnTo>
                    <a:pt x="408" y="12"/>
                  </a:lnTo>
                  <a:lnTo>
                    <a:pt x="412" y="11"/>
                  </a:lnTo>
                  <a:lnTo>
                    <a:pt x="417" y="11"/>
                  </a:lnTo>
                  <a:lnTo>
                    <a:pt x="420" y="11"/>
                  </a:lnTo>
                  <a:lnTo>
                    <a:pt x="421" y="12"/>
                  </a:lnTo>
                  <a:lnTo>
                    <a:pt x="422" y="12"/>
                  </a:lnTo>
                  <a:lnTo>
                    <a:pt x="427" y="13"/>
                  </a:lnTo>
                  <a:lnTo>
                    <a:pt x="428" y="13"/>
                  </a:lnTo>
                  <a:lnTo>
                    <a:pt x="430" y="14"/>
                  </a:lnTo>
                  <a:lnTo>
                    <a:pt x="434" y="14"/>
                  </a:lnTo>
                  <a:lnTo>
                    <a:pt x="436" y="14"/>
                  </a:lnTo>
                  <a:lnTo>
                    <a:pt x="438" y="14"/>
                  </a:lnTo>
                  <a:lnTo>
                    <a:pt x="439" y="15"/>
                  </a:lnTo>
                  <a:lnTo>
                    <a:pt x="441" y="16"/>
                  </a:lnTo>
                  <a:lnTo>
                    <a:pt x="442" y="17"/>
                  </a:lnTo>
                  <a:lnTo>
                    <a:pt x="444" y="18"/>
                  </a:lnTo>
                  <a:lnTo>
                    <a:pt x="449" y="22"/>
                  </a:lnTo>
                  <a:lnTo>
                    <a:pt x="451" y="23"/>
                  </a:lnTo>
                  <a:lnTo>
                    <a:pt x="452" y="24"/>
                  </a:lnTo>
                  <a:lnTo>
                    <a:pt x="454" y="24"/>
                  </a:lnTo>
                  <a:lnTo>
                    <a:pt x="456" y="25"/>
                  </a:lnTo>
                  <a:lnTo>
                    <a:pt x="457" y="26"/>
                  </a:lnTo>
                  <a:lnTo>
                    <a:pt x="459" y="26"/>
                  </a:lnTo>
                  <a:lnTo>
                    <a:pt x="467" y="28"/>
                  </a:lnTo>
                  <a:lnTo>
                    <a:pt x="469" y="28"/>
                  </a:lnTo>
                  <a:lnTo>
                    <a:pt x="473" y="29"/>
                  </a:lnTo>
                  <a:lnTo>
                    <a:pt x="475" y="29"/>
                  </a:lnTo>
                  <a:lnTo>
                    <a:pt x="476" y="29"/>
                  </a:lnTo>
                  <a:lnTo>
                    <a:pt x="477" y="29"/>
                  </a:lnTo>
                  <a:lnTo>
                    <a:pt x="479" y="28"/>
                  </a:lnTo>
                  <a:lnTo>
                    <a:pt x="480" y="28"/>
                  </a:lnTo>
                  <a:lnTo>
                    <a:pt x="485" y="27"/>
                  </a:lnTo>
                  <a:lnTo>
                    <a:pt x="487" y="27"/>
                  </a:lnTo>
                  <a:lnTo>
                    <a:pt x="487" y="27"/>
                  </a:lnTo>
                  <a:lnTo>
                    <a:pt x="489" y="27"/>
                  </a:lnTo>
                  <a:lnTo>
                    <a:pt x="490" y="27"/>
                  </a:lnTo>
                  <a:lnTo>
                    <a:pt x="491" y="27"/>
                  </a:lnTo>
                  <a:lnTo>
                    <a:pt x="493" y="28"/>
                  </a:lnTo>
                  <a:lnTo>
                    <a:pt x="495" y="28"/>
                  </a:lnTo>
                  <a:lnTo>
                    <a:pt x="496" y="29"/>
                  </a:lnTo>
                  <a:lnTo>
                    <a:pt x="497" y="30"/>
                  </a:lnTo>
                  <a:lnTo>
                    <a:pt x="498" y="31"/>
                  </a:lnTo>
                  <a:lnTo>
                    <a:pt x="499" y="33"/>
                  </a:lnTo>
                  <a:lnTo>
                    <a:pt x="499" y="34"/>
                  </a:lnTo>
                  <a:lnTo>
                    <a:pt x="502" y="39"/>
                  </a:lnTo>
                  <a:lnTo>
                    <a:pt x="504" y="41"/>
                  </a:lnTo>
                  <a:lnTo>
                    <a:pt x="505" y="43"/>
                  </a:lnTo>
                  <a:lnTo>
                    <a:pt x="506" y="44"/>
                  </a:lnTo>
                  <a:lnTo>
                    <a:pt x="507" y="46"/>
                  </a:lnTo>
                  <a:lnTo>
                    <a:pt x="508" y="47"/>
                  </a:lnTo>
                  <a:lnTo>
                    <a:pt x="509" y="48"/>
                  </a:lnTo>
                  <a:lnTo>
                    <a:pt x="511" y="49"/>
                  </a:lnTo>
                  <a:lnTo>
                    <a:pt x="518" y="54"/>
                  </a:lnTo>
                  <a:lnTo>
                    <a:pt x="520" y="56"/>
                  </a:lnTo>
                  <a:lnTo>
                    <a:pt x="521" y="57"/>
                  </a:lnTo>
                  <a:lnTo>
                    <a:pt x="522" y="57"/>
                  </a:lnTo>
                  <a:lnTo>
                    <a:pt x="523" y="59"/>
                  </a:lnTo>
                  <a:lnTo>
                    <a:pt x="526" y="63"/>
                  </a:lnTo>
                  <a:lnTo>
                    <a:pt x="527" y="64"/>
                  </a:lnTo>
                  <a:lnTo>
                    <a:pt x="527" y="65"/>
                  </a:lnTo>
                  <a:lnTo>
                    <a:pt x="528" y="66"/>
                  </a:lnTo>
                  <a:lnTo>
                    <a:pt x="529" y="67"/>
                  </a:lnTo>
                  <a:lnTo>
                    <a:pt x="531" y="73"/>
                  </a:lnTo>
                  <a:lnTo>
                    <a:pt x="532" y="75"/>
                  </a:lnTo>
                  <a:lnTo>
                    <a:pt x="532" y="76"/>
                  </a:lnTo>
                  <a:lnTo>
                    <a:pt x="533" y="77"/>
                  </a:lnTo>
                  <a:lnTo>
                    <a:pt x="534" y="78"/>
                  </a:lnTo>
                  <a:lnTo>
                    <a:pt x="534" y="79"/>
                  </a:lnTo>
                  <a:lnTo>
                    <a:pt x="535" y="80"/>
                  </a:lnTo>
                  <a:lnTo>
                    <a:pt x="536" y="81"/>
                  </a:lnTo>
                  <a:lnTo>
                    <a:pt x="538" y="82"/>
                  </a:lnTo>
                  <a:lnTo>
                    <a:pt x="539" y="83"/>
                  </a:lnTo>
                  <a:lnTo>
                    <a:pt x="541" y="84"/>
                  </a:lnTo>
                  <a:lnTo>
                    <a:pt x="542" y="84"/>
                  </a:lnTo>
                  <a:lnTo>
                    <a:pt x="544" y="85"/>
                  </a:lnTo>
                  <a:lnTo>
                    <a:pt x="544" y="85"/>
                  </a:lnTo>
                  <a:lnTo>
                    <a:pt x="545" y="85"/>
                  </a:lnTo>
                  <a:lnTo>
                    <a:pt x="545" y="86"/>
                  </a:lnTo>
                  <a:lnTo>
                    <a:pt x="546" y="87"/>
                  </a:lnTo>
                  <a:lnTo>
                    <a:pt x="547" y="90"/>
                  </a:lnTo>
                  <a:lnTo>
                    <a:pt x="547" y="93"/>
                  </a:lnTo>
                  <a:lnTo>
                    <a:pt x="548" y="95"/>
                  </a:lnTo>
                  <a:lnTo>
                    <a:pt x="548" y="97"/>
                  </a:lnTo>
                  <a:lnTo>
                    <a:pt x="548" y="99"/>
                  </a:lnTo>
                  <a:lnTo>
                    <a:pt x="548" y="102"/>
                  </a:lnTo>
                  <a:lnTo>
                    <a:pt x="548" y="104"/>
                  </a:lnTo>
                  <a:lnTo>
                    <a:pt x="547" y="107"/>
                  </a:lnTo>
                  <a:lnTo>
                    <a:pt x="547" y="109"/>
                  </a:lnTo>
                  <a:lnTo>
                    <a:pt x="546" y="111"/>
                  </a:lnTo>
                  <a:lnTo>
                    <a:pt x="545" y="114"/>
                  </a:lnTo>
                  <a:lnTo>
                    <a:pt x="544" y="116"/>
                  </a:lnTo>
                  <a:lnTo>
                    <a:pt x="543" y="117"/>
                  </a:lnTo>
                  <a:lnTo>
                    <a:pt x="542" y="119"/>
                  </a:lnTo>
                  <a:lnTo>
                    <a:pt x="538" y="124"/>
                  </a:lnTo>
                  <a:lnTo>
                    <a:pt x="536" y="126"/>
                  </a:lnTo>
                  <a:lnTo>
                    <a:pt x="535" y="128"/>
                  </a:lnTo>
                  <a:lnTo>
                    <a:pt x="533" y="130"/>
                  </a:lnTo>
                  <a:lnTo>
                    <a:pt x="531" y="131"/>
                  </a:lnTo>
                  <a:lnTo>
                    <a:pt x="529" y="132"/>
                  </a:lnTo>
                  <a:lnTo>
                    <a:pt x="527" y="133"/>
                  </a:lnTo>
                  <a:lnTo>
                    <a:pt x="523" y="135"/>
                  </a:lnTo>
                  <a:lnTo>
                    <a:pt x="515" y="139"/>
                  </a:lnTo>
                  <a:lnTo>
                    <a:pt x="507" y="143"/>
                  </a:lnTo>
                  <a:lnTo>
                    <a:pt x="503" y="145"/>
                  </a:lnTo>
                  <a:lnTo>
                    <a:pt x="500" y="147"/>
                  </a:lnTo>
                  <a:lnTo>
                    <a:pt x="497" y="148"/>
                  </a:lnTo>
                  <a:lnTo>
                    <a:pt x="489" y="151"/>
                  </a:lnTo>
                  <a:lnTo>
                    <a:pt x="484" y="152"/>
                  </a:lnTo>
                  <a:lnTo>
                    <a:pt x="481" y="153"/>
                  </a:lnTo>
                  <a:lnTo>
                    <a:pt x="479" y="154"/>
                  </a:lnTo>
                  <a:lnTo>
                    <a:pt x="471" y="156"/>
                  </a:lnTo>
                  <a:lnTo>
                    <a:pt x="467" y="157"/>
                  </a:lnTo>
                  <a:lnTo>
                    <a:pt x="465" y="157"/>
                  </a:lnTo>
                  <a:lnTo>
                    <a:pt x="463" y="158"/>
                  </a:lnTo>
                  <a:lnTo>
                    <a:pt x="462" y="159"/>
                  </a:lnTo>
                  <a:lnTo>
                    <a:pt x="461" y="159"/>
                  </a:lnTo>
                  <a:lnTo>
                    <a:pt x="459" y="160"/>
                  </a:lnTo>
                  <a:lnTo>
                    <a:pt x="458" y="161"/>
                  </a:lnTo>
                  <a:lnTo>
                    <a:pt x="457" y="162"/>
                  </a:lnTo>
                  <a:lnTo>
                    <a:pt x="456" y="163"/>
                  </a:lnTo>
                  <a:lnTo>
                    <a:pt x="455" y="165"/>
                  </a:lnTo>
                  <a:lnTo>
                    <a:pt x="452" y="170"/>
                  </a:lnTo>
                  <a:lnTo>
                    <a:pt x="452" y="172"/>
                  </a:lnTo>
                  <a:lnTo>
                    <a:pt x="450" y="174"/>
                  </a:lnTo>
                  <a:lnTo>
                    <a:pt x="446" y="179"/>
                  </a:lnTo>
                  <a:lnTo>
                    <a:pt x="445" y="182"/>
                  </a:lnTo>
                  <a:lnTo>
                    <a:pt x="443" y="184"/>
                  </a:lnTo>
                  <a:lnTo>
                    <a:pt x="442" y="186"/>
                  </a:lnTo>
                  <a:lnTo>
                    <a:pt x="441" y="188"/>
                  </a:lnTo>
                  <a:lnTo>
                    <a:pt x="441" y="190"/>
                  </a:lnTo>
                  <a:lnTo>
                    <a:pt x="441" y="192"/>
                  </a:lnTo>
                  <a:lnTo>
                    <a:pt x="441" y="195"/>
                  </a:lnTo>
                  <a:lnTo>
                    <a:pt x="441" y="197"/>
                  </a:lnTo>
                  <a:lnTo>
                    <a:pt x="441" y="198"/>
                  </a:lnTo>
                  <a:lnTo>
                    <a:pt x="441" y="201"/>
                  </a:lnTo>
                  <a:lnTo>
                    <a:pt x="441" y="203"/>
                  </a:lnTo>
                  <a:lnTo>
                    <a:pt x="441" y="204"/>
                  </a:lnTo>
                  <a:lnTo>
                    <a:pt x="441" y="206"/>
                  </a:lnTo>
                  <a:lnTo>
                    <a:pt x="441" y="207"/>
                  </a:lnTo>
                  <a:lnTo>
                    <a:pt x="440" y="212"/>
                  </a:lnTo>
                  <a:lnTo>
                    <a:pt x="440" y="214"/>
                  </a:lnTo>
                  <a:lnTo>
                    <a:pt x="439" y="216"/>
                  </a:lnTo>
                  <a:lnTo>
                    <a:pt x="438" y="219"/>
                  </a:lnTo>
                  <a:lnTo>
                    <a:pt x="436" y="225"/>
                  </a:lnTo>
                  <a:lnTo>
                    <a:pt x="436" y="226"/>
                  </a:lnTo>
                  <a:lnTo>
                    <a:pt x="435" y="228"/>
                  </a:lnTo>
                  <a:lnTo>
                    <a:pt x="435" y="230"/>
                  </a:lnTo>
                  <a:lnTo>
                    <a:pt x="435" y="233"/>
                  </a:lnTo>
                  <a:lnTo>
                    <a:pt x="434" y="235"/>
                  </a:lnTo>
                  <a:lnTo>
                    <a:pt x="434" y="241"/>
                  </a:lnTo>
                  <a:lnTo>
                    <a:pt x="434" y="242"/>
                  </a:lnTo>
                  <a:lnTo>
                    <a:pt x="433" y="244"/>
                  </a:lnTo>
                  <a:lnTo>
                    <a:pt x="433" y="245"/>
                  </a:lnTo>
                  <a:lnTo>
                    <a:pt x="433" y="246"/>
                  </a:lnTo>
                  <a:lnTo>
                    <a:pt x="431" y="251"/>
                  </a:lnTo>
                  <a:lnTo>
                    <a:pt x="430" y="253"/>
                  </a:lnTo>
                  <a:lnTo>
                    <a:pt x="429" y="258"/>
                  </a:lnTo>
                  <a:lnTo>
                    <a:pt x="428" y="259"/>
                  </a:lnTo>
                  <a:lnTo>
                    <a:pt x="428" y="260"/>
                  </a:lnTo>
                  <a:lnTo>
                    <a:pt x="428" y="262"/>
                  </a:lnTo>
                  <a:lnTo>
                    <a:pt x="428" y="264"/>
                  </a:lnTo>
                  <a:lnTo>
                    <a:pt x="428" y="265"/>
                  </a:lnTo>
                  <a:lnTo>
                    <a:pt x="429" y="269"/>
                  </a:lnTo>
                  <a:lnTo>
                    <a:pt x="429" y="271"/>
                  </a:lnTo>
                  <a:lnTo>
                    <a:pt x="429" y="272"/>
                  </a:lnTo>
                  <a:lnTo>
                    <a:pt x="429" y="273"/>
                  </a:lnTo>
                  <a:lnTo>
                    <a:pt x="429" y="278"/>
                  </a:lnTo>
                  <a:lnTo>
                    <a:pt x="428" y="285"/>
                  </a:lnTo>
                  <a:lnTo>
                    <a:pt x="428" y="287"/>
                  </a:lnTo>
                  <a:lnTo>
                    <a:pt x="428" y="289"/>
                  </a:lnTo>
                  <a:lnTo>
                    <a:pt x="428" y="292"/>
                  </a:lnTo>
                  <a:lnTo>
                    <a:pt x="427" y="293"/>
                  </a:lnTo>
                  <a:lnTo>
                    <a:pt x="427" y="295"/>
                  </a:lnTo>
                  <a:lnTo>
                    <a:pt x="426" y="297"/>
                  </a:lnTo>
                  <a:lnTo>
                    <a:pt x="425" y="299"/>
                  </a:lnTo>
                  <a:lnTo>
                    <a:pt x="424" y="303"/>
                  </a:lnTo>
                  <a:lnTo>
                    <a:pt x="422" y="308"/>
                  </a:lnTo>
                  <a:lnTo>
                    <a:pt x="420" y="312"/>
                  </a:lnTo>
                  <a:lnTo>
                    <a:pt x="420" y="313"/>
                  </a:lnTo>
                  <a:lnTo>
                    <a:pt x="418" y="315"/>
                  </a:lnTo>
                  <a:lnTo>
                    <a:pt x="416" y="319"/>
                  </a:lnTo>
                  <a:lnTo>
                    <a:pt x="415" y="322"/>
                  </a:lnTo>
                  <a:lnTo>
                    <a:pt x="413" y="324"/>
                  </a:lnTo>
                  <a:lnTo>
                    <a:pt x="411" y="326"/>
                  </a:lnTo>
                  <a:lnTo>
                    <a:pt x="409" y="327"/>
                  </a:lnTo>
                  <a:lnTo>
                    <a:pt x="407" y="329"/>
                  </a:lnTo>
                  <a:lnTo>
                    <a:pt x="405" y="331"/>
                  </a:lnTo>
                  <a:lnTo>
                    <a:pt x="403" y="332"/>
                  </a:lnTo>
                  <a:lnTo>
                    <a:pt x="399" y="333"/>
                  </a:lnTo>
                  <a:lnTo>
                    <a:pt x="397" y="334"/>
                  </a:lnTo>
                  <a:lnTo>
                    <a:pt x="393" y="335"/>
                  </a:lnTo>
                  <a:lnTo>
                    <a:pt x="392" y="335"/>
                  </a:lnTo>
                  <a:lnTo>
                    <a:pt x="391" y="336"/>
                  </a:lnTo>
                  <a:lnTo>
                    <a:pt x="389" y="336"/>
                  </a:lnTo>
                  <a:lnTo>
                    <a:pt x="388" y="336"/>
                  </a:lnTo>
                  <a:lnTo>
                    <a:pt x="385" y="336"/>
                  </a:lnTo>
                  <a:lnTo>
                    <a:pt x="379" y="336"/>
                  </a:lnTo>
                  <a:lnTo>
                    <a:pt x="376" y="336"/>
                  </a:lnTo>
                  <a:lnTo>
                    <a:pt x="375" y="336"/>
                  </a:lnTo>
                  <a:lnTo>
                    <a:pt x="367" y="337"/>
                  </a:lnTo>
                  <a:lnTo>
                    <a:pt x="364" y="337"/>
                  </a:lnTo>
                  <a:lnTo>
                    <a:pt x="362" y="337"/>
                  </a:lnTo>
                  <a:lnTo>
                    <a:pt x="360" y="338"/>
                  </a:lnTo>
                  <a:lnTo>
                    <a:pt x="358" y="338"/>
                  </a:lnTo>
                  <a:lnTo>
                    <a:pt x="357" y="339"/>
                  </a:lnTo>
                  <a:lnTo>
                    <a:pt x="356" y="339"/>
                  </a:lnTo>
                  <a:lnTo>
                    <a:pt x="355" y="340"/>
                  </a:lnTo>
                  <a:lnTo>
                    <a:pt x="354" y="340"/>
                  </a:lnTo>
                  <a:lnTo>
                    <a:pt x="352" y="341"/>
                  </a:lnTo>
                  <a:lnTo>
                    <a:pt x="351" y="342"/>
                  </a:lnTo>
                  <a:lnTo>
                    <a:pt x="350" y="343"/>
                  </a:lnTo>
                  <a:lnTo>
                    <a:pt x="349" y="344"/>
                  </a:lnTo>
                  <a:lnTo>
                    <a:pt x="349" y="345"/>
                  </a:lnTo>
                  <a:lnTo>
                    <a:pt x="348" y="346"/>
                  </a:lnTo>
                  <a:lnTo>
                    <a:pt x="347" y="347"/>
                  </a:lnTo>
                  <a:lnTo>
                    <a:pt x="347" y="349"/>
                  </a:lnTo>
                  <a:lnTo>
                    <a:pt x="346" y="350"/>
                  </a:lnTo>
                  <a:lnTo>
                    <a:pt x="345" y="353"/>
                  </a:lnTo>
                  <a:lnTo>
                    <a:pt x="344" y="358"/>
                  </a:lnTo>
                  <a:lnTo>
                    <a:pt x="343" y="363"/>
                  </a:lnTo>
                  <a:lnTo>
                    <a:pt x="342" y="366"/>
                  </a:lnTo>
                  <a:lnTo>
                    <a:pt x="342" y="368"/>
                  </a:lnTo>
                  <a:lnTo>
                    <a:pt x="341" y="370"/>
                  </a:lnTo>
                  <a:lnTo>
                    <a:pt x="340" y="377"/>
                  </a:lnTo>
                  <a:lnTo>
                    <a:pt x="340" y="379"/>
                  </a:lnTo>
                  <a:lnTo>
                    <a:pt x="339" y="382"/>
                  </a:lnTo>
                  <a:lnTo>
                    <a:pt x="339" y="385"/>
                  </a:lnTo>
                  <a:lnTo>
                    <a:pt x="338" y="387"/>
                  </a:lnTo>
                  <a:lnTo>
                    <a:pt x="337" y="390"/>
                  </a:lnTo>
                  <a:lnTo>
                    <a:pt x="336" y="392"/>
                  </a:lnTo>
                  <a:lnTo>
                    <a:pt x="335" y="394"/>
                  </a:lnTo>
                  <a:lnTo>
                    <a:pt x="334" y="396"/>
                  </a:lnTo>
                  <a:lnTo>
                    <a:pt x="334" y="397"/>
                  </a:lnTo>
                  <a:lnTo>
                    <a:pt x="333" y="398"/>
                  </a:lnTo>
                  <a:lnTo>
                    <a:pt x="332" y="399"/>
                  </a:lnTo>
                  <a:lnTo>
                    <a:pt x="331" y="400"/>
                  </a:lnTo>
                  <a:lnTo>
                    <a:pt x="330" y="400"/>
                  </a:lnTo>
                  <a:lnTo>
                    <a:pt x="329" y="401"/>
                  </a:lnTo>
                  <a:lnTo>
                    <a:pt x="328" y="402"/>
                  </a:lnTo>
                  <a:lnTo>
                    <a:pt x="327" y="402"/>
                  </a:lnTo>
                  <a:lnTo>
                    <a:pt x="326" y="402"/>
                  </a:lnTo>
                  <a:lnTo>
                    <a:pt x="324" y="403"/>
                  </a:lnTo>
                  <a:lnTo>
                    <a:pt x="323" y="403"/>
                  </a:lnTo>
                  <a:lnTo>
                    <a:pt x="310" y="403"/>
                  </a:lnTo>
                  <a:lnTo>
                    <a:pt x="307" y="404"/>
                  </a:lnTo>
                  <a:lnTo>
                    <a:pt x="305" y="404"/>
                  </a:lnTo>
                  <a:lnTo>
                    <a:pt x="301" y="405"/>
                  </a:lnTo>
                  <a:lnTo>
                    <a:pt x="298" y="405"/>
                  </a:lnTo>
                  <a:lnTo>
                    <a:pt x="297" y="406"/>
                  </a:lnTo>
                  <a:lnTo>
                    <a:pt x="296" y="406"/>
                  </a:lnTo>
                  <a:lnTo>
                    <a:pt x="294" y="407"/>
                  </a:lnTo>
                  <a:lnTo>
                    <a:pt x="293" y="407"/>
                  </a:lnTo>
                  <a:lnTo>
                    <a:pt x="293" y="407"/>
                  </a:lnTo>
                  <a:lnTo>
                    <a:pt x="292" y="408"/>
                  </a:lnTo>
                  <a:lnTo>
                    <a:pt x="290" y="409"/>
                  </a:lnTo>
                  <a:lnTo>
                    <a:pt x="286" y="414"/>
                  </a:lnTo>
                  <a:lnTo>
                    <a:pt x="283" y="416"/>
                  </a:lnTo>
                  <a:lnTo>
                    <a:pt x="281" y="419"/>
                  </a:lnTo>
                  <a:lnTo>
                    <a:pt x="279" y="421"/>
                  </a:lnTo>
                  <a:lnTo>
                    <a:pt x="278" y="423"/>
                  </a:lnTo>
                  <a:lnTo>
                    <a:pt x="275" y="427"/>
                  </a:lnTo>
                  <a:lnTo>
                    <a:pt x="272" y="431"/>
                  </a:lnTo>
                  <a:lnTo>
                    <a:pt x="272" y="432"/>
                  </a:lnTo>
                  <a:lnTo>
                    <a:pt x="270" y="434"/>
                  </a:lnTo>
                  <a:lnTo>
                    <a:pt x="268" y="436"/>
                  </a:lnTo>
                  <a:lnTo>
                    <a:pt x="264" y="440"/>
                  </a:lnTo>
                  <a:lnTo>
                    <a:pt x="262" y="442"/>
                  </a:lnTo>
                  <a:lnTo>
                    <a:pt x="260" y="444"/>
                  </a:lnTo>
                  <a:lnTo>
                    <a:pt x="258" y="445"/>
                  </a:lnTo>
                  <a:lnTo>
                    <a:pt x="256" y="447"/>
                  </a:lnTo>
                  <a:lnTo>
                    <a:pt x="254" y="448"/>
                  </a:lnTo>
                  <a:lnTo>
                    <a:pt x="251" y="449"/>
                  </a:lnTo>
                  <a:lnTo>
                    <a:pt x="245" y="451"/>
                  </a:lnTo>
                  <a:lnTo>
                    <a:pt x="240" y="452"/>
                  </a:lnTo>
                  <a:lnTo>
                    <a:pt x="237" y="453"/>
                  </a:lnTo>
                  <a:lnTo>
                    <a:pt x="234" y="453"/>
                  </a:lnTo>
                  <a:lnTo>
                    <a:pt x="233" y="453"/>
                  </a:lnTo>
                  <a:lnTo>
                    <a:pt x="233" y="453"/>
                  </a:lnTo>
                  <a:lnTo>
                    <a:pt x="232" y="451"/>
                  </a:lnTo>
                  <a:lnTo>
                    <a:pt x="231" y="449"/>
                  </a:lnTo>
                  <a:lnTo>
                    <a:pt x="230" y="444"/>
                  </a:lnTo>
                  <a:lnTo>
                    <a:pt x="229" y="442"/>
                  </a:lnTo>
                  <a:lnTo>
                    <a:pt x="228" y="441"/>
                  </a:lnTo>
                  <a:lnTo>
                    <a:pt x="227" y="439"/>
                  </a:lnTo>
                  <a:lnTo>
                    <a:pt x="224" y="435"/>
                  </a:lnTo>
                  <a:lnTo>
                    <a:pt x="219" y="428"/>
                  </a:lnTo>
                  <a:lnTo>
                    <a:pt x="217" y="426"/>
                  </a:lnTo>
                  <a:lnTo>
                    <a:pt x="216" y="424"/>
                  </a:lnTo>
                  <a:lnTo>
                    <a:pt x="214" y="422"/>
                  </a:lnTo>
                  <a:lnTo>
                    <a:pt x="213" y="421"/>
                  </a:lnTo>
                  <a:lnTo>
                    <a:pt x="211" y="419"/>
                  </a:lnTo>
                  <a:lnTo>
                    <a:pt x="209" y="418"/>
                  </a:lnTo>
                  <a:lnTo>
                    <a:pt x="208" y="417"/>
                  </a:lnTo>
                  <a:lnTo>
                    <a:pt x="198" y="413"/>
                  </a:lnTo>
                  <a:lnTo>
                    <a:pt x="196" y="412"/>
                  </a:lnTo>
                  <a:lnTo>
                    <a:pt x="193" y="411"/>
                  </a:lnTo>
                  <a:lnTo>
                    <a:pt x="192" y="410"/>
                  </a:lnTo>
                  <a:lnTo>
                    <a:pt x="191" y="410"/>
                  </a:lnTo>
                  <a:lnTo>
                    <a:pt x="190" y="409"/>
                  </a:lnTo>
                  <a:lnTo>
                    <a:pt x="190" y="409"/>
                  </a:lnTo>
                  <a:lnTo>
                    <a:pt x="189" y="408"/>
                  </a:lnTo>
                  <a:lnTo>
                    <a:pt x="189" y="407"/>
                  </a:lnTo>
                  <a:lnTo>
                    <a:pt x="188" y="406"/>
                  </a:lnTo>
                  <a:lnTo>
                    <a:pt x="188" y="406"/>
                  </a:lnTo>
                  <a:lnTo>
                    <a:pt x="188" y="404"/>
                  </a:lnTo>
                  <a:lnTo>
                    <a:pt x="188" y="401"/>
                  </a:lnTo>
                  <a:lnTo>
                    <a:pt x="187" y="399"/>
                  </a:lnTo>
                  <a:lnTo>
                    <a:pt x="187" y="398"/>
                  </a:lnTo>
                  <a:lnTo>
                    <a:pt x="187" y="397"/>
                  </a:lnTo>
                  <a:lnTo>
                    <a:pt x="186" y="397"/>
                  </a:lnTo>
                  <a:lnTo>
                    <a:pt x="186" y="396"/>
                  </a:lnTo>
                  <a:lnTo>
                    <a:pt x="186" y="395"/>
                  </a:lnTo>
                  <a:lnTo>
                    <a:pt x="185" y="394"/>
                  </a:lnTo>
                  <a:lnTo>
                    <a:pt x="184" y="394"/>
                  </a:lnTo>
                  <a:lnTo>
                    <a:pt x="183" y="393"/>
                  </a:lnTo>
                  <a:lnTo>
                    <a:pt x="181" y="391"/>
                  </a:lnTo>
                  <a:lnTo>
                    <a:pt x="180" y="390"/>
                  </a:lnTo>
                  <a:lnTo>
                    <a:pt x="178" y="390"/>
                  </a:lnTo>
                  <a:lnTo>
                    <a:pt x="177" y="389"/>
                  </a:lnTo>
                  <a:lnTo>
                    <a:pt x="173" y="388"/>
                  </a:lnTo>
                  <a:lnTo>
                    <a:pt x="170" y="387"/>
                  </a:lnTo>
                  <a:lnTo>
                    <a:pt x="169" y="386"/>
                  </a:lnTo>
                  <a:lnTo>
                    <a:pt x="168" y="386"/>
                  </a:lnTo>
                  <a:lnTo>
                    <a:pt x="167" y="386"/>
                  </a:lnTo>
                  <a:lnTo>
                    <a:pt x="166" y="386"/>
                  </a:lnTo>
                  <a:lnTo>
                    <a:pt x="165" y="386"/>
                  </a:lnTo>
                  <a:lnTo>
                    <a:pt x="160" y="387"/>
                  </a:lnTo>
                  <a:lnTo>
                    <a:pt x="156" y="387"/>
                  </a:lnTo>
                  <a:lnTo>
                    <a:pt x="154" y="387"/>
                  </a:lnTo>
                  <a:lnTo>
                    <a:pt x="151" y="388"/>
                  </a:lnTo>
                  <a:lnTo>
                    <a:pt x="146" y="389"/>
                  </a:lnTo>
                  <a:lnTo>
                    <a:pt x="144" y="389"/>
                  </a:lnTo>
                  <a:lnTo>
                    <a:pt x="142" y="389"/>
                  </a:lnTo>
                  <a:lnTo>
                    <a:pt x="141" y="389"/>
                  </a:lnTo>
                  <a:lnTo>
                    <a:pt x="140" y="389"/>
                  </a:lnTo>
                  <a:lnTo>
                    <a:pt x="139" y="389"/>
                  </a:lnTo>
                  <a:lnTo>
                    <a:pt x="138" y="389"/>
                  </a:lnTo>
                  <a:lnTo>
                    <a:pt x="136" y="388"/>
                  </a:lnTo>
                  <a:lnTo>
                    <a:pt x="135" y="387"/>
                  </a:lnTo>
                  <a:lnTo>
                    <a:pt x="133" y="386"/>
                  </a:lnTo>
                  <a:lnTo>
                    <a:pt x="131" y="385"/>
                  </a:lnTo>
                  <a:lnTo>
                    <a:pt x="123" y="379"/>
                  </a:lnTo>
                  <a:lnTo>
                    <a:pt x="122" y="378"/>
                  </a:lnTo>
                  <a:lnTo>
                    <a:pt x="121" y="378"/>
                  </a:lnTo>
                  <a:lnTo>
                    <a:pt x="120" y="377"/>
                  </a:lnTo>
                  <a:lnTo>
                    <a:pt x="118" y="377"/>
                  </a:lnTo>
                  <a:lnTo>
                    <a:pt x="117" y="377"/>
                  </a:lnTo>
                  <a:lnTo>
                    <a:pt x="114" y="376"/>
                  </a:lnTo>
                  <a:lnTo>
                    <a:pt x="112" y="376"/>
                  </a:lnTo>
                  <a:lnTo>
                    <a:pt x="110" y="376"/>
                  </a:lnTo>
                  <a:lnTo>
                    <a:pt x="109" y="375"/>
                  </a:lnTo>
                  <a:lnTo>
                    <a:pt x="108" y="375"/>
                  </a:lnTo>
                  <a:lnTo>
                    <a:pt x="108" y="374"/>
                  </a:lnTo>
                  <a:lnTo>
                    <a:pt x="107" y="374"/>
                  </a:lnTo>
                  <a:lnTo>
                    <a:pt x="107" y="373"/>
                  </a:lnTo>
                  <a:lnTo>
                    <a:pt x="106" y="372"/>
                  </a:lnTo>
                  <a:lnTo>
                    <a:pt x="106" y="371"/>
                  </a:lnTo>
                  <a:lnTo>
                    <a:pt x="106" y="370"/>
                  </a:lnTo>
                  <a:lnTo>
                    <a:pt x="105" y="366"/>
                  </a:lnTo>
                  <a:lnTo>
                    <a:pt x="105" y="364"/>
                  </a:lnTo>
                  <a:lnTo>
                    <a:pt x="105" y="362"/>
                  </a:lnTo>
                  <a:lnTo>
                    <a:pt x="104" y="361"/>
                  </a:lnTo>
                  <a:lnTo>
                    <a:pt x="104" y="360"/>
                  </a:lnTo>
                  <a:lnTo>
                    <a:pt x="103" y="360"/>
                  </a:lnTo>
                  <a:lnTo>
                    <a:pt x="102" y="358"/>
                  </a:lnTo>
                  <a:lnTo>
                    <a:pt x="101" y="357"/>
                  </a:lnTo>
                  <a:lnTo>
                    <a:pt x="99" y="356"/>
                  </a:lnTo>
                  <a:lnTo>
                    <a:pt x="98" y="355"/>
                  </a:lnTo>
                  <a:lnTo>
                    <a:pt x="97" y="355"/>
                  </a:lnTo>
                  <a:lnTo>
                    <a:pt x="95" y="354"/>
                  </a:lnTo>
                  <a:lnTo>
                    <a:pt x="94" y="354"/>
                  </a:lnTo>
                  <a:lnTo>
                    <a:pt x="87" y="353"/>
                  </a:lnTo>
                  <a:lnTo>
                    <a:pt x="83" y="352"/>
                  </a:lnTo>
                  <a:lnTo>
                    <a:pt x="75" y="351"/>
                  </a:lnTo>
                  <a:lnTo>
                    <a:pt x="74" y="351"/>
                  </a:lnTo>
                  <a:lnTo>
                    <a:pt x="73" y="351"/>
                  </a:lnTo>
                  <a:lnTo>
                    <a:pt x="71" y="350"/>
                  </a:lnTo>
                  <a:lnTo>
                    <a:pt x="71" y="349"/>
                  </a:lnTo>
                  <a:lnTo>
                    <a:pt x="70" y="349"/>
                  </a:lnTo>
                  <a:lnTo>
                    <a:pt x="68" y="347"/>
                  </a:lnTo>
                  <a:lnTo>
                    <a:pt x="66" y="345"/>
                  </a:lnTo>
                  <a:lnTo>
                    <a:pt x="65" y="344"/>
                  </a:lnTo>
                  <a:lnTo>
                    <a:pt x="64" y="343"/>
                  </a:lnTo>
                  <a:lnTo>
                    <a:pt x="63" y="343"/>
                  </a:lnTo>
                  <a:lnTo>
                    <a:pt x="60" y="342"/>
                  </a:lnTo>
                  <a:lnTo>
                    <a:pt x="58" y="341"/>
                  </a:lnTo>
                  <a:lnTo>
                    <a:pt x="57" y="340"/>
                  </a:lnTo>
                  <a:lnTo>
                    <a:pt x="56" y="340"/>
                  </a:lnTo>
                  <a:lnTo>
                    <a:pt x="54" y="339"/>
                  </a:lnTo>
                  <a:lnTo>
                    <a:pt x="50" y="338"/>
                  </a:lnTo>
                  <a:lnTo>
                    <a:pt x="50" y="338"/>
                  </a:lnTo>
                  <a:lnTo>
                    <a:pt x="49" y="338"/>
                  </a:lnTo>
                  <a:lnTo>
                    <a:pt x="49" y="337"/>
                  </a:lnTo>
                  <a:lnTo>
                    <a:pt x="48" y="336"/>
                  </a:lnTo>
                  <a:lnTo>
                    <a:pt x="48" y="336"/>
                  </a:lnTo>
                  <a:lnTo>
                    <a:pt x="48" y="335"/>
                  </a:lnTo>
                  <a:lnTo>
                    <a:pt x="48" y="334"/>
                  </a:lnTo>
                  <a:lnTo>
                    <a:pt x="48" y="332"/>
                  </a:lnTo>
                  <a:lnTo>
                    <a:pt x="48" y="327"/>
                  </a:lnTo>
                  <a:lnTo>
                    <a:pt x="48" y="324"/>
                  </a:lnTo>
                  <a:lnTo>
                    <a:pt x="48" y="323"/>
                  </a:lnTo>
                  <a:lnTo>
                    <a:pt x="48" y="321"/>
                  </a:lnTo>
                  <a:lnTo>
                    <a:pt x="48" y="320"/>
                  </a:lnTo>
                  <a:lnTo>
                    <a:pt x="47" y="318"/>
                  </a:lnTo>
                  <a:lnTo>
                    <a:pt x="47" y="316"/>
                  </a:lnTo>
                  <a:lnTo>
                    <a:pt x="46" y="315"/>
                  </a:lnTo>
                  <a:lnTo>
                    <a:pt x="44" y="313"/>
                  </a:lnTo>
                  <a:lnTo>
                    <a:pt x="43" y="310"/>
                  </a:lnTo>
                  <a:lnTo>
                    <a:pt x="42" y="309"/>
                  </a:lnTo>
                  <a:lnTo>
                    <a:pt x="41" y="308"/>
                  </a:lnTo>
                  <a:lnTo>
                    <a:pt x="40" y="308"/>
                  </a:lnTo>
                  <a:lnTo>
                    <a:pt x="39" y="307"/>
                  </a:lnTo>
                  <a:lnTo>
                    <a:pt x="39" y="307"/>
                  </a:lnTo>
                  <a:lnTo>
                    <a:pt x="38" y="307"/>
                  </a:lnTo>
                  <a:lnTo>
                    <a:pt x="36" y="307"/>
                  </a:lnTo>
                  <a:lnTo>
                    <a:pt x="35" y="307"/>
                  </a:lnTo>
                  <a:lnTo>
                    <a:pt x="34" y="307"/>
                  </a:lnTo>
                  <a:lnTo>
                    <a:pt x="33" y="307"/>
                  </a:lnTo>
                  <a:lnTo>
                    <a:pt x="30" y="308"/>
                  </a:lnTo>
                  <a:lnTo>
                    <a:pt x="28" y="309"/>
                  </a:lnTo>
                  <a:lnTo>
                    <a:pt x="18" y="312"/>
                  </a:lnTo>
                  <a:lnTo>
                    <a:pt x="14" y="313"/>
                  </a:lnTo>
                  <a:lnTo>
                    <a:pt x="12" y="314"/>
                  </a:lnTo>
                  <a:lnTo>
                    <a:pt x="11" y="314"/>
                  </a:lnTo>
                  <a:lnTo>
                    <a:pt x="9" y="314"/>
                  </a:lnTo>
                  <a:lnTo>
                    <a:pt x="7" y="315"/>
                  </a:lnTo>
                  <a:lnTo>
                    <a:pt x="6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3" y="314"/>
                  </a:lnTo>
                  <a:lnTo>
                    <a:pt x="2" y="313"/>
                  </a:lnTo>
                  <a:lnTo>
                    <a:pt x="1" y="313"/>
                  </a:lnTo>
                  <a:lnTo>
                    <a:pt x="1" y="312"/>
                  </a:lnTo>
                  <a:lnTo>
                    <a:pt x="1" y="312"/>
                  </a:lnTo>
                  <a:lnTo>
                    <a:pt x="0" y="310"/>
                  </a:lnTo>
                  <a:lnTo>
                    <a:pt x="0" y="308"/>
                  </a:lnTo>
                  <a:lnTo>
                    <a:pt x="0" y="306"/>
                  </a:lnTo>
                  <a:lnTo>
                    <a:pt x="0" y="305"/>
                  </a:lnTo>
                  <a:lnTo>
                    <a:pt x="0" y="303"/>
                  </a:lnTo>
                  <a:lnTo>
                    <a:pt x="0" y="302"/>
                  </a:lnTo>
                  <a:lnTo>
                    <a:pt x="1" y="301"/>
                  </a:lnTo>
                  <a:lnTo>
                    <a:pt x="1" y="300"/>
                  </a:lnTo>
                  <a:lnTo>
                    <a:pt x="2" y="299"/>
                  </a:lnTo>
                  <a:lnTo>
                    <a:pt x="3" y="299"/>
                  </a:lnTo>
                  <a:lnTo>
                    <a:pt x="5" y="297"/>
                  </a:lnTo>
                  <a:lnTo>
                    <a:pt x="6" y="296"/>
                  </a:lnTo>
                  <a:lnTo>
                    <a:pt x="7" y="295"/>
                  </a:lnTo>
                  <a:lnTo>
                    <a:pt x="8" y="294"/>
                  </a:lnTo>
                  <a:lnTo>
                    <a:pt x="8" y="293"/>
                  </a:lnTo>
                  <a:lnTo>
                    <a:pt x="10" y="291"/>
                  </a:lnTo>
                  <a:lnTo>
                    <a:pt x="12" y="285"/>
                  </a:lnTo>
                  <a:lnTo>
                    <a:pt x="13" y="284"/>
                  </a:lnTo>
                  <a:lnTo>
                    <a:pt x="14" y="282"/>
                  </a:lnTo>
                  <a:lnTo>
                    <a:pt x="15" y="280"/>
                  </a:lnTo>
                  <a:lnTo>
                    <a:pt x="16" y="279"/>
                  </a:lnTo>
                  <a:lnTo>
                    <a:pt x="18" y="278"/>
                  </a:lnTo>
                  <a:lnTo>
                    <a:pt x="19" y="277"/>
                  </a:lnTo>
                  <a:lnTo>
                    <a:pt x="22" y="276"/>
                  </a:lnTo>
                  <a:lnTo>
                    <a:pt x="25" y="273"/>
                  </a:lnTo>
                  <a:lnTo>
                    <a:pt x="27" y="271"/>
                  </a:lnTo>
                  <a:lnTo>
                    <a:pt x="28" y="271"/>
                  </a:lnTo>
                  <a:lnTo>
                    <a:pt x="28" y="270"/>
                  </a:lnTo>
                  <a:lnTo>
                    <a:pt x="29" y="269"/>
                  </a:lnTo>
                  <a:lnTo>
                    <a:pt x="30" y="267"/>
                  </a:lnTo>
                  <a:lnTo>
                    <a:pt x="31" y="266"/>
                  </a:lnTo>
                  <a:lnTo>
                    <a:pt x="31" y="264"/>
                  </a:lnTo>
                  <a:lnTo>
                    <a:pt x="32" y="262"/>
                  </a:lnTo>
                  <a:lnTo>
                    <a:pt x="33" y="260"/>
                  </a:lnTo>
                  <a:lnTo>
                    <a:pt x="33" y="258"/>
                  </a:lnTo>
                  <a:lnTo>
                    <a:pt x="33" y="256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2"/>
                  </a:lnTo>
                  <a:lnTo>
                    <a:pt x="33" y="251"/>
                  </a:lnTo>
                  <a:lnTo>
                    <a:pt x="33" y="250"/>
                  </a:lnTo>
                  <a:lnTo>
                    <a:pt x="32" y="250"/>
                  </a:lnTo>
                  <a:lnTo>
                    <a:pt x="32" y="249"/>
                  </a:lnTo>
                  <a:lnTo>
                    <a:pt x="31" y="249"/>
                  </a:lnTo>
                  <a:lnTo>
                    <a:pt x="30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6" y="249"/>
                  </a:lnTo>
                  <a:lnTo>
                    <a:pt x="25" y="249"/>
                  </a:lnTo>
                  <a:lnTo>
                    <a:pt x="21" y="249"/>
                  </a:lnTo>
                  <a:lnTo>
                    <a:pt x="19" y="249"/>
                  </a:lnTo>
                  <a:lnTo>
                    <a:pt x="18" y="249"/>
                  </a:lnTo>
                  <a:lnTo>
                    <a:pt x="17" y="248"/>
                  </a:lnTo>
                  <a:lnTo>
                    <a:pt x="16" y="248"/>
                  </a:lnTo>
                  <a:lnTo>
                    <a:pt x="16" y="248"/>
                  </a:lnTo>
                  <a:lnTo>
                    <a:pt x="16" y="247"/>
                  </a:lnTo>
                  <a:lnTo>
                    <a:pt x="16" y="247"/>
                  </a:lnTo>
                  <a:lnTo>
                    <a:pt x="15" y="246"/>
                  </a:lnTo>
                  <a:lnTo>
                    <a:pt x="15" y="245"/>
                  </a:lnTo>
                  <a:lnTo>
                    <a:pt x="15" y="242"/>
                  </a:lnTo>
                  <a:lnTo>
                    <a:pt x="15" y="241"/>
                  </a:lnTo>
                  <a:lnTo>
                    <a:pt x="15" y="240"/>
                  </a:lnTo>
                  <a:lnTo>
                    <a:pt x="15" y="239"/>
                  </a:lnTo>
                  <a:lnTo>
                    <a:pt x="15" y="238"/>
                  </a:lnTo>
                  <a:lnTo>
                    <a:pt x="13" y="234"/>
                  </a:lnTo>
                  <a:lnTo>
                    <a:pt x="10" y="228"/>
                  </a:lnTo>
                  <a:lnTo>
                    <a:pt x="10" y="226"/>
                  </a:lnTo>
                  <a:lnTo>
                    <a:pt x="9" y="224"/>
                  </a:lnTo>
                  <a:lnTo>
                    <a:pt x="9" y="223"/>
                  </a:lnTo>
                  <a:lnTo>
                    <a:pt x="9" y="221"/>
                  </a:lnTo>
                  <a:lnTo>
                    <a:pt x="8" y="216"/>
                  </a:lnTo>
                  <a:lnTo>
                    <a:pt x="8" y="214"/>
                  </a:lnTo>
                  <a:lnTo>
                    <a:pt x="8" y="212"/>
                  </a:lnTo>
                  <a:lnTo>
                    <a:pt x="7" y="208"/>
                  </a:lnTo>
                  <a:lnTo>
                    <a:pt x="7" y="207"/>
                  </a:lnTo>
                  <a:lnTo>
                    <a:pt x="6" y="205"/>
                  </a:lnTo>
                  <a:lnTo>
                    <a:pt x="7" y="203"/>
                  </a:lnTo>
                  <a:lnTo>
                    <a:pt x="7" y="201"/>
                  </a:lnTo>
                  <a:lnTo>
                    <a:pt x="7" y="200"/>
                  </a:lnTo>
                  <a:lnTo>
                    <a:pt x="8" y="199"/>
                  </a:lnTo>
                  <a:lnTo>
                    <a:pt x="9" y="197"/>
                  </a:lnTo>
                  <a:lnTo>
                    <a:pt x="10" y="194"/>
                  </a:lnTo>
                  <a:lnTo>
                    <a:pt x="15" y="184"/>
                  </a:lnTo>
                  <a:lnTo>
                    <a:pt x="15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7" y="185"/>
                  </a:lnTo>
                  <a:lnTo>
                    <a:pt x="17" y="185"/>
                  </a:lnTo>
                  <a:lnTo>
                    <a:pt x="18" y="185"/>
                  </a:lnTo>
                  <a:lnTo>
                    <a:pt x="19" y="185"/>
                  </a:lnTo>
                  <a:lnTo>
                    <a:pt x="19" y="184"/>
                  </a:lnTo>
                  <a:lnTo>
                    <a:pt x="20" y="183"/>
                  </a:lnTo>
                  <a:lnTo>
                    <a:pt x="21" y="182"/>
                  </a:lnTo>
                  <a:lnTo>
                    <a:pt x="22" y="181"/>
                  </a:lnTo>
                  <a:lnTo>
                    <a:pt x="24" y="178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7" y="175"/>
                  </a:lnTo>
                  <a:lnTo>
                    <a:pt x="28" y="174"/>
                  </a:lnTo>
                  <a:lnTo>
                    <a:pt x="29" y="173"/>
                  </a:lnTo>
                  <a:lnTo>
                    <a:pt x="30" y="173"/>
                  </a:lnTo>
                  <a:lnTo>
                    <a:pt x="31" y="172"/>
                  </a:lnTo>
                  <a:lnTo>
                    <a:pt x="32" y="172"/>
                  </a:lnTo>
                  <a:lnTo>
                    <a:pt x="35" y="172"/>
                  </a:lnTo>
                  <a:lnTo>
                    <a:pt x="37" y="172"/>
                  </a:lnTo>
                  <a:lnTo>
                    <a:pt x="45" y="170"/>
                  </a:lnTo>
                  <a:lnTo>
                    <a:pt x="46" y="170"/>
                  </a:lnTo>
                  <a:lnTo>
                    <a:pt x="50" y="169"/>
                  </a:lnTo>
                  <a:lnTo>
                    <a:pt x="55" y="168"/>
                  </a:lnTo>
                  <a:lnTo>
                    <a:pt x="57" y="168"/>
                  </a:lnTo>
                  <a:lnTo>
                    <a:pt x="61" y="168"/>
                  </a:lnTo>
                  <a:lnTo>
                    <a:pt x="63" y="168"/>
                  </a:lnTo>
                  <a:lnTo>
                    <a:pt x="64" y="168"/>
                  </a:lnTo>
                  <a:lnTo>
                    <a:pt x="65" y="167"/>
                  </a:lnTo>
                  <a:lnTo>
                    <a:pt x="66" y="167"/>
                  </a:lnTo>
                  <a:lnTo>
                    <a:pt x="67" y="166"/>
                  </a:lnTo>
                  <a:lnTo>
                    <a:pt x="68" y="166"/>
                  </a:lnTo>
                  <a:lnTo>
                    <a:pt x="69" y="165"/>
                  </a:lnTo>
                  <a:lnTo>
                    <a:pt x="70" y="164"/>
                  </a:lnTo>
                  <a:lnTo>
                    <a:pt x="70" y="164"/>
                  </a:lnTo>
                  <a:lnTo>
                    <a:pt x="72" y="163"/>
                  </a:lnTo>
                  <a:lnTo>
                    <a:pt x="74" y="160"/>
                  </a:lnTo>
                  <a:lnTo>
                    <a:pt x="76" y="157"/>
                  </a:lnTo>
                  <a:lnTo>
                    <a:pt x="79" y="154"/>
                  </a:lnTo>
                  <a:lnTo>
                    <a:pt x="81" y="149"/>
                  </a:lnTo>
                  <a:lnTo>
                    <a:pt x="83" y="148"/>
                  </a:lnTo>
                  <a:lnTo>
                    <a:pt x="84" y="147"/>
                  </a:lnTo>
                  <a:lnTo>
                    <a:pt x="85" y="146"/>
                  </a:lnTo>
                  <a:lnTo>
                    <a:pt x="86" y="144"/>
                  </a:lnTo>
                  <a:lnTo>
                    <a:pt x="89" y="142"/>
                  </a:lnTo>
                  <a:lnTo>
                    <a:pt x="92" y="139"/>
                  </a:lnTo>
                  <a:lnTo>
                    <a:pt x="93" y="138"/>
                  </a:lnTo>
                  <a:lnTo>
                    <a:pt x="94" y="137"/>
                  </a:lnTo>
                  <a:lnTo>
                    <a:pt x="94" y="136"/>
                  </a:lnTo>
                  <a:lnTo>
                    <a:pt x="95" y="136"/>
                  </a:lnTo>
                  <a:lnTo>
                    <a:pt x="95" y="135"/>
                  </a:lnTo>
                  <a:lnTo>
                    <a:pt x="95" y="133"/>
                  </a:lnTo>
                  <a:lnTo>
                    <a:pt x="95" y="132"/>
                  </a:lnTo>
                  <a:lnTo>
                    <a:pt x="95" y="131"/>
                  </a:lnTo>
                  <a:lnTo>
                    <a:pt x="94" y="130"/>
                  </a:lnTo>
                  <a:lnTo>
                    <a:pt x="94" y="129"/>
                  </a:lnTo>
                  <a:lnTo>
                    <a:pt x="92" y="126"/>
                  </a:lnTo>
                  <a:lnTo>
                    <a:pt x="91" y="122"/>
                  </a:lnTo>
                  <a:lnTo>
                    <a:pt x="90" y="120"/>
                  </a:lnTo>
                  <a:lnTo>
                    <a:pt x="90" y="119"/>
                  </a:lnTo>
                  <a:lnTo>
                    <a:pt x="89" y="116"/>
                  </a:lnTo>
                  <a:lnTo>
                    <a:pt x="89" y="115"/>
                  </a:lnTo>
                  <a:lnTo>
                    <a:pt x="89" y="113"/>
                  </a:lnTo>
                  <a:lnTo>
                    <a:pt x="89" y="111"/>
                  </a:lnTo>
                  <a:lnTo>
                    <a:pt x="89" y="109"/>
                  </a:lnTo>
                  <a:lnTo>
                    <a:pt x="89" y="108"/>
                  </a:lnTo>
                  <a:lnTo>
                    <a:pt x="90" y="106"/>
                  </a:lnTo>
                  <a:lnTo>
                    <a:pt x="91" y="104"/>
                  </a:lnTo>
                  <a:lnTo>
                    <a:pt x="94" y="99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7" y="96"/>
                  </a:lnTo>
                  <a:lnTo>
                    <a:pt x="97" y="95"/>
                  </a:lnTo>
                  <a:lnTo>
                    <a:pt x="98" y="95"/>
                  </a:lnTo>
                  <a:lnTo>
                    <a:pt x="99" y="95"/>
                  </a:lnTo>
                  <a:lnTo>
                    <a:pt x="100" y="94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102" y="94"/>
                  </a:lnTo>
                  <a:lnTo>
                    <a:pt x="103" y="95"/>
                  </a:lnTo>
                  <a:lnTo>
                    <a:pt x="103" y="95"/>
                  </a:lnTo>
                  <a:lnTo>
                    <a:pt x="104" y="96"/>
                  </a:lnTo>
                  <a:lnTo>
                    <a:pt x="105" y="97"/>
                  </a:lnTo>
                  <a:lnTo>
                    <a:pt x="105" y="98"/>
                  </a:lnTo>
                  <a:lnTo>
                    <a:pt x="105" y="99"/>
                  </a:lnTo>
                  <a:lnTo>
                    <a:pt x="105" y="100"/>
                  </a:lnTo>
                  <a:lnTo>
                    <a:pt x="106" y="104"/>
                  </a:lnTo>
                  <a:lnTo>
                    <a:pt x="106" y="105"/>
                  </a:lnTo>
                  <a:lnTo>
                    <a:pt x="107" y="106"/>
                  </a:lnTo>
                  <a:lnTo>
                    <a:pt x="107" y="107"/>
                  </a:lnTo>
                  <a:lnTo>
                    <a:pt x="108" y="108"/>
                  </a:lnTo>
                  <a:lnTo>
                    <a:pt x="108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11" y="110"/>
                  </a:lnTo>
                  <a:lnTo>
                    <a:pt x="114" y="110"/>
                  </a:lnTo>
                  <a:lnTo>
                    <a:pt x="116" y="110"/>
                  </a:lnTo>
                  <a:lnTo>
                    <a:pt x="117" y="110"/>
                  </a:lnTo>
                  <a:lnTo>
                    <a:pt x="120" y="111"/>
                  </a:lnTo>
                  <a:lnTo>
                    <a:pt x="123" y="112"/>
                  </a:lnTo>
                  <a:lnTo>
                    <a:pt x="125" y="113"/>
                  </a:lnTo>
                  <a:lnTo>
                    <a:pt x="128" y="113"/>
                  </a:lnTo>
                  <a:lnTo>
                    <a:pt x="131" y="113"/>
                  </a:lnTo>
                  <a:lnTo>
                    <a:pt x="132" y="114"/>
                  </a:lnTo>
                  <a:lnTo>
                    <a:pt x="134" y="114"/>
                  </a:lnTo>
                  <a:lnTo>
                    <a:pt x="135" y="114"/>
                  </a:lnTo>
                  <a:lnTo>
                    <a:pt x="136" y="115"/>
                  </a:lnTo>
                  <a:lnTo>
                    <a:pt x="137" y="115"/>
                  </a:lnTo>
                  <a:lnTo>
                    <a:pt x="139" y="116"/>
                  </a:lnTo>
                  <a:lnTo>
                    <a:pt x="140" y="117"/>
                  </a:lnTo>
                  <a:lnTo>
                    <a:pt x="142" y="118"/>
                  </a:lnTo>
                  <a:lnTo>
                    <a:pt x="146" y="121"/>
                  </a:lnTo>
                  <a:lnTo>
                    <a:pt x="148" y="122"/>
                  </a:lnTo>
                  <a:lnTo>
                    <a:pt x="149" y="123"/>
                  </a:lnTo>
                  <a:lnTo>
                    <a:pt x="149" y="123"/>
                  </a:lnTo>
                  <a:lnTo>
                    <a:pt x="150" y="123"/>
                  </a:lnTo>
                  <a:lnTo>
                    <a:pt x="151" y="122"/>
                  </a:lnTo>
                  <a:lnTo>
                    <a:pt x="152" y="122"/>
                  </a:lnTo>
                  <a:lnTo>
                    <a:pt x="154" y="121"/>
                  </a:lnTo>
                  <a:lnTo>
                    <a:pt x="155" y="120"/>
                  </a:lnTo>
                  <a:lnTo>
                    <a:pt x="156" y="119"/>
                  </a:lnTo>
                  <a:lnTo>
                    <a:pt x="157" y="118"/>
                  </a:lnTo>
                  <a:lnTo>
                    <a:pt x="158" y="116"/>
                  </a:lnTo>
                  <a:lnTo>
                    <a:pt x="159" y="115"/>
                  </a:lnTo>
                  <a:lnTo>
                    <a:pt x="160" y="113"/>
                  </a:lnTo>
                  <a:lnTo>
                    <a:pt x="161" y="112"/>
                  </a:lnTo>
                  <a:lnTo>
                    <a:pt x="162" y="110"/>
                  </a:lnTo>
                  <a:lnTo>
                    <a:pt x="162" y="109"/>
                  </a:lnTo>
                  <a:lnTo>
                    <a:pt x="163" y="108"/>
                  </a:lnTo>
                  <a:lnTo>
                    <a:pt x="163" y="106"/>
                  </a:lnTo>
                  <a:lnTo>
                    <a:pt x="164" y="103"/>
                  </a:lnTo>
                  <a:lnTo>
                    <a:pt x="164" y="102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4" y="99"/>
                  </a:lnTo>
                  <a:lnTo>
                    <a:pt x="165" y="99"/>
                  </a:lnTo>
                  <a:lnTo>
                    <a:pt x="165" y="98"/>
                  </a:lnTo>
                  <a:lnTo>
                    <a:pt x="166" y="98"/>
                  </a:lnTo>
                  <a:lnTo>
                    <a:pt x="168" y="98"/>
                  </a:lnTo>
                  <a:lnTo>
                    <a:pt x="171" y="97"/>
                  </a:lnTo>
                  <a:lnTo>
                    <a:pt x="174" y="96"/>
                  </a:lnTo>
                  <a:lnTo>
                    <a:pt x="177" y="95"/>
                  </a:lnTo>
                  <a:lnTo>
                    <a:pt x="178" y="95"/>
                  </a:lnTo>
                  <a:lnTo>
                    <a:pt x="180" y="94"/>
                  </a:lnTo>
                  <a:lnTo>
                    <a:pt x="184" y="94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90" y="94"/>
                  </a:lnTo>
                  <a:lnTo>
                    <a:pt x="192" y="94"/>
                  </a:lnTo>
                  <a:lnTo>
                    <a:pt x="193" y="94"/>
                  </a:lnTo>
                  <a:lnTo>
                    <a:pt x="194" y="95"/>
                  </a:lnTo>
                  <a:lnTo>
                    <a:pt x="195" y="95"/>
                  </a:lnTo>
                  <a:lnTo>
                    <a:pt x="198" y="96"/>
                  </a:lnTo>
                  <a:lnTo>
                    <a:pt x="199" y="96"/>
                  </a:lnTo>
                  <a:lnTo>
                    <a:pt x="200" y="97"/>
                  </a:lnTo>
                  <a:lnTo>
                    <a:pt x="202" y="97"/>
                  </a:lnTo>
                  <a:lnTo>
                    <a:pt x="203" y="97"/>
                  </a:lnTo>
                  <a:lnTo>
                    <a:pt x="204" y="97"/>
                  </a:lnTo>
                  <a:lnTo>
                    <a:pt x="206" y="97"/>
                  </a:lnTo>
                  <a:lnTo>
                    <a:pt x="207" y="97"/>
                  </a:lnTo>
                  <a:lnTo>
                    <a:pt x="208" y="97"/>
                  </a:lnTo>
                  <a:lnTo>
                    <a:pt x="210" y="96"/>
                  </a:lnTo>
                  <a:lnTo>
                    <a:pt x="211" y="96"/>
                  </a:lnTo>
                  <a:lnTo>
                    <a:pt x="212" y="95"/>
                  </a:lnTo>
                  <a:lnTo>
                    <a:pt x="213" y="95"/>
                  </a:lnTo>
                  <a:lnTo>
                    <a:pt x="214" y="94"/>
                  </a:lnTo>
                  <a:lnTo>
                    <a:pt x="214" y="93"/>
                  </a:lnTo>
                  <a:lnTo>
                    <a:pt x="216" y="92"/>
                  </a:lnTo>
                  <a:lnTo>
                    <a:pt x="217" y="91"/>
                  </a:lnTo>
                  <a:lnTo>
                    <a:pt x="217" y="89"/>
                  </a:lnTo>
                  <a:lnTo>
                    <a:pt x="218" y="88"/>
                  </a:lnTo>
                  <a:lnTo>
                    <a:pt x="218" y="87"/>
                  </a:lnTo>
                  <a:lnTo>
                    <a:pt x="218" y="86"/>
                  </a:lnTo>
                  <a:lnTo>
                    <a:pt x="219" y="85"/>
                  </a:lnTo>
                  <a:lnTo>
                    <a:pt x="219" y="84"/>
                  </a:lnTo>
                  <a:lnTo>
                    <a:pt x="218" y="82"/>
                  </a:lnTo>
                  <a:lnTo>
                    <a:pt x="218" y="81"/>
                  </a:lnTo>
                  <a:lnTo>
                    <a:pt x="218" y="80"/>
                  </a:lnTo>
                  <a:lnTo>
                    <a:pt x="217" y="77"/>
                  </a:lnTo>
                  <a:lnTo>
                    <a:pt x="214" y="71"/>
                  </a:lnTo>
                  <a:lnTo>
                    <a:pt x="213" y="70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3" y="68"/>
                  </a:lnTo>
                  <a:lnTo>
                    <a:pt x="213" y="67"/>
                  </a:lnTo>
                  <a:lnTo>
                    <a:pt x="213" y="67"/>
                  </a:lnTo>
                  <a:lnTo>
                    <a:pt x="213" y="66"/>
                  </a:lnTo>
                  <a:lnTo>
                    <a:pt x="214" y="66"/>
                  </a:lnTo>
                  <a:lnTo>
                    <a:pt x="214" y="66"/>
                  </a:lnTo>
                  <a:lnTo>
                    <a:pt x="215" y="65"/>
                  </a:lnTo>
                  <a:lnTo>
                    <a:pt x="215" y="65"/>
                  </a:lnTo>
                  <a:lnTo>
                    <a:pt x="216" y="65"/>
                  </a:lnTo>
                  <a:lnTo>
                    <a:pt x="217" y="65"/>
                  </a:lnTo>
                  <a:lnTo>
                    <a:pt x="218" y="65"/>
                  </a:lnTo>
                  <a:lnTo>
                    <a:pt x="219" y="65"/>
                  </a:lnTo>
                  <a:lnTo>
                    <a:pt x="220" y="65"/>
                  </a:lnTo>
                  <a:lnTo>
                    <a:pt x="223" y="65"/>
                  </a:lnTo>
                  <a:lnTo>
                    <a:pt x="224" y="66"/>
                  </a:lnTo>
                  <a:lnTo>
                    <a:pt x="225" y="66"/>
                  </a:lnTo>
                  <a:lnTo>
                    <a:pt x="226" y="66"/>
                  </a:lnTo>
                  <a:lnTo>
                    <a:pt x="226" y="66"/>
                  </a:lnTo>
                  <a:lnTo>
                    <a:pt x="227" y="65"/>
                  </a:lnTo>
                  <a:lnTo>
                    <a:pt x="227" y="65"/>
                  </a:lnTo>
                  <a:lnTo>
                    <a:pt x="228" y="64"/>
                  </a:lnTo>
                  <a:lnTo>
                    <a:pt x="228" y="64"/>
                  </a:lnTo>
                  <a:lnTo>
                    <a:pt x="229" y="63"/>
                  </a:lnTo>
                  <a:lnTo>
                    <a:pt x="231" y="60"/>
                  </a:lnTo>
                  <a:lnTo>
                    <a:pt x="232" y="59"/>
                  </a:lnTo>
                  <a:lnTo>
                    <a:pt x="233" y="58"/>
                  </a:lnTo>
                  <a:lnTo>
                    <a:pt x="233" y="58"/>
                  </a:lnTo>
                  <a:lnTo>
                    <a:pt x="234" y="57"/>
                  </a:lnTo>
                  <a:lnTo>
                    <a:pt x="235" y="57"/>
                  </a:lnTo>
                  <a:lnTo>
                    <a:pt x="237" y="57"/>
                  </a:lnTo>
                  <a:lnTo>
                    <a:pt x="238" y="57"/>
                  </a:lnTo>
                  <a:lnTo>
                    <a:pt x="239" y="58"/>
                  </a:lnTo>
                  <a:lnTo>
                    <a:pt x="240" y="58"/>
                  </a:lnTo>
                  <a:lnTo>
                    <a:pt x="241" y="59"/>
                  </a:lnTo>
                  <a:lnTo>
                    <a:pt x="243" y="60"/>
                  </a:lnTo>
                  <a:lnTo>
                    <a:pt x="245" y="61"/>
                  </a:lnTo>
                  <a:lnTo>
                    <a:pt x="246" y="63"/>
                  </a:lnTo>
                  <a:lnTo>
                    <a:pt x="249" y="65"/>
                  </a:lnTo>
                  <a:lnTo>
                    <a:pt x="250" y="66"/>
                  </a:lnTo>
                  <a:lnTo>
                    <a:pt x="251" y="67"/>
                  </a:lnTo>
                  <a:lnTo>
                    <a:pt x="252" y="68"/>
                  </a:lnTo>
                  <a:lnTo>
                    <a:pt x="253" y="68"/>
                  </a:lnTo>
                  <a:lnTo>
                    <a:pt x="255" y="69"/>
                  </a:lnTo>
                  <a:lnTo>
                    <a:pt x="256" y="69"/>
                  </a:lnTo>
                  <a:lnTo>
                    <a:pt x="258" y="70"/>
                  </a:lnTo>
                  <a:lnTo>
                    <a:pt x="260" y="70"/>
                  </a:lnTo>
                  <a:lnTo>
                    <a:pt x="261" y="70"/>
                  </a:lnTo>
                  <a:lnTo>
                    <a:pt x="263" y="70"/>
                  </a:lnTo>
                  <a:lnTo>
                    <a:pt x="266" y="69"/>
                  </a:lnTo>
                  <a:lnTo>
                    <a:pt x="270" y="68"/>
                  </a:lnTo>
                  <a:lnTo>
                    <a:pt x="272" y="68"/>
                  </a:lnTo>
                  <a:lnTo>
                    <a:pt x="272" y="67"/>
                  </a:lnTo>
                  <a:lnTo>
                    <a:pt x="272" y="67"/>
                  </a:lnTo>
                  <a:lnTo>
                    <a:pt x="273" y="66"/>
                  </a:lnTo>
                  <a:lnTo>
                    <a:pt x="274" y="65"/>
                  </a:lnTo>
                  <a:lnTo>
                    <a:pt x="275" y="65"/>
                  </a:lnTo>
                  <a:lnTo>
                    <a:pt x="275" y="64"/>
                  </a:lnTo>
                  <a:lnTo>
                    <a:pt x="277" y="60"/>
                  </a:lnTo>
                  <a:lnTo>
                    <a:pt x="278" y="56"/>
                  </a:lnTo>
                  <a:lnTo>
                    <a:pt x="280" y="52"/>
                  </a:lnTo>
                  <a:lnTo>
                    <a:pt x="281" y="50"/>
                  </a:lnTo>
                  <a:lnTo>
                    <a:pt x="282" y="47"/>
                  </a:lnTo>
                  <a:lnTo>
                    <a:pt x="282" y="46"/>
                  </a:lnTo>
                  <a:lnTo>
                    <a:pt x="282" y="44"/>
                  </a:lnTo>
                  <a:lnTo>
                    <a:pt x="282" y="40"/>
                  </a:lnTo>
                  <a:lnTo>
                    <a:pt x="282" y="39"/>
                  </a:lnTo>
                  <a:lnTo>
                    <a:pt x="283" y="38"/>
                  </a:lnTo>
                  <a:lnTo>
                    <a:pt x="283" y="37"/>
                  </a:lnTo>
                  <a:lnTo>
                    <a:pt x="284" y="36"/>
                  </a:lnTo>
                  <a:lnTo>
                    <a:pt x="284" y="35"/>
                  </a:lnTo>
                  <a:lnTo>
                    <a:pt x="287" y="33"/>
                  </a:lnTo>
                  <a:lnTo>
                    <a:pt x="289" y="30"/>
                  </a:lnTo>
                  <a:lnTo>
                    <a:pt x="290" y="29"/>
                  </a:lnTo>
                  <a:lnTo>
                    <a:pt x="292" y="28"/>
                  </a:lnTo>
                  <a:lnTo>
                    <a:pt x="295" y="26"/>
                  </a:lnTo>
                  <a:lnTo>
                    <a:pt x="296" y="25"/>
                  </a:lnTo>
                  <a:lnTo>
                    <a:pt x="297" y="24"/>
                  </a:lnTo>
                  <a:lnTo>
                    <a:pt x="298" y="23"/>
                  </a:lnTo>
                  <a:lnTo>
                    <a:pt x="298" y="22"/>
                  </a:lnTo>
                  <a:lnTo>
                    <a:pt x="299" y="21"/>
                  </a:lnTo>
                  <a:lnTo>
                    <a:pt x="300" y="20"/>
                  </a:lnTo>
                  <a:lnTo>
                    <a:pt x="301" y="17"/>
                  </a:lnTo>
                  <a:lnTo>
                    <a:pt x="302" y="16"/>
                  </a:lnTo>
                  <a:lnTo>
                    <a:pt x="303" y="15"/>
                  </a:lnTo>
                  <a:lnTo>
                    <a:pt x="304" y="15"/>
                  </a:lnTo>
                  <a:lnTo>
                    <a:pt x="304" y="15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09" y="15"/>
                  </a:lnTo>
                  <a:lnTo>
                    <a:pt x="313" y="16"/>
                  </a:lnTo>
                  <a:lnTo>
                    <a:pt x="315" y="17"/>
                  </a:lnTo>
                  <a:lnTo>
                    <a:pt x="317" y="17"/>
                  </a:lnTo>
                  <a:lnTo>
                    <a:pt x="318" y="17"/>
                  </a:lnTo>
                  <a:lnTo>
                    <a:pt x="319" y="17"/>
                  </a:lnTo>
                  <a:lnTo>
                    <a:pt x="320" y="17"/>
                  </a:lnTo>
                  <a:lnTo>
                    <a:pt x="321" y="17"/>
                  </a:lnTo>
                  <a:lnTo>
                    <a:pt x="321" y="17"/>
                  </a:lnTo>
                  <a:lnTo>
                    <a:pt x="322" y="17"/>
                  </a:lnTo>
                  <a:lnTo>
                    <a:pt x="323" y="16"/>
                  </a:lnTo>
                  <a:lnTo>
                    <a:pt x="324" y="16"/>
                  </a:lnTo>
                  <a:lnTo>
                    <a:pt x="325" y="15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7" y="13"/>
                  </a:lnTo>
                  <a:lnTo>
                    <a:pt x="329" y="11"/>
                  </a:lnTo>
                  <a:lnTo>
                    <a:pt x="330" y="8"/>
                  </a:lnTo>
                  <a:lnTo>
                    <a:pt x="331" y="6"/>
                  </a:lnTo>
                  <a:lnTo>
                    <a:pt x="332" y="5"/>
                  </a:lnTo>
                  <a:lnTo>
                    <a:pt x="332" y="4"/>
                  </a:lnTo>
                  <a:lnTo>
                    <a:pt x="333" y="3"/>
                  </a:lnTo>
                  <a:lnTo>
                    <a:pt x="333" y="2"/>
                  </a:lnTo>
                  <a:lnTo>
                    <a:pt x="333" y="1"/>
                  </a:lnTo>
                  <a:lnTo>
                    <a:pt x="333" y="1"/>
                  </a:lnTo>
                  <a:lnTo>
                    <a:pt x="334" y="1"/>
                  </a:lnTo>
                  <a:lnTo>
                    <a:pt x="334" y="1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40" y="0"/>
                  </a:lnTo>
                  <a:lnTo>
                    <a:pt x="340" y="0"/>
                  </a:lnTo>
                  <a:lnTo>
                    <a:pt x="341" y="0"/>
                  </a:lnTo>
                  <a:close/>
                </a:path>
              </a:pathLst>
            </a:custGeom>
            <a:solidFill>
              <a:srgbClr val="CCCCCC"/>
            </a:solidFill>
            <a:ln w="98425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8" name="Freeform 257">
              <a:extLst>
                <a:ext uri="{FF2B5EF4-FFF2-40B4-BE49-F238E27FC236}">
                  <a16:creationId xmlns:a16="http://schemas.microsoft.com/office/drawing/2014/main" id="{AF982D10-3B71-48EC-B920-3EFF027FBA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3961" y="2300611"/>
              <a:ext cx="647094" cy="604294"/>
            </a:xfrm>
            <a:custGeom>
              <a:avLst/>
              <a:gdLst>
                <a:gd name="T0" fmla="*/ 139 w 635"/>
                <a:gd name="T1" fmla="*/ 11 h 593"/>
                <a:gd name="T2" fmla="*/ 139 w 635"/>
                <a:gd name="T3" fmla="*/ 33 h 593"/>
                <a:gd name="T4" fmla="*/ 152 w 635"/>
                <a:gd name="T5" fmla="*/ 62 h 593"/>
                <a:gd name="T6" fmla="*/ 136 w 635"/>
                <a:gd name="T7" fmla="*/ 79 h 593"/>
                <a:gd name="T8" fmla="*/ 93 w 635"/>
                <a:gd name="T9" fmla="*/ 100 h 593"/>
                <a:gd name="T10" fmla="*/ 91 w 635"/>
                <a:gd name="T11" fmla="*/ 117 h 593"/>
                <a:gd name="T12" fmla="*/ 121 w 635"/>
                <a:gd name="T13" fmla="*/ 138 h 593"/>
                <a:gd name="T14" fmla="*/ 144 w 635"/>
                <a:gd name="T15" fmla="*/ 151 h 593"/>
                <a:gd name="T16" fmla="*/ 168 w 635"/>
                <a:gd name="T17" fmla="*/ 194 h 593"/>
                <a:gd name="T18" fmla="*/ 194 w 635"/>
                <a:gd name="T19" fmla="*/ 217 h 593"/>
                <a:gd name="T20" fmla="*/ 227 w 635"/>
                <a:gd name="T21" fmla="*/ 217 h 593"/>
                <a:gd name="T22" fmla="*/ 268 w 635"/>
                <a:gd name="T23" fmla="*/ 197 h 593"/>
                <a:gd name="T24" fmla="*/ 276 w 635"/>
                <a:gd name="T25" fmla="*/ 185 h 593"/>
                <a:gd name="T26" fmla="*/ 263 w 635"/>
                <a:gd name="T27" fmla="*/ 174 h 593"/>
                <a:gd name="T28" fmla="*/ 279 w 635"/>
                <a:gd name="T29" fmla="*/ 166 h 593"/>
                <a:gd name="T30" fmla="*/ 304 w 635"/>
                <a:gd name="T31" fmla="*/ 200 h 593"/>
                <a:gd name="T32" fmla="*/ 330 w 635"/>
                <a:gd name="T33" fmla="*/ 208 h 593"/>
                <a:gd name="T34" fmla="*/ 348 w 635"/>
                <a:gd name="T35" fmla="*/ 209 h 593"/>
                <a:gd name="T36" fmla="*/ 375 w 635"/>
                <a:gd name="T37" fmla="*/ 227 h 593"/>
                <a:gd name="T38" fmla="*/ 393 w 635"/>
                <a:gd name="T39" fmla="*/ 251 h 593"/>
                <a:gd name="T40" fmla="*/ 405 w 635"/>
                <a:gd name="T41" fmla="*/ 238 h 593"/>
                <a:gd name="T42" fmla="*/ 440 w 635"/>
                <a:gd name="T43" fmla="*/ 241 h 593"/>
                <a:gd name="T44" fmla="*/ 482 w 635"/>
                <a:gd name="T45" fmla="*/ 260 h 593"/>
                <a:gd name="T46" fmla="*/ 493 w 635"/>
                <a:gd name="T47" fmla="*/ 247 h 593"/>
                <a:gd name="T48" fmla="*/ 505 w 635"/>
                <a:gd name="T49" fmla="*/ 258 h 593"/>
                <a:gd name="T50" fmla="*/ 513 w 635"/>
                <a:gd name="T51" fmla="*/ 283 h 593"/>
                <a:gd name="T52" fmla="*/ 509 w 635"/>
                <a:gd name="T53" fmla="*/ 310 h 593"/>
                <a:gd name="T54" fmla="*/ 534 w 635"/>
                <a:gd name="T55" fmla="*/ 373 h 593"/>
                <a:gd name="T56" fmla="*/ 562 w 635"/>
                <a:gd name="T57" fmla="*/ 386 h 593"/>
                <a:gd name="T58" fmla="*/ 588 w 635"/>
                <a:gd name="T59" fmla="*/ 400 h 593"/>
                <a:gd name="T60" fmla="*/ 611 w 635"/>
                <a:gd name="T61" fmla="*/ 410 h 593"/>
                <a:gd name="T62" fmla="*/ 630 w 635"/>
                <a:gd name="T63" fmla="*/ 475 h 593"/>
                <a:gd name="T64" fmla="*/ 629 w 635"/>
                <a:gd name="T65" fmla="*/ 505 h 593"/>
                <a:gd name="T66" fmla="*/ 589 w 635"/>
                <a:gd name="T67" fmla="*/ 523 h 593"/>
                <a:gd name="T68" fmla="*/ 537 w 635"/>
                <a:gd name="T69" fmla="*/ 522 h 593"/>
                <a:gd name="T70" fmla="*/ 513 w 635"/>
                <a:gd name="T71" fmla="*/ 520 h 593"/>
                <a:gd name="T72" fmla="*/ 503 w 635"/>
                <a:gd name="T73" fmla="*/ 542 h 593"/>
                <a:gd name="T74" fmla="*/ 473 w 635"/>
                <a:gd name="T75" fmla="*/ 587 h 593"/>
                <a:gd name="T76" fmla="*/ 447 w 635"/>
                <a:gd name="T77" fmla="*/ 593 h 593"/>
                <a:gd name="T78" fmla="*/ 429 w 635"/>
                <a:gd name="T79" fmla="*/ 571 h 593"/>
                <a:gd name="T80" fmla="*/ 400 w 635"/>
                <a:gd name="T81" fmla="*/ 538 h 593"/>
                <a:gd name="T82" fmla="*/ 370 w 635"/>
                <a:gd name="T83" fmla="*/ 536 h 593"/>
                <a:gd name="T84" fmla="*/ 330 w 635"/>
                <a:gd name="T85" fmla="*/ 521 h 593"/>
                <a:gd name="T86" fmla="*/ 273 w 635"/>
                <a:gd name="T87" fmla="*/ 527 h 593"/>
                <a:gd name="T88" fmla="*/ 251 w 635"/>
                <a:gd name="T89" fmla="*/ 509 h 593"/>
                <a:gd name="T90" fmla="*/ 230 w 635"/>
                <a:gd name="T91" fmla="*/ 496 h 593"/>
                <a:gd name="T92" fmla="*/ 212 w 635"/>
                <a:gd name="T93" fmla="*/ 501 h 593"/>
                <a:gd name="T94" fmla="*/ 210 w 635"/>
                <a:gd name="T95" fmla="*/ 485 h 593"/>
                <a:gd name="T96" fmla="*/ 173 w 635"/>
                <a:gd name="T97" fmla="*/ 444 h 593"/>
                <a:gd name="T98" fmla="*/ 156 w 635"/>
                <a:gd name="T99" fmla="*/ 425 h 593"/>
                <a:gd name="T100" fmla="*/ 137 w 635"/>
                <a:gd name="T101" fmla="*/ 419 h 593"/>
                <a:gd name="T102" fmla="*/ 137 w 635"/>
                <a:gd name="T103" fmla="*/ 385 h 593"/>
                <a:gd name="T104" fmla="*/ 126 w 635"/>
                <a:gd name="T105" fmla="*/ 367 h 593"/>
                <a:gd name="T106" fmla="*/ 87 w 635"/>
                <a:gd name="T107" fmla="*/ 373 h 593"/>
                <a:gd name="T108" fmla="*/ 60 w 635"/>
                <a:gd name="T109" fmla="*/ 351 h 593"/>
                <a:gd name="T110" fmla="*/ 46 w 635"/>
                <a:gd name="T111" fmla="*/ 324 h 593"/>
                <a:gd name="T112" fmla="*/ 34 w 635"/>
                <a:gd name="T113" fmla="*/ 299 h 593"/>
                <a:gd name="T114" fmla="*/ 32 w 635"/>
                <a:gd name="T115" fmla="*/ 323 h 593"/>
                <a:gd name="T116" fmla="*/ 17 w 635"/>
                <a:gd name="T117" fmla="*/ 329 h 593"/>
                <a:gd name="T118" fmla="*/ 3 w 635"/>
                <a:gd name="T119" fmla="*/ 347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5" h="593">
                  <a:moveTo>
                    <a:pt x="126" y="0"/>
                  </a:moveTo>
                  <a:lnTo>
                    <a:pt x="126" y="0"/>
                  </a:lnTo>
                  <a:lnTo>
                    <a:pt x="127" y="0"/>
                  </a:lnTo>
                  <a:lnTo>
                    <a:pt x="128" y="1"/>
                  </a:lnTo>
                  <a:lnTo>
                    <a:pt x="129" y="1"/>
                  </a:lnTo>
                  <a:lnTo>
                    <a:pt x="130" y="2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3" y="4"/>
                  </a:lnTo>
                  <a:lnTo>
                    <a:pt x="135" y="5"/>
                  </a:lnTo>
                  <a:lnTo>
                    <a:pt x="135" y="6"/>
                  </a:lnTo>
                  <a:lnTo>
                    <a:pt x="136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9" y="11"/>
                  </a:lnTo>
                  <a:lnTo>
                    <a:pt x="140" y="11"/>
                  </a:lnTo>
                  <a:lnTo>
                    <a:pt x="141" y="11"/>
                  </a:lnTo>
                  <a:lnTo>
                    <a:pt x="142" y="12"/>
                  </a:lnTo>
                  <a:lnTo>
                    <a:pt x="143" y="12"/>
                  </a:lnTo>
                  <a:lnTo>
                    <a:pt x="143" y="13"/>
                  </a:lnTo>
                  <a:lnTo>
                    <a:pt x="144" y="14"/>
                  </a:lnTo>
                  <a:lnTo>
                    <a:pt x="144" y="14"/>
                  </a:lnTo>
                  <a:lnTo>
                    <a:pt x="144" y="15"/>
                  </a:lnTo>
                  <a:lnTo>
                    <a:pt x="144" y="16"/>
                  </a:lnTo>
                  <a:lnTo>
                    <a:pt x="144" y="17"/>
                  </a:lnTo>
                  <a:lnTo>
                    <a:pt x="144" y="18"/>
                  </a:lnTo>
                  <a:lnTo>
                    <a:pt x="143" y="20"/>
                  </a:lnTo>
                  <a:lnTo>
                    <a:pt x="141" y="26"/>
                  </a:lnTo>
                  <a:lnTo>
                    <a:pt x="140" y="28"/>
                  </a:lnTo>
                  <a:lnTo>
                    <a:pt x="140" y="30"/>
                  </a:lnTo>
                  <a:lnTo>
                    <a:pt x="139" y="31"/>
                  </a:lnTo>
                  <a:lnTo>
                    <a:pt x="139" y="33"/>
                  </a:lnTo>
                  <a:lnTo>
                    <a:pt x="139" y="35"/>
                  </a:lnTo>
                  <a:lnTo>
                    <a:pt x="139" y="36"/>
                  </a:lnTo>
                  <a:lnTo>
                    <a:pt x="140" y="38"/>
                  </a:lnTo>
                  <a:lnTo>
                    <a:pt x="140" y="39"/>
                  </a:lnTo>
                  <a:lnTo>
                    <a:pt x="141" y="41"/>
                  </a:lnTo>
                  <a:lnTo>
                    <a:pt x="141" y="42"/>
                  </a:lnTo>
                  <a:lnTo>
                    <a:pt x="142" y="44"/>
                  </a:lnTo>
                  <a:lnTo>
                    <a:pt x="144" y="45"/>
                  </a:lnTo>
                  <a:lnTo>
                    <a:pt x="147" y="50"/>
                  </a:lnTo>
                  <a:lnTo>
                    <a:pt x="149" y="52"/>
                  </a:lnTo>
                  <a:lnTo>
                    <a:pt x="150" y="53"/>
                  </a:lnTo>
                  <a:lnTo>
                    <a:pt x="150" y="54"/>
                  </a:lnTo>
                  <a:lnTo>
                    <a:pt x="151" y="55"/>
                  </a:lnTo>
                  <a:lnTo>
                    <a:pt x="151" y="56"/>
                  </a:lnTo>
                  <a:lnTo>
                    <a:pt x="151" y="58"/>
                  </a:lnTo>
                  <a:lnTo>
                    <a:pt x="152" y="60"/>
                  </a:lnTo>
                  <a:lnTo>
                    <a:pt x="152" y="62"/>
                  </a:lnTo>
                  <a:lnTo>
                    <a:pt x="152" y="64"/>
                  </a:lnTo>
                  <a:lnTo>
                    <a:pt x="151" y="66"/>
                  </a:lnTo>
                  <a:lnTo>
                    <a:pt x="151" y="67"/>
                  </a:lnTo>
                  <a:lnTo>
                    <a:pt x="151" y="69"/>
                  </a:lnTo>
                  <a:lnTo>
                    <a:pt x="150" y="70"/>
                  </a:lnTo>
                  <a:lnTo>
                    <a:pt x="150" y="71"/>
                  </a:lnTo>
                  <a:lnTo>
                    <a:pt x="149" y="72"/>
                  </a:lnTo>
                  <a:lnTo>
                    <a:pt x="149" y="72"/>
                  </a:lnTo>
                  <a:lnTo>
                    <a:pt x="148" y="73"/>
                  </a:lnTo>
                  <a:lnTo>
                    <a:pt x="146" y="74"/>
                  </a:lnTo>
                  <a:lnTo>
                    <a:pt x="145" y="75"/>
                  </a:lnTo>
                  <a:lnTo>
                    <a:pt x="144" y="75"/>
                  </a:lnTo>
                  <a:lnTo>
                    <a:pt x="143" y="76"/>
                  </a:lnTo>
                  <a:lnTo>
                    <a:pt x="140" y="77"/>
                  </a:lnTo>
                  <a:lnTo>
                    <a:pt x="139" y="77"/>
                  </a:lnTo>
                  <a:lnTo>
                    <a:pt x="137" y="78"/>
                  </a:lnTo>
                  <a:lnTo>
                    <a:pt x="136" y="79"/>
                  </a:lnTo>
                  <a:lnTo>
                    <a:pt x="135" y="80"/>
                  </a:lnTo>
                  <a:lnTo>
                    <a:pt x="134" y="81"/>
                  </a:lnTo>
                  <a:lnTo>
                    <a:pt x="133" y="81"/>
                  </a:lnTo>
                  <a:lnTo>
                    <a:pt x="131" y="84"/>
                  </a:lnTo>
                  <a:lnTo>
                    <a:pt x="131" y="85"/>
                  </a:lnTo>
                  <a:lnTo>
                    <a:pt x="130" y="86"/>
                  </a:lnTo>
                  <a:lnTo>
                    <a:pt x="129" y="87"/>
                  </a:lnTo>
                  <a:lnTo>
                    <a:pt x="128" y="88"/>
                  </a:lnTo>
                  <a:lnTo>
                    <a:pt x="127" y="88"/>
                  </a:lnTo>
                  <a:lnTo>
                    <a:pt x="126" y="89"/>
                  </a:lnTo>
                  <a:lnTo>
                    <a:pt x="125" y="89"/>
                  </a:lnTo>
                  <a:lnTo>
                    <a:pt x="124" y="90"/>
                  </a:lnTo>
                  <a:lnTo>
                    <a:pt x="121" y="91"/>
                  </a:lnTo>
                  <a:lnTo>
                    <a:pt x="114" y="93"/>
                  </a:lnTo>
                  <a:lnTo>
                    <a:pt x="105" y="96"/>
                  </a:lnTo>
                  <a:lnTo>
                    <a:pt x="101" y="97"/>
                  </a:lnTo>
                  <a:lnTo>
                    <a:pt x="93" y="100"/>
                  </a:lnTo>
                  <a:lnTo>
                    <a:pt x="92" y="100"/>
                  </a:lnTo>
                  <a:lnTo>
                    <a:pt x="91" y="101"/>
                  </a:lnTo>
                  <a:lnTo>
                    <a:pt x="90" y="102"/>
                  </a:lnTo>
                  <a:lnTo>
                    <a:pt x="89" y="103"/>
                  </a:lnTo>
                  <a:lnTo>
                    <a:pt x="88" y="103"/>
                  </a:lnTo>
                  <a:lnTo>
                    <a:pt x="88" y="104"/>
                  </a:lnTo>
                  <a:lnTo>
                    <a:pt x="88" y="105"/>
                  </a:lnTo>
                  <a:lnTo>
                    <a:pt x="87" y="106"/>
                  </a:lnTo>
                  <a:lnTo>
                    <a:pt x="87" y="107"/>
                  </a:lnTo>
                  <a:lnTo>
                    <a:pt x="87" y="109"/>
                  </a:lnTo>
                  <a:lnTo>
                    <a:pt x="88" y="109"/>
                  </a:lnTo>
                  <a:lnTo>
                    <a:pt x="88" y="110"/>
                  </a:lnTo>
                  <a:lnTo>
                    <a:pt x="88" y="112"/>
                  </a:lnTo>
                  <a:lnTo>
                    <a:pt x="89" y="113"/>
                  </a:lnTo>
                  <a:lnTo>
                    <a:pt x="90" y="114"/>
                  </a:lnTo>
                  <a:lnTo>
                    <a:pt x="91" y="115"/>
                  </a:lnTo>
                  <a:lnTo>
                    <a:pt x="91" y="117"/>
                  </a:lnTo>
                  <a:lnTo>
                    <a:pt x="92" y="118"/>
                  </a:lnTo>
                  <a:lnTo>
                    <a:pt x="93" y="119"/>
                  </a:lnTo>
                  <a:lnTo>
                    <a:pt x="95" y="121"/>
                  </a:lnTo>
                  <a:lnTo>
                    <a:pt x="100" y="125"/>
                  </a:lnTo>
                  <a:lnTo>
                    <a:pt x="102" y="127"/>
                  </a:lnTo>
                  <a:lnTo>
                    <a:pt x="104" y="129"/>
                  </a:lnTo>
                  <a:lnTo>
                    <a:pt x="107" y="132"/>
                  </a:lnTo>
                  <a:lnTo>
                    <a:pt x="108" y="134"/>
                  </a:lnTo>
                  <a:lnTo>
                    <a:pt x="109" y="135"/>
                  </a:lnTo>
                  <a:lnTo>
                    <a:pt x="111" y="136"/>
                  </a:lnTo>
                  <a:lnTo>
                    <a:pt x="112" y="137"/>
                  </a:lnTo>
                  <a:lnTo>
                    <a:pt x="114" y="138"/>
                  </a:lnTo>
                  <a:lnTo>
                    <a:pt x="116" y="138"/>
                  </a:lnTo>
                  <a:lnTo>
                    <a:pt x="118" y="139"/>
                  </a:lnTo>
                  <a:lnTo>
                    <a:pt x="119" y="139"/>
                  </a:lnTo>
                  <a:lnTo>
                    <a:pt x="120" y="138"/>
                  </a:lnTo>
                  <a:lnTo>
                    <a:pt x="121" y="138"/>
                  </a:lnTo>
                  <a:lnTo>
                    <a:pt x="124" y="137"/>
                  </a:lnTo>
                  <a:lnTo>
                    <a:pt x="125" y="137"/>
                  </a:lnTo>
                  <a:lnTo>
                    <a:pt x="126" y="137"/>
                  </a:lnTo>
                  <a:lnTo>
                    <a:pt x="127" y="137"/>
                  </a:lnTo>
                  <a:lnTo>
                    <a:pt x="128" y="137"/>
                  </a:lnTo>
                  <a:lnTo>
                    <a:pt x="130" y="137"/>
                  </a:lnTo>
                  <a:lnTo>
                    <a:pt x="131" y="138"/>
                  </a:lnTo>
                  <a:lnTo>
                    <a:pt x="132" y="138"/>
                  </a:lnTo>
                  <a:lnTo>
                    <a:pt x="133" y="138"/>
                  </a:lnTo>
                  <a:lnTo>
                    <a:pt x="134" y="139"/>
                  </a:lnTo>
                  <a:lnTo>
                    <a:pt x="135" y="140"/>
                  </a:lnTo>
                  <a:lnTo>
                    <a:pt x="137" y="141"/>
                  </a:lnTo>
                  <a:lnTo>
                    <a:pt x="138" y="142"/>
                  </a:lnTo>
                  <a:lnTo>
                    <a:pt x="139" y="144"/>
                  </a:lnTo>
                  <a:lnTo>
                    <a:pt x="141" y="145"/>
                  </a:lnTo>
                  <a:lnTo>
                    <a:pt x="142" y="146"/>
                  </a:lnTo>
                  <a:lnTo>
                    <a:pt x="144" y="151"/>
                  </a:lnTo>
                  <a:lnTo>
                    <a:pt x="146" y="153"/>
                  </a:lnTo>
                  <a:lnTo>
                    <a:pt x="151" y="159"/>
                  </a:lnTo>
                  <a:lnTo>
                    <a:pt x="152" y="161"/>
                  </a:lnTo>
                  <a:lnTo>
                    <a:pt x="154" y="164"/>
                  </a:lnTo>
                  <a:lnTo>
                    <a:pt x="154" y="165"/>
                  </a:lnTo>
                  <a:lnTo>
                    <a:pt x="155" y="166"/>
                  </a:lnTo>
                  <a:lnTo>
                    <a:pt x="156" y="169"/>
                  </a:lnTo>
                  <a:lnTo>
                    <a:pt x="157" y="170"/>
                  </a:lnTo>
                  <a:lnTo>
                    <a:pt x="159" y="176"/>
                  </a:lnTo>
                  <a:lnTo>
                    <a:pt x="160" y="178"/>
                  </a:lnTo>
                  <a:lnTo>
                    <a:pt x="161" y="180"/>
                  </a:lnTo>
                  <a:lnTo>
                    <a:pt x="162" y="185"/>
                  </a:lnTo>
                  <a:lnTo>
                    <a:pt x="164" y="190"/>
                  </a:lnTo>
                  <a:lnTo>
                    <a:pt x="165" y="191"/>
                  </a:lnTo>
                  <a:lnTo>
                    <a:pt x="166" y="192"/>
                  </a:lnTo>
                  <a:lnTo>
                    <a:pt x="167" y="193"/>
                  </a:lnTo>
                  <a:lnTo>
                    <a:pt x="168" y="194"/>
                  </a:lnTo>
                  <a:lnTo>
                    <a:pt x="169" y="195"/>
                  </a:lnTo>
                  <a:lnTo>
                    <a:pt x="170" y="196"/>
                  </a:lnTo>
                  <a:lnTo>
                    <a:pt x="173" y="198"/>
                  </a:lnTo>
                  <a:lnTo>
                    <a:pt x="175" y="199"/>
                  </a:lnTo>
                  <a:lnTo>
                    <a:pt x="180" y="201"/>
                  </a:lnTo>
                  <a:lnTo>
                    <a:pt x="181" y="202"/>
                  </a:lnTo>
                  <a:lnTo>
                    <a:pt x="183" y="203"/>
                  </a:lnTo>
                  <a:lnTo>
                    <a:pt x="184" y="204"/>
                  </a:lnTo>
                  <a:lnTo>
                    <a:pt x="185" y="205"/>
                  </a:lnTo>
                  <a:lnTo>
                    <a:pt x="186" y="206"/>
                  </a:lnTo>
                  <a:lnTo>
                    <a:pt x="187" y="207"/>
                  </a:lnTo>
                  <a:lnTo>
                    <a:pt x="188" y="210"/>
                  </a:lnTo>
                  <a:lnTo>
                    <a:pt x="189" y="211"/>
                  </a:lnTo>
                  <a:lnTo>
                    <a:pt x="190" y="212"/>
                  </a:lnTo>
                  <a:lnTo>
                    <a:pt x="191" y="213"/>
                  </a:lnTo>
                  <a:lnTo>
                    <a:pt x="193" y="215"/>
                  </a:lnTo>
                  <a:lnTo>
                    <a:pt x="194" y="217"/>
                  </a:lnTo>
                  <a:lnTo>
                    <a:pt x="198" y="219"/>
                  </a:lnTo>
                  <a:lnTo>
                    <a:pt x="199" y="220"/>
                  </a:lnTo>
                  <a:lnTo>
                    <a:pt x="200" y="220"/>
                  </a:lnTo>
                  <a:lnTo>
                    <a:pt x="202" y="221"/>
                  </a:lnTo>
                  <a:lnTo>
                    <a:pt x="204" y="222"/>
                  </a:lnTo>
                  <a:lnTo>
                    <a:pt x="205" y="222"/>
                  </a:lnTo>
                  <a:lnTo>
                    <a:pt x="206" y="222"/>
                  </a:lnTo>
                  <a:lnTo>
                    <a:pt x="207" y="222"/>
                  </a:lnTo>
                  <a:lnTo>
                    <a:pt x="208" y="222"/>
                  </a:lnTo>
                  <a:lnTo>
                    <a:pt x="210" y="222"/>
                  </a:lnTo>
                  <a:lnTo>
                    <a:pt x="215" y="221"/>
                  </a:lnTo>
                  <a:lnTo>
                    <a:pt x="218" y="221"/>
                  </a:lnTo>
                  <a:lnTo>
                    <a:pt x="220" y="221"/>
                  </a:lnTo>
                  <a:lnTo>
                    <a:pt x="222" y="220"/>
                  </a:lnTo>
                  <a:lnTo>
                    <a:pt x="223" y="219"/>
                  </a:lnTo>
                  <a:lnTo>
                    <a:pt x="225" y="218"/>
                  </a:lnTo>
                  <a:lnTo>
                    <a:pt x="227" y="217"/>
                  </a:lnTo>
                  <a:lnTo>
                    <a:pt x="228" y="216"/>
                  </a:lnTo>
                  <a:lnTo>
                    <a:pt x="230" y="215"/>
                  </a:lnTo>
                  <a:lnTo>
                    <a:pt x="236" y="209"/>
                  </a:lnTo>
                  <a:lnTo>
                    <a:pt x="238" y="207"/>
                  </a:lnTo>
                  <a:lnTo>
                    <a:pt x="239" y="206"/>
                  </a:lnTo>
                  <a:lnTo>
                    <a:pt x="241" y="205"/>
                  </a:lnTo>
                  <a:lnTo>
                    <a:pt x="243" y="204"/>
                  </a:lnTo>
                  <a:lnTo>
                    <a:pt x="245" y="202"/>
                  </a:lnTo>
                  <a:lnTo>
                    <a:pt x="247" y="202"/>
                  </a:lnTo>
                  <a:lnTo>
                    <a:pt x="251" y="200"/>
                  </a:lnTo>
                  <a:lnTo>
                    <a:pt x="255" y="198"/>
                  </a:lnTo>
                  <a:lnTo>
                    <a:pt x="256" y="198"/>
                  </a:lnTo>
                  <a:lnTo>
                    <a:pt x="258" y="197"/>
                  </a:lnTo>
                  <a:lnTo>
                    <a:pt x="259" y="197"/>
                  </a:lnTo>
                  <a:lnTo>
                    <a:pt x="260" y="197"/>
                  </a:lnTo>
                  <a:lnTo>
                    <a:pt x="262" y="197"/>
                  </a:lnTo>
                  <a:lnTo>
                    <a:pt x="268" y="197"/>
                  </a:lnTo>
                  <a:lnTo>
                    <a:pt x="270" y="197"/>
                  </a:lnTo>
                  <a:lnTo>
                    <a:pt x="273" y="197"/>
                  </a:lnTo>
                  <a:lnTo>
                    <a:pt x="274" y="197"/>
                  </a:lnTo>
                  <a:lnTo>
                    <a:pt x="275" y="197"/>
                  </a:lnTo>
                  <a:lnTo>
                    <a:pt x="276" y="197"/>
                  </a:lnTo>
                  <a:lnTo>
                    <a:pt x="276" y="197"/>
                  </a:lnTo>
                  <a:lnTo>
                    <a:pt x="277" y="196"/>
                  </a:lnTo>
                  <a:lnTo>
                    <a:pt x="277" y="196"/>
                  </a:lnTo>
                  <a:lnTo>
                    <a:pt x="277" y="195"/>
                  </a:lnTo>
                  <a:lnTo>
                    <a:pt x="277" y="193"/>
                  </a:lnTo>
                  <a:lnTo>
                    <a:pt x="277" y="191"/>
                  </a:lnTo>
                  <a:lnTo>
                    <a:pt x="277" y="190"/>
                  </a:lnTo>
                  <a:lnTo>
                    <a:pt x="277" y="188"/>
                  </a:lnTo>
                  <a:lnTo>
                    <a:pt x="277" y="187"/>
                  </a:lnTo>
                  <a:lnTo>
                    <a:pt x="276" y="186"/>
                  </a:lnTo>
                  <a:lnTo>
                    <a:pt x="276" y="185"/>
                  </a:lnTo>
                  <a:lnTo>
                    <a:pt x="276" y="185"/>
                  </a:lnTo>
                  <a:lnTo>
                    <a:pt x="275" y="184"/>
                  </a:lnTo>
                  <a:lnTo>
                    <a:pt x="274" y="183"/>
                  </a:lnTo>
                  <a:lnTo>
                    <a:pt x="273" y="183"/>
                  </a:lnTo>
                  <a:lnTo>
                    <a:pt x="272" y="182"/>
                  </a:lnTo>
                  <a:lnTo>
                    <a:pt x="270" y="182"/>
                  </a:lnTo>
                  <a:lnTo>
                    <a:pt x="267" y="181"/>
                  </a:lnTo>
                  <a:lnTo>
                    <a:pt x="266" y="181"/>
                  </a:lnTo>
                  <a:lnTo>
                    <a:pt x="265" y="180"/>
                  </a:lnTo>
                  <a:lnTo>
                    <a:pt x="265" y="180"/>
                  </a:lnTo>
                  <a:lnTo>
                    <a:pt x="264" y="180"/>
                  </a:lnTo>
                  <a:lnTo>
                    <a:pt x="264" y="179"/>
                  </a:lnTo>
                  <a:lnTo>
                    <a:pt x="264" y="179"/>
                  </a:lnTo>
                  <a:lnTo>
                    <a:pt x="263" y="178"/>
                  </a:lnTo>
                  <a:lnTo>
                    <a:pt x="263" y="177"/>
                  </a:lnTo>
                  <a:lnTo>
                    <a:pt x="263" y="176"/>
                  </a:lnTo>
                  <a:lnTo>
                    <a:pt x="263" y="175"/>
                  </a:lnTo>
                  <a:lnTo>
                    <a:pt x="263" y="174"/>
                  </a:lnTo>
                  <a:lnTo>
                    <a:pt x="263" y="173"/>
                  </a:lnTo>
                  <a:lnTo>
                    <a:pt x="263" y="172"/>
                  </a:lnTo>
                  <a:lnTo>
                    <a:pt x="264" y="171"/>
                  </a:lnTo>
                  <a:lnTo>
                    <a:pt x="264" y="170"/>
                  </a:lnTo>
                  <a:lnTo>
                    <a:pt x="265" y="169"/>
                  </a:lnTo>
                  <a:lnTo>
                    <a:pt x="266" y="168"/>
                  </a:lnTo>
                  <a:lnTo>
                    <a:pt x="267" y="167"/>
                  </a:lnTo>
                  <a:lnTo>
                    <a:pt x="268" y="166"/>
                  </a:lnTo>
                  <a:lnTo>
                    <a:pt x="269" y="166"/>
                  </a:lnTo>
                  <a:lnTo>
                    <a:pt x="270" y="165"/>
                  </a:lnTo>
                  <a:lnTo>
                    <a:pt x="271" y="165"/>
                  </a:lnTo>
                  <a:lnTo>
                    <a:pt x="272" y="165"/>
                  </a:lnTo>
                  <a:lnTo>
                    <a:pt x="273" y="165"/>
                  </a:lnTo>
                  <a:lnTo>
                    <a:pt x="274" y="165"/>
                  </a:lnTo>
                  <a:lnTo>
                    <a:pt x="276" y="165"/>
                  </a:lnTo>
                  <a:lnTo>
                    <a:pt x="277" y="165"/>
                  </a:lnTo>
                  <a:lnTo>
                    <a:pt x="279" y="166"/>
                  </a:lnTo>
                  <a:lnTo>
                    <a:pt x="281" y="167"/>
                  </a:lnTo>
                  <a:lnTo>
                    <a:pt x="283" y="168"/>
                  </a:lnTo>
                  <a:lnTo>
                    <a:pt x="284" y="169"/>
                  </a:lnTo>
                  <a:lnTo>
                    <a:pt x="285" y="170"/>
                  </a:lnTo>
                  <a:lnTo>
                    <a:pt x="290" y="173"/>
                  </a:lnTo>
                  <a:lnTo>
                    <a:pt x="291" y="175"/>
                  </a:lnTo>
                  <a:lnTo>
                    <a:pt x="292" y="176"/>
                  </a:lnTo>
                  <a:lnTo>
                    <a:pt x="293" y="177"/>
                  </a:lnTo>
                  <a:lnTo>
                    <a:pt x="294" y="179"/>
                  </a:lnTo>
                  <a:lnTo>
                    <a:pt x="298" y="187"/>
                  </a:lnTo>
                  <a:lnTo>
                    <a:pt x="299" y="188"/>
                  </a:lnTo>
                  <a:lnTo>
                    <a:pt x="299" y="189"/>
                  </a:lnTo>
                  <a:lnTo>
                    <a:pt x="301" y="194"/>
                  </a:lnTo>
                  <a:lnTo>
                    <a:pt x="301" y="196"/>
                  </a:lnTo>
                  <a:lnTo>
                    <a:pt x="302" y="197"/>
                  </a:lnTo>
                  <a:lnTo>
                    <a:pt x="303" y="199"/>
                  </a:lnTo>
                  <a:lnTo>
                    <a:pt x="304" y="200"/>
                  </a:lnTo>
                  <a:lnTo>
                    <a:pt x="305" y="202"/>
                  </a:lnTo>
                  <a:lnTo>
                    <a:pt x="306" y="202"/>
                  </a:lnTo>
                  <a:lnTo>
                    <a:pt x="307" y="203"/>
                  </a:lnTo>
                  <a:lnTo>
                    <a:pt x="308" y="204"/>
                  </a:lnTo>
                  <a:lnTo>
                    <a:pt x="309" y="204"/>
                  </a:lnTo>
                  <a:lnTo>
                    <a:pt x="310" y="205"/>
                  </a:lnTo>
                  <a:lnTo>
                    <a:pt x="311" y="205"/>
                  </a:lnTo>
                  <a:lnTo>
                    <a:pt x="315" y="207"/>
                  </a:lnTo>
                  <a:lnTo>
                    <a:pt x="322" y="209"/>
                  </a:lnTo>
                  <a:lnTo>
                    <a:pt x="323" y="210"/>
                  </a:lnTo>
                  <a:lnTo>
                    <a:pt x="324" y="210"/>
                  </a:lnTo>
                  <a:lnTo>
                    <a:pt x="325" y="210"/>
                  </a:lnTo>
                  <a:lnTo>
                    <a:pt x="326" y="210"/>
                  </a:lnTo>
                  <a:lnTo>
                    <a:pt x="327" y="209"/>
                  </a:lnTo>
                  <a:lnTo>
                    <a:pt x="328" y="209"/>
                  </a:lnTo>
                  <a:lnTo>
                    <a:pt x="329" y="209"/>
                  </a:lnTo>
                  <a:lnTo>
                    <a:pt x="330" y="208"/>
                  </a:lnTo>
                  <a:lnTo>
                    <a:pt x="332" y="206"/>
                  </a:lnTo>
                  <a:lnTo>
                    <a:pt x="333" y="206"/>
                  </a:lnTo>
                  <a:lnTo>
                    <a:pt x="334" y="205"/>
                  </a:lnTo>
                  <a:lnTo>
                    <a:pt x="335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8" y="204"/>
                  </a:lnTo>
                  <a:lnTo>
                    <a:pt x="339" y="204"/>
                  </a:lnTo>
                  <a:lnTo>
                    <a:pt x="340" y="205"/>
                  </a:lnTo>
                  <a:lnTo>
                    <a:pt x="341" y="205"/>
                  </a:lnTo>
                  <a:lnTo>
                    <a:pt x="343" y="205"/>
                  </a:lnTo>
                  <a:lnTo>
                    <a:pt x="344" y="206"/>
                  </a:lnTo>
                  <a:lnTo>
                    <a:pt x="345" y="206"/>
                  </a:lnTo>
                  <a:lnTo>
                    <a:pt x="345" y="207"/>
                  </a:lnTo>
                  <a:lnTo>
                    <a:pt x="346" y="207"/>
                  </a:lnTo>
                  <a:lnTo>
                    <a:pt x="347" y="208"/>
                  </a:lnTo>
                  <a:lnTo>
                    <a:pt x="348" y="209"/>
                  </a:lnTo>
                  <a:lnTo>
                    <a:pt x="349" y="211"/>
                  </a:lnTo>
                  <a:lnTo>
                    <a:pt x="351" y="214"/>
                  </a:lnTo>
                  <a:lnTo>
                    <a:pt x="352" y="215"/>
                  </a:lnTo>
                  <a:lnTo>
                    <a:pt x="353" y="217"/>
                  </a:lnTo>
                  <a:lnTo>
                    <a:pt x="354" y="217"/>
                  </a:lnTo>
                  <a:lnTo>
                    <a:pt x="355" y="218"/>
                  </a:lnTo>
                  <a:lnTo>
                    <a:pt x="356" y="219"/>
                  </a:lnTo>
                  <a:lnTo>
                    <a:pt x="358" y="219"/>
                  </a:lnTo>
                  <a:lnTo>
                    <a:pt x="359" y="220"/>
                  </a:lnTo>
                  <a:lnTo>
                    <a:pt x="366" y="222"/>
                  </a:lnTo>
                  <a:lnTo>
                    <a:pt x="367" y="222"/>
                  </a:lnTo>
                  <a:lnTo>
                    <a:pt x="369" y="223"/>
                  </a:lnTo>
                  <a:lnTo>
                    <a:pt x="371" y="224"/>
                  </a:lnTo>
                  <a:lnTo>
                    <a:pt x="372" y="225"/>
                  </a:lnTo>
                  <a:lnTo>
                    <a:pt x="374" y="226"/>
                  </a:lnTo>
                  <a:lnTo>
                    <a:pt x="375" y="226"/>
                  </a:lnTo>
                  <a:lnTo>
                    <a:pt x="375" y="227"/>
                  </a:lnTo>
                  <a:lnTo>
                    <a:pt x="376" y="228"/>
                  </a:lnTo>
                  <a:lnTo>
                    <a:pt x="377" y="229"/>
                  </a:lnTo>
                  <a:lnTo>
                    <a:pt x="378" y="230"/>
                  </a:lnTo>
                  <a:lnTo>
                    <a:pt x="379" y="233"/>
                  </a:lnTo>
                  <a:lnTo>
                    <a:pt x="380" y="238"/>
                  </a:lnTo>
                  <a:lnTo>
                    <a:pt x="381" y="239"/>
                  </a:lnTo>
                  <a:lnTo>
                    <a:pt x="382" y="241"/>
                  </a:lnTo>
                  <a:lnTo>
                    <a:pt x="383" y="242"/>
                  </a:lnTo>
                  <a:lnTo>
                    <a:pt x="384" y="244"/>
                  </a:lnTo>
                  <a:lnTo>
                    <a:pt x="385" y="245"/>
                  </a:lnTo>
                  <a:lnTo>
                    <a:pt x="386" y="246"/>
                  </a:lnTo>
                  <a:lnTo>
                    <a:pt x="387" y="247"/>
                  </a:lnTo>
                  <a:lnTo>
                    <a:pt x="388" y="248"/>
                  </a:lnTo>
                  <a:lnTo>
                    <a:pt x="390" y="249"/>
                  </a:lnTo>
                  <a:lnTo>
                    <a:pt x="391" y="250"/>
                  </a:lnTo>
                  <a:lnTo>
                    <a:pt x="392" y="250"/>
                  </a:lnTo>
                  <a:lnTo>
                    <a:pt x="393" y="251"/>
                  </a:lnTo>
                  <a:lnTo>
                    <a:pt x="394" y="251"/>
                  </a:lnTo>
                  <a:lnTo>
                    <a:pt x="395" y="251"/>
                  </a:lnTo>
                  <a:lnTo>
                    <a:pt x="397" y="251"/>
                  </a:lnTo>
                  <a:lnTo>
                    <a:pt x="398" y="251"/>
                  </a:lnTo>
                  <a:lnTo>
                    <a:pt x="398" y="250"/>
                  </a:lnTo>
                  <a:lnTo>
                    <a:pt x="399" y="250"/>
                  </a:lnTo>
                  <a:lnTo>
                    <a:pt x="402" y="248"/>
                  </a:lnTo>
                  <a:lnTo>
                    <a:pt x="404" y="247"/>
                  </a:lnTo>
                  <a:lnTo>
                    <a:pt x="405" y="246"/>
                  </a:lnTo>
                  <a:lnTo>
                    <a:pt x="405" y="245"/>
                  </a:lnTo>
                  <a:lnTo>
                    <a:pt x="406" y="244"/>
                  </a:lnTo>
                  <a:lnTo>
                    <a:pt x="406" y="244"/>
                  </a:lnTo>
                  <a:lnTo>
                    <a:pt x="406" y="242"/>
                  </a:lnTo>
                  <a:lnTo>
                    <a:pt x="406" y="241"/>
                  </a:lnTo>
                  <a:lnTo>
                    <a:pt x="406" y="240"/>
                  </a:lnTo>
                  <a:lnTo>
                    <a:pt x="405" y="238"/>
                  </a:lnTo>
                  <a:lnTo>
                    <a:pt x="405" y="238"/>
                  </a:lnTo>
                  <a:lnTo>
                    <a:pt x="405" y="237"/>
                  </a:lnTo>
                  <a:lnTo>
                    <a:pt x="405" y="237"/>
                  </a:lnTo>
                  <a:lnTo>
                    <a:pt x="406" y="236"/>
                  </a:lnTo>
                  <a:lnTo>
                    <a:pt x="406" y="236"/>
                  </a:lnTo>
                  <a:lnTo>
                    <a:pt x="407" y="236"/>
                  </a:lnTo>
                  <a:lnTo>
                    <a:pt x="408" y="236"/>
                  </a:lnTo>
                  <a:lnTo>
                    <a:pt x="410" y="237"/>
                  </a:lnTo>
                  <a:lnTo>
                    <a:pt x="412" y="237"/>
                  </a:lnTo>
                  <a:lnTo>
                    <a:pt x="417" y="238"/>
                  </a:lnTo>
                  <a:lnTo>
                    <a:pt x="420" y="239"/>
                  </a:lnTo>
                  <a:lnTo>
                    <a:pt x="422" y="239"/>
                  </a:lnTo>
                  <a:lnTo>
                    <a:pt x="424" y="239"/>
                  </a:lnTo>
                  <a:lnTo>
                    <a:pt x="427" y="240"/>
                  </a:lnTo>
                  <a:lnTo>
                    <a:pt x="433" y="240"/>
                  </a:lnTo>
                  <a:lnTo>
                    <a:pt x="436" y="240"/>
                  </a:lnTo>
                  <a:lnTo>
                    <a:pt x="438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50" y="246"/>
                  </a:lnTo>
                  <a:lnTo>
                    <a:pt x="454" y="248"/>
                  </a:lnTo>
                  <a:lnTo>
                    <a:pt x="456" y="249"/>
                  </a:lnTo>
                  <a:lnTo>
                    <a:pt x="458" y="250"/>
                  </a:lnTo>
                  <a:lnTo>
                    <a:pt x="466" y="256"/>
                  </a:lnTo>
                  <a:lnTo>
                    <a:pt x="468" y="257"/>
                  </a:lnTo>
                  <a:lnTo>
                    <a:pt x="469" y="257"/>
                  </a:lnTo>
                  <a:lnTo>
                    <a:pt x="470" y="258"/>
                  </a:lnTo>
                  <a:lnTo>
                    <a:pt x="473" y="259"/>
                  </a:lnTo>
                  <a:lnTo>
                    <a:pt x="475" y="260"/>
                  </a:lnTo>
                  <a:lnTo>
                    <a:pt x="477" y="260"/>
                  </a:lnTo>
                  <a:lnTo>
                    <a:pt x="479" y="260"/>
                  </a:lnTo>
                  <a:lnTo>
                    <a:pt x="481" y="260"/>
                  </a:lnTo>
                  <a:lnTo>
                    <a:pt x="482" y="260"/>
                  </a:lnTo>
                  <a:lnTo>
                    <a:pt x="483" y="260"/>
                  </a:lnTo>
                  <a:lnTo>
                    <a:pt x="484" y="260"/>
                  </a:lnTo>
                  <a:lnTo>
                    <a:pt x="485" y="260"/>
                  </a:lnTo>
                  <a:lnTo>
                    <a:pt x="486" y="259"/>
                  </a:lnTo>
                  <a:lnTo>
                    <a:pt x="487" y="259"/>
                  </a:lnTo>
                  <a:lnTo>
                    <a:pt x="488" y="258"/>
                  </a:lnTo>
                  <a:lnTo>
                    <a:pt x="488" y="257"/>
                  </a:lnTo>
                  <a:lnTo>
                    <a:pt x="489" y="256"/>
                  </a:lnTo>
                  <a:lnTo>
                    <a:pt x="489" y="256"/>
                  </a:lnTo>
                  <a:lnTo>
                    <a:pt x="490" y="255"/>
                  </a:lnTo>
                  <a:lnTo>
                    <a:pt x="490" y="254"/>
                  </a:lnTo>
                  <a:lnTo>
                    <a:pt x="491" y="251"/>
                  </a:lnTo>
                  <a:lnTo>
                    <a:pt x="492" y="249"/>
                  </a:lnTo>
                  <a:lnTo>
                    <a:pt x="492" y="249"/>
                  </a:lnTo>
                  <a:lnTo>
                    <a:pt x="492" y="248"/>
                  </a:lnTo>
                  <a:lnTo>
                    <a:pt x="493" y="248"/>
                  </a:lnTo>
                  <a:lnTo>
                    <a:pt x="493" y="247"/>
                  </a:lnTo>
                  <a:lnTo>
                    <a:pt x="494" y="247"/>
                  </a:lnTo>
                  <a:lnTo>
                    <a:pt x="495" y="247"/>
                  </a:lnTo>
                  <a:lnTo>
                    <a:pt x="495" y="247"/>
                  </a:lnTo>
                  <a:lnTo>
                    <a:pt x="496" y="247"/>
                  </a:lnTo>
                  <a:lnTo>
                    <a:pt x="497" y="247"/>
                  </a:lnTo>
                  <a:lnTo>
                    <a:pt x="498" y="248"/>
                  </a:lnTo>
                  <a:lnTo>
                    <a:pt x="499" y="248"/>
                  </a:lnTo>
                  <a:lnTo>
                    <a:pt x="500" y="248"/>
                  </a:lnTo>
                  <a:lnTo>
                    <a:pt x="501" y="249"/>
                  </a:lnTo>
                  <a:lnTo>
                    <a:pt x="502" y="249"/>
                  </a:lnTo>
                  <a:lnTo>
                    <a:pt x="502" y="250"/>
                  </a:lnTo>
                  <a:lnTo>
                    <a:pt x="503" y="251"/>
                  </a:lnTo>
                  <a:lnTo>
                    <a:pt x="503" y="252"/>
                  </a:lnTo>
                  <a:lnTo>
                    <a:pt x="504" y="253"/>
                  </a:lnTo>
                  <a:lnTo>
                    <a:pt x="504" y="254"/>
                  </a:lnTo>
                  <a:lnTo>
                    <a:pt x="505" y="256"/>
                  </a:lnTo>
                  <a:lnTo>
                    <a:pt x="505" y="258"/>
                  </a:lnTo>
                  <a:lnTo>
                    <a:pt x="505" y="260"/>
                  </a:lnTo>
                  <a:lnTo>
                    <a:pt x="505" y="265"/>
                  </a:lnTo>
                  <a:lnTo>
                    <a:pt x="505" y="268"/>
                  </a:lnTo>
                  <a:lnTo>
                    <a:pt x="505" y="270"/>
                  </a:lnTo>
                  <a:lnTo>
                    <a:pt x="505" y="271"/>
                  </a:lnTo>
                  <a:lnTo>
                    <a:pt x="505" y="272"/>
                  </a:lnTo>
                  <a:lnTo>
                    <a:pt x="505" y="272"/>
                  </a:lnTo>
                  <a:lnTo>
                    <a:pt x="506" y="274"/>
                  </a:lnTo>
                  <a:lnTo>
                    <a:pt x="506" y="275"/>
                  </a:lnTo>
                  <a:lnTo>
                    <a:pt x="506" y="276"/>
                  </a:lnTo>
                  <a:lnTo>
                    <a:pt x="507" y="276"/>
                  </a:lnTo>
                  <a:lnTo>
                    <a:pt x="508" y="277"/>
                  </a:lnTo>
                  <a:lnTo>
                    <a:pt x="508" y="278"/>
                  </a:lnTo>
                  <a:lnTo>
                    <a:pt x="509" y="279"/>
                  </a:lnTo>
                  <a:lnTo>
                    <a:pt x="510" y="280"/>
                  </a:lnTo>
                  <a:lnTo>
                    <a:pt x="512" y="282"/>
                  </a:lnTo>
                  <a:lnTo>
                    <a:pt x="513" y="283"/>
                  </a:lnTo>
                  <a:lnTo>
                    <a:pt x="514" y="284"/>
                  </a:lnTo>
                  <a:lnTo>
                    <a:pt x="514" y="284"/>
                  </a:lnTo>
                  <a:lnTo>
                    <a:pt x="514" y="285"/>
                  </a:lnTo>
                  <a:lnTo>
                    <a:pt x="515" y="285"/>
                  </a:lnTo>
                  <a:lnTo>
                    <a:pt x="515" y="286"/>
                  </a:lnTo>
                  <a:lnTo>
                    <a:pt x="515" y="287"/>
                  </a:lnTo>
                  <a:lnTo>
                    <a:pt x="514" y="288"/>
                  </a:lnTo>
                  <a:lnTo>
                    <a:pt x="514" y="289"/>
                  </a:lnTo>
                  <a:lnTo>
                    <a:pt x="512" y="292"/>
                  </a:lnTo>
                  <a:lnTo>
                    <a:pt x="511" y="296"/>
                  </a:lnTo>
                  <a:lnTo>
                    <a:pt x="509" y="300"/>
                  </a:lnTo>
                  <a:lnTo>
                    <a:pt x="509" y="301"/>
                  </a:lnTo>
                  <a:lnTo>
                    <a:pt x="508" y="302"/>
                  </a:lnTo>
                  <a:lnTo>
                    <a:pt x="508" y="304"/>
                  </a:lnTo>
                  <a:lnTo>
                    <a:pt x="508" y="306"/>
                  </a:lnTo>
                  <a:lnTo>
                    <a:pt x="508" y="308"/>
                  </a:lnTo>
                  <a:lnTo>
                    <a:pt x="509" y="310"/>
                  </a:lnTo>
                  <a:lnTo>
                    <a:pt x="509" y="312"/>
                  </a:lnTo>
                  <a:lnTo>
                    <a:pt x="511" y="315"/>
                  </a:lnTo>
                  <a:lnTo>
                    <a:pt x="511" y="317"/>
                  </a:lnTo>
                  <a:lnTo>
                    <a:pt x="512" y="319"/>
                  </a:lnTo>
                  <a:lnTo>
                    <a:pt x="513" y="321"/>
                  </a:lnTo>
                  <a:lnTo>
                    <a:pt x="515" y="325"/>
                  </a:lnTo>
                  <a:lnTo>
                    <a:pt x="517" y="330"/>
                  </a:lnTo>
                  <a:lnTo>
                    <a:pt x="519" y="336"/>
                  </a:lnTo>
                  <a:lnTo>
                    <a:pt x="524" y="345"/>
                  </a:lnTo>
                  <a:lnTo>
                    <a:pt x="527" y="353"/>
                  </a:lnTo>
                  <a:lnTo>
                    <a:pt x="529" y="358"/>
                  </a:lnTo>
                  <a:lnTo>
                    <a:pt x="530" y="360"/>
                  </a:lnTo>
                  <a:lnTo>
                    <a:pt x="531" y="361"/>
                  </a:lnTo>
                  <a:lnTo>
                    <a:pt x="531" y="363"/>
                  </a:lnTo>
                  <a:lnTo>
                    <a:pt x="533" y="369"/>
                  </a:lnTo>
                  <a:lnTo>
                    <a:pt x="534" y="371"/>
                  </a:lnTo>
                  <a:lnTo>
                    <a:pt x="534" y="373"/>
                  </a:lnTo>
                  <a:lnTo>
                    <a:pt x="535" y="374"/>
                  </a:lnTo>
                  <a:lnTo>
                    <a:pt x="535" y="375"/>
                  </a:lnTo>
                  <a:lnTo>
                    <a:pt x="536" y="376"/>
                  </a:lnTo>
                  <a:lnTo>
                    <a:pt x="537" y="377"/>
                  </a:lnTo>
                  <a:lnTo>
                    <a:pt x="538" y="378"/>
                  </a:lnTo>
                  <a:lnTo>
                    <a:pt x="538" y="379"/>
                  </a:lnTo>
                  <a:lnTo>
                    <a:pt x="539" y="380"/>
                  </a:lnTo>
                  <a:lnTo>
                    <a:pt x="541" y="380"/>
                  </a:lnTo>
                  <a:lnTo>
                    <a:pt x="542" y="381"/>
                  </a:lnTo>
                  <a:lnTo>
                    <a:pt x="543" y="382"/>
                  </a:lnTo>
                  <a:lnTo>
                    <a:pt x="544" y="382"/>
                  </a:lnTo>
                  <a:lnTo>
                    <a:pt x="546" y="383"/>
                  </a:lnTo>
                  <a:lnTo>
                    <a:pt x="552" y="385"/>
                  </a:lnTo>
                  <a:lnTo>
                    <a:pt x="554" y="385"/>
                  </a:lnTo>
                  <a:lnTo>
                    <a:pt x="559" y="386"/>
                  </a:lnTo>
                  <a:lnTo>
                    <a:pt x="561" y="386"/>
                  </a:lnTo>
                  <a:lnTo>
                    <a:pt x="562" y="386"/>
                  </a:lnTo>
                  <a:lnTo>
                    <a:pt x="563" y="387"/>
                  </a:lnTo>
                  <a:lnTo>
                    <a:pt x="565" y="388"/>
                  </a:lnTo>
                  <a:lnTo>
                    <a:pt x="567" y="388"/>
                  </a:lnTo>
                  <a:lnTo>
                    <a:pt x="568" y="390"/>
                  </a:lnTo>
                  <a:lnTo>
                    <a:pt x="570" y="392"/>
                  </a:lnTo>
                  <a:lnTo>
                    <a:pt x="573" y="395"/>
                  </a:lnTo>
                  <a:lnTo>
                    <a:pt x="574" y="396"/>
                  </a:lnTo>
                  <a:lnTo>
                    <a:pt x="575" y="397"/>
                  </a:lnTo>
                  <a:lnTo>
                    <a:pt x="576" y="397"/>
                  </a:lnTo>
                  <a:lnTo>
                    <a:pt x="578" y="398"/>
                  </a:lnTo>
                  <a:lnTo>
                    <a:pt x="580" y="399"/>
                  </a:lnTo>
                  <a:lnTo>
                    <a:pt x="582" y="399"/>
                  </a:lnTo>
                  <a:lnTo>
                    <a:pt x="583" y="400"/>
                  </a:lnTo>
                  <a:lnTo>
                    <a:pt x="585" y="400"/>
                  </a:lnTo>
                  <a:lnTo>
                    <a:pt x="586" y="400"/>
                  </a:lnTo>
                  <a:lnTo>
                    <a:pt x="587" y="400"/>
                  </a:lnTo>
                  <a:lnTo>
                    <a:pt x="588" y="400"/>
                  </a:lnTo>
                  <a:lnTo>
                    <a:pt x="592" y="399"/>
                  </a:lnTo>
                  <a:lnTo>
                    <a:pt x="595" y="399"/>
                  </a:lnTo>
                  <a:lnTo>
                    <a:pt x="597" y="399"/>
                  </a:lnTo>
                  <a:lnTo>
                    <a:pt x="598" y="399"/>
                  </a:lnTo>
                  <a:lnTo>
                    <a:pt x="599" y="399"/>
                  </a:lnTo>
                  <a:lnTo>
                    <a:pt x="600" y="399"/>
                  </a:lnTo>
                  <a:lnTo>
                    <a:pt x="602" y="400"/>
                  </a:lnTo>
                  <a:lnTo>
                    <a:pt x="604" y="400"/>
                  </a:lnTo>
                  <a:lnTo>
                    <a:pt x="605" y="401"/>
                  </a:lnTo>
                  <a:lnTo>
                    <a:pt x="606" y="402"/>
                  </a:lnTo>
                  <a:lnTo>
                    <a:pt x="607" y="403"/>
                  </a:lnTo>
                  <a:lnTo>
                    <a:pt x="608" y="403"/>
                  </a:lnTo>
                  <a:lnTo>
                    <a:pt x="609" y="404"/>
                  </a:lnTo>
                  <a:lnTo>
                    <a:pt x="610" y="405"/>
                  </a:lnTo>
                  <a:lnTo>
                    <a:pt x="610" y="407"/>
                  </a:lnTo>
                  <a:lnTo>
                    <a:pt x="610" y="408"/>
                  </a:lnTo>
                  <a:lnTo>
                    <a:pt x="611" y="410"/>
                  </a:lnTo>
                  <a:lnTo>
                    <a:pt x="612" y="413"/>
                  </a:lnTo>
                  <a:lnTo>
                    <a:pt x="613" y="419"/>
                  </a:lnTo>
                  <a:lnTo>
                    <a:pt x="615" y="427"/>
                  </a:lnTo>
                  <a:lnTo>
                    <a:pt x="619" y="439"/>
                  </a:lnTo>
                  <a:lnTo>
                    <a:pt x="621" y="447"/>
                  </a:lnTo>
                  <a:lnTo>
                    <a:pt x="621" y="449"/>
                  </a:lnTo>
                  <a:lnTo>
                    <a:pt x="622" y="450"/>
                  </a:lnTo>
                  <a:lnTo>
                    <a:pt x="623" y="452"/>
                  </a:lnTo>
                  <a:lnTo>
                    <a:pt x="624" y="455"/>
                  </a:lnTo>
                  <a:lnTo>
                    <a:pt x="625" y="456"/>
                  </a:lnTo>
                  <a:lnTo>
                    <a:pt x="625" y="458"/>
                  </a:lnTo>
                  <a:lnTo>
                    <a:pt x="626" y="464"/>
                  </a:lnTo>
                  <a:lnTo>
                    <a:pt x="627" y="466"/>
                  </a:lnTo>
                  <a:lnTo>
                    <a:pt x="627" y="468"/>
                  </a:lnTo>
                  <a:lnTo>
                    <a:pt x="628" y="471"/>
                  </a:lnTo>
                  <a:lnTo>
                    <a:pt x="629" y="474"/>
                  </a:lnTo>
                  <a:lnTo>
                    <a:pt x="630" y="475"/>
                  </a:lnTo>
                  <a:lnTo>
                    <a:pt x="632" y="479"/>
                  </a:lnTo>
                  <a:lnTo>
                    <a:pt x="634" y="482"/>
                  </a:lnTo>
                  <a:lnTo>
                    <a:pt x="634" y="484"/>
                  </a:lnTo>
                  <a:lnTo>
                    <a:pt x="635" y="485"/>
                  </a:lnTo>
                  <a:lnTo>
                    <a:pt x="635" y="487"/>
                  </a:lnTo>
                  <a:lnTo>
                    <a:pt x="635" y="488"/>
                  </a:lnTo>
                  <a:lnTo>
                    <a:pt x="635" y="490"/>
                  </a:lnTo>
                  <a:lnTo>
                    <a:pt x="635" y="491"/>
                  </a:lnTo>
                  <a:lnTo>
                    <a:pt x="634" y="492"/>
                  </a:lnTo>
                  <a:lnTo>
                    <a:pt x="633" y="496"/>
                  </a:lnTo>
                  <a:lnTo>
                    <a:pt x="632" y="499"/>
                  </a:lnTo>
                  <a:lnTo>
                    <a:pt x="631" y="502"/>
                  </a:lnTo>
                  <a:lnTo>
                    <a:pt x="631" y="503"/>
                  </a:lnTo>
                  <a:lnTo>
                    <a:pt x="631" y="504"/>
                  </a:lnTo>
                  <a:lnTo>
                    <a:pt x="630" y="504"/>
                  </a:lnTo>
                  <a:lnTo>
                    <a:pt x="629" y="505"/>
                  </a:lnTo>
                  <a:lnTo>
                    <a:pt x="629" y="505"/>
                  </a:lnTo>
                  <a:lnTo>
                    <a:pt x="628" y="506"/>
                  </a:lnTo>
                  <a:lnTo>
                    <a:pt x="626" y="506"/>
                  </a:lnTo>
                  <a:lnTo>
                    <a:pt x="622" y="508"/>
                  </a:lnTo>
                  <a:lnTo>
                    <a:pt x="620" y="508"/>
                  </a:lnTo>
                  <a:lnTo>
                    <a:pt x="618" y="509"/>
                  </a:lnTo>
                  <a:lnTo>
                    <a:pt x="616" y="510"/>
                  </a:lnTo>
                  <a:lnTo>
                    <a:pt x="611" y="513"/>
                  </a:lnTo>
                  <a:lnTo>
                    <a:pt x="608" y="514"/>
                  </a:lnTo>
                  <a:lnTo>
                    <a:pt x="605" y="516"/>
                  </a:lnTo>
                  <a:lnTo>
                    <a:pt x="600" y="520"/>
                  </a:lnTo>
                  <a:lnTo>
                    <a:pt x="598" y="521"/>
                  </a:lnTo>
                  <a:lnTo>
                    <a:pt x="596" y="522"/>
                  </a:lnTo>
                  <a:lnTo>
                    <a:pt x="594" y="522"/>
                  </a:lnTo>
                  <a:lnTo>
                    <a:pt x="593" y="523"/>
                  </a:lnTo>
                  <a:lnTo>
                    <a:pt x="592" y="523"/>
                  </a:lnTo>
                  <a:lnTo>
                    <a:pt x="590" y="523"/>
                  </a:lnTo>
                  <a:lnTo>
                    <a:pt x="589" y="523"/>
                  </a:lnTo>
                  <a:lnTo>
                    <a:pt x="588" y="523"/>
                  </a:lnTo>
                  <a:lnTo>
                    <a:pt x="587" y="523"/>
                  </a:lnTo>
                  <a:lnTo>
                    <a:pt x="584" y="522"/>
                  </a:lnTo>
                  <a:lnTo>
                    <a:pt x="579" y="521"/>
                  </a:lnTo>
                  <a:lnTo>
                    <a:pt x="577" y="520"/>
                  </a:lnTo>
                  <a:lnTo>
                    <a:pt x="575" y="520"/>
                  </a:lnTo>
                  <a:lnTo>
                    <a:pt x="573" y="519"/>
                  </a:lnTo>
                  <a:lnTo>
                    <a:pt x="569" y="519"/>
                  </a:lnTo>
                  <a:lnTo>
                    <a:pt x="564" y="518"/>
                  </a:lnTo>
                  <a:lnTo>
                    <a:pt x="562" y="518"/>
                  </a:lnTo>
                  <a:lnTo>
                    <a:pt x="560" y="518"/>
                  </a:lnTo>
                  <a:lnTo>
                    <a:pt x="557" y="518"/>
                  </a:lnTo>
                  <a:lnTo>
                    <a:pt x="552" y="519"/>
                  </a:lnTo>
                  <a:lnTo>
                    <a:pt x="544" y="521"/>
                  </a:lnTo>
                  <a:lnTo>
                    <a:pt x="542" y="521"/>
                  </a:lnTo>
                  <a:lnTo>
                    <a:pt x="539" y="522"/>
                  </a:lnTo>
                  <a:lnTo>
                    <a:pt x="537" y="522"/>
                  </a:lnTo>
                  <a:lnTo>
                    <a:pt x="536" y="522"/>
                  </a:lnTo>
                  <a:lnTo>
                    <a:pt x="534" y="521"/>
                  </a:lnTo>
                  <a:lnTo>
                    <a:pt x="533" y="521"/>
                  </a:lnTo>
                  <a:lnTo>
                    <a:pt x="532" y="521"/>
                  </a:lnTo>
                  <a:lnTo>
                    <a:pt x="531" y="520"/>
                  </a:lnTo>
                  <a:lnTo>
                    <a:pt x="528" y="519"/>
                  </a:lnTo>
                  <a:lnTo>
                    <a:pt x="526" y="518"/>
                  </a:lnTo>
                  <a:lnTo>
                    <a:pt x="525" y="518"/>
                  </a:lnTo>
                  <a:lnTo>
                    <a:pt x="523" y="518"/>
                  </a:lnTo>
                  <a:lnTo>
                    <a:pt x="522" y="518"/>
                  </a:lnTo>
                  <a:lnTo>
                    <a:pt x="521" y="518"/>
                  </a:lnTo>
                  <a:lnTo>
                    <a:pt x="519" y="518"/>
                  </a:lnTo>
                  <a:lnTo>
                    <a:pt x="517" y="518"/>
                  </a:lnTo>
                  <a:lnTo>
                    <a:pt x="516" y="519"/>
                  </a:lnTo>
                  <a:lnTo>
                    <a:pt x="515" y="519"/>
                  </a:lnTo>
                  <a:lnTo>
                    <a:pt x="514" y="519"/>
                  </a:lnTo>
                  <a:lnTo>
                    <a:pt x="513" y="520"/>
                  </a:lnTo>
                  <a:lnTo>
                    <a:pt x="511" y="521"/>
                  </a:lnTo>
                  <a:lnTo>
                    <a:pt x="510" y="521"/>
                  </a:lnTo>
                  <a:lnTo>
                    <a:pt x="509" y="522"/>
                  </a:lnTo>
                  <a:lnTo>
                    <a:pt x="507" y="523"/>
                  </a:lnTo>
                  <a:lnTo>
                    <a:pt x="507" y="524"/>
                  </a:lnTo>
                  <a:lnTo>
                    <a:pt x="506" y="526"/>
                  </a:lnTo>
                  <a:lnTo>
                    <a:pt x="505" y="527"/>
                  </a:lnTo>
                  <a:lnTo>
                    <a:pt x="504" y="528"/>
                  </a:lnTo>
                  <a:lnTo>
                    <a:pt x="504" y="529"/>
                  </a:lnTo>
                  <a:lnTo>
                    <a:pt x="504" y="530"/>
                  </a:lnTo>
                  <a:lnTo>
                    <a:pt x="504" y="531"/>
                  </a:lnTo>
                  <a:lnTo>
                    <a:pt x="503" y="532"/>
                  </a:lnTo>
                  <a:lnTo>
                    <a:pt x="503" y="534"/>
                  </a:lnTo>
                  <a:lnTo>
                    <a:pt x="503" y="538"/>
                  </a:lnTo>
                  <a:lnTo>
                    <a:pt x="504" y="540"/>
                  </a:lnTo>
                  <a:lnTo>
                    <a:pt x="503" y="541"/>
                  </a:lnTo>
                  <a:lnTo>
                    <a:pt x="503" y="542"/>
                  </a:lnTo>
                  <a:lnTo>
                    <a:pt x="503" y="544"/>
                  </a:lnTo>
                  <a:lnTo>
                    <a:pt x="502" y="545"/>
                  </a:lnTo>
                  <a:lnTo>
                    <a:pt x="502" y="546"/>
                  </a:lnTo>
                  <a:lnTo>
                    <a:pt x="501" y="548"/>
                  </a:lnTo>
                  <a:lnTo>
                    <a:pt x="499" y="551"/>
                  </a:lnTo>
                  <a:lnTo>
                    <a:pt x="496" y="555"/>
                  </a:lnTo>
                  <a:lnTo>
                    <a:pt x="494" y="557"/>
                  </a:lnTo>
                  <a:lnTo>
                    <a:pt x="490" y="562"/>
                  </a:lnTo>
                  <a:lnTo>
                    <a:pt x="486" y="567"/>
                  </a:lnTo>
                  <a:lnTo>
                    <a:pt x="485" y="568"/>
                  </a:lnTo>
                  <a:lnTo>
                    <a:pt x="484" y="571"/>
                  </a:lnTo>
                  <a:lnTo>
                    <a:pt x="481" y="575"/>
                  </a:lnTo>
                  <a:lnTo>
                    <a:pt x="477" y="581"/>
                  </a:lnTo>
                  <a:lnTo>
                    <a:pt x="477" y="582"/>
                  </a:lnTo>
                  <a:lnTo>
                    <a:pt x="475" y="584"/>
                  </a:lnTo>
                  <a:lnTo>
                    <a:pt x="474" y="585"/>
                  </a:lnTo>
                  <a:lnTo>
                    <a:pt x="473" y="587"/>
                  </a:lnTo>
                  <a:lnTo>
                    <a:pt x="471" y="588"/>
                  </a:lnTo>
                  <a:lnTo>
                    <a:pt x="470" y="589"/>
                  </a:lnTo>
                  <a:lnTo>
                    <a:pt x="468" y="590"/>
                  </a:lnTo>
                  <a:lnTo>
                    <a:pt x="466" y="591"/>
                  </a:lnTo>
                  <a:lnTo>
                    <a:pt x="465" y="592"/>
                  </a:lnTo>
                  <a:lnTo>
                    <a:pt x="463" y="592"/>
                  </a:lnTo>
                  <a:lnTo>
                    <a:pt x="462" y="593"/>
                  </a:lnTo>
                  <a:lnTo>
                    <a:pt x="460" y="593"/>
                  </a:lnTo>
                  <a:lnTo>
                    <a:pt x="459" y="593"/>
                  </a:lnTo>
                  <a:lnTo>
                    <a:pt x="457" y="593"/>
                  </a:lnTo>
                  <a:lnTo>
                    <a:pt x="455" y="593"/>
                  </a:lnTo>
                  <a:lnTo>
                    <a:pt x="454" y="593"/>
                  </a:lnTo>
                  <a:lnTo>
                    <a:pt x="448" y="593"/>
                  </a:lnTo>
                  <a:lnTo>
                    <a:pt x="448" y="593"/>
                  </a:lnTo>
                  <a:lnTo>
                    <a:pt x="448" y="593"/>
                  </a:lnTo>
                  <a:lnTo>
                    <a:pt x="447" y="593"/>
                  </a:lnTo>
                  <a:lnTo>
                    <a:pt x="447" y="593"/>
                  </a:lnTo>
                  <a:lnTo>
                    <a:pt x="445" y="592"/>
                  </a:lnTo>
                  <a:lnTo>
                    <a:pt x="444" y="592"/>
                  </a:lnTo>
                  <a:lnTo>
                    <a:pt x="442" y="591"/>
                  </a:lnTo>
                  <a:lnTo>
                    <a:pt x="441" y="590"/>
                  </a:lnTo>
                  <a:lnTo>
                    <a:pt x="439" y="589"/>
                  </a:lnTo>
                  <a:lnTo>
                    <a:pt x="438" y="588"/>
                  </a:lnTo>
                  <a:lnTo>
                    <a:pt x="437" y="587"/>
                  </a:lnTo>
                  <a:lnTo>
                    <a:pt x="437" y="586"/>
                  </a:lnTo>
                  <a:lnTo>
                    <a:pt x="436" y="585"/>
                  </a:lnTo>
                  <a:lnTo>
                    <a:pt x="435" y="584"/>
                  </a:lnTo>
                  <a:lnTo>
                    <a:pt x="435" y="583"/>
                  </a:lnTo>
                  <a:lnTo>
                    <a:pt x="434" y="581"/>
                  </a:lnTo>
                  <a:lnTo>
                    <a:pt x="432" y="575"/>
                  </a:lnTo>
                  <a:lnTo>
                    <a:pt x="431" y="574"/>
                  </a:lnTo>
                  <a:lnTo>
                    <a:pt x="430" y="573"/>
                  </a:lnTo>
                  <a:lnTo>
                    <a:pt x="430" y="572"/>
                  </a:lnTo>
                  <a:lnTo>
                    <a:pt x="429" y="571"/>
                  </a:lnTo>
                  <a:lnTo>
                    <a:pt x="426" y="567"/>
                  </a:lnTo>
                  <a:lnTo>
                    <a:pt x="425" y="565"/>
                  </a:lnTo>
                  <a:lnTo>
                    <a:pt x="424" y="565"/>
                  </a:lnTo>
                  <a:lnTo>
                    <a:pt x="423" y="564"/>
                  </a:lnTo>
                  <a:lnTo>
                    <a:pt x="421" y="562"/>
                  </a:lnTo>
                  <a:lnTo>
                    <a:pt x="414" y="557"/>
                  </a:lnTo>
                  <a:lnTo>
                    <a:pt x="412" y="556"/>
                  </a:lnTo>
                  <a:lnTo>
                    <a:pt x="411" y="555"/>
                  </a:lnTo>
                  <a:lnTo>
                    <a:pt x="410" y="554"/>
                  </a:lnTo>
                  <a:lnTo>
                    <a:pt x="409" y="552"/>
                  </a:lnTo>
                  <a:lnTo>
                    <a:pt x="408" y="551"/>
                  </a:lnTo>
                  <a:lnTo>
                    <a:pt x="407" y="549"/>
                  </a:lnTo>
                  <a:lnTo>
                    <a:pt x="405" y="547"/>
                  </a:lnTo>
                  <a:lnTo>
                    <a:pt x="402" y="542"/>
                  </a:lnTo>
                  <a:lnTo>
                    <a:pt x="402" y="541"/>
                  </a:lnTo>
                  <a:lnTo>
                    <a:pt x="401" y="539"/>
                  </a:lnTo>
                  <a:lnTo>
                    <a:pt x="400" y="538"/>
                  </a:lnTo>
                  <a:lnTo>
                    <a:pt x="399" y="537"/>
                  </a:lnTo>
                  <a:lnTo>
                    <a:pt x="398" y="536"/>
                  </a:lnTo>
                  <a:lnTo>
                    <a:pt x="396" y="536"/>
                  </a:lnTo>
                  <a:lnTo>
                    <a:pt x="394" y="535"/>
                  </a:lnTo>
                  <a:lnTo>
                    <a:pt x="393" y="535"/>
                  </a:lnTo>
                  <a:lnTo>
                    <a:pt x="392" y="535"/>
                  </a:lnTo>
                  <a:lnTo>
                    <a:pt x="390" y="535"/>
                  </a:lnTo>
                  <a:lnTo>
                    <a:pt x="390" y="535"/>
                  </a:lnTo>
                  <a:lnTo>
                    <a:pt x="388" y="535"/>
                  </a:lnTo>
                  <a:lnTo>
                    <a:pt x="383" y="536"/>
                  </a:lnTo>
                  <a:lnTo>
                    <a:pt x="382" y="536"/>
                  </a:lnTo>
                  <a:lnTo>
                    <a:pt x="380" y="537"/>
                  </a:lnTo>
                  <a:lnTo>
                    <a:pt x="379" y="537"/>
                  </a:lnTo>
                  <a:lnTo>
                    <a:pt x="378" y="537"/>
                  </a:lnTo>
                  <a:lnTo>
                    <a:pt x="376" y="537"/>
                  </a:lnTo>
                  <a:lnTo>
                    <a:pt x="372" y="536"/>
                  </a:lnTo>
                  <a:lnTo>
                    <a:pt x="370" y="536"/>
                  </a:lnTo>
                  <a:lnTo>
                    <a:pt x="362" y="534"/>
                  </a:lnTo>
                  <a:lnTo>
                    <a:pt x="360" y="534"/>
                  </a:lnTo>
                  <a:lnTo>
                    <a:pt x="359" y="533"/>
                  </a:lnTo>
                  <a:lnTo>
                    <a:pt x="357" y="532"/>
                  </a:lnTo>
                  <a:lnTo>
                    <a:pt x="355" y="532"/>
                  </a:lnTo>
                  <a:lnTo>
                    <a:pt x="354" y="531"/>
                  </a:lnTo>
                  <a:lnTo>
                    <a:pt x="352" y="530"/>
                  </a:lnTo>
                  <a:lnTo>
                    <a:pt x="347" y="526"/>
                  </a:lnTo>
                  <a:lnTo>
                    <a:pt x="345" y="525"/>
                  </a:lnTo>
                  <a:lnTo>
                    <a:pt x="344" y="524"/>
                  </a:lnTo>
                  <a:lnTo>
                    <a:pt x="342" y="523"/>
                  </a:lnTo>
                  <a:lnTo>
                    <a:pt x="341" y="522"/>
                  </a:lnTo>
                  <a:lnTo>
                    <a:pt x="339" y="522"/>
                  </a:lnTo>
                  <a:lnTo>
                    <a:pt x="337" y="522"/>
                  </a:lnTo>
                  <a:lnTo>
                    <a:pt x="333" y="522"/>
                  </a:lnTo>
                  <a:lnTo>
                    <a:pt x="331" y="521"/>
                  </a:lnTo>
                  <a:lnTo>
                    <a:pt x="330" y="521"/>
                  </a:lnTo>
                  <a:lnTo>
                    <a:pt x="325" y="520"/>
                  </a:lnTo>
                  <a:lnTo>
                    <a:pt x="324" y="520"/>
                  </a:lnTo>
                  <a:lnTo>
                    <a:pt x="323" y="519"/>
                  </a:lnTo>
                  <a:lnTo>
                    <a:pt x="320" y="519"/>
                  </a:lnTo>
                  <a:lnTo>
                    <a:pt x="315" y="519"/>
                  </a:lnTo>
                  <a:lnTo>
                    <a:pt x="311" y="520"/>
                  </a:lnTo>
                  <a:lnTo>
                    <a:pt x="307" y="520"/>
                  </a:lnTo>
                  <a:lnTo>
                    <a:pt x="301" y="521"/>
                  </a:lnTo>
                  <a:lnTo>
                    <a:pt x="298" y="522"/>
                  </a:lnTo>
                  <a:lnTo>
                    <a:pt x="293" y="524"/>
                  </a:lnTo>
                  <a:lnTo>
                    <a:pt x="283" y="527"/>
                  </a:lnTo>
                  <a:lnTo>
                    <a:pt x="280" y="527"/>
                  </a:lnTo>
                  <a:lnTo>
                    <a:pt x="278" y="528"/>
                  </a:lnTo>
                  <a:lnTo>
                    <a:pt x="277" y="528"/>
                  </a:lnTo>
                  <a:lnTo>
                    <a:pt x="276" y="528"/>
                  </a:lnTo>
                  <a:lnTo>
                    <a:pt x="274" y="528"/>
                  </a:lnTo>
                  <a:lnTo>
                    <a:pt x="273" y="527"/>
                  </a:lnTo>
                  <a:lnTo>
                    <a:pt x="272" y="527"/>
                  </a:lnTo>
                  <a:lnTo>
                    <a:pt x="271" y="526"/>
                  </a:lnTo>
                  <a:lnTo>
                    <a:pt x="271" y="526"/>
                  </a:lnTo>
                  <a:lnTo>
                    <a:pt x="270" y="525"/>
                  </a:lnTo>
                  <a:lnTo>
                    <a:pt x="269" y="524"/>
                  </a:lnTo>
                  <a:lnTo>
                    <a:pt x="269" y="523"/>
                  </a:lnTo>
                  <a:lnTo>
                    <a:pt x="266" y="519"/>
                  </a:lnTo>
                  <a:lnTo>
                    <a:pt x="266" y="518"/>
                  </a:lnTo>
                  <a:lnTo>
                    <a:pt x="265" y="517"/>
                  </a:lnTo>
                  <a:lnTo>
                    <a:pt x="264" y="516"/>
                  </a:lnTo>
                  <a:lnTo>
                    <a:pt x="262" y="514"/>
                  </a:lnTo>
                  <a:lnTo>
                    <a:pt x="261" y="513"/>
                  </a:lnTo>
                  <a:lnTo>
                    <a:pt x="259" y="512"/>
                  </a:lnTo>
                  <a:lnTo>
                    <a:pt x="257" y="511"/>
                  </a:lnTo>
                  <a:lnTo>
                    <a:pt x="255" y="510"/>
                  </a:lnTo>
                  <a:lnTo>
                    <a:pt x="253" y="510"/>
                  </a:lnTo>
                  <a:lnTo>
                    <a:pt x="251" y="509"/>
                  </a:lnTo>
                  <a:lnTo>
                    <a:pt x="248" y="508"/>
                  </a:lnTo>
                  <a:lnTo>
                    <a:pt x="246" y="508"/>
                  </a:lnTo>
                  <a:lnTo>
                    <a:pt x="244" y="508"/>
                  </a:lnTo>
                  <a:lnTo>
                    <a:pt x="243" y="508"/>
                  </a:lnTo>
                  <a:lnTo>
                    <a:pt x="243" y="508"/>
                  </a:lnTo>
                  <a:lnTo>
                    <a:pt x="242" y="508"/>
                  </a:lnTo>
                  <a:lnTo>
                    <a:pt x="242" y="508"/>
                  </a:lnTo>
                  <a:lnTo>
                    <a:pt x="240" y="509"/>
                  </a:lnTo>
                  <a:lnTo>
                    <a:pt x="239" y="509"/>
                  </a:lnTo>
                  <a:lnTo>
                    <a:pt x="237" y="509"/>
                  </a:lnTo>
                  <a:lnTo>
                    <a:pt x="237" y="509"/>
                  </a:lnTo>
                  <a:lnTo>
                    <a:pt x="236" y="509"/>
                  </a:lnTo>
                  <a:lnTo>
                    <a:pt x="235" y="508"/>
                  </a:lnTo>
                  <a:lnTo>
                    <a:pt x="234" y="505"/>
                  </a:lnTo>
                  <a:lnTo>
                    <a:pt x="232" y="500"/>
                  </a:lnTo>
                  <a:lnTo>
                    <a:pt x="231" y="498"/>
                  </a:lnTo>
                  <a:lnTo>
                    <a:pt x="230" y="496"/>
                  </a:lnTo>
                  <a:lnTo>
                    <a:pt x="228" y="495"/>
                  </a:lnTo>
                  <a:lnTo>
                    <a:pt x="228" y="494"/>
                  </a:lnTo>
                  <a:lnTo>
                    <a:pt x="227" y="494"/>
                  </a:lnTo>
                  <a:lnTo>
                    <a:pt x="227" y="494"/>
                  </a:lnTo>
                  <a:lnTo>
                    <a:pt x="226" y="494"/>
                  </a:lnTo>
                  <a:lnTo>
                    <a:pt x="226" y="494"/>
                  </a:lnTo>
                  <a:lnTo>
                    <a:pt x="225" y="494"/>
                  </a:lnTo>
                  <a:lnTo>
                    <a:pt x="224" y="494"/>
                  </a:lnTo>
                  <a:lnTo>
                    <a:pt x="222" y="494"/>
                  </a:lnTo>
                  <a:lnTo>
                    <a:pt x="221" y="494"/>
                  </a:lnTo>
                  <a:lnTo>
                    <a:pt x="220" y="495"/>
                  </a:lnTo>
                  <a:lnTo>
                    <a:pt x="219" y="496"/>
                  </a:lnTo>
                  <a:lnTo>
                    <a:pt x="217" y="497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3" y="501"/>
                  </a:lnTo>
                  <a:lnTo>
                    <a:pt x="212" y="501"/>
                  </a:lnTo>
                  <a:lnTo>
                    <a:pt x="211" y="501"/>
                  </a:lnTo>
                  <a:lnTo>
                    <a:pt x="211" y="500"/>
                  </a:lnTo>
                  <a:lnTo>
                    <a:pt x="210" y="500"/>
                  </a:lnTo>
                  <a:lnTo>
                    <a:pt x="209" y="499"/>
                  </a:lnTo>
                  <a:lnTo>
                    <a:pt x="209" y="498"/>
                  </a:lnTo>
                  <a:lnTo>
                    <a:pt x="208" y="497"/>
                  </a:lnTo>
                  <a:lnTo>
                    <a:pt x="208" y="495"/>
                  </a:lnTo>
                  <a:lnTo>
                    <a:pt x="208" y="494"/>
                  </a:lnTo>
                  <a:lnTo>
                    <a:pt x="208" y="494"/>
                  </a:lnTo>
                  <a:lnTo>
                    <a:pt x="208" y="493"/>
                  </a:lnTo>
                  <a:lnTo>
                    <a:pt x="208" y="491"/>
                  </a:lnTo>
                  <a:lnTo>
                    <a:pt x="209" y="490"/>
                  </a:lnTo>
                  <a:lnTo>
                    <a:pt x="210" y="488"/>
                  </a:lnTo>
                  <a:lnTo>
                    <a:pt x="210" y="487"/>
                  </a:lnTo>
                  <a:lnTo>
                    <a:pt x="210" y="486"/>
                  </a:lnTo>
                  <a:lnTo>
                    <a:pt x="210" y="485"/>
                  </a:lnTo>
                  <a:lnTo>
                    <a:pt x="210" y="485"/>
                  </a:lnTo>
                  <a:lnTo>
                    <a:pt x="210" y="484"/>
                  </a:lnTo>
                  <a:lnTo>
                    <a:pt x="210" y="482"/>
                  </a:lnTo>
                  <a:lnTo>
                    <a:pt x="209" y="481"/>
                  </a:lnTo>
                  <a:lnTo>
                    <a:pt x="207" y="477"/>
                  </a:lnTo>
                  <a:lnTo>
                    <a:pt x="205" y="474"/>
                  </a:lnTo>
                  <a:lnTo>
                    <a:pt x="203" y="471"/>
                  </a:lnTo>
                  <a:lnTo>
                    <a:pt x="200" y="468"/>
                  </a:lnTo>
                  <a:lnTo>
                    <a:pt x="199" y="466"/>
                  </a:lnTo>
                  <a:lnTo>
                    <a:pt x="196" y="463"/>
                  </a:lnTo>
                  <a:lnTo>
                    <a:pt x="191" y="458"/>
                  </a:lnTo>
                  <a:lnTo>
                    <a:pt x="189" y="457"/>
                  </a:lnTo>
                  <a:lnTo>
                    <a:pt x="187" y="455"/>
                  </a:lnTo>
                  <a:lnTo>
                    <a:pt x="177" y="447"/>
                  </a:lnTo>
                  <a:lnTo>
                    <a:pt x="176" y="447"/>
                  </a:lnTo>
                  <a:lnTo>
                    <a:pt x="175" y="446"/>
                  </a:lnTo>
                  <a:lnTo>
                    <a:pt x="174" y="445"/>
                  </a:lnTo>
                  <a:lnTo>
                    <a:pt x="173" y="444"/>
                  </a:lnTo>
                  <a:lnTo>
                    <a:pt x="172" y="441"/>
                  </a:lnTo>
                  <a:lnTo>
                    <a:pt x="171" y="440"/>
                  </a:lnTo>
                  <a:lnTo>
                    <a:pt x="169" y="436"/>
                  </a:lnTo>
                  <a:lnTo>
                    <a:pt x="168" y="434"/>
                  </a:lnTo>
                  <a:lnTo>
                    <a:pt x="167" y="433"/>
                  </a:lnTo>
                  <a:lnTo>
                    <a:pt x="166" y="431"/>
                  </a:lnTo>
                  <a:lnTo>
                    <a:pt x="164" y="429"/>
                  </a:lnTo>
                  <a:lnTo>
                    <a:pt x="163" y="427"/>
                  </a:lnTo>
                  <a:lnTo>
                    <a:pt x="162" y="426"/>
                  </a:lnTo>
                  <a:lnTo>
                    <a:pt x="160" y="425"/>
                  </a:lnTo>
                  <a:lnTo>
                    <a:pt x="159" y="425"/>
                  </a:lnTo>
                  <a:lnTo>
                    <a:pt x="159" y="424"/>
                  </a:lnTo>
                  <a:lnTo>
                    <a:pt x="158" y="424"/>
                  </a:lnTo>
                  <a:lnTo>
                    <a:pt x="158" y="424"/>
                  </a:lnTo>
                  <a:lnTo>
                    <a:pt x="157" y="424"/>
                  </a:lnTo>
                  <a:lnTo>
                    <a:pt x="156" y="424"/>
                  </a:lnTo>
                  <a:lnTo>
                    <a:pt x="156" y="425"/>
                  </a:lnTo>
                  <a:lnTo>
                    <a:pt x="155" y="425"/>
                  </a:lnTo>
                  <a:lnTo>
                    <a:pt x="153" y="426"/>
                  </a:lnTo>
                  <a:lnTo>
                    <a:pt x="153" y="427"/>
                  </a:lnTo>
                  <a:lnTo>
                    <a:pt x="152" y="427"/>
                  </a:lnTo>
                  <a:lnTo>
                    <a:pt x="151" y="427"/>
                  </a:lnTo>
                  <a:lnTo>
                    <a:pt x="150" y="427"/>
                  </a:lnTo>
                  <a:lnTo>
                    <a:pt x="149" y="427"/>
                  </a:lnTo>
                  <a:lnTo>
                    <a:pt x="148" y="427"/>
                  </a:lnTo>
                  <a:lnTo>
                    <a:pt x="147" y="427"/>
                  </a:lnTo>
                  <a:lnTo>
                    <a:pt x="145" y="426"/>
                  </a:lnTo>
                  <a:lnTo>
                    <a:pt x="144" y="425"/>
                  </a:lnTo>
                  <a:lnTo>
                    <a:pt x="142" y="424"/>
                  </a:lnTo>
                  <a:lnTo>
                    <a:pt x="141" y="423"/>
                  </a:lnTo>
                  <a:lnTo>
                    <a:pt x="139" y="422"/>
                  </a:lnTo>
                  <a:lnTo>
                    <a:pt x="138" y="421"/>
                  </a:lnTo>
                  <a:lnTo>
                    <a:pt x="138" y="420"/>
                  </a:lnTo>
                  <a:lnTo>
                    <a:pt x="137" y="419"/>
                  </a:lnTo>
                  <a:lnTo>
                    <a:pt x="136" y="418"/>
                  </a:lnTo>
                  <a:lnTo>
                    <a:pt x="135" y="416"/>
                  </a:lnTo>
                  <a:lnTo>
                    <a:pt x="135" y="414"/>
                  </a:lnTo>
                  <a:lnTo>
                    <a:pt x="134" y="412"/>
                  </a:lnTo>
                  <a:lnTo>
                    <a:pt x="134" y="410"/>
                  </a:lnTo>
                  <a:lnTo>
                    <a:pt x="134" y="408"/>
                  </a:lnTo>
                  <a:lnTo>
                    <a:pt x="133" y="406"/>
                  </a:lnTo>
                  <a:lnTo>
                    <a:pt x="133" y="404"/>
                  </a:lnTo>
                  <a:lnTo>
                    <a:pt x="134" y="403"/>
                  </a:lnTo>
                  <a:lnTo>
                    <a:pt x="134" y="401"/>
                  </a:lnTo>
                  <a:lnTo>
                    <a:pt x="134" y="400"/>
                  </a:lnTo>
                  <a:lnTo>
                    <a:pt x="134" y="397"/>
                  </a:lnTo>
                  <a:lnTo>
                    <a:pt x="136" y="391"/>
                  </a:lnTo>
                  <a:lnTo>
                    <a:pt x="136" y="390"/>
                  </a:lnTo>
                  <a:lnTo>
                    <a:pt x="136" y="388"/>
                  </a:lnTo>
                  <a:lnTo>
                    <a:pt x="136" y="387"/>
                  </a:lnTo>
                  <a:lnTo>
                    <a:pt x="137" y="385"/>
                  </a:lnTo>
                  <a:lnTo>
                    <a:pt x="136" y="383"/>
                  </a:lnTo>
                  <a:lnTo>
                    <a:pt x="136" y="382"/>
                  </a:lnTo>
                  <a:lnTo>
                    <a:pt x="136" y="380"/>
                  </a:lnTo>
                  <a:lnTo>
                    <a:pt x="135" y="377"/>
                  </a:lnTo>
                  <a:lnTo>
                    <a:pt x="135" y="375"/>
                  </a:lnTo>
                  <a:lnTo>
                    <a:pt x="134" y="373"/>
                  </a:lnTo>
                  <a:lnTo>
                    <a:pt x="133" y="372"/>
                  </a:lnTo>
                  <a:lnTo>
                    <a:pt x="133" y="371"/>
                  </a:lnTo>
                  <a:lnTo>
                    <a:pt x="132" y="369"/>
                  </a:lnTo>
                  <a:lnTo>
                    <a:pt x="131" y="368"/>
                  </a:lnTo>
                  <a:lnTo>
                    <a:pt x="130" y="368"/>
                  </a:lnTo>
                  <a:lnTo>
                    <a:pt x="129" y="368"/>
                  </a:lnTo>
                  <a:lnTo>
                    <a:pt x="129" y="367"/>
                  </a:lnTo>
                  <a:lnTo>
                    <a:pt x="128" y="367"/>
                  </a:lnTo>
                  <a:lnTo>
                    <a:pt x="127" y="367"/>
                  </a:lnTo>
                  <a:lnTo>
                    <a:pt x="126" y="367"/>
                  </a:lnTo>
                  <a:lnTo>
                    <a:pt x="126" y="367"/>
                  </a:lnTo>
                  <a:lnTo>
                    <a:pt x="125" y="367"/>
                  </a:lnTo>
                  <a:lnTo>
                    <a:pt x="121" y="368"/>
                  </a:lnTo>
                  <a:lnTo>
                    <a:pt x="119" y="368"/>
                  </a:lnTo>
                  <a:lnTo>
                    <a:pt x="112" y="371"/>
                  </a:lnTo>
                  <a:lnTo>
                    <a:pt x="110" y="371"/>
                  </a:lnTo>
                  <a:lnTo>
                    <a:pt x="108" y="372"/>
                  </a:lnTo>
                  <a:lnTo>
                    <a:pt x="105" y="373"/>
                  </a:lnTo>
                  <a:lnTo>
                    <a:pt x="102" y="375"/>
                  </a:lnTo>
                  <a:lnTo>
                    <a:pt x="101" y="375"/>
                  </a:lnTo>
                  <a:lnTo>
                    <a:pt x="100" y="375"/>
                  </a:lnTo>
                  <a:lnTo>
                    <a:pt x="99" y="375"/>
                  </a:lnTo>
                  <a:lnTo>
                    <a:pt x="98" y="375"/>
                  </a:lnTo>
                  <a:lnTo>
                    <a:pt x="97" y="375"/>
                  </a:lnTo>
                  <a:lnTo>
                    <a:pt x="92" y="374"/>
                  </a:lnTo>
                  <a:lnTo>
                    <a:pt x="91" y="374"/>
                  </a:lnTo>
                  <a:lnTo>
                    <a:pt x="90" y="374"/>
                  </a:lnTo>
                  <a:lnTo>
                    <a:pt x="87" y="373"/>
                  </a:lnTo>
                  <a:lnTo>
                    <a:pt x="81" y="370"/>
                  </a:lnTo>
                  <a:lnTo>
                    <a:pt x="80" y="369"/>
                  </a:lnTo>
                  <a:lnTo>
                    <a:pt x="78" y="368"/>
                  </a:lnTo>
                  <a:lnTo>
                    <a:pt x="77" y="367"/>
                  </a:lnTo>
                  <a:lnTo>
                    <a:pt x="75" y="365"/>
                  </a:lnTo>
                  <a:lnTo>
                    <a:pt x="73" y="364"/>
                  </a:lnTo>
                  <a:lnTo>
                    <a:pt x="72" y="363"/>
                  </a:lnTo>
                  <a:lnTo>
                    <a:pt x="71" y="362"/>
                  </a:lnTo>
                  <a:lnTo>
                    <a:pt x="68" y="361"/>
                  </a:lnTo>
                  <a:lnTo>
                    <a:pt x="68" y="361"/>
                  </a:lnTo>
                  <a:lnTo>
                    <a:pt x="66" y="360"/>
                  </a:lnTo>
                  <a:lnTo>
                    <a:pt x="65" y="359"/>
                  </a:lnTo>
                  <a:lnTo>
                    <a:pt x="64" y="358"/>
                  </a:lnTo>
                  <a:lnTo>
                    <a:pt x="63" y="357"/>
                  </a:lnTo>
                  <a:lnTo>
                    <a:pt x="62" y="355"/>
                  </a:lnTo>
                  <a:lnTo>
                    <a:pt x="61" y="353"/>
                  </a:lnTo>
                  <a:lnTo>
                    <a:pt x="60" y="351"/>
                  </a:lnTo>
                  <a:lnTo>
                    <a:pt x="59" y="350"/>
                  </a:lnTo>
                  <a:lnTo>
                    <a:pt x="55" y="346"/>
                  </a:lnTo>
                  <a:lnTo>
                    <a:pt x="54" y="345"/>
                  </a:lnTo>
                  <a:lnTo>
                    <a:pt x="54" y="344"/>
                  </a:lnTo>
                  <a:lnTo>
                    <a:pt x="53" y="343"/>
                  </a:lnTo>
                  <a:lnTo>
                    <a:pt x="53" y="342"/>
                  </a:lnTo>
                  <a:lnTo>
                    <a:pt x="53" y="340"/>
                  </a:lnTo>
                  <a:lnTo>
                    <a:pt x="52" y="338"/>
                  </a:lnTo>
                  <a:lnTo>
                    <a:pt x="52" y="337"/>
                  </a:lnTo>
                  <a:lnTo>
                    <a:pt x="52" y="336"/>
                  </a:lnTo>
                  <a:lnTo>
                    <a:pt x="52" y="335"/>
                  </a:lnTo>
                  <a:lnTo>
                    <a:pt x="51" y="334"/>
                  </a:lnTo>
                  <a:lnTo>
                    <a:pt x="50" y="333"/>
                  </a:lnTo>
                  <a:lnTo>
                    <a:pt x="50" y="332"/>
                  </a:lnTo>
                  <a:lnTo>
                    <a:pt x="48" y="328"/>
                  </a:lnTo>
                  <a:lnTo>
                    <a:pt x="47" y="327"/>
                  </a:lnTo>
                  <a:lnTo>
                    <a:pt x="46" y="324"/>
                  </a:lnTo>
                  <a:lnTo>
                    <a:pt x="46" y="323"/>
                  </a:lnTo>
                  <a:lnTo>
                    <a:pt x="45" y="321"/>
                  </a:lnTo>
                  <a:lnTo>
                    <a:pt x="45" y="320"/>
                  </a:lnTo>
                  <a:lnTo>
                    <a:pt x="45" y="317"/>
                  </a:lnTo>
                  <a:lnTo>
                    <a:pt x="45" y="315"/>
                  </a:lnTo>
                  <a:lnTo>
                    <a:pt x="45" y="313"/>
                  </a:lnTo>
                  <a:lnTo>
                    <a:pt x="44" y="311"/>
                  </a:lnTo>
                  <a:lnTo>
                    <a:pt x="43" y="309"/>
                  </a:lnTo>
                  <a:lnTo>
                    <a:pt x="41" y="305"/>
                  </a:lnTo>
                  <a:lnTo>
                    <a:pt x="39" y="302"/>
                  </a:lnTo>
                  <a:lnTo>
                    <a:pt x="39" y="301"/>
                  </a:lnTo>
                  <a:lnTo>
                    <a:pt x="38" y="300"/>
                  </a:lnTo>
                  <a:lnTo>
                    <a:pt x="38" y="300"/>
                  </a:lnTo>
                  <a:lnTo>
                    <a:pt x="38" y="299"/>
                  </a:lnTo>
                  <a:lnTo>
                    <a:pt x="37" y="299"/>
                  </a:lnTo>
                  <a:lnTo>
                    <a:pt x="35" y="299"/>
                  </a:lnTo>
                  <a:lnTo>
                    <a:pt x="34" y="299"/>
                  </a:lnTo>
                  <a:lnTo>
                    <a:pt x="33" y="299"/>
                  </a:lnTo>
                  <a:lnTo>
                    <a:pt x="32" y="299"/>
                  </a:lnTo>
                  <a:lnTo>
                    <a:pt x="32" y="300"/>
                  </a:lnTo>
                  <a:lnTo>
                    <a:pt x="31" y="300"/>
                  </a:lnTo>
                  <a:lnTo>
                    <a:pt x="31" y="301"/>
                  </a:lnTo>
                  <a:lnTo>
                    <a:pt x="31" y="302"/>
                  </a:lnTo>
                  <a:lnTo>
                    <a:pt x="31" y="303"/>
                  </a:lnTo>
                  <a:lnTo>
                    <a:pt x="31" y="305"/>
                  </a:lnTo>
                  <a:lnTo>
                    <a:pt x="33" y="315"/>
                  </a:lnTo>
                  <a:lnTo>
                    <a:pt x="34" y="316"/>
                  </a:lnTo>
                  <a:lnTo>
                    <a:pt x="34" y="317"/>
                  </a:lnTo>
                  <a:lnTo>
                    <a:pt x="34" y="319"/>
                  </a:lnTo>
                  <a:lnTo>
                    <a:pt x="34" y="320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22"/>
                  </a:lnTo>
                  <a:lnTo>
                    <a:pt x="32" y="323"/>
                  </a:lnTo>
                  <a:lnTo>
                    <a:pt x="30" y="324"/>
                  </a:lnTo>
                  <a:lnTo>
                    <a:pt x="30" y="325"/>
                  </a:lnTo>
                  <a:lnTo>
                    <a:pt x="29" y="326"/>
                  </a:lnTo>
                  <a:lnTo>
                    <a:pt x="28" y="326"/>
                  </a:lnTo>
                  <a:lnTo>
                    <a:pt x="27" y="326"/>
                  </a:lnTo>
                  <a:lnTo>
                    <a:pt x="27" y="326"/>
                  </a:lnTo>
                  <a:lnTo>
                    <a:pt x="26" y="326"/>
                  </a:lnTo>
                  <a:lnTo>
                    <a:pt x="25" y="326"/>
                  </a:lnTo>
                  <a:lnTo>
                    <a:pt x="24" y="325"/>
                  </a:lnTo>
                  <a:lnTo>
                    <a:pt x="24" y="325"/>
                  </a:lnTo>
                  <a:lnTo>
                    <a:pt x="23" y="325"/>
                  </a:lnTo>
                  <a:lnTo>
                    <a:pt x="23" y="326"/>
                  </a:lnTo>
                  <a:lnTo>
                    <a:pt x="22" y="326"/>
                  </a:lnTo>
                  <a:lnTo>
                    <a:pt x="21" y="327"/>
                  </a:lnTo>
                  <a:lnTo>
                    <a:pt x="20" y="327"/>
                  </a:lnTo>
                  <a:lnTo>
                    <a:pt x="18" y="329"/>
                  </a:lnTo>
                  <a:lnTo>
                    <a:pt x="17" y="329"/>
                  </a:lnTo>
                  <a:lnTo>
                    <a:pt x="16" y="330"/>
                  </a:lnTo>
                  <a:lnTo>
                    <a:pt x="16" y="330"/>
                  </a:lnTo>
                  <a:lnTo>
                    <a:pt x="15" y="331"/>
                  </a:lnTo>
                  <a:lnTo>
                    <a:pt x="15" y="332"/>
                  </a:lnTo>
                  <a:lnTo>
                    <a:pt x="14" y="334"/>
                  </a:lnTo>
                  <a:lnTo>
                    <a:pt x="13" y="335"/>
                  </a:lnTo>
                  <a:lnTo>
                    <a:pt x="13" y="336"/>
                  </a:lnTo>
                  <a:lnTo>
                    <a:pt x="12" y="336"/>
                  </a:lnTo>
                  <a:lnTo>
                    <a:pt x="9" y="340"/>
                  </a:lnTo>
                  <a:lnTo>
                    <a:pt x="8" y="340"/>
                  </a:lnTo>
                  <a:lnTo>
                    <a:pt x="7" y="341"/>
                  </a:lnTo>
                  <a:lnTo>
                    <a:pt x="6" y="344"/>
                  </a:lnTo>
                  <a:lnTo>
                    <a:pt x="5" y="346"/>
                  </a:lnTo>
                  <a:lnTo>
                    <a:pt x="4" y="346"/>
                  </a:lnTo>
                  <a:lnTo>
                    <a:pt x="4" y="346"/>
                  </a:lnTo>
                  <a:lnTo>
                    <a:pt x="3" y="346"/>
                  </a:lnTo>
                  <a:lnTo>
                    <a:pt x="3" y="347"/>
                  </a:lnTo>
                  <a:lnTo>
                    <a:pt x="2" y="347"/>
                  </a:lnTo>
                  <a:lnTo>
                    <a:pt x="2" y="346"/>
                  </a:lnTo>
                  <a:lnTo>
                    <a:pt x="1" y="346"/>
                  </a:lnTo>
                  <a:lnTo>
                    <a:pt x="0" y="345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9" name="Freeform 258">
              <a:extLst>
                <a:ext uri="{FF2B5EF4-FFF2-40B4-BE49-F238E27FC236}">
                  <a16:creationId xmlns:a16="http://schemas.microsoft.com/office/drawing/2014/main" id="{6089FE2A-DB69-4DAF-B0A6-3925FF9AB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6132" y="2300611"/>
              <a:ext cx="226228" cy="351571"/>
            </a:xfrm>
            <a:custGeom>
              <a:avLst/>
              <a:gdLst>
                <a:gd name="T0" fmla="*/ 92 w 222"/>
                <a:gd name="T1" fmla="*/ 339 h 345"/>
                <a:gd name="T2" fmla="*/ 91 w 222"/>
                <a:gd name="T3" fmla="*/ 332 h 345"/>
                <a:gd name="T4" fmla="*/ 93 w 222"/>
                <a:gd name="T5" fmla="*/ 316 h 345"/>
                <a:gd name="T6" fmla="*/ 92 w 222"/>
                <a:gd name="T7" fmla="*/ 311 h 345"/>
                <a:gd name="T8" fmla="*/ 87 w 222"/>
                <a:gd name="T9" fmla="*/ 308 h 345"/>
                <a:gd name="T10" fmla="*/ 79 w 222"/>
                <a:gd name="T11" fmla="*/ 308 h 345"/>
                <a:gd name="T12" fmla="*/ 70 w 222"/>
                <a:gd name="T13" fmla="*/ 311 h 345"/>
                <a:gd name="T14" fmla="*/ 62 w 222"/>
                <a:gd name="T15" fmla="*/ 317 h 345"/>
                <a:gd name="T16" fmla="*/ 50 w 222"/>
                <a:gd name="T17" fmla="*/ 327 h 345"/>
                <a:gd name="T18" fmla="*/ 45 w 222"/>
                <a:gd name="T19" fmla="*/ 332 h 345"/>
                <a:gd name="T20" fmla="*/ 32 w 222"/>
                <a:gd name="T21" fmla="*/ 333 h 345"/>
                <a:gd name="T22" fmla="*/ 29 w 222"/>
                <a:gd name="T23" fmla="*/ 331 h 345"/>
                <a:gd name="T24" fmla="*/ 28 w 222"/>
                <a:gd name="T25" fmla="*/ 326 h 345"/>
                <a:gd name="T26" fmla="*/ 28 w 222"/>
                <a:gd name="T27" fmla="*/ 315 h 345"/>
                <a:gd name="T28" fmla="*/ 27 w 222"/>
                <a:gd name="T29" fmla="*/ 313 h 345"/>
                <a:gd name="T30" fmla="*/ 18 w 222"/>
                <a:gd name="T31" fmla="*/ 315 h 345"/>
                <a:gd name="T32" fmla="*/ 13 w 222"/>
                <a:gd name="T33" fmla="*/ 315 h 345"/>
                <a:gd name="T34" fmla="*/ 7 w 222"/>
                <a:gd name="T35" fmla="*/ 308 h 345"/>
                <a:gd name="T36" fmla="*/ 1 w 222"/>
                <a:gd name="T37" fmla="*/ 299 h 345"/>
                <a:gd name="T38" fmla="*/ 0 w 222"/>
                <a:gd name="T39" fmla="*/ 295 h 345"/>
                <a:gd name="T40" fmla="*/ 3 w 222"/>
                <a:gd name="T41" fmla="*/ 284 h 345"/>
                <a:gd name="T42" fmla="*/ 5 w 222"/>
                <a:gd name="T43" fmla="*/ 276 h 345"/>
                <a:gd name="T44" fmla="*/ 6 w 222"/>
                <a:gd name="T45" fmla="*/ 269 h 345"/>
                <a:gd name="T46" fmla="*/ 14 w 222"/>
                <a:gd name="T47" fmla="*/ 259 h 345"/>
                <a:gd name="T48" fmla="*/ 17 w 222"/>
                <a:gd name="T49" fmla="*/ 251 h 345"/>
                <a:gd name="T50" fmla="*/ 16 w 222"/>
                <a:gd name="T51" fmla="*/ 246 h 345"/>
                <a:gd name="T52" fmla="*/ 13 w 222"/>
                <a:gd name="T53" fmla="*/ 241 h 345"/>
                <a:gd name="T54" fmla="*/ 4 w 222"/>
                <a:gd name="T55" fmla="*/ 230 h 345"/>
                <a:gd name="T56" fmla="*/ 3 w 222"/>
                <a:gd name="T57" fmla="*/ 226 h 345"/>
                <a:gd name="T58" fmla="*/ 6 w 222"/>
                <a:gd name="T59" fmla="*/ 211 h 345"/>
                <a:gd name="T60" fmla="*/ 11 w 222"/>
                <a:gd name="T61" fmla="*/ 201 h 345"/>
                <a:gd name="T62" fmla="*/ 24 w 222"/>
                <a:gd name="T63" fmla="*/ 185 h 345"/>
                <a:gd name="T64" fmla="*/ 28 w 222"/>
                <a:gd name="T65" fmla="*/ 176 h 345"/>
                <a:gd name="T66" fmla="*/ 28 w 222"/>
                <a:gd name="T67" fmla="*/ 162 h 345"/>
                <a:gd name="T68" fmla="*/ 29 w 222"/>
                <a:gd name="T69" fmla="*/ 148 h 345"/>
                <a:gd name="T70" fmla="*/ 33 w 222"/>
                <a:gd name="T71" fmla="*/ 137 h 345"/>
                <a:gd name="T72" fmla="*/ 35 w 222"/>
                <a:gd name="T73" fmla="*/ 125 h 345"/>
                <a:gd name="T74" fmla="*/ 48 w 222"/>
                <a:gd name="T75" fmla="*/ 107 h 345"/>
                <a:gd name="T76" fmla="*/ 56 w 222"/>
                <a:gd name="T77" fmla="*/ 100 h 345"/>
                <a:gd name="T78" fmla="*/ 65 w 222"/>
                <a:gd name="T79" fmla="*/ 93 h 345"/>
                <a:gd name="T80" fmla="*/ 74 w 222"/>
                <a:gd name="T81" fmla="*/ 88 h 345"/>
                <a:gd name="T82" fmla="*/ 86 w 222"/>
                <a:gd name="T83" fmla="*/ 76 h 345"/>
                <a:gd name="T84" fmla="*/ 91 w 222"/>
                <a:gd name="T85" fmla="*/ 74 h 345"/>
                <a:gd name="T86" fmla="*/ 100 w 222"/>
                <a:gd name="T87" fmla="*/ 75 h 345"/>
                <a:gd name="T88" fmla="*/ 105 w 222"/>
                <a:gd name="T89" fmla="*/ 74 h 345"/>
                <a:gd name="T90" fmla="*/ 107 w 222"/>
                <a:gd name="T91" fmla="*/ 69 h 345"/>
                <a:gd name="T92" fmla="*/ 109 w 222"/>
                <a:gd name="T93" fmla="*/ 48 h 345"/>
                <a:gd name="T94" fmla="*/ 114 w 222"/>
                <a:gd name="T95" fmla="*/ 46 h 345"/>
                <a:gd name="T96" fmla="*/ 124 w 222"/>
                <a:gd name="T97" fmla="*/ 38 h 345"/>
                <a:gd name="T98" fmla="*/ 137 w 222"/>
                <a:gd name="T99" fmla="*/ 34 h 345"/>
                <a:gd name="T100" fmla="*/ 156 w 222"/>
                <a:gd name="T101" fmla="*/ 34 h 345"/>
                <a:gd name="T102" fmla="*/ 166 w 222"/>
                <a:gd name="T103" fmla="*/ 33 h 345"/>
                <a:gd name="T104" fmla="*/ 176 w 222"/>
                <a:gd name="T105" fmla="*/ 32 h 345"/>
                <a:gd name="T106" fmla="*/ 185 w 222"/>
                <a:gd name="T107" fmla="*/ 34 h 345"/>
                <a:gd name="T108" fmla="*/ 195 w 222"/>
                <a:gd name="T109" fmla="*/ 32 h 345"/>
                <a:gd name="T110" fmla="*/ 206 w 222"/>
                <a:gd name="T111" fmla="*/ 23 h 345"/>
                <a:gd name="T112" fmla="*/ 214 w 222"/>
                <a:gd name="T113" fmla="*/ 14 h 345"/>
                <a:gd name="T114" fmla="*/ 218 w 222"/>
                <a:gd name="T115" fmla="*/ 2 h 345"/>
                <a:gd name="T116" fmla="*/ 221 w 222"/>
                <a:gd name="T117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2" h="345">
                  <a:moveTo>
                    <a:pt x="96" y="345"/>
                  </a:moveTo>
                  <a:lnTo>
                    <a:pt x="95" y="344"/>
                  </a:lnTo>
                  <a:lnTo>
                    <a:pt x="94" y="343"/>
                  </a:lnTo>
                  <a:lnTo>
                    <a:pt x="93" y="341"/>
                  </a:lnTo>
                  <a:lnTo>
                    <a:pt x="92" y="339"/>
                  </a:lnTo>
                  <a:lnTo>
                    <a:pt x="91" y="338"/>
                  </a:lnTo>
                  <a:lnTo>
                    <a:pt x="91" y="336"/>
                  </a:lnTo>
                  <a:lnTo>
                    <a:pt x="91" y="335"/>
                  </a:lnTo>
                  <a:lnTo>
                    <a:pt x="91" y="334"/>
                  </a:lnTo>
                  <a:lnTo>
                    <a:pt x="91" y="332"/>
                  </a:lnTo>
                  <a:lnTo>
                    <a:pt x="91" y="329"/>
                  </a:lnTo>
                  <a:lnTo>
                    <a:pt x="92" y="323"/>
                  </a:lnTo>
                  <a:lnTo>
                    <a:pt x="93" y="320"/>
                  </a:lnTo>
                  <a:lnTo>
                    <a:pt x="93" y="317"/>
                  </a:lnTo>
                  <a:lnTo>
                    <a:pt x="93" y="316"/>
                  </a:lnTo>
                  <a:lnTo>
                    <a:pt x="93" y="316"/>
                  </a:lnTo>
                  <a:lnTo>
                    <a:pt x="93" y="315"/>
                  </a:lnTo>
                  <a:lnTo>
                    <a:pt x="93" y="313"/>
                  </a:lnTo>
                  <a:lnTo>
                    <a:pt x="92" y="312"/>
                  </a:lnTo>
                  <a:lnTo>
                    <a:pt x="92" y="311"/>
                  </a:lnTo>
                  <a:lnTo>
                    <a:pt x="91" y="310"/>
                  </a:lnTo>
                  <a:lnTo>
                    <a:pt x="90" y="310"/>
                  </a:lnTo>
                  <a:lnTo>
                    <a:pt x="89" y="309"/>
                  </a:lnTo>
                  <a:lnTo>
                    <a:pt x="88" y="308"/>
                  </a:lnTo>
                  <a:lnTo>
                    <a:pt x="87" y="308"/>
                  </a:lnTo>
                  <a:lnTo>
                    <a:pt x="86" y="308"/>
                  </a:lnTo>
                  <a:lnTo>
                    <a:pt x="85" y="307"/>
                  </a:lnTo>
                  <a:lnTo>
                    <a:pt x="84" y="307"/>
                  </a:lnTo>
                  <a:lnTo>
                    <a:pt x="82" y="308"/>
                  </a:lnTo>
                  <a:lnTo>
                    <a:pt x="79" y="308"/>
                  </a:lnTo>
                  <a:lnTo>
                    <a:pt x="77" y="308"/>
                  </a:lnTo>
                  <a:lnTo>
                    <a:pt x="76" y="309"/>
                  </a:lnTo>
                  <a:lnTo>
                    <a:pt x="75" y="309"/>
                  </a:lnTo>
                  <a:lnTo>
                    <a:pt x="73" y="310"/>
                  </a:lnTo>
                  <a:lnTo>
                    <a:pt x="70" y="311"/>
                  </a:lnTo>
                  <a:lnTo>
                    <a:pt x="69" y="312"/>
                  </a:lnTo>
                  <a:lnTo>
                    <a:pt x="68" y="312"/>
                  </a:lnTo>
                  <a:lnTo>
                    <a:pt x="67" y="313"/>
                  </a:lnTo>
                  <a:lnTo>
                    <a:pt x="64" y="315"/>
                  </a:lnTo>
                  <a:lnTo>
                    <a:pt x="62" y="317"/>
                  </a:lnTo>
                  <a:lnTo>
                    <a:pt x="58" y="320"/>
                  </a:lnTo>
                  <a:lnTo>
                    <a:pt x="53" y="323"/>
                  </a:lnTo>
                  <a:lnTo>
                    <a:pt x="52" y="325"/>
                  </a:lnTo>
                  <a:lnTo>
                    <a:pt x="51" y="326"/>
                  </a:lnTo>
                  <a:lnTo>
                    <a:pt x="50" y="327"/>
                  </a:lnTo>
                  <a:lnTo>
                    <a:pt x="49" y="328"/>
                  </a:lnTo>
                  <a:lnTo>
                    <a:pt x="47" y="330"/>
                  </a:lnTo>
                  <a:lnTo>
                    <a:pt x="47" y="331"/>
                  </a:lnTo>
                  <a:lnTo>
                    <a:pt x="46" y="332"/>
                  </a:lnTo>
                  <a:lnTo>
                    <a:pt x="45" y="332"/>
                  </a:lnTo>
                  <a:lnTo>
                    <a:pt x="44" y="332"/>
                  </a:lnTo>
                  <a:lnTo>
                    <a:pt x="43" y="332"/>
                  </a:lnTo>
                  <a:lnTo>
                    <a:pt x="38" y="332"/>
                  </a:lnTo>
                  <a:lnTo>
                    <a:pt x="33" y="333"/>
                  </a:lnTo>
                  <a:lnTo>
                    <a:pt x="32" y="333"/>
                  </a:lnTo>
                  <a:lnTo>
                    <a:pt x="31" y="332"/>
                  </a:lnTo>
                  <a:lnTo>
                    <a:pt x="30" y="332"/>
                  </a:lnTo>
                  <a:lnTo>
                    <a:pt x="30" y="332"/>
                  </a:lnTo>
                  <a:lnTo>
                    <a:pt x="29" y="332"/>
                  </a:lnTo>
                  <a:lnTo>
                    <a:pt x="29" y="331"/>
                  </a:lnTo>
                  <a:lnTo>
                    <a:pt x="28" y="330"/>
                  </a:lnTo>
                  <a:lnTo>
                    <a:pt x="28" y="329"/>
                  </a:lnTo>
                  <a:lnTo>
                    <a:pt x="28" y="329"/>
                  </a:lnTo>
                  <a:lnTo>
                    <a:pt x="27" y="327"/>
                  </a:lnTo>
                  <a:lnTo>
                    <a:pt x="28" y="326"/>
                  </a:lnTo>
                  <a:lnTo>
                    <a:pt x="28" y="324"/>
                  </a:lnTo>
                  <a:lnTo>
                    <a:pt x="28" y="320"/>
                  </a:lnTo>
                  <a:lnTo>
                    <a:pt x="29" y="317"/>
                  </a:lnTo>
                  <a:lnTo>
                    <a:pt x="29" y="316"/>
                  </a:lnTo>
                  <a:lnTo>
                    <a:pt x="28" y="315"/>
                  </a:lnTo>
                  <a:lnTo>
                    <a:pt x="28" y="314"/>
                  </a:lnTo>
                  <a:lnTo>
                    <a:pt x="28" y="314"/>
                  </a:lnTo>
                  <a:lnTo>
                    <a:pt x="28" y="313"/>
                  </a:lnTo>
                  <a:lnTo>
                    <a:pt x="27" y="313"/>
                  </a:lnTo>
                  <a:lnTo>
                    <a:pt x="27" y="313"/>
                  </a:lnTo>
                  <a:lnTo>
                    <a:pt x="26" y="313"/>
                  </a:lnTo>
                  <a:lnTo>
                    <a:pt x="25" y="314"/>
                  </a:lnTo>
                  <a:lnTo>
                    <a:pt x="23" y="314"/>
                  </a:lnTo>
                  <a:lnTo>
                    <a:pt x="22" y="315"/>
                  </a:lnTo>
                  <a:lnTo>
                    <a:pt x="18" y="315"/>
                  </a:lnTo>
                  <a:lnTo>
                    <a:pt x="17" y="315"/>
                  </a:lnTo>
                  <a:lnTo>
                    <a:pt x="16" y="315"/>
                  </a:lnTo>
                  <a:lnTo>
                    <a:pt x="15" y="315"/>
                  </a:lnTo>
                  <a:lnTo>
                    <a:pt x="14" y="315"/>
                  </a:lnTo>
                  <a:lnTo>
                    <a:pt x="13" y="315"/>
                  </a:lnTo>
                  <a:lnTo>
                    <a:pt x="12" y="314"/>
                  </a:lnTo>
                  <a:lnTo>
                    <a:pt x="12" y="314"/>
                  </a:lnTo>
                  <a:lnTo>
                    <a:pt x="10" y="312"/>
                  </a:lnTo>
                  <a:lnTo>
                    <a:pt x="9" y="311"/>
                  </a:lnTo>
                  <a:lnTo>
                    <a:pt x="7" y="308"/>
                  </a:lnTo>
                  <a:lnTo>
                    <a:pt x="4" y="305"/>
                  </a:lnTo>
                  <a:lnTo>
                    <a:pt x="4" y="304"/>
                  </a:lnTo>
                  <a:lnTo>
                    <a:pt x="3" y="303"/>
                  </a:lnTo>
                  <a:lnTo>
                    <a:pt x="2" y="301"/>
                  </a:lnTo>
                  <a:lnTo>
                    <a:pt x="1" y="299"/>
                  </a:lnTo>
                  <a:lnTo>
                    <a:pt x="0" y="298"/>
                  </a:lnTo>
                  <a:lnTo>
                    <a:pt x="0" y="297"/>
                  </a:lnTo>
                  <a:lnTo>
                    <a:pt x="0" y="296"/>
                  </a:lnTo>
                  <a:lnTo>
                    <a:pt x="0" y="295"/>
                  </a:lnTo>
                  <a:lnTo>
                    <a:pt x="0" y="295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1"/>
                  </a:lnTo>
                  <a:lnTo>
                    <a:pt x="1" y="289"/>
                  </a:lnTo>
                  <a:lnTo>
                    <a:pt x="3" y="284"/>
                  </a:lnTo>
                  <a:lnTo>
                    <a:pt x="4" y="282"/>
                  </a:lnTo>
                  <a:lnTo>
                    <a:pt x="5" y="280"/>
                  </a:lnTo>
                  <a:lnTo>
                    <a:pt x="5" y="279"/>
                  </a:lnTo>
                  <a:lnTo>
                    <a:pt x="5" y="277"/>
                  </a:lnTo>
                  <a:lnTo>
                    <a:pt x="5" y="276"/>
                  </a:lnTo>
                  <a:lnTo>
                    <a:pt x="5" y="274"/>
                  </a:lnTo>
                  <a:lnTo>
                    <a:pt x="5" y="273"/>
                  </a:lnTo>
                  <a:lnTo>
                    <a:pt x="5" y="271"/>
                  </a:lnTo>
                  <a:lnTo>
                    <a:pt x="6" y="270"/>
                  </a:lnTo>
                  <a:lnTo>
                    <a:pt x="6" y="269"/>
                  </a:lnTo>
                  <a:lnTo>
                    <a:pt x="6" y="268"/>
                  </a:lnTo>
                  <a:lnTo>
                    <a:pt x="8" y="266"/>
                  </a:lnTo>
                  <a:lnTo>
                    <a:pt x="10" y="264"/>
                  </a:lnTo>
                  <a:lnTo>
                    <a:pt x="13" y="260"/>
                  </a:lnTo>
                  <a:lnTo>
                    <a:pt x="14" y="259"/>
                  </a:lnTo>
                  <a:lnTo>
                    <a:pt x="15" y="257"/>
                  </a:lnTo>
                  <a:lnTo>
                    <a:pt x="16" y="255"/>
                  </a:lnTo>
                  <a:lnTo>
                    <a:pt x="16" y="254"/>
                  </a:lnTo>
                  <a:lnTo>
                    <a:pt x="17" y="252"/>
                  </a:lnTo>
                  <a:lnTo>
                    <a:pt x="17" y="251"/>
                  </a:lnTo>
                  <a:lnTo>
                    <a:pt x="17" y="250"/>
                  </a:lnTo>
                  <a:lnTo>
                    <a:pt x="17" y="249"/>
                  </a:lnTo>
                  <a:lnTo>
                    <a:pt x="17" y="248"/>
                  </a:lnTo>
                  <a:lnTo>
                    <a:pt x="16" y="247"/>
                  </a:lnTo>
                  <a:lnTo>
                    <a:pt x="16" y="246"/>
                  </a:lnTo>
                  <a:lnTo>
                    <a:pt x="16" y="245"/>
                  </a:lnTo>
                  <a:lnTo>
                    <a:pt x="15" y="244"/>
                  </a:lnTo>
                  <a:lnTo>
                    <a:pt x="15" y="244"/>
                  </a:lnTo>
                  <a:lnTo>
                    <a:pt x="14" y="242"/>
                  </a:lnTo>
                  <a:lnTo>
                    <a:pt x="13" y="241"/>
                  </a:lnTo>
                  <a:lnTo>
                    <a:pt x="7" y="235"/>
                  </a:lnTo>
                  <a:lnTo>
                    <a:pt x="6" y="233"/>
                  </a:lnTo>
                  <a:lnTo>
                    <a:pt x="5" y="232"/>
                  </a:lnTo>
                  <a:lnTo>
                    <a:pt x="4" y="231"/>
                  </a:lnTo>
                  <a:lnTo>
                    <a:pt x="4" y="230"/>
                  </a:lnTo>
                  <a:lnTo>
                    <a:pt x="4" y="230"/>
                  </a:lnTo>
                  <a:lnTo>
                    <a:pt x="4" y="229"/>
                  </a:lnTo>
                  <a:lnTo>
                    <a:pt x="3" y="228"/>
                  </a:lnTo>
                  <a:lnTo>
                    <a:pt x="3" y="227"/>
                  </a:lnTo>
                  <a:lnTo>
                    <a:pt x="3" y="226"/>
                  </a:lnTo>
                  <a:lnTo>
                    <a:pt x="4" y="221"/>
                  </a:lnTo>
                  <a:lnTo>
                    <a:pt x="5" y="216"/>
                  </a:lnTo>
                  <a:lnTo>
                    <a:pt x="5" y="214"/>
                  </a:lnTo>
                  <a:lnTo>
                    <a:pt x="5" y="213"/>
                  </a:lnTo>
                  <a:lnTo>
                    <a:pt x="6" y="211"/>
                  </a:lnTo>
                  <a:lnTo>
                    <a:pt x="6" y="210"/>
                  </a:lnTo>
                  <a:lnTo>
                    <a:pt x="7" y="209"/>
                  </a:lnTo>
                  <a:lnTo>
                    <a:pt x="8" y="205"/>
                  </a:lnTo>
                  <a:lnTo>
                    <a:pt x="9" y="203"/>
                  </a:lnTo>
                  <a:lnTo>
                    <a:pt x="11" y="201"/>
                  </a:lnTo>
                  <a:lnTo>
                    <a:pt x="12" y="199"/>
                  </a:lnTo>
                  <a:lnTo>
                    <a:pt x="14" y="196"/>
                  </a:lnTo>
                  <a:lnTo>
                    <a:pt x="22" y="187"/>
                  </a:lnTo>
                  <a:lnTo>
                    <a:pt x="23" y="186"/>
                  </a:lnTo>
                  <a:lnTo>
                    <a:pt x="24" y="185"/>
                  </a:lnTo>
                  <a:lnTo>
                    <a:pt x="25" y="183"/>
                  </a:lnTo>
                  <a:lnTo>
                    <a:pt x="26" y="181"/>
                  </a:lnTo>
                  <a:lnTo>
                    <a:pt x="26" y="180"/>
                  </a:lnTo>
                  <a:lnTo>
                    <a:pt x="27" y="178"/>
                  </a:lnTo>
                  <a:lnTo>
                    <a:pt x="28" y="176"/>
                  </a:lnTo>
                  <a:lnTo>
                    <a:pt x="28" y="175"/>
                  </a:lnTo>
                  <a:lnTo>
                    <a:pt x="28" y="173"/>
                  </a:lnTo>
                  <a:lnTo>
                    <a:pt x="28" y="171"/>
                  </a:lnTo>
                  <a:lnTo>
                    <a:pt x="28" y="168"/>
                  </a:lnTo>
                  <a:lnTo>
                    <a:pt x="28" y="162"/>
                  </a:lnTo>
                  <a:lnTo>
                    <a:pt x="28" y="155"/>
                  </a:lnTo>
                  <a:lnTo>
                    <a:pt x="28" y="153"/>
                  </a:lnTo>
                  <a:lnTo>
                    <a:pt x="28" y="151"/>
                  </a:lnTo>
                  <a:lnTo>
                    <a:pt x="28" y="149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31" y="141"/>
                  </a:lnTo>
                  <a:lnTo>
                    <a:pt x="32" y="139"/>
                  </a:lnTo>
                  <a:lnTo>
                    <a:pt x="32" y="138"/>
                  </a:lnTo>
                  <a:lnTo>
                    <a:pt x="33" y="137"/>
                  </a:lnTo>
                  <a:lnTo>
                    <a:pt x="33" y="135"/>
                  </a:lnTo>
                  <a:lnTo>
                    <a:pt x="33" y="131"/>
                  </a:lnTo>
                  <a:lnTo>
                    <a:pt x="34" y="128"/>
                  </a:lnTo>
                  <a:lnTo>
                    <a:pt x="34" y="126"/>
                  </a:lnTo>
                  <a:lnTo>
                    <a:pt x="35" y="125"/>
                  </a:lnTo>
                  <a:lnTo>
                    <a:pt x="35" y="124"/>
                  </a:lnTo>
                  <a:lnTo>
                    <a:pt x="36" y="122"/>
                  </a:lnTo>
                  <a:lnTo>
                    <a:pt x="38" y="119"/>
                  </a:lnTo>
                  <a:lnTo>
                    <a:pt x="45" y="111"/>
                  </a:lnTo>
                  <a:lnTo>
                    <a:pt x="48" y="107"/>
                  </a:lnTo>
                  <a:lnTo>
                    <a:pt x="50" y="105"/>
                  </a:lnTo>
                  <a:lnTo>
                    <a:pt x="51" y="104"/>
                  </a:lnTo>
                  <a:lnTo>
                    <a:pt x="54" y="102"/>
                  </a:lnTo>
                  <a:lnTo>
                    <a:pt x="55" y="101"/>
                  </a:lnTo>
                  <a:lnTo>
                    <a:pt x="56" y="100"/>
                  </a:lnTo>
                  <a:lnTo>
                    <a:pt x="60" y="97"/>
                  </a:lnTo>
                  <a:lnTo>
                    <a:pt x="61" y="96"/>
                  </a:lnTo>
                  <a:lnTo>
                    <a:pt x="62" y="95"/>
                  </a:lnTo>
                  <a:lnTo>
                    <a:pt x="63" y="94"/>
                  </a:lnTo>
                  <a:lnTo>
                    <a:pt x="65" y="93"/>
                  </a:lnTo>
                  <a:lnTo>
                    <a:pt x="66" y="92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2" y="90"/>
                  </a:lnTo>
                  <a:lnTo>
                    <a:pt x="74" y="88"/>
                  </a:lnTo>
                  <a:lnTo>
                    <a:pt x="75" y="87"/>
                  </a:lnTo>
                  <a:lnTo>
                    <a:pt x="77" y="86"/>
                  </a:lnTo>
                  <a:lnTo>
                    <a:pt x="81" y="81"/>
                  </a:lnTo>
                  <a:lnTo>
                    <a:pt x="84" y="78"/>
                  </a:lnTo>
                  <a:lnTo>
                    <a:pt x="86" y="76"/>
                  </a:lnTo>
                  <a:lnTo>
                    <a:pt x="87" y="75"/>
                  </a:lnTo>
                  <a:lnTo>
                    <a:pt x="88" y="75"/>
                  </a:lnTo>
                  <a:lnTo>
                    <a:pt x="89" y="74"/>
                  </a:lnTo>
                  <a:lnTo>
                    <a:pt x="90" y="74"/>
                  </a:lnTo>
                  <a:lnTo>
                    <a:pt x="91" y="74"/>
                  </a:lnTo>
                  <a:lnTo>
                    <a:pt x="93" y="74"/>
                  </a:lnTo>
                  <a:lnTo>
                    <a:pt x="95" y="75"/>
                  </a:lnTo>
                  <a:lnTo>
                    <a:pt x="97" y="75"/>
                  </a:lnTo>
                  <a:lnTo>
                    <a:pt x="99" y="75"/>
                  </a:lnTo>
                  <a:lnTo>
                    <a:pt x="100" y="75"/>
                  </a:lnTo>
                  <a:lnTo>
                    <a:pt x="101" y="75"/>
                  </a:lnTo>
                  <a:lnTo>
                    <a:pt x="102" y="75"/>
                  </a:lnTo>
                  <a:lnTo>
                    <a:pt x="103" y="75"/>
                  </a:lnTo>
                  <a:lnTo>
                    <a:pt x="104" y="74"/>
                  </a:lnTo>
                  <a:lnTo>
                    <a:pt x="105" y="74"/>
                  </a:lnTo>
                  <a:lnTo>
                    <a:pt x="105" y="73"/>
                  </a:lnTo>
                  <a:lnTo>
                    <a:pt x="106" y="73"/>
                  </a:lnTo>
                  <a:lnTo>
                    <a:pt x="106" y="71"/>
                  </a:lnTo>
                  <a:lnTo>
                    <a:pt x="107" y="70"/>
                  </a:lnTo>
                  <a:lnTo>
                    <a:pt x="107" y="69"/>
                  </a:lnTo>
                  <a:lnTo>
                    <a:pt x="108" y="66"/>
                  </a:lnTo>
                  <a:lnTo>
                    <a:pt x="108" y="63"/>
                  </a:lnTo>
                  <a:lnTo>
                    <a:pt x="108" y="60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1" y="47"/>
                  </a:lnTo>
                  <a:lnTo>
                    <a:pt x="112" y="47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8" y="42"/>
                  </a:lnTo>
                  <a:lnTo>
                    <a:pt x="120" y="40"/>
                  </a:lnTo>
                  <a:lnTo>
                    <a:pt x="122" y="39"/>
                  </a:lnTo>
                  <a:lnTo>
                    <a:pt x="124" y="38"/>
                  </a:lnTo>
                  <a:lnTo>
                    <a:pt x="127" y="37"/>
                  </a:lnTo>
                  <a:lnTo>
                    <a:pt x="130" y="36"/>
                  </a:lnTo>
                  <a:lnTo>
                    <a:pt x="133" y="35"/>
                  </a:lnTo>
                  <a:lnTo>
                    <a:pt x="135" y="34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42" y="34"/>
                  </a:lnTo>
                  <a:lnTo>
                    <a:pt x="144" y="34"/>
                  </a:lnTo>
                  <a:lnTo>
                    <a:pt x="148" y="34"/>
                  </a:lnTo>
                  <a:lnTo>
                    <a:pt x="156" y="34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4"/>
                  </a:lnTo>
                  <a:lnTo>
                    <a:pt x="164" y="33"/>
                  </a:lnTo>
                  <a:lnTo>
                    <a:pt x="166" y="33"/>
                  </a:lnTo>
                  <a:lnTo>
                    <a:pt x="170" y="32"/>
                  </a:lnTo>
                  <a:lnTo>
                    <a:pt x="172" y="32"/>
                  </a:lnTo>
                  <a:lnTo>
                    <a:pt x="173" y="31"/>
                  </a:lnTo>
                  <a:lnTo>
                    <a:pt x="175" y="32"/>
                  </a:lnTo>
                  <a:lnTo>
                    <a:pt x="176" y="32"/>
                  </a:lnTo>
                  <a:lnTo>
                    <a:pt x="178" y="32"/>
                  </a:lnTo>
                  <a:lnTo>
                    <a:pt x="181" y="33"/>
                  </a:lnTo>
                  <a:lnTo>
                    <a:pt x="182" y="34"/>
                  </a:lnTo>
                  <a:lnTo>
                    <a:pt x="183" y="34"/>
                  </a:lnTo>
                  <a:lnTo>
                    <a:pt x="185" y="34"/>
                  </a:lnTo>
                  <a:lnTo>
                    <a:pt x="186" y="34"/>
                  </a:lnTo>
                  <a:lnTo>
                    <a:pt x="188" y="34"/>
                  </a:lnTo>
                  <a:lnTo>
                    <a:pt x="190" y="34"/>
                  </a:lnTo>
                  <a:lnTo>
                    <a:pt x="192" y="33"/>
                  </a:lnTo>
                  <a:lnTo>
                    <a:pt x="195" y="32"/>
                  </a:lnTo>
                  <a:lnTo>
                    <a:pt x="197" y="30"/>
                  </a:lnTo>
                  <a:lnTo>
                    <a:pt x="199" y="29"/>
                  </a:lnTo>
                  <a:lnTo>
                    <a:pt x="201" y="28"/>
                  </a:lnTo>
                  <a:lnTo>
                    <a:pt x="203" y="26"/>
                  </a:lnTo>
                  <a:lnTo>
                    <a:pt x="206" y="23"/>
                  </a:lnTo>
                  <a:lnTo>
                    <a:pt x="208" y="21"/>
                  </a:lnTo>
                  <a:lnTo>
                    <a:pt x="210" y="19"/>
                  </a:lnTo>
                  <a:lnTo>
                    <a:pt x="212" y="17"/>
                  </a:lnTo>
                  <a:lnTo>
                    <a:pt x="213" y="15"/>
                  </a:lnTo>
                  <a:lnTo>
                    <a:pt x="214" y="14"/>
                  </a:lnTo>
                  <a:lnTo>
                    <a:pt x="214" y="12"/>
                  </a:lnTo>
                  <a:lnTo>
                    <a:pt x="215" y="11"/>
                  </a:lnTo>
                  <a:lnTo>
                    <a:pt x="215" y="10"/>
                  </a:lnTo>
                  <a:lnTo>
                    <a:pt x="217" y="3"/>
                  </a:lnTo>
                  <a:lnTo>
                    <a:pt x="218" y="2"/>
                  </a:lnTo>
                  <a:lnTo>
                    <a:pt x="218" y="1"/>
                  </a:lnTo>
                  <a:lnTo>
                    <a:pt x="219" y="1"/>
                  </a:lnTo>
                  <a:lnTo>
                    <a:pt x="219" y="0"/>
                  </a:lnTo>
                  <a:lnTo>
                    <a:pt x="220" y="0"/>
                  </a:lnTo>
                  <a:lnTo>
                    <a:pt x="221" y="0"/>
                  </a:lnTo>
                  <a:lnTo>
                    <a:pt x="222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90" name="Group 4">
            <a:extLst>
              <a:ext uri="{FF2B5EF4-FFF2-40B4-BE49-F238E27FC236}">
                <a16:creationId xmlns:a16="http://schemas.microsoft.com/office/drawing/2014/main" id="{7D5461CB-2194-4EE9-AD31-513014595824}"/>
              </a:ext>
            </a:extLst>
          </p:cNvPr>
          <p:cNvGrpSpPr>
            <a:grpSpLocks noChangeAspect="1"/>
          </p:cNvGrpSpPr>
          <p:nvPr>
            <p:custDataLst>
              <p:tags r:id="rId18"/>
            </p:custDataLst>
          </p:nvPr>
        </p:nvGrpSpPr>
        <p:grpSpPr bwMode="auto">
          <a:xfrm>
            <a:off x="3788430" y="2852111"/>
            <a:ext cx="5330998" cy="3043635"/>
            <a:chOff x="293" y="976"/>
            <a:chExt cx="5174" cy="2954"/>
          </a:xfrm>
        </p:grpSpPr>
        <p:sp>
          <p:nvSpPr>
            <p:cNvPr id="391" name="AutoShape 3">
              <a:extLst>
                <a:ext uri="{FF2B5EF4-FFF2-40B4-BE49-F238E27FC236}">
                  <a16:creationId xmlns:a16="http://schemas.microsoft.com/office/drawing/2014/main" id="{13F1507D-FE20-43B4-8F9F-8911B27AC6B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3" y="981"/>
              <a:ext cx="5174" cy="29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2" name="Freeform 5">
              <a:extLst>
                <a:ext uri="{FF2B5EF4-FFF2-40B4-BE49-F238E27FC236}">
                  <a16:creationId xmlns:a16="http://schemas.microsoft.com/office/drawing/2014/main" id="{4B8C9E82-50A7-4CB4-A711-5316F3C1D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" y="2017"/>
              <a:ext cx="352" cy="270"/>
            </a:xfrm>
            <a:custGeom>
              <a:avLst/>
              <a:gdLst>
                <a:gd name="T0" fmla="*/ 226 w 352"/>
                <a:gd name="T1" fmla="*/ 3 h 270"/>
                <a:gd name="T2" fmla="*/ 233 w 352"/>
                <a:gd name="T3" fmla="*/ 11 h 270"/>
                <a:gd name="T4" fmla="*/ 258 w 352"/>
                <a:gd name="T5" fmla="*/ 28 h 270"/>
                <a:gd name="T6" fmla="*/ 270 w 352"/>
                <a:gd name="T7" fmla="*/ 34 h 270"/>
                <a:gd name="T8" fmla="*/ 280 w 352"/>
                <a:gd name="T9" fmla="*/ 50 h 270"/>
                <a:gd name="T10" fmla="*/ 299 w 352"/>
                <a:gd name="T11" fmla="*/ 58 h 270"/>
                <a:gd name="T12" fmla="*/ 318 w 352"/>
                <a:gd name="T13" fmla="*/ 69 h 270"/>
                <a:gd name="T14" fmla="*/ 332 w 352"/>
                <a:gd name="T15" fmla="*/ 85 h 270"/>
                <a:gd name="T16" fmla="*/ 349 w 352"/>
                <a:gd name="T17" fmla="*/ 101 h 270"/>
                <a:gd name="T18" fmla="*/ 352 w 352"/>
                <a:gd name="T19" fmla="*/ 109 h 270"/>
                <a:gd name="T20" fmla="*/ 348 w 352"/>
                <a:gd name="T21" fmla="*/ 120 h 270"/>
                <a:gd name="T22" fmla="*/ 324 w 352"/>
                <a:gd name="T23" fmla="*/ 136 h 270"/>
                <a:gd name="T24" fmla="*/ 314 w 352"/>
                <a:gd name="T25" fmla="*/ 145 h 270"/>
                <a:gd name="T26" fmla="*/ 314 w 352"/>
                <a:gd name="T27" fmla="*/ 153 h 270"/>
                <a:gd name="T28" fmla="*/ 322 w 352"/>
                <a:gd name="T29" fmla="*/ 167 h 270"/>
                <a:gd name="T30" fmla="*/ 325 w 352"/>
                <a:gd name="T31" fmla="*/ 191 h 270"/>
                <a:gd name="T32" fmla="*/ 318 w 352"/>
                <a:gd name="T33" fmla="*/ 201 h 270"/>
                <a:gd name="T34" fmla="*/ 303 w 352"/>
                <a:gd name="T35" fmla="*/ 211 h 270"/>
                <a:gd name="T36" fmla="*/ 288 w 352"/>
                <a:gd name="T37" fmla="*/ 209 h 270"/>
                <a:gd name="T38" fmla="*/ 262 w 352"/>
                <a:gd name="T39" fmla="*/ 198 h 270"/>
                <a:gd name="T40" fmla="*/ 253 w 352"/>
                <a:gd name="T41" fmla="*/ 199 h 270"/>
                <a:gd name="T42" fmla="*/ 250 w 352"/>
                <a:gd name="T43" fmla="*/ 199 h 270"/>
                <a:gd name="T44" fmla="*/ 228 w 352"/>
                <a:gd name="T45" fmla="*/ 200 h 270"/>
                <a:gd name="T46" fmla="*/ 217 w 352"/>
                <a:gd name="T47" fmla="*/ 209 h 270"/>
                <a:gd name="T48" fmla="*/ 202 w 352"/>
                <a:gd name="T49" fmla="*/ 215 h 270"/>
                <a:gd name="T50" fmla="*/ 172 w 352"/>
                <a:gd name="T51" fmla="*/ 236 h 270"/>
                <a:gd name="T52" fmla="*/ 152 w 352"/>
                <a:gd name="T53" fmla="*/ 245 h 270"/>
                <a:gd name="T54" fmla="*/ 129 w 352"/>
                <a:gd name="T55" fmla="*/ 251 h 270"/>
                <a:gd name="T56" fmla="*/ 119 w 352"/>
                <a:gd name="T57" fmla="*/ 264 h 270"/>
                <a:gd name="T58" fmla="*/ 113 w 352"/>
                <a:gd name="T59" fmla="*/ 270 h 270"/>
                <a:gd name="T60" fmla="*/ 89 w 352"/>
                <a:gd name="T61" fmla="*/ 268 h 270"/>
                <a:gd name="T62" fmla="*/ 79 w 352"/>
                <a:gd name="T63" fmla="*/ 263 h 270"/>
                <a:gd name="T64" fmla="*/ 74 w 352"/>
                <a:gd name="T65" fmla="*/ 256 h 270"/>
                <a:gd name="T66" fmla="*/ 76 w 352"/>
                <a:gd name="T67" fmla="*/ 243 h 270"/>
                <a:gd name="T68" fmla="*/ 74 w 352"/>
                <a:gd name="T69" fmla="*/ 237 h 270"/>
                <a:gd name="T70" fmla="*/ 74 w 352"/>
                <a:gd name="T71" fmla="*/ 224 h 270"/>
                <a:gd name="T72" fmla="*/ 63 w 352"/>
                <a:gd name="T73" fmla="*/ 216 h 270"/>
                <a:gd name="T74" fmla="*/ 53 w 352"/>
                <a:gd name="T75" fmla="*/ 208 h 270"/>
                <a:gd name="T76" fmla="*/ 52 w 352"/>
                <a:gd name="T77" fmla="*/ 199 h 270"/>
                <a:gd name="T78" fmla="*/ 54 w 352"/>
                <a:gd name="T79" fmla="*/ 188 h 270"/>
                <a:gd name="T80" fmla="*/ 38 w 352"/>
                <a:gd name="T81" fmla="*/ 170 h 270"/>
                <a:gd name="T82" fmla="*/ 24 w 352"/>
                <a:gd name="T83" fmla="*/ 149 h 270"/>
                <a:gd name="T84" fmla="*/ 17 w 352"/>
                <a:gd name="T85" fmla="*/ 136 h 270"/>
                <a:gd name="T86" fmla="*/ 22 w 352"/>
                <a:gd name="T87" fmla="*/ 125 h 270"/>
                <a:gd name="T88" fmla="*/ 33 w 352"/>
                <a:gd name="T89" fmla="*/ 116 h 270"/>
                <a:gd name="T90" fmla="*/ 27 w 352"/>
                <a:gd name="T91" fmla="*/ 105 h 270"/>
                <a:gd name="T92" fmla="*/ 7 w 352"/>
                <a:gd name="T93" fmla="*/ 88 h 270"/>
                <a:gd name="T94" fmla="*/ 0 w 352"/>
                <a:gd name="T95" fmla="*/ 82 h 270"/>
                <a:gd name="T96" fmla="*/ 6 w 352"/>
                <a:gd name="T97" fmla="*/ 78 h 270"/>
                <a:gd name="T98" fmla="*/ 37 w 352"/>
                <a:gd name="T99" fmla="*/ 67 h 270"/>
                <a:gd name="T100" fmla="*/ 54 w 352"/>
                <a:gd name="T101" fmla="*/ 60 h 270"/>
                <a:gd name="T102" fmla="*/ 67 w 352"/>
                <a:gd name="T103" fmla="*/ 66 h 270"/>
                <a:gd name="T104" fmla="*/ 85 w 352"/>
                <a:gd name="T105" fmla="*/ 67 h 270"/>
                <a:gd name="T106" fmla="*/ 91 w 352"/>
                <a:gd name="T107" fmla="*/ 61 h 270"/>
                <a:gd name="T108" fmla="*/ 97 w 352"/>
                <a:gd name="T109" fmla="*/ 46 h 270"/>
                <a:gd name="T110" fmla="*/ 108 w 352"/>
                <a:gd name="T111" fmla="*/ 38 h 270"/>
                <a:gd name="T112" fmla="*/ 124 w 352"/>
                <a:gd name="T113" fmla="*/ 38 h 270"/>
                <a:gd name="T114" fmla="*/ 139 w 352"/>
                <a:gd name="T115" fmla="*/ 31 h 270"/>
                <a:gd name="T116" fmla="*/ 150 w 352"/>
                <a:gd name="T117" fmla="*/ 23 h 270"/>
                <a:gd name="T118" fmla="*/ 170 w 352"/>
                <a:gd name="T119" fmla="*/ 19 h 270"/>
                <a:gd name="T120" fmla="*/ 181 w 352"/>
                <a:gd name="T121" fmla="*/ 9 h 270"/>
                <a:gd name="T122" fmla="*/ 204 w 352"/>
                <a:gd name="T123" fmla="*/ 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70">
                  <a:moveTo>
                    <a:pt x="226" y="0"/>
                  </a:moveTo>
                  <a:lnTo>
                    <a:pt x="226" y="0"/>
                  </a:lnTo>
                  <a:lnTo>
                    <a:pt x="226" y="0"/>
                  </a:lnTo>
                  <a:lnTo>
                    <a:pt x="226" y="1"/>
                  </a:lnTo>
                  <a:lnTo>
                    <a:pt x="226" y="2"/>
                  </a:lnTo>
                  <a:lnTo>
                    <a:pt x="226" y="3"/>
                  </a:lnTo>
                  <a:lnTo>
                    <a:pt x="226" y="4"/>
                  </a:lnTo>
                  <a:lnTo>
                    <a:pt x="227" y="6"/>
                  </a:lnTo>
                  <a:lnTo>
                    <a:pt x="228" y="7"/>
                  </a:lnTo>
                  <a:lnTo>
                    <a:pt x="229" y="9"/>
                  </a:lnTo>
                  <a:lnTo>
                    <a:pt x="231" y="10"/>
                  </a:lnTo>
                  <a:lnTo>
                    <a:pt x="233" y="11"/>
                  </a:lnTo>
                  <a:lnTo>
                    <a:pt x="239" y="15"/>
                  </a:lnTo>
                  <a:lnTo>
                    <a:pt x="243" y="18"/>
                  </a:lnTo>
                  <a:lnTo>
                    <a:pt x="250" y="24"/>
                  </a:lnTo>
                  <a:lnTo>
                    <a:pt x="253" y="26"/>
                  </a:lnTo>
                  <a:lnTo>
                    <a:pt x="256" y="27"/>
                  </a:lnTo>
                  <a:lnTo>
                    <a:pt x="258" y="28"/>
                  </a:lnTo>
                  <a:lnTo>
                    <a:pt x="264" y="29"/>
                  </a:lnTo>
                  <a:lnTo>
                    <a:pt x="266" y="30"/>
                  </a:lnTo>
                  <a:lnTo>
                    <a:pt x="267" y="31"/>
                  </a:lnTo>
                  <a:lnTo>
                    <a:pt x="268" y="32"/>
                  </a:lnTo>
                  <a:lnTo>
                    <a:pt x="269" y="33"/>
                  </a:lnTo>
                  <a:lnTo>
                    <a:pt x="270" y="34"/>
                  </a:lnTo>
                  <a:lnTo>
                    <a:pt x="272" y="40"/>
                  </a:lnTo>
                  <a:lnTo>
                    <a:pt x="273" y="42"/>
                  </a:lnTo>
                  <a:lnTo>
                    <a:pt x="275" y="45"/>
                  </a:lnTo>
                  <a:lnTo>
                    <a:pt x="276" y="46"/>
                  </a:lnTo>
                  <a:lnTo>
                    <a:pt x="278" y="48"/>
                  </a:lnTo>
                  <a:lnTo>
                    <a:pt x="280" y="50"/>
                  </a:lnTo>
                  <a:lnTo>
                    <a:pt x="281" y="51"/>
                  </a:lnTo>
                  <a:lnTo>
                    <a:pt x="283" y="53"/>
                  </a:lnTo>
                  <a:lnTo>
                    <a:pt x="285" y="54"/>
                  </a:lnTo>
                  <a:lnTo>
                    <a:pt x="287" y="55"/>
                  </a:lnTo>
                  <a:lnTo>
                    <a:pt x="291" y="56"/>
                  </a:lnTo>
                  <a:lnTo>
                    <a:pt x="299" y="58"/>
                  </a:lnTo>
                  <a:lnTo>
                    <a:pt x="303" y="60"/>
                  </a:lnTo>
                  <a:lnTo>
                    <a:pt x="309" y="64"/>
                  </a:lnTo>
                  <a:lnTo>
                    <a:pt x="312" y="65"/>
                  </a:lnTo>
                  <a:lnTo>
                    <a:pt x="314" y="67"/>
                  </a:lnTo>
                  <a:lnTo>
                    <a:pt x="317" y="68"/>
                  </a:lnTo>
                  <a:lnTo>
                    <a:pt x="318" y="69"/>
                  </a:lnTo>
                  <a:lnTo>
                    <a:pt x="319" y="71"/>
                  </a:lnTo>
                  <a:lnTo>
                    <a:pt x="325" y="79"/>
                  </a:lnTo>
                  <a:lnTo>
                    <a:pt x="326" y="80"/>
                  </a:lnTo>
                  <a:lnTo>
                    <a:pt x="328" y="82"/>
                  </a:lnTo>
                  <a:lnTo>
                    <a:pt x="330" y="83"/>
                  </a:lnTo>
                  <a:lnTo>
                    <a:pt x="332" y="85"/>
                  </a:lnTo>
                  <a:lnTo>
                    <a:pt x="339" y="91"/>
                  </a:lnTo>
                  <a:lnTo>
                    <a:pt x="342" y="92"/>
                  </a:lnTo>
                  <a:lnTo>
                    <a:pt x="344" y="93"/>
                  </a:lnTo>
                  <a:lnTo>
                    <a:pt x="346" y="96"/>
                  </a:lnTo>
                  <a:lnTo>
                    <a:pt x="348" y="99"/>
                  </a:lnTo>
                  <a:lnTo>
                    <a:pt x="349" y="101"/>
                  </a:lnTo>
                  <a:lnTo>
                    <a:pt x="350" y="102"/>
                  </a:lnTo>
                  <a:lnTo>
                    <a:pt x="351" y="103"/>
                  </a:lnTo>
                  <a:lnTo>
                    <a:pt x="351" y="104"/>
                  </a:lnTo>
                  <a:lnTo>
                    <a:pt x="352" y="106"/>
                  </a:lnTo>
                  <a:lnTo>
                    <a:pt x="352" y="107"/>
                  </a:lnTo>
                  <a:lnTo>
                    <a:pt x="352" y="109"/>
                  </a:lnTo>
                  <a:lnTo>
                    <a:pt x="352" y="112"/>
                  </a:lnTo>
                  <a:lnTo>
                    <a:pt x="352" y="113"/>
                  </a:lnTo>
                  <a:lnTo>
                    <a:pt x="351" y="115"/>
                  </a:lnTo>
                  <a:lnTo>
                    <a:pt x="350" y="117"/>
                  </a:lnTo>
                  <a:lnTo>
                    <a:pt x="349" y="119"/>
                  </a:lnTo>
                  <a:lnTo>
                    <a:pt x="348" y="120"/>
                  </a:lnTo>
                  <a:lnTo>
                    <a:pt x="347" y="121"/>
                  </a:lnTo>
                  <a:lnTo>
                    <a:pt x="346" y="123"/>
                  </a:lnTo>
                  <a:lnTo>
                    <a:pt x="344" y="124"/>
                  </a:lnTo>
                  <a:lnTo>
                    <a:pt x="340" y="126"/>
                  </a:lnTo>
                  <a:lnTo>
                    <a:pt x="335" y="129"/>
                  </a:lnTo>
                  <a:lnTo>
                    <a:pt x="324" y="136"/>
                  </a:lnTo>
                  <a:lnTo>
                    <a:pt x="321" y="137"/>
                  </a:lnTo>
                  <a:lnTo>
                    <a:pt x="319" y="138"/>
                  </a:lnTo>
                  <a:lnTo>
                    <a:pt x="317" y="140"/>
                  </a:lnTo>
                  <a:lnTo>
                    <a:pt x="315" y="142"/>
                  </a:lnTo>
                  <a:lnTo>
                    <a:pt x="314" y="144"/>
                  </a:lnTo>
                  <a:lnTo>
                    <a:pt x="314" y="145"/>
                  </a:lnTo>
                  <a:lnTo>
                    <a:pt x="314" y="146"/>
                  </a:lnTo>
                  <a:lnTo>
                    <a:pt x="313" y="147"/>
                  </a:lnTo>
                  <a:lnTo>
                    <a:pt x="313" y="149"/>
                  </a:lnTo>
                  <a:lnTo>
                    <a:pt x="313" y="150"/>
                  </a:lnTo>
                  <a:lnTo>
                    <a:pt x="314" y="152"/>
                  </a:lnTo>
                  <a:lnTo>
                    <a:pt x="314" y="153"/>
                  </a:lnTo>
                  <a:lnTo>
                    <a:pt x="314" y="154"/>
                  </a:lnTo>
                  <a:lnTo>
                    <a:pt x="317" y="157"/>
                  </a:lnTo>
                  <a:lnTo>
                    <a:pt x="319" y="159"/>
                  </a:lnTo>
                  <a:lnTo>
                    <a:pt x="321" y="161"/>
                  </a:lnTo>
                  <a:lnTo>
                    <a:pt x="322" y="164"/>
                  </a:lnTo>
                  <a:lnTo>
                    <a:pt x="322" y="167"/>
                  </a:lnTo>
                  <a:lnTo>
                    <a:pt x="323" y="173"/>
                  </a:lnTo>
                  <a:lnTo>
                    <a:pt x="325" y="181"/>
                  </a:lnTo>
                  <a:lnTo>
                    <a:pt x="325" y="184"/>
                  </a:lnTo>
                  <a:lnTo>
                    <a:pt x="325" y="186"/>
                  </a:lnTo>
                  <a:lnTo>
                    <a:pt x="325" y="188"/>
                  </a:lnTo>
                  <a:lnTo>
                    <a:pt x="325" y="191"/>
                  </a:lnTo>
                  <a:lnTo>
                    <a:pt x="324" y="193"/>
                  </a:lnTo>
                  <a:lnTo>
                    <a:pt x="323" y="194"/>
                  </a:lnTo>
                  <a:lnTo>
                    <a:pt x="322" y="196"/>
                  </a:lnTo>
                  <a:lnTo>
                    <a:pt x="321" y="198"/>
                  </a:lnTo>
                  <a:lnTo>
                    <a:pt x="319" y="200"/>
                  </a:lnTo>
                  <a:lnTo>
                    <a:pt x="318" y="201"/>
                  </a:lnTo>
                  <a:lnTo>
                    <a:pt x="312" y="205"/>
                  </a:lnTo>
                  <a:lnTo>
                    <a:pt x="311" y="206"/>
                  </a:lnTo>
                  <a:lnTo>
                    <a:pt x="308" y="209"/>
                  </a:lnTo>
                  <a:lnTo>
                    <a:pt x="306" y="210"/>
                  </a:lnTo>
                  <a:lnTo>
                    <a:pt x="305" y="211"/>
                  </a:lnTo>
                  <a:lnTo>
                    <a:pt x="303" y="211"/>
                  </a:lnTo>
                  <a:lnTo>
                    <a:pt x="302" y="212"/>
                  </a:lnTo>
                  <a:lnTo>
                    <a:pt x="300" y="212"/>
                  </a:lnTo>
                  <a:lnTo>
                    <a:pt x="297" y="212"/>
                  </a:lnTo>
                  <a:lnTo>
                    <a:pt x="293" y="211"/>
                  </a:lnTo>
                  <a:lnTo>
                    <a:pt x="291" y="210"/>
                  </a:lnTo>
                  <a:lnTo>
                    <a:pt x="288" y="209"/>
                  </a:lnTo>
                  <a:lnTo>
                    <a:pt x="285" y="208"/>
                  </a:lnTo>
                  <a:lnTo>
                    <a:pt x="277" y="204"/>
                  </a:lnTo>
                  <a:lnTo>
                    <a:pt x="274" y="202"/>
                  </a:lnTo>
                  <a:lnTo>
                    <a:pt x="268" y="200"/>
                  </a:lnTo>
                  <a:lnTo>
                    <a:pt x="264" y="198"/>
                  </a:lnTo>
                  <a:lnTo>
                    <a:pt x="262" y="198"/>
                  </a:lnTo>
                  <a:lnTo>
                    <a:pt x="260" y="198"/>
                  </a:lnTo>
                  <a:lnTo>
                    <a:pt x="258" y="198"/>
                  </a:lnTo>
                  <a:lnTo>
                    <a:pt x="257" y="198"/>
                  </a:lnTo>
                  <a:lnTo>
                    <a:pt x="255" y="198"/>
                  </a:lnTo>
                  <a:lnTo>
                    <a:pt x="254" y="199"/>
                  </a:lnTo>
                  <a:lnTo>
                    <a:pt x="253" y="199"/>
                  </a:lnTo>
                  <a:lnTo>
                    <a:pt x="253" y="200"/>
                  </a:lnTo>
                  <a:lnTo>
                    <a:pt x="253" y="200"/>
                  </a:lnTo>
                  <a:lnTo>
                    <a:pt x="253" y="200"/>
                  </a:lnTo>
                  <a:lnTo>
                    <a:pt x="252" y="200"/>
                  </a:lnTo>
                  <a:lnTo>
                    <a:pt x="251" y="199"/>
                  </a:lnTo>
                  <a:lnTo>
                    <a:pt x="250" y="199"/>
                  </a:lnTo>
                  <a:lnTo>
                    <a:pt x="248" y="199"/>
                  </a:lnTo>
                  <a:lnTo>
                    <a:pt x="245" y="198"/>
                  </a:lnTo>
                  <a:lnTo>
                    <a:pt x="239" y="198"/>
                  </a:lnTo>
                  <a:lnTo>
                    <a:pt x="234" y="199"/>
                  </a:lnTo>
                  <a:lnTo>
                    <a:pt x="232" y="199"/>
                  </a:lnTo>
                  <a:lnTo>
                    <a:pt x="228" y="200"/>
                  </a:lnTo>
                  <a:lnTo>
                    <a:pt x="225" y="202"/>
                  </a:lnTo>
                  <a:lnTo>
                    <a:pt x="223" y="203"/>
                  </a:lnTo>
                  <a:lnTo>
                    <a:pt x="223" y="204"/>
                  </a:lnTo>
                  <a:lnTo>
                    <a:pt x="221" y="204"/>
                  </a:lnTo>
                  <a:lnTo>
                    <a:pt x="218" y="207"/>
                  </a:lnTo>
                  <a:lnTo>
                    <a:pt x="217" y="209"/>
                  </a:lnTo>
                  <a:lnTo>
                    <a:pt x="215" y="210"/>
                  </a:lnTo>
                  <a:lnTo>
                    <a:pt x="212" y="212"/>
                  </a:lnTo>
                  <a:lnTo>
                    <a:pt x="211" y="213"/>
                  </a:lnTo>
                  <a:lnTo>
                    <a:pt x="209" y="214"/>
                  </a:lnTo>
                  <a:lnTo>
                    <a:pt x="207" y="215"/>
                  </a:lnTo>
                  <a:lnTo>
                    <a:pt x="202" y="215"/>
                  </a:lnTo>
                  <a:lnTo>
                    <a:pt x="199" y="216"/>
                  </a:lnTo>
                  <a:lnTo>
                    <a:pt x="196" y="218"/>
                  </a:lnTo>
                  <a:lnTo>
                    <a:pt x="193" y="220"/>
                  </a:lnTo>
                  <a:lnTo>
                    <a:pt x="191" y="221"/>
                  </a:lnTo>
                  <a:lnTo>
                    <a:pt x="186" y="226"/>
                  </a:lnTo>
                  <a:lnTo>
                    <a:pt x="172" y="236"/>
                  </a:lnTo>
                  <a:lnTo>
                    <a:pt x="170" y="238"/>
                  </a:lnTo>
                  <a:lnTo>
                    <a:pt x="168" y="238"/>
                  </a:lnTo>
                  <a:lnTo>
                    <a:pt x="166" y="239"/>
                  </a:lnTo>
                  <a:lnTo>
                    <a:pt x="164" y="240"/>
                  </a:lnTo>
                  <a:lnTo>
                    <a:pt x="158" y="242"/>
                  </a:lnTo>
                  <a:lnTo>
                    <a:pt x="152" y="245"/>
                  </a:lnTo>
                  <a:lnTo>
                    <a:pt x="147" y="247"/>
                  </a:lnTo>
                  <a:lnTo>
                    <a:pt x="143" y="248"/>
                  </a:lnTo>
                  <a:lnTo>
                    <a:pt x="141" y="248"/>
                  </a:lnTo>
                  <a:lnTo>
                    <a:pt x="132" y="249"/>
                  </a:lnTo>
                  <a:lnTo>
                    <a:pt x="130" y="250"/>
                  </a:lnTo>
                  <a:lnTo>
                    <a:pt x="129" y="251"/>
                  </a:lnTo>
                  <a:lnTo>
                    <a:pt x="127" y="252"/>
                  </a:lnTo>
                  <a:lnTo>
                    <a:pt x="126" y="253"/>
                  </a:lnTo>
                  <a:lnTo>
                    <a:pt x="125" y="254"/>
                  </a:lnTo>
                  <a:lnTo>
                    <a:pt x="124" y="256"/>
                  </a:lnTo>
                  <a:lnTo>
                    <a:pt x="122" y="259"/>
                  </a:lnTo>
                  <a:lnTo>
                    <a:pt x="119" y="264"/>
                  </a:lnTo>
                  <a:lnTo>
                    <a:pt x="118" y="267"/>
                  </a:lnTo>
                  <a:lnTo>
                    <a:pt x="117" y="268"/>
                  </a:lnTo>
                  <a:lnTo>
                    <a:pt x="116" y="268"/>
                  </a:lnTo>
                  <a:lnTo>
                    <a:pt x="115" y="269"/>
                  </a:lnTo>
                  <a:lnTo>
                    <a:pt x="114" y="269"/>
                  </a:lnTo>
                  <a:lnTo>
                    <a:pt x="113" y="270"/>
                  </a:lnTo>
                  <a:lnTo>
                    <a:pt x="111" y="270"/>
                  </a:lnTo>
                  <a:lnTo>
                    <a:pt x="108" y="270"/>
                  </a:lnTo>
                  <a:lnTo>
                    <a:pt x="105" y="270"/>
                  </a:lnTo>
                  <a:lnTo>
                    <a:pt x="102" y="270"/>
                  </a:lnTo>
                  <a:lnTo>
                    <a:pt x="94" y="269"/>
                  </a:lnTo>
                  <a:lnTo>
                    <a:pt x="89" y="268"/>
                  </a:lnTo>
                  <a:lnTo>
                    <a:pt x="86" y="268"/>
                  </a:lnTo>
                  <a:lnTo>
                    <a:pt x="85" y="267"/>
                  </a:lnTo>
                  <a:lnTo>
                    <a:pt x="84" y="266"/>
                  </a:lnTo>
                  <a:lnTo>
                    <a:pt x="82" y="265"/>
                  </a:lnTo>
                  <a:lnTo>
                    <a:pt x="80" y="264"/>
                  </a:lnTo>
                  <a:lnTo>
                    <a:pt x="79" y="263"/>
                  </a:lnTo>
                  <a:lnTo>
                    <a:pt x="77" y="262"/>
                  </a:lnTo>
                  <a:lnTo>
                    <a:pt x="76" y="261"/>
                  </a:lnTo>
                  <a:lnTo>
                    <a:pt x="75" y="260"/>
                  </a:lnTo>
                  <a:lnTo>
                    <a:pt x="75" y="259"/>
                  </a:lnTo>
                  <a:lnTo>
                    <a:pt x="74" y="257"/>
                  </a:lnTo>
                  <a:lnTo>
                    <a:pt x="74" y="256"/>
                  </a:lnTo>
                  <a:lnTo>
                    <a:pt x="74" y="254"/>
                  </a:lnTo>
                  <a:lnTo>
                    <a:pt x="74" y="252"/>
                  </a:lnTo>
                  <a:lnTo>
                    <a:pt x="75" y="250"/>
                  </a:lnTo>
                  <a:lnTo>
                    <a:pt x="76" y="246"/>
                  </a:lnTo>
                  <a:lnTo>
                    <a:pt x="76" y="245"/>
                  </a:lnTo>
                  <a:lnTo>
                    <a:pt x="76" y="243"/>
                  </a:lnTo>
                  <a:lnTo>
                    <a:pt x="76" y="242"/>
                  </a:lnTo>
                  <a:lnTo>
                    <a:pt x="76" y="241"/>
                  </a:lnTo>
                  <a:lnTo>
                    <a:pt x="75" y="240"/>
                  </a:lnTo>
                  <a:lnTo>
                    <a:pt x="75" y="238"/>
                  </a:lnTo>
                  <a:lnTo>
                    <a:pt x="75" y="238"/>
                  </a:lnTo>
                  <a:lnTo>
                    <a:pt x="74" y="237"/>
                  </a:lnTo>
                  <a:lnTo>
                    <a:pt x="74" y="235"/>
                  </a:lnTo>
                  <a:lnTo>
                    <a:pt x="75" y="230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4" y="225"/>
                  </a:lnTo>
                  <a:lnTo>
                    <a:pt x="74" y="224"/>
                  </a:lnTo>
                  <a:lnTo>
                    <a:pt x="73" y="223"/>
                  </a:lnTo>
                  <a:lnTo>
                    <a:pt x="73" y="221"/>
                  </a:lnTo>
                  <a:lnTo>
                    <a:pt x="72" y="220"/>
                  </a:lnTo>
                  <a:lnTo>
                    <a:pt x="70" y="219"/>
                  </a:lnTo>
                  <a:lnTo>
                    <a:pt x="68" y="218"/>
                  </a:lnTo>
                  <a:lnTo>
                    <a:pt x="63" y="216"/>
                  </a:lnTo>
                  <a:lnTo>
                    <a:pt x="61" y="215"/>
                  </a:lnTo>
                  <a:lnTo>
                    <a:pt x="59" y="214"/>
                  </a:lnTo>
                  <a:lnTo>
                    <a:pt x="57" y="213"/>
                  </a:lnTo>
                  <a:lnTo>
                    <a:pt x="55" y="211"/>
                  </a:lnTo>
                  <a:lnTo>
                    <a:pt x="54" y="209"/>
                  </a:lnTo>
                  <a:lnTo>
                    <a:pt x="53" y="208"/>
                  </a:lnTo>
                  <a:lnTo>
                    <a:pt x="52" y="206"/>
                  </a:lnTo>
                  <a:lnTo>
                    <a:pt x="52" y="205"/>
                  </a:lnTo>
                  <a:lnTo>
                    <a:pt x="52" y="204"/>
                  </a:lnTo>
                  <a:lnTo>
                    <a:pt x="52" y="203"/>
                  </a:lnTo>
                  <a:lnTo>
                    <a:pt x="52" y="201"/>
                  </a:lnTo>
                  <a:lnTo>
                    <a:pt x="52" y="199"/>
                  </a:lnTo>
                  <a:lnTo>
                    <a:pt x="52" y="198"/>
                  </a:lnTo>
                  <a:lnTo>
                    <a:pt x="53" y="194"/>
                  </a:lnTo>
                  <a:lnTo>
                    <a:pt x="54" y="193"/>
                  </a:lnTo>
                  <a:lnTo>
                    <a:pt x="54" y="191"/>
                  </a:lnTo>
                  <a:lnTo>
                    <a:pt x="54" y="190"/>
                  </a:lnTo>
                  <a:lnTo>
                    <a:pt x="54" y="188"/>
                  </a:lnTo>
                  <a:lnTo>
                    <a:pt x="53" y="186"/>
                  </a:lnTo>
                  <a:lnTo>
                    <a:pt x="53" y="184"/>
                  </a:lnTo>
                  <a:lnTo>
                    <a:pt x="52" y="182"/>
                  </a:lnTo>
                  <a:lnTo>
                    <a:pt x="50" y="181"/>
                  </a:lnTo>
                  <a:lnTo>
                    <a:pt x="42" y="174"/>
                  </a:lnTo>
                  <a:lnTo>
                    <a:pt x="38" y="170"/>
                  </a:lnTo>
                  <a:lnTo>
                    <a:pt x="35" y="167"/>
                  </a:lnTo>
                  <a:lnTo>
                    <a:pt x="32" y="164"/>
                  </a:lnTo>
                  <a:lnTo>
                    <a:pt x="30" y="161"/>
                  </a:lnTo>
                  <a:lnTo>
                    <a:pt x="29" y="159"/>
                  </a:lnTo>
                  <a:lnTo>
                    <a:pt x="27" y="156"/>
                  </a:lnTo>
                  <a:lnTo>
                    <a:pt x="24" y="149"/>
                  </a:lnTo>
                  <a:lnTo>
                    <a:pt x="23" y="147"/>
                  </a:lnTo>
                  <a:lnTo>
                    <a:pt x="22" y="146"/>
                  </a:lnTo>
                  <a:lnTo>
                    <a:pt x="18" y="141"/>
                  </a:lnTo>
                  <a:lnTo>
                    <a:pt x="18" y="139"/>
                  </a:lnTo>
                  <a:lnTo>
                    <a:pt x="17" y="137"/>
                  </a:lnTo>
                  <a:lnTo>
                    <a:pt x="17" y="136"/>
                  </a:lnTo>
                  <a:lnTo>
                    <a:pt x="16" y="136"/>
                  </a:lnTo>
                  <a:lnTo>
                    <a:pt x="17" y="134"/>
                  </a:lnTo>
                  <a:lnTo>
                    <a:pt x="18" y="132"/>
                  </a:lnTo>
                  <a:lnTo>
                    <a:pt x="18" y="129"/>
                  </a:lnTo>
                  <a:lnTo>
                    <a:pt x="20" y="127"/>
                  </a:lnTo>
                  <a:lnTo>
                    <a:pt x="22" y="125"/>
                  </a:lnTo>
                  <a:lnTo>
                    <a:pt x="24" y="124"/>
                  </a:lnTo>
                  <a:lnTo>
                    <a:pt x="30" y="121"/>
                  </a:lnTo>
                  <a:lnTo>
                    <a:pt x="31" y="120"/>
                  </a:lnTo>
                  <a:lnTo>
                    <a:pt x="32" y="118"/>
                  </a:lnTo>
                  <a:lnTo>
                    <a:pt x="33" y="117"/>
                  </a:lnTo>
                  <a:lnTo>
                    <a:pt x="33" y="116"/>
                  </a:lnTo>
                  <a:lnTo>
                    <a:pt x="33" y="114"/>
                  </a:lnTo>
                  <a:lnTo>
                    <a:pt x="32" y="113"/>
                  </a:lnTo>
                  <a:lnTo>
                    <a:pt x="32" y="113"/>
                  </a:lnTo>
                  <a:lnTo>
                    <a:pt x="31" y="111"/>
                  </a:lnTo>
                  <a:lnTo>
                    <a:pt x="28" y="107"/>
                  </a:lnTo>
                  <a:lnTo>
                    <a:pt x="27" y="105"/>
                  </a:lnTo>
                  <a:lnTo>
                    <a:pt x="22" y="101"/>
                  </a:lnTo>
                  <a:lnTo>
                    <a:pt x="18" y="96"/>
                  </a:lnTo>
                  <a:lnTo>
                    <a:pt x="15" y="93"/>
                  </a:lnTo>
                  <a:lnTo>
                    <a:pt x="12" y="91"/>
                  </a:lnTo>
                  <a:lnTo>
                    <a:pt x="9" y="89"/>
                  </a:lnTo>
                  <a:lnTo>
                    <a:pt x="7" y="88"/>
                  </a:lnTo>
                  <a:lnTo>
                    <a:pt x="3" y="86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1" y="82"/>
                  </a:lnTo>
                  <a:lnTo>
                    <a:pt x="1" y="81"/>
                  </a:lnTo>
                  <a:lnTo>
                    <a:pt x="2" y="80"/>
                  </a:lnTo>
                  <a:lnTo>
                    <a:pt x="3" y="79"/>
                  </a:lnTo>
                  <a:lnTo>
                    <a:pt x="5" y="79"/>
                  </a:lnTo>
                  <a:lnTo>
                    <a:pt x="6" y="78"/>
                  </a:lnTo>
                  <a:lnTo>
                    <a:pt x="7" y="77"/>
                  </a:lnTo>
                  <a:lnTo>
                    <a:pt x="16" y="73"/>
                  </a:lnTo>
                  <a:lnTo>
                    <a:pt x="21" y="71"/>
                  </a:lnTo>
                  <a:lnTo>
                    <a:pt x="28" y="69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41" y="65"/>
                  </a:lnTo>
                  <a:lnTo>
                    <a:pt x="47" y="62"/>
                  </a:lnTo>
                  <a:lnTo>
                    <a:pt x="50" y="61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6" y="60"/>
                  </a:lnTo>
                  <a:lnTo>
                    <a:pt x="58" y="61"/>
                  </a:lnTo>
                  <a:lnTo>
                    <a:pt x="59" y="61"/>
                  </a:lnTo>
                  <a:lnTo>
                    <a:pt x="61" y="62"/>
                  </a:lnTo>
                  <a:lnTo>
                    <a:pt x="65" y="65"/>
                  </a:lnTo>
                  <a:lnTo>
                    <a:pt x="67" y="66"/>
                  </a:lnTo>
                  <a:lnTo>
                    <a:pt x="70" y="67"/>
                  </a:lnTo>
                  <a:lnTo>
                    <a:pt x="73" y="67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5" y="67"/>
                  </a:lnTo>
                  <a:lnTo>
                    <a:pt x="86" y="67"/>
                  </a:lnTo>
                  <a:lnTo>
                    <a:pt x="87" y="66"/>
                  </a:lnTo>
                  <a:lnTo>
                    <a:pt x="88" y="66"/>
                  </a:lnTo>
                  <a:lnTo>
                    <a:pt x="90" y="64"/>
                  </a:lnTo>
                  <a:lnTo>
                    <a:pt x="91" y="63"/>
                  </a:lnTo>
                  <a:lnTo>
                    <a:pt x="91" y="61"/>
                  </a:lnTo>
                  <a:lnTo>
                    <a:pt x="92" y="58"/>
                  </a:lnTo>
                  <a:lnTo>
                    <a:pt x="93" y="56"/>
                  </a:lnTo>
                  <a:lnTo>
                    <a:pt x="94" y="52"/>
                  </a:lnTo>
                  <a:lnTo>
                    <a:pt x="95" y="49"/>
                  </a:lnTo>
                  <a:lnTo>
                    <a:pt x="96" y="48"/>
                  </a:lnTo>
                  <a:lnTo>
                    <a:pt x="97" y="46"/>
                  </a:lnTo>
                  <a:lnTo>
                    <a:pt x="98" y="45"/>
                  </a:lnTo>
                  <a:lnTo>
                    <a:pt x="99" y="43"/>
                  </a:lnTo>
                  <a:lnTo>
                    <a:pt x="101" y="42"/>
                  </a:lnTo>
                  <a:lnTo>
                    <a:pt x="103" y="40"/>
                  </a:lnTo>
                  <a:lnTo>
                    <a:pt x="105" y="39"/>
                  </a:lnTo>
                  <a:lnTo>
                    <a:pt x="108" y="38"/>
                  </a:lnTo>
                  <a:lnTo>
                    <a:pt x="111" y="37"/>
                  </a:lnTo>
                  <a:lnTo>
                    <a:pt x="114" y="37"/>
                  </a:lnTo>
                  <a:lnTo>
                    <a:pt x="118" y="37"/>
                  </a:lnTo>
                  <a:lnTo>
                    <a:pt x="121" y="37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7"/>
                  </a:lnTo>
                  <a:lnTo>
                    <a:pt x="125" y="37"/>
                  </a:lnTo>
                  <a:lnTo>
                    <a:pt x="126" y="36"/>
                  </a:lnTo>
                  <a:lnTo>
                    <a:pt x="128" y="35"/>
                  </a:lnTo>
                  <a:lnTo>
                    <a:pt x="135" y="33"/>
                  </a:lnTo>
                  <a:lnTo>
                    <a:pt x="139" y="31"/>
                  </a:lnTo>
                  <a:lnTo>
                    <a:pt x="140" y="30"/>
                  </a:lnTo>
                  <a:lnTo>
                    <a:pt x="143" y="28"/>
                  </a:lnTo>
                  <a:lnTo>
                    <a:pt x="145" y="26"/>
                  </a:lnTo>
                  <a:lnTo>
                    <a:pt x="148" y="24"/>
                  </a:lnTo>
                  <a:lnTo>
                    <a:pt x="149" y="23"/>
                  </a:lnTo>
                  <a:lnTo>
                    <a:pt x="150" y="23"/>
                  </a:lnTo>
                  <a:lnTo>
                    <a:pt x="152" y="23"/>
                  </a:lnTo>
                  <a:lnTo>
                    <a:pt x="154" y="23"/>
                  </a:lnTo>
                  <a:lnTo>
                    <a:pt x="160" y="22"/>
                  </a:lnTo>
                  <a:lnTo>
                    <a:pt x="164" y="21"/>
                  </a:lnTo>
                  <a:lnTo>
                    <a:pt x="167" y="20"/>
                  </a:lnTo>
                  <a:lnTo>
                    <a:pt x="170" y="19"/>
                  </a:lnTo>
                  <a:lnTo>
                    <a:pt x="172" y="17"/>
                  </a:lnTo>
                  <a:lnTo>
                    <a:pt x="173" y="17"/>
                  </a:lnTo>
                  <a:lnTo>
                    <a:pt x="177" y="12"/>
                  </a:lnTo>
                  <a:lnTo>
                    <a:pt x="178" y="11"/>
                  </a:lnTo>
                  <a:lnTo>
                    <a:pt x="180" y="10"/>
                  </a:lnTo>
                  <a:lnTo>
                    <a:pt x="181" y="9"/>
                  </a:lnTo>
                  <a:lnTo>
                    <a:pt x="187" y="7"/>
                  </a:lnTo>
                  <a:lnTo>
                    <a:pt x="189" y="6"/>
                  </a:lnTo>
                  <a:lnTo>
                    <a:pt x="191" y="5"/>
                  </a:lnTo>
                  <a:lnTo>
                    <a:pt x="195" y="5"/>
                  </a:lnTo>
                  <a:lnTo>
                    <a:pt x="200" y="5"/>
                  </a:lnTo>
                  <a:lnTo>
                    <a:pt x="204" y="4"/>
                  </a:lnTo>
                  <a:lnTo>
                    <a:pt x="207" y="4"/>
                  </a:lnTo>
                  <a:lnTo>
                    <a:pt x="215" y="2"/>
                  </a:lnTo>
                  <a:lnTo>
                    <a:pt x="223" y="0"/>
                  </a:lnTo>
                  <a:lnTo>
                    <a:pt x="225" y="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3" name="Freeform 6">
              <a:extLst>
                <a:ext uri="{FF2B5EF4-FFF2-40B4-BE49-F238E27FC236}">
                  <a16:creationId xmlns:a16="http://schemas.microsoft.com/office/drawing/2014/main" id="{9C037909-EC79-4ACC-A3BE-7926DEA42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8" y="2331"/>
              <a:ext cx="641" cy="475"/>
            </a:xfrm>
            <a:custGeom>
              <a:avLst/>
              <a:gdLst>
                <a:gd name="T0" fmla="*/ 218 w 641"/>
                <a:gd name="T1" fmla="*/ 14 h 475"/>
                <a:gd name="T2" fmla="*/ 223 w 641"/>
                <a:gd name="T3" fmla="*/ 37 h 475"/>
                <a:gd name="T4" fmla="*/ 257 w 641"/>
                <a:gd name="T5" fmla="*/ 37 h 475"/>
                <a:gd name="T6" fmla="*/ 288 w 641"/>
                <a:gd name="T7" fmla="*/ 35 h 475"/>
                <a:gd name="T8" fmla="*/ 336 w 641"/>
                <a:gd name="T9" fmla="*/ 33 h 475"/>
                <a:gd name="T10" fmla="*/ 370 w 641"/>
                <a:gd name="T11" fmla="*/ 28 h 475"/>
                <a:gd name="T12" fmla="*/ 387 w 641"/>
                <a:gd name="T13" fmla="*/ 41 h 475"/>
                <a:gd name="T14" fmla="*/ 392 w 641"/>
                <a:gd name="T15" fmla="*/ 82 h 475"/>
                <a:gd name="T16" fmla="*/ 408 w 641"/>
                <a:gd name="T17" fmla="*/ 112 h 475"/>
                <a:gd name="T18" fmla="*/ 417 w 641"/>
                <a:gd name="T19" fmla="*/ 138 h 475"/>
                <a:gd name="T20" fmla="*/ 446 w 641"/>
                <a:gd name="T21" fmla="*/ 148 h 475"/>
                <a:gd name="T22" fmla="*/ 471 w 641"/>
                <a:gd name="T23" fmla="*/ 181 h 475"/>
                <a:gd name="T24" fmla="*/ 503 w 641"/>
                <a:gd name="T25" fmla="*/ 208 h 475"/>
                <a:gd name="T26" fmla="*/ 541 w 641"/>
                <a:gd name="T27" fmla="*/ 238 h 475"/>
                <a:gd name="T28" fmla="*/ 582 w 641"/>
                <a:gd name="T29" fmla="*/ 253 h 475"/>
                <a:gd name="T30" fmla="*/ 593 w 641"/>
                <a:gd name="T31" fmla="*/ 284 h 475"/>
                <a:gd name="T32" fmla="*/ 618 w 641"/>
                <a:gd name="T33" fmla="*/ 292 h 475"/>
                <a:gd name="T34" fmla="*/ 641 w 641"/>
                <a:gd name="T35" fmla="*/ 317 h 475"/>
                <a:gd name="T36" fmla="*/ 623 w 641"/>
                <a:gd name="T37" fmla="*/ 349 h 475"/>
                <a:gd name="T38" fmla="*/ 594 w 641"/>
                <a:gd name="T39" fmla="*/ 351 h 475"/>
                <a:gd name="T40" fmla="*/ 576 w 641"/>
                <a:gd name="T41" fmla="*/ 374 h 475"/>
                <a:gd name="T42" fmla="*/ 552 w 641"/>
                <a:gd name="T43" fmla="*/ 366 h 475"/>
                <a:gd name="T44" fmla="*/ 512 w 641"/>
                <a:gd name="T45" fmla="*/ 370 h 475"/>
                <a:gd name="T46" fmla="*/ 456 w 641"/>
                <a:gd name="T47" fmla="*/ 364 h 475"/>
                <a:gd name="T48" fmla="*/ 433 w 641"/>
                <a:gd name="T49" fmla="*/ 372 h 475"/>
                <a:gd name="T50" fmla="*/ 440 w 641"/>
                <a:gd name="T51" fmla="*/ 390 h 475"/>
                <a:gd name="T52" fmla="*/ 408 w 641"/>
                <a:gd name="T53" fmla="*/ 397 h 475"/>
                <a:gd name="T54" fmla="*/ 405 w 641"/>
                <a:gd name="T55" fmla="*/ 418 h 475"/>
                <a:gd name="T56" fmla="*/ 388 w 641"/>
                <a:gd name="T57" fmla="*/ 432 h 475"/>
                <a:gd name="T58" fmla="*/ 364 w 641"/>
                <a:gd name="T59" fmla="*/ 410 h 475"/>
                <a:gd name="T60" fmla="*/ 348 w 641"/>
                <a:gd name="T61" fmla="*/ 384 h 475"/>
                <a:gd name="T62" fmla="*/ 326 w 641"/>
                <a:gd name="T63" fmla="*/ 388 h 475"/>
                <a:gd name="T64" fmla="*/ 279 w 641"/>
                <a:gd name="T65" fmla="*/ 356 h 475"/>
                <a:gd name="T66" fmla="*/ 263 w 641"/>
                <a:gd name="T67" fmla="*/ 358 h 475"/>
                <a:gd name="T68" fmla="*/ 243 w 641"/>
                <a:gd name="T69" fmla="*/ 380 h 475"/>
                <a:gd name="T70" fmla="*/ 243 w 641"/>
                <a:gd name="T71" fmla="*/ 414 h 475"/>
                <a:gd name="T72" fmla="*/ 221 w 641"/>
                <a:gd name="T73" fmla="*/ 438 h 475"/>
                <a:gd name="T74" fmla="*/ 184 w 641"/>
                <a:gd name="T75" fmla="*/ 470 h 475"/>
                <a:gd name="T76" fmla="*/ 159 w 641"/>
                <a:gd name="T77" fmla="*/ 466 h 475"/>
                <a:gd name="T78" fmla="*/ 131 w 641"/>
                <a:gd name="T79" fmla="*/ 456 h 475"/>
                <a:gd name="T80" fmla="*/ 138 w 641"/>
                <a:gd name="T81" fmla="*/ 431 h 475"/>
                <a:gd name="T82" fmla="*/ 121 w 641"/>
                <a:gd name="T83" fmla="*/ 373 h 475"/>
                <a:gd name="T84" fmla="*/ 88 w 641"/>
                <a:gd name="T85" fmla="*/ 348 h 475"/>
                <a:gd name="T86" fmla="*/ 81 w 641"/>
                <a:gd name="T87" fmla="*/ 327 h 475"/>
                <a:gd name="T88" fmla="*/ 77 w 641"/>
                <a:gd name="T89" fmla="*/ 298 h 475"/>
                <a:gd name="T90" fmla="*/ 89 w 641"/>
                <a:gd name="T91" fmla="*/ 271 h 475"/>
                <a:gd name="T92" fmla="*/ 66 w 641"/>
                <a:gd name="T93" fmla="*/ 237 h 475"/>
                <a:gd name="T94" fmla="*/ 43 w 641"/>
                <a:gd name="T95" fmla="*/ 240 h 475"/>
                <a:gd name="T96" fmla="*/ 15 w 641"/>
                <a:gd name="T97" fmla="*/ 212 h 475"/>
                <a:gd name="T98" fmla="*/ 0 w 641"/>
                <a:gd name="T99" fmla="*/ 196 h 475"/>
                <a:gd name="T100" fmla="*/ 4 w 641"/>
                <a:gd name="T101" fmla="*/ 168 h 475"/>
                <a:gd name="T102" fmla="*/ 11 w 641"/>
                <a:gd name="T103" fmla="*/ 132 h 475"/>
                <a:gd name="T104" fmla="*/ 25 w 641"/>
                <a:gd name="T105" fmla="*/ 98 h 475"/>
                <a:gd name="T106" fmla="*/ 21 w 641"/>
                <a:gd name="T107" fmla="*/ 65 h 475"/>
                <a:gd name="T108" fmla="*/ 42 w 641"/>
                <a:gd name="T109" fmla="*/ 59 h 475"/>
                <a:gd name="T110" fmla="*/ 79 w 641"/>
                <a:gd name="T111" fmla="*/ 64 h 475"/>
                <a:gd name="T112" fmla="*/ 96 w 641"/>
                <a:gd name="T113" fmla="*/ 37 h 475"/>
                <a:gd name="T114" fmla="*/ 127 w 641"/>
                <a:gd name="T115" fmla="*/ 33 h 475"/>
                <a:gd name="T116" fmla="*/ 156 w 641"/>
                <a:gd name="T117" fmla="*/ 35 h 475"/>
                <a:gd name="T118" fmla="*/ 182 w 641"/>
                <a:gd name="T119" fmla="*/ 36 h 475"/>
                <a:gd name="T120" fmla="*/ 195 w 641"/>
                <a:gd name="T121" fmla="*/ 26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41" h="475">
                  <a:moveTo>
                    <a:pt x="194" y="0"/>
                  </a:moveTo>
                  <a:lnTo>
                    <a:pt x="196" y="0"/>
                  </a:lnTo>
                  <a:lnTo>
                    <a:pt x="199" y="1"/>
                  </a:lnTo>
                  <a:lnTo>
                    <a:pt x="203" y="2"/>
                  </a:lnTo>
                  <a:lnTo>
                    <a:pt x="207" y="3"/>
                  </a:lnTo>
                  <a:lnTo>
                    <a:pt x="208" y="4"/>
                  </a:lnTo>
                  <a:lnTo>
                    <a:pt x="211" y="6"/>
                  </a:lnTo>
                  <a:lnTo>
                    <a:pt x="213" y="8"/>
                  </a:lnTo>
                  <a:lnTo>
                    <a:pt x="215" y="10"/>
                  </a:lnTo>
                  <a:lnTo>
                    <a:pt x="216" y="11"/>
                  </a:lnTo>
                  <a:lnTo>
                    <a:pt x="217" y="13"/>
                  </a:lnTo>
                  <a:lnTo>
                    <a:pt x="218" y="14"/>
                  </a:lnTo>
                  <a:lnTo>
                    <a:pt x="218" y="15"/>
                  </a:lnTo>
                  <a:lnTo>
                    <a:pt x="218" y="17"/>
                  </a:lnTo>
                  <a:lnTo>
                    <a:pt x="218" y="22"/>
                  </a:lnTo>
                  <a:lnTo>
                    <a:pt x="217" y="28"/>
                  </a:lnTo>
                  <a:lnTo>
                    <a:pt x="218" y="30"/>
                  </a:lnTo>
                  <a:lnTo>
                    <a:pt x="218" y="32"/>
                  </a:lnTo>
                  <a:lnTo>
                    <a:pt x="218" y="34"/>
                  </a:lnTo>
                  <a:lnTo>
                    <a:pt x="219" y="35"/>
                  </a:lnTo>
                  <a:lnTo>
                    <a:pt x="219" y="36"/>
                  </a:lnTo>
                  <a:lnTo>
                    <a:pt x="221" y="37"/>
                  </a:lnTo>
                  <a:lnTo>
                    <a:pt x="222" y="37"/>
                  </a:lnTo>
                  <a:lnTo>
                    <a:pt x="223" y="37"/>
                  </a:lnTo>
                  <a:lnTo>
                    <a:pt x="225" y="38"/>
                  </a:lnTo>
                  <a:lnTo>
                    <a:pt x="226" y="38"/>
                  </a:lnTo>
                  <a:lnTo>
                    <a:pt x="229" y="38"/>
                  </a:lnTo>
                  <a:lnTo>
                    <a:pt x="232" y="38"/>
                  </a:lnTo>
                  <a:lnTo>
                    <a:pt x="235" y="37"/>
                  </a:lnTo>
                  <a:lnTo>
                    <a:pt x="240" y="37"/>
                  </a:lnTo>
                  <a:lnTo>
                    <a:pt x="242" y="37"/>
                  </a:lnTo>
                  <a:lnTo>
                    <a:pt x="244" y="36"/>
                  </a:lnTo>
                  <a:lnTo>
                    <a:pt x="247" y="37"/>
                  </a:lnTo>
                  <a:lnTo>
                    <a:pt x="252" y="37"/>
                  </a:lnTo>
                  <a:lnTo>
                    <a:pt x="255" y="37"/>
                  </a:lnTo>
                  <a:lnTo>
                    <a:pt x="257" y="37"/>
                  </a:lnTo>
                  <a:lnTo>
                    <a:pt x="263" y="40"/>
                  </a:lnTo>
                  <a:lnTo>
                    <a:pt x="267" y="41"/>
                  </a:lnTo>
                  <a:lnTo>
                    <a:pt x="269" y="41"/>
                  </a:lnTo>
                  <a:lnTo>
                    <a:pt x="271" y="41"/>
                  </a:lnTo>
                  <a:lnTo>
                    <a:pt x="272" y="41"/>
                  </a:lnTo>
                  <a:lnTo>
                    <a:pt x="274" y="41"/>
                  </a:lnTo>
                  <a:lnTo>
                    <a:pt x="277" y="40"/>
                  </a:lnTo>
                  <a:lnTo>
                    <a:pt x="278" y="40"/>
                  </a:lnTo>
                  <a:lnTo>
                    <a:pt x="280" y="39"/>
                  </a:lnTo>
                  <a:lnTo>
                    <a:pt x="282" y="38"/>
                  </a:lnTo>
                  <a:lnTo>
                    <a:pt x="286" y="36"/>
                  </a:lnTo>
                  <a:lnTo>
                    <a:pt x="288" y="35"/>
                  </a:lnTo>
                  <a:lnTo>
                    <a:pt x="293" y="32"/>
                  </a:lnTo>
                  <a:lnTo>
                    <a:pt x="298" y="30"/>
                  </a:lnTo>
                  <a:lnTo>
                    <a:pt x="300" y="29"/>
                  </a:lnTo>
                  <a:lnTo>
                    <a:pt x="302" y="28"/>
                  </a:lnTo>
                  <a:lnTo>
                    <a:pt x="305" y="28"/>
                  </a:lnTo>
                  <a:lnTo>
                    <a:pt x="307" y="28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24" y="30"/>
                  </a:lnTo>
                  <a:lnTo>
                    <a:pt x="328" y="31"/>
                  </a:lnTo>
                  <a:lnTo>
                    <a:pt x="332" y="32"/>
                  </a:lnTo>
                  <a:lnTo>
                    <a:pt x="336" y="33"/>
                  </a:lnTo>
                  <a:lnTo>
                    <a:pt x="339" y="34"/>
                  </a:lnTo>
                  <a:lnTo>
                    <a:pt x="343" y="35"/>
                  </a:lnTo>
                  <a:lnTo>
                    <a:pt x="345" y="36"/>
                  </a:lnTo>
                  <a:lnTo>
                    <a:pt x="347" y="37"/>
                  </a:lnTo>
                  <a:lnTo>
                    <a:pt x="348" y="37"/>
                  </a:lnTo>
                  <a:lnTo>
                    <a:pt x="351" y="37"/>
                  </a:lnTo>
                  <a:lnTo>
                    <a:pt x="354" y="36"/>
                  </a:lnTo>
                  <a:lnTo>
                    <a:pt x="356" y="35"/>
                  </a:lnTo>
                  <a:lnTo>
                    <a:pt x="360" y="34"/>
                  </a:lnTo>
                  <a:lnTo>
                    <a:pt x="364" y="32"/>
                  </a:lnTo>
                  <a:lnTo>
                    <a:pt x="366" y="30"/>
                  </a:lnTo>
                  <a:lnTo>
                    <a:pt x="370" y="28"/>
                  </a:lnTo>
                  <a:lnTo>
                    <a:pt x="372" y="26"/>
                  </a:lnTo>
                  <a:lnTo>
                    <a:pt x="377" y="23"/>
                  </a:lnTo>
                  <a:lnTo>
                    <a:pt x="378" y="23"/>
                  </a:lnTo>
                  <a:lnTo>
                    <a:pt x="379" y="24"/>
                  </a:lnTo>
                  <a:lnTo>
                    <a:pt x="381" y="25"/>
                  </a:lnTo>
                  <a:lnTo>
                    <a:pt x="382" y="26"/>
                  </a:lnTo>
                  <a:lnTo>
                    <a:pt x="383" y="28"/>
                  </a:lnTo>
                  <a:lnTo>
                    <a:pt x="384" y="30"/>
                  </a:lnTo>
                  <a:lnTo>
                    <a:pt x="384" y="32"/>
                  </a:lnTo>
                  <a:lnTo>
                    <a:pt x="386" y="37"/>
                  </a:lnTo>
                  <a:lnTo>
                    <a:pt x="386" y="39"/>
                  </a:lnTo>
                  <a:lnTo>
                    <a:pt x="387" y="41"/>
                  </a:lnTo>
                  <a:lnTo>
                    <a:pt x="387" y="43"/>
                  </a:lnTo>
                  <a:lnTo>
                    <a:pt x="387" y="49"/>
                  </a:lnTo>
                  <a:lnTo>
                    <a:pt x="387" y="50"/>
                  </a:lnTo>
                  <a:lnTo>
                    <a:pt x="387" y="52"/>
                  </a:lnTo>
                  <a:lnTo>
                    <a:pt x="388" y="57"/>
                  </a:lnTo>
                  <a:lnTo>
                    <a:pt x="388" y="59"/>
                  </a:lnTo>
                  <a:lnTo>
                    <a:pt x="389" y="73"/>
                  </a:lnTo>
                  <a:lnTo>
                    <a:pt x="389" y="75"/>
                  </a:lnTo>
                  <a:lnTo>
                    <a:pt x="389" y="77"/>
                  </a:lnTo>
                  <a:lnTo>
                    <a:pt x="390" y="79"/>
                  </a:lnTo>
                  <a:lnTo>
                    <a:pt x="390" y="80"/>
                  </a:lnTo>
                  <a:lnTo>
                    <a:pt x="392" y="82"/>
                  </a:lnTo>
                  <a:lnTo>
                    <a:pt x="395" y="84"/>
                  </a:lnTo>
                  <a:lnTo>
                    <a:pt x="396" y="86"/>
                  </a:lnTo>
                  <a:lnTo>
                    <a:pt x="398" y="88"/>
                  </a:lnTo>
                  <a:lnTo>
                    <a:pt x="399" y="89"/>
                  </a:lnTo>
                  <a:lnTo>
                    <a:pt x="399" y="92"/>
                  </a:lnTo>
                  <a:lnTo>
                    <a:pt x="400" y="94"/>
                  </a:lnTo>
                  <a:lnTo>
                    <a:pt x="400" y="96"/>
                  </a:lnTo>
                  <a:lnTo>
                    <a:pt x="401" y="101"/>
                  </a:lnTo>
                  <a:lnTo>
                    <a:pt x="401" y="102"/>
                  </a:lnTo>
                  <a:lnTo>
                    <a:pt x="402" y="104"/>
                  </a:lnTo>
                  <a:lnTo>
                    <a:pt x="403" y="105"/>
                  </a:lnTo>
                  <a:lnTo>
                    <a:pt x="408" y="112"/>
                  </a:lnTo>
                  <a:lnTo>
                    <a:pt x="409" y="113"/>
                  </a:lnTo>
                  <a:lnTo>
                    <a:pt x="409" y="114"/>
                  </a:lnTo>
                  <a:lnTo>
                    <a:pt x="410" y="115"/>
                  </a:lnTo>
                  <a:lnTo>
                    <a:pt x="410" y="117"/>
                  </a:lnTo>
                  <a:lnTo>
                    <a:pt x="410" y="121"/>
                  </a:lnTo>
                  <a:lnTo>
                    <a:pt x="410" y="123"/>
                  </a:lnTo>
                  <a:lnTo>
                    <a:pt x="411" y="125"/>
                  </a:lnTo>
                  <a:lnTo>
                    <a:pt x="412" y="129"/>
                  </a:lnTo>
                  <a:lnTo>
                    <a:pt x="413" y="132"/>
                  </a:lnTo>
                  <a:lnTo>
                    <a:pt x="414" y="134"/>
                  </a:lnTo>
                  <a:lnTo>
                    <a:pt x="415" y="136"/>
                  </a:lnTo>
                  <a:lnTo>
                    <a:pt x="417" y="138"/>
                  </a:lnTo>
                  <a:lnTo>
                    <a:pt x="418" y="139"/>
                  </a:lnTo>
                  <a:lnTo>
                    <a:pt x="420" y="140"/>
                  </a:lnTo>
                  <a:lnTo>
                    <a:pt x="422" y="141"/>
                  </a:lnTo>
                  <a:lnTo>
                    <a:pt x="423" y="141"/>
                  </a:lnTo>
                  <a:lnTo>
                    <a:pt x="424" y="142"/>
                  </a:lnTo>
                  <a:lnTo>
                    <a:pt x="426" y="142"/>
                  </a:lnTo>
                  <a:lnTo>
                    <a:pt x="434" y="143"/>
                  </a:lnTo>
                  <a:lnTo>
                    <a:pt x="437" y="144"/>
                  </a:lnTo>
                  <a:lnTo>
                    <a:pt x="441" y="145"/>
                  </a:lnTo>
                  <a:lnTo>
                    <a:pt x="443" y="146"/>
                  </a:lnTo>
                  <a:lnTo>
                    <a:pt x="445" y="147"/>
                  </a:lnTo>
                  <a:lnTo>
                    <a:pt x="446" y="148"/>
                  </a:lnTo>
                  <a:lnTo>
                    <a:pt x="447" y="149"/>
                  </a:lnTo>
                  <a:lnTo>
                    <a:pt x="448" y="150"/>
                  </a:lnTo>
                  <a:lnTo>
                    <a:pt x="449" y="151"/>
                  </a:lnTo>
                  <a:lnTo>
                    <a:pt x="450" y="152"/>
                  </a:lnTo>
                  <a:lnTo>
                    <a:pt x="451" y="155"/>
                  </a:lnTo>
                  <a:lnTo>
                    <a:pt x="453" y="160"/>
                  </a:lnTo>
                  <a:lnTo>
                    <a:pt x="453" y="161"/>
                  </a:lnTo>
                  <a:lnTo>
                    <a:pt x="454" y="162"/>
                  </a:lnTo>
                  <a:lnTo>
                    <a:pt x="458" y="168"/>
                  </a:lnTo>
                  <a:lnTo>
                    <a:pt x="466" y="176"/>
                  </a:lnTo>
                  <a:lnTo>
                    <a:pt x="468" y="178"/>
                  </a:lnTo>
                  <a:lnTo>
                    <a:pt x="471" y="181"/>
                  </a:lnTo>
                  <a:lnTo>
                    <a:pt x="473" y="182"/>
                  </a:lnTo>
                  <a:lnTo>
                    <a:pt x="474" y="183"/>
                  </a:lnTo>
                  <a:lnTo>
                    <a:pt x="477" y="186"/>
                  </a:lnTo>
                  <a:lnTo>
                    <a:pt x="478" y="187"/>
                  </a:lnTo>
                  <a:lnTo>
                    <a:pt x="482" y="192"/>
                  </a:lnTo>
                  <a:lnTo>
                    <a:pt x="487" y="196"/>
                  </a:lnTo>
                  <a:lnTo>
                    <a:pt x="488" y="196"/>
                  </a:lnTo>
                  <a:lnTo>
                    <a:pt x="491" y="198"/>
                  </a:lnTo>
                  <a:lnTo>
                    <a:pt x="498" y="203"/>
                  </a:lnTo>
                  <a:lnTo>
                    <a:pt x="500" y="205"/>
                  </a:lnTo>
                  <a:lnTo>
                    <a:pt x="502" y="207"/>
                  </a:lnTo>
                  <a:lnTo>
                    <a:pt x="503" y="208"/>
                  </a:lnTo>
                  <a:lnTo>
                    <a:pt x="506" y="212"/>
                  </a:lnTo>
                  <a:lnTo>
                    <a:pt x="507" y="214"/>
                  </a:lnTo>
                  <a:lnTo>
                    <a:pt x="509" y="216"/>
                  </a:lnTo>
                  <a:lnTo>
                    <a:pt x="511" y="217"/>
                  </a:lnTo>
                  <a:lnTo>
                    <a:pt x="514" y="219"/>
                  </a:lnTo>
                  <a:lnTo>
                    <a:pt x="524" y="227"/>
                  </a:lnTo>
                  <a:lnTo>
                    <a:pt x="525" y="228"/>
                  </a:lnTo>
                  <a:lnTo>
                    <a:pt x="527" y="230"/>
                  </a:lnTo>
                  <a:lnTo>
                    <a:pt x="529" y="231"/>
                  </a:lnTo>
                  <a:lnTo>
                    <a:pt x="533" y="234"/>
                  </a:lnTo>
                  <a:lnTo>
                    <a:pt x="537" y="236"/>
                  </a:lnTo>
                  <a:lnTo>
                    <a:pt x="541" y="238"/>
                  </a:lnTo>
                  <a:lnTo>
                    <a:pt x="548" y="241"/>
                  </a:lnTo>
                  <a:lnTo>
                    <a:pt x="551" y="241"/>
                  </a:lnTo>
                  <a:lnTo>
                    <a:pt x="554" y="241"/>
                  </a:lnTo>
                  <a:lnTo>
                    <a:pt x="559" y="242"/>
                  </a:lnTo>
                  <a:lnTo>
                    <a:pt x="567" y="244"/>
                  </a:lnTo>
                  <a:lnTo>
                    <a:pt x="569" y="244"/>
                  </a:lnTo>
                  <a:lnTo>
                    <a:pt x="570" y="245"/>
                  </a:lnTo>
                  <a:lnTo>
                    <a:pt x="572" y="246"/>
                  </a:lnTo>
                  <a:lnTo>
                    <a:pt x="573" y="246"/>
                  </a:lnTo>
                  <a:lnTo>
                    <a:pt x="578" y="251"/>
                  </a:lnTo>
                  <a:lnTo>
                    <a:pt x="580" y="252"/>
                  </a:lnTo>
                  <a:lnTo>
                    <a:pt x="582" y="253"/>
                  </a:lnTo>
                  <a:lnTo>
                    <a:pt x="583" y="254"/>
                  </a:lnTo>
                  <a:lnTo>
                    <a:pt x="585" y="254"/>
                  </a:lnTo>
                  <a:lnTo>
                    <a:pt x="587" y="255"/>
                  </a:lnTo>
                  <a:lnTo>
                    <a:pt x="588" y="254"/>
                  </a:lnTo>
                  <a:lnTo>
                    <a:pt x="588" y="255"/>
                  </a:lnTo>
                  <a:lnTo>
                    <a:pt x="588" y="256"/>
                  </a:lnTo>
                  <a:lnTo>
                    <a:pt x="589" y="268"/>
                  </a:lnTo>
                  <a:lnTo>
                    <a:pt x="590" y="275"/>
                  </a:lnTo>
                  <a:lnTo>
                    <a:pt x="591" y="277"/>
                  </a:lnTo>
                  <a:lnTo>
                    <a:pt x="591" y="280"/>
                  </a:lnTo>
                  <a:lnTo>
                    <a:pt x="592" y="282"/>
                  </a:lnTo>
                  <a:lnTo>
                    <a:pt x="593" y="284"/>
                  </a:lnTo>
                  <a:lnTo>
                    <a:pt x="593" y="285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6"/>
                  </a:lnTo>
                  <a:lnTo>
                    <a:pt x="601" y="286"/>
                  </a:lnTo>
                  <a:lnTo>
                    <a:pt x="603" y="287"/>
                  </a:lnTo>
                  <a:lnTo>
                    <a:pt x="605" y="287"/>
                  </a:lnTo>
                  <a:lnTo>
                    <a:pt x="609" y="290"/>
                  </a:lnTo>
                  <a:lnTo>
                    <a:pt x="611" y="291"/>
                  </a:lnTo>
                  <a:lnTo>
                    <a:pt x="612" y="291"/>
                  </a:lnTo>
                  <a:lnTo>
                    <a:pt x="614" y="291"/>
                  </a:lnTo>
                  <a:lnTo>
                    <a:pt x="618" y="292"/>
                  </a:lnTo>
                  <a:lnTo>
                    <a:pt x="621" y="292"/>
                  </a:lnTo>
                  <a:lnTo>
                    <a:pt x="624" y="293"/>
                  </a:lnTo>
                  <a:lnTo>
                    <a:pt x="627" y="293"/>
                  </a:lnTo>
                  <a:lnTo>
                    <a:pt x="628" y="294"/>
                  </a:lnTo>
                  <a:lnTo>
                    <a:pt x="629" y="295"/>
                  </a:lnTo>
                  <a:lnTo>
                    <a:pt x="631" y="297"/>
                  </a:lnTo>
                  <a:lnTo>
                    <a:pt x="632" y="298"/>
                  </a:lnTo>
                  <a:lnTo>
                    <a:pt x="635" y="304"/>
                  </a:lnTo>
                  <a:lnTo>
                    <a:pt x="638" y="309"/>
                  </a:lnTo>
                  <a:lnTo>
                    <a:pt x="639" y="311"/>
                  </a:lnTo>
                  <a:lnTo>
                    <a:pt x="640" y="315"/>
                  </a:lnTo>
                  <a:lnTo>
                    <a:pt x="641" y="317"/>
                  </a:lnTo>
                  <a:lnTo>
                    <a:pt x="641" y="318"/>
                  </a:lnTo>
                  <a:lnTo>
                    <a:pt x="641" y="320"/>
                  </a:lnTo>
                  <a:lnTo>
                    <a:pt x="641" y="321"/>
                  </a:lnTo>
                  <a:lnTo>
                    <a:pt x="641" y="333"/>
                  </a:lnTo>
                  <a:lnTo>
                    <a:pt x="640" y="336"/>
                  </a:lnTo>
                  <a:lnTo>
                    <a:pt x="639" y="341"/>
                  </a:lnTo>
                  <a:lnTo>
                    <a:pt x="639" y="340"/>
                  </a:lnTo>
                  <a:lnTo>
                    <a:pt x="639" y="341"/>
                  </a:lnTo>
                  <a:lnTo>
                    <a:pt x="631" y="345"/>
                  </a:lnTo>
                  <a:lnTo>
                    <a:pt x="627" y="347"/>
                  </a:lnTo>
                  <a:lnTo>
                    <a:pt x="626" y="348"/>
                  </a:lnTo>
                  <a:lnTo>
                    <a:pt x="623" y="349"/>
                  </a:lnTo>
                  <a:lnTo>
                    <a:pt x="621" y="350"/>
                  </a:lnTo>
                  <a:lnTo>
                    <a:pt x="619" y="351"/>
                  </a:lnTo>
                  <a:lnTo>
                    <a:pt x="616" y="351"/>
                  </a:lnTo>
                  <a:lnTo>
                    <a:pt x="615" y="352"/>
                  </a:lnTo>
                  <a:lnTo>
                    <a:pt x="612" y="352"/>
                  </a:lnTo>
                  <a:lnTo>
                    <a:pt x="609" y="352"/>
                  </a:lnTo>
                  <a:lnTo>
                    <a:pt x="606" y="352"/>
                  </a:lnTo>
                  <a:lnTo>
                    <a:pt x="601" y="350"/>
                  </a:lnTo>
                  <a:lnTo>
                    <a:pt x="598" y="350"/>
                  </a:lnTo>
                  <a:lnTo>
                    <a:pt x="596" y="350"/>
                  </a:lnTo>
                  <a:lnTo>
                    <a:pt x="595" y="350"/>
                  </a:lnTo>
                  <a:lnTo>
                    <a:pt x="594" y="351"/>
                  </a:lnTo>
                  <a:lnTo>
                    <a:pt x="593" y="351"/>
                  </a:lnTo>
                  <a:lnTo>
                    <a:pt x="592" y="352"/>
                  </a:lnTo>
                  <a:lnTo>
                    <a:pt x="591" y="353"/>
                  </a:lnTo>
                  <a:lnTo>
                    <a:pt x="587" y="355"/>
                  </a:lnTo>
                  <a:lnTo>
                    <a:pt x="585" y="357"/>
                  </a:lnTo>
                  <a:lnTo>
                    <a:pt x="584" y="358"/>
                  </a:lnTo>
                  <a:lnTo>
                    <a:pt x="584" y="359"/>
                  </a:lnTo>
                  <a:lnTo>
                    <a:pt x="582" y="366"/>
                  </a:lnTo>
                  <a:lnTo>
                    <a:pt x="580" y="369"/>
                  </a:lnTo>
                  <a:lnTo>
                    <a:pt x="578" y="372"/>
                  </a:lnTo>
                  <a:lnTo>
                    <a:pt x="577" y="373"/>
                  </a:lnTo>
                  <a:lnTo>
                    <a:pt x="576" y="374"/>
                  </a:lnTo>
                  <a:lnTo>
                    <a:pt x="576" y="375"/>
                  </a:lnTo>
                  <a:lnTo>
                    <a:pt x="575" y="375"/>
                  </a:lnTo>
                  <a:lnTo>
                    <a:pt x="574" y="375"/>
                  </a:lnTo>
                  <a:lnTo>
                    <a:pt x="573" y="375"/>
                  </a:lnTo>
                  <a:lnTo>
                    <a:pt x="572" y="375"/>
                  </a:lnTo>
                  <a:lnTo>
                    <a:pt x="570" y="374"/>
                  </a:lnTo>
                  <a:lnTo>
                    <a:pt x="569" y="373"/>
                  </a:lnTo>
                  <a:lnTo>
                    <a:pt x="564" y="370"/>
                  </a:lnTo>
                  <a:lnTo>
                    <a:pt x="562" y="369"/>
                  </a:lnTo>
                  <a:lnTo>
                    <a:pt x="560" y="368"/>
                  </a:lnTo>
                  <a:lnTo>
                    <a:pt x="558" y="367"/>
                  </a:lnTo>
                  <a:lnTo>
                    <a:pt x="552" y="366"/>
                  </a:lnTo>
                  <a:lnTo>
                    <a:pt x="549" y="366"/>
                  </a:lnTo>
                  <a:lnTo>
                    <a:pt x="546" y="364"/>
                  </a:lnTo>
                  <a:lnTo>
                    <a:pt x="540" y="362"/>
                  </a:lnTo>
                  <a:lnTo>
                    <a:pt x="539" y="361"/>
                  </a:lnTo>
                  <a:lnTo>
                    <a:pt x="538" y="361"/>
                  </a:lnTo>
                  <a:lnTo>
                    <a:pt x="537" y="361"/>
                  </a:lnTo>
                  <a:lnTo>
                    <a:pt x="536" y="361"/>
                  </a:lnTo>
                  <a:lnTo>
                    <a:pt x="534" y="362"/>
                  </a:lnTo>
                  <a:lnTo>
                    <a:pt x="533" y="362"/>
                  </a:lnTo>
                  <a:lnTo>
                    <a:pt x="518" y="367"/>
                  </a:lnTo>
                  <a:lnTo>
                    <a:pt x="514" y="369"/>
                  </a:lnTo>
                  <a:lnTo>
                    <a:pt x="512" y="370"/>
                  </a:lnTo>
                  <a:lnTo>
                    <a:pt x="507" y="371"/>
                  </a:lnTo>
                  <a:lnTo>
                    <a:pt x="504" y="372"/>
                  </a:lnTo>
                  <a:lnTo>
                    <a:pt x="499" y="372"/>
                  </a:lnTo>
                  <a:lnTo>
                    <a:pt x="495" y="372"/>
                  </a:lnTo>
                  <a:lnTo>
                    <a:pt x="493" y="372"/>
                  </a:lnTo>
                  <a:lnTo>
                    <a:pt x="491" y="372"/>
                  </a:lnTo>
                  <a:lnTo>
                    <a:pt x="473" y="369"/>
                  </a:lnTo>
                  <a:lnTo>
                    <a:pt x="469" y="368"/>
                  </a:lnTo>
                  <a:lnTo>
                    <a:pt x="466" y="367"/>
                  </a:lnTo>
                  <a:lnTo>
                    <a:pt x="462" y="366"/>
                  </a:lnTo>
                  <a:lnTo>
                    <a:pt x="457" y="365"/>
                  </a:lnTo>
                  <a:lnTo>
                    <a:pt x="456" y="364"/>
                  </a:lnTo>
                  <a:lnTo>
                    <a:pt x="454" y="362"/>
                  </a:lnTo>
                  <a:lnTo>
                    <a:pt x="452" y="360"/>
                  </a:lnTo>
                  <a:lnTo>
                    <a:pt x="451" y="360"/>
                  </a:lnTo>
                  <a:lnTo>
                    <a:pt x="449" y="360"/>
                  </a:lnTo>
                  <a:lnTo>
                    <a:pt x="445" y="361"/>
                  </a:lnTo>
                  <a:lnTo>
                    <a:pt x="443" y="363"/>
                  </a:lnTo>
                  <a:lnTo>
                    <a:pt x="440" y="364"/>
                  </a:lnTo>
                  <a:lnTo>
                    <a:pt x="437" y="365"/>
                  </a:lnTo>
                  <a:lnTo>
                    <a:pt x="436" y="366"/>
                  </a:lnTo>
                  <a:lnTo>
                    <a:pt x="434" y="368"/>
                  </a:lnTo>
                  <a:lnTo>
                    <a:pt x="434" y="370"/>
                  </a:lnTo>
                  <a:lnTo>
                    <a:pt x="433" y="372"/>
                  </a:lnTo>
                  <a:lnTo>
                    <a:pt x="433" y="373"/>
                  </a:lnTo>
                  <a:lnTo>
                    <a:pt x="433" y="374"/>
                  </a:lnTo>
                  <a:lnTo>
                    <a:pt x="434" y="375"/>
                  </a:lnTo>
                  <a:lnTo>
                    <a:pt x="434" y="377"/>
                  </a:lnTo>
                  <a:lnTo>
                    <a:pt x="437" y="380"/>
                  </a:lnTo>
                  <a:lnTo>
                    <a:pt x="439" y="383"/>
                  </a:lnTo>
                  <a:lnTo>
                    <a:pt x="440" y="385"/>
                  </a:lnTo>
                  <a:lnTo>
                    <a:pt x="441" y="387"/>
                  </a:lnTo>
                  <a:lnTo>
                    <a:pt x="441" y="388"/>
                  </a:lnTo>
                  <a:lnTo>
                    <a:pt x="441" y="388"/>
                  </a:lnTo>
                  <a:lnTo>
                    <a:pt x="441" y="389"/>
                  </a:lnTo>
                  <a:lnTo>
                    <a:pt x="440" y="390"/>
                  </a:lnTo>
                  <a:lnTo>
                    <a:pt x="439" y="391"/>
                  </a:lnTo>
                  <a:lnTo>
                    <a:pt x="437" y="392"/>
                  </a:lnTo>
                  <a:lnTo>
                    <a:pt x="435" y="393"/>
                  </a:lnTo>
                  <a:lnTo>
                    <a:pt x="433" y="393"/>
                  </a:lnTo>
                  <a:lnTo>
                    <a:pt x="431" y="394"/>
                  </a:lnTo>
                  <a:lnTo>
                    <a:pt x="428" y="394"/>
                  </a:lnTo>
                  <a:lnTo>
                    <a:pt x="423" y="394"/>
                  </a:lnTo>
                  <a:lnTo>
                    <a:pt x="417" y="395"/>
                  </a:lnTo>
                  <a:lnTo>
                    <a:pt x="411" y="395"/>
                  </a:lnTo>
                  <a:lnTo>
                    <a:pt x="410" y="396"/>
                  </a:lnTo>
                  <a:lnTo>
                    <a:pt x="409" y="396"/>
                  </a:lnTo>
                  <a:lnTo>
                    <a:pt x="408" y="397"/>
                  </a:lnTo>
                  <a:lnTo>
                    <a:pt x="407" y="397"/>
                  </a:lnTo>
                  <a:lnTo>
                    <a:pt x="407" y="399"/>
                  </a:lnTo>
                  <a:lnTo>
                    <a:pt x="406" y="400"/>
                  </a:lnTo>
                  <a:lnTo>
                    <a:pt x="405" y="403"/>
                  </a:lnTo>
                  <a:lnTo>
                    <a:pt x="405" y="405"/>
                  </a:lnTo>
                  <a:lnTo>
                    <a:pt x="405" y="407"/>
                  </a:lnTo>
                  <a:lnTo>
                    <a:pt x="405" y="408"/>
                  </a:lnTo>
                  <a:lnTo>
                    <a:pt x="406" y="411"/>
                  </a:lnTo>
                  <a:lnTo>
                    <a:pt x="406" y="413"/>
                  </a:lnTo>
                  <a:lnTo>
                    <a:pt x="406" y="415"/>
                  </a:lnTo>
                  <a:lnTo>
                    <a:pt x="406" y="417"/>
                  </a:lnTo>
                  <a:lnTo>
                    <a:pt x="405" y="418"/>
                  </a:lnTo>
                  <a:lnTo>
                    <a:pt x="404" y="420"/>
                  </a:lnTo>
                  <a:lnTo>
                    <a:pt x="401" y="423"/>
                  </a:lnTo>
                  <a:lnTo>
                    <a:pt x="400" y="425"/>
                  </a:lnTo>
                  <a:lnTo>
                    <a:pt x="400" y="426"/>
                  </a:lnTo>
                  <a:lnTo>
                    <a:pt x="400" y="428"/>
                  </a:lnTo>
                  <a:lnTo>
                    <a:pt x="400" y="429"/>
                  </a:lnTo>
                  <a:lnTo>
                    <a:pt x="396" y="431"/>
                  </a:lnTo>
                  <a:lnTo>
                    <a:pt x="395" y="431"/>
                  </a:lnTo>
                  <a:lnTo>
                    <a:pt x="393" y="431"/>
                  </a:lnTo>
                  <a:lnTo>
                    <a:pt x="391" y="432"/>
                  </a:lnTo>
                  <a:lnTo>
                    <a:pt x="389" y="432"/>
                  </a:lnTo>
                  <a:lnTo>
                    <a:pt x="388" y="432"/>
                  </a:lnTo>
                  <a:lnTo>
                    <a:pt x="386" y="432"/>
                  </a:lnTo>
                  <a:lnTo>
                    <a:pt x="385" y="432"/>
                  </a:lnTo>
                  <a:lnTo>
                    <a:pt x="382" y="431"/>
                  </a:lnTo>
                  <a:lnTo>
                    <a:pt x="381" y="430"/>
                  </a:lnTo>
                  <a:lnTo>
                    <a:pt x="379" y="430"/>
                  </a:lnTo>
                  <a:lnTo>
                    <a:pt x="377" y="428"/>
                  </a:lnTo>
                  <a:lnTo>
                    <a:pt x="375" y="427"/>
                  </a:lnTo>
                  <a:lnTo>
                    <a:pt x="374" y="426"/>
                  </a:lnTo>
                  <a:lnTo>
                    <a:pt x="372" y="424"/>
                  </a:lnTo>
                  <a:lnTo>
                    <a:pt x="371" y="422"/>
                  </a:lnTo>
                  <a:lnTo>
                    <a:pt x="367" y="416"/>
                  </a:lnTo>
                  <a:lnTo>
                    <a:pt x="364" y="410"/>
                  </a:lnTo>
                  <a:lnTo>
                    <a:pt x="361" y="402"/>
                  </a:lnTo>
                  <a:lnTo>
                    <a:pt x="358" y="398"/>
                  </a:lnTo>
                  <a:lnTo>
                    <a:pt x="356" y="395"/>
                  </a:lnTo>
                  <a:lnTo>
                    <a:pt x="354" y="390"/>
                  </a:lnTo>
                  <a:lnTo>
                    <a:pt x="354" y="388"/>
                  </a:lnTo>
                  <a:lnTo>
                    <a:pt x="354" y="387"/>
                  </a:lnTo>
                  <a:lnTo>
                    <a:pt x="353" y="386"/>
                  </a:lnTo>
                  <a:lnTo>
                    <a:pt x="352" y="386"/>
                  </a:lnTo>
                  <a:lnTo>
                    <a:pt x="352" y="385"/>
                  </a:lnTo>
                  <a:lnTo>
                    <a:pt x="350" y="384"/>
                  </a:lnTo>
                  <a:lnTo>
                    <a:pt x="349" y="384"/>
                  </a:lnTo>
                  <a:lnTo>
                    <a:pt x="348" y="384"/>
                  </a:lnTo>
                  <a:lnTo>
                    <a:pt x="347" y="384"/>
                  </a:lnTo>
                  <a:lnTo>
                    <a:pt x="344" y="385"/>
                  </a:lnTo>
                  <a:lnTo>
                    <a:pt x="343" y="386"/>
                  </a:lnTo>
                  <a:lnTo>
                    <a:pt x="340" y="388"/>
                  </a:lnTo>
                  <a:lnTo>
                    <a:pt x="337" y="390"/>
                  </a:lnTo>
                  <a:lnTo>
                    <a:pt x="335" y="390"/>
                  </a:lnTo>
                  <a:lnTo>
                    <a:pt x="334" y="391"/>
                  </a:lnTo>
                  <a:lnTo>
                    <a:pt x="333" y="391"/>
                  </a:lnTo>
                  <a:lnTo>
                    <a:pt x="332" y="390"/>
                  </a:lnTo>
                  <a:lnTo>
                    <a:pt x="331" y="390"/>
                  </a:lnTo>
                  <a:lnTo>
                    <a:pt x="329" y="389"/>
                  </a:lnTo>
                  <a:lnTo>
                    <a:pt x="326" y="388"/>
                  </a:lnTo>
                  <a:lnTo>
                    <a:pt x="324" y="387"/>
                  </a:lnTo>
                  <a:lnTo>
                    <a:pt x="322" y="385"/>
                  </a:lnTo>
                  <a:lnTo>
                    <a:pt x="319" y="382"/>
                  </a:lnTo>
                  <a:lnTo>
                    <a:pt x="313" y="377"/>
                  </a:lnTo>
                  <a:lnTo>
                    <a:pt x="310" y="375"/>
                  </a:lnTo>
                  <a:lnTo>
                    <a:pt x="308" y="372"/>
                  </a:lnTo>
                  <a:lnTo>
                    <a:pt x="304" y="370"/>
                  </a:lnTo>
                  <a:lnTo>
                    <a:pt x="301" y="367"/>
                  </a:lnTo>
                  <a:lnTo>
                    <a:pt x="298" y="366"/>
                  </a:lnTo>
                  <a:lnTo>
                    <a:pt x="285" y="360"/>
                  </a:lnTo>
                  <a:lnTo>
                    <a:pt x="281" y="358"/>
                  </a:lnTo>
                  <a:lnTo>
                    <a:pt x="279" y="356"/>
                  </a:lnTo>
                  <a:lnTo>
                    <a:pt x="278" y="356"/>
                  </a:lnTo>
                  <a:lnTo>
                    <a:pt x="278" y="355"/>
                  </a:lnTo>
                  <a:lnTo>
                    <a:pt x="278" y="354"/>
                  </a:lnTo>
                  <a:lnTo>
                    <a:pt x="277" y="354"/>
                  </a:lnTo>
                  <a:lnTo>
                    <a:pt x="276" y="354"/>
                  </a:lnTo>
                  <a:lnTo>
                    <a:pt x="275" y="353"/>
                  </a:lnTo>
                  <a:lnTo>
                    <a:pt x="275" y="353"/>
                  </a:lnTo>
                  <a:lnTo>
                    <a:pt x="274" y="353"/>
                  </a:lnTo>
                  <a:lnTo>
                    <a:pt x="273" y="354"/>
                  </a:lnTo>
                  <a:lnTo>
                    <a:pt x="270" y="354"/>
                  </a:lnTo>
                  <a:lnTo>
                    <a:pt x="266" y="356"/>
                  </a:lnTo>
                  <a:lnTo>
                    <a:pt x="263" y="358"/>
                  </a:lnTo>
                  <a:lnTo>
                    <a:pt x="260" y="361"/>
                  </a:lnTo>
                  <a:lnTo>
                    <a:pt x="257" y="363"/>
                  </a:lnTo>
                  <a:lnTo>
                    <a:pt x="255" y="366"/>
                  </a:lnTo>
                  <a:lnTo>
                    <a:pt x="252" y="368"/>
                  </a:lnTo>
                  <a:lnTo>
                    <a:pt x="252" y="370"/>
                  </a:lnTo>
                  <a:lnTo>
                    <a:pt x="251" y="371"/>
                  </a:lnTo>
                  <a:lnTo>
                    <a:pt x="248" y="374"/>
                  </a:lnTo>
                  <a:lnTo>
                    <a:pt x="247" y="374"/>
                  </a:lnTo>
                  <a:lnTo>
                    <a:pt x="245" y="376"/>
                  </a:lnTo>
                  <a:lnTo>
                    <a:pt x="244" y="377"/>
                  </a:lnTo>
                  <a:lnTo>
                    <a:pt x="244" y="378"/>
                  </a:lnTo>
                  <a:lnTo>
                    <a:pt x="243" y="380"/>
                  </a:lnTo>
                  <a:lnTo>
                    <a:pt x="243" y="382"/>
                  </a:lnTo>
                  <a:lnTo>
                    <a:pt x="243" y="385"/>
                  </a:lnTo>
                  <a:lnTo>
                    <a:pt x="243" y="388"/>
                  </a:lnTo>
                  <a:lnTo>
                    <a:pt x="242" y="389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9"/>
                  </a:lnTo>
                  <a:lnTo>
                    <a:pt x="240" y="401"/>
                  </a:lnTo>
                  <a:lnTo>
                    <a:pt x="241" y="403"/>
                  </a:lnTo>
                  <a:lnTo>
                    <a:pt x="241" y="406"/>
                  </a:lnTo>
                  <a:lnTo>
                    <a:pt x="241" y="410"/>
                  </a:lnTo>
                  <a:lnTo>
                    <a:pt x="243" y="414"/>
                  </a:lnTo>
                  <a:lnTo>
                    <a:pt x="244" y="420"/>
                  </a:lnTo>
                  <a:lnTo>
                    <a:pt x="245" y="422"/>
                  </a:lnTo>
                  <a:lnTo>
                    <a:pt x="245" y="424"/>
                  </a:lnTo>
                  <a:lnTo>
                    <a:pt x="245" y="425"/>
                  </a:lnTo>
                  <a:lnTo>
                    <a:pt x="244" y="427"/>
                  </a:lnTo>
                  <a:lnTo>
                    <a:pt x="243" y="428"/>
                  </a:lnTo>
                  <a:lnTo>
                    <a:pt x="242" y="429"/>
                  </a:lnTo>
                  <a:lnTo>
                    <a:pt x="241" y="431"/>
                  </a:lnTo>
                  <a:lnTo>
                    <a:pt x="238" y="433"/>
                  </a:lnTo>
                  <a:lnTo>
                    <a:pt x="234" y="434"/>
                  </a:lnTo>
                  <a:lnTo>
                    <a:pt x="229" y="435"/>
                  </a:lnTo>
                  <a:lnTo>
                    <a:pt x="221" y="438"/>
                  </a:lnTo>
                  <a:lnTo>
                    <a:pt x="219" y="438"/>
                  </a:lnTo>
                  <a:lnTo>
                    <a:pt x="218" y="439"/>
                  </a:lnTo>
                  <a:lnTo>
                    <a:pt x="215" y="441"/>
                  </a:lnTo>
                  <a:lnTo>
                    <a:pt x="210" y="445"/>
                  </a:lnTo>
                  <a:lnTo>
                    <a:pt x="205" y="448"/>
                  </a:lnTo>
                  <a:lnTo>
                    <a:pt x="197" y="455"/>
                  </a:lnTo>
                  <a:lnTo>
                    <a:pt x="195" y="456"/>
                  </a:lnTo>
                  <a:lnTo>
                    <a:pt x="193" y="458"/>
                  </a:lnTo>
                  <a:lnTo>
                    <a:pt x="190" y="461"/>
                  </a:lnTo>
                  <a:lnTo>
                    <a:pt x="187" y="465"/>
                  </a:lnTo>
                  <a:lnTo>
                    <a:pt x="186" y="467"/>
                  </a:lnTo>
                  <a:lnTo>
                    <a:pt x="184" y="470"/>
                  </a:lnTo>
                  <a:lnTo>
                    <a:pt x="183" y="472"/>
                  </a:lnTo>
                  <a:lnTo>
                    <a:pt x="182" y="474"/>
                  </a:lnTo>
                  <a:lnTo>
                    <a:pt x="180" y="475"/>
                  </a:lnTo>
                  <a:lnTo>
                    <a:pt x="179" y="475"/>
                  </a:lnTo>
                  <a:lnTo>
                    <a:pt x="178" y="475"/>
                  </a:lnTo>
                  <a:lnTo>
                    <a:pt x="176" y="475"/>
                  </a:lnTo>
                  <a:lnTo>
                    <a:pt x="175" y="475"/>
                  </a:lnTo>
                  <a:lnTo>
                    <a:pt x="173" y="474"/>
                  </a:lnTo>
                  <a:lnTo>
                    <a:pt x="169" y="470"/>
                  </a:lnTo>
                  <a:lnTo>
                    <a:pt x="166" y="468"/>
                  </a:lnTo>
                  <a:lnTo>
                    <a:pt x="162" y="468"/>
                  </a:lnTo>
                  <a:lnTo>
                    <a:pt x="159" y="466"/>
                  </a:lnTo>
                  <a:lnTo>
                    <a:pt x="154" y="465"/>
                  </a:lnTo>
                  <a:lnTo>
                    <a:pt x="150" y="464"/>
                  </a:lnTo>
                  <a:lnTo>
                    <a:pt x="148" y="463"/>
                  </a:lnTo>
                  <a:lnTo>
                    <a:pt x="140" y="462"/>
                  </a:lnTo>
                  <a:lnTo>
                    <a:pt x="138" y="462"/>
                  </a:lnTo>
                  <a:lnTo>
                    <a:pt x="137" y="462"/>
                  </a:lnTo>
                  <a:lnTo>
                    <a:pt x="136" y="461"/>
                  </a:lnTo>
                  <a:lnTo>
                    <a:pt x="135" y="460"/>
                  </a:lnTo>
                  <a:lnTo>
                    <a:pt x="133" y="459"/>
                  </a:lnTo>
                  <a:lnTo>
                    <a:pt x="132" y="458"/>
                  </a:lnTo>
                  <a:lnTo>
                    <a:pt x="131" y="457"/>
                  </a:lnTo>
                  <a:lnTo>
                    <a:pt x="131" y="456"/>
                  </a:lnTo>
                  <a:lnTo>
                    <a:pt x="131" y="456"/>
                  </a:lnTo>
                  <a:lnTo>
                    <a:pt x="130" y="454"/>
                  </a:lnTo>
                  <a:lnTo>
                    <a:pt x="130" y="452"/>
                  </a:lnTo>
                  <a:lnTo>
                    <a:pt x="131" y="450"/>
                  </a:lnTo>
                  <a:lnTo>
                    <a:pt x="132" y="447"/>
                  </a:lnTo>
                  <a:lnTo>
                    <a:pt x="133" y="444"/>
                  </a:lnTo>
                  <a:lnTo>
                    <a:pt x="135" y="439"/>
                  </a:lnTo>
                  <a:lnTo>
                    <a:pt x="135" y="437"/>
                  </a:lnTo>
                  <a:lnTo>
                    <a:pt x="136" y="434"/>
                  </a:lnTo>
                  <a:lnTo>
                    <a:pt x="137" y="433"/>
                  </a:lnTo>
                  <a:lnTo>
                    <a:pt x="138" y="432"/>
                  </a:lnTo>
                  <a:lnTo>
                    <a:pt x="138" y="431"/>
                  </a:lnTo>
                  <a:lnTo>
                    <a:pt x="138" y="429"/>
                  </a:lnTo>
                  <a:lnTo>
                    <a:pt x="138" y="427"/>
                  </a:lnTo>
                  <a:lnTo>
                    <a:pt x="138" y="426"/>
                  </a:lnTo>
                  <a:lnTo>
                    <a:pt x="138" y="422"/>
                  </a:lnTo>
                  <a:lnTo>
                    <a:pt x="138" y="418"/>
                  </a:lnTo>
                  <a:lnTo>
                    <a:pt x="138" y="416"/>
                  </a:lnTo>
                  <a:lnTo>
                    <a:pt x="135" y="408"/>
                  </a:lnTo>
                  <a:lnTo>
                    <a:pt x="132" y="400"/>
                  </a:lnTo>
                  <a:lnTo>
                    <a:pt x="128" y="390"/>
                  </a:lnTo>
                  <a:lnTo>
                    <a:pt x="125" y="379"/>
                  </a:lnTo>
                  <a:lnTo>
                    <a:pt x="123" y="377"/>
                  </a:lnTo>
                  <a:lnTo>
                    <a:pt x="121" y="373"/>
                  </a:lnTo>
                  <a:lnTo>
                    <a:pt x="118" y="367"/>
                  </a:lnTo>
                  <a:lnTo>
                    <a:pt x="116" y="366"/>
                  </a:lnTo>
                  <a:lnTo>
                    <a:pt x="116" y="365"/>
                  </a:lnTo>
                  <a:lnTo>
                    <a:pt x="115" y="363"/>
                  </a:lnTo>
                  <a:lnTo>
                    <a:pt x="113" y="361"/>
                  </a:lnTo>
                  <a:lnTo>
                    <a:pt x="107" y="356"/>
                  </a:lnTo>
                  <a:lnTo>
                    <a:pt x="105" y="355"/>
                  </a:lnTo>
                  <a:lnTo>
                    <a:pt x="104" y="354"/>
                  </a:lnTo>
                  <a:lnTo>
                    <a:pt x="100" y="353"/>
                  </a:lnTo>
                  <a:lnTo>
                    <a:pt x="96" y="351"/>
                  </a:lnTo>
                  <a:lnTo>
                    <a:pt x="91" y="349"/>
                  </a:lnTo>
                  <a:lnTo>
                    <a:pt x="88" y="348"/>
                  </a:lnTo>
                  <a:lnTo>
                    <a:pt x="87" y="347"/>
                  </a:lnTo>
                  <a:lnTo>
                    <a:pt x="85" y="346"/>
                  </a:lnTo>
                  <a:lnTo>
                    <a:pt x="84" y="345"/>
                  </a:lnTo>
                  <a:lnTo>
                    <a:pt x="83" y="343"/>
                  </a:lnTo>
                  <a:lnTo>
                    <a:pt x="83" y="343"/>
                  </a:lnTo>
                  <a:lnTo>
                    <a:pt x="83" y="341"/>
                  </a:lnTo>
                  <a:lnTo>
                    <a:pt x="83" y="340"/>
                  </a:lnTo>
                  <a:lnTo>
                    <a:pt x="84" y="336"/>
                  </a:lnTo>
                  <a:lnTo>
                    <a:pt x="84" y="335"/>
                  </a:lnTo>
                  <a:lnTo>
                    <a:pt x="83" y="333"/>
                  </a:lnTo>
                  <a:lnTo>
                    <a:pt x="82" y="332"/>
                  </a:lnTo>
                  <a:lnTo>
                    <a:pt x="81" y="327"/>
                  </a:lnTo>
                  <a:lnTo>
                    <a:pt x="79" y="320"/>
                  </a:lnTo>
                  <a:lnTo>
                    <a:pt x="76" y="314"/>
                  </a:lnTo>
                  <a:lnTo>
                    <a:pt x="75" y="312"/>
                  </a:lnTo>
                  <a:lnTo>
                    <a:pt x="74" y="310"/>
                  </a:lnTo>
                  <a:lnTo>
                    <a:pt x="74" y="309"/>
                  </a:lnTo>
                  <a:lnTo>
                    <a:pt x="74" y="308"/>
                  </a:lnTo>
                  <a:lnTo>
                    <a:pt x="74" y="306"/>
                  </a:lnTo>
                  <a:lnTo>
                    <a:pt x="74" y="305"/>
                  </a:lnTo>
                  <a:lnTo>
                    <a:pt x="74" y="303"/>
                  </a:lnTo>
                  <a:lnTo>
                    <a:pt x="75" y="301"/>
                  </a:lnTo>
                  <a:lnTo>
                    <a:pt x="76" y="300"/>
                  </a:lnTo>
                  <a:lnTo>
                    <a:pt x="77" y="298"/>
                  </a:lnTo>
                  <a:lnTo>
                    <a:pt x="82" y="293"/>
                  </a:lnTo>
                  <a:lnTo>
                    <a:pt x="82" y="291"/>
                  </a:lnTo>
                  <a:lnTo>
                    <a:pt x="83" y="290"/>
                  </a:lnTo>
                  <a:lnTo>
                    <a:pt x="84" y="288"/>
                  </a:lnTo>
                  <a:lnTo>
                    <a:pt x="86" y="283"/>
                  </a:lnTo>
                  <a:lnTo>
                    <a:pt x="88" y="279"/>
                  </a:lnTo>
                  <a:lnTo>
                    <a:pt x="89" y="277"/>
                  </a:lnTo>
                  <a:lnTo>
                    <a:pt x="89" y="275"/>
                  </a:lnTo>
                  <a:lnTo>
                    <a:pt x="89" y="275"/>
                  </a:lnTo>
                  <a:lnTo>
                    <a:pt x="89" y="274"/>
                  </a:lnTo>
                  <a:lnTo>
                    <a:pt x="89" y="272"/>
                  </a:lnTo>
                  <a:lnTo>
                    <a:pt x="89" y="271"/>
                  </a:lnTo>
                  <a:lnTo>
                    <a:pt x="86" y="264"/>
                  </a:lnTo>
                  <a:lnTo>
                    <a:pt x="79" y="250"/>
                  </a:lnTo>
                  <a:lnTo>
                    <a:pt x="77" y="246"/>
                  </a:lnTo>
                  <a:lnTo>
                    <a:pt x="75" y="243"/>
                  </a:lnTo>
                  <a:lnTo>
                    <a:pt x="74" y="241"/>
                  </a:lnTo>
                  <a:lnTo>
                    <a:pt x="72" y="240"/>
                  </a:lnTo>
                  <a:lnTo>
                    <a:pt x="71" y="239"/>
                  </a:lnTo>
                  <a:lnTo>
                    <a:pt x="70" y="238"/>
                  </a:lnTo>
                  <a:lnTo>
                    <a:pt x="70" y="238"/>
                  </a:lnTo>
                  <a:lnTo>
                    <a:pt x="69" y="237"/>
                  </a:lnTo>
                  <a:lnTo>
                    <a:pt x="68" y="237"/>
                  </a:lnTo>
                  <a:lnTo>
                    <a:pt x="66" y="237"/>
                  </a:lnTo>
                  <a:lnTo>
                    <a:pt x="63" y="237"/>
                  </a:lnTo>
                  <a:lnTo>
                    <a:pt x="59" y="238"/>
                  </a:lnTo>
                  <a:lnTo>
                    <a:pt x="57" y="239"/>
                  </a:lnTo>
                  <a:lnTo>
                    <a:pt x="55" y="240"/>
                  </a:lnTo>
                  <a:lnTo>
                    <a:pt x="51" y="241"/>
                  </a:lnTo>
                  <a:lnTo>
                    <a:pt x="49" y="242"/>
                  </a:lnTo>
                  <a:lnTo>
                    <a:pt x="48" y="242"/>
                  </a:lnTo>
                  <a:lnTo>
                    <a:pt x="47" y="242"/>
                  </a:lnTo>
                  <a:lnTo>
                    <a:pt x="46" y="242"/>
                  </a:lnTo>
                  <a:lnTo>
                    <a:pt x="45" y="241"/>
                  </a:lnTo>
                  <a:lnTo>
                    <a:pt x="44" y="241"/>
                  </a:lnTo>
                  <a:lnTo>
                    <a:pt x="43" y="240"/>
                  </a:lnTo>
                  <a:lnTo>
                    <a:pt x="38" y="235"/>
                  </a:lnTo>
                  <a:lnTo>
                    <a:pt x="36" y="232"/>
                  </a:lnTo>
                  <a:lnTo>
                    <a:pt x="34" y="230"/>
                  </a:lnTo>
                  <a:lnTo>
                    <a:pt x="27" y="226"/>
                  </a:lnTo>
                  <a:lnTo>
                    <a:pt x="26" y="225"/>
                  </a:lnTo>
                  <a:lnTo>
                    <a:pt x="25" y="223"/>
                  </a:lnTo>
                  <a:lnTo>
                    <a:pt x="23" y="221"/>
                  </a:lnTo>
                  <a:lnTo>
                    <a:pt x="22" y="220"/>
                  </a:lnTo>
                  <a:lnTo>
                    <a:pt x="17" y="215"/>
                  </a:lnTo>
                  <a:lnTo>
                    <a:pt x="17" y="213"/>
                  </a:lnTo>
                  <a:lnTo>
                    <a:pt x="16" y="212"/>
                  </a:lnTo>
                  <a:lnTo>
                    <a:pt x="15" y="212"/>
                  </a:lnTo>
                  <a:lnTo>
                    <a:pt x="14" y="211"/>
                  </a:lnTo>
                  <a:lnTo>
                    <a:pt x="11" y="210"/>
                  </a:lnTo>
                  <a:lnTo>
                    <a:pt x="9" y="209"/>
                  </a:lnTo>
                  <a:lnTo>
                    <a:pt x="8" y="208"/>
                  </a:lnTo>
                  <a:lnTo>
                    <a:pt x="6" y="207"/>
                  </a:lnTo>
                  <a:lnTo>
                    <a:pt x="5" y="207"/>
                  </a:lnTo>
                  <a:lnTo>
                    <a:pt x="3" y="206"/>
                  </a:lnTo>
                  <a:lnTo>
                    <a:pt x="3" y="205"/>
                  </a:lnTo>
                  <a:lnTo>
                    <a:pt x="2" y="204"/>
                  </a:lnTo>
                  <a:lnTo>
                    <a:pt x="2" y="202"/>
                  </a:lnTo>
                  <a:lnTo>
                    <a:pt x="1" y="199"/>
                  </a:lnTo>
                  <a:lnTo>
                    <a:pt x="0" y="196"/>
                  </a:lnTo>
                  <a:lnTo>
                    <a:pt x="0" y="193"/>
                  </a:lnTo>
                  <a:lnTo>
                    <a:pt x="0" y="191"/>
                  </a:lnTo>
                  <a:lnTo>
                    <a:pt x="0" y="190"/>
                  </a:lnTo>
                  <a:lnTo>
                    <a:pt x="0" y="188"/>
                  </a:lnTo>
                  <a:lnTo>
                    <a:pt x="1" y="187"/>
                  </a:lnTo>
                  <a:lnTo>
                    <a:pt x="3" y="183"/>
                  </a:lnTo>
                  <a:lnTo>
                    <a:pt x="4" y="181"/>
                  </a:lnTo>
                  <a:lnTo>
                    <a:pt x="5" y="178"/>
                  </a:lnTo>
                  <a:lnTo>
                    <a:pt x="5" y="175"/>
                  </a:lnTo>
                  <a:lnTo>
                    <a:pt x="5" y="173"/>
                  </a:lnTo>
                  <a:lnTo>
                    <a:pt x="5" y="171"/>
                  </a:lnTo>
                  <a:lnTo>
                    <a:pt x="4" y="168"/>
                  </a:lnTo>
                  <a:lnTo>
                    <a:pt x="2" y="161"/>
                  </a:lnTo>
                  <a:lnTo>
                    <a:pt x="2" y="157"/>
                  </a:lnTo>
                  <a:lnTo>
                    <a:pt x="2" y="151"/>
                  </a:lnTo>
                  <a:lnTo>
                    <a:pt x="2" y="148"/>
                  </a:lnTo>
                  <a:lnTo>
                    <a:pt x="2" y="147"/>
                  </a:lnTo>
                  <a:lnTo>
                    <a:pt x="2" y="146"/>
                  </a:lnTo>
                  <a:lnTo>
                    <a:pt x="3" y="144"/>
                  </a:lnTo>
                  <a:lnTo>
                    <a:pt x="6" y="140"/>
                  </a:lnTo>
                  <a:lnTo>
                    <a:pt x="8" y="139"/>
                  </a:lnTo>
                  <a:lnTo>
                    <a:pt x="9" y="137"/>
                  </a:lnTo>
                  <a:lnTo>
                    <a:pt x="10" y="134"/>
                  </a:lnTo>
                  <a:lnTo>
                    <a:pt x="11" y="132"/>
                  </a:lnTo>
                  <a:lnTo>
                    <a:pt x="11" y="129"/>
                  </a:lnTo>
                  <a:lnTo>
                    <a:pt x="13" y="121"/>
                  </a:lnTo>
                  <a:lnTo>
                    <a:pt x="13" y="117"/>
                  </a:lnTo>
                  <a:lnTo>
                    <a:pt x="14" y="115"/>
                  </a:lnTo>
                  <a:lnTo>
                    <a:pt x="16" y="111"/>
                  </a:lnTo>
                  <a:lnTo>
                    <a:pt x="17" y="109"/>
                  </a:lnTo>
                  <a:lnTo>
                    <a:pt x="18" y="107"/>
                  </a:lnTo>
                  <a:lnTo>
                    <a:pt x="19" y="106"/>
                  </a:lnTo>
                  <a:lnTo>
                    <a:pt x="23" y="103"/>
                  </a:lnTo>
                  <a:lnTo>
                    <a:pt x="24" y="101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6" y="96"/>
                  </a:lnTo>
                  <a:lnTo>
                    <a:pt x="27" y="92"/>
                  </a:lnTo>
                  <a:lnTo>
                    <a:pt x="28" y="90"/>
                  </a:lnTo>
                  <a:lnTo>
                    <a:pt x="28" y="88"/>
                  </a:lnTo>
                  <a:lnTo>
                    <a:pt x="28" y="85"/>
                  </a:lnTo>
                  <a:lnTo>
                    <a:pt x="28" y="80"/>
                  </a:lnTo>
                  <a:lnTo>
                    <a:pt x="28" y="78"/>
                  </a:lnTo>
                  <a:lnTo>
                    <a:pt x="27" y="77"/>
                  </a:lnTo>
                  <a:lnTo>
                    <a:pt x="26" y="74"/>
                  </a:lnTo>
                  <a:lnTo>
                    <a:pt x="25" y="71"/>
                  </a:lnTo>
                  <a:lnTo>
                    <a:pt x="23" y="68"/>
                  </a:lnTo>
                  <a:lnTo>
                    <a:pt x="21" y="65"/>
                  </a:lnTo>
                  <a:lnTo>
                    <a:pt x="20" y="65"/>
                  </a:lnTo>
                  <a:lnTo>
                    <a:pt x="20" y="64"/>
                  </a:lnTo>
                  <a:lnTo>
                    <a:pt x="20" y="63"/>
                  </a:lnTo>
                  <a:lnTo>
                    <a:pt x="20" y="62"/>
                  </a:lnTo>
                  <a:lnTo>
                    <a:pt x="21" y="62"/>
                  </a:lnTo>
                  <a:lnTo>
                    <a:pt x="22" y="60"/>
                  </a:lnTo>
                  <a:lnTo>
                    <a:pt x="24" y="60"/>
                  </a:lnTo>
                  <a:lnTo>
                    <a:pt x="25" y="60"/>
                  </a:lnTo>
                  <a:lnTo>
                    <a:pt x="27" y="59"/>
                  </a:lnTo>
                  <a:lnTo>
                    <a:pt x="30" y="59"/>
                  </a:lnTo>
                  <a:lnTo>
                    <a:pt x="33" y="59"/>
                  </a:lnTo>
                  <a:lnTo>
                    <a:pt x="42" y="59"/>
                  </a:lnTo>
                  <a:lnTo>
                    <a:pt x="45" y="59"/>
                  </a:lnTo>
                  <a:lnTo>
                    <a:pt x="47" y="60"/>
                  </a:lnTo>
                  <a:lnTo>
                    <a:pt x="50" y="60"/>
                  </a:lnTo>
                  <a:lnTo>
                    <a:pt x="55" y="63"/>
                  </a:lnTo>
                  <a:lnTo>
                    <a:pt x="58" y="64"/>
                  </a:lnTo>
                  <a:lnTo>
                    <a:pt x="59" y="65"/>
                  </a:lnTo>
                  <a:lnTo>
                    <a:pt x="60" y="66"/>
                  </a:lnTo>
                  <a:lnTo>
                    <a:pt x="64" y="66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71" y="66"/>
                  </a:lnTo>
                  <a:lnTo>
                    <a:pt x="79" y="64"/>
                  </a:lnTo>
                  <a:lnTo>
                    <a:pt x="82" y="63"/>
                  </a:lnTo>
                  <a:lnTo>
                    <a:pt x="84" y="62"/>
                  </a:lnTo>
                  <a:lnTo>
                    <a:pt x="85" y="61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8" y="59"/>
                  </a:lnTo>
                  <a:lnTo>
                    <a:pt x="89" y="58"/>
                  </a:lnTo>
                  <a:lnTo>
                    <a:pt x="90" y="56"/>
                  </a:lnTo>
                  <a:lnTo>
                    <a:pt x="91" y="53"/>
                  </a:lnTo>
                  <a:lnTo>
                    <a:pt x="94" y="42"/>
                  </a:lnTo>
                  <a:lnTo>
                    <a:pt x="95" y="40"/>
                  </a:lnTo>
                  <a:lnTo>
                    <a:pt x="96" y="37"/>
                  </a:lnTo>
                  <a:lnTo>
                    <a:pt x="97" y="36"/>
                  </a:lnTo>
                  <a:lnTo>
                    <a:pt x="99" y="34"/>
                  </a:lnTo>
                  <a:lnTo>
                    <a:pt x="100" y="32"/>
                  </a:lnTo>
                  <a:lnTo>
                    <a:pt x="101" y="32"/>
                  </a:lnTo>
                  <a:lnTo>
                    <a:pt x="101" y="33"/>
                  </a:lnTo>
                  <a:lnTo>
                    <a:pt x="102" y="33"/>
                  </a:lnTo>
                  <a:lnTo>
                    <a:pt x="103" y="33"/>
                  </a:lnTo>
                  <a:lnTo>
                    <a:pt x="104" y="34"/>
                  </a:lnTo>
                  <a:lnTo>
                    <a:pt x="107" y="34"/>
                  </a:lnTo>
                  <a:lnTo>
                    <a:pt x="112" y="34"/>
                  </a:lnTo>
                  <a:lnTo>
                    <a:pt x="121" y="34"/>
                  </a:lnTo>
                  <a:lnTo>
                    <a:pt x="127" y="33"/>
                  </a:lnTo>
                  <a:lnTo>
                    <a:pt x="130" y="32"/>
                  </a:lnTo>
                  <a:lnTo>
                    <a:pt x="136" y="31"/>
                  </a:lnTo>
                  <a:lnTo>
                    <a:pt x="137" y="31"/>
                  </a:lnTo>
                  <a:lnTo>
                    <a:pt x="138" y="31"/>
                  </a:lnTo>
                  <a:lnTo>
                    <a:pt x="141" y="31"/>
                  </a:lnTo>
                  <a:lnTo>
                    <a:pt x="145" y="32"/>
                  </a:lnTo>
                  <a:lnTo>
                    <a:pt x="149" y="32"/>
                  </a:lnTo>
                  <a:lnTo>
                    <a:pt x="150" y="32"/>
                  </a:lnTo>
                  <a:lnTo>
                    <a:pt x="151" y="33"/>
                  </a:lnTo>
                  <a:lnTo>
                    <a:pt x="154" y="34"/>
                  </a:lnTo>
                  <a:lnTo>
                    <a:pt x="155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8" y="34"/>
                  </a:lnTo>
                  <a:lnTo>
                    <a:pt x="160" y="33"/>
                  </a:lnTo>
                  <a:lnTo>
                    <a:pt x="162" y="32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8" y="30"/>
                  </a:lnTo>
                  <a:lnTo>
                    <a:pt x="169" y="30"/>
                  </a:lnTo>
                  <a:lnTo>
                    <a:pt x="171" y="31"/>
                  </a:lnTo>
                  <a:lnTo>
                    <a:pt x="174" y="32"/>
                  </a:lnTo>
                  <a:lnTo>
                    <a:pt x="177" y="34"/>
                  </a:lnTo>
                  <a:lnTo>
                    <a:pt x="182" y="36"/>
                  </a:lnTo>
                  <a:lnTo>
                    <a:pt x="184" y="36"/>
                  </a:lnTo>
                  <a:lnTo>
                    <a:pt x="184" y="37"/>
                  </a:lnTo>
                  <a:lnTo>
                    <a:pt x="184" y="37"/>
                  </a:lnTo>
                  <a:lnTo>
                    <a:pt x="186" y="37"/>
                  </a:lnTo>
                  <a:lnTo>
                    <a:pt x="187" y="36"/>
                  </a:lnTo>
                  <a:lnTo>
                    <a:pt x="188" y="35"/>
                  </a:lnTo>
                  <a:lnTo>
                    <a:pt x="190" y="34"/>
                  </a:lnTo>
                  <a:lnTo>
                    <a:pt x="192" y="32"/>
                  </a:lnTo>
                  <a:lnTo>
                    <a:pt x="194" y="30"/>
                  </a:lnTo>
                  <a:lnTo>
                    <a:pt x="195" y="29"/>
                  </a:lnTo>
                  <a:lnTo>
                    <a:pt x="195" y="27"/>
                  </a:lnTo>
                  <a:lnTo>
                    <a:pt x="195" y="26"/>
                  </a:lnTo>
                  <a:lnTo>
                    <a:pt x="196" y="23"/>
                  </a:lnTo>
                  <a:lnTo>
                    <a:pt x="196" y="21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6" y="14"/>
                  </a:lnTo>
                  <a:lnTo>
                    <a:pt x="195" y="11"/>
                  </a:lnTo>
                  <a:lnTo>
                    <a:pt x="194" y="1"/>
                  </a:lnTo>
                  <a:lnTo>
                    <a:pt x="193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4" name="Freeform 7">
              <a:extLst>
                <a:ext uri="{FF2B5EF4-FFF2-40B4-BE49-F238E27FC236}">
                  <a16:creationId xmlns:a16="http://schemas.microsoft.com/office/drawing/2014/main" id="{483FBE2B-01DA-4990-AD60-DE19BA629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" y="2155"/>
              <a:ext cx="359" cy="354"/>
            </a:xfrm>
            <a:custGeom>
              <a:avLst/>
              <a:gdLst>
                <a:gd name="T0" fmla="*/ 241 w 359"/>
                <a:gd name="T1" fmla="*/ 9 h 354"/>
                <a:gd name="T2" fmla="*/ 243 w 359"/>
                <a:gd name="T3" fmla="*/ 4 h 354"/>
                <a:gd name="T4" fmla="*/ 249 w 359"/>
                <a:gd name="T5" fmla="*/ 5 h 354"/>
                <a:gd name="T6" fmla="*/ 258 w 359"/>
                <a:gd name="T7" fmla="*/ 6 h 354"/>
                <a:gd name="T8" fmla="*/ 266 w 359"/>
                <a:gd name="T9" fmla="*/ 18 h 354"/>
                <a:gd name="T10" fmla="*/ 296 w 359"/>
                <a:gd name="T11" fmla="*/ 46 h 354"/>
                <a:gd name="T12" fmla="*/ 305 w 359"/>
                <a:gd name="T13" fmla="*/ 57 h 354"/>
                <a:gd name="T14" fmla="*/ 312 w 359"/>
                <a:gd name="T15" fmla="*/ 64 h 354"/>
                <a:gd name="T16" fmla="*/ 329 w 359"/>
                <a:gd name="T17" fmla="*/ 60 h 354"/>
                <a:gd name="T18" fmla="*/ 335 w 359"/>
                <a:gd name="T19" fmla="*/ 71 h 354"/>
                <a:gd name="T20" fmla="*/ 347 w 359"/>
                <a:gd name="T21" fmla="*/ 86 h 354"/>
                <a:gd name="T22" fmla="*/ 352 w 359"/>
                <a:gd name="T23" fmla="*/ 95 h 354"/>
                <a:gd name="T24" fmla="*/ 350 w 359"/>
                <a:gd name="T25" fmla="*/ 114 h 354"/>
                <a:gd name="T26" fmla="*/ 359 w 359"/>
                <a:gd name="T27" fmla="*/ 136 h 354"/>
                <a:gd name="T28" fmla="*/ 349 w 359"/>
                <a:gd name="T29" fmla="*/ 151 h 354"/>
                <a:gd name="T30" fmla="*/ 339 w 359"/>
                <a:gd name="T31" fmla="*/ 158 h 354"/>
                <a:gd name="T32" fmla="*/ 327 w 359"/>
                <a:gd name="T33" fmla="*/ 179 h 354"/>
                <a:gd name="T34" fmla="*/ 315 w 359"/>
                <a:gd name="T35" fmla="*/ 211 h 354"/>
                <a:gd name="T36" fmla="*/ 284 w 359"/>
                <a:gd name="T37" fmla="*/ 229 h 354"/>
                <a:gd name="T38" fmla="*/ 258 w 359"/>
                <a:gd name="T39" fmla="*/ 252 h 354"/>
                <a:gd name="T40" fmla="*/ 234 w 359"/>
                <a:gd name="T41" fmla="*/ 284 h 354"/>
                <a:gd name="T42" fmla="*/ 218 w 359"/>
                <a:gd name="T43" fmla="*/ 300 h 354"/>
                <a:gd name="T44" fmla="*/ 214 w 359"/>
                <a:gd name="T45" fmla="*/ 315 h 354"/>
                <a:gd name="T46" fmla="*/ 197 w 359"/>
                <a:gd name="T47" fmla="*/ 321 h 354"/>
                <a:gd name="T48" fmla="*/ 174 w 359"/>
                <a:gd name="T49" fmla="*/ 309 h 354"/>
                <a:gd name="T50" fmla="*/ 157 w 359"/>
                <a:gd name="T51" fmla="*/ 283 h 354"/>
                <a:gd name="T52" fmla="*/ 142 w 359"/>
                <a:gd name="T53" fmla="*/ 277 h 354"/>
                <a:gd name="T54" fmla="*/ 120 w 359"/>
                <a:gd name="T55" fmla="*/ 288 h 354"/>
                <a:gd name="T56" fmla="*/ 93 w 359"/>
                <a:gd name="T57" fmla="*/ 292 h 354"/>
                <a:gd name="T58" fmla="*/ 71 w 359"/>
                <a:gd name="T59" fmla="*/ 308 h 354"/>
                <a:gd name="T60" fmla="*/ 68 w 359"/>
                <a:gd name="T61" fmla="*/ 328 h 354"/>
                <a:gd name="T62" fmla="*/ 56 w 359"/>
                <a:gd name="T63" fmla="*/ 339 h 354"/>
                <a:gd name="T64" fmla="*/ 33 w 359"/>
                <a:gd name="T65" fmla="*/ 353 h 354"/>
                <a:gd name="T66" fmla="*/ 20 w 359"/>
                <a:gd name="T67" fmla="*/ 354 h 354"/>
                <a:gd name="T68" fmla="*/ 2 w 359"/>
                <a:gd name="T69" fmla="*/ 345 h 354"/>
                <a:gd name="T70" fmla="*/ 3 w 359"/>
                <a:gd name="T71" fmla="*/ 324 h 354"/>
                <a:gd name="T72" fmla="*/ 9 w 359"/>
                <a:gd name="T73" fmla="*/ 291 h 354"/>
                <a:gd name="T74" fmla="*/ 10 w 359"/>
                <a:gd name="T75" fmla="*/ 263 h 354"/>
                <a:gd name="T76" fmla="*/ 19 w 359"/>
                <a:gd name="T77" fmla="*/ 228 h 354"/>
                <a:gd name="T78" fmla="*/ 30 w 359"/>
                <a:gd name="T79" fmla="*/ 215 h 354"/>
                <a:gd name="T80" fmla="*/ 27 w 359"/>
                <a:gd name="T81" fmla="*/ 173 h 354"/>
                <a:gd name="T82" fmla="*/ 20 w 359"/>
                <a:gd name="T83" fmla="*/ 151 h 354"/>
                <a:gd name="T84" fmla="*/ 19 w 359"/>
                <a:gd name="T85" fmla="*/ 144 h 354"/>
                <a:gd name="T86" fmla="*/ 13 w 359"/>
                <a:gd name="T87" fmla="*/ 120 h 354"/>
                <a:gd name="T88" fmla="*/ 19 w 359"/>
                <a:gd name="T89" fmla="*/ 110 h 354"/>
                <a:gd name="T90" fmla="*/ 41 w 359"/>
                <a:gd name="T91" fmla="*/ 106 h 354"/>
                <a:gd name="T92" fmla="*/ 79 w 359"/>
                <a:gd name="T93" fmla="*/ 113 h 354"/>
                <a:gd name="T94" fmla="*/ 93 w 359"/>
                <a:gd name="T95" fmla="*/ 111 h 354"/>
                <a:gd name="T96" fmla="*/ 104 w 359"/>
                <a:gd name="T97" fmla="*/ 89 h 354"/>
                <a:gd name="T98" fmla="*/ 120 w 359"/>
                <a:gd name="T99" fmla="*/ 55 h 354"/>
                <a:gd name="T100" fmla="*/ 129 w 359"/>
                <a:gd name="T101" fmla="*/ 47 h 354"/>
                <a:gd name="T102" fmla="*/ 149 w 359"/>
                <a:gd name="T103" fmla="*/ 51 h 354"/>
                <a:gd name="T104" fmla="*/ 159 w 359"/>
                <a:gd name="T105" fmla="*/ 30 h 354"/>
                <a:gd name="T106" fmla="*/ 179 w 359"/>
                <a:gd name="T107" fmla="*/ 14 h 354"/>
                <a:gd name="T108" fmla="*/ 193 w 359"/>
                <a:gd name="T109" fmla="*/ 6 h 354"/>
                <a:gd name="T110" fmla="*/ 219 w 359"/>
                <a:gd name="T111" fmla="*/ 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9" h="354">
                  <a:moveTo>
                    <a:pt x="232" y="0"/>
                  </a:moveTo>
                  <a:lnTo>
                    <a:pt x="232" y="0"/>
                  </a:lnTo>
                  <a:lnTo>
                    <a:pt x="235" y="2"/>
                  </a:lnTo>
                  <a:lnTo>
                    <a:pt x="236" y="4"/>
                  </a:lnTo>
                  <a:lnTo>
                    <a:pt x="238" y="6"/>
                  </a:lnTo>
                  <a:lnTo>
                    <a:pt x="240" y="9"/>
                  </a:lnTo>
                  <a:lnTo>
                    <a:pt x="240" y="9"/>
                  </a:lnTo>
                  <a:lnTo>
                    <a:pt x="241" y="9"/>
                  </a:lnTo>
                  <a:lnTo>
                    <a:pt x="242" y="9"/>
                  </a:lnTo>
                  <a:lnTo>
                    <a:pt x="242" y="9"/>
                  </a:lnTo>
                  <a:lnTo>
                    <a:pt x="243" y="9"/>
                  </a:lnTo>
                  <a:lnTo>
                    <a:pt x="243" y="9"/>
                  </a:lnTo>
                  <a:lnTo>
                    <a:pt x="243" y="8"/>
                  </a:lnTo>
                  <a:lnTo>
                    <a:pt x="242" y="6"/>
                  </a:lnTo>
                  <a:lnTo>
                    <a:pt x="242" y="5"/>
                  </a:lnTo>
                  <a:lnTo>
                    <a:pt x="243" y="4"/>
                  </a:lnTo>
                  <a:lnTo>
                    <a:pt x="243" y="3"/>
                  </a:lnTo>
                  <a:lnTo>
                    <a:pt x="244" y="3"/>
                  </a:lnTo>
                  <a:lnTo>
                    <a:pt x="245" y="2"/>
                  </a:lnTo>
                  <a:lnTo>
                    <a:pt x="245" y="2"/>
                  </a:lnTo>
                  <a:lnTo>
                    <a:pt x="246" y="3"/>
                  </a:lnTo>
                  <a:lnTo>
                    <a:pt x="247" y="3"/>
                  </a:lnTo>
                  <a:lnTo>
                    <a:pt x="248" y="5"/>
                  </a:lnTo>
                  <a:lnTo>
                    <a:pt x="249" y="5"/>
                  </a:lnTo>
                  <a:lnTo>
                    <a:pt x="249" y="5"/>
                  </a:lnTo>
                  <a:lnTo>
                    <a:pt x="250" y="5"/>
                  </a:lnTo>
                  <a:lnTo>
                    <a:pt x="251" y="5"/>
                  </a:lnTo>
                  <a:lnTo>
                    <a:pt x="252" y="5"/>
                  </a:lnTo>
                  <a:lnTo>
                    <a:pt x="253" y="5"/>
                  </a:lnTo>
                  <a:lnTo>
                    <a:pt x="256" y="6"/>
                  </a:lnTo>
                  <a:lnTo>
                    <a:pt x="257" y="6"/>
                  </a:lnTo>
                  <a:lnTo>
                    <a:pt x="258" y="6"/>
                  </a:lnTo>
                  <a:lnTo>
                    <a:pt x="260" y="6"/>
                  </a:lnTo>
                  <a:lnTo>
                    <a:pt x="259" y="6"/>
                  </a:lnTo>
                  <a:lnTo>
                    <a:pt x="259" y="7"/>
                  </a:lnTo>
                  <a:lnTo>
                    <a:pt x="259" y="8"/>
                  </a:lnTo>
                  <a:lnTo>
                    <a:pt x="259" y="8"/>
                  </a:lnTo>
                  <a:lnTo>
                    <a:pt x="261" y="10"/>
                  </a:lnTo>
                  <a:lnTo>
                    <a:pt x="261" y="12"/>
                  </a:lnTo>
                  <a:lnTo>
                    <a:pt x="266" y="18"/>
                  </a:lnTo>
                  <a:lnTo>
                    <a:pt x="279" y="34"/>
                  </a:lnTo>
                  <a:lnTo>
                    <a:pt x="281" y="35"/>
                  </a:lnTo>
                  <a:lnTo>
                    <a:pt x="282" y="36"/>
                  </a:lnTo>
                  <a:lnTo>
                    <a:pt x="283" y="37"/>
                  </a:lnTo>
                  <a:lnTo>
                    <a:pt x="288" y="41"/>
                  </a:lnTo>
                  <a:lnTo>
                    <a:pt x="290" y="43"/>
                  </a:lnTo>
                  <a:lnTo>
                    <a:pt x="294" y="44"/>
                  </a:lnTo>
                  <a:lnTo>
                    <a:pt x="296" y="46"/>
                  </a:lnTo>
                  <a:lnTo>
                    <a:pt x="299" y="48"/>
                  </a:lnTo>
                  <a:lnTo>
                    <a:pt x="302" y="50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3"/>
                  </a:lnTo>
                  <a:lnTo>
                    <a:pt x="305" y="54"/>
                  </a:lnTo>
                  <a:lnTo>
                    <a:pt x="305" y="55"/>
                  </a:lnTo>
                  <a:lnTo>
                    <a:pt x="305" y="57"/>
                  </a:lnTo>
                  <a:lnTo>
                    <a:pt x="305" y="60"/>
                  </a:lnTo>
                  <a:lnTo>
                    <a:pt x="306" y="62"/>
                  </a:lnTo>
                  <a:lnTo>
                    <a:pt x="306" y="62"/>
                  </a:lnTo>
                  <a:lnTo>
                    <a:pt x="307" y="63"/>
                  </a:lnTo>
                  <a:lnTo>
                    <a:pt x="308" y="64"/>
                  </a:lnTo>
                  <a:lnTo>
                    <a:pt x="309" y="64"/>
                  </a:lnTo>
                  <a:lnTo>
                    <a:pt x="311" y="64"/>
                  </a:lnTo>
                  <a:lnTo>
                    <a:pt x="312" y="64"/>
                  </a:lnTo>
                  <a:lnTo>
                    <a:pt x="313" y="64"/>
                  </a:lnTo>
                  <a:lnTo>
                    <a:pt x="316" y="62"/>
                  </a:lnTo>
                  <a:lnTo>
                    <a:pt x="318" y="61"/>
                  </a:lnTo>
                  <a:lnTo>
                    <a:pt x="321" y="60"/>
                  </a:lnTo>
                  <a:lnTo>
                    <a:pt x="324" y="59"/>
                  </a:lnTo>
                  <a:lnTo>
                    <a:pt x="326" y="59"/>
                  </a:lnTo>
                  <a:lnTo>
                    <a:pt x="327" y="59"/>
                  </a:lnTo>
                  <a:lnTo>
                    <a:pt x="329" y="60"/>
                  </a:lnTo>
                  <a:lnTo>
                    <a:pt x="330" y="61"/>
                  </a:lnTo>
                  <a:lnTo>
                    <a:pt x="331" y="62"/>
                  </a:lnTo>
                  <a:lnTo>
                    <a:pt x="333" y="63"/>
                  </a:lnTo>
                  <a:lnTo>
                    <a:pt x="334" y="65"/>
                  </a:lnTo>
                  <a:lnTo>
                    <a:pt x="334" y="66"/>
                  </a:lnTo>
                  <a:lnTo>
                    <a:pt x="335" y="67"/>
                  </a:lnTo>
                  <a:lnTo>
                    <a:pt x="335" y="69"/>
                  </a:lnTo>
                  <a:lnTo>
                    <a:pt x="335" y="71"/>
                  </a:lnTo>
                  <a:lnTo>
                    <a:pt x="335" y="74"/>
                  </a:lnTo>
                  <a:lnTo>
                    <a:pt x="335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9" y="80"/>
                  </a:lnTo>
                  <a:lnTo>
                    <a:pt x="342" y="83"/>
                  </a:lnTo>
                  <a:lnTo>
                    <a:pt x="347" y="86"/>
                  </a:lnTo>
                  <a:lnTo>
                    <a:pt x="350" y="88"/>
                  </a:lnTo>
                  <a:lnTo>
                    <a:pt x="351" y="89"/>
                  </a:lnTo>
                  <a:lnTo>
                    <a:pt x="352" y="89"/>
                  </a:lnTo>
                  <a:lnTo>
                    <a:pt x="352" y="91"/>
                  </a:lnTo>
                  <a:lnTo>
                    <a:pt x="352" y="92"/>
                  </a:lnTo>
                  <a:lnTo>
                    <a:pt x="352" y="93"/>
                  </a:lnTo>
                  <a:lnTo>
                    <a:pt x="352" y="94"/>
                  </a:lnTo>
                  <a:lnTo>
                    <a:pt x="352" y="95"/>
                  </a:lnTo>
                  <a:lnTo>
                    <a:pt x="351" y="97"/>
                  </a:lnTo>
                  <a:lnTo>
                    <a:pt x="350" y="99"/>
                  </a:lnTo>
                  <a:lnTo>
                    <a:pt x="350" y="100"/>
                  </a:lnTo>
                  <a:lnTo>
                    <a:pt x="350" y="100"/>
                  </a:lnTo>
                  <a:lnTo>
                    <a:pt x="350" y="104"/>
                  </a:lnTo>
                  <a:lnTo>
                    <a:pt x="349" y="110"/>
                  </a:lnTo>
                  <a:lnTo>
                    <a:pt x="349" y="111"/>
                  </a:lnTo>
                  <a:lnTo>
                    <a:pt x="350" y="114"/>
                  </a:lnTo>
                  <a:lnTo>
                    <a:pt x="352" y="119"/>
                  </a:lnTo>
                  <a:lnTo>
                    <a:pt x="352" y="121"/>
                  </a:lnTo>
                  <a:lnTo>
                    <a:pt x="352" y="123"/>
                  </a:lnTo>
                  <a:lnTo>
                    <a:pt x="356" y="128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8" y="134"/>
                  </a:lnTo>
                  <a:lnTo>
                    <a:pt x="359" y="136"/>
                  </a:lnTo>
                  <a:lnTo>
                    <a:pt x="359" y="138"/>
                  </a:lnTo>
                  <a:lnTo>
                    <a:pt x="358" y="140"/>
                  </a:lnTo>
                  <a:lnTo>
                    <a:pt x="357" y="143"/>
                  </a:lnTo>
                  <a:lnTo>
                    <a:pt x="356" y="145"/>
                  </a:lnTo>
                  <a:lnTo>
                    <a:pt x="354" y="146"/>
                  </a:lnTo>
                  <a:lnTo>
                    <a:pt x="352" y="148"/>
                  </a:lnTo>
                  <a:lnTo>
                    <a:pt x="351" y="150"/>
                  </a:lnTo>
                  <a:lnTo>
                    <a:pt x="349" y="151"/>
                  </a:lnTo>
                  <a:lnTo>
                    <a:pt x="347" y="151"/>
                  </a:lnTo>
                  <a:lnTo>
                    <a:pt x="344" y="152"/>
                  </a:lnTo>
                  <a:lnTo>
                    <a:pt x="343" y="152"/>
                  </a:lnTo>
                  <a:lnTo>
                    <a:pt x="341" y="153"/>
                  </a:lnTo>
                  <a:lnTo>
                    <a:pt x="341" y="154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39" y="158"/>
                  </a:lnTo>
                  <a:lnTo>
                    <a:pt x="337" y="160"/>
                  </a:lnTo>
                  <a:lnTo>
                    <a:pt x="336" y="162"/>
                  </a:lnTo>
                  <a:lnTo>
                    <a:pt x="334" y="164"/>
                  </a:lnTo>
                  <a:lnTo>
                    <a:pt x="331" y="168"/>
                  </a:lnTo>
                  <a:lnTo>
                    <a:pt x="329" y="171"/>
                  </a:lnTo>
                  <a:lnTo>
                    <a:pt x="329" y="174"/>
                  </a:lnTo>
                  <a:lnTo>
                    <a:pt x="328" y="177"/>
                  </a:lnTo>
                  <a:lnTo>
                    <a:pt x="327" y="179"/>
                  </a:lnTo>
                  <a:lnTo>
                    <a:pt x="326" y="183"/>
                  </a:lnTo>
                  <a:lnTo>
                    <a:pt x="325" y="187"/>
                  </a:lnTo>
                  <a:lnTo>
                    <a:pt x="321" y="202"/>
                  </a:lnTo>
                  <a:lnTo>
                    <a:pt x="321" y="203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15" y="211"/>
                  </a:lnTo>
                  <a:lnTo>
                    <a:pt x="310" y="215"/>
                  </a:lnTo>
                  <a:lnTo>
                    <a:pt x="306" y="218"/>
                  </a:lnTo>
                  <a:lnTo>
                    <a:pt x="304" y="221"/>
                  </a:lnTo>
                  <a:lnTo>
                    <a:pt x="299" y="224"/>
                  </a:lnTo>
                  <a:lnTo>
                    <a:pt x="297" y="225"/>
                  </a:lnTo>
                  <a:lnTo>
                    <a:pt x="295" y="226"/>
                  </a:lnTo>
                  <a:lnTo>
                    <a:pt x="292" y="227"/>
                  </a:lnTo>
                  <a:lnTo>
                    <a:pt x="284" y="229"/>
                  </a:lnTo>
                  <a:lnTo>
                    <a:pt x="283" y="230"/>
                  </a:lnTo>
                  <a:lnTo>
                    <a:pt x="281" y="231"/>
                  </a:lnTo>
                  <a:lnTo>
                    <a:pt x="278" y="233"/>
                  </a:lnTo>
                  <a:lnTo>
                    <a:pt x="276" y="235"/>
                  </a:lnTo>
                  <a:lnTo>
                    <a:pt x="272" y="238"/>
                  </a:lnTo>
                  <a:lnTo>
                    <a:pt x="269" y="241"/>
                  </a:lnTo>
                  <a:lnTo>
                    <a:pt x="263" y="247"/>
                  </a:lnTo>
                  <a:lnTo>
                    <a:pt x="258" y="252"/>
                  </a:lnTo>
                  <a:lnTo>
                    <a:pt x="255" y="256"/>
                  </a:lnTo>
                  <a:lnTo>
                    <a:pt x="248" y="264"/>
                  </a:lnTo>
                  <a:lnTo>
                    <a:pt x="244" y="268"/>
                  </a:lnTo>
                  <a:lnTo>
                    <a:pt x="242" y="270"/>
                  </a:lnTo>
                  <a:lnTo>
                    <a:pt x="240" y="273"/>
                  </a:lnTo>
                  <a:lnTo>
                    <a:pt x="238" y="276"/>
                  </a:lnTo>
                  <a:lnTo>
                    <a:pt x="235" y="282"/>
                  </a:lnTo>
                  <a:lnTo>
                    <a:pt x="234" y="284"/>
                  </a:lnTo>
                  <a:lnTo>
                    <a:pt x="233" y="286"/>
                  </a:lnTo>
                  <a:lnTo>
                    <a:pt x="231" y="288"/>
                  </a:lnTo>
                  <a:lnTo>
                    <a:pt x="227" y="291"/>
                  </a:lnTo>
                  <a:lnTo>
                    <a:pt x="225" y="293"/>
                  </a:lnTo>
                  <a:lnTo>
                    <a:pt x="223" y="294"/>
                  </a:lnTo>
                  <a:lnTo>
                    <a:pt x="220" y="296"/>
                  </a:lnTo>
                  <a:lnTo>
                    <a:pt x="219" y="298"/>
                  </a:lnTo>
                  <a:lnTo>
                    <a:pt x="218" y="300"/>
                  </a:lnTo>
                  <a:lnTo>
                    <a:pt x="217" y="301"/>
                  </a:lnTo>
                  <a:lnTo>
                    <a:pt x="217" y="303"/>
                  </a:lnTo>
                  <a:lnTo>
                    <a:pt x="216" y="304"/>
                  </a:lnTo>
                  <a:lnTo>
                    <a:pt x="215" y="310"/>
                  </a:lnTo>
                  <a:lnTo>
                    <a:pt x="215" y="312"/>
                  </a:lnTo>
                  <a:lnTo>
                    <a:pt x="215" y="313"/>
                  </a:lnTo>
                  <a:lnTo>
                    <a:pt x="214" y="314"/>
                  </a:lnTo>
                  <a:lnTo>
                    <a:pt x="214" y="315"/>
                  </a:lnTo>
                  <a:lnTo>
                    <a:pt x="211" y="317"/>
                  </a:lnTo>
                  <a:lnTo>
                    <a:pt x="208" y="320"/>
                  </a:lnTo>
                  <a:lnTo>
                    <a:pt x="205" y="321"/>
                  </a:lnTo>
                  <a:lnTo>
                    <a:pt x="204" y="322"/>
                  </a:lnTo>
                  <a:lnTo>
                    <a:pt x="203" y="322"/>
                  </a:lnTo>
                  <a:lnTo>
                    <a:pt x="200" y="322"/>
                  </a:lnTo>
                  <a:lnTo>
                    <a:pt x="198" y="321"/>
                  </a:lnTo>
                  <a:lnTo>
                    <a:pt x="197" y="321"/>
                  </a:lnTo>
                  <a:lnTo>
                    <a:pt x="195" y="320"/>
                  </a:lnTo>
                  <a:lnTo>
                    <a:pt x="189" y="315"/>
                  </a:lnTo>
                  <a:lnTo>
                    <a:pt x="187" y="315"/>
                  </a:lnTo>
                  <a:lnTo>
                    <a:pt x="181" y="313"/>
                  </a:lnTo>
                  <a:lnTo>
                    <a:pt x="177" y="311"/>
                  </a:lnTo>
                  <a:lnTo>
                    <a:pt x="176" y="310"/>
                  </a:lnTo>
                  <a:lnTo>
                    <a:pt x="175" y="310"/>
                  </a:lnTo>
                  <a:lnTo>
                    <a:pt x="174" y="309"/>
                  </a:lnTo>
                  <a:lnTo>
                    <a:pt x="173" y="308"/>
                  </a:lnTo>
                  <a:lnTo>
                    <a:pt x="172" y="306"/>
                  </a:lnTo>
                  <a:lnTo>
                    <a:pt x="169" y="301"/>
                  </a:lnTo>
                  <a:lnTo>
                    <a:pt x="165" y="294"/>
                  </a:lnTo>
                  <a:lnTo>
                    <a:pt x="163" y="291"/>
                  </a:lnTo>
                  <a:lnTo>
                    <a:pt x="160" y="287"/>
                  </a:lnTo>
                  <a:lnTo>
                    <a:pt x="159" y="285"/>
                  </a:lnTo>
                  <a:lnTo>
                    <a:pt x="157" y="283"/>
                  </a:lnTo>
                  <a:lnTo>
                    <a:pt x="155" y="281"/>
                  </a:lnTo>
                  <a:lnTo>
                    <a:pt x="151" y="280"/>
                  </a:lnTo>
                  <a:lnTo>
                    <a:pt x="149" y="278"/>
                  </a:lnTo>
                  <a:lnTo>
                    <a:pt x="147" y="277"/>
                  </a:lnTo>
                  <a:lnTo>
                    <a:pt x="147" y="277"/>
                  </a:lnTo>
                  <a:lnTo>
                    <a:pt x="145" y="277"/>
                  </a:lnTo>
                  <a:lnTo>
                    <a:pt x="144" y="277"/>
                  </a:lnTo>
                  <a:lnTo>
                    <a:pt x="142" y="277"/>
                  </a:lnTo>
                  <a:lnTo>
                    <a:pt x="140" y="278"/>
                  </a:lnTo>
                  <a:lnTo>
                    <a:pt x="138" y="280"/>
                  </a:lnTo>
                  <a:lnTo>
                    <a:pt x="134" y="282"/>
                  </a:lnTo>
                  <a:lnTo>
                    <a:pt x="133" y="283"/>
                  </a:lnTo>
                  <a:lnTo>
                    <a:pt x="130" y="285"/>
                  </a:lnTo>
                  <a:lnTo>
                    <a:pt x="128" y="286"/>
                  </a:lnTo>
                  <a:lnTo>
                    <a:pt x="124" y="287"/>
                  </a:lnTo>
                  <a:lnTo>
                    <a:pt x="120" y="288"/>
                  </a:lnTo>
                  <a:lnTo>
                    <a:pt x="116" y="288"/>
                  </a:lnTo>
                  <a:lnTo>
                    <a:pt x="112" y="287"/>
                  </a:lnTo>
                  <a:lnTo>
                    <a:pt x="110" y="287"/>
                  </a:lnTo>
                  <a:lnTo>
                    <a:pt x="108" y="287"/>
                  </a:lnTo>
                  <a:lnTo>
                    <a:pt x="105" y="288"/>
                  </a:lnTo>
                  <a:lnTo>
                    <a:pt x="102" y="289"/>
                  </a:lnTo>
                  <a:lnTo>
                    <a:pt x="96" y="291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5" y="296"/>
                  </a:lnTo>
                  <a:lnTo>
                    <a:pt x="79" y="301"/>
                  </a:lnTo>
                  <a:lnTo>
                    <a:pt x="76" y="303"/>
                  </a:lnTo>
                  <a:lnTo>
                    <a:pt x="73" y="304"/>
                  </a:lnTo>
                  <a:lnTo>
                    <a:pt x="73" y="305"/>
                  </a:lnTo>
                  <a:lnTo>
                    <a:pt x="72" y="306"/>
                  </a:lnTo>
                  <a:lnTo>
                    <a:pt x="71" y="308"/>
                  </a:lnTo>
                  <a:lnTo>
                    <a:pt x="71" y="310"/>
                  </a:lnTo>
                  <a:lnTo>
                    <a:pt x="71" y="311"/>
                  </a:lnTo>
                  <a:lnTo>
                    <a:pt x="71" y="316"/>
                  </a:lnTo>
                  <a:lnTo>
                    <a:pt x="71" y="317"/>
                  </a:lnTo>
                  <a:lnTo>
                    <a:pt x="70" y="320"/>
                  </a:lnTo>
                  <a:lnTo>
                    <a:pt x="70" y="324"/>
                  </a:lnTo>
                  <a:lnTo>
                    <a:pt x="69" y="327"/>
                  </a:lnTo>
                  <a:lnTo>
                    <a:pt x="68" y="328"/>
                  </a:lnTo>
                  <a:lnTo>
                    <a:pt x="68" y="330"/>
                  </a:lnTo>
                  <a:lnTo>
                    <a:pt x="67" y="331"/>
                  </a:lnTo>
                  <a:lnTo>
                    <a:pt x="66" y="332"/>
                  </a:lnTo>
                  <a:lnTo>
                    <a:pt x="63" y="334"/>
                  </a:lnTo>
                  <a:lnTo>
                    <a:pt x="61" y="335"/>
                  </a:lnTo>
                  <a:lnTo>
                    <a:pt x="60" y="336"/>
                  </a:lnTo>
                  <a:lnTo>
                    <a:pt x="58" y="338"/>
                  </a:lnTo>
                  <a:lnTo>
                    <a:pt x="56" y="339"/>
                  </a:lnTo>
                  <a:lnTo>
                    <a:pt x="51" y="344"/>
                  </a:lnTo>
                  <a:lnTo>
                    <a:pt x="47" y="347"/>
                  </a:lnTo>
                  <a:lnTo>
                    <a:pt x="45" y="349"/>
                  </a:lnTo>
                  <a:lnTo>
                    <a:pt x="38" y="351"/>
                  </a:lnTo>
                  <a:lnTo>
                    <a:pt x="37" y="352"/>
                  </a:lnTo>
                  <a:lnTo>
                    <a:pt x="35" y="353"/>
                  </a:lnTo>
                  <a:lnTo>
                    <a:pt x="34" y="353"/>
                  </a:lnTo>
                  <a:lnTo>
                    <a:pt x="33" y="353"/>
                  </a:lnTo>
                  <a:lnTo>
                    <a:pt x="31" y="354"/>
                  </a:lnTo>
                  <a:lnTo>
                    <a:pt x="30" y="353"/>
                  </a:lnTo>
                  <a:lnTo>
                    <a:pt x="25" y="353"/>
                  </a:lnTo>
                  <a:lnTo>
                    <a:pt x="23" y="353"/>
                  </a:lnTo>
                  <a:lnTo>
                    <a:pt x="22" y="353"/>
                  </a:lnTo>
                  <a:lnTo>
                    <a:pt x="22" y="353"/>
                  </a:lnTo>
                  <a:lnTo>
                    <a:pt x="21" y="353"/>
                  </a:lnTo>
                  <a:lnTo>
                    <a:pt x="20" y="354"/>
                  </a:lnTo>
                  <a:lnTo>
                    <a:pt x="20" y="353"/>
                  </a:lnTo>
                  <a:lnTo>
                    <a:pt x="19" y="352"/>
                  </a:lnTo>
                  <a:lnTo>
                    <a:pt x="17" y="351"/>
                  </a:lnTo>
                  <a:lnTo>
                    <a:pt x="13" y="349"/>
                  </a:lnTo>
                  <a:lnTo>
                    <a:pt x="6" y="347"/>
                  </a:lnTo>
                  <a:lnTo>
                    <a:pt x="4" y="346"/>
                  </a:lnTo>
                  <a:lnTo>
                    <a:pt x="3" y="346"/>
                  </a:lnTo>
                  <a:lnTo>
                    <a:pt x="2" y="345"/>
                  </a:lnTo>
                  <a:lnTo>
                    <a:pt x="1" y="344"/>
                  </a:lnTo>
                  <a:lnTo>
                    <a:pt x="0" y="341"/>
                  </a:lnTo>
                  <a:lnTo>
                    <a:pt x="0" y="340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2" y="329"/>
                  </a:lnTo>
                  <a:lnTo>
                    <a:pt x="3" y="327"/>
                  </a:lnTo>
                  <a:lnTo>
                    <a:pt x="3" y="324"/>
                  </a:lnTo>
                  <a:lnTo>
                    <a:pt x="3" y="319"/>
                  </a:lnTo>
                  <a:lnTo>
                    <a:pt x="3" y="311"/>
                  </a:lnTo>
                  <a:lnTo>
                    <a:pt x="4" y="308"/>
                  </a:lnTo>
                  <a:lnTo>
                    <a:pt x="4" y="305"/>
                  </a:lnTo>
                  <a:lnTo>
                    <a:pt x="4" y="303"/>
                  </a:lnTo>
                  <a:lnTo>
                    <a:pt x="5" y="302"/>
                  </a:lnTo>
                  <a:lnTo>
                    <a:pt x="8" y="295"/>
                  </a:lnTo>
                  <a:lnTo>
                    <a:pt x="9" y="291"/>
                  </a:lnTo>
                  <a:lnTo>
                    <a:pt x="10" y="287"/>
                  </a:lnTo>
                  <a:lnTo>
                    <a:pt x="11" y="285"/>
                  </a:lnTo>
                  <a:lnTo>
                    <a:pt x="11" y="282"/>
                  </a:lnTo>
                  <a:lnTo>
                    <a:pt x="11" y="279"/>
                  </a:lnTo>
                  <a:lnTo>
                    <a:pt x="11" y="277"/>
                  </a:lnTo>
                  <a:lnTo>
                    <a:pt x="10" y="270"/>
                  </a:lnTo>
                  <a:lnTo>
                    <a:pt x="10" y="266"/>
                  </a:lnTo>
                  <a:lnTo>
                    <a:pt x="10" y="263"/>
                  </a:lnTo>
                  <a:lnTo>
                    <a:pt x="11" y="252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2" y="246"/>
                  </a:lnTo>
                  <a:lnTo>
                    <a:pt x="15" y="238"/>
                  </a:lnTo>
                  <a:lnTo>
                    <a:pt x="17" y="233"/>
                  </a:lnTo>
                  <a:lnTo>
                    <a:pt x="18" y="229"/>
                  </a:lnTo>
                  <a:lnTo>
                    <a:pt x="19" y="228"/>
                  </a:lnTo>
                  <a:lnTo>
                    <a:pt x="20" y="226"/>
                  </a:lnTo>
                  <a:lnTo>
                    <a:pt x="22" y="225"/>
                  </a:lnTo>
                  <a:lnTo>
                    <a:pt x="22" y="224"/>
                  </a:lnTo>
                  <a:lnTo>
                    <a:pt x="27" y="220"/>
                  </a:lnTo>
                  <a:lnTo>
                    <a:pt x="28" y="219"/>
                  </a:lnTo>
                  <a:lnTo>
                    <a:pt x="29" y="218"/>
                  </a:lnTo>
                  <a:lnTo>
                    <a:pt x="29" y="217"/>
                  </a:lnTo>
                  <a:lnTo>
                    <a:pt x="30" y="215"/>
                  </a:lnTo>
                  <a:lnTo>
                    <a:pt x="30" y="214"/>
                  </a:lnTo>
                  <a:lnTo>
                    <a:pt x="31" y="212"/>
                  </a:lnTo>
                  <a:lnTo>
                    <a:pt x="31" y="209"/>
                  </a:lnTo>
                  <a:lnTo>
                    <a:pt x="31" y="205"/>
                  </a:lnTo>
                  <a:lnTo>
                    <a:pt x="30" y="200"/>
                  </a:lnTo>
                  <a:lnTo>
                    <a:pt x="30" y="195"/>
                  </a:lnTo>
                  <a:lnTo>
                    <a:pt x="29" y="183"/>
                  </a:lnTo>
                  <a:lnTo>
                    <a:pt x="27" y="173"/>
                  </a:lnTo>
                  <a:lnTo>
                    <a:pt x="26" y="163"/>
                  </a:lnTo>
                  <a:lnTo>
                    <a:pt x="25" y="156"/>
                  </a:lnTo>
                  <a:lnTo>
                    <a:pt x="24" y="155"/>
                  </a:lnTo>
                  <a:lnTo>
                    <a:pt x="24" y="153"/>
                  </a:lnTo>
                  <a:lnTo>
                    <a:pt x="23" y="152"/>
                  </a:lnTo>
                  <a:lnTo>
                    <a:pt x="22" y="152"/>
                  </a:lnTo>
                  <a:lnTo>
                    <a:pt x="21" y="151"/>
                  </a:lnTo>
                  <a:lnTo>
                    <a:pt x="20" y="151"/>
                  </a:lnTo>
                  <a:lnTo>
                    <a:pt x="18" y="151"/>
                  </a:lnTo>
                  <a:lnTo>
                    <a:pt x="17" y="151"/>
                  </a:lnTo>
                  <a:lnTo>
                    <a:pt x="18" y="151"/>
                  </a:lnTo>
                  <a:lnTo>
                    <a:pt x="18" y="150"/>
                  </a:lnTo>
                  <a:lnTo>
                    <a:pt x="19" y="148"/>
                  </a:lnTo>
                  <a:lnTo>
                    <a:pt x="19" y="147"/>
                  </a:lnTo>
                  <a:lnTo>
                    <a:pt x="19" y="145"/>
                  </a:lnTo>
                  <a:lnTo>
                    <a:pt x="19" y="144"/>
                  </a:lnTo>
                  <a:lnTo>
                    <a:pt x="19" y="140"/>
                  </a:lnTo>
                  <a:lnTo>
                    <a:pt x="19" y="138"/>
                  </a:lnTo>
                  <a:lnTo>
                    <a:pt x="18" y="134"/>
                  </a:lnTo>
                  <a:lnTo>
                    <a:pt x="17" y="132"/>
                  </a:lnTo>
                  <a:lnTo>
                    <a:pt x="15" y="126"/>
                  </a:lnTo>
                  <a:lnTo>
                    <a:pt x="14" y="124"/>
                  </a:lnTo>
                  <a:lnTo>
                    <a:pt x="14" y="122"/>
                  </a:lnTo>
                  <a:lnTo>
                    <a:pt x="13" y="120"/>
                  </a:lnTo>
                  <a:lnTo>
                    <a:pt x="14" y="117"/>
                  </a:lnTo>
                  <a:lnTo>
                    <a:pt x="14" y="116"/>
                  </a:lnTo>
                  <a:lnTo>
                    <a:pt x="14" y="115"/>
                  </a:lnTo>
                  <a:lnTo>
                    <a:pt x="15" y="114"/>
                  </a:lnTo>
                  <a:lnTo>
                    <a:pt x="16" y="113"/>
                  </a:lnTo>
                  <a:lnTo>
                    <a:pt x="17" y="112"/>
                  </a:lnTo>
                  <a:lnTo>
                    <a:pt x="18" y="111"/>
                  </a:lnTo>
                  <a:lnTo>
                    <a:pt x="19" y="110"/>
                  </a:lnTo>
                  <a:lnTo>
                    <a:pt x="21" y="109"/>
                  </a:lnTo>
                  <a:lnTo>
                    <a:pt x="22" y="109"/>
                  </a:lnTo>
                  <a:lnTo>
                    <a:pt x="25" y="108"/>
                  </a:lnTo>
                  <a:lnTo>
                    <a:pt x="28" y="107"/>
                  </a:lnTo>
                  <a:lnTo>
                    <a:pt x="30" y="106"/>
                  </a:lnTo>
                  <a:lnTo>
                    <a:pt x="32" y="106"/>
                  </a:lnTo>
                  <a:lnTo>
                    <a:pt x="34" y="106"/>
                  </a:lnTo>
                  <a:lnTo>
                    <a:pt x="41" y="106"/>
                  </a:lnTo>
                  <a:lnTo>
                    <a:pt x="48" y="107"/>
                  </a:lnTo>
                  <a:lnTo>
                    <a:pt x="52" y="107"/>
                  </a:lnTo>
                  <a:lnTo>
                    <a:pt x="55" y="107"/>
                  </a:lnTo>
                  <a:lnTo>
                    <a:pt x="58" y="108"/>
                  </a:lnTo>
                  <a:lnTo>
                    <a:pt x="61" y="109"/>
                  </a:lnTo>
                  <a:lnTo>
                    <a:pt x="72" y="112"/>
                  </a:lnTo>
                  <a:lnTo>
                    <a:pt x="75" y="113"/>
                  </a:lnTo>
                  <a:lnTo>
                    <a:pt x="79" y="113"/>
                  </a:lnTo>
                  <a:lnTo>
                    <a:pt x="81" y="113"/>
                  </a:lnTo>
                  <a:lnTo>
                    <a:pt x="84" y="113"/>
                  </a:lnTo>
                  <a:lnTo>
                    <a:pt x="86" y="113"/>
                  </a:lnTo>
                  <a:lnTo>
                    <a:pt x="88" y="112"/>
                  </a:lnTo>
                  <a:lnTo>
                    <a:pt x="90" y="112"/>
                  </a:lnTo>
                  <a:lnTo>
                    <a:pt x="90" y="111"/>
                  </a:lnTo>
                  <a:lnTo>
                    <a:pt x="92" y="111"/>
                  </a:lnTo>
                  <a:lnTo>
                    <a:pt x="93" y="111"/>
                  </a:lnTo>
                  <a:lnTo>
                    <a:pt x="94" y="110"/>
                  </a:lnTo>
                  <a:lnTo>
                    <a:pt x="95" y="108"/>
                  </a:lnTo>
                  <a:lnTo>
                    <a:pt x="97" y="106"/>
                  </a:lnTo>
                  <a:lnTo>
                    <a:pt x="99" y="102"/>
                  </a:lnTo>
                  <a:lnTo>
                    <a:pt x="101" y="99"/>
                  </a:lnTo>
                  <a:lnTo>
                    <a:pt x="102" y="95"/>
                  </a:lnTo>
                  <a:lnTo>
                    <a:pt x="103" y="91"/>
                  </a:lnTo>
                  <a:lnTo>
                    <a:pt x="104" y="89"/>
                  </a:lnTo>
                  <a:lnTo>
                    <a:pt x="106" y="86"/>
                  </a:lnTo>
                  <a:lnTo>
                    <a:pt x="113" y="77"/>
                  </a:lnTo>
                  <a:lnTo>
                    <a:pt x="115" y="72"/>
                  </a:lnTo>
                  <a:lnTo>
                    <a:pt x="117" y="67"/>
                  </a:lnTo>
                  <a:lnTo>
                    <a:pt x="119" y="65"/>
                  </a:lnTo>
                  <a:lnTo>
                    <a:pt x="120" y="62"/>
                  </a:lnTo>
                  <a:lnTo>
                    <a:pt x="120" y="59"/>
                  </a:lnTo>
                  <a:lnTo>
                    <a:pt x="120" y="55"/>
                  </a:lnTo>
                  <a:lnTo>
                    <a:pt x="121" y="53"/>
                  </a:lnTo>
                  <a:lnTo>
                    <a:pt x="121" y="51"/>
                  </a:lnTo>
                  <a:lnTo>
                    <a:pt x="123" y="49"/>
                  </a:lnTo>
                  <a:lnTo>
                    <a:pt x="124" y="48"/>
                  </a:lnTo>
                  <a:lnTo>
                    <a:pt x="124" y="47"/>
                  </a:lnTo>
                  <a:lnTo>
                    <a:pt x="126" y="47"/>
                  </a:lnTo>
                  <a:lnTo>
                    <a:pt x="127" y="47"/>
                  </a:lnTo>
                  <a:lnTo>
                    <a:pt x="129" y="47"/>
                  </a:lnTo>
                  <a:lnTo>
                    <a:pt x="131" y="48"/>
                  </a:lnTo>
                  <a:lnTo>
                    <a:pt x="139" y="51"/>
                  </a:lnTo>
                  <a:lnTo>
                    <a:pt x="141" y="52"/>
                  </a:lnTo>
                  <a:lnTo>
                    <a:pt x="142" y="53"/>
                  </a:lnTo>
                  <a:lnTo>
                    <a:pt x="145" y="53"/>
                  </a:lnTo>
                  <a:lnTo>
                    <a:pt x="147" y="52"/>
                  </a:lnTo>
                  <a:lnTo>
                    <a:pt x="148" y="52"/>
                  </a:lnTo>
                  <a:lnTo>
                    <a:pt x="149" y="51"/>
                  </a:lnTo>
                  <a:lnTo>
                    <a:pt x="151" y="50"/>
                  </a:lnTo>
                  <a:lnTo>
                    <a:pt x="153" y="48"/>
                  </a:lnTo>
                  <a:lnTo>
                    <a:pt x="155" y="46"/>
                  </a:lnTo>
                  <a:lnTo>
                    <a:pt x="156" y="44"/>
                  </a:lnTo>
                  <a:lnTo>
                    <a:pt x="157" y="41"/>
                  </a:lnTo>
                  <a:lnTo>
                    <a:pt x="159" y="37"/>
                  </a:lnTo>
                  <a:lnTo>
                    <a:pt x="159" y="33"/>
                  </a:lnTo>
                  <a:lnTo>
                    <a:pt x="159" y="30"/>
                  </a:lnTo>
                  <a:lnTo>
                    <a:pt x="160" y="30"/>
                  </a:lnTo>
                  <a:lnTo>
                    <a:pt x="161" y="29"/>
                  </a:lnTo>
                  <a:lnTo>
                    <a:pt x="166" y="26"/>
                  </a:lnTo>
                  <a:lnTo>
                    <a:pt x="171" y="23"/>
                  </a:lnTo>
                  <a:lnTo>
                    <a:pt x="173" y="22"/>
                  </a:lnTo>
                  <a:lnTo>
                    <a:pt x="174" y="21"/>
                  </a:lnTo>
                  <a:lnTo>
                    <a:pt x="175" y="21"/>
                  </a:lnTo>
                  <a:lnTo>
                    <a:pt x="179" y="14"/>
                  </a:lnTo>
                  <a:lnTo>
                    <a:pt x="181" y="12"/>
                  </a:lnTo>
                  <a:lnTo>
                    <a:pt x="182" y="10"/>
                  </a:lnTo>
                  <a:lnTo>
                    <a:pt x="183" y="9"/>
                  </a:lnTo>
                  <a:lnTo>
                    <a:pt x="185" y="9"/>
                  </a:lnTo>
                  <a:lnTo>
                    <a:pt x="186" y="8"/>
                  </a:lnTo>
                  <a:lnTo>
                    <a:pt x="189" y="7"/>
                  </a:lnTo>
                  <a:lnTo>
                    <a:pt x="191" y="6"/>
                  </a:lnTo>
                  <a:lnTo>
                    <a:pt x="193" y="6"/>
                  </a:lnTo>
                  <a:lnTo>
                    <a:pt x="193" y="6"/>
                  </a:lnTo>
                  <a:lnTo>
                    <a:pt x="196" y="6"/>
                  </a:lnTo>
                  <a:lnTo>
                    <a:pt x="204" y="8"/>
                  </a:lnTo>
                  <a:lnTo>
                    <a:pt x="205" y="8"/>
                  </a:lnTo>
                  <a:lnTo>
                    <a:pt x="209" y="7"/>
                  </a:lnTo>
                  <a:lnTo>
                    <a:pt x="213" y="6"/>
                  </a:lnTo>
                  <a:lnTo>
                    <a:pt x="215" y="5"/>
                  </a:lnTo>
                  <a:lnTo>
                    <a:pt x="219" y="4"/>
                  </a:lnTo>
                  <a:lnTo>
                    <a:pt x="230" y="0"/>
                  </a:lnTo>
                  <a:lnTo>
                    <a:pt x="232" y="0"/>
                  </a:lnTo>
                  <a:lnTo>
                    <a:pt x="232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5" name="Freeform 8">
              <a:extLst>
                <a:ext uri="{FF2B5EF4-FFF2-40B4-BE49-F238E27FC236}">
                  <a16:creationId xmlns:a16="http://schemas.microsoft.com/office/drawing/2014/main" id="{CEC7A29A-D20F-437E-9241-AA6EDD62E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8" y="1813"/>
              <a:ext cx="332" cy="372"/>
            </a:xfrm>
            <a:custGeom>
              <a:avLst/>
              <a:gdLst>
                <a:gd name="T0" fmla="*/ 127 w 332"/>
                <a:gd name="T1" fmla="*/ 6 h 372"/>
                <a:gd name="T2" fmla="*/ 132 w 332"/>
                <a:gd name="T3" fmla="*/ 1 h 372"/>
                <a:gd name="T4" fmla="*/ 148 w 332"/>
                <a:gd name="T5" fmla="*/ 7 h 372"/>
                <a:gd name="T6" fmla="*/ 205 w 332"/>
                <a:gd name="T7" fmla="*/ 17 h 372"/>
                <a:gd name="T8" fmla="*/ 241 w 332"/>
                <a:gd name="T9" fmla="*/ 11 h 372"/>
                <a:gd name="T10" fmla="*/ 257 w 332"/>
                <a:gd name="T11" fmla="*/ 11 h 372"/>
                <a:gd name="T12" fmla="*/ 287 w 332"/>
                <a:gd name="T13" fmla="*/ 18 h 372"/>
                <a:gd name="T14" fmla="*/ 303 w 332"/>
                <a:gd name="T15" fmla="*/ 25 h 372"/>
                <a:gd name="T16" fmla="*/ 321 w 332"/>
                <a:gd name="T17" fmla="*/ 28 h 372"/>
                <a:gd name="T18" fmla="*/ 332 w 332"/>
                <a:gd name="T19" fmla="*/ 48 h 372"/>
                <a:gd name="T20" fmla="*/ 327 w 332"/>
                <a:gd name="T21" fmla="*/ 70 h 372"/>
                <a:gd name="T22" fmla="*/ 303 w 332"/>
                <a:gd name="T23" fmla="*/ 102 h 372"/>
                <a:gd name="T24" fmla="*/ 285 w 332"/>
                <a:gd name="T25" fmla="*/ 113 h 372"/>
                <a:gd name="T26" fmla="*/ 276 w 332"/>
                <a:gd name="T27" fmla="*/ 134 h 372"/>
                <a:gd name="T28" fmla="*/ 299 w 332"/>
                <a:gd name="T29" fmla="*/ 147 h 372"/>
                <a:gd name="T30" fmla="*/ 328 w 332"/>
                <a:gd name="T31" fmla="*/ 160 h 372"/>
                <a:gd name="T32" fmla="*/ 310 w 332"/>
                <a:gd name="T33" fmla="*/ 179 h 372"/>
                <a:gd name="T34" fmla="*/ 295 w 332"/>
                <a:gd name="T35" fmla="*/ 198 h 372"/>
                <a:gd name="T36" fmla="*/ 284 w 332"/>
                <a:gd name="T37" fmla="*/ 214 h 372"/>
                <a:gd name="T38" fmla="*/ 276 w 332"/>
                <a:gd name="T39" fmla="*/ 229 h 372"/>
                <a:gd name="T40" fmla="*/ 276 w 332"/>
                <a:gd name="T41" fmla="*/ 245 h 372"/>
                <a:gd name="T42" fmla="*/ 264 w 332"/>
                <a:gd name="T43" fmla="*/ 266 h 372"/>
                <a:gd name="T44" fmla="*/ 254 w 332"/>
                <a:gd name="T45" fmla="*/ 289 h 372"/>
                <a:gd name="T46" fmla="*/ 228 w 332"/>
                <a:gd name="T47" fmla="*/ 313 h 372"/>
                <a:gd name="T48" fmla="*/ 217 w 332"/>
                <a:gd name="T49" fmla="*/ 329 h 372"/>
                <a:gd name="T50" fmla="*/ 208 w 332"/>
                <a:gd name="T51" fmla="*/ 343 h 372"/>
                <a:gd name="T52" fmla="*/ 187 w 332"/>
                <a:gd name="T53" fmla="*/ 347 h 372"/>
                <a:gd name="T54" fmla="*/ 180 w 332"/>
                <a:gd name="T55" fmla="*/ 344 h 372"/>
                <a:gd name="T56" fmla="*/ 178 w 332"/>
                <a:gd name="T57" fmla="*/ 351 h 372"/>
                <a:gd name="T58" fmla="*/ 171 w 332"/>
                <a:gd name="T59" fmla="*/ 346 h 372"/>
                <a:gd name="T60" fmla="*/ 148 w 332"/>
                <a:gd name="T61" fmla="*/ 348 h 372"/>
                <a:gd name="T62" fmla="*/ 124 w 332"/>
                <a:gd name="T63" fmla="*/ 349 h 372"/>
                <a:gd name="T64" fmla="*/ 109 w 332"/>
                <a:gd name="T65" fmla="*/ 363 h 372"/>
                <a:gd name="T66" fmla="*/ 92 w 332"/>
                <a:gd name="T67" fmla="*/ 368 h 372"/>
                <a:gd name="T68" fmla="*/ 72 w 332"/>
                <a:gd name="T69" fmla="*/ 352 h 372"/>
                <a:gd name="T70" fmla="*/ 52 w 332"/>
                <a:gd name="T71" fmla="*/ 340 h 372"/>
                <a:gd name="T72" fmla="*/ 22 w 332"/>
                <a:gd name="T73" fmla="*/ 303 h 372"/>
                <a:gd name="T74" fmla="*/ 7 w 332"/>
                <a:gd name="T75" fmla="*/ 273 h 372"/>
                <a:gd name="T76" fmla="*/ 14 w 332"/>
                <a:gd name="T77" fmla="*/ 255 h 372"/>
                <a:gd name="T78" fmla="*/ 44 w 332"/>
                <a:gd name="T79" fmla="*/ 257 h 372"/>
                <a:gd name="T80" fmla="*/ 58 w 332"/>
                <a:gd name="T81" fmla="*/ 248 h 372"/>
                <a:gd name="T82" fmla="*/ 58 w 332"/>
                <a:gd name="T83" fmla="*/ 229 h 372"/>
                <a:gd name="T84" fmla="*/ 58 w 332"/>
                <a:gd name="T85" fmla="*/ 205 h 372"/>
                <a:gd name="T86" fmla="*/ 67 w 332"/>
                <a:gd name="T87" fmla="*/ 186 h 372"/>
                <a:gd name="T88" fmla="*/ 54 w 332"/>
                <a:gd name="T89" fmla="*/ 163 h 372"/>
                <a:gd name="T90" fmla="*/ 34 w 332"/>
                <a:gd name="T91" fmla="*/ 143 h 372"/>
                <a:gd name="T92" fmla="*/ 18 w 332"/>
                <a:gd name="T93" fmla="*/ 125 h 372"/>
                <a:gd name="T94" fmla="*/ 14 w 332"/>
                <a:gd name="T95" fmla="*/ 120 h 372"/>
                <a:gd name="T96" fmla="*/ 0 w 332"/>
                <a:gd name="T97" fmla="*/ 115 h 372"/>
                <a:gd name="T98" fmla="*/ 14 w 332"/>
                <a:gd name="T99" fmla="*/ 93 h 372"/>
                <a:gd name="T100" fmla="*/ 39 w 332"/>
                <a:gd name="T101" fmla="*/ 83 h 372"/>
                <a:gd name="T102" fmla="*/ 63 w 332"/>
                <a:gd name="T103" fmla="*/ 67 h 372"/>
                <a:gd name="T104" fmla="*/ 72 w 332"/>
                <a:gd name="T105" fmla="*/ 50 h 372"/>
                <a:gd name="T106" fmla="*/ 92 w 332"/>
                <a:gd name="T107" fmla="*/ 47 h 372"/>
                <a:gd name="T108" fmla="*/ 95 w 332"/>
                <a:gd name="T109" fmla="*/ 33 h 372"/>
                <a:gd name="T110" fmla="*/ 99 w 332"/>
                <a:gd name="T111" fmla="*/ 14 h 372"/>
                <a:gd name="T112" fmla="*/ 116 w 332"/>
                <a:gd name="T113" fmla="*/ 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2" h="372">
                  <a:moveTo>
                    <a:pt x="121" y="0"/>
                  </a:moveTo>
                  <a:lnTo>
                    <a:pt x="122" y="1"/>
                  </a:lnTo>
                  <a:lnTo>
                    <a:pt x="122" y="1"/>
                  </a:lnTo>
                  <a:lnTo>
                    <a:pt x="122" y="1"/>
                  </a:lnTo>
                  <a:lnTo>
                    <a:pt x="123" y="2"/>
                  </a:lnTo>
                  <a:lnTo>
                    <a:pt x="123" y="3"/>
                  </a:lnTo>
                  <a:lnTo>
                    <a:pt x="125" y="4"/>
                  </a:lnTo>
                  <a:lnTo>
                    <a:pt x="127" y="6"/>
                  </a:lnTo>
                  <a:lnTo>
                    <a:pt x="128" y="6"/>
                  </a:lnTo>
                  <a:lnTo>
                    <a:pt x="128" y="6"/>
                  </a:lnTo>
                  <a:lnTo>
                    <a:pt x="128" y="6"/>
                  </a:lnTo>
                  <a:lnTo>
                    <a:pt x="128" y="5"/>
                  </a:lnTo>
                  <a:lnTo>
                    <a:pt x="129" y="3"/>
                  </a:lnTo>
                  <a:lnTo>
                    <a:pt x="129" y="2"/>
                  </a:lnTo>
                  <a:lnTo>
                    <a:pt x="130" y="2"/>
                  </a:lnTo>
                  <a:lnTo>
                    <a:pt x="132" y="1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3" y="1"/>
                  </a:lnTo>
                  <a:lnTo>
                    <a:pt x="134" y="1"/>
                  </a:lnTo>
                  <a:lnTo>
                    <a:pt x="139" y="4"/>
                  </a:lnTo>
                  <a:lnTo>
                    <a:pt x="144" y="6"/>
                  </a:lnTo>
                  <a:lnTo>
                    <a:pt x="146" y="6"/>
                  </a:lnTo>
                  <a:lnTo>
                    <a:pt x="148" y="7"/>
                  </a:lnTo>
                  <a:lnTo>
                    <a:pt x="158" y="11"/>
                  </a:lnTo>
                  <a:lnTo>
                    <a:pt x="162" y="11"/>
                  </a:lnTo>
                  <a:lnTo>
                    <a:pt x="166" y="12"/>
                  </a:lnTo>
                  <a:lnTo>
                    <a:pt x="171" y="13"/>
                  </a:lnTo>
                  <a:lnTo>
                    <a:pt x="176" y="14"/>
                  </a:lnTo>
                  <a:lnTo>
                    <a:pt x="187" y="15"/>
                  </a:lnTo>
                  <a:lnTo>
                    <a:pt x="199" y="16"/>
                  </a:lnTo>
                  <a:lnTo>
                    <a:pt x="205" y="17"/>
                  </a:lnTo>
                  <a:lnTo>
                    <a:pt x="212" y="17"/>
                  </a:lnTo>
                  <a:lnTo>
                    <a:pt x="217" y="17"/>
                  </a:lnTo>
                  <a:lnTo>
                    <a:pt x="222" y="16"/>
                  </a:lnTo>
                  <a:lnTo>
                    <a:pt x="227" y="15"/>
                  </a:lnTo>
                  <a:lnTo>
                    <a:pt x="230" y="14"/>
                  </a:lnTo>
                  <a:lnTo>
                    <a:pt x="236" y="13"/>
                  </a:lnTo>
                  <a:lnTo>
                    <a:pt x="239" y="11"/>
                  </a:lnTo>
                  <a:lnTo>
                    <a:pt x="241" y="11"/>
                  </a:lnTo>
                  <a:lnTo>
                    <a:pt x="244" y="8"/>
                  </a:lnTo>
                  <a:lnTo>
                    <a:pt x="245" y="7"/>
                  </a:lnTo>
                  <a:lnTo>
                    <a:pt x="247" y="7"/>
                  </a:lnTo>
                  <a:lnTo>
                    <a:pt x="249" y="7"/>
                  </a:lnTo>
                  <a:lnTo>
                    <a:pt x="251" y="7"/>
                  </a:lnTo>
                  <a:lnTo>
                    <a:pt x="252" y="7"/>
                  </a:lnTo>
                  <a:lnTo>
                    <a:pt x="255" y="10"/>
                  </a:lnTo>
                  <a:lnTo>
                    <a:pt x="257" y="11"/>
                  </a:lnTo>
                  <a:lnTo>
                    <a:pt x="259" y="11"/>
                  </a:lnTo>
                  <a:lnTo>
                    <a:pt x="262" y="11"/>
                  </a:lnTo>
                  <a:lnTo>
                    <a:pt x="267" y="11"/>
                  </a:lnTo>
                  <a:lnTo>
                    <a:pt x="270" y="12"/>
                  </a:lnTo>
                  <a:lnTo>
                    <a:pt x="274" y="13"/>
                  </a:lnTo>
                  <a:lnTo>
                    <a:pt x="276" y="14"/>
                  </a:lnTo>
                  <a:lnTo>
                    <a:pt x="282" y="16"/>
                  </a:lnTo>
                  <a:lnTo>
                    <a:pt x="287" y="18"/>
                  </a:lnTo>
                  <a:lnTo>
                    <a:pt x="291" y="21"/>
                  </a:lnTo>
                  <a:lnTo>
                    <a:pt x="294" y="23"/>
                  </a:lnTo>
                  <a:lnTo>
                    <a:pt x="295" y="23"/>
                  </a:lnTo>
                  <a:lnTo>
                    <a:pt x="295" y="23"/>
                  </a:lnTo>
                  <a:lnTo>
                    <a:pt x="298" y="24"/>
                  </a:lnTo>
                  <a:lnTo>
                    <a:pt x="299" y="24"/>
                  </a:lnTo>
                  <a:lnTo>
                    <a:pt x="300" y="25"/>
                  </a:lnTo>
                  <a:lnTo>
                    <a:pt x="303" y="25"/>
                  </a:lnTo>
                  <a:lnTo>
                    <a:pt x="306" y="25"/>
                  </a:lnTo>
                  <a:lnTo>
                    <a:pt x="309" y="25"/>
                  </a:lnTo>
                  <a:lnTo>
                    <a:pt x="313" y="25"/>
                  </a:lnTo>
                  <a:lnTo>
                    <a:pt x="316" y="26"/>
                  </a:lnTo>
                  <a:lnTo>
                    <a:pt x="318" y="26"/>
                  </a:lnTo>
                  <a:lnTo>
                    <a:pt x="319" y="26"/>
                  </a:lnTo>
                  <a:lnTo>
                    <a:pt x="320" y="27"/>
                  </a:lnTo>
                  <a:lnTo>
                    <a:pt x="321" y="28"/>
                  </a:lnTo>
                  <a:lnTo>
                    <a:pt x="321" y="29"/>
                  </a:lnTo>
                  <a:lnTo>
                    <a:pt x="322" y="30"/>
                  </a:lnTo>
                  <a:lnTo>
                    <a:pt x="324" y="34"/>
                  </a:lnTo>
                  <a:lnTo>
                    <a:pt x="325" y="37"/>
                  </a:lnTo>
                  <a:lnTo>
                    <a:pt x="329" y="43"/>
                  </a:lnTo>
                  <a:lnTo>
                    <a:pt x="330" y="44"/>
                  </a:lnTo>
                  <a:lnTo>
                    <a:pt x="331" y="45"/>
                  </a:lnTo>
                  <a:lnTo>
                    <a:pt x="332" y="48"/>
                  </a:lnTo>
                  <a:lnTo>
                    <a:pt x="332" y="52"/>
                  </a:lnTo>
                  <a:lnTo>
                    <a:pt x="332" y="56"/>
                  </a:lnTo>
                  <a:lnTo>
                    <a:pt x="332" y="57"/>
                  </a:lnTo>
                  <a:lnTo>
                    <a:pt x="332" y="59"/>
                  </a:lnTo>
                  <a:lnTo>
                    <a:pt x="331" y="61"/>
                  </a:lnTo>
                  <a:lnTo>
                    <a:pt x="330" y="64"/>
                  </a:lnTo>
                  <a:lnTo>
                    <a:pt x="329" y="68"/>
                  </a:lnTo>
                  <a:lnTo>
                    <a:pt x="327" y="70"/>
                  </a:lnTo>
                  <a:lnTo>
                    <a:pt x="324" y="76"/>
                  </a:lnTo>
                  <a:lnTo>
                    <a:pt x="321" y="82"/>
                  </a:lnTo>
                  <a:lnTo>
                    <a:pt x="318" y="86"/>
                  </a:lnTo>
                  <a:lnTo>
                    <a:pt x="316" y="90"/>
                  </a:lnTo>
                  <a:lnTo>
                    <a:pt x="314" y="92"/>
                  </a:lnTo>
                  <a:lnTo>
                    <a:pt x="312" y="94"/>
                  </a:lnTo>
                  <a:lnTo>
                    <a:pt x="306" y="100"/>
                  </a:lnTo>
                  <a:lnTo>
                    <a:pt x="303" y="102"/>
                  </a:lnTo>
                  <a:lnTo>
                    <a:pt x="301" y="103"/>
                  </a:lnTo>
                  <a:lnTo>
                    <a:pt x="298" y="105"/>
                  </a:lnTo>
                  <a:lnTo>
                    <a:pt x="296" y="106"/>
                  </a:lnTo>
                  <a:lnTo>
                    <a:pt x="291" y="108"/>
                  </a:lnTo>
                  <a:lnTo>
                    <a:pt x="289" y="109"/>
                  </a:lnTo>
                  <a:lnTo>
                    <a:pt x="287" y="110"/>
                  </a:lnTo>
                  <a:lnTo>
                    <a:pt x="286" y="112"/>
                  </a:lnTo>
                  <a:lnTo>
                    <a:pt x="285" y="113"/>
                  </a:lnTo>
                  <a:lnTo>
                    <a:pt x="283" y="115"/>
                  </a:lnTo>
                  <a:lnTo>
                    <a:pt x="278" y="123"/>
                  </a:lnTo>
                  <a:lnTo>
                    <a:pt x="276" y="125"/>
                  </a:lnTo>
                  <a:lnTo>
                    <a:pt x="276" y="127"/>
                  </a:lnTo>
                  <a:lnTo>
                    <a:pt x="276" y="130"/>
                  </a:lnTo>
                  <a:lnTo>
                    <a:pt x="276" y="131"/>
                  </a:lnTo>
                  <a:lnTo>
                    <a:pt x="276" y="133"/>
                  </a:lnTo>
                  <a:lnTo>
                    <a:pt x="276" y="134"/>
                  </a:lnTo>
                  <a:lnTo>
                    <a:pt x="276" y="135"/>
                  </a:lnTo>
                  <a:lnTo>
                    <a:pt x="277" y="136"/>
                  </a:lnTo>
                  <a:lnTo>
                    <a:pt x="278" y="136"/>
                  </a:lnTo>
                  <a:lnTo>
                    <a:pt x="280" y="137"/>
                  </a:lnTo>
                  <a:lnTo>
                    <a:pt x="282" y="139"/>
                  </a:lnTo>
                  <a:lnTo>
                    <a:pt x="287" y="142"/>
                  </a:lnTo>
                  <a:lnTo>
                    <a:pt x="294" y="145"/>
                  </a:lnTo>
                  <a:lnTo>
                    <a:pt x="299" y="147"/>
                  </a:lnTo>
                  <a:lnTo>
                    <a:pt x="309" y="149"/>
                  </a:lnTo>
                  <a:lnTo>
                    <a:pt x="311" y="150"/>
                  </a:lnTo>
                  <a:lnTo>
                    <a:pt x="315" y="152"/>
                  </a:lnTo>
                  <a:lnTo>
                    <a:pt x="318" y="153"/>
                  </a:lnTo>
                  <a:lnTo>
                    <a:pt x="321" y="155"/>
                  </a:lnTo>
                  <a:lnTo>
                    <a:pt x="322" y="157"/>
                  </a:lnTo>
                  <a:lnTo>
                    <a:pt x="327" y="159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1"/>
                  </a:lnTo>
                  <a:lnTo>
                    <a:pt x="328" y="161"/>
                  </a:lnTo>
                  <a:lnTo>
                    <a:pt x="318" y="170"/>
                  </a:lnTo>
                  <a:lnTo>
                    <a:pt x="316" y="171"/>
                  </a:lnTo>
                  <a:lnTo>
                    <a:pt x="313" y="174"/>
                  </a:lnTo>
                  <a:lnTo>
                    <a:pt x="311" y="176"/>
                  </a:lnTo>
                  <a:lnTo>
                    <a:pt x="310" y="179"/>
                  </a:lnTo>
                  <a:lnTo>
                    <a:pt x="310" y="181"/>
                  </a:lnTo>
                  <a:lnTo>
                    <a:pt x="308" y="185"/>
                  </a:lnTo>
                  <a:lnTo>
                    <a:pt x="307" y="187"/>
                  </a:lnTo>
                  <a:lnTo>
                    <a:pt x="306" y="188"/>
                  </a:lnTo>
                  <a:lnTo>
                    <a:pt x="305" y="189"/>
                  </a:lnTo>
                  <a:lnTo>
                    <a:pt x="304" y="191"/>
                  </a:lnTo>
                  <a:lnTo>
                    <a:pt x="298" y="195"/>
                  </a:lnTo>
                  <a:lnTo>
                    <a:pt x="295" y="198"/>
                  </a:lnTo>
                  <a:lnTo>
                    <a:pt x="292" y="200"/>
                  </a:lnTo>
                  <a:lnTo>
                    <a:pt x="291" y="201"/>
                  </a:lnTo>
                  <a:lnTo>
                    <a:pt x="290" y="203"/>
                  </a:lnTo>
                  <a:lnTo>
                    <a:pt x="288" y="207"/>
                  </a:lnTo>
                  <a:lnTo>
                    <a:pt x="287" y="210"/>
                  </a:lnTo>
                  <a:lnTo>
                    <a:pt x="287" y="211"/>
                  </a:lnTo>
                  <a:lnTo>
                    <a:pt x="286" y="213"/>
                  </a:lnTo>
                  <a:lnTo>
                    <a:pt x="284" y="214"/>
                  </a:lnTo>
                  <a:lnTo>
                    <a:pt x="281" y="216"/>
                  </a:lnTo>
                  <a:lnTo>
                    <a:pt x="280" y="217"/>
                  </a:lnTo>
                  <a:lnTo>
                    <a:pt x="279" y="219"/>
                  </a:lnTo>
                  <a:lnTo>
                    <a:pt x="278" y="221"/>
                  </a:lnTo>
                  <a:lnTo>
                    <a:pt x="277" y="223"/>
                  </a:lnTo>
                  <a:lnTo>
                    <a:pt x="276" y="225"/>
                  </a:lnTo>
                  <a:lnTo>
                    <a:pt x="276" y="227"/>
                  </a:lnTo>
                  <a:lnTo>
                    <a:pt x="276" y="229"/>
                  </a:lnTo>
                  <a:lnTo>
                    <a:pt x="276" y="232"/>
                  </a:lnTo>
                  <a:lnTo>
                    <a:pt x="276" y="234"/>
                  </a:lnTo>
                  <a:lnTo>
                    <a:pt x="276" y="236"/>
                  </a:lnTo>
                  <a:lnTo>
                    <a:pt x="276" y="239"/>
                  </a:lnTo>
                  <a:lnTo>
                    <a:pt x="277" y="241"/>
                  </a:lnTo>
                  <a:lnTo>
                    <a:pt x="277" y="242"/>
                  </a:lnTo>
                  <a:lnTo>
                    <a:pt x="276" y="243"/>
                  </a:lnTo>
                  <a:lnTo>
                    <a:pt x="276" y="245"/>
                  </a:lnTo>
                  <a:lnTo>
                    <a:pt x="276" y="246"/>
                  </a:lnTo>
                  <a:lnTo>
                    <a:pt x="272" y="257"/>
                  </a:lnTo>
                  <a:lnTo>
                    <a:pt x="271" y="259"/>
                  </a:lnTo>
                  <a:lnTo>
                    <a:pt x="270" y="260"/>
                  </a:lnTo>
                  <a:lnTo>
                    <a:pt x="269" y="261"/>
                  </a:lnTo>
                  <a:lnTo>
                    <a:pt x="266" y="263"/>
                  </a:lnTo>
                  <a:lnTo>
                    <a:pt x="265" y="265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3" y="271"/>
                  </a:lnTo>
                  <a:lnTo>
                    <a:pt x="260" y="278"/>
                  </a:lnTo>
                  <a:lnTo>
                    <a:pt x="259" y="282"/>
                  </a:lnTo>
                  <a:lnTo>
                    <a:pt x="258" y="284"/>
                  </a:lnTo>
                  <a:lnTo>
                    <a:pt x="256" y="287"/>
                  </a:lnTo>
                  <a:lnTo>
                    <a:pt x="255" y="288"/>
                  </a:lnTo>
                  <a:lnTo>
                    <a:pt x="254" y="289"/>
                  </a:lnTo>
                  <a:lnTo>
                    <a:pt x="251" y="293"/>
                  </a:lnTo>
                  <a:lnTo>
                    <a:pt x="245" y="296"/>
                  </a:lnTo>
                  <a:lnTo>
                    <a:pt x="237" y="301"/>
                  </a:lnTo>
                  <a:lnTo>
                    <a:pt x="235" y="303"/>
                  </a:lnTo>
                  <a:lnTo>
                    <a:pt x="233" y="305"/>
                  </a:lnTo>
                  <a:lnTo>
                    <a:pt x="232" y="306"/>
                  </a:lnTo>
                  <a:lnTo>
                    <a:pt x="231" y="307"/>
                  </a:lnTo>
                  <a:lnTo>
                    <a:pt x="228" y="313"/>
                  </a:lnTo>
                  <a:lnTo>
                    <a:pt x="227" y="316"/>
                  </a:lnTo>
                  <a:lnTo>
                    <a:pt x="225" y="317"/>
                  </a:lnTo>
                  <a:lnTo>
                    <a:pt x="222" y="320"/>
                  </a:lnTo>
                  <a:lnTo>
                    <a:pt x="221" y="322"/>
                  </a:lnTo>
                  <a:lnTo>
                    <a:pt x="219" y="324"/>
                  </a:lnTo>
                  <a:lnTo>
                    <a:pt x="219" y="327"/>
                  </a:lnTo>
                  <a:lnTo>
                    <a:pt x="218" y="329"/>
                  </a:lnTo>
                  <a:lnTo>
                    <a:pt x="217" y="329"/>
                  </a:lnTo>
                  <a:lnTo>
                    <a:pt x="216" y="335"/>
                  </a:lnTo>
                  <a:lnTo>
                    <a:pt x="215" y="337"/>
                  </a:lnTo>
                  <a:lnTo>
                    <a:pt x="214" y="339"/>
                  </a:lnTo>
                  <a:lnTo>
                    <a:pt x="213" y="340"/>
                  </a:lnTo>
                  <a:lnTo>
                    <a:pt x="212" y="340"/>
                  </a:lnTo>
                  <a:lnTo>
                    <a:pt x="211" y="341"/>
                  </a:lnTo>
                  <a:lnTo>
                    <a:pt x="210" y="342"/>
                  </a:lnTo>
                  <a:lnTo>
                    <a:pt x="208" y="343"/>
                  </a:lnTo>
                  <a:lnTo>
                    <a:pt x="207" y="344"/>
                  </a:lnTo>
                  <a:lnTo>
                    <a:pt x="202" y="346"/>
                  </a:lnTo>
                  <a:lnTo>
                    <a:pt x="195" y="348"/>
                  </a:lnTo>
                  <a:lnTo>
                    <a:pt x="193" y="348"/>
                  </a:lnTo>
                  <a:lnTo>
                    <a:pt x="192" y="348"/>
                  </a:lnTo>
                  <a:lnTo>
                    <a:pt x="191" y="348"/>
                  </a:lnTo>
                  <a:lnTo>
                    <a:pt x="188" y="347"/>
                  </a:lnTo>
                  <a:lnTo>
                    <a:pt x="187" y="347"/>
                  </a:lnTo>
                  <a:lnTo>
                    <a:pt x="186" y="347"/>
                  </a:lnTo>
                  <a:lnTo>
                    <a:pt x="185" y="347"/>
                  </a:lnTo>
                  <a:lnTo>
                    <a:pt x="184" y="347"/>
                  </a:lnTo>
                  <a:lnTo>
                    <a:pt x="184" y="347"/>
                  </a:lnTo>
                  <a:lnTo>
                    <a:pt x="183" y="347"/>
                  </a:lnTo>
                  <a:lnTo>
                    <a:pt x="182" y="345"/>
                  </a:lnTo>
                  <a:lnTo>
                    <a:pt x="181" y="345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79" y="345"/>
                  </a:lnTo>
                  <a:lnTo>
                    <a:pt x="178" y="345"/>
                  </a:lnTo>
                  <a:lnTo>
                    <a:pt x="178" y="346"/>
                  </a:lnTo>
                  <a:lnTo>
                    <a:pt x="177" y="347"/>
                  </a:lnTo>
                  <a:lnTo>
                    <a:pt x="177" y="348"/>
                  </a:lnTo>
                  <a:lnTo>
                    <a:pt x="178" y="350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77" y="351"/>
                  </a:lnTo>
                  <a:lnTo>
                    <a:pt x="177" y="351"/>
                  </a:lnTo>
                  <a:lnTo>
                    <a:pt x="176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3" y="348"/>
                  </a:lnTo>
                  <a:lnTo>
                    <a:pt x="171" y="346"/>
                  </a:lnTo>
                  <a:lnTo>
                    <a:pt x="170" y="344"/>
                  </a:lnTo>
                  <a:lnTo>
                    <a:pt x="167" y="342"/>
                  </a:lnTo>
                  <a:lnTo>
                    <a:pt x="167" y="342"/>
                  </a:lnTo>
                  <a:lnTo>
                    <a:pt x="167" y="342"/>
                  </a:lnTo>
                  <a:lnTo>
                    <a:pt x="165" y="342"/>
                  </a:lnTo>
                  <a:lnTo>
                    <a:pt x="154" y="346"/>
                  </a:lnTo>
                  <a:lnTo>
                    <a:pt x="150" y="347"/>
                  </a:lnTo>
                  <a:lnTo>
                    <a:pt x="148" y="348"/>
                  </a:lnTo>
                  <a:lnTo>
                    <a:pt x="144" y="349"/>
                  </a:lnTo>
                  <a:lnTo>
                    <a:pt x="140" y="350"/>
                  </a:lnTo>
                  <a:lnTo>
                    <a:pt x="139" y="350"/>
                  </a:lnTo>
                  <a:lnTo>
                    <a:pt x="131" y="348"/>
                  </a:lnTo>
                  <a:lnTo>
                    <a:pt x="128" y="348"/>
                  </a:lnTo>
                  <a:lnTo>
                    <a:pt x="128" y="348"/>
                  </a:lnTo>
                  <a:lnTo>
                    <a:pt x="126" y="348"/>
                  </a:lnTo>
                  <a:lnTo>
                    <a:pt x="124" y="349"/>
                  </a:lnTo>
                  <a:lnTo>
                    <a:pt x="121" y="350"/>
                  </a:lnTo>
                  <a:lnTo>
                    <a:pt x="120" y="351"/>
                  </a:lnTo>
                  <a:lnTo>
                    <a:pt x="118" y="351"/>
                  </a:lnTo>
                  <a:lnTo>
                    <a:pt x="117" y="352"/>
                  </a:lnTo>
                  <a:lnTo>
                    <a:pt x="116" y="354"/>
                  </a:lnTo>
                  <a:lnTo>
                    <a:pt x="114" y="356"/>
                  </a:lnTo>
                  <a:lnTo>
                    <a:pt x="110" y="363"/>
                  </a:lnTo>
                  <a:lnTo>
                    <a:pt x="109" y="363"/>
                  </a:lnTo>
                  <a:lnTo>
                    <a:pt x="108" y="364"/>
                  </a:lnTo>
                  <a:lnTo>
                    <a:pt x="106" y="365"/>
                  </a:lnTo>
                  <a:lnTo>
                    <a:pt x="101" y="368"/>
                  </a:lnTo>
                  <a:lnTo>
                    <a:pt x="96" y="371"/>
                  </a:lnTo>
                  <a:lnTo>
                    <a:pt x="95" y="372"/>
                  </a:lnTo>
                  <a:lnTo>
                    <a:pt x="94" y="372"/>
                  </a:lnTo>
                  <a:lnTo>
                    <a:pt x="94" y="371"/>
                  </a:lnTo>
                  <a:lnTo>
                    <a:pt x="92" y="368"/>
                  </a:lnTo>
                  <a:lnTo>
                    <a:pt x="90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3" y="361"/>
                  </a:lnTo>
                  <a:lnTo>
                    <a:pt x="81" y="358"/>
                  </a:lnTo>
                  <a:lnTo>
                    <a:pt x="78" y="356"/>
                  </a:lnTo>
                  <a:lnTo>
                    <a:pt x="75" y="354"/>
                  </a:lnTo>
                  <a:lnTo>
                    <a:pt x="72" y="352"/>
                  </a:lnTo>
                  <a:lnTo>
                    <a:pt x="69" y="351"/>
                  </a:lnTo>
                  <a:lnTo>
                    <a:pt x="62" y="348"/>
                  </a:lnTo>
                  <a:lnTo>
                    <a:pt x="59" y="347"/>
                  </a:lnTo>
                  <a:lnTo>
                    <a:pt x="58" y="346"/>
                  </a:lnTo>
                  <a:lnTo>
                    <a:pt x="57" y="345"/>
                  </a:lnTo>
                  <a:lnTo>
                    <a:pt x="54" y="343"/>
                  </a:lnTo>
                  <a:lnTo>
                    <a:pt x="53" y="341"/>
                  </a:lnTo>
                  <a:lnTo>
                    <a:pt x="52" y="340"/>
                  </a:lnTo>
                  <a:lnTo>
                    <a:pt x="47" y="331"/>
                  </a:lnTo>
                  <a:lnTo>
                    <a:pt x="45" y="329"/>
                  </a:lnTo>
                  <a:lnTo>
                    <a:pt x="43" y="327"/>
                  </a:lnTo>
                  <a:lnTo>
                    <a:pt x="40" y="323"/>
                  </a:lnTo>
                  <a:lnTo>
                    <a:pt x="33" y="316"/>
                  </a:lnTo>
                  <a:lnTo>
                    <a:pt x="29" y="312"/>
                  </a:lnTo>
                  <a:lnTo>
                    <a:pt x="26" y="309"/>
                  </a:lnTo>
                  <a:lnTo>
                    <a:pt x="22" y="303"/>
                  </a:lnTo>
                  <a:lnTo>
                    <a:pt x="15" y="295"/>
                  </a:lnTo>
                  <a:lnTo>
                    <a:pt x="14" y="293"/>
                  </a:lnTo>
                  <a:lnTo>
                    <a:pt x="12" y="290"/>
                  </a:lnTo>
                  <a:lnTo>
                    <a:pt x="10" y="286"/>
                  </a:lnTo>
                  <a:lnTo>
                    <a:pt x="8" y="282"/>
                  </a:lnTo>
                  <a:lnTo>
                    <a:pt x="7" y="279"/>
                  </a:lnTo>
                  <a:lnTo>
                    <a:pt x="6" y="276"/>
                  </a:lnTo>
                  <a:lnTo>
                    <a:pt x="7" y="273"/>
                  </a:lnTo>
                  <a:lnTo>
                    <a:pt x="7" y="270"/>
                  </a:lnTo>
                  <a:lnTo>
                    <a:pt x="9" y="262"/>
                  </a:lnTo>
                  <a:lnTo>
                    <a:pt x="10" y="260"/>
                  </a:lnTo>
                  <a:lnTo>
                    <a:pt x="11" y="259"/>
                  </a:lnTo>
                  <a:lnTo>
                    <a:pt x="11" y="257"/>
                  </a:lnTo>
                  <a:lnTo>
                    <a:pt x="12" y="256"/>
                  </a:lnTo>
                  <a:lnTo>
                    <a:pt x="13" y="255"/>
                  </a:lnTo>
                  <a:lnTo>
                    <a:pt x="14" y="255"/>
                  </a:lnTo>
                  <a:lnTo>
                    <a:pt x="16" y="254"/>
                  </a:lnTo>
                  <a:lnTo>
                    <a:pt x="18" y="254"/>
                  </a:lnTo>
                  <a:lnTo>
                    <a:pt x="20" y="254"/>
                  </a:lnTo>
                  <a:lnTo>
                    <a:pt x="23" y="254"/>
                  </a:lnTo>
                  <a:lnTo>
                    <a:pt x="31" y="256"/>
                  </a:lnTo>
                  <a:lnTo>
                    <a:pt x="38" y="257"/>
                  </a:lnTo>
                  <a:lnTo>
                    <a:pt x="41" y="257"/>
                  </a:lnTo>
                  <a:lnTo>
                    <a:pt x="44" y="257"/>
                  </a:lnTo>
                  <a:lnTo>
                    <a:pt x="46" y="256"/>
                  </a:lnTo>
                  <a:lnTo>
                    <a:pt x="48" y="255"/>
                  </a:lnTo>
                  <a:lnTo>
                    <a:pt x="51" y="254"/>
                  </a:lnTo>
                  <a:lnTo>
                    <a:pt x="53" y="253"/>
                  </a:lnTo>
                  <a:lnTo>
                    <a:pt x="55" y="252"/>
                  </a:lnTo>
                  <a:lnTo>
                    <a:pt x="56" y="251"/>
                  </a:lnTo>
                  <a:lnTo>
                    <a:pt x="57" y="249"/>
                  </a:lnTo>
                  <a:lnTo>
                    <a:pt x="58" y="248"/>
                  </a:lnTo>
                  <a:lnTo>
                    <a:pt x="59" y="246"/>
                  </a:lnTo>
                  <a:lnTo>
                    <a:pt x="60" y="244"/>
                  </a:lnTo>
                  <a:lnTo>
                    <a:pt x="60" y="242"/>
                  </a:lnTo>
                  <a:lnTo>
                    <a:pt x="60" y="240"/>
                  </a:lnTo>
                  <a:lnTo>
                    <a:pt x="60" y="238"/>
                  </a:lnTo>
                  <a:lnTo>
                    <a:pt x="59" y="238"/>
                  </a:lnTo>
                  <a:lnTo>
                    <a:pt x="59" y="232"/>
                  </a:lnTo>
                  <a:lnTo>
                    <a:pt x="58" y="229"/>
                  </a:lnTo>
                  <a:lnTo>
                    <a:pt x="56" y="222"/>
                  </a:lnTo>
                  <a:lnTo>
                    <a:pt x="55" y="219"/>
                  </a:lnTo>
                  <a:lnTo>
                    <a:pt x="55" y="217"/>
                  </a:lnTo>
                  <a:lnTo>
                    <a:pt x="55" y="215"/>
                  </a:lnTo>
                  <a:lnTo>
                    <a:pt x="56" y="213"/>
                  </a:lnTo>
                  <a:lnTo>
                    <a:pt x="56" y="211"/>
                  </a:lnTo>
                  <a:lnTo>
                    <a:pt x="56" y="209"/>
                  </a:lnTo>
                  <a:lnTo>
                    <a:pt x="58" y="205"/>
                  </a:lnTo>
                  <a:lnTo>
                    <a:pt x="60" y="201"/>
                  </a:lnTo>
                  <a:lnTo>
                    <a:pt x="63" y="196"/>
                  </a:lnTo>
                  <a:lnTo>
                    <a:pt x="64" y="194"/>
                  </a:lnTo>
                  <a:lnTo>
                    <a:pt x="66" y="193"/>
                  </a:lnTo>
                  <a:lnTo>
                    <a:pt x="67" y="192"/>
                  </a:lnTo>
                  <a:lnTo>
                    <a:pt x="67" y="190"/>
                  </a:lnTo>
                  <a:lnTo>
                    <a:pt x="67" y="188"/>
                  </a:lnTo>
                  <a:lnTo>
                    <a:pt x="67" y="186"/>
                  </a:lnTo>
                  <a:lnTo>
                    <a:pt x="67" y="185"/>
                  </a:lnTo>
                  <a:lnTo>
                    <a:pt x="66" y="182"/>
                  </a:lnTo>
                  <a:lnTo>
                    <a:pt x="65" y="181"/>
                  </a:lnTo>
                  <a:lnTo>
                    <a:pt x="64" y="179"/>
                  </a:lnTo>
                  <a:lnTo>
                    <a:pt x="60" y="173"/>
                  </a:lnTo>
                  <a:lnTo>
                    <a:pt x="58" y="169"/>
                  </a:lnTo>
                  <a:lnTo>
                    <a:pt x="56" y="166"/>
                  </a:lnTo>
                  <a:lnTo>
                    <a:pt x="54" y="163"/>
                  </a:lnTo>
                  <a:lnTo>
                    <a:pt x="51" y="160"/>
                  </a:lnTo>
                  <a:lnTo>
                    <a:pt x="50" y="159"/>
                  </a:lnTo>
                  <a:lnTo>
                    <a:pt x="46" y="156"/>
                  </a:lnTo>
                  <a:lnTo>
                    <a:pt x="43" y="154"/>
                  </a:lnTo>
                  <a:lnTo>
                    <a:pt x="42" y="152"/>
                  </a:lnTo>
                  <a:lnTo>
                    <a:pt x="39" y="148"/>
                  </a:lnTo>
                  <a:lnTo>
                    <a:pt x="35" y="145"/>
                  </a:lnTo>
                  <a:lnTo>
                    <a:pt x="34" y="143"/>
                  </a:lnTo>
                  <a:lnTo>
                    <a:pt x="33" y="141"/>
                  </a:lnTo>
                  <a:lnTo>
                    <a:pt x="30" y="136"/>
                  </a:lnTo>
                  <a:lnTo>
                    <a:pt x="28" y="134"/>
                  </a:lnTo>
                  <a:lnTo>
                    <a:pt x="26" y="131"/>
                  </a:lnTo>
                  <a:lnTo>
                    <a:pt x="25" y="129"/>
                  </a:lnTo>
                  <a:lnTo>
                    <a:pt x="24" y="128"/>
                  </a:lnTo>
                  <a:lnTo>
                    <a:pt x="23" y="127"/>
                  </a:lnTo>
                  <a:lnTo>
                    <a:pt x="18" y="125"/>
                  </a:lnTo>
                  <a:lnTo>
                    <a:pt x="17" y="125"/>
                  </a:lnTo>
                  <a:lnTo>
                    <a:pt x="17" y="124"/>
                  </a:lnTo>
                  <a:lnTo>
                    <a:pt x="16" y="124"/>
                  </a:lnTo>
                  <a:lnTo>
                    <a:pt x="15" y="122"/>
                  </a:lnTo>
                  <a:lnTo>
                    <a:pt x="15" y="121"/>
                  </a:lnTo>
                  <a:lnTo>
                    <a:pt x="15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2" y="119"/>
                  </a:lnTo>
                  <a:lnTo>
                    <a:pt x="3" y="119"/>
                  </a:lnTo>
                  <a:lnTo>
                    <a:pt x="1" y="119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8"/>
                  </a:lnTo>
                  <a:lnTo>
                    <a:pt x="0" y="117"/>
                  </a:lnTo>
                  <a:lnTo>
                    <a:pt x="0" y="115"/>
                  </a:lnTo>
                  <a:lnTo>
                    <a:pt x="1" y="113"/>
                  </a:lnTo>
                  <a:lnTo>
                    <a:pt x="2" y="109"/>
                  </a:lnTo>
                  <a:lnTo>
                    <a:pt x="3" y="108"/>
                  </a:lnTo>
                  <a:lnTo>
                    <a:pt x="3" y="106"/>
                  </a:lnTo>
                  <a:lnTo>
                    <a:pt x="6" y="102"/>
                  </a:lnTo>
                  <a:lnTo>
                    <a:pt x="9" y="99"/>
                  </a:lnTo>
                  <a:lnTo>
                    <a:pt x="12" y="96"/>
                  </a:lnTo>
                  <a:lnTo>
                    <a:pt x="14" y="93"/>
                  </a:lnTo>
                  <a:lnTo>
                    <a:pt x="17" y="91"/>
                  </a:lnTo>
                  <a:lnTo>
                    <a:pt x="20" y="90"/>
                  </a:lnTo>
                  <a:lnTo>
                    <a:pt x="22" y="89"/>
                  </a:lnTo>
                  <a:lnTo>
                    <a:pt x="24" y="88"/>
                  </a:lnTo>
                  <a:lnTo>
                    <a:pt x="26" y="87"/>
                  </a:lnTo>
                  <a:lnTo>
                    <a:pt x="29" y="86"/>
                  </a:lnTo>
                  <a:lnTo>
                    <a:pt x="33" y="85"/>
                  </a:lnTo>
                  <a:lnTo>
                    <a:pt x="39" y="83"/>
                  </a:lnTo>
                  <a:lnTo>
                    <a:pt x="43" y="82"/>
                  </a:lnTo>
                  <a:lnTo>
                    <a:pt x="46" y="80"/>
                  </a:lnTo>
                  <a:lnTo>
                    <a:pt x="48" y="79"/>
                  </a:lnTo>
                  <a:lnTo>
                    <a:pt x="51" y="78"/>
                  </a:lnTo>
                  <a:lnTo>
                    <a:pt x="54" y="76"/>
                  </a:lnTo>
                  <a:lnTo>
                    <a:pt x="57" y="74"/>
                  </a:lnTo>
                  <a:lnTo>
                    <a:pt x="59" y="71"/>
                  </a:lnTo>
                  <a:lnTo>
                    <a:pt x="63" y="67"/>
                  </a:lnTo>
                  <a:lnTo>
                    <a:pt x="66" y="64"/>
                  </a:lnTo>
                  <a:lnTo>
                    <a:pt x="67" y="62"/>
                  </a:lnTo>
                  <a:lnTo>
                    <a:pt x="68" y="60"/>
                  </a:lnTo>
                  <a:lnTo>
                    <a:pt x="69" y="57"/>
                  </a:lnTo>
                  <a:lnTo>
                    <a:pt x="71" y="54"/>
                  </a:lnTo>
                  <a:lnTo>
                    <a:pt x="71" y="53"/>
                  </a:lnTo>
                  <a:lnTo>
                    <a:pt x="71" y="51"/>
                  </a:lnTo>
                  <a:lnTo>
                    <a:pt x="72" y="50"/>
                  </a:lnTo>
                  <a:lnTo>
                    <a:pt x="74" y="50"/>
                  </a:lnTo>
                  <a:lnTo>
                    <a:pt x="76" y="49"/>
                  </a:lnTo>
                  <a:lnTo>
                    <a:pt x="80" y="49"/>
                  </a:lnTo>
                  <a:lnTo>
                    <a:pt x="84" y="49"/>
                  </a:lnTo>
                  <a:lnTo>
                    <a:pt x="88" y="49"/>
                  </a:lnTo>
                  <a:lnTo>
                    <a:pt x="89" y="48"/>
                  </a:lnTo>
                  <a:lnTo>
                    <a:pt x="91" y="47"/>
                  </a:lnTo>
                  <a:lnTo>
                    <a:pt x="92" y="47"/>
                  </a:lnTo>
                  <a:lnTo>
                    <a:pt x="93" y="46"/>
                  </a:lnTo>
                  <a:lnTo>
                    <a:pt x="94" y="45"/>
                  </a:lnTo>
                  <a:lnTo>
                    <a:pt x="94" y="44"/>
                  </a:lnTo>
                  <a:lnTo>
                    <a:pt x="95" y="43"/>
                  </a:lnTo>
                  <a:lnTo>
                    <a:pt x="95" y="42"/>
                  </a:lnTo>
                  <a:lnTo>
                    <a:pt x="95" y="38"/>
                  </a:lnTo>
                  <a:lnTo>
                    <a:pt x="95" y="34"/>
                  </a:lnTo>
                  <a:lnTo>
                    <a:pt x="95" y="33"/>
                  </a:lnTo>
                  <a:lnTo>
                    <a:pt x="95" y="26"/>
                  </a:lnTo>
                  <a:lnTo>
                    <a:pt x="95" y="24"/>
                  </a:lnTo>
                  <a:lnTo>
                    <a:pt x="95" y="23"/>
                  </a:lnTo>
                  <a:lnTo>
                    <a:pt x="95" y="22"/>
                  </a:lnTo>
                  <a:lnTo>
                    <a:pt x="96" y="19"/>
                  </a:lnTo>
                  <a:lnTo>
                    <a:pt x="96" y="18"/>
                  </a:lnTo>
                  <a:lnTo>
                    <a:pt x="98" y="15"/>
                  </a:lnTo>
                  <a:lnTo>
                    <a:pt x="99" y="14"/>
                  </a:lnTo>
                  <a:lnTo>
                    <a:pt x="100" y="12"/>
                  </a:lnTo>
                  <a:lnTo>
                    <a:pt x="102" y="11"/>
                  </a:lnTo>
                  <a:lnTo>
                    <a:pt x="104" y="10"/>
                  </a:lnTo>
                  <a:lnTo>
                    <a:pt x="106" y="7"/>
                  </a:lnTo>
                  <a:lnTo>
                    <a:pt x="110" y="4"/>
                  </a:lnTo>
                  <a:lnTo>
                    <a:pt x="112" y="3"/>
                  </a:lnTo>
                  <a:lnTo>
                    <a:pt x="115" y="2"/>
                  </a:lnTo>
                  <a:lnTo>
                    <a:pt x="116" y="1"/>
                  </a:lnTo>
                  <a:lnTo>
                    <a:pt x="118" y="1"/>
                  </a:lnTo>
                  <a:lnTo>
                    <a:pt x="120" y="0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6" name="Freeform 9">
              <a:extLst>
                <a:ext uri="{FF2B5EF4-FFF2-40B4-BE49-F238E27FC236}">
                  <a16:creationId xmlns:a16="http://schemas.microsoft.com/office/drawing/2014/main" id="{A4E61191-6394-4E04-9493-6F23EB141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0" y="2039"/>
              <a:ext cx="537" cy="324"/>
            </a:xfrm>
            <a:custGeom>
              <a:avLst/>
              <a:gdLst>
                <a:gd name="T0" fmla="*/ 460 w 537"/>
                <a:gd name="T1" fmla="*/ 15 h 324"/>
                <a:gd name="T2" fmla="*/ 497 w 537"/>
                <a:gd name="T3" fmla="*/ 22 h 324"/>
                <a:gd name="T4" fmla="*/ 512 w 537"/>
                <a:gd name="T5" fmla="*/ 23 h 324"/>
                <a:gd name="T6" fmla="*/ 533 w 537"/>
                <a:gd name="T7" fmla="*/ 36 h 324"/>
                <a:gd name="T8" fmla="*/ 534 w 537"/>
                <a:gd name="T9" fmla="*/ 50 h 324"/>
                <a:gd name="T10" fmla="*/ 525 w 537"/>
                <a:gd name="T11" fmla="*/ 62 h 324"/>
                <a:gd name="T12" fmla="*/ 511 w 537"/>
                <a:gd name="T13" fmla="*/ 71 h 324"/>
                <a:gd name="T14" fmla="*/ 516 w 537"/>
                <a:gd name="T15" fmla="*/ 83 h 324"/>
                <a:gd name="T16" fmla="*/ 509 w 537"/>
                <a:gd name="T17" fmla="*/ 107 h 324"/>
                <a:gd name="T18" fmla="*/ 494 w 537"/>
                <a:gd name="T19" fmla="*/ 123 h 324"/>
                <a:gd name="T20" fmla="*/ 490 w 537"/>
                <a:gd name="T21" fmla="*/ 135 h 324"/>
                <a:gd name="T22" fmla="*/ 486 w 537"/>
                <a:gd name="T23" fmla="*/ 148 h 324"/>
                <a:gd name="T24" fmla="*/ 506 w 537"/>
                <a:gd name="T25" fmla="*/ 165 h 324"/>
                <a:gd name="T26" fmla="*/ 483 w 537"/>
                <a:gd name="T27" fmla="*/ 156 h 324"/>
                <a:gd name="T28" fmla="*/ 466 w 537"/>
                <a:gd name="T29" fmla="*/ 148 h 324"/>
                <a:gd name="T30" fmla="*/ 442 w 537"/>
                <a:gd name="T31" fmla="*/ 165 h 324"/>
                <a:gd name="T32" fmla="*/ 441 w 537"/>
                <a:gd name="T33" fmla="*/ 184 h 324"/>
                <a:gd name="T34" fmla="*/ 417 w 537"/>
                <a:gd name="T35" fmla="*/ 189 h 324"/>
                <a:gd name="T36" fmla="*/ 402 w 537"/>
                <a:gd name="T37" fmla="*/ 208 h 324"/>
                <a:gd name="T38" fmla="*/ 385 w 537"/>
                <a:gd name="T39" fmla="*/ 216 h 324"/>
                <a:gd name="T40" fmla="*/ 364 w 537"/>
                <a:gd name="T41" fmla="*/ 231 h 324"/>
                <a:gd name="T42" fmla="*/ 329 w 537"/>
                <a:gd name="T43" fmla="*/ 237 h 324"/>
                <a:gd name="T44" fmla="*/ 295 w 537"/>
                <a:gd name="T45" fmla="*/ 248 h 324"/>
                <a:gd name="T46" fmla="*/ 273 w 537"/>
                <a:gd name="T47" fmla="*/ 277 h 324"/>
                <a:gd name="T48" fmla="*/ 243 w 537"/>
                <a:gd name="T49" fmla="*/ 285 h 324"/>
                <a:gd name="T50" fmla="*/ 221 w 537"/>
                <a:gd name="T51" fmla="*/ 284 h 324"/>
                <a:gd name="T52" fmla="*/ 205 w 537"/>
                <a:gd name="T53" fmla="*/ 323 h 324"/>
                <a:gd name="T54" fmla="*/ 190 w 537"/>
                <a:gd name="T55" fmla="*/ 315 h 324"/>
                <a:gd name="T56" fmla="*/ 165 w 537"/>
                <a:gd name="T57" fmla="*/ 314 h 324"/>
                <a:gd name="T58" fmla="*/ 152 w 537"/>
                <a:gd name="T59" fmla="*/ 302 h 324"/>
                <a:gd name="T60" fmla="*/ 128 w 537"/>
                <a:gd name="T61" fmla="*/ 280 h 324"/>
                <a:gd name="T62" fmla="*/ 119 w 537"/>
                <a:gd name="T63" fmla="*/ 261 h 324"/>
                <a:gd name="T64" fmla="*/ 133 w 537"/>
                <a:gd name="T65" fmla="*/ 251 h 324"/>
                <a:gd name="T66" fmla="*/ 146 w 537"/>
                <a:gd name="T67" fmla="*/ 248 h 324"/>
                <a:gd name="T68" fmla="*/ 146 w 537"/>
                <a:gd name="T69" fmla="*/ 204 h 324"/>
                <a:gd name="T70" fmla="*/ 112 w 537"/>
                <a:gd name="T71" fmla="*/ 185 h 324"/>
                <a:gd name="T72" fmla="*/ 93 w 537"/>
                <a:gd name="T73" fmla="*/ 157 h 324"/>
                <a:gd name="T74" fmla="*/ 75 w 537"/>
                <a:gd name="T75" fmla="*/ 170 h 324"/>
                <a:gd name="T76" fmla="*/ 34 w 537"/>
                <a:gd name="T77" fmla="*/ 173 h 324"/>
                <a:gd name="T78" fmla="*/ 15 w 537"/>
                <a:gd name="T79" fmla="*/ 159 h 324"/>
                <a:gd name="T80" fmla="*/ 8 w 537"/>
                <a:gd name="T81" fmla="*/ 109 h 324"/>
                <a:gd name="T82" fmla="*/ 0 w 537"/>
                <a:gd name="T83" fmla="*/ 87 h 324"/>
                <a:gd name="T84" fmla="*/ 9 w 537"/>
                <a:gd name="T85" fmla="*/ 72 h 324"/>
                <a:gd name="T86" fmla="*/ 44 w 537"/>
                <a:gd name="T87" fmla="*/ 53 h 324"/>
                <a:gd name="T88" fmla="*/ 46 w 537"/>
                <a:gd name="T89" fmla="*/ 68 h 324"/>
                <a:gd name="T90" fmla="*/ 76 w 537"/>
                <a:gd name="T91" fmla="*/ 71 h 324"/>
                <a:gd name="T92" fmla="*/ 117 w 537"/>
                <a:gd name="T93" fmla="*/ 63 h 324"/>
                <a:gd name="T94" fmla="*/ 147 w 537"/>
                <a:gd name="T95" fmla="*/ 48 h 324"/>
                <a:gd name="T96" fmla="*/ 153 w 537"/>
                <a:gd name="T97" fmla="*/ 56 h 324"/>
                <a:gd name="T98" fmla="*/ 149 w 537"/>
                <a:gd name="T99" fmla="*/ 78 h 324"/>
                <a:gd name="T100" fmla="*/ 166 w 537"/>
                <a:gd name="T101" fmla="*/ 75 h 324"/>
                <a:gd name="T102" fmla="*/ 194 w 537"/>
                <a:gd name="T103" fmla="*/ 67 h 324"/>
                <a:gd name="T104" fmla="*/ 215 w 537"/>
                <a:gd name="T105" fmla="*/ 55 h 324"/>
                <a:gd name="T106" fmla="*/ 237 w 537"/>
                <a:gd name="T107" fmla="*/ 61 h 324"/>
                <a:gd name="T108" fmla="*/ 260 w 537"/>
                <a:gd name="T109" fmla="*/ 73 h 324"/>
                <a:gd name="T110" fmla="*/ 286 w 537"/>
                <a:gd name="T111" fmla="*/ 82 h 324"/>
                <a:gd name="T112" fmla="*/ 313 w 537"/>
                <a:gd name="T113" fmla="*/ 72 h 324"/>
                <a:gd name="T114" fmla="*/ 341 w 537"/>
                <a:gd name="T115" fmla="*/ 65 h 324"/>
                <a:gd name="T116" fmla="*/ 372 w 537"/>
                <a:gd name="T117" fmla="*/ 64 h 324"/>
                <a:gd name="T118" fmla="*/ 406 w 537"/>
                <a:gd name="T119" fmla="*/ 55 h 324"/>
                <a:gd name="T120" fmla="*/ 409 w 537"/>
                <a:gd name="T121" fmla="*/ 29 h 324"/>
                <a:gd name="T122" fmla="*/ 412 w 537"/>
                <a:gd name="T123" fmla="*/ 1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7" h="324">
                  <a:moveTo>
                    <a:pt x="428" y="1"/>
                  </a:moveTo>
                  <a:lnTo>
                    <a:pt x="429" y="1"/>
                  </a:lnTo>
                  <a:lnTo>
                    <a:pt x="432" y="3"/>
                  </a:lnTo>
                  <a:lnTo>
                    <a:pt x="445" y="12"/>
                  </a:lnTo>
                  <a:lnTo>
                    <a:pt x="448" y="13"/>
                  </a:lnTo>
                  <a:lnTo>
                    <a:pt x="450" y="14"/>
                  </a:lnTo>
                  <a:lnTo>
                    <a:pt x="452" y="14"/>
                  </a:lnTo>
                  <a:lnTo>
                    <a:pt x="453" y="15"/>
                  </a:lnTo>
                  <a:lnTo>
                    <a:pt x="455" y="15"/>
                  </a:lnTo>
                  <a:lnTo>
                    <a:pt x="460" y="15"/>
                  </a:lnTo>
                  <a:lnTo>
                    <a:pt x="465" y="15"/>
                  </a:lnTo>
                  <a:lnTo>
                    <a:pt x="466" y="15"/>
                  </a:lnTo>
                  <a:lnTo>
                    <a:pt x="470" y="16"/>
                  </a:lnTo>
                  <a:lnTo>
                    <a:pt x="483" y="16"/>
                  </a:lnTo>
                  <a:lnTo>
                    <a:pt x="485" y="17"/>
                  </a:lnTo>
                  <a:lnTo>
                    <a:pt x="488" y="17"/>
                  </a:lnTo>
                  <a:lnTo>
                    <a:pt x="489" y="18"/>
                  </a:lnTo>
                  <a:lnTo>
                    <a:pt x="491" y="18"/>
                  </a:lnTo>
                  <a:lnTo>
                    <a:pt x="493" y="20"/>
                  </a:lnTo>
                  <a:lnTo>
                    <a:pt x="497" y="22"/>
                  </a:lnTo>
                  <a:lnTo>
                    <a:pt x="499" y="23"/>
                  </a:lnTo>
                  <a:lnTo>
                    <a:pt x="500" y="23"/>
                  </a:lnTo>
                  <a:lnTo>
                    <a:pt x="502" y="24"/>
                  </a:lnTo>
                  <a:lnTo>
                    <a:pt x="503" y="24"/>
                  </a:lnTo>
                  <a:lnTo>
                    <a:pt x="505" y="24"/>
                  </a:lnTo>
                  <a:lnTo>
                    <a:pt x="506" y="23"/>
                  </a:lnTo>
                  <a:lnTo>
                    <a:pt x="508" y="23"/>
                  </a:lnTo>
                  <a:lnTo>
                    <a:pt x="509" y="23"/>
                  </a:lnTo>
                  <a:lnTo>
                    <a:pt x="511" y="23"/>
                  </a:lnTo>
                  <a:lnTo>
                    <a:pt x="512" y="23"/>
                  </a:lnTo>
                  <a:lnTo>
                    <a:pt x="513" y="23"/>
                  </a:lnTo>
                  <a:lnTo>
                    <a:pt x="514" y="24"/>
                  </a:lnTo>
                  <a:lnTo>
                    <a:pt x="515" y="24"/>
                  </a:lnTo>
                  <a:lnTo>
                    <a:pt x="517" y="27"/>
                  </a:lnTo>
                  <a:lnTo>
                    <a:pt x="519" y="28"/>
                  </a:lnTo>
                  <a:lnTo>
                    <a:pt x="523" y="31"/>
                  </a:lnTo>
                  <a:lnTo>
                    <a:pt x="524" y="33"/>
                  </a:lnTo>
                  <a:lnTo>
                    <a:pt x="526" y="34"/>
                  </a:lnTo>
                  <a:lnTo>
                    <a:pt x="528" y="35"/>
                  </a:lnTo>
                  <a:lnTo>
                    <a:pt x="533" y="36"/>
                  </a:lnTo>
                  <a:lnTo>
                    <a:pt x="534" y="36"/>
                  </a:lnTo>
                  <a:lnTo>
                    <a:pt x="534" y="37"/>
                  </a:lnTo>
                  <a:lnTo>
                    <a:pt x="535" y="38"/>
                  </a:lnTo>
                  <a:lnTo>
                    <a:pt x="536" y="39"/>
                  </a:lnTo>
                  <a:lnTo>
                    <a:pt x="537" y="40"/>
                  </a:lnTo>
                  <a:lnTo>
                    <a:pt x="537" y="41"/>
                  </a:lnTo>
                  <a:lnTo>
                    <a:pt x="537" y="42"/>
                  </a:lnTo>
                  <a:lnTo>
                    <a:pt x="537" y="43"/>
                  </a:lnTo>
                  <a:lnTo>
                    <a:pt x="536" y="46"/>
                  </a:lnTo>
                  <a:lnTo>
                    <a:pt x="534" y="50"/>
                  </a:lnTo>
                  <a:lnTo>
                    <a:pt x="534" y="52"/>
                  </a:lnTo>
                  <a:lnTo>
                    <a:pt x="533" y="53"/>
                  </a:lnTo>
                  <a:lnTo>
                    <a:pt x="533" y="57"/>
                  </a:lnTo>
                  <a:lnTo>
                    <a:pt x="532" y="57"/>
                  </a:lnTo>
                  <a:lnTo>
                    <a:pt x="532" y="58"/>
                  </a:lnTo>
                  <a:lnTo>
                    <a:pt x="531" y="59"/>
                  </a:lnTo>
                  <a:lnTo>
                    <a:pt x="530" y="60"/>
                  </a:lnTo>
                  <a:lnTo>
                    <a:pt x="528" y="61"/>
                  </a:lnTo>
                  <a:lnTo>
                    <a:pt x="527" y="62"/>
                  </a:lnTo>
                  <a:lnTo>
                    <a:pt x="525" y="62"/>
                  </a:lnTo>
                  <a:lnTo>
                    <a:pt x="523" y="63"/>
                  </a:lnTo>
                  <a:lnTo>
                    <a:pt x="518" y="64"/>
                  </a:lnTo>
                  <a:lnTo>
                    <a:pt x="516" y="65"/>
                  </a:lnTo>
                  <a:lnTo>
                    <a:pt x="514" y="66"/>
                  </a:lnTo>
                  <a:lnTo>
                    <a:pt x="513" y="67"/>
                  </a:lnTo>
                  <a:lnTo>
                    <a:pt x="512" y="68"/>
                  </a:lnTo>
                  <a:lnTo>
                    <a:pt x="512" y="69"/>
                  </a:lnTo>
                  <a:lnTo>
                    <a:pt x="511" y="69"/>
                  </a:lnTo>
                  <a:lnTo>
                    <a:pt x="511" y="70"/>
                  </a:lnTo>
                  <a:lnTo>
                    <a:pt x="511" y="71"/>
                  </a:lnTo>
                  <a:lnTo>
                    <a:pt x="511" y="72"/>
                  </a:lnTo>
                  <a:lnTo>
                    <a:pt x="511" y="73"/>
                  </a:lnTo>
                  <a:lnTo>
                    <a:pt x="512" y="75"/>
                  </a:lnTo>
                  <a:lnTo>
                    <a:pt x="512" y="76"/>
                  </a:lnTo>
                  <a:lnTo>
                    <a:pt x="514" y="78"/>
                  </a:lnTo>
                  <a:lnTo>
                    <a:pt x="515" y="80"/>
                  </a:lnTo>
                  <a:lnTo>
                    <a:pt x="516" y="80"/>
                  </a:lnTo>
                  <a:lnTo>
                    <a:pt x="516" y="81"/>
                  </a:lnTo>
                  <a:lnTo>
                    <a:pt x="516" y="82"/>
                  </a:lnTo>
                  <a:lnTo>
                    <a:pt x="516" y="83"/>
                  </a:lnTo>
                  <a:lnTo>
                    <a:pt x="513" y="87"/>
                  </a:lnTo>
                  <a:lnTo>
                    <a:pt x="513" y="89"/>
                  </a:lnTo>
                  <a:lnTo>
                    <a:pt x="512" y="90"/>
                  </a:lnTo>
                  <a:lnTo>
                    <a:pt x="512" y="93"/>
                  </a:lnTo>
                  <a:lnTo>
                    <a:pt x="512" y="98"/>
                  </a:lnTo>
                  <a:lnTo>
                    <a:pt x="511" y="100"/>
                  </a:lnTo>
                  <a:lnTo>
                    <a:pt x="511" y="103"/>
                  </a:lnTo>
                  <a:lnTo>
                    <a:pt x="510" y="104"/>
                  </a:lnTo>
                  <a:lnTo>
                    <a:pt x="509" y="106"/>
                  </a:lnTo>
                  <a:lnTo>
                    <a:pt x="509" y="107"/>
                  </a:lnTo>
                  <a:lnTo>
                    <a:pt x="508" y="109"/>
                  </a:lnTo>
                  <a:lnTo>
                    <a:pt x="506" y="110"/>
                  </a:lnTo>
                  <a:lnTo>
                    <a:pt x="504" y="112"/>
                  </a:lnTo>
                  <a:lnTo>
                    <a:pt x="503" y="113"/>
                  </a:lnTo>
                  <a:lnTo>
                    <a:pt x="497" y="117"/>
                  </a:lnTo>
                  <a:lnTo>
                    <a:pt x="495" y="119"/>
                  </a:lnTo>
                  <a:lnTo>
                    <a:pt x="494" y="120"/>
                  </a:lnTo>
                  <a:lnTo>
                    <a:pt x="494" y="121"/>
                  </a:lnTo>
                  <a:lnTo>
                    <a:pt x="494" y="122"/>
                  </a:lnTo>
                  <a:lnTo>
                    <a:pt x="494" y="123"/>
                  </a:lnTo>
                  <a:lnTo>
                    <a:pt x="495" y="124"/>
                  </a:lnTo>
                  <a:lnTo>
                    <a:pt x="496" y="125"/>
                  </a:lnTo>
                  <a:lnTo>
                    <a:pt x="498" y="126"/>
                  </a:lnTo>
                  <a:lnTo>
                    <a:pt x="500" y="128"/>
                  </a:lnTo>
                  <a:lnTo>
                    <a:pt x="500" y="129"/>
                  </a:lnTo>
                  <a:lnTo>
                    <a:pt x="500" y="130"/>
                  </a:lnTo>
                  <a:lnTo>
                    <a:pt x="499" y="131"/>
                  </a:lnTo>
                  <a:lnTo>
                    <a:pt x="498" y="132"/>
                  </a:lnTo>
                  <a:lnTo>
                    <a:pt x="495" y="133"/>
                  </a:lnTo>
                  <a:lnTo>
                    <a:pt x="490" y="135"/>
                  </a:lnTo>
                  <a:lnTo>
                    <a:pt x="489" y="136"/>
                  </a:lnTo>
                  <a:lnTo>
                    <a:pt x="487" y="137"/>
                  </a:lnTo>
                  <a:lnTo>
                    <a:pt x="486" y="138"/>
                  </a:lnTo>
                  <a:lnTo>
                    <a:pt x="485" y="139"/>
                  </a:lnTo>
                  <a:lnTo>
                    <a:pt x="484" y="140"/>
                  </a:lnTo>
                  <a:lnTo>
                    <a:pt x="484" y="142"/>
                  </a:lnTo>
                  <a:lnTo>
                    <a:pt x="484" y="143"/>
                  </a:lnTo>
                  <a:lnTo>
                    <a:pt x="485" y="145"/>
                  </a:lnTo>
                  <a:lnTo>
                    <a:pt x="485" y="146"/>
                  </a:lnTo>
                  <a:lnTo>
                    <a:pt x="486" y="148"/>
                  </a:lnTo>
                  <a:lnTo>
                    <a:pt x="487" y="149"/>
                  </a:lnTo>
                  <a:lnTo>
                    <a:pt x="489" y="152"/>
                  </a:lnTo>
                  <a:lnTo>
                    <a:pt x="490" y="153"/>
                  </a:lnTo>
                  <a:lnTo>
                    <a:pt x="491" y="155"/>
                  </a:lnTo>
                  <a:lnTo>
                    <a:pt x="493" y="157"/>
                  </a:lnTo>
                  <a:lnTo>
                    <a:pt x="497" y="159"/>
                  </a:lnTo>
                  <a:lnTo>
                    <a:pt x="500" y="161"/>
                  </a:lnTo>
                  <a:lnTo>
                    <a:pt x="502" y="163"/>
                  </a:lnTo>
                  <a:lnTo>
                    <a:pt x="504" y="165"/>
                  </a:lnTo>
                  <a:lnTo>
                    <a:pt x="506" y="165"/>
                  </a:lnTo>
                  <a:lnTo>
                    <a:pt x="505" y="166"/>
                  </a:lnTo>
                  <a:lnTo>
                    <a:pt x="500" y="167"/>
                  </a:lnTo>
                  <a:lnTo>
                    <a:pt x="500" y="167"/>
                  </a:lnTo>
                  <a:lnTo>
                    <a:pt x="499" y="167"/>
                  </a:lnTo>
                  <a:lnTo>
                    <a:pt x="498" y="166"/>
                  </a:lnTo>
                  <a:lnTo>
                    <a:pt x="497" y="165"/>
                  </a:lnTo>
                  <a:lnTo>
                    <a:pt x="493" y="162"/>
                  </a:lnTo>
                  <a:lnTo>
                    <a:pt x="489" y="159"/>
                  </a:lnTo>
                  <a:lnTo>
                    <a:pt x="488" y="159"/>
                  </a:lnTo>
                  <a:lnTo>
                    <a:pt x="483" y="156"/>
                  </a:lnTo>
                  <a:lnTo>
                    <a:pt x="480" y="155"/>
                  </a:lnTo>
                  <a:lnTo>
                    <a:pt x="478" y="153"/>
                  </a:lnTo>
                  <a:lnTo>
                    <a:pt x="475" y="150"/>
                  </a:lnTo>
                  <a:lnTo>
                    <a:pt x="474" y="149"/>
                  </a:lnTo>
                  <a:lnTo>
                    <a:pt x="473" y="148"/>
                  </a:lnTo>
                  <a:lnTo>
                    <a:pt x="472" y="148"/>
                  </a:lnTo>
                  <a:lnTo>
                    <a:pt x="470" y="148"/>
                  </a:lnTo>
                  <a:lnTo>
                    <a:pt x="468" y="148"/>
                  </a:lnTo>
                  <a:lnTo>
                    <a:pt x="466" y="148"/>
                  </a:lnTo>
                  <a:lnTo>
                    <a:pt x="466" y="148"/>
                  </a:lnTo>
                  <a:lnTo>
                    <a:pt x="464" y="148"/>
                  </a:lnTo>
                  <a:lnTo>
                    <a:pt x="462" y="149"/>
                  </a:lnTo>
                  <a:lnTo>
                    <a:pt x="457" y="152"/>
                  </a:lnTo>
                  <a:lnTo>
                    <a:pt x="452" y="155"/>
                  </a:lnTo>
                  <a:lnTo>
                    <a:pt x="450" y="157"/>
                  </a:lnTo>
                  <a:lnTo>
                    <a:pt x="447" y="159"/>
                  </a:lnTo>
                  <a:lnTo>
                    <a:pt x="444" y="160"/>
                  </a:lnTo>
                  <a:lnTo>
                    <a:pt x="444" y="162"/>
                  </a:lnTo>
                  <a:lnTo>
                    <a:pt x="443" y="163"/>
                  </a:lnTo>
                  <a:lnTo>
                    <a:pt x="442" y="165"/>
                  </a:lnTo>
                  <a:lnTo>
                    <a:pt x="442" y="166"/>
                  </a:lnTo>
                  <a:lnTo>
                    <a:pt x="442" y="168"/>
                  </a:lnTo>
                  <a:lnTo>
                    <a:pt x="444" y="171"/>
                  </a:lnTo>
                  <a:lnTo>
                    <a:pt x="444" y="171"/>
                  </a:lnTo>
                  <a:lnTo>
                    <a:pt x="444" y="172"/>
                  </a:lnTo>
                  <a:lnTo>
                    <a:pt x="444" y="174"/>
                  </a:lnTo>
                  <a:lnTo>
                    <a:pt x="444" y="176"/>
                  </a:lnTo>
                  <a:lnTo>
                    <a:pt x="442" y="179"/>
                  </a:lnTo>
                  <a:lnTo>
                    <a:pt x="442" y="181"/>
                  </a:lnTo>
                  <a:lnTo>
                    <a:pt x="441" y="184"/>
                  </a:lnTo>
                  <a:lnTo>
                    <a:pt x="440" y="188"/>
                  </a:lnTo>
                  <a:lnTo>
                    <a:pt x="440" y="189"/>
                  </a:lnTo>
                  <a:lnTo>
                    <a:pt x="439" y="189"/>
                  </a:lnTo>
                  <a:lnTo>
                    <a:pt x="438" y="189"/>
                  </a:lnTo>
                  <a:lnTo>
                    <a:pt x="433" y="189"/>
                  </a:lnTo>
                  <a:lnTo>
                    <a:pt x="428" y="189"/>
                  </a:lnTo>
                  <a:lnTo>
                    <a:pt x="423" y="188"/>
                  </a:lnTo>
                  <a:lnTo>
                    <a:pt x="421" y="188"/>
                  </a:lnTo>
                  <a:lnTo>
                    <a:pt x="420" y="188"/>
                  </a:lnTo>
                  <a:lnTo>
                    <a:pt x="417" y="189"/>
                  </a:lnTo>
                  <a:lnTo>
                    <a:pt x="415" y="190"/>
                  </a:lnTo>
                  <a:lnTo>
                    <a:pt x="412" y="192"/>
                  </a:lnTo>
                  <a:lnTo>
                    <a:pt x="411" y="193"/>
                  </a:lnTo>
                  <a:lnTo>
                    <a:pt x="410" y="193"/>
                  </a:lnTo>
                  <a:lnTo>
                    <a:pt x="409" y="194"/>
                  </a:lnTo>
                  <a:lnTo>
                    <a:pt x="409" y="195"/>
                  </a:lnTo>
                  <a:lnTo>
                    <a:pt x="408" y="197"/>
                  </a:lnTo>
                  <a:lnTo>
                    <a:pt x="406" y="201"/>
                  </a:lnTo>
                  <a:lnTo>
                    <a:pt x="406" y="203"/>
                  </a:lnTo>
                  <a:lnTo>
                    <a:pt x="402" y="208"/>
                  </a:lnTo>
                  <a:lnTo>
                    <a:pt x="398" y="216"/>
                  </a:lnTo>
                  <a:lnTo>
                    <a:pt x="396" y="217"/>
                  </a:lnTo>
                  <a:lnTo>
                    <a:pt x="395" y="218"/>
                  </a:lnTo>
                  <a:lnTo>
                    <a:pt x="394" y="219"/>
                  </a:lnTo>
                  <a:lnTo>
                    <a:pt x="393" y="219"/>
                  </a:lnTo>
                  <a:lnTo>
                    <a:pt x="392" y="219"/>
                  </a:lnTo>
                  <a:lnTo>
                    <a:pt x="390" y="218"/>
                  </a:lnTo>
                  <a:lnTo>
                    <a:pt x="387" y="216"/>
                  </a:lnTo>
                  <a:lnTo>
                    <a:pt x="386" y="216"/>
                  </a:lnTo>
                  <a:lnTo>
                    <a:pt x="385" y="216"/>
                  </a:lnTo>
                  <a:lnTo>
                    <a:pt x="384" y="216"/>
                  </a:lnTo>
                  <a:lnTo>
                    <a:pt x="383" y="216"/>
                  </a:lnTo>
                  <a:lnTo>
                    <a:pt x="380" y="217"/>
                  </a:lnTo>
                  <a:lnTo>
                    <a:pt x="379" y="217"/>
                  </a:lnTo>
                  <a:lnTo>
                    <a:pt x="378" y="218"/>
                  </a:lnTo>
                  <a:lnTo>
                    <a:pt x="375" y="221"/>
                  </a:lnTo>
                  <a:lnTo>
                    <a:pt x="373" y="222"/>
                  </a:lnTo>
                  <a:lnTo>
                    <a:pt x="367" y="227"/>
                  </a:lnTo>
                  <a:lnTo>
                    <a:pt x="365" y="229"/>
                  </a:lnTo>
                  <a:lnTo>
                    <a:pt x="364" y="231"/>
                  </a:lnTo>
                  <a:lnTo>
                    <a:pt x="360" y="233"/>
                  </a:lnTo>
                  <a:lnTo>
                    <a:pt x="357" y="234"/>
                  </a:lnTo>
                  <a:lnTo>
                    <a:pt x="353" y="236"/>
                  </a:lnTo>
                  <a:lnTo>
                    <a:pt x="349" y="237"/>
                  </a:lnTo>
                  <a:lnTo>
                    <a:pt x="347" y="238"/>
                  </a:lnTo>
                  <a:lnTo>
                    <a:pt x="344" y="238"/>
                  </a:lnTo>
                  <a:lnTo>
                    <a:pt x="342" y="239"/>
                  </a:lnTo>
                  <a:lnTo>
                    <a:pt x="341" y="239"/>
                  </a:lnTo>
                  <a:lnTo>
                    <a:pt x="338" y="238"/>
                  </a:lnTo>
                  <a:lnTo>
                    <a:pt x="329" y="237"/>
                  </a:lnTo>
                  <a:lnTo>
                    <a:pt x="326" y="237"/>
                  </a:lnTo>
                  <a:lnTo>
                    <a:pt x="324" y="237"/>
                  </a:lnTo>
                  <a:lnTo>
                    <a:pt x="322" y="237"/>
                  </a:lnTo>
                  <a:lnTo>
                    <a:pt x="321" y="238"/>
                  </a:lnTo>
                  <a:lnTo>
                    <a:pt x="312" y="240"/>
                  </a:lnTo>
                  <a:lnTo>
                    <a:pt x="306" y="242"/>
                  </a:lnTo>
                  <a:lnTo>
                    <a:pt x="303" y="243"/>
                  </a:lnTo>
                  <a:lnTo>
                    <a:pt x="300" y="244"/>
                  </a:lnTo>
                  <a:lnTo>
                    <a:pt x="298" y="246"/>
                  </a:lnTo>
                  <a:lnTo>
                    <a:pt x="295" y="248"/>
                  </a:lnTo>
                  <a:lnTo>
                    <a:pt x="293" y="250"/>
                  </a:lnTo>
                  <a:lnTo>
                    <a:pt x="291" y="252"/>
                  </a:lnTo>
                  <a:lnTo>
                    <a:pt x="289" y="255"/>
                  </a:lnTo>
                  <a:lnTo>
                    <a:pt x="287" y="258"/>
                  </a:lnTo>
                  <a:lnTo>
                    <a:pt x="284" y="263"/>
                  </a:lnTo>
                  <a:lnTo>
                    <a:pt x="283" y="266"/>
                  </a:lnTo>
                  <a:lnTo>
                    <a:pt x="278" y="273"/>
                  </a:lnTo>
                  <a:lnTo>
                    <a:pt x="276" y="275"/>
                  </a:lnTo>
                  <a:lnTo>
                    <a:pt x="275" y="276"/>
                  </a:lnTo>
                  <a:lnTo>
                    <a:pt x="273" y="277"/>
                  </a:lnTo>
                  <a:lnTo>
                    <a:pt x="272" y="279"/>
                  </a:lnTo>
                  <a:lnTo>
                    <a:pt x="269" y="280"/>
                  </a:lnTo>
                  <a:lnTo>
                    <a:pt x="263" y="282"/>
                  </a:lnTo>
                  <a:lnTo>
                    <a:pt x="259" y="284"/>
                  </a:lnTo>
                  <a:lnTo>
                    <a:pt x="256" y="284"/>
                  </a:lnTo>
                  <a:lnTo>
                    <a:pt x="252" y="285"/>
                  </a:lnTo>
                  <a:lnTo>
                    <a:pt x="250" y="285"/>
                  </a:lnTo>
                  <a:lnTo>
                    <a:pt x="248" y="285"/>
                  </a:lnTo>
                  <a:lnTo>
                    <a:pt x="246" y="285"/>
                  </a:lnTo>
                  <a:lnTo>
                    <a:pt x="243" y="285"/>
                  </a:lnTo>
                  <a:lnTo>
                    <a:pt x="241" y="284"/>
                  </a:lnTo>
                  <a:lnTo>
                    <a:pt x="238" y="284"/>
                  </a:lnTo>
                  <a:lnTo>
                    <a:pt x="230" y="282"/>
                  </a:lnTo>
                  <a:lnTo>
                    <a:pt x="227" y="281"/>
                  </a:lnTo>
                  <a:lnTo>
                    <a:pt x="227" y="281"/>
                  </a:lnTo>
                  <a:lnTo>
                    <a:pt x="226" y="281"/>
                  </a:lnTo>
                  <a:lnTo>
                    <a:pt x="224" y="282"/>
                  </a:lnTo>
                  <a:lnTo>
                    <a:pt x="223" y="283"/>
                  </a:lnTo>
                  <a:lnTo>
                    <a:pt x="222" y="284"/>
                  </a:lnTo>
                  <a:lnTo>
                    <a:pt x="221" y="284"/>
                  </a:lnTo>
                  <a:lnTo>
                    <a:pt x="220" y="285"/>
                  </a:lnTo>
                  <a:lnTo>
                    <a:pt x="219" y="287"/>
                  </a:lnTo>
                  <a:lnTo>
                    <a:pt x="218" y="290"/>
                  </a:lnTo>
                  <a:lnTo>
                    <a:pt x="215" y="304"/>
                  </a:lnTo>
                  <a:lnTo>
                    <a:pt x="213" y="308"/>
                  </a:lnTo>
                  <a:lnTo>
                    <a:pt x="212" y="312"/>
                  </a:lnTo>
                  <a:lnTo>
                    <a:pt x="209" y="318"/>
                  </a:lnTo>
                  <a:lnTo>
                    <a:pt x="207" y="320"/>
                  </a:lnTo>
                  <a:lnTo>
                    <a:pt x="206" y="322"/>
                  </a:lnTo>
                  <a:lnTo>
                    <a:pt x="205" y="323"/>
                  </a:lnTo>
                  <a:lnTo>
                    <a:pt x="205" y="324"/>
                  </a:lnTo>
                  <a:lnTo>
                    <a:pt x="204" y="324"/>
                  </a:lnTo>
                  <a:lnTo>
                    <a:pt x="203" y="324"/>
                  </a:lnTo>
                  <a:lnTo>
                    <a:pt x="201" y="324"/>
                  </a:lnTo>
                  <a:lnTo>
                    <a:pt x="199" y="324"/>
                  </a:lnTo>
                  <a:lnTo>
                    <a:pt x="198" y="323"/>
                  </a:lnTo>
                  <a:lnTo>
                    <a:pt x="196" y="322"/>
                  </a:lnTo>
                  <a:lnTo>
                    <a:pt x="195" y="321"/>
                  </a:lnTo>
                  <a:lnTo>
                    <a:pt x="193" y="318"/>
                  </a:lnTo>
                  <a:lnTo>
                    <a:pt x="190" y="315"/>
                  </a:lnTo>
                  <a:lnTo>
                    <a:pt x="188" y="314"/>
                  </a:lnTo>
                  <a:lnTo>
                    <a:pt x="187" y="313"/>
                  </a:lnTo>
                  <a:lnTo>
                    <a:pt x="186" y="312"/>
                  </a:lnTo>
                  <a:lnTo>
                    <a:pt x="185" y="312"/>
                  </a:lnTo>
                  <a:lnTo>
                    <a:pt x="183" y="311"/>
                  </a:lnTo>
                  <a:lnTo>
                    <a:pt x="182" y="311"/>
                  </a:lnTo>
                  <a:lnTo>
                    <a:pt x="180" y="311"/>
                  </a:lnTo>
                  <a:lnTo>
                    <a:pt x="174" y="312"/>
                  </a:lnTo>
                  <a:lnTo>
                    <a:pt x="169" y="313"/>
                  </a:lnTo>
                  <a:lnTo>
                    <a:pt x="165" y="314"/>
                  </a:lnTo>
                  <a:lnTo>
                    <a:pt x="164" y="314"/>
                  </a:lnTo>
                  <a:lnTo>
                    <a:pt x="163" y="314"/>
                  </a:lnTo>
                  <a:lnTo>
                    <a:pt x="161" y="314"/>
                  </a:lnTo>
                  <a:lnTo>
                    <a:pt x="160" y="313"/>
                  </a:lnTo>
                  <a:lnTo>
                    <a:pt x="159" y="312"/>
                  </a:lnTo>
                  <a:lnTo>
                    <a:pt x="158" y="311"/>
                  </a:lnTo>
                  <a:lnTo>
                    <a:pt x="156" y="309"/>
                  </a:lnTo>
                  <a:lnTo>
                    <a:pt x="154" y="307"/>
                  </a:lnTo>
                  <a:lnTo>
                    <a:pt x="153" y="305"/>
                  </a:lnTo>
                  <a:lnTo>
                    <a:pt x="152" y="302"/>
                  </a:lnTo>
                  <a:lnTo>
                    <a:pt x="150" y="297"/>
                  </a:lnTo>
                  <a:lnTo>
                    <a:pt x="149" y="292"/>
                  </a:lnTo>
                  <a:lnTo>
                    <a:pt x="148" y="286"/>
                  </a:lnTo>
                  <a:lnTo>
                    <a:pt x="145" y="285"/>
                  </a:lnTo>
                  <a:lnTo>
                    <a:pt x="139" y="284"/>
                  </a:lnTo>
                  <a:lnTo>
                    <a:pt x="136" y="284"/>
                  </a:lnTo>
                  <a:lnTo>
                    <a:pt x="134" y="283"/>
                  </a:lnTo>
                  <a:lnTo>
                    <a:pt x="132" y="282"/>
                  </a:lnTo>
                  <a:lnTo>
                    <a:pt x="130" y="281"/>
                  </a:lnTo>
                  <a:lnTo>
                    <a:pt x="128" y="280"/>
                  </a:lnTo>
                  <a:lnTo>
                    <a:pt x="126" y="278"/>
                  </a:lnTo>
                  <a:lnTo>
                    <a:pt x="125" y="276"/>
                  </a:lnTo>
                  <a:lnTo>
                    <a:pt x="123" y="274"/>
                  </a:lnTo>
                  <a:lnTo>
                    <a:pt x="122" y="273"/>
                  </a:lnTo>
                  <a:lnTo>
                    <a:pt x="120" y="271"/>
                  </a:lnTo>
                  <a:lnTo>
                    <a:pt x="119" y="269"/>
                  </a:lnTo>
                  <a:lnTo>
                    <a:pt x="119" y="267"/>
                  </a:lnTo>
                  <a:lnTo>
                    <a:pt x="118" y="265"/>
                  </a:lnTo>
                  <a:lnTo>
                    <a:pt x="118" y="263"/>
                  </a:lnTo>
                  <a:lnTo>
                    <a:pt x="119" y="261"/>
                  </a:lnTo>
                  <a:lnTo>
                    <a:pt x="120" y="260"/>
                  </a:lnTo>
                  <a:lnTo>
                    <a:pt x="121" y="258"/>
                  </a:lnTo>
                  <a:lnTo>
                    <a:pt x="123" y="256"/>
                  </a:lnTo>
                  <a:lnTo>
                    <a:pt x="124" y="254"/>
                  </a:lnTo>
                  <a:lnTo>
                    <a:pt x="125" y="253"/>
                  </a:lnTo>
                  <a:lnTo>
                    <a:pt x="127" y="252"/>
                  </a:lnTo>
                  <a:lnTo>
                    <a:pt x="129" y="251"/>
                  </a:lnTo>
                  <a:lnTo>
                    <a:pt x="130" y="251"/>
                  </a:lnTo>
                  <a:lnTo>
                    <a:pt x="132" y="251"/>
                  </a:lnTo>
                  <a:lnTo>
                    <a:pt x="133" y="251"/>
                  </a:lnTo>
                  <a:lnTo>
                    <a:pt x="134" y="251"/>
                  </a:lnTo>
                  <a:lnTo>
                    <a:pt x="136" y="251"/>
                  </a:lnTo>
                  <a:lnTo>
                    <a:pt x="137" y="252"/>
                  </a:lnTo>
                  <a:lnTo>
                    <a:pt x="139" y="254"/>
                  </a:lnTo>
                  <a:lnTo>
                    <a:pt x="141" y="254"/>
                  </a:lnTo>
                  <a:lnTo>
                    <a:pt x="142" y="254"/>
                  </a:lnTo>
                  <a:lnTo>
                    <a:pt x="143" y="254"/>
                  </a:lnTo>
                  <a:lnTo>
                    <a:pt x="144" y="253"/>
                  </a:lnTo>
                  <a:lnTo>
                    <a:pt x="145" y="250"/>
                  </a:lnTo>
                  <a:lnTo>
                    <a:pt x="146" y="248"/>
                  </a:lnTo>
                  <a:lnTo>
                    <a:pt x="147" y="241"/>
                  </a:lnTo>
                  <a:lnTo>
                    <a:pt x="147" y="239"/>
                  </a:lnTo>
                  <a:lnTo>
                    <a:pt x="148" y="220"/>
                  </a:lnTo>
                  <a:lnTo>
                    <a:pt x="150" y="213"/>
                  </a:lnTo>
                  <a:lnTo>
                    <a:pt x="150" y="210"/>
                  </a:lnTo>
                  <a:lnTo>
                    <a:pt x="150" y="207"/>
                  </a:lnTo>
                  <a:lnTo>
                    <a:pt x="149" y="205"/>
                  </a:lnTo>
                  <a:lnTo>
                    <a:pt x="148" y="205"/>
                  </a:lnTo>
                  <a:lnTo>
                    <a:pt x="148" y="204"/>
                  </a:lnTo>
                  <a:lnTo>
                    <a:pt x="146" y="204"/>
                  </a:lnTo>
                  <a:lnTo>
                    <a:pt x="145" y="203"/>
                  </a:lnTo>
                  <a:lnTo>
                    <a:pt x="141" y="203"/>
                  </a:lnTo>
                  <a:lnTo>
                    <a:pt x="139" y="202"/>
                  </a:lnTo>
                  <a:lnTo>
                    <a:pt x="128" y="197"/>
                  </a:lnTo>
                  <a:lnTo>
                    <a:pt x="125" y="196"/>
                  </a:lnTo>
                  <a:lnTo>
                    <a:pt x="121" y="194"/>
                  </a:lnTo>
                  <a:lnTo>
                    <a:pt x="119" y="193"/>
                  </a:lnTo>
                  <a:lnTo>
                    <a:pt x="117" y="191"/>
                  </a:lnTo>
                  <a:lnTo>
                    <a:pt x="114" y="189"/>
                  </a:lnTo>
                  <a:lnTo>
                    <a:pt x="112" y="185"/>
                  </a:lnTo>
                  <a:lnTo>
                    <a:pt x="103" y="174"/>
                  </a:lnTo>
                  <a:lnTo>
                    <a:pt x="102" y="171"/>
                  </a:lnTo>
                  <a:lnTo>
                    <a:pt x="102" y="170"/>
                  </a:lnTo>
                  <a:lnTo>
                    <a:pt x="99" y="162"/>
                  </a:lnTo>
                  <a:lnTo>
                    <a:pt x="98" y="159"/>
                  </a:lnTo>
                  <a:lnTo>
                    <a:pt x="97" y="159"/>
                  </a:lnTo>
                  <a:lnTo>
                    <a:pt x="96" y="158"/>
                  </a:lnTo>
                  <a:lnTo>
                    <a:pt x="95" y="158"/>
                  </a:lnTo>
                  <a:lnTo>
                    <a:pt x="94" y="157"/>
                  </a:lnTo>
                  <a:lnTo>
                    <a:pt x="93" y="157"/>
                  </a:lnTo>
                  <a:lnTo>
                    <a:pt x="92" y="157"/>
                  </a:lnTo>
                  <a:lnTo>
                    <a:pt x="91" y="157"/>
                  </a:lnTo>
                  <a:lnTo>
                    <a:pt x="91" y="158"/>
                  </a:lnTo>
                  <a:lnTo>
                    <a:pt x="89" y="159"/>
                  </a:lnTo>
                  <a:lnTo>
                    <a:pt x="86" y="162"/>
                  </a:lnTo>
                  <a:lnTo>
                    <a:pt x="85" y="163"/>
                  </a:lnTo>
                  <a:lnTo>
                    <a:pt x="84" y="164"/>
                  </a:lnTo>
                  <a:lnTo>
                    <a:pt x="83" y="165"/>
                  </a:lnTo>
                  <a:lnTo>
                    <a:pt x="80" y="166"/>
                  </a:lnTo>
                  <a:lnTo>
                    <a:pt x="75" y="170"/>
                  </a:lnTo>
                  <a:lnTo>
                    <a:pt x="73" y="170"/>
                  </a:lnTo>
                  <a:lnTo>
                    <a:pt x="69" y="171"/>
                  </a:lnTo>
                  <a:lnTo>
                    <a:pt x="64" y="173"/>
                  </a:lnTo>
                  <a:lnTo>
                    <a:pt x="61" y="174"/>
                  </a:lnTo>
                  <a:lnTo>
                    <a:pt x="59" y="175"/>
                  </a:lnTo>
                  <a:lnTo>
                    <a:pt x="57" y="175"/>
                  </a:lnTo>
                  <a:lnTo>
                    <a:pt x="55" y="175"/>
                  </a:lnTo>
                  <a:lnTo>
                    <a:pt x="53" y="175"/>
                  </a:lnTo>
                  <a:lnTo>
                    <a:pt x="51" y="175"/>
                  </a:lnTo>
                  <a:lnTo>
                    <a:pt x="34" y="173"/>
                  </a:lnTo>
                  <a:lnTo>
                    <a:pt x="29" y="172"/>
                  </a:lnTo>
                  <a:lnTo>
                    <a:pt x="28" y="172"/>
                  </a:lnTo>
                  <a:lnTo>
                    <a:pt x="26" y="171"/>
                  </a:lnTo>
                  <a:lnTo>
                    <a:pt x="24" y="171"/>
                  </a:lnTo>
                  <a:lnTo>
                    <a:pt x="23" y="170"/>
                  </a:lnTo>
                  <a:lnTo>
                    <a:pt x="22" y="169"/>
                  </a:lnTo>
                  <a:lnTo>
                    <a:pt x="21" y="167"/>
                  </a:lnTo>
                  <a:lnTo>
                    <a:pt x="19" y="165"/>
                  </a:lnTo>
                  <a:lnTo>
                    <a:pt x="16" y="161"/>
                  </a:lnTo>
                  <a:lnTo>
                    <a:pt x="15" y="159"/>
                  </a:lnTo>
                  <a:lnTo>
                    <a:pt x="14" y="158"/>
                  </a:lnTo>
                  <a:lnTo>
                    <a:pt x="13" y="154"/>
                  </a:lnTo>
                  <a:lnTo>
                    <a:pt x="12" y="151"/>
                  </a:lnTo>
                  <a:lnTo>
                    <a:pt x="11" y="148"/>
                  </a:lnTo>
                  <a:lnTo>
                    <a:pt x="11" y="145"/>
                  </a:lnTo>
                  <a:lnTo>
                    <a:pt x="11" y="140"/>
                  </a:lnTo>
                  <a:lnTo>
                    <a:pt x="10" y="126"/>
                  </a:lnTo>
                  <a:lnTo>
                    <a:pt x="9" y="116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7" y="107"/>
                  </a:lnTo>
                  <a:lnTo>
                    <a:pt x="7" y="106"/>
                  </a:lnTo>
                  <a:lnTo>
                    <a:pt x="5" y="102"/>
                  </a:lnTo>
                  <a:lnTo>
                    <a:pt x="4" y="101"/>
                  </a:lnTo>
                  <a:lnTo>
                    <a:pt x="4" y="98"/>
                  </a:lnTo>
                  <a:lnTo>
                    <a:pt x="3" y="94"/>
                  </a:lnTo>
                  <a:lnTo>
                    <a:pt x="3" y="93"/>
                  </a:lnTo>
                  <a:lnTo>
                    <a:pt x="2" y="91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0" y="84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1" y="80"/>
                  </a:lnTo>
                  <a:lnTo>
                    <a:pt x="2" y="79"/>
                  </a:lnTo>
                  <a:lnTo>
                    <a:pt x="3" y="77"/>
                  </a:lnTo>
                  <a:lnTo>
                    <a:pt x="5" y="75"/>
                  </a:lnTo>
                  <a:lnTo>
                    <a:pt x="9" y="72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58"/>
                  </a:lnTo>
                  <a:lnTo>
                    <a:pt x="31" y="57"/>
                  </a:lnTo>
                  <a:lnTo>
                    <a:pt x="39" y="52"/>
                  </a:lnTo>
                  <a:lnTo>
                    <a:pt x="41" y="51"/>
                  </a:lnTo>
                  <a:lnTo>
                    <a:pt x="41" y="50"/>
                  </a:lnTo>
                  <a:lnTo>
                    <a:pt x="42" y="51"/>
                  </a:lnTo>
                  <a:lnTo>
                    <a:pt x="43" y="52"/>
                  </a:lnTo>
                  <a:lnTo>
                    <a:pt x="44" y="53"/>
                  </a:lnTo>
                  <a:lnTo>
                    <a:pt x="44" y="54"/>
                  </a:lnTo>
                  <a:lnTo>
                    <a:pt x="44" y="55"/>
                  </a:lnTo>
                  <a:lnTo>
                    <a:pt x="44" y="56"/>
                  </a:lnTo>
                  <a:lnTo>
                    <a:pt x="43" y="60"/>
                  </a:lnTo>
                  <a:lnTo>
                    <a:pt x="43" y="62"/>
                  </a:lnTo>
                  <a:lnTo>
                    <a:pt x="43" y="63"/>
                  </a:lnTo>
                  <a:lnTo>
                    <a:pt x="44" y="64"/>
                  </a:lnTo>
                  <a:lnTo>
                    <a:pt x="44" y="65"/>
                  </a:lnTo>
                  <a:lnTo>
                    <a:pt x="45" y="66"/>
                  </a:lnTo>
                  <a:lnTo>
                    <a:pt x="46" y="68"/>
                  </a:lnTo>
                  <a:lnTo>
                    <a:pt x="48" y="69"/>
                  </a:lnTo>
                  <a:lnTo>
                    <a:pt x="54" y="71"/>
                  </a:lnTo>
                  <a:lnTo>
                    <a:pt x="59" y="74"/>
                  </a:lnTo>
                  <a:lnTo>
                    <a:pt x="61" y="75"/>
                  </a:lnTo>
                  <a:lnTo>
                    <a:pt x="62" y="75"/>
                  </a:lnTo>
                  <a:lnTo>
                    <a:pt x="65" y="75"/>
                  </a:lnTo>
                  <a:lnTo>
                    <a:pt x="67" y="74"/>
                  </a:lnTo>
                  <a:lnTo>
                    <a:pt x="69" y="74"/>
                  </a:lnTo>
                  <a:lnTo>
                    <a:pt x="75" y="72"/>
                  </a:lnTo>
                  <a:lnTo>
                    <a:pt x="76" y="71"/>
                  </a:lnTo>
                  <a:lnTo>
                    <a:pt x="78" y="71"/>
                  </a:lnTo>
                  <a:lnTo>
                    <a:pt x="82" y="70"/>
                  </a:lnTo>
                  <a:lnTo>
                    <a:pt x="91" y="70"/>
                  </a:lnTo>
                  <a:lnTo>
                    <a:pt x="95" y="70"/>
                  </a:lnTo>
                  <a:lnTo>
                    <a:pt x="98" y="70"/>
                  </a:lnTo>
                  <a:lnTo>
                    <a:pt x="101" y="69"/>
                  </a:lnTo>
                  <a:lnTo>
                    <a:pt x="105" y="69"/>
                  </a:lnTo>
                  <a:lnTo>
                    <a:pt x="109" y="67"/>
                  </a:lnTo>
                  <a:lnTo>
                    <a:pt x="114" y="65"/>
                  </a:lnTo>
                  <a:lnTo>
                    <a:pt x="117" y="63"/>
                  </a:lnTo>
                  <a:lnTo>
                    <a:pt x="120" y="62"/>
                  </a:lnTo>
                  <a:lnTo>
                    <a:pt x="122" y="60"/>
                  </a:lnTo>
                  <a:lnTo>
                    <a:pt x="126" y="57"/>
                  </a:lnTo>
                  <a:lnTo>
                    <a:pt x="133" y="52"/>
                  </a:lnTo>
                  <a:lnTo>
                    <a:pt x="135" y="51"/>
                  </a:lnTo>
                  <a:lnTo>
                    <a:pt x="137" y="50"/>
                  </a:lnTo>
                  <a:lnTo>
                    <a:pt x="138" y="49"/>
                  </a:lnTo>
                  <a:lnTo>
                    <a:pt x="141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8" y="48"/>
                  </a:lnTo>
                  <a:lnTo>
                    <a:pt x="148" y="48"/>
                  </a:lnTo>
                  <a:lnTo>
                    <a:pt x="150" y="49"/>
                  </a:lnTo>
                  <a:lnTo>
                    <a:pt x="151" y="50"/>
                  </a:lnTo>
                  <a:lnTo>
                    <a:pt x="152" y="51"/>
                  </a:lnTo>
                  <a:lnTo>
                    <a:pt x="152" y="52"/>
                  </a:lnTo>
                  <a:lnTo>
                    <a:pt x="153" y="53"/>
                  </a:lnTo>
                  <a:lnTo>
                    <a:pt x="153" y="54"/>
                  </a:lnTo>
                  <a:lnTo>
                    <a:pt x="153" y="55"/>
                  </a:lnTo>
                  <a:lnTo>
                    <a:pt x="153" y="56"/>
                  </a:lnTo>
                  <a:lnTo>
                    <a:pt x="153" y="57"/>
                  </a:lnTo>
                  <a:lnTo>
                    <a:pt x="152" y="59"/>
                  </a:lnTo>
                  <a:lnTo>
                    <a:pt x="149" y="64"/>
                  </a:lnTo>
                  <a:lnTo>
                    <a:pt x="148" y="68"/>
                  </a:lnTo>
                  <a:lnTo>
                    <a:pt x="148" y="70"/>
                  </a:lnTo>
                  <a:lnTo>
                    <a:pt x="148" y="72"/>
                  </a:lnTo>
                  <a:lnTo>
                    <a:pt x="148" y="73"/>
                  </a:lnTo>
                  <a:lnTo>
                    <a:pt x="148" y="74"/>
                  </a:lnTo>
                  <a:lnTo>
                    <a:pt x="148" y="76"/>
                  </a:lnTo>
                  <a:lnTo>
                    <a:pt x="149" y="78"/>
                  </a:lnTo>
                  <a:lnTo>
                    <a:pt x="150" y="78"/>
                  </a:lnTo>
                  <a:lnTo>
                    <a:pt x="151" y="79"/>
                  </a:lnTo>
                  <a:lnTo>
                    <a:pt x="153" y="80"/>
                  </a:lnTo>
                  <a:lnTo>
                    <a:pt x="154" y="80"/>
                  </a:lnTo>
                  <a:lnTo>
                    <a:pt x="156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1" y="80"/>
                  </a:lnTo>
                  <a:lnTo>
                    <a:pt x="162" y="79"/>
                  </a:lnTo>
                  <a:lnTo>
                    <a:pt x="166" y="75"/>
                  </a:lnTo>
                  <a:lnTo>
                    <a:pt x="171" y="71"/>
                  </a:lnTo>
                  <a:lnTo>
                    <a:pt x="172" y="70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8" y="69"/>
                  </a:lnTo>
                  <a:lnTo>
                    <a:pt x="186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3" y="67"/>
                  </a:lnTo>
                  <a:lnTo>
                    <a:pt x="194" y="67"/>
                  </a:lnTo>
                  <a:lnTo>
                    <a:pt x="197" y="66"/>
                  </a:lnTo>
                  <a:lnTo>
                    <a:pt x="199" y="64"/>
                  </a:lnTo>
                  <a:lnTo>
                    <a:pt x="201" y="62"/>
                  </a:lnTo>
                  <a:lnTo>
                    <a:pt x="204" y="59"/>
                  </a:lnTo>
                  <a:lnTo>
                    <a:pt x="205" y="58"/>
                  </a:lnTo>
                  <a:lnTo>
                    <a:pt x="206" y="57"/>
                  </a:lnTo>
                  <a:lnTo>
                    <a:pt x="207" y="57"/>
                  </a:lnTo>
                  <a:lnTo>
                    <a:pt x="209" y="56"/>
                  </a:lnTo>
                  <a:lnTo>
                    <a:pt x="211" y="56"/>
                  </a:lnTo>
                  <a:lnTo>
                    <a:pt x="215" y="55"/>
                  </a:lnTo>
                  <a:lnTo>
                    <a:pt x="219" y="55"/>
                  </a:lnTo>
                  <a:lnTo>
                    <a:pt x="223" y="54"/>
                  </a:lnTo>
                  <a:lnTo>
                    <a:pt x="225" y="54"/>
                  </a:lnTo>
                  <a:lnTo>
                    <a:pt x="226" y="55"/>
                  </a:lnTo>
                  <a:lnTo>
                    <a:pt x="227" y="55"/>
                  </a:lnTo>
                  <a:lnTo>
                    <a:pt x="228" y="56"/>
                  </a:lnTo>
                  <a:lnTo>
                    <a:pt x="230" y="56"/>
                  </a:lnTo>
                  <a:lnTo>
                    <a:pt x="231" y="57"/>
                  </a:lnTo>
                  <a:lnTo>
                    <a:pt x="236" y="60"/>
                  </a:lnTo>
                  <a:lnTo>
                    <a:pt x="237" y="61"/>
                  </a:lnTo>
                  <a:lnTo>
                    <a:pt x="239" y="61"/>
                  </a:lnTo>
                  <a:lnTo>
                    <a:pt x="241" y="63"/>
                  </a:lnTo>
                  <a:lnTo>
                    <a:pt x="247" y="64"/>
                  </a:lnTo>
                  <a:lnTo>
                    <a:pt x="249" y="65"/>
                  </a:lnTo>
                  <a:lnTo>
                    <a:pt x="250" y="65"/>
                  </a:lnTo>
                  <a:lnTo>
                    <a:pt x="251" y="66"/>
                  </a:lnTo>
                  <a:lnTo>
                    <a:pt x="253" y="68"/>
                  </a:lnTo>
                  <a:lnTo>
                    <a:pt x="256" y="70"/>
                  </a:lnTo>
                  <a:lnTo>
                    <a:pt x="258" y="72"/>
                  </a:lnTo>
                  <a:lnTo>
                    <a:pt x="260" y="73"/>
                  </a:lnTo>
                  <a:lnTo>
                    <a:pt x="262" y="74"/>
                  </a:lnTo>
                  <a:lnTo>
                    <a:pt x="268" y="77"/>
                  </a:lnTo>
                  <a:lnTo>
                    <a:pt x="276" y="81"/>
                  </a:lnTo>
                  <a:lnTo>
                    <a:pt x="277" y="82"/>
                  </a:lnTo>
                  <a:lnTo>
                    <a:pt x="279" y="83"/>
                  </a:lnTo>
                  <a:lnTo>
                    <a:pt x="280" y="83"/>
                  </a:lnTo>
                  <a:lnTo>
                    <a:pt x="281" y="83"/>
                  </a:lnTo>
                  <a:lnTo>
                    <a:pt x="283" y="83"/>
                  </a:lnTo>
                  <a:lnTo>
                    <a:pt x="284" y="83"/>
                  </a:lnTo>
                  <a:lnTo>
                    <a:pt x="286" y="82"/>
                  </a:lnTo>
                  <a:lnTo>
                    <a:pt x="288" y="80"/>
                  </a:lnTo>
                  <a:lnTo>
                    <a:pt x="292" y="77"/>
                  </a:lnTo>
                  <a:lnTo>
                    <a:pt x="294" y="76"/>
                  </a:lnTo>
                  <a:lnTo>
                    <a:pt x="295" y="75"/>
                  </a:lnTo>
                  <a:lnTo>
                    <a:pt x="296" y="74"/>
                  </a:lnTo>
                  <a:lnTo>
                    <a:pt x="298" y="74"/>
                  </a:lnTo>
                  <a:lnTo>
                    <a:pt x="300" y="73"/>
                  </a:lnTo>
                  <a:lnTo>
                    <a:pt x="305" y="73"/>
                  </a:lnTo>
                  <a:lnTo>
                    <a:pt x="309" y="72"/>
                  </a:lnTo>
                  <a:lnTo>
                    <a:pt x="313" y="72"/>
                  </a:lnTo>
                  <a:lnTo>
                    <a:pt x="316" y="72"/>
                  </a:lnTo>
                  <a:lnTo>
                    <a:pt x="318" y="73"/>
                  </a:lnTo>
                  <a:lnTo>
                    <a:pt x="322" y="73"/>
                  </a:lnTo>
                  <a:lnTo>
                    <a:pt x="324" y="73"/>
                  </a:lnTo>
                  <a:lnTo>
                    <a:pt x="326" y="73"/>
                  </a:lnTo>
                  <a:lnTo>
                    <a:pt x="328" y="73"/>
                  </a:lnTo>
                  <a:lnTo>
                    <a:pt x="330" y="72"/>
                  </a:lnTo>
                  <a:lnTo>
                    <a:pt x="332" y="71"/>
                  </a:lnTo>
                  <a:lnTo>
                    <a:pt x="336" y="68"/>
                  </a:lnTo>
                  <a:lnTo>
                    <a:pt x="341" y="65"/>
                  </a:lnTo>
                  <a:lnTo>
                    <a:pt x="344" y="62"/>
                  </a:lnTo>
                  <a:lnTo>
                    <a:pt x="345" y="62"/>
                  </a:lnTo>
                  <a:lnTo>
                    <a:pt x="347" y="61"/>
                  </a:lnTo>
                  <a:lnTo>
                    <a:pt x="349" y="61"/>
                  </a:lnTo>
                  <a:lnTo>
                    <a:pt x="353" y="61"/>
                  </a:lnTo>
                  <a:lnTo>
                    <a:pt x="354" y="61"/>
                  </a:lnTo>
                  <a:lnTo>
                    <a:pt x="359" y="61"/>
                  </a:lnTo>
                  <a:lnTo>
                    <a:pt x="361" y="61"/>
                  </a:lnTo>
                  <a:lnTo>
                    <a:pt x="364" y="62"/>
                  </a:lnTo>
                  <a:lnTo>
                    <a:pt x="372" y="64"/>
                  </a:lnTo>
                  <a:lnTo>
                    <a:pt x="375" y="65"/>
                  </a:lnTo>
                  <a:lnTo>
                    <a:pt x="379" y="65"/>
                  </a:lnTo>
                  <a:lnTo>
                    <a:pt x="382" y="65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90" y="63"/>
                  </a:lnTo>
                  <a:lnTo>
                    <a:pt x="397" y="60"/>
                  </a:lnTo>
                  <a:lnTo>
                    <a:pt x="403" y="57"/>
                  </a:lnTo>
                  <a:lnTo>
                    <a:pt x="404" y="57"/>
                  </a:lnTo>
                  <a:lnTo>
                    <a:pt x="406" y="55"/>
                  </a:lnTo>
                  <a:lnTo>
                    <a:pt x="407" y="54"/>
                  </a:lnTo>
                  <a:lnTo>
                    <a:pt x="409" y="51"/>
                  </a:lnTo>
                  <a:lnTo>
                    <a:pt x="409" y="49"/>
                  </a:lnTo>
                  <a:lnTo>
                    <a:pt x="410" y="47"/>
                  </a:lnTo>
                  <a:lnTo>
                    <a:pt x="411" y="46"/>
                  </a:lnTo>
                  <a:lnTo>
                    <a:pt x="411" y="44"/>
                  </a:lnTo>
                  <a:lnTo>
                    <a:pt x="412" y="42"/>
                  </a:lnTo>
                  <a:lnTo>
                    <a:pt x="412" y="39"/>
                  </a:lnTo>
                  <a:lnTo>
                    <a:pt x="411" y="35"/>
                  </a:lnTo>
                  <a:lnTo>
                    <a:pt x="409" y="29"/>
                  </a:lnTo>
                  <a:lnTo>
                    <a:pt x="409" y="28"/>
                  </a:lnTo>
                  <a:lnTo>
                    <a:pt x="409" y="27"/>
                  </a:lnTo>
                  <a:lnTo>
                    <a:pt x="409" y="25"/>
                  </a:lnTo>
                  <a:lnTo>
                    <a:pt x="410" y="22"/>
                  </a:lnTo>
                  <a:lnTo>
                    <a:pt x="410" y="20"/>
                  </a:lnTo>
                  <a:lnTo>
                    <a:pt x="411" y="16"/>
                  </a:lnTo>
                  <a:lnTo>
                    <a:pt x="410" y="13"/>
                  </a:lnTo>
                  <a:lnTo>
                    <a:pt x="411" y="12"/>
                  </a:lnTo>
                  <a:lnTo>
                    <a:pt x="411" y="12"/>
                  </a:lnTo>
                  <a:lnTo>
                    <a:pt x="412" y="11"/>
                  </a:lnTo>
                  <a:lnTo>
                    <a:pt x="413" y="9"/>
                  </a:lnTo>
                  <a:lnTo>
                    <a:pt x="424" y="2"/>
                  </a:lnTo>
                  <a:lnTo>
                    <a:pt x="428" y="0"/>
                  </a:lnTo>
                  <a:lnTo>
                    <a:pt x="428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7" name="Freeform 10">
              <a:extLst>
                <a:ext uri="{FF2B5EF4-FFF2-40B4-BE49-F238E27FC236}">
                  <a16:creationId xmlns:a16="http://schemas.microsoft.com/office/drawing/2014/main" id="{34B42A8D-78E4-4502-8F06-6B59E6AD0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6" y="2187"/>
              <a:ext cx="478" cy="399"/>
            </a:xfrm>
            <a:custGeom>
              <a:avLst/>
              <a:gdLst>
                <a:gd name="T0" fmla="*/ 357 w 478"/>
                <a:gd name="T1" fmla="*/ 8 h 399"/>
                <a:gd name="T2" fmla="*/ 379 w 478"/>
                <a:gd name="T3" fmla="*/ 18 h 399"/>
                <a:gd name="T4" fmla="*/ 395 w 478"/>
                <a:gd name="T5" fmla="*/ 21 h 399"/>
                <a:gd name="T6" fmla="*/ 418 w 478"/>
                <a:gd name="T7" fmla="*/ 30 h 399"/>
                <a:gd name="T8" fmla="*/ 430 w 478"/>
                <a:gd name="T9" fmla="*/ 36 h 399"/>
                <a:gd name="T10" fmla="*/ 432 w 478"/>
                <a:gd name="T11" fmla="*/ 54 h 399"/>
                <a:gd name="T12" fmla="*/ 453 w 478"/>
                <a:gd name="T13" fmla="*/ 72 h 399"/>
                <a:gd name="T14" fmla="*/ 476 w 478"/>
                <a:gd name="T15" fmla="*/ 90 h 399"/>
                <a:gd name="T16" fmla="*/ 475 w 478"/>
                <a:gd name="T17" fmla="*/ 103 h 399"/>
                <a:gd name="T18" fmla="*/ 477 w 478"/>
                <a:gd name="T19" fmla="*/ 122 h 399"/>
                <a:gd name="T20" fmla="*/ 468 w 478"/>
                <a:gd name="T21" fmla="*/ 152 h 399"/>
                <a:gd name="T22" fmla="*/ 457 w 478"/>
                <a:gd name="T23" fmla="*/ 168 h 399"/>
                <a:gd name="T24" fmla="*/ 454 w 478"/>
                <a:gd name="T25" fmla="*/ 203 h 399"/>
                <a:gd name="T26" fmla="*/ 434 w 478"/>
                <a:gd name="T27" fmla="*/ 221 h 399"/>
                <a:gd name="T28" fmla="*/ 413 w 478"/>
                <a:gd name="T29" fmla="*/ 227 h 399"/>
                <a:gd name="T30" fmla="*/ 398 w 478"/>
                <a:gd name="T31" fmla="*/ 242 h 399"/>
                <a:gd name="T32" fmla="*/ 402 w 478"/>
                <a:gd name="T33" fmla="*/ 264 h 399"/>
                <a:gd name="T34" fmla="*/ 401 w 478"/>
                <a:gd name="T35" fmla="*/ 276 h 399"/>
                <a:gd name="T36" fmla="*/ 385 w 478"/>
                <a:gd name="T37" fmla="*/ 282 h 399"/>
                <a:gd name="T38" fmla="*/ 360 w 478"/>
                <a:gd name="T39" fmla="*/ 290 h 399"/>
                <a:gd name="T40" fmla="*/ 336 w 478"/>
                <a:gd name="T41" fmla="*/ 308 h 399"/>
                <a:gd name="T42" fmla="*/ 285 w 478"/>
                <a:gd name="T43" fmla="*/ 326 h 399"/>
                <a:gd name="T44" fmla="*/ 268 w 478"/>
                <a:gd name="T45" fmla="*/ 328 h 399"/>
                <a:gd name="T46" fmla="*/ 251 w 478"/>
                <a:gd name="T47" fmla="*/ 329 h 399"/>
                <a:gd name="T48" fmla="*/ 240 w 478"/>
                <a:gd name="T49" fmla="*/ 350 h 399"/>
                <a:gd name="T50" fmla="*/ 214 w 478"/>
                <a:gd name="T51" fmla="*/ 390 h 399"/>
                <a:gd name="T52" fmla="*/ 200 w 478"/>
                <a:gd name="T53" fmla="*/ 395 h 399"/>
                <a:gd name="T54" fmla="*/ 170 w 478"/>
                <a:gd name="T55" fmla="*/ 385 h 399"/>
                <a:gd name="T56" fmla="*/ 133 w 478"/>
                <a:gd name="T57" fmla="*/ 361 h 399"/>
                <a:gd name="T58" fmla="*/ 110 w 478"/>
                <a:gd name="T59" fmla="*/ 340 h 399"/>
                <a:gd name="T60" fmla="*/ 88 w 478"/>
                <a:gd name="T61" fmla="*/ 320 h 399"/>
                <a:gd name="T62" fmla="*/ 69 w 478"/>
                <a:gd name="T63" fmla="*/ 293 h 399"/>
                <a:gd name="T64" fmla="*/ 45 w 478"/>
                <a:gd name="T65" fmla="*/ 285 h 399"/>
                <a:gd name="T66" fmla="*/ 33 w 478"/>
                <a:gd name="T67" fmla="*/ 269 h 399"/>
                <a:gd name="T68" fmla="*/ 24 w 478"/>
                <a:gd name="T69" fmla="*/ 248 h 399"/>
                <a:gd name="T70" fmla="*/ 17 w 478"/>
                <a:gd name="T71" fmla="*/ 228 h 399"/>
                <a:gd name="T72" fmla="*/ 9 w 478"/>
                <a:gd name="T73" fmla="*/ 196 h 399"/>
                <a:gd name="T74" fmla="*/ 5 w 478"/>
                <a:gd name="T75" fmla="*/ 172 h 399"/>
                <a:gd name="T76" fmla="*/ 11 w 478"/>
                <a:gd name="T77" fmla="*/ 154 h 399"/>
                <a:gd name="T78" fmla="*/ 10 w 478"/>
                <a:gd name="T79" fmla="*/ 146 h 399"/>
                <a:gd name="T80" fmla="*/ 23 w 478"/>
                <a:gd name="T81" fmla="*/ 144 h 399"/>
                <a:gd name="T82" fmla="*/ 35 w 478"/>
                <a:gd name="T83" fmla="*/ 166 h 399"/>
                <a:gd name="T84" fmla="*/ 59 w 478"/>
                <a:gd name="T85" fmla="*/ 164 h 399"/>
                <a:gd name="T86" fmla="*/ 73 w 478"/>
                <a:gd name="T87" fmla="*/ 176 h 399"/>
                <a:gd name="T88" fmla="*/ 86 w 478"/>
                <a:gd name="T89" fmla="*/ 164 h 399"/>
                <a:gd name="T90" fmla="*/ 98 w 478"/>
                <a:gd name="T91" fmla="*/ 134 h 399"/>
                <a:gd name="T92" fmla="*/ 122 w 478"/>
                <a:gd name="T93" fmla="*/ 137 h 399"/>
                <a:gd name="T94" fmla="*/ 149 w 478"/>
                <a:gd name="T95" fmla="*/ 128 h 399"/>
                <a:gd name="T96" fmla="*/ 169 w 478"/>
                <a:gd name="T97" fmla="*/ 100 h 399"/>
                <a:gd name="T98" fmla="*/ 200 w 478"/>
                <a:gd name="T99" fmla="*/ 89 h 399"/>
                <a:gd name="T100" fmla="*/ 231 w 478"/>
                <a:gd name="T101" fmla="*/ 86 h 399"/>
                <a:gd name="T102" fmla="*/ 254 w 478"/>
                <a:gd name="T103" fmla="*/ 69 h 399"/>
                <a:gd name="T104" fmla="*/ 268 w 478"/>
                <a:gd name="T105" fmla="*/ 71 h 399"/>
                <a:gd name="T106" fmla="*/ 283 w 478"/>
                <a:gd name="T107" fmla="*/ 46 h 399"/>
                <a:gd name="T108" fmla="*/ 302 w 478"/>
                <a:gd name="T109" fmla="*/ 41 h 399"/>
                <a:gd name="T110" fmla="*/ 318 w 478"/>
                <a:gd name="T111" fmla="*/ 28 h 399"/>
                <a:gd name="T112" fmla="*/ 318 w 478"/>
                <a:gd name="T113" fmla="*/ 14 h 399"/>
                <a:gd name="T114" fmla="*/ 340 w 478"/>
                <a:gd name="T115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8" h="399">
                  <a:moveTo>
                    <a:pt x="342" y="0"/>
                  </a:moveTo>
                  <a:lnTo>
                    <a:pt x="344" y="0"/>
                  </a:lnTo>
                  <a:lnTo>
                    <a:pt x="346" y="0"/>
                  </a:lnTo>
                  <a:lnTo>
                    <a:pt x="347" y="0"/>
                  </a:lnTo>
                  <a:lnTo>
                    <a:pt x="348" y="1"/>
                  </a:lnTo>
                  <a:lnTo>
                    <a:pt x="349" y="2"/>
                  </a:lnTo>
                  <a:lnTo>
                    <a:pt x="352" y="5"/>
                  </a:lnTo>
                  <a:lnTo>
                    <a:pt x="354" y="7"/>
                  </a:lnTo>
                  <a:lnTo>
                    <a:pt x="357" y="8"/>
                  </a:lnTo>
                  <a:lnTo>
                    <a:pt x="362" y="11"/>
                  </a:lnTo>
                  <a:lnTo>
                    <a:pt x="363" y="11"/>
                  </a:lnTo>
                  <a:lnTo>
                    <a:pt x="367" y="14"/>
                  </a:lnTo>
                  <a:lnTo>
                    <a:pt x="371" y="17"/>
                  </a:lnTo>
                  <a:lnTo>
                    <a:pt x="372" y="18"/>
                  </a:lnTo>
                  <a:lnTo>
                    <a:pt x="373" y="19"/>
                  </a:lnTo>
                  <a:lnTo>
                    <a:pt x="374" y="19"/>
                  </a:lnTo>
                  <a:lnTo>
                    <a:pt x="374" y="19"/>
                  </a:lnTo>
                  <a:lnTo>
                    <a:pt x="379" y="18"/>
                  </a:lnTo>
                  <a:lnTo>
                    <a:pt x="380" y="17"/>
                  </a:lnTo>
                  <a:lnTo>
                    <a:pt x="381" y="17"/>
                  </a:lnTo>
                  <a:lnTo>
                    <a:pt x="382" y="17"/>
                  </a:lnTo>
                  <a:lnTo>
                    <a:pt x="383" y="16"/>
                  </a:lnTo>
                  <a:lnTo>
                    <a:pt x="384" y="16"/>
                  </a:lnTo>
                  <a:lnTo>
                    <a:pt x="386" y="17"/>
                  </a:lnTo>
                  <a:lnTo>
                    <a:pt x="389" y="18"/>
                  </a:lnTo>
                  <a:lnTo>
                    <a:pt x="392" y="19"/>
                  </a:lnTo>
                  <a:lnTo>
                    <a:pt x="395" y="21"/>
                  </a:lnTo>
                  <a:lnTo>
                    <a:pt x="396" y="22"/>
                  </a:lnTo>
                  <a:lnTo>
                    <a:pt x="399" y="24"/>
                  </a:lnTo>
                  <a:lnTo>
                    <a:pt x="400" y="25"/>
                  </a:lnTo>
                  <a:lnTo>
                    <a:pt x="401" y="26"/>
                  </a:lnTo>
                  <a:lnTo>
                    <a:pt x="402" y="26"/>
                  </a:lnTo>
                  <a:lnTo>
                    <a:pt x="404" y="27"/>
                  </a:lnTo>
                  <a:lnTo>
                    <a:pt x="410" y="28"/>
                  </a:lnTo>
                  <a:lnTo>
                    <a:pt x="413" y="29"/>
                  </a:lnTo>
                  <a:lnTo>
                    <a:pt x="418" y="30"/>
                  </a:lnTo>
                  <a:lnTo>
                    <a:pt x="419" y="30"/>
                  </a:lnTo>
                  <a:lnTo>
                    <a:pt x="420" y="31"/>
                  </a:lnTo>
                  <a:lnTo>
                    <a:pt x="421" y="32"/>
                  </a:lnTo>
                  <a:lnTo>
                    <a:pt x="422" y="32"/>
                  </a:lnTo>
                  <a:lnTo>
                    <a:pt x="423" y="34"/>
                  </a:lnTo>
                  <a:lnTo>
                    <a:pt x="425" y="35"/>
                  </a:lnTo>
                  <a:lnTo>
                    <a:pt x="426" y="35"/>
                  </a:lnTo>
                  <a:lnTo>
                    <a:pt x="429" y="36"/>
                  </a:lnTo>
                  <a:lnTo>
                    <a:pt x="430" y="36"/>
                  </a:lnTo>
                  <a:lnTo>
                    <a:pt x="431" y="37"/>
                  </a:lnTo>
                  <a:lnTo>
                    <a:pt x="431" y="38"/>
                  </a:lnTo>
                  <a:lnTo>
                    <a:pt x="431" y="39"/>
                  </a:lnTo>
                  <a:lnTo>
                    <a:pt x="431" y="41"/>
                  </a:lnTo>
                  <a:lnTo>
                    <a:pt x="431" y="45"/>
                  </a:lnTo>
                  <a:lnTo>
                    <a:pt x="431" y="50"/>
                  </a:lnTo>
                  <a:lnTo>
                    <a:pt x="432" y="52"/>
                  </a:lnTo>
                  <a:lnTo>
                    <a:pt x="432" y="53"/>
                  </a:lnTo>
                  <a:lnTo>
                    <a:pt x="432" y="54"/>
                  </a:lnTo>
                  <a:lnTo>
                    <a:pt x="433" y="56"/>
                  </a:lnTo>
                  <a:lnTo>
                    <a:pt x="434" y="57"/>
                  </a:lnTo>
                  <a:lnTo>
                    <a:pt x="435" y="58"/>
                  </a:lnTo>
                  <a:lnTo>
                    <a:pt x="437" y="60"/>
                  </a:lnTo>
                  <a:lnTo>
                    <a:pt x="440" y="63"/>
                  </a:lnTo>
                  <a:lnTo>
                    <a:pt x="443" y="66"/>
                  </a:lnTo>
                  <a:lnTo>
                    <a:pt x="446" y="68"/>
                  </a:lnTo>
                  <a:lnTo>
                    <a:pt x="450" y="70"/>
                  </a:lnTo>
                  <a:lnTo>
                    <a:pt x="453" y="72"/>
                  </a:lnTo>
                  <a:lnTo>
                    <a:pt x="455" y="74"/>
                  </a:lnTo>
                  <a:lnTo>
                    <a:pt x="461" y="77"/>
                  </a:lnTo>
                  <a:lnTo>
                    <a:pt x="465" y="79"/>
                  </a:lnTo>
                  <a:lnTo>
                    <a:pt x="466" y="79"/>
                  </a:lnTo>
                  <a:lnTo>
                    <a:pt x="467" y="80"/>
                  </a:lnTo>
                  <a:lnTo>
                    <a:pt x="471" y="84"/>
                  </a:lnTo>
                  <a:lnTo>
                    <a:pt x="473" y="86"/>
                  </a:lnTo>
                  <a:lnTo>
                    <a:pt x="475" y="88"/>
                  </a:lnTo>
                  <a:lnTo>
                    <a:pt x="476" y="90"/>
                  </a:lnTo>
                  <a:lnTo>
                    <a:pt x="477" y="91"/>
                  </a:lnTo>
                  <a:lnTo>
                    <a:pt x="477" y="94"/>
                  </a:lnTo>
                  <a:lnTo>
                    <a:pt x="478" y="96"/>
                  </a:lnTo>
                  <a:lnTo>
                    <a:pt x="478" y="99"/>
                  </a:lnTo>
                  <a:lnTo>
                    <a:pt x="478" y="100"/>
                  </a:lnTo>
                  <a:lnTo>
                    <a:pt x="478" y="101"/>
                  </a:lnTo>
                  <a:lnTo>
                    <a:pt x="477" y="101"/>
                  </a:lnTo>
                  <a:lnTo>
                    <a:pt x="476" y="102"/>
                  </a:lnTo>
                  <a:lnTo>
                    <a:pt x="475" y="103"/>
                  </a:lnTo>
                  <a:lnTo>
                    <a:pt x="475" y="104"/>
                  </a:lnTo>
                  <a:lnTo>
                    <a:pt x="474" y="105"/>
                  </a:lnTo>
                  <a:lnTo>
                    <a:pt x="474" y="107"/>
                  </a:lnTo>
                  <a:lnTo>
                    <a:pt x="474" y="108"/>
                  </a:lnTo>
                  <a:lnTo>
                    <a:pt x="474" y="110"/>
                  </a:lnTo>
                  <a:lnTo>
                    <a:pt x="474" y="111"/>
                  </a:lnTo>
                  <a:lnTo>
                    <a:pt x="475" y="113"/>
                  </a:lnTo>
                  <a:lnTo>
                    <a:pt x="476" y="116"/>
                  </a:lnTo>
                  <a:lnTo>
                    <a:pt x="477" y="122"/>
                  </a:lnTo>
                  <a:lnTo>
                    <a:pt x="478" y="123"/>
                  </a:lnTo>
                  <a:lnTo>
                    <a:pt x="478" y="124"/>
                  </a:lnTo>
                  <a:lnTo>
                    <a:pt x="478" y="125"/>
                  </a:lnTo>
                  <a:lnTo>
                    <a:pt x="478" y="126"/>
                  </a:lnTo>
                  <a:lnTo>
                    <a:pt x="478" y="127"/>
                  </a:lnTo>
                  <a:lnTo>
                    <a:pt x="477" y="129"/>
                  </a:lnTo>
                  <a:lnTo>
                    <a:pt x="475" y="136"/>
                  </a:lnTo>
                  <a:lnTo>
                    <a:pt x="471" y="144"/>
                  </a:lnTo>
                  <a:lnTo>
                    <a:pt x="468" y="152"/>
                  </a:lnTo>
                  <a:lnTo>
                    <a:pt x="467" y="153"/>
                  </a:lnTo>
                  <a:lnTo>
                    <a:pt x="466" y="155"/>
                  </a:lnTo>
                  <a:lnTo>
                    <a:pt x="465" y="157"/>
                  </a:lnTo>
                  <a:lnTo>
                    <a:pt x="459" y="160"/>
                  </a:lnTo>
                  <a:lnTo>
                    <a:pt x="458" y="162"/>
                  </a:lnTo>
                  <a:lnTo>
                    <a:pt x="458" y="163"/>
                  </a:lnTo>
                  <a:lnTo>
                    <a:pt x="457" y="164"/>
                  </a:lnTo>
                  <a:lnTo>
                    <a:pt x="457" y="165"/>
                  </a:lnTo>
                  <a:lnTo>
                    <a:pt x="457" y="168"/>
                  </a:lnTo>
                  <a:lnTo>
                    <a:pt x="457" y="176"/>
                  </a:lnTo>
                  <a:lnTo>
                    <a:pt x="457" y="182"/>
                  </a:lnTo>
                  <a:lnTo>
                    <a:pt x="457" y="184"/>
                  </a:lnTo>
                  <a:lnTo>
                    <a:pt x="457" y="187"/>
                  </a:lnTo>
                  <a:lnTo>
                    <a:pt x="455" y="192"/>
                  </a:lnTo>
                  <a:lnTo>
                    <a:pt x="455" y="193"/>
                  </a:lnTo>
                  <a:lnTo>
                    <a:pt x="454" y="196"/>
                  </a:lnTo>
                  <a:lnTo>
                    <a:pt x="454" y="202"/>
                  </a:lnTo>
                  <a:lnTo>
                    <a:pt x="454" y="203"/>
                  </a:lnTo>
                  <a:lnTo>
                    <a:pt x="454" y="204"/>
                  </a:lnTo>
                  <a:lnTo>
                    <a:pt x="454" y="204"/>
                  </a:lnTo>
                  <a:lnTo>
                    <a:pt x="453" y="205"/>
                  </a:lnTo>
                  <a:lnTo>
                    <a:pt x="451" y="207"/>
                  </a:lnTo>
                  <a:lnTo>
                    <a:pt x="450" y="209"/>
                  </a:lnTo>
                  <a:lnTo>
                    <a:pt x="448" y="211"/>
                  </a:lnTo>
                  <a:lnTo>
                    <a:pt x="442" y="215"/>
                  </a:lnTo>
                  <a:lnTo>
                    <a:pt x="436" y="220"/>
                  </a:lnTo>
                  <a:lnTo>
                    <a:pt x="434" y="221"/>
                  </a:lnTo>
                  <a:lnTo>
                    <a:pt x="433" y="222"/>
                  </a:lnTo>
                  <a:lnTo>
                    <a:pt x="431" y="223"/>
                  </a:lnTo>
                  <a:lnTo>
                    <a:pt x="430" y="224"/>
                  </a:lnTo>
                  <a:lnTo>
                    <a:pt x="428" y="224"/>
                  </a:lnTo>
                  <a:lnTo>
                    <a:pt x="426" y="225"/>
                  </a:lnTo>
                  <a:lnTo>
                    <a:pt x="420" y="225"/>
                  </a:lnTo>
                  <a:lnTo>
                    <a:pt x="418" y="226"/>
                  </a:lnTo>
                  <a:lnTo>
                    <a:pt x="416" y="227"/>
                  </a:lnTo>
                  <a:lnTo>
                    <a:pt x="413" y="227"/>
                  </a:lnTo>
                  <a:lnTo>
                    <a:pt x="411" y="228"/>
                  </a:lnTo>
                  <a:lnTo>
                    <a:pt x="409" y="229"/>
                  </a:lnTo>
                  <a:lnTo>
                    <a:pt x="408" y="231"/>
                  </a:lnTo>
                  <a:lnTo>
                    <a:pt x="407" y="232"/>
                  </a:lnTo>
                  <a:lnTo>
                    <a:pt x="403" y="235"/>
                  </a:lnTo>
                  <a:lnTo>
                    <a:pt x="401" y="238"/>
                  </a:lnTo>
                  <a:lnTo>
                    <a:pt x="399" y="239"/>
                  </a:lnTo>
                  <a:lnTo>
                    <a:pt x="398" y="240"/>
                  </a:lnTo>
                  <a:lnTo>
                    <a:pt x="398" y="242"/>
                  </a:lnTo>
                  <a:lnTo>
                    <a:pt x="397" y="243"/>
                  </a:lnTo>
                  <a:lnTo>
                    <a:pt x="397" y="245"/>
                  </a:lnTo>
                  <a:lnTo>
                    <a:pt x="397" y="246"/>
                  </a:lnTo>
                  <a:lnTo>
                    <a:pt x="397" y="248"/>
                  </a:lnTo>
                  <a:lnTo>
                    <a:pt x="397" y="249"/>
                  </a:lnTo>
                  <a:lnTo>
                    <a:pt x="397" y="252"/>
                  </a:lnTo>
                  <a:lnTo>
                    <a:pt x="397" y="254"/>
                  </a:lnTo>
                  <a:lnTo>
                    <a:pt x="400" y="260"/>
                  </a:lnTo>
                  <a:lnTo>
                    <a:pt x="402" y="264"/>
                  </a:lnTo>
                  <a:lnTo>
                    <a:pt x="402" y="266"/>
                  </a:lnTo>
                  <a:lnTo>
                    <a:pt x="403" y="268"/>
                  </a:lnTo>
                  <a:lnTo>
                    <a:pt x="403" y="270"/>
                  </a:lnTo>
                  <a:lnTo>
                    <a:pt x="403" y="271"/>
                  </a:lnTo>
                  <a:lnTo>
                    <a:pt x="403" y="272"/>
                  </a:lnTo>
                  <a:lnTo>
                    <a:pt x="402" y="273"/>
                  </a:lnTo>
                  <a:lnTo>
                    <a:pt x="402" y="274"/>
                  </a:lnTo>
                  <a:lnTo>
                    <a:pt x="401" y="275"/>
                  </a:lnTo>
                  <a:lnTo>
                    <a:pt x="401" y="276"/>
                  </a:lnTo>
                  <a:lnTo>
                    <a:pt x="400" y="277"/>
                  </a:lnTo>
                  <a:lnTo>
                    <a:pt x="398" y="279"/>
                  </a:lnTo>
                  <a:lnTo>
                    <a:pt x="397" y="280"/>
                  </a:lnTo>
                  <a:lnTo>
                    <a:pt x="396" y="281"/>
                  </a:lnTo>
                  <a:lnTo>
                    <a:pt x="394" y="281"/>
                  </a:lnTo>
                  <a:lnTo>
                    <a:pt x="392" y="282"/>
                  </a:lnTo>
                  <a:lnTo>
                    <a:pt x="390" y="282"/>
                  </a:lnTo>
                  <a:lnTo>
                    <a:pt x="387" y="282"/>
                  </a:lnTo>
                  <a:lnTo>
                    <a:pt x="385" y="282"/>
                  </a:lnTo>
                  <a:lnTo>
                    <a:pt x="376" y="282"/>
                  </a:lnTo>
                  <a:lnTo>
                    <a:pt x="372" y="281"/>
                  </a:lnTo>
                  <a:lnTo>
                    <a:pt x="370" y="282"/>
                  </a:lnTo>
                  <a:lnTo>
                    <a:pt x="368" y="282"/>
                  </a:lnTo>
                  <a:lnTo>
                    <a:pt x="367" y="283"/>
                  </a:lnTo>
                  <a:lnTo>
                    <a:pt x="365" y="283"/>
                  </a:lnTo>
                  <a:lnTo>
                    <a:pt x="364" y="284"/>
                  </a:lnTo>
                  <a:lnTo>
                    <a:pt x="363" y="286"/>
                  </a:lnTo>
                  <a:lnTo>
                    <a:pt x="360" y="290"/>
                  </a:lnTo>
                  <a:lnTo>
                    <a:pt x="355" y="296"/>
                  </a:lnTo>
                  <a:lnTo>
                    <a:pt x="353" y="298"/>
                  </a:lnTo>
                  <a:lnTo>
                    <a:pt x="352" y="299"/>
                  </a:lnTo>
                  <a:lnTo>
                    <a:pt x="352" y="300"/>
                  </a:lnTo>
                  <a:lnTo>
                    <a:pt x="350" y="301"/>
                  </a:lnTo>
                  <a:lnTo>
                    <a:pt x="342" y="306"/>
                  </a:lnTo>
                  <a:lnTo>
                    <a:pt x="340" y="306"/>
                  </a:lnTo>
                  <a:lnTo>
                    <a:pt x="338" y="307"/>
                  </a:lnTo>
                  <a:lnTo>
                    <a:pt x="336" y="308"/>
                  </a:lnTo>
                  <a:lnTo>
                    <a:pt x="330" y="309"/>
                  </a:lnTo>
                  <a:lnTo>
                    <a:pt x="329" y="309"/>
                  </a:lnTo>
                  <a:lnTo>
                    <a:pt x="324" y="311"/>
                  </a:lnTo>
                  <a:lnTo>
                    <a:pt x="315" y="314"/>
                  </a:lnTo>
                  <a:lnTo>
                    <a:pt x="305" y="317"/>
                  </a:lnTo>
                  <a:lnTo>
                    <a:pt x="302" y="317"/>
                  </a:lnTo>
                  <a:lnTo>
                    <a:pt x="298" y="319"/>
                  </a:lnTo>
                  <a:lnTo>
                    <a:pt x="295" y="320"/>
                  </a:lnTo>
                  <a:lnTo>
                    <a:pt x="285" y="326"/>
                  </a:lnTo>
                  <a:lnTo>
                    <a:pt x="283" y="327"/>
                  </a:lnTo>
                  <a:lnTo>
                    <a:pt x="281" y="328"/>
                  </a:lnTo>
                  <a:lnTo>
                    <a:pt x="279" y="329"/>
                  </a:lnTo>
                  <a:lnTo>
                    <a:pt x="277" y="329"/>
                  </a:lnTo>
                  <a:lnTo>
                    <a:pt x="275" y="329"/>
                  </a:lnTo>
                  <a:lnTo>
                    <a:pt x="272" y="329"/>
                  </a:lnTo>
                  <a:lnTo>
                    <a:pt x="271" y="329"/>
                  </a:lnTo>
                  <a:lnTo>
                    <a:pt x="269" y="328"/>
                  </a:lnTo>
                  <a:lnTo>
                    <a:pt x="268" y="328"/>
                  </a:lnTo>
                  <a:lnTo>
                    <a:pt x="265" y="326"/>
                  </a:lnTo>
                  <a:lnTo>
                    <a:pt x="264" y="326"/>
                  </a:lnTo>
                  <a:lnTo>
                    <a:pt x="263" y="325"/>
                  </a:lnTo>
                  <a:lnTo>
                    <a:pt x="261" y="325"/>
                  </a:lnTo>
                  <a:lnTo>
                    <a:pt x="260" y="326"/>
                  </a:lnTo>
                  <a:lnTo>
                    <a:pt x="258" y="326"/>
                  </a:lnTo>
                  <a:lnTo>
                    <a:pt x="256" y="327"/>
                  </a:lnTo>
                  <a:lnTo>
                    <a:pt x="252" y="328"/>
                  </a:lnTo>
                  <a:lnTo>
                    <a:pt x="251" y="329"/>
                  </a:lnTo>
                  <a:lnTo>
                    <a:pt x="250" y="329"/>
                  </a:lnTo>
                  <a:lnTo>
                    <a:pt x="249" y="330"/>
                  </a:lnTo>
                  <a:lnTo>
                    <a:pt x="248" y="332"/>
                  </a:lnTo>
                  <a:lnTo>
                    <a:pt x="247" y="334"/>
                  </a:lnTo>
                  <a:lnTo>
                    <a:pt x="246" y="335"/>
                  </a:lnTo>
                  <a:lnTo>
                    <a:pt x="245" y="337"/>
                  </a:lnTo>
                  <a:lnTo>
                    <a:pt x="244" y="341"/>
                  </a:lnTo>
                  <a:lnTo>
                    <a:pt x="243" y="343"/>
                  </a:lnTo>
                  <a:lnTo>
                    <a:pt x="240" y="350"/>
                  </a:lnTo>
                  <a:lnTo>
                    <a:pt x="238" y="357"/>
                  </a:lnTo>
                  <a:lnTo>
                    <a:pt x="237" y="359"/>
                  </a:lnTo>
                  <a:lnTo>
                    <a:pt x="236" y="361"/>
                  </a:lnTo>
                  <a:lnTo>
                    <a:pt x="235" y="363"/>
                  </a:lnTo>
                  <a:lnTo>
                    <a:pt x="234" y="363"/>
                  </a:lnTo>
                  <a:lnTo>
                    <a:pt x="228" y="371"/>
                  </a:lnTo>
                  <a:lnTo>
                    <a:pt x="218" y="383"/>
                  </a:lnTo>
                  <a:lnTo>
                    <a:pt x="215" y="387"/>
                  </a:lnTo>
                  <a:lnTo>
                    <a:pt x="214" y="390"/>
                  </a:lnTo>
                  <a:lnTo>
                    <a:pt x="212" y="393"/>
                  </a:lnTo>
                  <a:lnTo>
                    <a:pt x="211" y="396"/>
                  </a:lnTo>
                  <a:lnTo>
                    <a:pt x="210" y="398"/>
                  </a:lnTo>
                  <a:lnTo>
                    <a:pt x="209" y="399"/>
                  </a:lnTo>
                  <a:lnTo>
                    <a:pt x="207" y="398"/>
                  </a:lnTo>
                  <a:lnTo>
                    <a:pt x="205" y="398"/>
                  </a:lnTo>
                  <a:lnTo>
                    <a:pt x="204" y="397"/>
                  </a:lnTo>
                  <a:lnTo>
                    <a:pt x="202" y="396"/>
                  </a:lnTo>
                  <a:lnTo>
                    <a:pt x="200" y="395"/>
                  </a:lnTo>
                  <a:lnTo>
                    <a:pt x="195" y="390"/>
                  </a:lnTo>
                  <a:lnTo>
                    <a:pt x="194" y="390"/>
                  </a:lnTo>
                  <a:lnTo>
                    <a:pt x="192" y="389"/>
                  </a:lnTo>
                  <a:lnTo>
                    <a:pt x="191" y="388"/>
                  </a:lnTo>
                  <a:lnTo>
                    <a:pt x="189" y="388"/>
                  </a:lnTo>
                  <a:lnTo>
                    <a:pt x="181" y="386"/>
                  </a:lnTo>
                  <a:lnTo>
                    <a:pt x="176" y="385"/>
                  </a:lnTo>
                  <a:lnTo>
                    <a:pt x="173" y="385"/>
                  </a:lnTo>
                  <a:lnTo>
                    <a:pt x="170" y="385"/>
                  </a:lnTo>
                  <a:lnTo>
                    <a:pt x="163" y="382"/>
                  </a:lnTo>
                  <a:lnTo>
                    <a:pt x="159" y="380"/>
                  </a:lnTo>
                  <a:lnTo>
                    <a:pt x="155" y="378"/>
                  </a:lnTo>
                  <a:lnTo>
                    <a:pt x="151" y="375"/>
                  </a:lnTo>
                  <a:lnTo>
                    <a:pt x="149" y="374"/>
                  </a:lnTo>
                  <a:lnTo>
                    <a:pt x="147" y="372"/>
                  </a:lnTo>
                  <a:lnTo>
                    <a:pt x="146" y="371"/>
                  </a:lnTo>
                  <a:lnTo>
                    <a:pt x="136" y="363"/>
                  </a:lnTo>
                  <a:lnTo>
                    <a:pt x="133" y="361"/>
                  </a:lnTo>
                  <a:lnTo>
                    <a:pt x="131" y="360"/>
                  </a:lnTo>
                  <a:lnTo>
                    <a:pt x="129" y="358"/>
                  </a:lnTo>
                  <a:lnTo>
                    <a:pt x="128" y="356"/>
                  </a:lnTo>
                  <a:lnTo>
                    <a:pt x="125" y="352"/>
                  </a:lnTo>
                  <a:lnTo>
                    <a:pt x="124" y="351"/>
                  </a:lnTo>
                  <a:lnTo>
                    <a:pt x="122" y="349"/>
                  </a:lnTo>
                  <a:lnTo>
                    <a:pt x="120" y="347"/>
                  </a:lnTo>
                  <a:lnTo>
                    <a:pt x="113" y="342"/>
                  </a:lnTo>
                  <a:lnTo>
                    <a:pt x="110" y="340"/>
                  </a:lnTo>
                  <a:lnTo>
                    <a:pt x="109" y="340"/>
                  </a:lnTo>
                  <a:lnTo>
                    <a:pt x="104" y="336"/>
                  </a:lnTo>
                  <a:lnTo>
                    <a:pt x="100" y="331"/>
                  </a:lnTo>
                  <a:lnTo>
                    <a:pt x="99" y="330"/>
                  </a:lnTo>
                  <a:lnTo>
                    <a:pt x="96" y="327"/>
                  </a:lnTo>
                  <a:lnTo>
                    <a:pt x="95" y="326"/>
                  </a:lnTo>
                  <a:lnTo>
                    <a:pt x="93" y="325"/>
                  </a:lnTo>
                  <a:lnTo>
                    <a:pt x="90" y="322"/>
                  </a:lnTo>
                  <a:lnTo>
                    <a:pt x="88" y="320"/>
                  </a:lnTo>
                  <a:lnTo>
                    <a:pt x="80" y="312"/>
                  </a:lnTo>
                  <a:lnTo>
                    <a:pt x="76" y="306"/>
                  </a:lnTo>
                  <a:lnTo>
                    <a:pt x="75" y="305"/>
                  </a:lnTo>
                  <a:lnTo>
                    <a:pt x="75" y="304"/>
                  </a:lnTo>
                  <a:lnTo>
                    <a:pt x="73" y="299"/>
                  </a:lnTo>
                  <a:lnTo>
                    <a:pt x="72" y="296"/>
                  </a:lnTo>
                  <a:lnTo>
                    <a:pt x="71" y="295"/>
                  </a:lnTo>
                  <a:lnTo>
                    <a:pt x="70" y="294"/>
                  </a:lnTo>
                  <a:lnTo>
                    <a:pt x="69" y="293"/>
                  </a:lnTo>
                  <a:lnTo>
                    <a:pt x="68" y="292"/>
                  </a:lnTo>
                  <a:lnTo>
                    <a:pt x="67" y="291"/>
                  </a:lnTo>
                  <a:lnTo>
                    <a:pt x="65" y="290"/>
                  </a:lnTo>
                  <a:lnTo>
                    <a:pt x="63" y="289"/>
                  </a:lnTo>
                  <a:lnTo>
                    <a:pt x="59" y="288"/>
                  </a:lnTo>
                  <a:lnTo>
                    <a:pt x="56" y="287"/>
                  </a:lnTo>
                  <a:lnTo>
                    <a:pt x="48" y="286"/>
                  </a:lnTo>
                  <a:lnTo>
                    <a:pt x="46" y="286"/>
                  </a:lnTo>
                  <a:lnTo>
                    <a:pt x="45" y="285"/>
                  </a:lnTo>
                  <a:lnTo>
                    <a:pt x="44" y="285"/>
                  </a:lnTo>
                  <a:lnTo>
                    <a:pt x="42" y="284"/>
                  </a:lnTo>
                  <a:lnTo>
                    <a:pt x="40" y="283"/>
                  </a:lnTo>
                  <a:lnTo>
                    <a:pt x="39" y="282"/>
                  </a:lnTo>
                  <a:lnTo>
                    <a:pt x="37" y="280"/>
                  </a:lnTo>
                  <a:lnTo>
                    <a:pt x="36" y="278"/>
                  </a:lnTo>
                  <a:lnTo>
                    <a:pt x="35" y="276"/>
                  </a:lnTo>
                  <a:lnTo>
                    <a:pt x="34" y="273"/>
                  </a:lnTo>
                  <a:lnTo>
                    <a:pt x="33" y="269"/>
                  </a:lnTo>
                  <a:lnTo>
                    <a:pt x="32" y="267"/>
                  </a:lnTo>
                  <a:lnTo>
                    <a:pt x="32" y="265"/>
                  </a:lnTo>
                  <a:lnTo>
                    <a:pt x="32" y="261"/>
                  </a:lnTo>
                  <a:lnTo>
                    <a:pt x="32" y="259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0" y="256"/>
                  </a:lnTo>
                  <a:lnTo>
                    <a:pt x="25" y="249"/>
                  </a:lnTo>
                  <a:lnTo>
                    <a:pt x="24" y="248"/>
                  </a:lnTo>
                  <a:lnTo>
                    <a:pt x="23" y="246"/>
                  </a:lnTo>
                  <a:lnTo>
                    <a:pt x="23" y="245"/>
                  </a:lnTo>
                  <a:lnTo>
                    <a:pt x="22" y="240"/>
                  </a:lnTo>
                  <a:lnTo>
                    <a:pt x="22" y="238"/>
                  </a:lnTo>
                  <a:lnTo>
                    <a:pt x="21" y="236"/>
                  </a:lnTo>
                  <a:lnTo>
                    <a:pt x="21" y="233"/>
                  </a:lnTo>
                  <a:lnTo>
                    <a:pt x="20" y="232"/>
                  </a:lnTo>
                  <a:lnTo>
                    <a:pt x="18" y="230"/>
                  </a:lnTo>
                  <a:lnTo>
                    <a:pt x="17" y="228"/>
                  </a:lnTo>
                  <a:lnTo>
                    <a:pt x="14" y="226"/>
                  </a:lnTo>
                  <a:lnTo>
                    <a:pt x="12" y="224"/>
                  </a:lnTo>
                  <a:lnTo>
                    <a:pt x="12" y="223"/>
                  </a:lnTo>
                  <a:lnTo>
                    <a:pt x="11" y="221"/>
                  </a:lnTo>
                  <a:lnTo>
                    <a:pt x="11" y="219"/>
                  </a:lnTo>
                  <a:lnTo>
                    <a:pt x="11" y="217"/>
                  </a:lnTo>
                  <a:lnTo>
                    <a:pt x="10" y="203"/>
                  </a:lnTo>
                  <a:lnTo>
                    <a:pt x="10" y="201"/>
                  </a:lnTo>
                  <a:lnTo>
                    <a:pt x="9" y="196"/>
                  </a:lnTo>
                  <a:lnTo>
                    <a:pt x="9" y="194"/>
                  </a:lnTo>
                  <a:lnTo>
                    <a:pt x="9" y="193"/>
                  </a:lnTo>
                  <a:lnTo>
                    <a:pt x="9" y="187"/>
                  </a:lnTo>
                  <a:lnTo>
                    <a:pt x="9" y="185"/>
                  </a:lnTo>
                  <a:lnTo>
                    <a:pt x="8" y="183"/>
                  </a:lnTo>
                  <a:lnTo>
                    <a:pt x="8" y="181"/>
                  </a:lnTo>
                  <a:lnTo>
                    <a:pt x="6" y="176"/>
                  </a:lnTo>
                  <a:lnTo>
                    <a:pt x="6" y="174"/>
                  </a:lnTo>
                  <a:lnTo>
                    <a:pt x="5" y="172"/>
                  </a:lnTo>
                  <a:lnTo>
                    <a:pt x="4" y="170"/>
                  </a:lnTo>
                  <a:lnTo>
                    <a:pt x="3" y="169"/>
                  </a:lnTo>
                  <a:lnTo>
                    <a:pt x="1" y="168"/>
                  </a:lnTo>
                  <a:lnTo>
                    <a:pt x="0" y="167"/>
                  </a:lnTo>
                  <a:lnTo>
                    <a:pt x="1" y="166"/>
                  </a:lnTo>
                  <a:lnTo>
                    <a:pt x="3" y="163"/>
                  </a:lnTo>
                  <a:lnTo>
                    <a:pt x="9" y="156"/>
                  </a:lnTo>
                  <a:lnTo>
                    <a:pt x="10" y="155"/>
                  </a:lnTo>
                  <a:lnTo>
                    <a:pt x="11" y="154"/>
                  </a:lnTo>
                  <a:lnTo>
                    <a:pt x="11" y="154"/>
                  </a:lnTo>
                  <a:lnTo>
                    <a:pt x="11" y="153"/>
                  </a:lnTo>
                  <a:lnTo>
                    <a:pt x="11" y="152"/>
                  </a:lnTo>
                  <a:lnTo>
                    <a:pt x="10" y="151"/>
                  </a:lnTo>
                  <a:lnTo>
                    <a:pt x="9" y="150"/>
                  </a:lnTo>
                  <a:lnTo>
                    <a:pt x="8" y="148"/>
                  </a:lnTo>
                  <a:lnTo>
                    <a:pt x="8" y="147"/>
                  </a:lnTo>
                  <a:lnTo>
                    <a:pt x="9" y="147"/>
                  </a:lnTo>
                  <a:lnTo>
                    <a:pt x="10" y="146"/>
                  </a:lnTo>
                  <a:lnTo>
                    <a:pt x="11" y="145"/>
                  </a:lnTo>
                  <a:lnTo>
                    <a:pt x="13" y="145"/>
                  </a:lnTo>
                  <a:lnTo>
                    <a:pt x="15" y="144"/>
                  </a:lnTo>
                  <a:lnTo>
                    <a:pt x="16" y="144"/>
                  </a:lnTo>
                  <a:lnTo>
                    <a:pt x="18" y="143"/>
                  </a:lnTo>
                  <a:lnTo>
                    <a:pt x="20" y="141"/>
                  </a:lnTo>
                  <a:lnTo>
                    <a:pt x="22" y="139"/>
                  </a:lnTo>
                  <a:lnTo>
                    <a:pt x="22" y="138"/>
                  </a:lnTo>
                  <a:lnTo>
                    <a:pt x="23" y="144"/>
                  </a:lnTo>
                  <a:lnTo>
                    <a:pt x="24" y="149"/>
                  </a:lnTo>
                  <a:lnTo>
                    <a:pt x="26" y="154"/>
                  </a:lnTo>
                  <a:lnTo>
                    <a:pt x="27" y="157"/>
                  </a:lnTo>
                  <a:lnTo>
                    <a:pt x="28" y="159"/>
                  </a:lnTo>
                  <a:lnTo>
                    <a:pt x="30" y="161"/>
                  </a:lnTo>
                  <a:lnTo>
                    <a:pt x="32" y="163"/>
                  </a:lnTo>
                  <a:lnTo>
                    <a:pt x="33" y="164"/>
                  </a:lnTo>
                  <a:lnTo>
                    <a:pt x="34" y="165"/>
                  </a:lnTo>
                  <a:lnTo>
                    <a:pt x="35" y="166"/>
                  </a:lnTo>
                  <a:lnTo>
                    <a:pt x="37" y="166"/>
                  </a:lnTo>
                  <a:lnTo>
                    <a:pt x="38" y="166"/>
                  </a:lnTo>
                  <a:lnTo>
                    <a:pt x="39" y="166"/>
                  </a:lnTo>
                  <a:lnTo>
                    <a:pt x="43" y="165"/>
                  </a:lnTo>
                  <a:lnTo>
                    <a:pt x="48" y="164"/>
                  </a:lnTo>
                  <a:lnTo>
                    <a:pt x="54" y="163"/>
                  </a:lnTo>
                  <a:lnTo>
                    <a:pt x="56" y="163"/>
                  </a:lnTo>
                  <a:lnTo>
                    <a:pt x="57" y="163"/>
                  </a:lnTo>
                  <a:lnTo>
                    <a:pt x="59" y="164"/>
                  </a:lnTo>
                  <a:lnTo>
                    <a:pt x="60" y="164"/>
                  </a:lnTo>
                  <a:lnTo>
                    <a:pt x="61" y="165"/>
                  </a:lnTo>
                  <a:lnTo>
                    <a:pt x="62" y="166"/>
                  </a:lnTo>
                  <a:lnTo>
                    <a:pt x="64" y="167"/>
                  </a:lnTo>
                  <a:lnTo>
                    <a:pt x="67" y="170"/>
                  </a:lnTo>
                  <a:lnTo>
                    <a:pt x="69" y="173"/>
                  </a:lnTo>
                  <a:lnTo>
                    <a:pt x="70" y="174"/>
                  </a:lnTo>
                  <a:lnTo>
                    <a:pt x="72" y="175"/>
                  </a:lnTo>
                  <a:lnTo>
                    <a:pt x="73" y="176"/>
                  </a:lnTo>
                  <a:lnTo>
                    <a:pt x="75" y="176"/>
                  </a:lnTo>
                  <a:lnTo>
                    <a:pt x="77" y="176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80" y="174"/>
                  </a:lnTo>
                  <a:lnTo>
                    <a:pt x="81" y="172"/>
                  </a:lnTo>
                  <a:lnTo>
                    <a:pt x="83" y="170"/>
                  </a:lnTo>
                  <a:lnTo>
                    <a:pt x="86" y="164"/>
                  </a:lnTo>
                  <a:lnTo>
                    <a:pt x="87" y="160"/>
                  </a:lnTo>
                  <a:lnTo>
                    <a:pt x="89" y="156"/>
                  </a:lnTo>
                  <a:lnTo>
                    <a:pt x="92" y="142"/>
                  </a:lnTo>
                  <a:lnTo>
                    <a:pt x="93" y="139"/>
                  </a:lnTo>
                  <a:lnTo>
                    <a:pt x="94" y="137"/>
                  </a:lnTo>
                  <a:lnTo>
                    <a:pt x="95" y="136"/>
                  </a:lnTo>
                  <a:lnTo>
                    <a:pt x="96" y="136"/>
                  </a:lnTo>
                  <a:lnTo>
                    <a:pt x="97" y="135"/>
                  </a:lnTo>
                  <a:lnTo>
                    <a:pt x="98" y="134"/>
                  </a:lnTo>
                  <a:lnTo>
                    <a:pt x="100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4" y="134"/>
                  </a:lnTo>
                  <a:lnTo>
                    <a:pt x="112" y="136"/>
                  </a:lnTo>
                  <a:lnTo>
                    <a:pt x="115" y="136"/>
                  </a:lnTo>
                  <a:lnTo>
                    <a:pt x="117" y="137"/>
                  </a:lnTo>
                  <a:lnTo>
                    <a:pt x="120" y="137"/>
                  </a:lnTo>
                  <a:lnTo>
                    <a:pt x="122" y="137"/>
                  </a:lnTo>
                  <a:lnTo>
                    <a:pt x="124" y="137"/>
                  </a:lnTo>
                  <a:lnTo>
                    <a:pt x="126" y="137"/>
                  </a:lnTo>
                  <a:lnTo>
                    <a:pt x="130" y="136"/>
                  </a:lnTo>
                  <a:lnTo>
                    <a:pt x="133" y="136"/>
                  </a:lnTo>
                  <a:lnTo>
                    <a:pt x="137" y="134"/>
                  </a:lnTo>
                  <a:lnTo>
                    <a:pt x="143" y="132"/>
                  </a:lnTo>
                  <a:lnTo>
                    <a:pt x="146" y="131"/>
                  </a:lnTo>
                  <a:lnTo>
                    <a:pt x="147" y="129"/>
                  </a:lnTo>
                  <a:lnTo>
                    <a:pt x="149" y="128"/>
                  </a:lnTo>
                  <a:lnTo>
                    <a:pt x="150" y="127"/>
                  </a:lnTo>
                  <a:lnTo>
                    <a:pt x="152" y="125"/>
                  </a:lnTo>
                  <a:lnTo>
                    <a:pt x="157" y="118"/>
                  </a:lnTo>
                  <a:lnTo>
                    <a:pt x="158" y="115"/>
                  </a:lnTo>
                  <a:lnTo>
                    <a:pt x="161" y="110"/>
                  </a:lnTo>
                  <a:lnTo>
                    <a:pt x="163" y="107"/>
                  </a:lnTo>
                  <a:lnTo>
                    <a:pt x="165" y="104"/>
                  </a:lnTo>
                  <a:lnTo>
                    <a:pt x="167" y="102"/>
                  </a:lnTo>
                  <a:lnTo>
                    <a:pt x="169" y="100"/>
                  </a:lnTo>
                  <a:lnTo>
                    <a:pt x="172" y="98"/>
                  </a:lnTo>
                  <a:lnTo>
                    <a:pt x="174" y="96"/>
                  </a:lnTo>
                  <a:lnTo>
                    <a:pt x="177" y="95"/>
                  </a:lnTo>
                  <a:lnTo>
                    <a:pt x="180" y="94"/>
                  </a:lnTo>
                  <a:lnTo>
                    <a:pt x="186" y="92"/>
                  </a:lnTo>
                  <a:lnTo>
                    <a:pt x="195" y="90"/>
                  </a:lnTo>
                  <a:lnTo>
                    <a:pt x="196" y="89"/>
                  </a:lnTo>
                  <a:lnTo>
                    <a:pt x="198" y="89"/>
                  </a:lnTo>
                  <a:lnTo>
                    <a:pt x="200" y="89"/>
                  </a:lnTo>
                  <a:lnTo>
                    <a:pt x="203" y="89"/>
                  </a:lnTo>
                  <a:lnTo>
                    <a:pt x="212" y="90"/>
                  </a:lnTo>
                  <a:lnTo>
                    <a:pt x="215" y="91"/>
                  </a:lnTo>
                  <a:lnTo>
                    <a:pt x="216" y="91"/>
                  </a:lnTo>
                  <a:lnTo>
                    <a:pt x="218" y="90"/>
                  </a:lnTo>
                  <a:lnTo>
                    <a:pt x="221" y="90"/>
                  </a:lnTo>
                  <a:lnTo>
                    <a:pt x="223" y="89"/>
                  </a:lnTo>
                  <a:lnTo>
                    <a:pt x="227" y="88"/>
                  </a:lnTo>
                  <a:lnTo>
                    <a:pt x="231" y="86"/>
                  </a:lnTo>
                  <a:lnTo>
                    <a:pt x="234" y="85"/>
                  </a:lnTo>
                  <a:lnTo>
                    <a:pt x="238" y="83"/>
                  </a:lnTo>
                  <a:lnTo>
                    <a:pt x="239" y="81"/>
                  </a:lnTo>
                  <a:lnTo>
                    <a:pt x="241" y="79"/>
                  </a:lnTo>
                  <a:lnTo>
                    <a:pt x="247" y="74"/>
                  </a:lnTo>
                  <a:lnTo>
                    <a:pt x="249" y="73"/>
                  </a:lnTo>
                  <a:lnTo>
                    <a:pt x="252" y="70"/>
                  </a:lnTo>
                  <a:lnTo>
                    <a:pt x="253" y="69"/>
                  </a:lnTo>
                  <a:lnTo>
                    <a:pt x="254" y="69"/>
                  </a:lnTo>
                  <a:lnTo>
                    <a:pt x="257" y="68"/>
                  </a:lnTo>
                  <a:lnTo>
                    <a:pt x="258" y="68"/>
                  </a:lnTo>
                  <a:lnTo>
                    <a:pt x="259" y="68"/>
                  </a:lnTo>
                  <a:lnTo>
                    <a:pt x="260" y="68"/>
                  </a:lnTo>
                  <a:lnTo>
                    <a:pt x="261" y="68"/>
                  </a:lnTo>
                  <a:lnTo>
                    <a:pt x="264" y="70"/>
                  </a:lnTo>
                  <a:lnTo>
                    <a:pt x="266" y="71"/>
                  </a:lnTo>
                  <a:lnTo>
                    <a:pt x="267" y="71"/>
                  </a:lnTo>
                  <a:lnTo>
                    <a:pt x="268" y="71"/>
                  </a:lnTo>
                  <a:lnTo>
                    <a:pt x="269" y="70"/>
                  </a:lnTo>
                  <a:lnTo>
                    <a:pt x="270" y="69"/>
                  </a:lnTo>
                  <a:lnTo>
                    <a:pt x="272" y="68"/>
                  </a:lnTo>
                  <a:lnTo>
                    <a:pt x="276" y="60"/>
                  </a:lnTo>
                  <a:lnTo>
                    <a:pt x="280" y="55"/>
                  </a:lnTo>
                  <a:lnTo>
                    <a:pt x="280" y="53"/>
                  </a:lnTo>
                  <a:lnTo>
                    <a:pt x="282" y="49"/>
                  </a:lnTo>
                  <a:lnTo>
                    <a:pt x="283" y="47"/>
                  </a:lnTo>
                  <a:lnTo>
                    <a:pt x="283" y="46"/>
                  </a:lnTo>
                  <a:lnTo>
                    <a:pt x="284" y="45"/>
                  </a:lnTo>
                  <a:lnTo>
                    <a:pt x="285" y="45"/>
                  </a:lnTo>
                  <a:lnTo>
                    <a:pt x="286" y="44"/>
                  </a:lnTo>
                  <a:lnTo>
                    <a:pt x="289" y="42"/>
                  </a:lnTo>
                  <a:lnTo>
                    <a:pt x="291" y="41"/>
                  </a:lnTo>
                  <a:lnTo>
                    <a:pt x="294" y="40"/>
                  </a:lnTo>
                  <a:lnTo>
                    <a:pt x="295" y="40"/>
                  </a:lnTo>
                  <a:lnTo>
                    <a:pt x="297" y="40"/>
                  </a:lnTo>
                  <a:lnTo>
                    <a:pt x="302" y="41"/>
                  </a:lnTo>
                  <a:lnTo>
                    <a:pt x="307" y="41"/>
                  </a:lnTo>
                  <a:lnTo>
                    <a:pt x="312" y="41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4" y="40"/>
                  </a:lnTo>
                  <a:lnTo>
                    <a:pt x="315" y="36"/>
                  </a:lnTo>
                  <a:lnTo>
                    <a:pt x="316" y="33"/>
                  </a:lnTo>
                  <a:lnTo>
                    <a:pt x="316" y="31"/>
                  </a:lnTo>
                  <a:lnTo>
                    <a:pt x="318" y="28"/>
                  </a:lnTo>
                  <a:lnTo>
                    <a:pt x="318" y="26"/>
                  </a:lnTo>
                  <a:lnTo>
                    <a:pt x="318" y="24"/>
                  </a:lnTo>
                  <a:lnTo>
                    <a:pt x="318" y="23"/>
                  </a:lnTo>
                  <a:lnTo>
                    <a:pt x="318" y="23"/>
                  </a:lnTo>
                  <a:lnTo>
                    <a:pt x="316" y="20"/>
                  </a:lnTo>
                  <a:lnTo>
                    <a:pt x="316" y="18"/>
                  </a:lnTo>
                  <a:lnTo>
                    <a:pt x="316" y="17"/>
                  </a:lnTo>
                  <a:lnTo>
                    <a:pt x="317" y="15"/>
                  </a:lnTo>
                  <a:lnTo>
                    <a:pt x="318" y="14"/>
                  </a:lnTo>
                  <a:lnTo>
                    <a:pt x="318" y="12"/>
                  </a:lnTo>
                  <a:lnTo>
                    <a:pt x="321" y="11"/>
                  </a:lnTo>
                  <a:lnTo>
                    <a:pt x="324" y="9"/>
                  </a:lnTo>
                  <a:lnTo>
                    <a:pt x="326" y="7"/>
                  </a:lnTo>
                  <a:lnTo>
                    <a:pt x="331" y="4"/>
                  </a:lnTo>
                  <a:lnTo>
                    <a:pt x="336" y="1"/>
                  </a:lnTo>
                  <a:lnTo>
                    <a:pt x="338" y="0"/>
                  </a:lnTo>
                  <a:lnTo>
                    <a:pt x="340" y="0"/>
                  </a:lnTo>
                  <a:lnTo>
                    <a:pt x="340" y="0"/>
                  </a:lnTo>
                  <a:lnTo>
                    <a:pt x="342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8" name="Freeform 11">
              <a:extLst>
                <a:ext uri="{FF2B5EF4-FFF2-40B4-BE49-F238E27FC236}">
                  <a16:creationId xmlns:a16="http://schemas.microsoft.com/office/drawing/2014/main" id="{C319B4A3-3B28-4402-B6A2-44A12F573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4" y="1623"/>
              <a:ext cx="383" cy="358"/>
            </a:xfrm>
            <a:custGeom>
              <a:avLst/>
              <a:gdLst>
                <a:gd name="T0" fmla="*/ 197 w 383"/>
                <a:gd name="T1" fmla="*/ 5 h 358"/>
                <a:gd name="T2" fmla="*/ 207 w 383"/>
                <a:gd name="T3" fmla="*/ 10 h 358"/>
                <a:gd name="T4" fmla="*/ 227 w 383"/>
                <a:gd name="T5" fmla="*/ 6 h 358"/>
                <a:gd name="T6" fmla="*/ 250 w 383"/>
                <a:gd name="T7" fmla="*/ 8 h 358"/>
                <a:gd name="T8" fmla="*/ 264 w 383"/>
                <a:gd name="T9" fmla="*/ 6 h 358"/>
                <a:gd name="T10" fmla="*/ 272 w 383"/>
                <a:gd name="T11" fmla="*/ 31 h 358"/>
                <a:gd name="T12" fmla="*/ 285 w 383"/>
                <a:gd name="T13" fmla="*/ 40 h 358"/>
                <a:gd name="T14" fmla="*/ 309 w 383"/>
                <a:gd name="T15" fmla="*/ 33 h 358"/>
                <a:gd name="T16" fmla="*/ 350 w 383"/>
                <a:gd name="T17" fmla="*/ 34 h 358"/>
                <a:gd name="T18" fmla="*/ 362 w 383"/>
                <a:gd name="T19" fmla="*/ 48 h 358"/>
                <a:gd name="T20" fmla="*/ 351 w 383"/>
                <a:gd name="T21" fmla="*/ 57 h 358"/>
                <a:gd name="T22" fmla="*/ 341 w 383"/>
                <a:gd name="T23" fmla="*/ 88 h 358"/>
                <a:gd name="T24" fmla="*/ 360 w 383"/>
                <a:gd name="T25" fmla="*/ 110 h 358"/>
                <a:gd name="T26" fmla="*/ 368 w 383"/>
                <a:gd name="T27" fmla="*/ 134 h 358"/>
                <a:gd name="T28" fmla="*/ 362 w 383"/>
                <a:gd name="T29" fmla="*/ 151 h 358"/>
                <a:gd name="T30" fmla="*/ 381 w 383"/>
                <a:gd name="T31" fmla="*/ 173 h 358"/>
                <a:gd name="T32" fmla="*/ 378 w 383"/>
                <a:gd name="T33" fmla="*/ 192 h 358"/>
                <a:gd name="T34" fmla="*/ 349 w 383"/>
                <a:gd name="T35" fmla="*/ 201 h 358"/>
                <a:gd name="T36" fmla="*/ 321 w 383"/>
                <a:gd name="T37" fmla="*/ 210 h 358"/>
                <a:gd name="T38" fmla="*/ 317 w 383"/>
                <a:gd name="T39" fmla="*/ 231 h 358"/>
                <a:gd name="T40" fmla="*/ 321 w 383"/>
                <a:gd name="T41" fmla="*/ 251 h 358"/>
                <a:gd name="T42" fmla="*/ 328 w 383"/>
                <a:gd name="T43" fmla="*/ 259 h 358"/>
                <a:gd name="T44" fmla="*/ 304 w 383"/>
                <a:gd name="T45" fmla="*/ 289 h 358"/>
                <a:gd name="T46" fmla="*/ 289 w 383"/>
                <a:gd name="T47" fmla="*/ 324 h 358"/>
                <a:gd name="T48" fmla="*/ 284 w 383"/>
                <a:gd name="T49" fmla="*/ 347 h 358"/>
                <a:gd name="T50" fmla="*/ 267 w 383"/>
                <a:gd name="T51" fmla="*/ 354 h 358"/>
                <a:gd name="T52" fmla="*/ 213 w 383"/>
                <a:gd name="T53" fmla="*/ 336 h 358"/>
                <a:gd name="T54" fmla="*/ 193 w 383"/>
                <a:gd name="T55" fmla="*/ 319 h 358"/>
                <a:gd name="T56" fmla="*/ 176 w 383"/>
                <a:gd name="T57" fmla="*/ 307 h 358"/>
                <a:gd name="T58" fmla="*/ 152 w 383"/>
                <a:gd name="T59" fmla="*/ 311 h 358"/>
                <a:gd name="T60" fmla="*/ 137 w 383"/>
                <a:gd name="T61" fmla="*/ 303 h 358"/>
                <a:gd name="T62" fmla="*/ 127 w 383"/>
                <a:gd name="T63" fmla="*/ 306 h 358"/>
                <a:gd name="T64" fmla="*/ 126 w 383"/>
                <a:gd name="T65" fmla="*/ 334 h 358"/>
                <a:gd name="T66" fmla="*/ 115 w 383"/>
                <a:gd name="T67" fmla="*/ 342 h 358"/>
                <a:gd name="T68" fmla="*/ 101 w 383"/>
                <a:gd name="T69" fmla="*/ 358 h 358"/>
                <a:gd name="T70" fmla="*/ 86 w 383"/>
                <a:gd name="T71" fmla="*/ 349 h 358"/>
                <a:gd name="T72" fmla="*/ 65 w 383"/>
                <a:gd name="T73" fmla="*/ 353 h 358"/>
                <a:gd name="T74" fmla="*/ 52 w 383"/>
                <a:gd name="T75" fmla="*/ 350 h 358"/>
                <a:gd name="T76" fmla="*/ 18 w 383"/>
                <a:gd name="T77" fmla="*/ 335 h 358"/>
                <a:gd name="T78" fmla="*/ 0 w 383"/>
                <a:gd name="T79" fmla="*/ 321 h 358"/>
                <a:gd name="T80" fmla="*/ 13 w 383"/>
                <a:gd name="T81" fmla="*/ 299 h 358"/>
                <a:gd name="T82" fmla="*/ 40 w 383"/>
                <a:gd name="T83" fmla="*/ 280 h 358"/>
                <a:gd name="T84" fmla="*/ 56 w 383"/>
                <a:gd name="T85" fmla="*/ 247 h 358"/>
                <a:gd name="T86" fmla="*/ 46 w 383"/>
                <a:gd name="T87" fmla="*/ 220 h 358"/>
                <a:gd name="T88" fmla="*/ 30 w 383"/>
                <a:gd name="T89" fmla="*/ 215 h 358"/>
                <a:gd name="T90" fmla="*/ 21 w 383"/>
                <a:gd name="T91" fmla="*/ 207 h 358"/>
                <a:gd name="T92" fmla="*/ 40 w 383"/>
                <a:gd name="T93" fmla="*/ 188 h 358"/>
                <a:gd name="T94" fmla="*/ 85 w 383"/>
                <a:gd name="T95" fmla="*/ 183 h 358"/>
                <a:gd name="T96" fmla="*/ 103 w 383"/>
                <a:gd name="T97" fmla="*/ 183 h 358"/>
                <a:gd name="T98" fmla="*/ 112 w 383"/>
                <a:gd name="T99" fmla="*/ 155 h 358"/>
                <a:gd name="T100" fmla="*/ 110 w 383"/>
                <a:gd name="T101" fmla="*/ 124 h 358"/>
                <a:gd name="T102" fmla="*/ 108 w 383"/>
                <a:gd name="T103" fmla="*/ 97 h 358"/>
                <a:gd name="T104" fmla="*/ 120 w 383"/>
                <a:gd name="T105" fmla="*/ 94 h 358"/>
                <a:gd name="T106" fmla="*/ 143 w 383"/>
                <a:gd name="T107" fmla="*/ 98 h 358"/>
                <a:gd name="T108" fmla="*/ 156 w 383"/>
                <a:gd name="T109" fmla="*/ 74 h 358"/>
                <a:gd name="T110" fmla="*/ 182 w 383"/>
                <a:gd name="T111" fmla="*/ 65 h 358"/>
                <a:gd name="T112" fmla="*/ 185 w 383"/>
                <a:gd name="T113" fmla="*/ 42 h 358"/>
                <a:gd name="T114" fmla="*/ 185 w 383"/>
                <a:gd name="T115" fmla="*/ 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3" h="358">
                  <a:moveTo>
                    <a:pt x="187" y="0"/>
                  </a:moveTo>
                  <a:lnTo>
                    <a:pt x="188" y="0"/>
                  </a:lnTo>
                  <a:lnTo>
                    <a:pt x="189" y="1"/>
                  </a:lnTo>
                  <a:lnTo>
                    <a:pt x="190" y="2"/>
                  </a:lnTo>
                  <a:lnTo>
                    <a:pt x="191" y="2"/>
                  </a:lnTo>
                  <a:lnTo>
                    <a:pt x="193" y="3"/>
                  </a:lnTo>
                  <a:lnTo>
                    <a:pt x="195" y="4"/>
                  </a:lnTo>
                  <a:lnTo>
                    <a:pt x="196" y="4"/>
                  </a:lnTo>
                  <a:lnTo>
                    <a:pt x="197" y="5"/>
                  </a:lnTo>
                  <a:lnTo>
                    <a:pt x="198" y="6"/>
                  </a:lnTo>
                  <a:lnTo>
                    <a:pt x="199" y="7"/>
                  </a:lnTo>
                  <a:lnTo>
                    <a:pt x="200" y="8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5" y="10"/>
                  </a:lnTo>
                  <a:lnTo>
                    <a:pt x="207" y="10"/>
                  </a:lnTo>
                  <a:lnTo>
                    <a:pt x="209" y="10"/>
                  </a:lnTo>
                  <a:lnTo>
                    <a:pt x="211" y="9"/>
                  </a:lnTo>
                  <a:lnTo>
                    <a:pt x="215" y="7"/>
                  </a:lnTo>
                  <a:lnTo>
                    <a:pt x="216" y="6"/>
                  </a:lnTo>
                  <a:lnTo>
                    <a:pt x="219" y="5"/>
                  </a:lnTo>
                  <a:lnTo>
                    <a:pt x="221" y="5"/>
                  </a:lnTo>
                  <a:lnTo>
                    <a:pt x="223" y="5"/>
                  </a:lnTo>
                  <a:lnTo>
                    <a:pt x="225" y="5"/>
                  </a:lnTo>
                  <a:lnTo>
                    <a:pt x="227" y="6"/>
                  </a:lnTo>
                  <a:lnTo>
                    <a:pt x="233" y="9"/>
                  </a:lnTo>
                  <a:lnTo>
                    <a:pt x="235" y="9"/>
                  </a:lnTo>
                  <a:lnTo>
                    <a:pt x="238" y="9"/>
                  </a:lnTo>
                  <a:lnTo>
                    <a:pt x="239" y="10"/>
                  </a:lnTo>
                  <a:lnTo>
                    <a:pt x="240" y="10"/>
                  </a:lnTo>
                  <a:lnTo>
                    <a:pt x="243" y="10"/>
                  </a:lnTo>
                  <a:lnTo>
                    <a:pt x="245" y="9"/>
                  </a:lnTo>
                  <a:lnTo>
                    <a:pt x="246" y="9"/>
                  </a:lnTo>
                  <a:lnTo>
                    <a:pt x="250" y="8"/>
                  </a:lnTo>
                  <a:lnTo>
                    <a:pt x="251" y="7"/>
                  </a:lnTo>
                  <a:lnTo>
                    <a:pt x="254" y="6"/>
                  </a:lnTo>
                  <a:lnTo>
                    <a:pt x="257" y="5"/>
                  </a:lnTo>
                  <a:lnTo>
                    <a:pt x="259" y="4"/>
                  </a:lnTo>
                  <a:lnTo>
                    <a:pt x="260" y="4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3" y="5"/>
                  </a:lnTo>
                  <a:lnTo>
                    <a:pt x="264" y="6"/>
                  </a:lnTo>
                  <a:lnTo>
                    <a:pt x="265" y="8"/>
                  </a:lnTo>
                  <a:lnTo>
                    <a:pt x="266" y="9"/>
                  </a:lnTo>
                  <a:lnTo>
                    <a:pt x="267" y="11"/>
                  </a:lnTo>
                  <a:lnTo>
                    <a:pt x="267" y="13"/>
                  </a:lnTo>
                  <a:lnTo>
                    <a:pt x="269" y="20"/>
                  </a:lnTo>
                  <a:lnTo>
                    <a:pt x="270" y="24"/>
                  </a:lnTo>
                  <a:lnTo>
                    <a:pt x="271" y="27"/>
                  </a:lnTo>
                  <a:lnTo>
                    <a:pt x="272" y="29"/>
                  </a:lnTo>
                  <a:lnTo>
                    <a:pt x="272" y="31"/>
                  </a:lnTo>
                  <a:lnTo>
                    <a:pt x="273" y="32"/>
                  </a:lnTo>
                  <a:lnTo>
                    <a:pt x="274" y="34"/>
                  </a:lnTo>
                  <a:lnTo>
                    <a:pt x="275" y="35"/>
                  </a:lnTo>
                  <a:lnTo>
                    <a:pt x="276" y="36"/>
                  </a:lnTo>
                  <a:lnTo>
                    <a:pt x="277" y="37"/>
                  </a:lnTo>
                  <a:lnTo>
                    <a:pt x="279" y="38"/>
                  </a:lnTo>
                  <a:lnTo>
                    <a:pt x="281" y="39"/>
                  </a:lnTo>
                  <a:lnTo>
                    <a:pt x="284" y="39"/>
                  </a:lnTo>
                  <a:lnTo>
                    <a:pt x="285" y="40"/>
                  </a:lnTo>
                  <a:lnTo>
                    <a:pt x="287" y="40"/>
                  </a:lnTo>
                  <a:lnTo>
                    <a:pt x="288" y="40"/>
                  </a:lnTo>
                  <a:lnTo>
                    <a:pt x="289" y="40"/>
                  </a:lnTo>
                  <a:lnTo>
                    <a:pt x="291" y="40"/>
                  </a:lnTo>
                  <a:lnTo>
                    <a:pt x="293" y="39"/>
                  </a:lnTo>
                  <a:lnTo>
                    <a:pt x="296" y="37"/>
                  </a:lnTo>
                  <a:lnTo>
                    <a:pt x="299" y="36"/>
                  </a:lnTo>
                  <a:lnTo>
                    <a:pt x="308" y="33"/>
                  </a:lnTo>
                  <a:lnTo>
                    <a:pt x="309" y="33"/>
                  </a:lnTo>
                  <a:lnTo>
                    <a:pt x="312" y="32"/>
                  </a:lnTo>
                  <a:lnTo>
                    <a:pt x="319" y="32"/>
                  </a:lnTo>
                  <a:lnTo>
                    <a:pt x="326" y="32"/>
                  </a:lnTo>
                  <a:lnTo>
                    <a:pt x="329" y="31"/>
                  </a:lnTo>
                  <a:lnTo>
                    <a:pt x="333" y="31"/>
                  </a:lnTo>
                  <a:lnTo>
                    <a:pt x="338" y="32"/>
                  </a:lnTo>
                  <a:lnTo>
                    <a:pt x="342" y="32"/>
                  </a:lnTo>
                  <a:lnTo>
                    <a:pt x="348" y="33"/>
                  </a:lnTo>
                  <a:lnTo>
                    <a:pt x="350" y="34"/>
                  </a:lnTo>
                  <a:lnTo>
                    <a:pt x="352" y="34"/>
                  </a:lnTo>
                  <a:lnTo>
                    <a:pt x="352" y="35"/>
                  </a:lnTo>
                  <a:lnTo>
                    <a:pt x="353" y="36"/>
                  </a:lnTo>
                  <a:lnTo>
                    <a:pt x="357" y="40"/>
                  </a:lnTo>
                  <a:lnTo>
                    <a:pt x="359" y="43"/>
                  </a:lnTo>
                  <a:lnTo>
                    <a:pt x="361" y="44"/>
                  </a:lnTo>
                  <a:lnTo>
                    <a:pt x="362" y="45"/>
                  </a:lnTo>
                  <a:lnTo>
                    <a:pt x="362" y="47"/>
                  </a:lnTo>
                  <a:lnTo>
                    <a:pt x="362" y="48"/>
                  </a:lnTo>
                  <a:lnTo>
                    <a:pt x="362" y="49"/>
                  </a:lnTo>
                  <a:lnTo>
                    <a:pt x="362" y="50"/>
                  </a:lnTo>
                  <a:lnTo>
                    <a:pt x="361" y="51"/>
                  </a:lnTo>
                  <a:lnTo>
                    <a:pt x="360" y="51"/>
                  </a:lnTo>
                  <a:lnTo>
                    <a:pt x="359" y="52"/>
                  </a:lnTo>
                  <a:lnTo>
                    <a:pt x="354" y="54"/>
                  </a:lnTo>
                  <a:lnTo>
                    <a:pt x="353" y="55"/>
                  </a:lnTo>
                  <a:lnTo>
                    <a:pt x="352" y="56"/>
                  </a:lnTo>
                  <a:lnTo>
                    <a:pt x="351" y="57"/>
                  </a:lnTo>
                  <a:lnTo>
                    <a:pt x="350" y="58"/>
                  </a:lnTo>
                  <a:lnTo>
                    <a:pt x="350" y="59"/>
                  </a:lnTo>
                  <a:lnTo>
                    <a:pt x="347" y="65"/>
                  </a:lnTo>
                  <a:lnTo>
                    <a:pt x="345" y="69"/>
                  </a:lnTo>
                  <a:lnTo>
                    <a:pt x="345" y="71"/>
                  </a:lnTo>
                  <a:lnTo>
                    <a:pt x="343" y="77"/>
                  </a:lnTo>
                  <a:lnTo>
                    <a:pt x="341" y="84"/>
                  </a:lnTo>
                  <a:lnTo>
                    <a:pt x="341" y="86"/>
                  </a:lnTo>
                  <a:lnTo>
                    <a:pt x="341" y="88"/>
                  </a:lnTo>
                  <a:lnTo>
                    <a:pt x="341" y="89"/>
                  </a:lnTo>
                  <a:lnTo>
                    <a:pt x="342" y="91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5" y="95"/>
                  </a:lnTo>
                  <a:lnTo>
                    <a:pt x="350" y="99"/>
                  </a:lnTo>
                  <a:lnTo>
                    <a:pt x="354" y="103"/>
                  </a:lnTo>
                  <a:lnTo>
                    <a:pt x="357" y="107"/>
                  </a:lnTo>
                  <a:lnTo>
                    <a:pt x="360" y="110"/>
                  </a:lnTo>
                  <a:lnTo>
                    <a:pt x="362" y="112"/>
                  </a:lnTo>
                  <a:lnTo>
                    <a:pt x="363" y="115"/>
                  </a:lnTo>
                  <a:lnTo>
                    <a:pt x="365" y="119"/>
                  </a:lnTo>
                  <a:lnTo>
                    <a:pt x="367" y="122"/>
                  </a:lnTo>
                  <a:lnTo>
                    <a:pt x="368" y="125"/>
                  </a:lnTo>
                  <a:lnTo>
                    <a:pt x="369" y="128"/>
                  </a:lnTo>
                  <a:lnTo>
                    <a:pt x="369" y="130"/>
                  </a:lnTo>
                  <a:lnTo>
                    <a:pt x="369" y="133"/>
                  </a:lnTo>
                  <a:lnTo>
                    <a:pt x="368" y="134"/>
                  </a:lnTo>
                  <a:lnTo>
                    <a:pt x="368" y="136"/>
                  </a:lnTo>
                  <a:lnTo>
                    <a:pt x="367" y="139"/>
                  </a:lnTo>
                  <a:lnTo>
                    <a:pt x="365" y="140"/>
                  </a:lnTo>
                  <a:lnTo>
                    <a:pt x="363" y="144"/>
                  </a:lnTo>
                  <a:lnTo>
                    <a:pt x="363" y="145"/>
                  </a:lnTo>
                  <a:lnTo>
                    <a:pt x="362" y="146"/>
                  </a:lnTo>
                  <a:lnTo>
                    <a:pt x="362" y="148"/>
                  </a:lnTo>
                  <a:lnTo>
                    <a:pt x="362" y="150"/>
                  </a:lnTo>
                  <a:lnTo>
                    <a:pt x="362" y="151"/>
                  </a:lnTo>
                  <a:lnTo>
                    <a:pt x="363" y="153"/>
                  </a:lnTo>
                  <a:lnTo>
                    <a:pt x="363" y="155"/>
                  </a:lnTo>
                  <a:lnTo>
                    <a:pt x="365" y="156"/>
                  </a:lnTo>
                  <a:lnTo>
                    <a:pt x="367" y="159"/>
                  </a:lnTo>
                  <a:lnTo>
                    <a:pt x="368" y="161"/>
                  </a:lnTo>
                  <a:lnTo>
                    <a:pt x="370" y="163"/>
                  </a:lnTo>
                  <a:lnTo>
                    <a:pt x="378" y="169"/>
                  </a:lnTo>
                  <a:lnTo>
                    <a:pt x="379" y="171"/>
                  </a:lnTo>
                  <a:lnTo>
                    <a:pt x="381" y="173"/>
                  </a:lnTo>
                  <a:lnTo>
                    <a:pt x="382" y="175"/>
                  </a:lnTo>
                  <a:lnTo>
                    <a:pt x="383" y="177"/>
                  </a:lnTo>
                  <a:lnTo>
                    <a:pt x="383" y="179"/>
                  </a:lnTo>
                  <a:lnTo>
                    <a:pt x="383" y="181"/>
                  </a:lnTo>
                  <a:lnTo>
                    <a:pt x="383" y="184"/>
                  </a:lnTo>
                  <a:lnTo>
                    <a:pt x="382" y="187"/>
                  </a:lnTo>
                  <a:lnTo>
                    <a:pt x="381" y="190"/>
                  </a:lnTo>
                  <a:lnTo>
                    <a:pt x="380" y="190"/>
                  </a:lnTo>
                  <a:lnTo>
                    <a:pt x="378" y="192"/>
                  </a:lnTo>
                  <a:lnTo>
                    <a:pt x="376" y="193"/>
                  </a:lnTo>
                  <a:lnTo>
                    <a:pt x="373" y="197"/>
                  </a:lnTo>
                  <a:lnTo>
                    <a:pt x="370" y="198"/>
                  </a:lnTo>
                  <a:lnTo>
                    <a:pt x="367" y="199"/>
                  </a:lnTo>
                  <a:lnTo>
                    <a:pt x="364" y="200"/>
                  </a:lnTo>
                  <a:lnTo>
                    <a:pt x="358" y="200"/>
                  </a:lnTo>
                  <a:lnTo>
                    <a:pt x="355" y="200"/>
                  </a:lnTo>
                  <a:lnTo>
                    <a:pt x="351" y="201"/>
                  </a:lnTo>
                  <a:lnTo>
                    <a:pt x="349" y="201"/>
                  </a:lnTo>
                  <a:lnTo>
                    <a:pt x="344" y="202"/>
                  </a:lnTo>
                  <a:lnTo>
                    <a:pt x="341" y="203"/>
                  </a:lnTo>
                  <a:lnTo>
                    <a:pt x="337" y="204"/>
                  </a:lnTo>
                  <a:lnTo>
                    <a:pt x="330" y="205"/>
                  </a:lnTo>
                  <a:lnTo>
                    <a:pt x="329" y="205"/>
                  </a:lnTo>
                  <a:lnTo>
                    <a:pt x="326" y="206"/>
                  </a:lnTo>
                  <a:lnTo>
                    <a:pt x="324" y="207"/>
                  </a:lnTo>
                  <a:lnTo>
                    <a:pt x="323" y="208"/>
                  </a:lnTo>
                  <a:lnTo>
                    <a:pt x="321" y="210"/>
                  </a:lnTo>
                  <a:lnTo>
                    <a:pt x="320" y="213"/>
                  </a:lnTo>
                  <a:lnTo>
                    <a:pt x="318" y="215"/>
                  </a:lnTo>
                  <a:lnTo>
                    <a:pt x="318" y="217"/>
                  </a:lnTo>
                  <a:lnTo>
                    <a:pt x="317" y="220"/>
                  </a:lnTo>
                  <a:lnTo>
                    <a:pt x="316" y="223"/>
                  </a:lnTo>
                  <a:lnTo>
                    <a:pt x="316" y="224"/>
                  </a:lnTo>
                  <a:lnTo>
                    <a:pt x="316" y="227"/>
                  </a:lnTo>
                  <a:lnTo>
                    <a:pt x="316" y="229"/>
                  </a:lnTo>
                  <a:lnTo>
                    <a:pt x="317" y="231"/>
                  </a:lnTo>
                  <a:lnTo>
                    <a:pt x="317" y="232"/>
                  </a:lnTo>
                  <a:lnTo>
                    <a:pt x="318" y="235"/>
                  </a:lnTo>
                  <a:lnTo>
                    <a:pt x="319" y="237"/>
                  </a:lnTo>
                  <a:lnTo>
                    <a:pt x="319" y="239"/>
                  </a:lnTo>
                  <a:lnTo>
                    <a:pt x="319" y="244"/>
                  </a:lnTo>
                  <a:lnTo>
                    <a:pt x="319" y="246"/>
                  </a:lnTo>
                  <a:lnTo>
                    <a:pt x="319" y="247"/>
                  </a:lnTo>
                  <a:lnTo>
                    <a:pt x="320" y="249"/>
                  </a:lnTo>
                  <a:lnTo>
                    <a:pt x="321" y="251"/>
                  </a:lnTo>
                  <a:lnTo>
                    <a:pt x="322" y="252"/>
                  </a:lnTo>
                  <a:lnTo>
                    <a:pt x="323" y="254"/>
                  </a:lnTo>
                  <a:lnTo>
                    <a:pt x="325" y="255"/>
                  </a:lnTo>
                  <a:lnTo>
                    <a:pt x="326" y="256"/>
                  </a:lnTo>
                  <a:lnTo>
                    <a:pt x="328" y="257"/>
                  </a:lnTo>
                  <a:lnTo>
                    <a:pt x="329" y="258"/>
                  </a:lnTo>
                  <a:lnTo>
                    <a:pt x="330" y="258"/>
                  </a:lnTo>
                  <a:lnTo>
                    <a:pt x="329" y="258"/>
                  </a:lnTo>
                  <a:lnTo>
                    <a:pt x="328" y="259"/>
                  </a:lnTo>
                  <a:lnTo>
                    <a:pt x="322" y="265"/>
                  </a:lnTo>
                  <a:lnTo>
                    <a:pt x="317" y="269"/>
                  </a:lnTo>
                  <a:lnTo>
                    <a:pt x="310" y="274"/>
                  </a:lnTo>
                  <a:lnTo>
                    <a:pt x="308" y="276"/>
                  </a:lnTo>
                  <a:lnTo>
                    <a:pt x="307" y="278"/>
                  </a:lnTo>
                  <a:lnTo>
                    <a:pt x="307" y="279"/>
                  </a:lnTo>
                  <a:lnTo>
                    <a:pt x="307" y="280"/>
                  </a:lnTo>
                  <a:lnTo>
                    <a:pt x="305" y="287"/>
                  </a:lnTo>
                  <a:lnTo>
                    <a:pt x="304" y="289"/>
                  </a:lnTo>
                  <a:lnTo>
                    <a:pt x="303" y="292"/>
                  </a:lnTo>
                  <a:lnTo>
                    <a:pt x="301" y="295"/>
                  </a:lnTo>
                  <a:lnTo>
                    <a:pt x="298" y="300"/>
                  </a:lnTo>
                  <a:lnTo>
                    <a:pt x="292" y="312"/>
                  </a:lnTo>
                  <a:lnTo>
                    <a:pt x="291" y="314"/>
                  </a:lnTo>
                  <a:lnTo>
                    <a:pt x="290" y="316"/>
                  </a:lnTo>
                  <a:lnTo>
                    <a:pt x="289" y="319"/>
                  </a:lnTo>
                  <a:lnTo>
                    <a:pt x="289" y="322"/>
                  </a:lnTo>
                  <a:lnTo>
                    <a:pt x="289" y="324"/>
                  </a:lnTo>
                  <a:lnTo>
                    <a:pt x="289" y="329"/>
                  </a:lnTo>
                  <a:lnTo>
                    <a:pt x="289" y="331"/>
                  </a:lnTo>
                  <a:lnTo>
                    <a:pt x="289" y="333"/>
                  </a:lnTo>
                  <a:lnTo>
                    <a:pt x="289" y="335"/>
                  </a:lnTo>
                  <a:lnTo>
                    <a:pt x="288" y="337"/>
                  </a:lnTo>
                  <a:lnTo>
                    <a:pt x="286" y="342"/>
                  </a:lnTo>
                  <a:lnTo>
                    <a:pt x="285" y="344"/>
                  </a:lnTo>
                  <a:lnTo>
                    <a:pt x="284" y="345"/>
                  </a:lnTo>
                  <a:lnTo>
                    <a:pt x="284" y="347"/>
                  </a:lnTo>
                  <a:lnTo>
                    <a:pt x="283" y="348"/>
                  </a:lnTo>
                  <a:lnTo>
                    <a:pt x="280" y="349"/>
                  </a:lnTo>
                  <a:lnTo>
                    <a:pt x="278" y="351"/>
                  </a:lnTo>
                  <a:lnTo>
                    <a:pt x="276" y="352"/>
                  </a:lnTo>
                  <a:lnTo>
                    <a:pt x="274" y="353"/>
                  </a:lnTo>
                  <a:lnTo>
                    <a:pt x="272" y="354"/>
                  </a:lnTo>
                  <a:lnTo>
                    <a:pt x="270" y="354"/>
                  </a:lnTo>
                  <a:lnTo>
                    <a:pt x="269" y="354"/>
                  </a:lnTo>
                  <a:lnTo>
                    <a:pt x="267" y="354"/>
                  </a:lnTo>
                  <a:lnTo>
                    <a:pt x="265" y="353"/>
                  </a:lnTo>
                  <a:lnTo>
                    <a:pt x="262" y="352"/>
                  </a:lnTo>
                  <a:lnTo>
                    <a:pt x="253" y="349"/>
                  </a:lnTo>
                  <a:lnTo>
                    <a:pt x="250" y="348"/>
                  </a:lnTo>
                  <a:lnTo>
                    <a:pt x="239" y="344"/>
                  </a:lnTo>
                  <a:lnTo>
                    <a:pt x="235" y="343"/>
                  </a:lnTo>
                  <a:lnTo>
                    <a:pt x="228" y="341"/>
                  </a:lnTo>
                  <a:lnTo>
                    <a:pt x="225" y="340"/>
                  </a:lnTo>
                  <a:lnTo>
                    <a:pt x="213" y="336"/>
                  </a:lnTo>
                  <a:lnTo>
                    <a:pt x="210" y="335"/>
                  </a:lnTo>
                  <a:lnTo>
                    <a:pt x="205" y="332"/>
                  </a:lnTo>
                  <a:lnTo>
                    <a:pt x="204" y="331"/>
                  </a:lnTo>
                  <a:lnTo>
                    <a:pt x="202" y="329"/>
                  </a:lnTo>
                  <a:lnTo>
                    <a:pt x="200" y="327"/>
                  </a:lnTo>
                  <a:lnTo>
                    <a:pt x="198" y="326"/>
                  </a:lnTo>
                  <a:lnTo>
                    <a:pt x="197" y="324"/>
                  </a:lnTo>
                  <a:lnTo>
                    <a:pt x="194" y="321"/>
                  </a:lnTo>
                  <a:lnTo>
                    <a:pt x="193" y="319"/>
                  </a:lnTo>
                  <a:lnTo>
                    <a:pt x="192" y="318"/>
                  </a:lnTo>
                  <a:lnTo>
                    <a:pt x="189" y="316"/>
                  </a:lnTo>
                  <a:lnTo>
                    <a:pt x="187" y="315"/>
                  </a:lnTo>
                  <a:lnTo>
                    <a:pt x="185" y="314"/>
                  </a:lnTo>
                  <a:lnTo>
                    <a:pt x="182" y="311"/>
                  </a:lnTo>
                  <a:lnTo>
                    <a:pt x="181" y="309"/>
                  </a:lnTo>
                  <a:lnTo>
                    <a:pt x="180" y="308"/>
                  </a:lnTo>
                  <a:lnTo>
                    <a:pt x="178" y="307"/>
                  </a:lnTo>
                  <a:lnTo>
                    <a:pt x="176" y="307"/>
                  </a:lnTo>
                  <a:lnTo>
                    <a:pt x="174" y="307"/>
                  </a:lnTo>
                  <a:lnTo>
                    <a:pt x="171" y="307"/>
                  </a:lnTo>
                  <a:lnTo>
                    <a:pt x="165" y="307"/>
                  </a:lnTo>
                  <a:lnTo>
                    <a:pt x="162" y="308"/>
                  </a:lnTo>
                  <a:lnTo>
                    <a:pt x="160" y="308"/>
                  </a:lnTo>
                  <a:lnTo>
                    <a:pt x="159" y="309"/>
                  </a:lnTo>
                  <a:lnTo>
                    <a:pt x="155" y="310"/>
                  </a:lnTo>
                  <a:lnTo>
                    <a:pt x="154" y="311"/>
                  </a:lnTo>
                  <a:lnTo>
                    <a:pt x="152" y="311"/>
                  </a:lnTo>
                  <a:lnTo>
                    <a:pt x="151" y="311"/>
                  </a:lnTo>
                  <a:lnTo>
                    <a:pt x="150" y="311"/>
                  </a:lnTo>
                  <a:lnTo>
                    <a:pt x="149" y="310"/>
                  </a:lnTo>
                  <a:lnTo>
                    <a:pt x="147" y="309"/>
                  </a:lnTo>
                  <a:lnTo>
                    <a:pt x="145" y="307"/>
                  </a:lnTo>
                  <a:lnTo>
                    <a:pt x="141" y="304"/>
                  </a:lnTo>
                  <a:lnTo>
                    <a:pt x="139" y="303"/>
                  </a:lnTo>
                  <a:lnTo>
                    <a:pt x="138" y="303"/>
                  </a:lnTo>
                  <a:lnTo>
                    <a:pt x="137" y="303"/>
                  </a:lnTo>
                  <a:lnTo>
                    <a:pt x="136" y="302"/>
                  </a:lnTo>
                  <a:lnTo>
                    <a:pt x="135" y="302"/>
                  </a:lnTo>
                  <a:lnTo>
                    <a:pt x="134" y="302"/>
                  </a:lnTo>
                  <a:lnTo>
                    <a:pt x="133" y="302"/>
                  </a:lnTo>
                  <a:lnTo>
                    <a:pt x="131" y="303"/>
                  </a:lnTo>
                  <a:lnTo>
                    <a:pt x="130" y="303"/>
                  </a:lnTo>
                  <a:lnTo>
                    <a:pt x="129" y="303"/>
                  </a:lnTo>
                  <a:lnTo>
                    <a:pt x="128" y="305"/>
                  </a:lnTo>
                  <a:lnTo>
                    <a:pt x="127" y="306"/>
                  </a:lnTo>
                  <a:lnTo>
                    <a:pt x="127" y="307"/>
                  </a:lnTo>
                  <a:lnTo>
                    <a:pt x="126" y="309"/>
                  </a:lnTo>
                  <a:lnTo>
                    <a:pt x="126" y="311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7" y="324"/>
                  </a:lnTo>
                  <a:lnTo>
                    <a:pt x="127" y="330"/>
                  </a:lnTo>
                  <a:lnTo>
                    <a:pt x="126" y="333"/>
                  </a:lnTo>
                  <a:lnTo>
                    <a:pt x="126" y="334"/>
                  </a:lnTo>
                  <a:lnTo>
                    <a:pt x="126" y="336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4" y="338"/>
                  </a:lnTo>
                  <a:lnTo>
                    <a:pt x="123" y="339"/>
                  </a:lnTo>
                  <a:lnTo>
                    <a:pt x="122" y="339"/>
                  </a:lnTo>
                  <a:lnTo>
                    <a:pt x="117" y="341"/>
                  </a:lnTo>
                  <a:lnTo>
                    <a:pt x="115" y="342"/>
                  </a:lnTo>
                  <a:lnTo>
                    <a:pt x="114" y="343"/>
                  </a:lnTo>
                  <a:lnTo>
                    <a:pt x="106" y="349"/>
                  </a:lnTo>
                  <a:lnTo>
                    <a:pt x="102" y="352"/>
                  </a:lnTo>
                  <a:lnTo>
                    <a:pt x="102" y="353"/>
                  </a:lnTo>
                  <a:lnTo>
                    <a:pt x="102" y="354"/>
                  </a:lnTo>
                  <a:lnTo>
                    <a:pt x="101" y="355"/>
                  </a:lnTo>
                  <a:lnTo>
                    <a:pt x="101" y="356"/>
                  </a:lnTo>
                  <a:lnTo>
                    <a:pt x="101" y="357"/>
                  </a:lnTo>
                  <a:lnTo>
                    <a:pt x="101" y="358"/>
                  </a:lnTo>
                  <a:lnTo>
                    <a:pt x="100" y="357"/>
                  </a:lnTo>
                  <a:lnTo>
                    <a:pt x="98" y="357"/>
                  </a:lnTo>
                  <a:lnTo>
                    <a:pt x="91" y="354"/>
                  </a:lnTo>
                  <a:lnTo>
                    <a:pt x="90" y="353"/>
                  </a:lnTo>
                  <a:lnTo>
                    <a:pt x="90" y="353"/>
                  </a:lnTo>
                  <a:lnTo>
                    <a:pt x="89" y="352"/>
                  </a:lnTo>
                  <a:lnTo>
                    <a:pt x="88" y="350"/>
                  </a:lnTo>
                  <a:lnTo>
                    <a:pt x="87" y="350"/>
                  </a:lnTo>
                  <a:lnTo>
                    <a:pt x="86" y="349"/>
                  </a:lnTo>
                  <a:lnTo>
                    <a:pt x="84" y="349"/>
                  </a:lnTo>
                  <a:lnTo>
                    <a:pt x="81" y="349"/>
                  </a:lnTo>
                  <a:lnTo>
                    <a:pt x="80" y="349"/>
                  </a:lnTo>
                  <a:lnTo>
                    <a:pt x="79" y="349"/>
                  </a:lnTo>
                  <a:lnTo>
                    <a:pt x="76" y="350"/>
                  </a:lnTo>
                  <a:lnTo>
                    <a:pt x="71" y="353"/>
                  </a:lnTo>
                  <a:lnTo>
                    <a:pt x="69" y="353"/>
                  </a:lnTo>
                  <a:lnTo>
                    <a:pt x="68" y="353"/>
                  </a:lnTo>
                  <a:lnTo>
                    <a:pt x="65" y="353"/>
                  </a:lnTo>
                  <a:lnTo>
                    <a:pt x="64" y="353"/>
                  </a:lnTo>
                  <a:lnTo>
                    <a:pt x="63" y="353"/>
                  </a:lnTo>
                  <a:lnTo>
                    <a:pt x="62" y="353"/>
                  </a:lnTo>
                  <a:lnTo>
                    <a:pt x="61" y="353"/>
                  </a:lnTo>
                  <a:lnTo>
                    <a:pt x="59" y="352"/>
                  </a:lnTo>
                  <a:lnTo>
                    <a:pt x="57" y="351"/>
                  </a:lnTo>
                  <a:lnTo>
                    <a:pt x="56" y="350"/>
                  </a:lnTo>
                  <a:lnTo>
                    <a:pt x="54" y="350"/>
                  </a:lnTo>
                  <a:lnTo>
                    <a:pt x="52" y="350"/>
                  </a:lnTo>
                  <a:lnTo>
                    <a:pt x="51" y="349"/>
                  </a:lnTo>
                  <a:lnTo>
                    <a:pt x="46" y="347"/>
                  </a:lnTo>
                  <a:lnTo>
                    <a:pt x="45" y="345"/>
                  </a:lnTo>
                  <a:lnTo>
                    <a:pt x="42" y="343"/>
                  </a:lnTo>
                  <a:lnTo>
                    <a:pt x="39" y="342"/>
                  </a:lnTo>
                  <a:lnTo>
                    <a:pt x="35" y="340"/>
                  </a:lnTo>
                  <a:lnTo>
                    <a:pt x="33" y="339"/>
                  </a:lnTo>
                  <a:lnTo>
                    <a:pt x="23" y="337"/>
                  </a:lnTo>
                  <a:lnTo>
                    <a:pt x="18" y="335"/>
                  </a:lnTo>
                  <a:lnTo>
                    <a:pt x="11" y="332"/>
                  </a:lnTo>
                  <a:lnTo>
                    <a:pt x="6" y="329"/>
                  </a:lnTo>
                  <a:lnTo>
                    <a:pt x="4" y="327"/>
                  </a:lnTo>
                  <a:lnTo>
                    <a:pt x="2" y="326"/>
                  </a:lnTo>
                  <a:lnTo>
                    <a:pt x="1" y="326"/>
                  </a:lnTo>
                  <a:lnTo>
                    <a:pt x="0" y="325"/>
                  </a:lnTo>
                  <a:lnTo>
                    <a:pt x="0" y="324"/>
                  </a:lnTo>
                  <a:lnTo>
                    <a:pt x="0" y="323"/>
                  </a:lnTo>
                  <a:lnTo>
                    <a:pt x="0" y="321"/>
                  </a:lnTo>
                  <a:lnTo>
                    <a:pt x="0" y="320"/>
                  </a:lnTo>
                  <a:lnTo>
                    <a:pt x="0" y="317"/>
                  </a:lnTo>
                  <a:lnTo>
                    <a:pt x="0" y="315"/>
                  </a:lnTo>
                  <a:lnTo>
                    <a:pt x="2" y="313"/>
                  </a:lnTo>
                  <a:lnTo>
                    <a:pt x="7" y="305"/>
                  </a:lnTo>
                  <a:lnTo>
                    <a:pt x="9" y="303"/>
                  </a:lnTo>
                  <a:lnTo>
                    <a:pt x="10" y="302"/>
                  </a:lnTo>
                  <a:lnTo>
                    <a:pt x="11" y="300"/>
                  </a:lnTo>
                  <a:lnTo>
                    <a:pt x="13" y="299"/>
                  </a:lnTo>
                  <a:lnTo>
                    <a:pt x="15" y="298"/>
                  </a:lnTo>
                  <a:lnTo>
                    <a:pt x="20" y="296"/>
                  </a:lnTo>
                  <a:lnTo>
                    <a:pt x="22" y="295"/>
                  </a:lnTo>
                  <a:lnTo>
                    <a:pt x="25" y="293"/>
                  </a:lnTo>
                  <a:lnTo>
                    <a:pt x="27" y="292"/>
                  </a:lnTo>
                  <a:lnTo>
                    <a:pt x="30" y="290"/>
                  </a:lnTo>
                  <a:lnTo>
                    <a:pt x="36" y="284"/>
                  </a:lnTo>
                  <a:lnTo>
                    <a:pt x="38" y="282"/>
                  </a:lnTo>
                  <a:lnTo>
                    <a:pt x="40" y="280"/>
                  </a:lnTo>
                  <a:lnTo>
                    <a:pt x="42" y="276"/>
                  </a:lnTo>
                  <a:lnTo>
                    <a:pt x="45" y="272"/>
                  </a:lnTo>
                  <a:lnTo>
                    <a:pt x="48" y="266"/>
                  </a:lnTo>
                  <a:lnTo>
                    <a:pt x="51" y="260"/>
                  </a:lnTo>
                  <a:lnTo>
                    <a:pt x="53" y="258"/>
                  </a:lnTo>
                  <a:lnTo>
                    <a:pt x="54" y="254"/>
                  </a:lnTo>
                  <a:lnTo>
                    <a:pt x="55" y="251"/>
                  </a:lnTo>
                  <a:lnTo>
                    <a:pt x="56" y="249"/>
                  </a:lnTo>
                  <a:lnTo>
                    <a:pt x="56" y="247"/>
                  </a:lnTo>
                  <a:lnTo>
                    <a:pt x="56" y="246"/>
                  </a:lnTo>
                  <a:lnTo>
                    <a:pt x="56" y="242"/>
                  </a:lnTo>
                  <a:lnTo>
                    <a:pt x="56" y="238"/>
                  </a:lnTo>
                  <a:lnTo>
                    <a:pt x="55" y="235"/>
                  </a:lnTo>
                  <a:lnTo>
                    <a:pt x="54" y="234"/>
                  </a:lnTo>
                  <a:lnTo>
                    <a:pt x="53" y="233"/>
                  </a:lnTo>
                  <a:lnTo>
                    <a:pt x="49" y="227"/>
                  </a:lnTo>
                  <a:lnTo>
                    <a:pt x="48" y="224"/>
                  </a:lnTo>
                  <a:lnTo>
                    <a:pt x="46" y="220"/>
                  </a:lnTo>
                  <a:lnTo>
                    <a:pt x="45" y="219"/>
                  </a:lnTo>
                  <a:lnTo>
                    <a:pt x="45" y="218"/>
                  </a:lnTo>
                  <a:lnTo>
                    <a:pt x="44" y="217"/>
                  </a:lnTo>
                  <a:lnTo>
                    <a:pt x="43" y="216"/>
                  </a:lnTo>
                  <a:lnTo>
                    <a:pt x="42" y="216"/>
                  </a:lnTo>
                  <a:lnTo>
                    <a:pt x="40" y="216"/>
                  </a:lnTo>
                  <a:lnTo>
                    <a:pt x="37" y="215"/>
                  </a:lnTo>
                  <a:lnTo>
                    <a:pt x="33" y="215"/>
                  </a:lnTo>
                  <a:lnTo>
                    <a:pt x="30" y="215"/>
                  </a:lnTo>
                  <a:lnTo>
                    <a:pt x="27" y="215"/>
                  </a:lnTo>
                  <a:lnTo>
                    <a:pt x="24" y="215"/>
                  </a:lnTo>
                  <a:lnTo>
                    <a:pt x="23" y="214"/>
                  </a:lnTo>
                  <a:lnTo>
                    <a:pt x="22" y="214"/>
                  </a:lnTo>
                  <a:lnTo>
                    <a:pt x="19" y="213"/>
                  </a:lnTo>
                  <a:lnTo>
                    <a:pt x="18" y="213"/>
                  </a:lnTo>
                  <a:lnTo>
                    <a:pt x="18" y="212"/>
                  </a:lnTo>
                  <a:lnTo>
                    <a:pt x="19" y="210"/>
                  </a:lnTo>
                  <a:lnTo>
                    <a:pt x="21" y="207"/>
                  </a:lnTo>
                  <a:lnTo>
                    <a:pt x="22" y="205"/>
                  </a:lnTo>
                  <a:lnTo>
                    <a:pt x="25" y="200"/>
                  </a:lnTo>
                  <a:lnTo>
                    <a:pt x="29" y="196"/>
                  </a:lnTo>
                  <a:lnTo>
                    <a:pt x="32" y="193"/>
                  </a:lnTo>
                  <a:lnTo>
                    <a:pt x="33" y="191"/>
                  </a:lnTo>
                  <a:lnTo>
                    <a:pt x="34" y="190"/>
                  </a:lnTo>
                  <a:lnTo>
                    <a:pt x="37" y="189"/>
                  </a:lnTo>
                  <a:lnTo>
                    <a:pt x="39" y="188"/>
                  </a:lnTo>
                  <a:lnTo>
                    <a:pt x="40" y="188"/>
                  </a:lnTo>
                  <a:lnTo>
                    <a:pt x="42" y="187"/>
                  </a:lnTo>
                  <a:lnTo>
                    <a:pt x="45" y="187"/>
                  </a:lnTo>
                  <a:lnTo>
                    <a:pt x="50" y="186"/>
                  </a:lnTo>
                  <a:lnTo>
                    <a:pt x="58" y="185"/>
                  </a:lnTo>
                  <a:lnTo>
                    <a:pt x="66" y="184"/>
                  </a:lnTo>
                  <a:lnTo>
                    <a:pt x="76" y="183"/>
                  </a:lnTo>
                  <a:lnTo>
                    <a:pt x="79" y="183"/>
                  </a:lnTo>
                  <a:lnTo>
                    <a:pt x="82" y="183"/>
                  </a:lnTo>
                  <a:lnTo>
                    <a:pt x="85" y="183"/>
                  </a:lnTo>
                  <a:lnTo>
                    <a:pt x="93" y="185"/>
                  </a:lnTo>
                  <a:lnTo>
                    <a:pt x="94" y="186"/>
                  </a:lnTo>
                  <a:lnTo>
                    <a:pt x="96" y="186"/>
                  </a:lnTo>
                  <a:lnTo>
                    <a:pt x="98" y="185"/>
                  </a:lnTo>
                  <a:lnTo>
                    <a:pt x="99" y="185"/>
                  </a:lnTo>
                  <a:lnTo>
                    <a:pt x="101" y="184"/>
                  </a:lnTo>
                  <a:lnTo>
                    <a:pt x="102" y="184"/>
                  </a:lnTo>
                  <a:lnTo>
                    <a:pt x="102" y="183"/>
                  </a:lnTo>
                  <a:lnTo>
                    <a:pt x="103" y="183"/>
                  </a:lnTo>
                  <a:lnTo>
                    <a:pt x="105" y="181"/>
                  </a:lnTo>
                  <a:lnTo>
                    <a:pt x="106" y="179"/>
                  </a:lnTo>
                  <a:lnTo>
                    <a:pt x="107" y="178"/>
                  </a:lnTo>
                  <a:lnTo>
                    <a:pt x="108" y="175"/>
                  </a:lnTo>
                  <a:lnTo>
                    <a:pt x="109" y="173"/>
                  </a:lnTo>
                  <a:lnTo>
                    <a:pt x="109" y="170"/>
                  </a:lnTo>
                  <a:lnTo>
                    <a:pt x="111" y="161"/>
                  </a:lnTo>
                  <a:lnTo>
                    <a:pt x="111" y="158"/>
                  </a:lnTo>
                  <a:lnTo>
                    <a:pt x="112" y="155"/>
                  </a:lnTo>
                  <a:lnTo>
                    <a:pt x="113" y="153"/>
                  </a:lnTo>
                  <a:lnTo>
                    <a:pt x="113" y="149"/>
                  </a:lnTo>
                  <a:lnTo>
                    <a:pt x="113" y="146"/>
                  </a:lnTo>
                  <a:lnTo>
                    <a:pt x="113" y="141"/>
                  </a:lnTo>
                  <a:lnTo>
                    <a:pt x="113" y="139"/>
                  </a:lnTo>
                  <a:lnTo>
                    <a:pt x="113" y="136"/>
                  </a:lnTo>
                  <a:lnTo>
                    <a:pt x="112" y="133"/>
                  </a:lnTo>
                  <a:lnTo>
                    <a:pt x="110" y="127"/>
                  </a:lnTo>
                  <a:lnTo>
                    <a:pt x="110" y="124"/>
                  </a:lnTo>
                  <a:lnTo>
                    <a:pt x="109" y="122"/>
                  </a:lnTo>
                  <a:lnTo>
                    <a:pt x="109" y="120"/>
                  </a:lnTo>
                  <a:lnTo>
                    <a:pt x="109" y="116"/>
                  </a:lnTo>
                  <a:lnTo>
                    <a:pt x="109" y="113"/>
                  </a:lnTo>
                  <a:lnTo>
                    <a:pt x="109" y="111"/>
                  </a:lnTo>
                  <a:lnTo>
                    <a:pt x="108" y="106"/>
                  </a:lnTo>
                  <a:lnTo>
                    <a:pt x="108" y="100"/>
                  </a:lnTo>
                  <a:lnTo>
                    <a:pt x="108" y="99"/>
                  </a:lnTo>
                  <a:lnTo>
                    <a:pt x="108" y="97"/>
                  </a:lnTo>
                  <a:lnTo>
                    <a:pt x="109" y="96"/>
                  </a:lnTo>
                  <a:lnTo>
                    <a:pt x="109" y="95"/>
                  </a:lnTo>
                  <a:lnTo>
                    <a:pt x="111" y="94"/>
                  </a:lnTo>
                  <a:lnTo>
                    <a:pt x="113" y="94"/>
                  </a:lnTo>
                  <a:lnTo>
                    <a:pt x="113" y="93"/>
                  </a:lnTo>
                  <a:lnTo>
                    <a:pt x="114" y="93"/>
                  </a:lnTo>
                  <a:lnTo>
                    <a:pt x="116" y="93"/>
                  </a:lnTo>
                  <a:lnTo>
                    <a:pt x="117" y="93"/>
                  </a:lnTo>
                  <a:lnTo>
                    <a:pt x="120" y="94"/>
                  </a:lnTo>
                  <a:lnTo>
                    <a:pt x="129" y="98"/>
                  </a:lnTo>
                  <a:lnTo>
                    <a:pt x="132" y="98"/>
                  </a:lnTo>
                  <a:lnTo>
                    <a:pt x="135" y="99"/>
                  </a:lnTo>
                  <a:lnTo>
                    <a:pt x="136" y="99"/>
                  </a:lnTo>
                  <a:lnTo>
                    <a:pt x="138" y="99"/>
                  </a:lnTo>
                  <a:lnTo>
                    <a:pt x="140" y="99"/>
                  </a:lnTo>
                  <a:lnTo>
                    <a:pt x="142" y="99"/>
                  </a:lnTo>
                  <a:lnTo>
                    <a:pt x="143" y="99"/>
                  </a:lnTo>
                  <a:lnTo>
                    <a:pt x="143" y="98"/>
                  </a:lnTo>
                  <a:lnTo>
                    <a:pt x="144" y="97"/>
                  </a:lnTo>
                  <a:lnTo>
                    <a:pt x="145" y="96"/>
                  </a:lnTo>
                  <a:lnTo>
                    <a:pt x="145" y="93"/>
                  </a:lnTo>
                  <a:lnTo>
                    <a:pt x="146" y="91"/>
                  </a:lnTo>
                  <a:lnTo>
                    <a:pt x="148" y="85"/>
                  </a:lnTo>
                  <a:lnTo>
                    <a:pt x="152" y="77"/>
                  </a:lnTo>
                  <a:lnTo>
                    <a:pt x="153" y="77"/>
                  </a:lnTo>
                  <a:lnTo>
                    <a:pt x="155" y="75"/>
                  </a:lnTo>
                  <a:lnTo>
                    <a:pt x="156" y="74"/>
                  </a:lnTo>
                  <a:lnTo>
                    <a:pt x="158" y="73"/>
                  </a:lnTo>
                  <a:lnTo>
                    <a:pt x="166" y="72"/>
                  </a:lnTo>
                  <a:lnTo>
                    <a:pt x="171" y="69"/>
                  </a:lnTo>
                  <a:lnTo>
                    <a:pt x="176" y="68"/>
                  </a:lnTo>
                  <a:lnTo>
                    <a:pt x="178" y="67"/>
                  </a:lnTo>
                  <a:lnTo>
                    <a:pt x="180" y="67"/>
                  </a:lnTo>
                  <a:lnTo>
                    <a:pt x="181" y="66"/>
                  </a:lnTo>
                  <a:lnTo>
                    <a:pt x="181" y="65"/>
                  </a:lnTo>
                  <a:lnTo>
                    <a:pt x="182" y="65"/>
                  </a:lnTo>
                  <a:lnTo>
                    <a:pt x="183" y="64"/>
                  </a:lnTo>
                  <a:lnTo>
                    <a:pt x="184" y="63"/>
                  </a:lnTo>
                  <a:lnTo>
                    <a:pt x="185" y="61"/>
                  </a:lnTo>
                  <a:lnTo>
                    <a:pt x="185" y="59"/>
                  </a:lnTo>
                  <a:lnTo>
                    <a:pt x="185" y="57"/>
                  </a:lnTo>
                  <a:lnTo>
                    <a:pt x="186" y="55"/>
                  </a:lnTo>
                  <a:lnTo>
                    <a:pt x="186" y="52"/>
                  </a:lnTo>
                  <a:lnTo>
                    <a:pt x="186" y="45"/>
                  </a:lnTo>
                  <a:lnTo>
                    <a:pt x="185" y="42"/>
                  </a:lnTo>
                  <a:lnTo>
                    <a:pt x="185" y="39"/>
                  </a:lnTo>
                  <a:lnTo>
                    <a:pt x="183" y="30"/>
                  </a:lnTo>
                  <a:lnTo>
                    <a:pt x="182" y="24"/>
                  </a:lnTo>
                  <a:lnTo>
                    <a:pt x="182" y="20"/>
                  </a:lnTo>
                  <a:lnTo>
                    <a:pt x="182" y="17"/>
                  </a:lnTo>
                  <a:lnTo>
                    <a:pt x="182" y="14"/>
                  </a:lnTo>
                  <a:lnTo>
                    <a:pt x="183" y="11"/>
                  </a:lnTo>
                  <a:lnTo>
                    <a:pt x="183" y="9"/>
                  </a:lnTo>
                  <a:lnTo>
                    <a:pt x="185" y="4"/>
                  </a:lnTo>
                  <a:lnTo>
                    <a:pt x="186" y="2"/>
                  </a:lnTo>
                  <a:lnTo>
                    <a:pt x="186" y="0"/>
                  </a:lnTo>
                  <a:lnTo>
                    <a:pt x="18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9" name="Freeform 12">
              <a:extLst>
                <a:ext uri="{FF2B5EF4-FFF2-40B4-BE49-F238E27FC236}">
                  <a16:creationId xmlns:a16="http://schemas.microsoft.com/office/drawing/2014/main" id="{17EC19A9-919A-4979-BE3D-977FD54AD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0" y="1496"/>
              <a:ext cx="388" cy="509"/>
            </a:xfrm>
            <a:custGeom>
              <a:avLst/>
              <a:gdLst>
                <a:gd name="T0" fmla="*/ 219 w 388"/>
                <a:gd name="T1" fmla="*/ 10 h 509"/>
                <a:gd name="T2" fmla="*/ 239 w 388"/>
                <a:gd name="T3" fmla="*/ 25 h 509"/>
                <a:gd name="T4" fmla="*/ 252 w 388"/>
                <a:gd name="T5" fmla="*/ 19 h 509"/>
                <a:gd name="T6" fmla="*/ 274 w 388"/>
                <a:gd name="T7" fmla="*/ 23 h 509"/>
                <a:gd name="T8" fmla="*/ 308 w 388"/>
                <a:gd name="T9" fmla="*/ 58 h 509"/>
                <a:gd name="T10" fmla="*/ 336 w 388"/>
                <a:gd name="T11" fmla="*/ 72 h 509"/>
                <a:gd name="T12" fmla="*/ 343 w 388"/>
                <a:gd name="T13" fmla="*/ 95 h 509"/>
                <a:gd name="T14" fmla="*/ 360 w 388"/>
                <a:gd name="T15" fmla="*/ 103 h 509"/>
                <a:gd name="T16" fmla="*/ 379 w 388"/>
                <a:gd name="T17" fmla="*/ 113 h 509"/>
                <a:gd name="T18" fmla="*/ 362 w 388"/>
                <a:gd name="T19" fmla="*/ 135 h 509"/>
                <a:gd name="T20" fmla="*/ 370 w 388"/>
                <a:gd name="T21" fmla="*/ 161 h 509"/>
                <a:gd name="T22" fmla="*/ 374 w 388"/>
                <a:gd name="T23" fmla="*/ 195 h 509"/>
                <a:gd name="T24" fmla="*/ 387 w 388"/>
                <a:gd name="T25" fmla="*/ 224 h 509"/>
                <a:gd name="T26" fmla="*/ 379 w 388"/>
                <a:gd name="T27" fmla="*/ 254 h 509"/>
                <a:gd name="T28" fmla="*/ 363 w 388"/>
                <a:gd name="T29" fmla="*/ 275 h 509"/>
                <a:gd name="T30" fmla="*/ 355 w 388"/>
                <a:gd name="T31" fmla="*/ 288 h 509"/>
                <a:gd name="T32" fmla="*/ 366 w 388"/>
                <a:gd name="T33" fmla="*/ 318 h 509"/>
                <a:gd name="T34" fmla="*/ 332 w 388"/>
                <a:gd name="T35" fmla="*/ 328 h 509"/>
                <a:gd name="T36" fmla="*/ 319 w 388"/>
                <a:gd name="T37" fmla="*/ 339 h 509"/>
                <a:gd name="T38" fmla="*/ 303 w 388"/>
                <a:gd name="T39" fmla="*/ 359 h 509"/>
                <a:gd name="T40" fmla="*/ 279 w 388"/>
                <a:gd name="T41" fmla="*/ 374 h 509"/>
                <a:gd name="T42" fmla="*/ 260 w 388"/>
                <a:gd name="T43" fmla="*/ 411 h 509"/>
                <a:gd name="T44" fmla="*/ 247 w 388"/>
                <a:gd name="T45" fmla="*/ 438 h 509"/>
                <a:gd name="T46" fmla="*/ 209 w 388"/>
                <a:gd name="T47" fmla="*/ 435 h 509"/>
                <a:gd name="T48" fmla="*/ 160 w 388"/>
                <a:gd name="T49" fmla="*/ 419 h 509"/>
                <a:gd name="T50" fmla="*/ 139 w 388"/>
                <a:gd name="T51" fmla="*/ 419 h 509"/>
                <a:gd name="T52" fmla="*/ 126 w 388"/>
                <a:gd name="T53" fmla="*/ 436 h 509"/>
                <a:gd name="T54" fmla="*/ 104 w 388"/>
                <a:gd name="T55" fmla="*/ 453 h 509"/>
                <a:gd name="T56" fmla="*/ 93 w 388"/>
                <a:gd name="T57" fmla="*/ 489 h 509"/>
                <a:gd name="T58" fmla="*/ 67 w 388"/>
                <a:gd name="T59" fmla="*/ 508 h 509"/>
                <a:gd name="T60" fmla="*/ 49 w 388"/>
                <a:gd name="T61" fmla="*/ 502 h 509"/>
                <a:gd name="T62" fmla="*/ 47 w 388"/>
                <a:gd name="T63" fmla="*/ 480 h 509"/>
                <a:gd name="T64" fmla="*/ 70 w 388"/>
                <a:gd name="T65" fmla="*/ 443 h 509"/>
                <a:gd name="T66" fmla="*/ 71 w 388"/>
                <a:gd name="T67" fmla="*/ 419 h 509"/>
                <a:gd name="T68" fmla="*/ 41 w 388"/>
                <a:gd name="T69" fmla="*/ 393 h 509"/>
                <a:gd name="T70" fmla="*/ 14 w 388"/>
                <a:gd name="T71" fmla="*/ 385 h 509"/>
                <a:gd name="T72" fmla="*/ 3 w 388"/>
                <a:gd name="T73" fmla="*/ 374 h 509"/>
                <a:gd name="T74" fmla="*/ 0 w 388"/>
                <a:gd name="T75" fmla="*/ 354 h 509"/>
                <a:gd name="T76" fmla="*/ 8 w 388"/>
                <a:gd name="T77" fmla="*/ 334 h 509"/>
                <a:gd name="T78" fmla="*/ 39 w 388"/>
                <a:gd name="T79" fmla="*/ 327 h 509"/>
                <a:gd name="T80" fmla="*/ 65 w 388"/>
                <a:gd name="T81" fmla="*/ 317 h 509"/>
                <a:gd name="T82" fmla="*/ 62 w 388"/>
                <a:gd name="T83" fmla="*/ 296 h 509"/>
                <a:gd name="T84" fmla="*/ 46 w 388"/>
                <a:gd name="T85" fmla="*/ 275 h 509"/>
                <a:gd name="T86" fmla="*/ 53 w 388"/>
                <a:gd name="T87" fmla="*/ 257 h 509"/>
                <a:gd name="T88" fmla="*/ 38 w 388"/>
                <a:gd name="T89" fmla="*/ 230 h 509"/>
                <a:gd name="T90" fmla="*/ 25 w 388"/>
                <a:gd name="T91" fmla="*/ 211 h 509"/>
                <a:gd name="T92" fmla="*/ 37 w 388"/>
                <a:gd name="T93" fmla="*/ 182 h 509"/>
                <a:gd name="T94" fmla="*/ 46 w 388"/>
                <a:gd name="T95" fmla="*/ 172 h 509"/>
                <a:gd name="T96" fmla="*/ 37 w 388"/>
                <a:gd name="T97" fmla="*/ 158 h 509"/>
                <a:gd name="T98" fmla="*/ 62 w 388"/>
                <a:gd name="T99" fmla="*/ 126 h 509"/>
                <a:gd name="T100" fmla="*/ 81 w 388"/>
                <a:gd name="T101" fmla="*/ 109 h 509"/>
                <a:gd name="T102" fmla="*/ 88 w 388"/>
                <a:gd name="T103" fmla="*/ 80 h 509"/>
                <a:gd name="T104" fmla="*/ 112 w 388"/>
                <a:gd name="T105" fmla="*/ 79 h 509"/>
                <a:gd name="T106" fmla="*/ 142 w 388"/>
                <a:gd name="T107" fmla="*/ 85 h 509"/>
                <a:gd name="T108" fmla="*/ 158 w 388"/>
                <a:gd name="T109" fmla="*/ 71 h 509"/>
                <a:gd name="T110" fmla="*/ 164 w 388"/>
                <a:gd name="T111" fmla="*/ 55 h 509"/>
                <a:gd name="T112" fmla="*/ 193 w 388"/>
                <a:gd name="T113" fmla="*/ 37 h 509"/>
                <a:gd name="T114" fmla="*/ 202 w 388"/>
                <a:gd name="T115" fmla="*/ 10 h 509"/>
                <a:gd name="T116" fmla="*/ 202 w 388"/>
                <a:gd name="T117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8" h="509">
                  <a:moveTo>
                    <a:pt x="204" y="0"/>
                  </a:moveTo>
                  <a:lnTo>
                    <a:pt x="206" y="0"/>
                  </a:lnTo>
                  <a:lnTo>
                    <a:pt x="207" y="0"/>
                  </a:lnTo>
                  <a:lnTo>
                    <a:pt x="207" y="0"/>
                  </a:lnTo>
                  <a:lnTo>
                    <a:pt x="209" y="0"/>
                  </a:lnTo>
                  <a:lnTo>
                    <a:pt x="211" y="2"/>
                  </a:lnTo>
                  <a:lnTo>
                    <a:pt x="213" y="3"/>
                  </a:lnTo>
                  <a:lnTo>
                    <a:pt x="218" y="8"/>
                  </a:lnTo>
                  <a:lnTo>
                    <a:pt x="219" y="10"/>
                  </a:lnTo>
                  <a:lnTo>
                    <a:pt x="222" y="12"/>
                  </a:lnTo>
                  <a:lnTo>
                    <a:pt x="228" y="16"/>
                  </a:lnTo>
                  <a:lnTo>
                    <a:pt x="229" y="18"/>
                  </a:lnTo>
                  <a:lnTo>
                    <a:pt x="231" y="20"/>
                  </a:lnTo>
                  <a:lnTo>
                    <a:pt x="233" y="22"/>
                  </a:lnTo>
                  <a:lnTo>
                    <a:pt x="234" y="23"/>
                  </a:lnTo>
                  <a:lnTo>
                    <a:pt x="235" y="24"/>
                  </a:lnTo>
                  <a:lnTo>
                    <a:pt x="237" y="25"/>
                  </a:lnTo>
                  <a:lnTo>
                    <a:pt x="239" y="25"/>
                  </a:lnTo>
                  <a:lnTo>
                    <a:pt x="240" y="25"/>
                  </a:lnTo>
                  <a:lnTo>
                    <a:pt x="241" y="25"/>
                  </a:lnTo>
                  <a:lnTo>
                    <a:pt x="242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7" y="22"/>
                  </a:lnTo>
                  <a:lnTo>
                    <a:pt x="251" y="20"/>
                  </a:lnTo>
                  <a:lnTo>
                    <a:pt x="252" y="20"/>
                  </a:lnTo>
                  <a:lnTo>
                    <a:pt x="252" y="19"/>
                  </a:lnTo>
                  <a:lnTo>
                    <a:pt x="254" y="19"/>
                  </a:lnTo>
                  <a:lnTo>
                    <a:pt x="256" y="19"/>
                  </a:lnTo>
                  <a:lnTo>
                    <a:pt x="258" y="19"/>
                  </a:lnTo>
                  <a:lnTo>
                    <a:pt x="265" y="20"/>
                  </a:lnTo>
                  <a:lnTo>
                    <a:pt x="269" y="21"/>
                  </a:lnTo>
                  <a:lnTo>
                    <a:pt x="271" y="22"/>
                  </a:lnTo>
                  <a:lnTo>
                    <a:pt x="272" y="22"/>
                  </a:lnTo>
                  <a:lnTo>
                    <a:pt x="273" y="22"/>
                  </a:lnTo>
                  <a:lnTo>
                    <a:pt x="274" y="23"/>
                  </a:lnTo>
                  <a:lnTo>
                    <a:pt x="277" y="27"/>
                  </a:lnTo>
                  <a:lnTo>
                    <a:pt x="279" y="29"/>
                  </a:lnTo>
                  <a:lnTo>
                    <a:pt x="285" y="35"/>
                  </a:lnTo>
                  <a:lnTo>
                    <a:pt x="295" y="46"/>
                  </a:lnTo>
                  <a:lnTo>
                    <a:pt x="298" y="51"/>
                  </a:lnTo>
                  <a:lnTo>
                    <a:pt x="300" y="54"/>
                  </a:lnTo>
                  <a:lnTo>
                    <a:pt x="303" y="56"/>
                  </a:lnTo>
                  <a:lnTo>
                    <a:pt x="306" y="57"/>
                  </a:lnTo>
                  <a:lnTo>
                    <a:pt x="308" y="58"/>
                  </a:lnTo>
                  <a:lnTo>
                    <a:pt x="311" y="60"/>
                  </a:lnTo>
                  <a:lnTo>
                    <a:pt x="319" y="62"/>
                  </a:lnTo>
                  <a:lnTo>
                    <a:pt x="321" y="63"/>
                  </a:lnTo>
                  <a:lnTo>
                    <a:pt x="324" y="64"/>
                  </a:lnTo>
                  <a:lnTo>
                    <a:pt x="326" y="65"/>
                  </a:lnTo>
                  <a:lnTo>
                    <a:pt x="327" y="66"/>
                  </a:lnTo>
                  <a:lnTo>
                    <a:pt x="328" y="67"/>
                  </a:lnTo>
                  <a:lnTo>
                    <a:pt x="333" y="70"/>
                  </a:lnTo>
                  <a:lnTo>
                    <a:pt x="336" y="72"/>
                  </a:lnTo>
                  <a:lnTo>
                    <a:pt x="337" y="74"/>
                  </a:lnTo>
                  <a:lnTo>
                    <a:pt x="338" y="75"/>
                  </a:lnTo>
                  <a:lnTo>
                    <a:pt x="339" y="76"/>
                  </a:lnTo>
                  <a:lnTo>
                    <a:pt x="339" y="78"/>
                  </a:lnTo>
                  <a:lnTo>
                    <a:pt x="340" y="80"/>
                  </a:lnTo>
                  <a:lnTo>
                    <a:pt x="342" y="88"/>
                  </a:lnTo>
                  <a:lnTo>
                    <a:pt x="342" y="90"/>
                  </a:lnTo>
                  <a:lnTo>
                    <a:pt x="343" y="93"/>
                  </a:lnTo>
                  <a:lnTo>
                    <a:pt x="343" y="95"/>
                  </a:lnTo>
                  <a:lnTo>
                    <a:pt x="344" y="97"/>
                  </a:lnTo>
                  <a:lnTo>
                    <a:pt x="345" y="98"/>
                  </a:lnTo>
                  <a:lnTo>
                    <a:pt x="346" y="99"/>
                  </a:lnTo>
                  <a:lnTo>
                    <a:pt x="348" y="100"/>
                  </a:lnTo>
                  <a:lnTo>
                    <a:pt x="349" y="101"/>
                  </a:lnTo>
                  <a:lnTo>
                    <a:pt x="351" y="101"/>
                  </a:lnTo>
                  <a:lnTo>
                    <a:pt x="354" y="102"/>
                  </a:lnTo>
                  <a:lnTo>
                    <a:pt x="358" y="103"/>
                  </a:lnTo>
                  <a:lnTo>
                    <a:pt x="360" y="103"/>
                  </a:lnTo>
                  <a:lnTo>
                    <a:pt x="363" y="103"/>
                  </a:lnTo>
                  <a:lnTo>
                    <a:pt x="365" y="104"/>
                  </a:lnTo>
                  <a:lnTo>
                    <a:pt x="366" y="104"/>
                  </a:lnTo>
                  <a:lnTo>
                    <a:pt x="368" y="105"/>
                  </a:lnTo>
                  <a:lnTo>
                    <a:pt x="370" y="106"/>
                  </a:lnTo>
                  <a:lnTo>
                    <a:pt x="372" y="107"/>
                  </a:lnTo>
                  <a:lnTo>
                    <a:pt x="375" y="109"/>
                  </a:lnTo>
                  <a:lnTo>
                    <a:pt x="378" y="112"/>
                  </a:lnTo>
                  <a:lnTo>
                    <a:pt x="379" y="113"/>
                  </a:lnTo>
                  <a:lnTo>
                    <a:pt x="380" y="113"/>
                  </a:lnTo>
                  <a:lnTo>
                    <a:pt x="378" y="114"/>
                  </a:lnTo>
                  <a:lnTo>
                    <a:pt x="375" y="118"/>
                  </a:lnTo>
                  <a:lnTo>
                    <a:pt x="369" y="124"/>
                  </a:lnTo>
                  <a:lnTo>
                    <a:pt x="367" y="126"/>
                  </a:lnTo>
                  <a:lnTo>
                    <a:pt x="366" y="128"/>
                  </a:lnTo>
                  <a:lnTo>
                    <a:pt x="364" y="131"/>
                  </a:lnTo>
                  <a:lnTo>
                    <a:pt x="363" y="133"/>
                  </a:lnTo>
                  <a:lnTo>
                    <a:pt x="362" y="135"/>
                  </a:lnTo>
                  <a:lnTo>
                    <a:pt x="362" y="136"/>
                  </a:lnTo>
                  <a:lnTo>
                    <a:pt x="362" y="137"/>
                  </a:lnTo>
                  <a:lnTo>
                    <a:pt x="362" y="139"/>
                  </a:lnTo>
                  <a:lnTo>
                    <a:pt x="363" y="141"/>
                  </a:lnTo>
                  <a:lnTo>
                    <a:pt x="364" y="144"/>
                  </a:lnTo>
                  <a:lnTo>
                    <a:pt x="366" y="149"/>
                  </a:lnTo>
                  <a:lnTo>
                    <a:pt x="367" y="153"/>
                  </a:lnTo>
                  <a:lnTo>
                    <a:pt x="368" y="156"/>
                  </a:lnTo>
                  <a:lnTo>
                    <a:pt x="370" y="161"/>
                  </a:lnTo>
                  <a:lnTo>
                    <a:pt x="373" y="167"/>
                  </a:lnTo>
                  <a:lnTo>
                    <a:pt x="373" y="170"/>
                  </a:lnTo>
                  <a:lnTo>
                    <a:pt x="373" y="170"/>
                  </a:lnTo>
                  <a:lnTo>
                    <a:pt x="373" y="171"/>
                  </a:lnTo>
                  <a:lnTo>
                    <a:pt x="373" y="178"/>
                  </a:lnTo>
                  <a:lnTo>
                    <a:pt x="373" y="189"/>
                  </a:lnTo>
                  <a:lnTo>
                    <a:pt x="373" y="192"/>
                  </a:lnTo>
                  <a:lnTo>
                    <a:pt x="374" y="194"/>
                  </a:lnTo>
                  <a:lnTo>
                    <a:pt x="374" y="195"/>
                  </a:lnTo>
                  <a:lnTo>
                    <a:pt x="374" y="197"/>
                  </a:lnTo>
                  <a:lnTo>
                    <a:pt x="375" y="199"/>
                  </a:lnTo>
                  <a:lnTo>
                    <a:pt x="377" y="201"/>
                  </a:lnTo>
                  <a:lnTo>
                    <a:pt x="378" y="204"/>
                  </a:lnTo>
                  <a:lnTo>
                    <a:pt x="380" y="206"/>
                  </a:lnTo>
                  <a:lnTo>
                    <a:pt x="381" y="208"/>
                  </a:lnTo>
                  <a:lnTo>
                    <a:pt x="383" y="212"/>
                  </a:lnTo>
                  <a:lnTo>
                    <a:pt x="384" y="215"/>
                  </a:lnTo>
                  <a:lnTo>
                    <a:pt x="387" y="224"/>
                  </a:lnTo>
                  <a:lnTo>
                    <a:pt x="388" y="228"/>
                  </a:lnTo>
                  <a:lnTo>
                    <a:pt x="388" y="230"/>
                  </a:lnTo>
                  <a:lnTo>
                    <a:pt x="388" y="234"/>
                  </a:lnTo>
                  <a:lnTo>
                    <a:pt x="388" y="237"/>
                  </a:lnTo>
                  <a:lnTo>
                    <a:pt x="387" y="240"/>
                  </a:lnTo>
                  <a:lnTo>
                    <a:pt x="386" y="244"/>
                  </a:lnTo>
                  <a:lnTo>
                    <a:pt x="385" y="246"/>
                  </a:lnTo>
                  <a:lnTo>
                    <a:pt x="383" y="248"/>
                  </a:lnTo>
                  <a:lnTo>
                    <a:pt x="379" y="254"/>
                  </a:lnTo>
                  <a:lnTo>
                    <a:pt x="378" y="257"/>
                  </a:lnTo>
                  <a:lnTo>
                    <a:pt x="377" y="259"/>
                  </a:lnTo>
                  <a:lnTo>
                    <a:pt x="374" y="266"/>
                  </a:lnTo>
                  <a:lnTo>
                    <a:pt x="373" y="268"/>
                  </a:lnTo>
                  <a:lnTo>
                    <a:pt x="373" y="269"/>
                  </a:lnTo>
                  <a:lnTo>
                    <a:pt x="372" y="270"/>
                  </a:lnTo>
                  <a:lnTo>
                    <a:pt x="370" y="272"/>
                  </a:lnTo>
                  <a:lnTo>
                    <a:pt x="368" y="272"/>
                  </a:lnTo>
                  <a:lnTo>
                    <a:pt x="363" y="275"/>
                  </a:lnTo>
                  <a:lnTo>
                    <a:pt x="361" y="276"/>
                  </a:lnTo>
                  <a:lnTo>
                    <a:pt x="360" y="277"/>
                  </a:lnTo>
                  <a:lnTo>
                    <a:pt x="358" y="279"/>
                  </a:lnTo>
                  <a:lnTo>
                    <a:pt x="357" y="281"/>
                  </a:lnTo>
                  <a:lnTo>
                    <a:pt x="356" y="283"/>
                  </a:lnTo>
                  <a:lnTo>
                    <a:pt x="355" y="284"/>
                  </a:lnTo>
                  <a:lnTo>
                    <a:pt x="355" y="285"/>
                  </a:lnTo>
                  <a:lnTo>
                    <a:pt x="355" y="287"/>
                  </a:lnTo>
                  <a:lnTo>
                    <a:pt x="355" y="288"/>
                  </a:lnTo>
                  <a:lnTo>
                    <a:pt x="356" y="290"/>
                  </a:lnTo>
                  <a:lnTo>
                    <a:pt x="356" y="292"/>
                  </a:lnTo>
                  <a:lnTo>
                    <a:pt x="357" y="294"/>
                  </a:lnTo>
                  <a:lnTo>
                    <a:pt x="362" y="303"/>
                  </a:lnTo>
                  <a:lnTo>
                    <a:pt x="363" y="306"/>
                  </a:lnTo>
                  <a:lnTo>
                    <a:pt x="364" y="309"/>
                  </a:lnTo>
                  <a:lnTo>
                    <a:pt x="365" y="315"/>
                  </a:lnTo>
                  <a:lnTo>
                    <a:pt x="366" y="317"/>
                  </a:lnTo>
                  <a:lnTo>
                    <a:pt x="366" y="318"/>
                  </a:lnTo>
                  <a:lnTo>
                    <a:pt x="365" y="318"/>
                  </a:lnTo>
                  <a:lnTo>
                    <a:pt x="364" y="319"/>
                  </a:lnTo>
                  <a:lnTo>
                    <a:pt x="363" y="320"/>
                  </a:lnTo>
                  <a:lnTo>
                    <a:pt x="356" y="322"/>
                  </a:lnTo>
                  <a:lnTo>
                    <a:pt x="350" y="325"/>
                  </a:lnTo>
                  <a:lnTo>
                    <a:pt x="347" y="326"/>
                  </a:lnTo>
                  <a:lnTo>
                    <a:pt x="345" y="326"/>
                  </a:lnTo>
                  <a:lnTo>
                    <a:pt x="336" y="328"/>
                  </a:lnTo>
                  <a:lnTo>
                    <a:pt x="332" y="328"/>
                  </a:lnTo>
                  <a:lnTo>
                    <a:pt x="327" y="329"/>
                  </a:lnTo>
                  <a:lnTo>
                    <a:pt x="325" y="330"/>
                  </a:lnTo>
                  <a:lnTo>
                    <a:pt x="323" y="331"/>
                  </a:lnTo>
                  <a:lnTo>
                    <a:pt x="322" y="332"/>
                  </a:lnTo>
                  <a:lnTo>
                    <a:pt x="321" y="333"/>
                  </a:lnTo>
                  <a:lnTo>
                    <a:pt x="320" y="334"/>
                  </a:lnTo>
                  <a:lnTo>
                    <a:pt x="320" y="336"/>
                  </a:lnTo>
                  <a:lnTo>
                    <a:pt x="319" y="337"/>
                  </a:lnTo>
                  <a:lnTo>
                    <a:pt x="319" y="339"/>
                  </a:lnTo>
                  <a:lnTo>
                    <a:pt x="318" y="343"/>
                  </a:lnTo>
                  <a:lnTo>
                    <a:pt x="317" y="344"/>
                  </a:lnTo>
                  <a:lnTo>
                    <a:pt x="317" y="345"/>
                  </a:lnTo>
                  <a:lnTo>
                    <a:pt x="315" y="346"/>
                  </a:lnTo>
                  <a:lnTo>
                    <a:pt x="312" y="350"/>
                  </a:lnTo>
                  <a:lnTo>
                    <a:pt x="309" y="353"/>
                  </a:lnTo>
                  <a:lnTo>
                    <a:pt x="307" y="355"/>
                  </a:lnTo>
                  <a:lnTo>
                    <a:pt x="304" y="358"/>
                  </a:lnTo>
                  <a:lnTo>
                    <a:pt x="303" y="359"/>
                  </a:lnTo>
                  <a:lnTo>
                    <a:pt x="302" y="360"/>
                  </a:lnTo>
                  <a:lnTo>
                    <a:pt x="300" y="362"/>
                  </a:lnTo>
                  <a:lnTo>
                    <a:pt x="298" y="364"/>
                  </a:lnTo>
                  <a:lnTo>
                    <a:pt x="297" y="365"/>
                  </a:lnTo>
                  <a:lnTo>
                    <a:pt x="296" y="366"/>
                  </a:lnTo>
                  <a:lnTo>
                    <a:pt x="292" y="368"/>
                  </a:lnTo>
                  <a:lnTo>
                    <a:pt x="288" y="370"/>
                  </a:lnTo>
                  <a:lnTo>
                    <a:pt x="283" y="373"/>
                  </a:lnTo>
                  <a:lnTo>
                    <a:pt x="279" y="374"/>
                  </a:lnTo>
                  <a:lnTo>
                    <a:pt x="275" y="376"/>
                  </a:lnTo>
                  <a:lnTo>
                    <a:pt x="274" y="377"/>
                  </a:lnTo>
                  <a:lnTo>
                    <a:pt x="273" y="378"/>
                  </a:lnTo>
                  <a:lnTo>
                    <a:pt x="272" y="380"/>
                  </a:lnTo>
                  <a:lnTo>
                    <a:pt x="271" y="382"/>
                  </a:lnTo>
                  <a:lnTo>
                    <a:pt x="267" y="391"/>
                  </a:lnTo>
                  <a:lnTo>
                    <a:pt x="264" y="399"/>
                  </a:lnTo>
                  <a:lnTo>
                    <a:pt x="263" y="403"/>
                  </a:lnTo>
                  <a:lnTo>
                    <a:pt x="260" y="411"/>
                  </a:lnTo>
                  <a:lnTo>
                    <a:pt x="258" y="414"/>
                  </a:lnTo>
                  <a:lnTo>
                    <a:pt x="257" y="418"/>
                  </a:lnTo>
                  <a:lnTo>
                    <a:pt x="254" y="428"/>
                  </a:lnTo>
                  <a:lnTo>
                    <a:pt x="252" y="432"/>
                  </a:lnTo>
                  <a:lnTo>
                    <a:pt x="252" y="433"/>
                  </a:lnTo>
                  <a:lnTo>
                    <a:pt x="251" y="435"/>
                  </a:lnTo>
                  <a:lnTo>
                    <a:pt x="250" y="436"/>
                  </a:lnTo>
                  <a:lnTo>
                    <a:pt x="249" y="437"/>
                  </a:lnTo>
                  <a:lnTo>
                    <a:pt x="247" y="438"/>
                  </a:lnTo>
                  <a:lnTo>
                    <a:pt x="245" y="439"/>
                  </a:lnTo>
                  <a:lnTo>
                    <a:pt x="242" y="439"/>
                  </a:lnTo>
                  <a:lnTo>
                    <a:pt x="239" y="439"/>
                  </a:lnTo>
                  <a:lnTo>
                    <a:pt x="233" y="439"/>
                  </a:lnTo>
                  <a:lnTo>
                    <a:pt x="229" y="439"/>
                  </a:lnTo>
                  <a:lnTo>
                    <a:pt x="225" y="439"/>
                  </a:lnTo>
                  <a:lnTo>
                    <a:pt x="219" y="438"/>
                  </a:lnTo>
                  <a:lnTo>
                    <a:pt x="214" y="437"/>
                  </a:lnTo>
                  <a:lnTo>
                    <a:pt x="209" y="435"/>
                  </a:lnTo>
                  <a:lnTo>
                    <a:pt x="205" y="434"/>
                  </a:lnTo>
                  <a:lnTo>
                    <a:pt x="193" y="430"/>
                  </a:lnTo>
                  <a:lnTo>
                    <a:pt x="189" y="428"/>
                  </a:lnTo>
                  <a:lnTo>
                    <a:pt x="185" y="427"/>
                  </a:lnTo>
                  <a:lnTo>
                    <a:pt x="177" y="425"/>
                  </a:lnTo>
                  <a:lnTo>
                    <a:pt x="173" y="424"/>
                  </a:lnTo>
                  <a:lnTo>
                    <a:pt x="171" y="423"/>
                  </a:lnTo>
                  <a:lnTo>
                    <a:pt x="163" y="420"/>
                  </a:lnTo>
                  <a:lnTo>
                    <a:pt x="160" y="419"/>
                  </a:lnTo>
                  <a:lnTo>
                    <a:pt x="157" y="419"/>
                  </a:lnTo>
                  <a:lnTo>
                    <a:pt x="155" y="418"/>
                  </a:lnTo>
                  <a:lnTo>
                    <a:pt x="153" y="418"/>
                  </a:lnTo>
                  <a:lnTo>
                    <a:pt x="150" y="418"/>
                  </a:lnTo>
                  <a:lnTo>
                    <a:pt x="148" y="418"/>
                  </a:lnTo>
                  <a:lnTo>
                    <a:pt x="145" y="419"/>
                  </a:lnTo>
                  <a:lnTo>
                    <a:pt x="143" y="419"/>
                  </a:lnTo>
                  <a:lnTo>
                    <a:pt x="141" y="419"/>
                  </a:lnTo>
                  <a:lnTo>
                    <a:pt x="139" y="419"/>
                  </a:lnTo>
                  <a:lnTo>
                    <a:pt x="135" y="422"/>
                  </a:lnTo>
                  <a:lnTo>
                    <a:pt x="134" y="422"/>
                  </a:lnTo>
                  <a:lnTo>
                    <a:pt x="133" y="423"/>
                  </a:lnTo>
                  <a:lnTo>
                    <a:pt x="132" y="424"/>
                  </a:lnTo>
                  <a:lnTo>
                    <a:pt x="132" y="425"/>
                  </a:lnTo>
                  <a:lnTo>
                    <a:pt x="130" y="429"/>
                  </a:lnTo>
                  <a:lnTo>
                    <a:pt x="130" y="430"/>
                  </a:lnTo>
                  <a:lnTo>
                    <a:pt x="127" y="434"/>
                  </a:lnTo>
                  <a:lnTo>
                    <a:pt x="126" y="436"/>
                  </a:lnTo>
                  <a:lnTo>
                    <a:pt x="124" y="437"/>
                  </a:lnTo>
                  <a:lnTo>
                    <a:pt x="122" y="439"/>
                  </a:lnTo>
                  <a:lnTo>
                    <a:pt x="115" y="443"/>
                  </a:lnTo>
                  <a:lnTo>
                    <a:pt x="111" y="445"/>
                  </a:lnTo>
                  <a:lnTo>
                    <a:pt x="109" y="447"/>
                  </a:lnTo>
                  <a:lnTo>
                    <a:pt x="108" y="448"/>
                  </a:lnTo>
                  <a:lnTo>
                    <a:pt x="107" y="450"/>
                  </a:lnTo>
                  <a:lnTo>
                    <a:pt x="106" y="451"/>
                  </a:lnTo>
                  <a:lnTo>
                    <a:pt x="104" y="453"/>
                  </a:lnTo>
                  <a:lnTo>
                    <a:pt x="104" y="456"/>
                  </a:lnTo>
                  <a:lnTo>
                    <a:pt x="102" y="459"/>
                  </a:lnTo>
                  <a:lnTo>
                    <a:pt x="101" y="462"/>
                  </a:lnTo>
                  <a:lnTo>
                    <a:pt x="100" y="465"/>
                  </a:lnTo>
                  <a:lnTo>
                    <a:pt x="99" y="469"/>
                  </a:lnTo>
                  <a:lnTo>
                    <a:pt x="97" y="479"/>
                  </a:lnTo>
                  <a:lnTo>
                    <a:pt x="96" y="482"/>
                  </a:lnTo>
                  <a:lnTo>
                    <a:pt x="95" y="486"/>
                  </a:lnTo>
                  <a:lnTo>
                    <a:pt x="93" y="489"/>
                  </a:lnTo>
                  <a:lnTo>
                    <a:pt x="93" y="490"/>
                  </a:lnTo>
                  <a:lnTo>
                    <a:pt x="89" y="494"/>
                  </a:lnTo>
                  <a:lnTo>
                    <a:pt x="86" y="497"/>
                  </a:lnTo>
                  <a:lnTo>
                    <a:pt x="83" y="498"/>
                  </a:lnTo>
                  <a:lnTo>
                    <a:pt x="81" y="501"/>
                  </a:lnTo>
                  <a:lnTo>
                    <a:pt x="77" y="503"/>
                  </a:lnTo>
                  <a:lnTo>
                    <a:pt x="73" y="505"/>
                  </a:lnTo>
                  <a:lnTo>
                    <a:pt x="70" y="507"/>
                  </a:lnTo>
                  <a:lnTo>
                    <a:pt x="67" y="508"/>
                  </a:lnTo>
                  <a:lnTo>
                    <a:pt x="64" y="508"/>
                  </a:lnTo>
                  <a:lnTo>
                    <a:pt x="61" y="509"/>
                  </a:lnTo>
                  <a:lnTo>
                    <a:pt x="59" y="509"/>
                  </a:lnTo>
                  <a:lnTo>
                    <a:pt x="57" y="508"/>
                  </a:lnTo>
                  <a:lnTo>
                    <a:pt x="55" y="507"/>
                  </a:lnTo>
                  <a:lnTo>
                    <a:pt x="54" y="507"/>
                  </a:lnTo>
                  <a:lnTo>
                    <a:pt x="52" y="506"/>
                  </a:lnTo>
                  <a:lnTo>
                    <a:pt x="51" y="504"/>
                  </a:lnTo>
                  <a:lnTo>
                    <a:pt x="49" y="502"/>
                  </a:lnTo>
                  <a:lnTo>
                    <a:pt x="48" y="500"/>
                  </a:lnTo>
                  <a:lnTo>
                    <a:pt x="47" y="498"/>
                  </a:lnTo>
                  <a:lnTo>
                    <a:pt x="46" y="495"/>
                  </a:lnTo>
                  <a:lnTo>
                    <a:pt x="46" y="493"/>
                  </a:lnTo>
                  <a:lnTo>
                    <a:pt x="45" y="490"/>
                  </a:lnTo>
                  <a:lnTo>
                    <a:pt x="45" y="487"/>
                  </a:lnTo>
                  <a:lnTo>
                    <a:pt x="45" y="485"/>
                  </a:lnTo>
                  <a:lnTo>
                    <a:pt x="46" y="482"/>
                  </a:lnTo>
                  <a:lnTo>
                    <a:pt x="47" y="480"/>
                  </a:lnTo>
                  <a:lnTo>
                    <a:pt x="47" y="478"/>
                  </a:lnTo>
                  <a:lnTo>
                    <a:pt x="49" y="474"/>
                  </a:lnTo>
                  <a:lnTo>
                    <a:pt x="53" y="468"/>
                  </a:lnTo>
                  <a:lnTo>
                    <a:pt x="60" y="459"/>
                  </a:lnTo>
                  <a:lnTo>
                    <a:pt x="64" y="453"/>
                  </a:lnTo>
                  <a:lnTo>
                    <a:pt x="66" y="451"/>
                  </a:lnTo>
                  <a:lnTo>
                    <a:pt x="68" y="448"/>
                  </a:lnTo>
                  <a:lnTo>
                    <a:pt x="69" y="446"/>
                  </a:lnTo>
                  <a:lnTo>
                    <a:pt x="70" y="443"/>
                  </a:lnTo>
                  <a:lnTo>
                    <a:pt x="71" y="441"/>
                  </a:lnTo>
                  <a:lnTo>
                    <a:pt x="72" y="438"/>
                  </a:lnTo>
                  <a:lnTo>
                    <a:pt x="72" y="436"/>
                  </a:lnTo>
                  <a:lnTo>
                    <a:pt x="73" y="433"/>
                  </a:lnTo>
                  <a:lnTo>
                    <a:pt x="73" y="430"/>
                  </a:lnTo>
                  <a:lnTo>
                    <a:pt x="73" y="427"/>
                  </a:lnTo>
                  <a:lnTo>
                    <a:pt x="72" y="423"/>
                  </a:lnTo>
                  <a:lnTo>
                    <a:pt x="72" y="421"/>
                  </a:lnTo>
                  <a:lnTo>
                    <a:pt x="71" y="419"/>
                  </a:lnTo>
                  <a:lnTo>
                    <a:pt x="70" y="417"/>
                  </a:lnTo>
                  <a:lnTo>
                    <a:pt x="70" y="415"/>
                  </a:lnTo>
                  <a:lnTo>
                    <a:pt x="68" y="413"/>
                  </a:lnTo>
                  <a:lnTo>
                    <a:pt x="59" y="404"/>
                  </a:lnTo>
                  <a:lnTo>
                    <a:pt x="56" y="400"/>
                  </a:lnTo>
                  <a:lnTo>
                    <a:pt x="54" y="398"/>
                  </a:lnTo>
                  <a:lnTo>
                    <a:pt x="52" y="397"/>
                  </a:lnTo>
                  <a:lnTo>
                    <a:pt x="51" y="397"/>
                  </a:lnTo>
                  <a:lnTo>
                    <a:pt x="41" y="393"/>
                  </a:lnTo>
                  <a:lnTo>
                    <a:pt x="34" y="389"/>
                  </a:lnTo>
                  <a:lnTo>
                    <a:pt x="30" y="387"/>
                  </a:lnTo>
                  <a:lnTo>
                    <a:pt x="26" y="386"/>
                  </a:lnTo>
                  <a:lnTo>
                    <a:pt x="23" y="385"/>
                  </a:lnTo>
                  <a:lnTo>
                    <a:pt x="20" y="385"/>
                  </a:lnTo>
                  <a:lnTo>
                    <a:pt x="18" y="384"/>
                  </a:lnTo>
                  <a:lnTo>
                    <a:pt x="17" y="384"/>
                  </a:lnTo>
                  <a:lnTo>
                    <a:pt x="16" y="384"/>
                  </a:lnTo>
                  <a:lnTo>
                    <a:pt x="14" y="385"/>
                  </a:lnTo>
                  <a:lnTo>
                    <a:pt x="13" y="385"/>
                  </a:lnTo>
                  <a:lnTo>
                    <a:pt x="12" y="384"/>
                  </a:lnTo>
                  <a:lnTo>
                    <a:pt x="10" y="383"/>
                  </a:lnTo>
                  <a:lnTo>
                    <a:pt x="9" y="382"/>
                  </a:lnTo>
                  <a:lnTo>
                    <a:pt x="7" y="381"/>
                  </a:lnTo>
                  <a:lnTo>
                    <a:pt x="6" y="379"/>
                  </a:lnTo>
                  <a:lnTo>
                    <a:pt x="5" y="378"/>
                  </a:lnTo>
                  <a:lnTo>
                    <a:pt x="4" y="376"/>
                  </a:lnTo>
                  <a:lnTo>
                    <a:pt x="3" y="374"/>
                  </a:lnTo>
                  <a:lnTo>
                    <a:pt x="3" y="373"/>
                  </a:lnTo>
                  <a:lnTo>
                    <a:pt x="3" y="371"/>
                  </a:lnTo>
                  <a:lnTo>
                    <a:pt x="3" y="366"/>
                  </a:lnTo>
                  <a:lnTo>
                    <a:pt x="3" y="364"/>
                  </a:lnTo>
                  <a:lnTo>
                    <a:pt x="2" y="362"/>
                  </a:lnTo>
                  <a:lnTo>
                    <a:pt x="1" y="359"/>
                  </a:lnTo>
                  <a:lnTo>
                    <a:pt x="1" y="358"/>
                  </a:lnTo>
                  <a:lnTo>
                    <a:pt x="0" y="356"/>
                  </a:lnTo>
                  <a:lnTo>
                    <a:pt x="0" y="354"/>
                  </a:lnTo>
                  <a:lnTo>
                    <a:pt x="0" y="351"/>
                  </a:lnTo>
                  <a:lnTo>
                    <a:pt x="0" y="350"/>
                  </a:lnTo>
                  <a:lnTo>
                    <a:pt x="1" y="347"/>
                  </a:lnTo>
                  <a:lnTo>
                    <a:pt x="2" y="344"/>
                  </a:lnTo>
                  <a:lnTo>
                    <a:pt x="2" y="342"/>
                  </a:lnTo>
                  <a:lnTo>
                    <a:pt x="4" y="340"/>
                  </a:lnTo>
                  <a:lnTo>
                    <a:pt x="5" y="337"/>
                  </a:lnTo>
                  <a:lnTo>
                    <a:pt x="7" y="335"/>
                  </a:lnTo>
                  <a:lnTo>
                    <a:pt x="8" y="334"/>
                  </a:lnTo>
                  <a:lnTo>
                    <a:pt x="10" y="333"/>
                  </a:lnTo>
                  <a:lnTo>
                    <a:pt x="13" y="332"/>
                  </a:lnTo>
                  <a:lnTo>
                    <a:pt x="14" y="332"/>
                  </a:lnTo>
                  <a:lnTo>
                    <a:pt x="21" y="331"/>
                  </a:lnTo>
                  <a:lnTo>
                    <a:pt x="25" y="330"/>
                  </a:lnTo>
                  <a:lnTo>
                    <a:pt x="28" y="329"/>
                  </a:lnTo>
                  <a:lnTo>
                    <a:pt x="33" y="328"/>
                  </a:lnTo>
                  <a:lnTo>
                    <a:pt x="35" y="328"/>
                  </a:lnTo>
                  <a:lnTo>
                    <a:pt x="39" y="327"/>
                  </a:lnTo>
                  <a:lnTo>
                    <a:pt x="42" y="327"/>
                  </a:lnTo>
                  <a:lnTo>
                    <a:pt x="48" y="327"/>
                  </a:lnTo>
                  <a:lnTo>
                    <a:pt x="51" y="326"/>
                  </a:lnTo>
                  <a:lnTo>
                    <a:pt x="54" y="325"/>
                  </a:lnTo>
                  <a:lnTo>
                    <a:pt x="57" y="324"/>
                  </a:lnTo>
                  <a:lnTo>
                    <a:pt x="60" y="320"/>
                  </a:lnTo>
                  <a:lnTo>
                    <a:pt x="62" y="319"/>
                  </a:lnTo>
                  <a:lnTo>
                    <a:pt x="64" y="317"/>
                  </a:lnTo>
                  <a:lnTo>
                    <a:pt x="65" y="317"/>
                  </a:lnTo>
                  <a:lnTo>
                    <a:pt x="66" y="314"/>
                  </a:lnTo>
                  <a:lnTo>
                    <a:pt x="67" y="311"/>
                  </a:lnTo>
                  <a:lnTo>
                    <a:pt x="67" y="308"/>
                  </a:lnTo>
                  <a:lnTo>
                    <a:pt x="67" y="306"/>
                  </a:lnTo>
                  <a:lnTo>
                    <a:pt x="67" y="304"/>
                  </a:lnTo>
                  <a:lnTo>
                    <a:pt x="66" y="302"/>
                  </a:lnTo>
                  <a:lnTo>
                    <a:pt x="65" y="300"/>
                  </a:lnTo>
                  <a:lnTo>
                    <a:pt x="63" y="298"/>
                  </a:lnTo>
                  <a:lnTo>
                    <a:pt x="62" y="296"/>
                  </a:lnTo>
                  <a:lnTo>
                    <a:pt x="54" y="290"/>
                  </a:lnTo>
                  <a:lnTo>
                    <a:pt x="52" y="288"/>
                  </a:lnTo>
                  <a:lnTo>
                    <a:pt x="51" y="286"/>
                  </a:lnTo>
                  <a:lnTo>
                    <a:pt x="49" y="283"/>
                  </a:lnTo>
                  <a:lnTo>
                    <a:pt x="47" y="282"/>
                  </a:lnTo>
                  <a:lnTo>
                    <a:pt x="47" y="280"/>
                  </a:lnTo>
                  <a:lnTo>
                    <a:pt x="46" y="278"/>
                  </a:lnTo>
                  <a:lnTo>
                    <a:pt x="46" y="277"/>
                  </a:lnTo>
                  <a:lnTo>
                    <a:pt x="46" y="275"/>
                  </a:lnTo>
                  <a:lnTo>
                    <a:pt x="46" y="273"/>
                  </a:lnTo>
                  <a:lnTo>
                    <a:pt x="47" y="272"/>
                  </a:lnTo>
                  <a:lnTo>
                    <a:pt x="47" y="271"/>
                  </a:lnTo>
                  <a:lnTo>
                    <a:pt x="49" y="267"/>
                  </a:lnTo>
                  <a:lnTo>
                    <a:pt x="51" y="266"/>
                  </a:lnTo>
                  <a:lnTo>
                    <a:pt x="52" y="263"/>
                  </a:lnTo>
                  <a:lnTo>
                    <a:pt x="52" y="261"/>
                  </a:lnTo>
                  <a:lnTo>
                    <a:pt x="53" y="260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2" y="252"/>
                  </a:lnTo>
                  <a:lnTo>
                    <a:pt x="51" y="249"/>
                  </a:lnTo>
                  <a:lnTo>
                    <a:pt x="49" y="246"/>
                  </a:lnTo>
                  <a:lnTo>
                    <a:pt x="47" y="242"/>
                  </a:lnTo>
                  <a:lnTo>
                    <a:pt x="46" y="239"/>
                  </a:lnTo>
                  <a:lnTo>
                    <a:pt x="44" y="237"/>
                  </a:lnTo>
                  <a:lnTo>
                    <a:pt x="41" y="234"/>
                  </a:lnTo>
                  <a:lnTo>
                    <a:pt x="38" y="230"/>
                  </a:lnTo>
                  <a:lnTo>
                    <a:pt x="34" y="226"/>
                  </a:lnTo>
                  <a:lnTo>
                    <a:pt x="29" y="222"/>
                  </a:lnTo>
                  <a:lnTo>
                    <a:pt x="28" y="221"/>
                  </a:lnTo>
                  <a:lnTo>
                    <a:pt x="27" y="220"/>
                  </a:lnTo>
                  <a:lnTo>
                    <a:pt x="26" y="218"/>
                  </a:lnTo>
                  <a:lnTo>
                    <a:pt x="25" y="216"/>
                  </a:lnTo>
                  <a:lnTo>
                    <a:pt x="25" y="215"/>
                  </a:lnTo>
                  <a:lnTo>
                    <a:pt x="25" y="213"/>
                  </a:lnTo>
                  <a:lnTo>
                    <a:pt x="25" y="211"/>
                  </a:lnTo>
                  <a:lnTo>
                    <a:pt x="27" y="204"/>
                  </a:lnTo>
                  <a:lnTo>
                    <a:pt x="29" y="198"/>
                  </a:lnTo>
                  <a:lnTo>
                    <a:pt x="29" y="196"/>
                  </a:lnTo>
                  <a:lnTo>
                    <a:pt x="31" y="192"/>
                  </a:lnTo>
                  <a:lnTo>
                    <a:pt x="34" y="186"/>
                  </a:lnTo>
                  <a:lnTo>
                    <a:pt x="34" y="185"/>
                  </a:lnTo>
                  <a:lnTo>
                    <a:pt x="35" y="184"/>
                  </a:lnTo>
                  <a:lnTo>
                    <a:pt x="36" y="183"/>
                  </a:lnTo>
                  <a:lnTo>
                    <a:pt x="37" y="182"/>
                  </a:lnTo>
                  <a:lnTo>
                    <a:pt x="38" y="181"/>
                  </a:lnTo>
                  <a:lnTo>
                    <a:pt x="43" y="179"/>
                  </a:lnTo>
                  <a:lnTo>
                    <a:pt x="44" y="178"/>
                  </a:lnTo>
                  <a:lnTo>
                    <a:pt x="45" y="178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5"/>
                  </a:lnTo>
                  <a:lnTo>
                    <a:pt x="46" y="174"/>
                  </a:lnTo>
                  <a:lnTo>
                    <a:pt x="46" y="172"/>
                  </a:lnTo>
                  <a:lnTo>
                    <a:pt x="45" y="171"/>
                  </a:lnTo>
                  <a:lnTo>
                    <a:pt x="43" y="170"/>
                  </a:lnTo>
                  <a:lnTo>
                    <a:pt x="41" y="167"/>
                  </a:lnTo>
                  <a:lnTo>
                    <a:pt x="37" y="163"/>
                  </a:lnTo>
                  <a:lnTo>
                    <a:pt x="37" y="162"/>
                  </a:lnTo>
                  <a:lnTo>
                    <a:pt x="36" y="162"/>
                  </a:lnTo>
                  <a:lnTo>
                    <a:pt x="36" y="161"/>
                  </a:lnTo>
                  <a:lnTo>
                    <a:pt x="37" y="159"/>
                  </a:lnTo>
                  <a:lnTo>
                    <a:pt x="37" y="158"/>
                  </a:lnTo>
                  <a:lnTo>
                    <a:pt x="38" y="157"/>
                  </a:lnTo>
                  <a:lnTo>
                    <a:pt x="39" y="156"/>
                  </a:lnTo>
                  <a:lnTo>
                    <a:pt x="40" y="154"/>
                  </a:lnTo>
                  <a:lnTo>
                    <a:pt x="41" y="152"/>
                  </a:lnTo>
                  <a:lnTo>
                    <a:pt x="44" y="149"/>
                  </a:lnTo>
                  <a:lnTo>
                    <a:pt x="50" y="143"/>
                  </a:lnTo>
                  <a:lnTo>
                    <a:pt x="54" y="138"/>
                  </a:lnTo>
                  <a:lnTo>
                    <a:pt x="57" y="135"/>
                  </a:lnTo>
                  <a:lnTo>
                    <a:pt x="62" y="126"/>
                  </a:lnTo>
                  <a:lnTo>
                    <a:pt x="65" y="123"/>
                  </a:lnTo>
                  <a:lnTo>
                    <a:pt x="67" y="122"/>
                  </a:lnTo>
                  <a:lnTo>
                    <a:pt x="68" y="121"/>
                  </a:lnTo>
                  <a:lnTo>
                    <a:pt x="74" y="116"/>
                  </a:lnTo>
                  <a:lnTo>
                    <a:pt x="76" y="115"/>
                  </a:lnTo>
                  <a:lnTo>
                    <a:pt x="78" y="113"/>
                  </a:lnTo>
                  <a:lnTo>
                    <a:pt x="79" y="112"/>
                  </a:lnTo>
                  <a:lnTo>
                    <a:pt x="80" y="111"/>
                  </a:lnTo>
                  <a:lnTo>
                    <a:pt x="81" y="109"/>
                  </a:lnTo>
                  <a:lnTo>
                    <a:pt x="81" y="106"/>
                  </a:lnTo>
                  <a:lnTo>
                    <a:pt x="82" y="103"/>
                  </a:lnTo>
                  <a:lnTo>
                    <a:pt x="83" y="99"/>
                  </a:lnTo>
                  <a:lnTo>
                    <a:pt x="84" y="90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5" y="85"/>
                  </a:lnTo>
                  <a:lnTo>
                    <a:pt x="86" y="82"/>
                  </a:lnTo>
                  <a:lnTo>
                    <a:pt x="88" y="80"/>
                  </a:lnTo>
                  <a:lnTo>
                    <a:pt x="88" y="79"/>
                  </a:lnTo>
                  <a:lnTo>
                    <a:pt x="91" y="79"/>
                  </a:lnTo>
                  <a:lnTo>
                    <a:pt x="93" y="78"/>
                  </a:lnTo>
                  <a:lnTo>
                    <a:pt x="94" y="78"/>
                  </a:lnTo>
                  <a:lnTo>
                    <a:pt x="97" y="78"/>
                  </a:lnTo>
                  <a:lnTo>
                    <a:pt x="101" y="78"/>
                  </a:lnTo>
                  <a:lnTo>
                    <a:pt x="104" y="78"/>
                  </a:lnTo>
                  <a:lnTo>
                    <a:pt x="106" y="79"/>
                  </a:lnTo>
                  <a:lnTo>
                    <a:pt x="112" y="79"/>
                  </a:lnTo>
                  <a:lnTo>
                    <a:pt x="118" y="81"/>
                  </a:lnTo>
                  <a:lnTo>
                    <a:pt x="128" y="84"/>
                  </a:lnTo>
                  <a:lnTo>
                    <a:pt x="132" y="85"/>
                  </a:lnTo>
                  <a:lnTo>
                    <a:pt x="135" y="86"/>
                  </a:lnTo>
                  <a:lnTo>
                    <a:pt x="136" y="86"/>
                  </a:lnTo>
                  <a:lnTo>
                    <a:pt x="138" y="86"/>
                  </a:lnTo>
                  <a:lnTo>
                    <a:pt x="138" y="86"/>
                  </a:lnTo>
                  <a:lnTo>
                    <a:pt x="140" y="85"/>
                  </a:lnTo>
                  <a:lnTo>
                    <a:pt x="142" y="85"/>
                  </a:lnTo>
                  <a:lnTo>
                    <a:pt x="144" y="84"/>
                  </a:lnTo>
                  <a:lnTo>
                    <a:pt x="145" y="84"/>
                  </a:lnTo>
                  <a:lnTo>
                    <a:pt x="147" y="83"/>
                  </a:lnTo>
                  <a:lnTo>
                    <a:pt x="149" y="81"/>
                  </a:lnTo>
                  <a:lnTo>
                    <a:pt x="150" y="79"/>
                  </a:lnTo>
                  <a:lnTo>
                    <a:pt x="153" y="78"/>
                  </a:lnTo>
                  <a:lnTo>
                    <a:pt x="155" y="75"/>
                  </a:lnTo>
                  <a:lnTo>
                    <a:pt x="157" y="73"/>
                  </a:lnTo>
                  <a:lnTo>
                    <a:pt x="158" y="71"/>
                  </a:lnTo>
                  <a:lnTo>
                    <a:pt x="158" y="69"/>
                  </a:lnTo>
                  <a:lnTo>
                    <a:pt x="159" y="68"/>
                  </a:lnTo>
                  <a:lnTo>
                    <a:pt x="160" y="63"/>
                  </a:lnTo>
                  <a:lnTo>
                    <a:pt x="160" y="60"/>
                  </a:lnTo>
                  <a:lnTo>
                    <a:pt x="161" y="59"/>
                  </a:lnTo>
                  <a:lnTo>
                    <a:pt x="161" y="57"/>
                  </a:lnTo>
                  <a:lnTo>
                    <a:pt x="162" y="56"/>
                  </a:lnTo>
                  <a:lnTo>
                    <a:pt x="163" y="56"/>
                  </a:lnTo>
                  <a:lnTo>
                    <a:pt x="164" y="55"/>
                  </a:lnTo>
                  <a:lnTo>
                    <a:pt x="167" y="53"/>
                  </a:lnTo>
                  <a:lnTo>
                    <a:pt x="170" y="51"/>
                  </a:lnTo>
                  <a:lnTo>
                    <a:pt x="172" y="49"/>
                  </a:lnTo>
                  <a:lnTo>
                    <a:pt x="177" y="46"/>
                  </a:lnTo>
                  <a:lnTo>
                    <a:pt x="186" y="42"/>
                  </a:lnTo>
                  <a:lnTo>
                    <a:pt x="189" y="41"/>
                  </a:lnTo>
                  <a:lnTo>
                    <a:pt x="191" y="40"/>
                  </a:lnTo>
                  <a:lnTo>
                    <a:pt x="192" y="38"/>
                  </a:lnTo>
                  <a:lnTo>
                    <a:pt x="193" y="37"/>
                  </a:lnTo>
                  <a:lnTo>
                    <a:pt x="194" y="36"/>
                  </a:lnTo>
                  <a:lnTo>
                    <a:pt x="195" y="34"/>
                  </a:lnTo>
                  <a:lnTo>
                    <a:pt x="195" y="34"/>
                  </a:lnTo>
                  <a:lnTo>
                    <a:pt x="196" y="31"/>
                  </a:lnTo>
                  <a:lnTo>
                    <a:pt x="196" y="28"/>
                  </a:lnTo>
                  <a:lnTo>
                    <a:pt x="197" y="21"/>
                  </a:lnTo>
                  <a:lnTo>
                    <a:pt x="198" y="18"/>
                  </a:lnTo>
                  <a:lnTo>
                    <a:pt x="199" y="15"/>
                  </a:lnTo>
                  <a:lnTo>
                    <a:pt x="202" y="10"/>
                  </a:lnTo>
                  <a:lnTo>
                    <a:pt x="202" y="7"/>
                  </a:lnTo>
                  <a:lnTo>
                    <a:pt x="203" y="6"/>
                  </a:lnTo>
                  <a:lnTo>
                    <a:pt x="203" y="5"/>
                  </a:lnTo>
                  <a:lnTo>
                    <a:pt x="202" y="4"/>
                  </a:lnTo>
                  <a:lnTo>
                    <a:pt x="202" y="3"/>
                  </a:lnTo>
                  <a:lnTo>
                    <a:pt x="201" y="1"/>
                  </a:lnTo>
                  <a:lnTo>
                    <a:pt x="200" y="0"/>
                  </a:lnTo>
                  <a:lnTo>
                    <a:pt x="201" y="0"/>
                  </a:lnTo>
                  <a:lnTo>
                    <a:pt x="202" y="0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0" name="Freeform 13">
              <a:extLst>
                <a:ext uri="{FF2B5EF4-FFF2-40B4-BE49-F238E27FC236}">
                  <a16:creationId xmlns:a16="http://schemas.microsoft.com/office/drawing/2014/main" id="{65DC4DD0-7275-43C0-9492-BC5DB7F66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" y="1813"/>
              <a:ext cx="477" cy="309"/>
            </a:xfrm>
            <a:custGeom>
              <a:avLst/>
              <a:gdLst>
                <a:gd name="T0" fmla="*/ 287 w 477"/>
                <a:gd name="T1" fmla="*/ 8 h 309"/>
                <a:gd name="T2" fmla="*/ 313 w 477"/>
                <a:gd name="T3" fmla="*/ 13 h 309"/>
                <a:gd name="T4" fmla="*/ 331 w 477"/>
                <a:gd name="T5" fmla="*/ 33 h 309"/>
                <a:gd name="T6" fmla="*/ 335 w 477"/>
                <a:gd name="T7" fmla="*/ 50 h 309"/>
                <a:gd name="T8" fmla="*/ 342 w 477"/>
                <a:gd name="T9" fmla="*/ 65 h 309"/>
                <a:gd name="T10" fmla="*/ 357 w 477"/>
                <a:gd name="T11" fmla="*/ 71 h 309"/>
                <a:gd name="T12" fmla="*/ 401 w 477"/>
                <a:gd name="T13" fmla="*/ 73 h 309"/>
                <a:gd name="T14" fmla="*/ 433 w 477"/>
                <a:gd name="T15" fmla="*/ 66 h 309"/>
                <a:gd name="T16" fmla="*/ 447 w 477"/>
                <a:gd name="T17" fmla="*/ 68 h 309"/>
                <a:gd name="T18" fmla="*/ 463 w 477"/>
                <a:gd name="T19" fmla="*/ 85 h 309"/>
                <a:gd name="T20" fmla="*/ 460 w 477"/>
                <a:gd name="T21" fmla="*/ 123 h 309"/>
                <a:gd name="T22" fmla="*/ 464 w 477"/>
                <a:gd name="T23" fmla="*/ 147 h 309"/>
                <a:gd name="T24" fmla="*/ 477 w 477"/>
                <a:gd name="T25" fmla="*/ 173 h 309"/>
                <a:gd name="T26" fmla="*/ 463 w 477"/>
                <a:gd name="T27" fmla="*/ 205 h 309"/>
                <a:gd name="T28" fmla="*/ 452 w 477"/>
                <a:gd name="T29" fmla="*/ 227 h 309"/>
                <a:gd name="T30" fmla="*/ 443 w 477"/>
                <a:gd name="T31" fmla="*/ 240 h 309"/>
                <a:gd name="T32" fmla="*/ 425 w 477"/>
                <a:gd name="T33" fmla="*/ 239 h 309"/>
                <a:gd name="T34" fmla="*/ 389 w 477"/>
                <a:gd name="T35" fmla="*/ 237 h 309"/>
                <a:gd name="T36" fmla="*/ 386 w 477"/>
                <a:gd name="T37" fmla="*/ 253 h 309"/>
                <a:gd name="T38" fmla="*/ 387 w 477"/>
                <a:gd name="T39" fmla="*/ 273 h 309"/>
                <a:gd name="T40" fmla="*/ 367 w 477"/>
                <a:gd name="T41" fmla="*/ 289 h 309"/>
                <a:gd name="T42" fmla="*/ 338 w 477"/>
                <a:gd name="T43" fmla="*/ 287 h 309"/>
                <a:gd name="T44" fmla="*/ 318 w 477"/>
                <a:gd name="T45" fmla="*/ 291 h 309"/>
                <a:gd name="T46" fmla="*/ 295 w 477"/>
                <a:gd name="T47" fmla="*/ 299 h 309"/>
                <a:gd name="T48" fmla="*/ 272 w 477"/>
                <a:gd name="T49" fmla="*/ 301 h 309"/>
                <a:gd name="T50" fmla="*/ 257 w 477"/>
                <a:gd name="T51" fmla="*/ 309 h 309"/>
                <a:gd name="T52" fmla="*/ 233 w 477"/>
                <a:gd name="T53" fmla="*/ 296 h 309"/>
                <a:gd name="T54" fmla="*/ 214 w 477"/>
                <a:gd name="T55" fmla="*/ 287 h 309"/>
                <a:gd name="T56" fmla="*/ 200 w 477"/>
                <a:gd name="T57" fmla="*/ 280 h 309"/>
                <a:gd name="T58" fmla="*/ 181 w 477"/>
                <a:gd name="T59" fmla="*/ 285 h 309"/>
                <a:gd name="T60" fmla="*/ 163 w 477"/>
                <a:gd name="T61" fmla="*/ 294 h 309"/>
                <a:gd name="T62" fmla="*/ 138 w 477"/>
                <a:gd name="T63" fmla="*/ 306 h 309"/>
                <a:gd name="T64" fmla="*/ 126 w 477"/>
                <a:gd name="T65" fmla="*/ 304 h 309"/>
                <a:gd name="T66" fmla="*/ 126 w 477"/>
                <a:gd name="T67" fmla="*/ 290 h 309"/>
                <a:gd name="T68" fmla="*/ 129 w 477"/>
                <a:gd name="T69" fmla="*/ 277 h 309"/>
                <a:gd name="T70" fmla="*/ 118 w 477"/>
                <a:gd name="T71" fmla="*/ 274 h 309"/>
                <a:gd name="T72" fmla="*/ 94 w 477"/>
                <a:gd name="T73" fmla="*/ 289 h 309"/>
                <a:gd name="T74" fmla="*/ 59 w 477"/>
                <a:gd name="T75" fmla="*/ 296 h 309"/>
                <a:gd name="T76" fmla="*/ 38 w 477"/>
                <a:gd name="T77" fmla="*/ 301 h 309"/>
                <a:gd name="T78" fmla="*/ 20 w 477"/>
                <a:gd name="T79" fmla="*/ 289 h 309"/>
                <a:gd name="T80" fmla="*/ 19 w 477"/>
                <a:gd name="T81" fmla="*/ 277 h 309"/>
                <a:gd name="T82" fmla="*/ 21 w 477"/>
                <a:gd name="T83" fmla="*/ 263 h 309"/>
                <a:gd name="T84" fmla="*/ 38 w 477"/>
                <a:gd name="T85" fmla="*/ 261 h 309"/>
                <a:gd name="T86" fmla="*/ 41 w 477"/>
                <a:gd name="T87" fmla="*/ 250 h 309"/>
                <a:gd name="T88" fmla="*/ 29 w 477"/>
                <a:gd name="T89" fmla="*/ 228 h 309"/>
                <a:gd name="T90" fmla="*/ 11 w 477"/>
                <a:gd name="T91" fmla="*/ 197 h 309"/>
                <a:gd name="T92" fmla="*/ 0 w 477"/>
                <a:gd name="T93" fmla="*/ 172 h 309"/>
                <a:gd name="T94" fmla="*/ 11 w 477"/>
                <a:gd name="T95" fmla="*/ 139 h 309"/>
                <a:gd name="T96" fmla="*/ 29 w 477"/>
                <a:gd name="T97" fmla="*/ 122 h 309"/>
                <a:gd name="T98" fmla="*/ 40 w 477"/>
                <a:gd name="T99" fmla="*/ 106 h 309"/>
                <a:gd name="T100" fmla="*/ 57 w 477"/>
                <a:gd name="T101" fmla="*/ 101 h 309"/>
                <a:gd name="T102" fmla="*/ 84 w 477"/>
                <a:gd name="T103" fmla="*/ 108 h 309"/>
                <a:gd name="T104" fmla="*/ 132 w 477"/>
                <a:gd name="T105" fmla="*/ 122 h 309"/>
                <a:gd name="T106" fmla="*/ 157 w 477"/>
                <a:gd name="T107" fmla="*/ 119 h 309"/>
                <a:gd name="T108" fmla="*/ 170 w 477"/>
                <a:gd name="T109" fmla="*/ 86 h 309"/>
                <a:gd name="T110" fmla="*/ 186 w 477"/>
                <a:gd name="T111" fmla="*/ 57 h 309"/>
                <a:gd name="T112" fmla="*/ 209 w 477"/>
                <a:gd name="T113" fmla="*/ 43 h 309"/>
                <a:gd name="T114" fmla="*/ 224 w 477"/>
                <a:gd name="T115" fmla="*/ 27 h 309"/>
                <a:gd name="T116" fmla="*/ 230 w 477"/>
                <a:gd name="T117" fmla="*/ 14 h 309"/>
                <a:gd name="T118" fmla="*/ 263 w 477"/>
                <a:gd name="T119" fmla="*/ 5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7" h="309">
                  <a:moveTo>
                    <a:pt x="274" y="4"/>
                  </a:moveTo>
                  <a:lnTo>
                    <a:pt x="274" y="5"/>
                  </a:lnTo>
                  <a:lnTo>
                    <a:pt x="274" y="5"/>
                  </a:lnTo>
                  <a:lnTo>
                    <a:pt x="275" y="5"/>
                  </a:lnTo>
                  <a:lnTo>
                    <a:pt x="277" y="6"/>
                  </a:lnTo>
                  <a:lnTo>
                    <a:pt x="280" y="6"/>
                  </a:lnTo>
                  <a:lnTo>
                    <a:pt x="283" y="7"/>
                  </a:lnTo>
                  <a:lnTo>
                    <a:pt x="287" y="8"/>
                  </a:lnTo>
                  <a:lnTo>
                    <a:pt x="297" y="8"/>
                  </a:lnTo>
                  <a:lnTo>
                    <a:pt x="300" y="8"/>
                  </a:lnTo>
                  <a:lnTo>
                    <a:pt x="302" y="9"/>
                  </a:lnTo>
                  <a:lnTo>
                    <a:pt x="306" y="10"/>
                  </a:lnTo>
                  <a:lnTo>
                    <a:pt x="308" y="11"/>
                  </a:lnTo>
                  <a:lnTo>
                    <a:pt x="311" y="11"/>
                  </a:lnTo>
                  <a:lnTo>
                    <a:pt x="312" y="12"/>
                  </a:lnTo>
                  <a:lnTo>
                    <a:pt x="313" y="13"/>
                  </a:lnTo>
                  <a:lnTo>
                    <a:pt x="314" y="14"/>
                  </a:lnTo>
                  <a:lnTo>
                    <a:pt x="315" y="15"/>
                  </a:lnTo>
                  <a:lnTo>
                    <a:pt x="318" y="20"/>
                  </a:lnTo>
                  <a:lnTo>
                    <a:pt x="318" y="22"/>
                  </a:lnTo>
                  <a:lnTo>
                    <a:pt x="320" y="23"/>
                  </a:lnTo>
                  <a:lnTo>
                    <a:pt x="324" y="25"/>
                  </a:lnTo>
                  <a:lnTo>
                    <a:pt x="328" y="29"/>
                  </a:lnTo>
                  <a:lnTo>
                    <a:pt x="331" y="33"/>
                  </a:lnTo>
                  <a:lnTo>
                    <a:pt x="332" y="34"/>
                  </a:lnTo>
                  <a:lnTo>
                    <a:pt x="333" y="35"/>
                  </a:lnTo>
                  <a:lnTo>
                    <a:pt x="334" y="37"/>
                  </a:lnTo>
                  <a:lnTo>
                    <a:pt x="335" y="38"/>
                  </a:lnTo>
                  <a:lnTo>
                    <a:pt x="335" y="39"/>
                  </a:lnTo>
                  <a:lnTo>
                    <a:pt x="335" y="42"/>
                  </a:lnTo>
                  <a:lnTo>
                    <a:pt x="335" y="47"/>
                  </a:lnTo>
                  <a:lnTo>
                    <a:pt x="335" y="50"/>
                  </a:lnTo>
                  <a:lnTo>
                    <a:pt x="336" y="53"/>
                  </a:lnTo>
                  <a:lnTo>
                    <a:pt x="336" y="55"/>
                  </a:lnTo>
                  <a:lnTo>
                    <a:pt x="337" y="57"/>
                  </a:lnTo>
                  <a:lnTo>
                    <a:pt x="338" y="59"/>
                  </a:lnTo>
                  <a:lnTo>
                    <a:pt x="339" y="61"/>
                  </a:lnTo>
                  <a:lnTo>
                    <a:pt x="340" y="62"/>
                  </a:lnTo>
                  <a:lnTo>
                    <a:pt x="341" y="64"/>
                  </a:lnTo>
                  <a:lnTo>
                    <a:pt x="342" y="65"/>
                  </a:lnTo>
                  <a:lnTo>
                    <a:pt x="344" y="67"/>
                  </a:lnTo>
                  <a:lnTo>
                    <a:pt x="346" y="68"/>
                  </a:lnTo>
                  <a:lnTo>
                    <a:pt x="347" y="68"/>
                  </a:lnTo>
                  <a:lnTo>
                    <a:pt x="349" y="69"/>
                  </a:lnTo>
                  <a:lnTo>
                    <a:pt x="352" y="70"/>
                  </a:lnTo>
                  <a:lnTo>
                    <a:pt x="353" y="71"/>
                  </a:lnTo>
                  <a:lnTo>
                    <a:pt x="355" y="71"/>
                  </a:lnTo>
                  <a:lnTo>
                    <a:pt x="357" y="71"/>
                  </a:lnTo>
                  <a:lnTo>
                    <a:pt x="359" y="71"/>
                  </a:lnTo>
                  <a:lnTo>
                    <a:pt x="361" y="71"/>
                  </a:lnTo>
                  <a:lnTo>
                    <a:pt x="373" y="69"/>
                  </a:lnTo>
                  <a:lnTo>
                    <a:pt x="375" y="69"/>
                  </a:lnTo>
                  <a:lnTo>
                    <a:pt x="378" y="70"/>
                  </a:lnTo>
                  <a:lnTo>
                    <a:pt x="388" y="71"/>
                  </a:lnTo>
                  <a:lnTo>
                    <a:pt x="394" y="72"/>
                  </a:lnTo>
                  <a:lnTo>
                    <a:pt x="401" y="73"/>
                  </a:lnTo>
                  <a:lnTo>
                    <a:pt x="404" y="74"/>
                  </a:lnTo>
                  <a:lnTo>
                    <a:pt x="407" y="74"/>
                  </a:lnTo>
                  <a:lnTo>
                    <a:pt x="409" y="74"/>
                  </a:lnTo>
                  <a:lnTo>
                    <a:pt x="411" y="74"/>
                  </a:lnTo>
                  <a:lnTo>
                    <a:pt x="414" y="73"/>
                  </a:lnTo>
                  <a:lnTo>
                    <a:pt x="421" y="70"/>
                  </a:lnTo>
                  <a:lnTo>
                    <a:pt x="428" y="68"/>
                  </a:lnTo>
                  <a:lnTo>
                    <a:pt x="433" y="66"/>
                  </a:lnTo>
                  <a:lnTo>
                    <a:pt x="436" y="65"/>
                  </a:lnTo>
                  <a:lnTo>
                    <a:pt x="438" y="65"/>
                  </a:lnTo>
                  <a:lnTo>
                    <a:pt x="440" y="65"/>
                  </a:lnTo>
                  <a:lnTo>
                    <a:pt x="442" y="65"/>
                  </a:lnTo>
                  <a:lnTo>
                    <a:pt x="443" y="65"/>
                  </a:lnTo>
                  <a:lnTo>
                    <a:pt x="444" y="66"/>
                  </a:lnTo>
                  <a:lnTo>
                    <a:pt x="445" y="67"/>
                  </a:lnTo>
                  <a:lnTo>
                    <a:pt x="447" y="68"/>
                  </a:lnTo>
                  <a:lnTo>
                    <a:pt x="449" y="68"/>
                  </a:lnTo>
                  <a:lnTo>
                    <a:pt x="452" y="71"/>
                  </a:lnTo>
                  <a:lnTo>
                    <a:pt x="456" y="75"/>
                  </a:lnTo>
                  <a:lnTo>
                    <a:pt x="457" y="77"/>
                  </a:lnTo>
                  <a:lnTo>
                    <a:pt x="459" y="79"/>
                  </a:lnTo>
                  <a:lnTo>
                    <a:pt x="462" y="82"/>
                  </a:lnTo>
                  <a:lnTo>
                    <a:pt x="463" y="84"/>
                  </a:lnTo>
                  <a:lnTo>
                    <a:pt x="463" y="85"/>
                  </a:lnTo>
                  <a:lnTo>
                    <a:pt x="464" y="87"/>
                  </a:lnTo>
                  <a:lnTo>
                    <a:pt x="464" y="88"/>
                  </a:lnTo>
                  <a:lnTo>
                    <a:pt x="464" y="90"/>
                  </a:lnTo>
                  <a:lnTo>
                    <a:pt x="464" y="101"/>
                  </a:lnTo>
                  <a:lnTo>
                    <a:pt x="463" y="106"/>
                  </a:lnTo>
                  <a:lnTo>
                    <a:pt x="462" y="111"/>
                  </a:lnTo>
                  <a:lnTo>
                    <a:pt x="461" y="119"/>
                  </a:lnTo>
                  <a:lnTo>
                    <a:pt x="460" y="123"/>
                  </a:lnTo>
                  <a:lnTo>
                    <a:pt x="460" y="125"/>
                  </a:lnTo>
                  <a:lnTo>
                    <a:pt x="460" y="129"/>
                  </a:lnTo>
                  <a:lnTo>
                    <a:pt x="461" y="133"/>
                  </a:lnTo>
                  <a:lnTo>
                    <a:pt x="461" y="136"/>
                  </a:lnTo>
                  <a:lnTo>
                    <a:pt x="462" y="139"/>
                  </a:lnTo>
                  <a:lnTo>
                    <a:pt x="462" y="142"/>
                  </a:lnTo>
                  <a:lnTo>
                    <a:pt x="463" y="144"/>
                  </a:lnTo>
                  <a:lnTo>
                    <a:pt x="464" y="147"/>
                  </a:lnTo>
                  <a:lnTo>
                    <a:pt x="466" y="150"/>
                  </a:lnTo>
                  <a:lnTo>
                    <a:pt x="470" y="156"/>
                  </a:lnTo>
                  <a:lnTo>
                    <a:pt x="471" y="158"/>
                  </a:lnTo>
                  <a:lnTo>
                    <a:pt x="474" y="162"/>
                  </a:lnTo>
                  <a:lnTo>
                    <a:pt x="475" y="165"/>
                  </a:lnTo>
                  <a:lnTo>
                    <a:pt x="477" y="170"/>
                  </a:lnTo>
                  <a:lnTo>
                    <a:pt x="477" y="171"/>
                  </a:lnTo>
                  <a:lnTo>
                    <a:pt x="477" y="173"/>
                  </a:lnTo>
                  <a:lnTo>
                    <a:pt x="477" y="176"/>
                  </a:lnTo>
                  <a:lnTo>
                    <a:pt x="477" y="180"/>
                  </a:lnTo>
                  <a:lnTo>
                    <a:pt x="475" y="183"/>
                  </a:lnTo>
                  <a:lnTo>
                    <a:pt x="472" y="192"/>
                  </a:lnTo>
                  <a:lnTo>
                    <a:pt x="470" y="196"/>
                  </a:lnTo>
                  <a:lnTo>
                    <a:pt x="467" y="199"/>
                  </a:lnTo>
                  <a:lnTo>
                    <a:pt x="465" y="204"/>
                  </a:lnTo>
                  <a:lnTo>
                    <a:pt x="463" y="205"/>
                  </a:lnTo>
                  <a:lnTo>
                    <a:pt x="459" y="209"/>
                  </a:lnTo>
                  <a:lnTo>
                    <a:pt x="456" y="213"/>
                  </a:lnTo>
                  <a:lnTo>
                    <a:pt x="455" y="215"/>
                  </a:lnTo>
                  <a:lnTo>
                    <a:pt x="454" y="217"/>
                  </a:lnTo>
                  <a:lnTo>
                    <a:pt x="453" y="219"/>
                  </a:lnTo>
                  <a:lnTo>
                    <a:pt x="452" y="221"/>
                  </a:lnTo>
                  <a:lnTo>
                    <a:pt x="452" y="223"/>
                  </a:lnTo>
                  <a:lnTo>
                    <a:pt x="452" y="227"/>
                  </a:lnTo>
                  <a:lnTo>
                    <a:pt x="451" y="229"/>
                  </a:lnTo>
                  <a:lnTo>
                    <a:pt x="451" y="232"/>
                  </a:lnTo>
                  <a:lnTo>
                    <a:pt x="450" y="233"/>
                  </a:lnTo>
                  <a:lnTo>
                    <a:pt x="448" y="236"/>
                  </a:lnTo>
                  <a:lnTo>
                    <a:pt x="447" y="237"/>
                  </a:lnTo>
                  <a:lnTo>
                    <a:pt x="446" y="238"/>
                  </a:lnTo>
                  <a:lnTo>
                    <a:pt x="444" y="239"/>
                  </a:lnTo>
                  <a:lnTo>
                    <a:pt x="443" y="240"/>
                  </a:lnTo>
                  <a:lnTo>
                    <a:pt x="443" y="241"/>
                  </a:lnTo>
                  <a:lnTo>
                    <a:pt x="442" y="241"/>
                  </a:lnTo>
                  <a:lnTo>
                    <a:pt x="437" y="241"/>
                  </a:lnTo>
                  <a:lnTo>
                    <a:pt x="432" y="241"/>
                  </a:lnTo>
                  <a:lnTo>
                    <a:pt x="430" y="241"/>
                  </a:lnTo>
                  <a:lnTo>
                    <a:pt x="429" y="240"/>
                  </a:lnTo>
                  <a:lnTo>
                    <a:pt x="427" y="240"/>
                  </a:lnTo>
                  <a:lnTo>
                    <a:pt x="425" y="239"/>
                  </a:lnTo>
                  <a:lnTo>
                    <a:pt x="422" y="238"/>
                  </a:lnTo>
                  <a:lnTo>
                    <a:pt x="409" y="229"/>
                  </a:lnTo>
                  <a:lnTo>
                    <a:pt x="406" y="227"/>
                  </a:lnTo>
                  <a:lnTo>
                    <a:pt x="405" y="227"/>
                  </a:lnTo>
                  <a:lnTo>
                    <a:pt x="405" y="226"/>
                  </a:lnTo>
                  <a:lnTo>
                    <a:pt x="401" y="228"/>
                  </a:lnTo>
                  <a:lnTo>
                    <a:pt x="390" y="235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8" y="242"/>
                  </a:lnTo>
                  <a:lnTo>
                    <a:pt x="387" y="246"/>
                  </a:lnTo>
                  <a:lnTo>
                    <a:pt x="387" y="248"/>
                  </a:lnTo>
                  <a:lnTo>
                    <a:pt x="386" y="251"/>
                  </a:lnTo>
                  <a:lnTo>
                    <a:pt x="386" y="253"/>
                  </a:lnTo>
                  <a:lnTo>
                    <a:pt x="386" y="254"/>
                  </a:lnTo>
                  <a:lnTo>
                    <a:pt x="386" y="255"/>
                  </a:lnTo>
                  <a:lnTo>
                    <a:pt x="388" y="261"/>
                  </a:lnTo>
                  <a:lnTo>
                    <a:pt x="389" y="265"/>
                  </a:lnTo>
                  <a:lnTo>
                    <a:pt x="389" y="268"/>
                  </a:lnTo>
                  <a:lnTo>
                    <a:pt x="388" y="270"/>
                  </a:lnTo>
                  <a:lnTo>
                    <a:pt x="388" y="272"/>
                  </a:lnTo>
                  <a:lnTo>
                    <a:pt x="387" y="273"/>
                  </a:lnTo>
                  <a:lnTo>
                    <a:pt x="386" y="275"/>
                  </a:lnTo>
                  <a:lnTo>
                    <a:pt x="386" y="277"/>
                  </a:lnTo>
                  <a:lnTo>
                    <a:pt x="384" y="280"/>
                  </a:lnTo>
                  <a:lnTo>
                    <a:pt x="383" y="281"/>
                  </a:lnTo>
                  <a:lnTo>
                    <a:pt x="381" y="283"/>
                  </a:lnTo>
                  <a:lnTo>
                    <a:pt x="380" y="283"/>
                  </a:lnTo>
                  <a:lnTo>
                    <a:pt x="374" y="286"/>
                  </a:lnTo>
                  <a:lnTo>
                    <a:pt x="367" y="289"/>
                  </a:lnTo>
                  <a:lnTo>
                    <a:pt x="362" y="291"/>
                  </a:lnTo>
                  <a:lnTo>
                    <a:pt x="361" y="291"/>
                  </a:lnTo>
                  <a:lnTo>
                    <a:pt x="359" y="291"/>
                  </a:lnTo>
                  <a:lnTo>
                    <a:pt x="356" y="291"/>
                  </a:lnTo>
                  <a:lnTo>
                    <a:pt x="352" y="291"/>
                  </a:lnTo>
                  <a:lnTo>
                    <a:pt x="349" y="290"/>
                  </a:lnTo>
                  <a:lnTo>
                    <a:pt x="341" y="288"/>
                  </a:lnTo>
                  <a:lnTo>
                    <a:pt x="338" y="287"/>
                  </a:lnTo>
                  <a:lnTo>
                    <a:pt x="336" y="287"/>
                  </a:lnTo>
                  <a:lnTo>
                    <a:pt x="331" y="287"/>
                  </a:lnTo>
                  <a:lnTo>
                    <a:pt x="330" y="287"/>
                  </a:lnTo>
                  <a:lnTo>
                    <a:pt x="326" y="287"/>
                  </a:lnTo>
                  <a:lnTo>
                    <a:pt x="324" y="287"/>
                  </a:lnTo>
                  <a:lnTo>
                    <a:pt x="322" y="288"/>
                  </a:lnTo>
                  <a:lnTo>
                    <a:pt x="321" y="288"/>
                  </a:lnTo>
                  <a:lnTo>
                    <a:pt x="318" y="291"/>
                  </a:lnTo>
                  <a:lnTo>
                    <a:pt x="313" y="294"/>
                  </a:lnTo>
                  <a:lnTo>
                    <a:pt x="309" y="297"/>
                  </a:lnTo>
                  <a:lnTo>
                    <a:pt x="307" y="298"/>
                  </a:lnTo>
                  <a:lnTo>
                    <a:pt x="305" y="299"/>
                  </a:lnTo>
                  <a:lnTo>
                    <a:pt x="303" y="299"/>
                  </a:lnTo>
                  <a:lnTo>
                    <a:pt x="301" y="299"/>
                  </a:lnTo>
                  <a:lnTo>
                    <a:pt x="299" y="299"/>
                  </a:lnTo>
                  <a:lnTo>
                    <a:pt x="295" y="299"/>
                  </a:lnTo>
                  <a:lnTo>
                    <a:pt x="293" y="298"/>
                  </a:lnTo>
                  <a:lnTo>
                    <a:pt x="290" y="298"/>
                  </a:lnTo>
                  <a:lnTo>
                    <a:pt x="286" y="298"/>
                  </a:lnTo>
                  <a:lnTo>
                    <a:pt x="282" y="299"/>
                  </a:lnTo>
                  <a:lnTo>
                    <a:pt x="277" y="299"/>
                  </a:lnTo>
                  <a:lnTo>
                    <a:pt x="275" y="300"/>
                  </a:lnTo>
                  <a:lnTo>
                    <a:pt x="273" y="300"/>
                  </a:lnTo>
                  <a:lnTo>
                    <a:pt x="272" y="301"/>
                  </a:lnTo>
                  <a:lnTo>
                    <a:pt x="271" y="302"/>
                  </a:lnTo>
                  <a:lnTo>
                    <a:pt x="269" y="303"/>
                  </a:lnTo>
                  <a:lnTo>
                    <a:pt x="265" y="306"/>
                  </a:lnTo>
                  <a:lnTo>
                    <a:pt x="263" y="308"/>
                  </a:lnTo>
                  <a:lnTo>
                    <a:pt x="261" y="309"/>
                  </a:lnTo>
                  <a:lnTo>
                    <a:pt x="260" y="309"/>
                  </a:lnTo>
                  <a:lnTo>
                    <a:pt x="258" y="309"/>
                  </a:lnTo>
                  <a:lnTo>
                    <a:pt x="257" y="309"/>
                  </a:lnTo>
                  <a:lnTo>
                    <a:pt x="256" y="309"/>
                  </a:lnTo>
                  <a:lnTo>
                    <a:pt x="254" y="308"/>
                  </a:lnTo>
                  <a:lnTo>
                    <a:pt x="253" y="307"/>
                  </a:lnTo>
                  <a:lnTo>
                    <a:pt x="245" y="303"/>
                  </a:lnTo>
                  <a:lnTo>
                    <a:pt x="239" y="300"/>
                  </a:lnTo>
                  <a:lnTo>
                    <a:pt x="237" y="299"/>
                  </a:lnTo>
                  <a:lnTo>
                    <a:pt x="235" y="298"/>
                  </a:lnTo>
                  <a:lnTo>
                    <a:pt x="233" y="296"/>
                  </a:lnTo>
                  <a:lnTo>
                    <a:pt x="230" y="294"/>
                  </a:lnTo>
                  <a:lnTo>
                    <a:pt x="228" y="292"/>
                  </a:lnTo>
                  <a:lnTo>
                    <a:pt x="227" y="291"/>
                  </a:lnTo>
                  <a:lnTo>
                    <a:pt x="226" y="291"/>
                  </a:lnTo>
                  <a:lnTo>
                    <a:pt x="224" y="290"/>
                  </a:lnTo>
                  <a:lnTo>
                    <a:pt x="218" y="289"/>
                  </a:lnTo>
                  <a:lnTo>
                    <a:pt x="216" y="287"/>
                  </a:lnTo>
                  <a:lnTo>
                    <a:pt x="214" y="287"/>
                  </a:lnTo>
                  <a:lnTo>
                    <a:pt x="213" y="286"/>
                  </a:lnTo>
                  <a:lnTo>
                    <a:pt x="208" y="283"/>
                  </a:lnTo>
                  <a:lnTo>
                    <a:pt x="207" y="282"/>
                  </a:lnTo>
                  <a:lnTo>
                    <a:pt x="205" y="282"/>
                  </a:lnTo>
                  <a:lnTo>
                    <a:pt x="204" y="281"/>
                  </a:lnTo>
                  <a:lnTo>
                    <a:pt x="203" y="281"/>
                  </a:lnTo>
                  <a:lnTo>
                    <a:pt x="202" y="280"/>
                  </a:lnTo>
                  <a:lnTo>
                    <a:pt x="200" y="280"/>
                  </a:lnTo>
                  <a:lnTo>
                    <a:pt x="196" y="281"/>
                  </a:lnTo>
                  <a:lnTo>
                    <a:pt x="192" y="281"/>
                  </a:lnTo>
                  <a:lnTo>
                    <a:pt x="188" y="282"/>
                  </a:lnTo>
                  <a:lnTo>
                    <a:pt x="186" y="282"/>
                  </a:lnTo>
                  <a:lnTo>
                    <a:pt x="184" y="283"/>
                  </a:lnTo>
                  <a:lnTo>
                    <a:pt x="183" y="283"/>
                  </a:lnTo>
                  <a:lnTo>
                    <a:pt x="182" y="284"/>
                  </a:lnTo>
                  <a:lnTo>
                    <a:pt x="181" y="285"/>
                  </a:lnTo>
                  <a:lnTo>
                    <a:pt x="178" y="288"/>
                  </a:lnTo>
                  <a:lnTo>
                    <a:pt x="176" y="290"/>
                  </a:lnTo>
                  <a:lnTo>
                    <a:pt x="174" y="292"/>
                  </a:lnTo>
                  <a:lnTo>
                    <a:pt x="171" y="293"/>
                  </a:lnTo>
                  <a:lnTo>
                    <a:pt x="170" y="293"/>
                  </a:lnTo>
                  <a:lnTo>
                    <a:pt x="169" y="294"/>
                  </a:lnTo>
                  <a:lnTo>
                    <a:pt x="167" y="294"/>
                  </a:lnTo>
                  <a:lnTo>
                    <a:pt x="163" y="294"/>
                  </a:lnTo>
                  <a:lnTo>
                    <a:pt x="155" y="295"/>
                  </a:lnTo>
                  <a:lnTo>
                    <a:pt x="152" y="295"/>
                  </a:lnTo>
                  <a:lnTo>
                    <a:pt x="150" y="295"/>
                  </a:lnTo>
                  <a:lnTo>
                    <a:pt x="149" y="296"/>
                  </a:lnTo>
                  <a:lnTo>
                    <a:pt x="148" y="297"/>
                  </a:lnTo>
                  <a:lnTo>
                    <a:pt x="143" y="301"/>
                  </a:lnTo>
                  <a:lnTo>
                    <a:pt x="139" y="305"/>
                  </a:lnTo>
                  <a:lnTo>
                    <a:pt x="138" y="306"/>
                  </a:lnTo>
                  <a:lnTo>
                    <a:pt x="136" y="306"/>
                  </a:lnTo>
                  <a:lnTo>
                    <a:pt x="135" y="306"/>
                  </a:lnTo>
                  <a:lnTo>
                    <a:pt x="133" y="306"/>
                  </a:lnTo>
                  <a:lnTo>
                    <a:pt x="131" y="306"/>
                  </a:lnTo>
                  <a:lnTo>
                    <a:pt x="130" y="306"/>
                  </a:lnTo>
                  <a:lnTo>
                    <a:pt x="128" y="305"/>
                  </a:lnTo>
                  <a:lnTo>
                    <a:pt x="127" y="304"/>
                  </a:lnTo>
                  <a:lnTo>
                    <a:pt x="126" y="304"/>
                  </a:lnTo>
                  <a:lnTo>
                    <a:pt x="125" y="302"/>
                  </a:lnTo>
                  <a:lnTo>
                    <a:pt x="125" y="302"/>
                  </a:lnTo>
                  <a:lnTo>
                    <a:pt x="125" y="300"/>
                  </a:lnTo>
                  <a:lnTo>
                    <a:pt x="125" y="299"/>
                  </a:lnTo>
                  <a:lnTo>
                    <a:pt x="125" y="298"/>
                  </a:lnTo>
                  <a:lnTo>
                    <a:pt x="125" y="296"/>
                  </a:lnTo>
                  <a:lnTo>
                    <a:pt x="125" y="294"/>
                  </a:lnTo>
                  <a:lnTo>
                    <a:pt x="126" y="290"/>
                  </a:lnTo>
                  <a:lnTo>
                    <a:pt x="129" y="285"/>
                  </a:lnTo>
                  <a:lnTo>
                    <a:pt x="130" y="283"/>
                  </a:lnTo>
                  <a:lnTo>
                    <a:pt x="130" y="282"/>
                  </a:lnTo>
                  <a:lnTo>
                    <a:pt x="130" y="281"/>
                  </a:lnTo>
                  <a:lnTo>
                    <a:pt x="130" y="280"/>
                  </a:lnTo>
                  <a:lnTo>
                    <a:pt x="130" y="279"/>
                  </a:lnTo>
                  <a:lnTo>
                    <a:pt x="129" y="278"/>
                  </a:lnTo>
                  <a:lnTo>
                    <a:pt x="129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7" y="275"/>
                  </a:lnTo>
                  <a:lnTo>
                    <a:pt x="125" y="274"/>
                  </a:lnTo>
                  <a:lnTo>
                    <a:pt x="125" y="274"/>
                  </a:lnTo>
                  <a:lnTo>
                    <a:pt x="124" y="274"/>
                  </a:lnTo>
                  <a:lnTo>
                    <a:pt x="121" y="274"/>
                  </a:lnTo>
                  <a:lnTo>
                    <a:pt x="118" y="274"/>
                  </a:lnTo>
                  <a:lnTo>
                    <a:pt x="115" y="275"/>
                  </a:lnTo>
                  <a:lnTo>
                    <a:pt x="114" y="276"/>
                  </a:lnTo>
                  <a:lnTo>
                    <a:pt x="112" y="277"/>
                  </a:lnTo>
                  <a:lnTo>
                    <a:pt x="110" y="278"/>
                  </a:lnTo>
                  <a:lnTo>
                    <a:pt x="103" y="283"/>
                  </a:lnTo>
                  <a:lnTo>
                    <a:pt x="99" y="286"/>
                  </a:lnTo>
                  <a:lnTo>
                    <a:pt x="97" y="288"/>
                  </a:lnTo>
                  <a:lnTo>
                    <a:pt x="94" y="289"/>
                  </a:lnTo>
                  <a:lnTo>
                    <a:pt x="91" y="291"/>
                  </a:lnTo>
                  <a:lnTo>
                    <a:pt x="86" y="293"/>
                  </a:lnTo>
                  <a:lnTo>
                    <a:pt x="82" y="295"/>
                  </a:lnTo>
                  <a:lnTo>
                    <a:pt x="78" y="295"/>
                  </a:lnTo>
                  <a:lnTo>
                    <a:pt x="75" y="296"/>
                  </a:lnTo>
                  <a:lnTo>
                    <a:pt x="72" y="296"/>
                  </a:lnTo>
                  <a:lnTo>
                    <a:pt x="68" y="296"/>
                  </a:lnTo>
                  <a:lnTo>
                    <a:pt x="59" y="296"/>
                  </a:lnTo>
                  <a:lnTo>
                    <a:pt x="55" y="297"/>
                  </a:lnTo>
                  <a:lnTo>
                    <a:pt x="53" y="297"/>
                  </a:lnTo>
                  <a:lnTo>
                    <a:pt x="52" y="298"/>
                  </a:lnTo>
                  <a:lnTo>
                    <a:pt x="46" y="300"/>
                  </a:lnTo>
                  <a:lnTo>
                    <a:pt x="44" y="300"/>
                  </a:lnTo>
                  <a:lnTo>
                    <a:pt x="42" y="301"/>
                  </a:lnTo>
                  <a:lnTo>
                    <a:pt x="39" y="301"/>
                  </a:lnTo>
                  <a:lnTo>
                    <a:pt x="38" y="301"/>
                  </a:lnTo>
                  <a:lnTo>
                    <a:pt x="36" y="300"/>
                  </a:lnTo>
                  <a:lnTo>
                    <a:pt x="31" y="297"/>
                  </a:lnTo>
                  <a:lnTo>
                    <a:pt x="25" y="295"/>
                  </a:lnTo>
                  <a:lnTo>
                    <a:pt x="23" y="294"/>
                  </a:lnTo>
                  <a:lnTo>
                    <a:pt x="22" y="292"/>
                  </a:lnTo>
                  <a:lnTo>
                    <a:pt x="21" y="291"/>
                  </a:lnTo>
                  <a:lnTo>
                    <a:pt x="21" y="290"/>
                  </a:lnTo>
                  <a:lnTo>
                    <a:pt x="20" y="289"/>
                  </a:lnTo>
                  <a:lnTo>
                    <a:pt x="20" y="288"/>
                  </a:lnTo>
                  <a:lnTo>
                    <a:pt x="20" y="286"/>
                  </a:lnTo>
                  <a:lnTo>
                    <a:pt x="21" y="282"/>
                  </a:lnTo>
                  <a:lnTo>
                    <a:pt x="21" y="281"/>
                  </a:lnTo>
                  <a:lnTo>
                    <a:pt x="21" y="280"/>
                  </a:lnTo>
                  <a:lnTo>
                    <a:pt x="21" y="279"/>
                  </a:lnTo>
                  <a:lnTo>
                    <a:pt x="20" y="278"/>
                  </a:lnTo>
                  <a:lnTo>
                    <a:pt x="19" y="277"/>
                  </a:lnTo>
                  <a:lnTo>
                    <a:pt x="18" y="276"/>
                  </a:lnTo>
                  <a:lnTo>
                    <a:pt x="18" y="274"/>
                  </a:lnTo>
                  <a:lnTo>
                    <a:pt x="18" y="270"/>
                  </a:lnTo>
                  <a:lnTo>
                    <a:pt x="18" y="267"/>
                  </a:lnTo>
                  <a:lnTo>
                    <a:pt x="18" y="266"/>
                  </a:lnTo>
                  <a:lnTo>
                    <a:pt x="19" y="265"/>
                  </a:lnTo>
                  <a:lnTo>
                    <a:pt x="20" y="263"/>
                  </a:lnTo>
                  <a:lnTo>
                    <a:pt x="21" y="263"/>
                  </a:lnTo>
                  <a:lnTo>
                    <a:pt x="22" y="262"/>
                  </a:lnTo>
                  <a:lnTo>
                    <a:pt x="23" y="261"/>
                  </a:lnTo>
                  <a:lnTo>
                    <a:pt x="24" y="261"/>
                  </a:lnTo>
                  <a:lnTo>
                    <a:pt x="25" y="261"/>
                  </a:lnTo>
                  <a:lnTo>
                    <a:pt x="28" y="261"/>
                  </a:lnTo>
                  <a:lnTo>
                    <a:pt x="34" y="261"/>
                  </a:lnTo>
                  <a:lnTo>
                    <a:pt x="36" y="261"/>
                  </a:lnTo>
                  <a:lnTo>
                    <a:pt x="38" y="261"/>
                  </a:lnTo>
                  <a:lnTo>
                    <a:pt x="39" y="261"/>
                  </a:lnTo>
                  <a:lnTo>
                    <a:pt x="40" y="260"/>
                  </a:lnTo>
                  <a:lnTo>
                    <a:pt x="41" y="260"/>
                  </a:lnTo>
                  <a:lnTo>
                    <a:pt x="41" y="259"/>
                  </a:lnTo>
                  <a:lnTo>
                    <a:pt x="42" y="258"/>
                  </a:lnTo>
                  <a:lnTo>
                    <a:pt x="42" y="257"/>
                  </a:lnTo>
                  <a:lnTo>
                    <a:pt x="42" y="255"/>
                  </a:lnTo>
                  <a:lnTo>
                    <a:pt x="41" y="250"/>
                  </a:lnTo>
                  <a:lnTo>
                    <a:pt x="40" y="243"/>
                  </a:lnTo>
                  <a:lnTo>
                    <a:pt x="40" y="242"/>
                  </a:lnTo>
                  <a:lnTo>
                    <a:pt x="40" y="242"/>
                  </a:lnTo>
                  <a:lnTo>
                    <a:pt x="38" y="239"/>
                  </a:lnTo>
                  <a:lnTo>
                    <a:pt x="34" y="235"/>
                  </a:lnTo>
                  <a:lnTo>
                    <a:pt x="31" y="231"/>
                  </a:lnTo>
                  <a:lnTo>
                    <a:pt x="30" y="230"/>
                  </a:lnTo>
                  <a:lnTo>
                    <a:pt x="29" y="228"/>
                  </a:lnTo>
                  <a:lnTo>
                    <a:pt x="25" y="222"/>
                  </a:lnTo>
                  <a:lnTo>
                    <a:pt x="24" y="219"/>
                  </a:lnTo>
                  <a:lnTo>
                    <a:pt x="22" y="213"/>
                  </a:lnTo>
                  <a:lnTo>
                    <a:pt x="21" y="211"/>
                  </a:lnTo>
                  <a:lnTo>
                    <a:pt x="19" y="207"/>
                  </a:lnTo>
                  <a:lnTo>
                    <a:pt x="17" y="205"/>
                  </a:lnTo>
                  <a:lnTo>
                    <a:pt x="17" y="204"/>
                  </a:lnTo>
                  <a:lnTo>
                    <a:pt x="11" y="197"/>
                  </a:lnTo>
                  <a:lnTo>
                    <a:pt x="10" y="195"/>
                  </a:lnTo>
                  <a:lnTo>
                    <a:pt x="9" y="193"/>
                  </a:lnTo>
                  <a:lnTo>
                    <a:pt x="8" y="192"/>
                  </a:lnTo>
                  <a:lnTo>
                    <a:pt x="7" y="190"/>
                  </a:lnTo>
                  <a:lnTo>
                    <a:pt x="4" y="181"/>
                  </a:lnTo>
                  <a:lnTo>
                    <a:pt x="0" y="174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2" y="169"/>
                  </a:lnTo>
                  <a:lnTo>
                    <a:pt x="3" y="165"/>
                  </a:lnTo>
                  <a:lnTo>
                    <a:pt x="4" y="162"/>
                  </a:lnTo>
                  <a:lnTo>
                    <a:pt x="6" y="152"/>
                  </a:lnTo>
                  <a:lnTo>
                    <a:pt x="7" y="148"/>
                  </a:lnTo>
                  <a:lnTo>
                    <a:pt x="8" y="145"/>
                  </a:lnTo>
                  <a:lnTo>
                    <a:pt x="9" y="142"/>
                  </a:lnTo>
                  <a:lnTo>
                    <a:pt x="11" y="139"/>
                  </a:lnTo>
                  <a:lnTo>
                    <a:pt x="11" y="136"/>
                  </a:lnTo>
                  <a:lnTo>
                    <a:pt x="13" y="134"/>
                  </a:lnTo>
                  <a:lnTo>
                    <a:pt x="14" y="133"/>
                  </a:lnTo>
                  <a:lnTo>
                    <a:pt x="15" y="131"/>
                  </a:lnTo>
                  <a:lnTo>
                    <a:pt x="16" y="130"/>
                  </a:lnTo>
                  <a:lnTo>
                    <a:pt x="18" y="128"/>
                  </a:lnTo>
                  <a:lnTo>
                    <a:pt x="22" y="126"/>
                  </a:lnTo>
                  <a:lnTo>
                    <a:pt x="29" y="122"/>
                  </a:lnTo>
                  <a:lnTo>
                    <a:pt x="31" y="120"/>
                  </a:lnTo>
                  <a:lnTo>
                    <a:pt x="33" y="119"/>
                  </a:lnTo>
                  <a:lnTo>
                    <a:pt x="34" y="117"/>
                  </a:lnTo>
                  <a:lnTo>
                    <a:pt x="37" y="113"/>
                  </a:lnTo>
                  <a:lnTo>
                    <a:pt x="37" y="112"/>
                  </a:lnTo>
                  <a:lnTo>
                    <a:pt x="39" y="108"/>
                  </a:lnTo>
                  <a:lnTo>
                    <a:pt x="39" y="107"/>
                  </a:lnTo>
                  <a:lnTo>
                    <a:pt x="40" y="106"/>
                  </a:lnTo>
                  <a:lnTo>
                    <a:pt x="41" y="105"/>
                  </a:lnTo>
                  <a:lnTo>
                    <a:pt x="42" y="105"/>
                  </a:lnTo>
                  <a:lnTo>
                    <a:pt x="46" y="102"/>
                  </a:lnTo>
                  <a:lnTo>
                    <a:pt x="48" y="102"/>
                  </a:lnTo>
                  <a:lnTo>
                    <a:pt x="50" y="102"/>
                  </a:lnTo>
                  <a:lnTo>
                    <a:pt x="52" y="102"/>
                  </a:lnTo>
                  <a:lnTo>
                    <a:pt x="55" y="101"/>
                  </a:lnTo>
                  <a:lnTo>
                    <a:pt x="57" y="101"/>
                  </a:lnTo>
                  <a:lnTo>
                    <a:pt x="60" y="101"/>
                  </a:lnTo>
                  <a:lnTo>
                    <a:pt x="62" y="101"/>
                  </a:lnTo>
                  <a:lnTo>
                    <a:pt x="64" y="102"/>
                  </a:lnTo>
                  <a:lnTo>
                    <a:pt x="67" y="102"/>
                  </a:lnTo>
                  <a:lnTo>
                    <a:pt x="70" y="103"/>
                  </a:lnTo>
                  <a:lnTo>
                    <a:pt x="78" y="106"/>
                  </a:lnTo>
                  <a:lnTo>
                    <a:pt x="80" y="107"/>
                  </a:lnTo>
                  <a:lnTo>
                    <a:pt x="84" y="108"/>
                  </a:lnTo>
                  <a:lnTo>
                    <a:pt x="92" y="110"/>
                  </a:lnTo>
                  <a:lnTo>
                    <a:pt x="96" y="111"/>
                  </a:lnTo>
                  <a:lnTo>
                    <a:pt x="100" y="113"/>
                  </a:lnTo>
                  <a:lnTo>
                    <a:pt x="112" y="117"/>
                  </a:lnTo>
                  <a:lnTo>
                    <a:pt x="116" y="118"/>
                  </a:lnTo>
                  <a:lnTo>
                    <a:pt x="121" y="120"/>
                  </a:lnTo>
                  <a:lnTo>
                    <a:pt x="126" y="121"/>
                  </a:lnTo>
                  <a:lnTo>
                    <a:pt x="132" y="122"/>
                  </a:lnTo>
                  <a:lnTo>
                    <a:pt x="136" y="122"/>
                  </a:lnTo>
                  <a:lnTo>
                    <a:pt x="140" y="122"/>
                  </a:lnTo>
                  <a:lnTo>
                    <a:pt x="146" y="122"/>
                  </a:lnTo>
                  <a:lnTo>
                    <a:pt x="149" y="122"/>
                  </a:lnTo>
                  <a:lnTo>
                    <a:pt x="152" y="122"/>
                  </a:lnTo>
                  <a:lnTo>
                    <a:pt x="154" y="121"/>
                  </a:lnTo>
                  <a:lnTo>
                    <a:pt x="156" y="120"/>
                  </a:lnTo>
                  <a:lnTo>
                    <a:pt x="157" y="119"/>
                  </a:lnTo>
                  <a:lnTo>
                    <a:pt x="158" y="118"/>
                  </a:lnTo>
                  <a:lnTo>
                    <a:pt x="159" y="116"/>
                  </a:lnTo>
                  <a:lnTo>
                    <a:pt x="159" y="115"/>
                  </a:lnTo>
                  <a:lnTo>
                    <a:pt x="161" y="111"/>
                  </a:lnTo>
                  <a:lnTo>
                    <a:pt x="164" y="101"/>
                  </a:lnTo>
                  <a:lnTo>
                    <a:pt x="165" y="97"/>
                  </a:lnTo>
                  <a:lnTo>
                    <a:pt x="167" y="94"/>
                  </a:lnTo>
                  <a:lnTo>
                    <a:pt x="170" y="86"/>
                  </a:lnTo>
                  <a:lnTo>
                    <a:pt x="171" y="82"/>
                  </a:lnTo>
                  <a:lnTo>
                    <a:pt x="174" y="74"/>
                  </a:lnTo>
                  <a:lnTo>
                    <a:pt x="178" y="65"/>
                  </a:lnTo>
                  <a:lnTo>
                    <a:pt x="179" y="63"/>
                  </a:lnTo>
                  <a:lnTo>
                    <a:pt x="180" y="61"/>
                  </a:lnTo>
                  <a:lnTo>
                    <a:pt x="181" y="60"/>
                  </a:lnTo>
                  <a:lnTo>
                    <a:pt x="182" y="59"/>
                  </a:lnTo>
                  <a:lnTo>
                    <a:pt x="186" y="57"/>
                  </a:lnTo>
                  <a:lnTo>
                    <a:pt x="190" y="56"/>
                  </a:lnTo>
                  <a:lnTo>
                    <a:pt x="195" y="53"/>
                  </a:lnTo>
                  <a:lnTo>
                    <a:pt x="199" y="51"/>
                  </a:lnTo>
                  <a:lnTo>
                    <a:pt x="203" y="49"/>
                  </a:lnTo>
                  <a:lnTo>
                    <a:pt x="204" y="48"/>
                  </a:lnTo>
                  <a:lnTo>
                    <a:pt x="205" y="47"/>
                  </a:lnTo>
                  <a:lnTo>
                    <a:pt x="207" y="45"/>
                  </a:lnTo>
                  <a:lnTo>
                    <a:pt x="209" y="43"/>
                  </a:lnTo>
                  <a:lnTo>
                    <a:pt x="210" y="42"/>
                  </a:lnTo>
                  <a:lnTo>
                    <a:pt x="211" y="41"/>
                  </a:lnTo>
                  <a:lnTo>
                    <a:pt x="214" y="38"/>
                  </a:lnTo>
                  <a:lnTo>
                    <a:pt x="216" y="36"/>
                  </a:lnTo>
                  <a:lnTo>
                    <a:pt x="219" y="33"/>
                  </a:lnTo>
                  <a:lnTo>
                    <a:pt x="222" y="29"/>
                  </a:lnTo>
                  <a:lnTo>
                    <a:pt x="224" y="28"/>
                  </a:lnTo>
                  <a:lnTo>
                    <a:pt x="224" y="27"/>
                  </a:lnTo>
                  <a:lnTo>
                    <a:pt x="225" y="26"/>
                  </a:lnTo>
                  <a:lnTo>
                    <a:pt x="226" y="22"/>
                  </a:lnTo>
                  <a:lnTo>
                    <a:pt x="226" y="20"/>
                  </a:lnTo>
                  <a:lnTo>
                    <a:pt x="227" y="19"/>
                  </a:lnTo>
                  <a:lnTo>
                    <a:pt x="227" y="17"/>
                  </a:lnTo>
                  <a:lnTo>
                    <a:pt x="228" y="16"/>
                  </a:lnTo>
                  <a:lnTo>
                    <a:pt x="229" y="15"/>
                  </a:lnTo>
                  <a:lnTo>
                    <a:pt x="230" y="14"/>
                  </a:lnTo>
                  <a:lnTo>
                    <a:pt x="232" y="13"/>
                  </a:lnTo>
                  <a:lnTo>
                    <a:pt x="234" y="12"/>
                  </a:lnTo>
                  <a:lnTo>
                    <a:pt x="239" y="11"/>
                  </a:lnTo>
                  <a:lnTo>
                    <a:pt x="243" y="11"/>
                  </a:lnTo>
                  <a:lnTo>
                    <a:pt x="252" y="9"/>
                  </a:lnTo>
                  <a:lnTo>
                    <a:pt x="254" y="9"/>
                  </a:lnTo>
                  <a:lnTo>
                    <a:pt x="257" y="8"/>
                  </a:lnTo>
                  <a:lnTo>
                    <a:pt x="263" y="5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1"/>
                  </a:lnTo>
                  <a:lnTo>
                    <a:pt x="273" y="1"/>
                  </a:lnTo>
                  <a:lnTo>
                    <a:pt x="273" y="1"/>
                  </a:lnTo>
                  <a:lnTo>
                    <a:pt x="273" y="0"/>
                  </a:lnTo>
                  <a:lnTo>
                    <a:pt x="274" y="4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1" name="Freeform 14">
              <a:extLst>
                <a:ext uri="{FF2B5EF4-FFF2-40B4-BE49-F238E27FC236}">
                  <a16:creationId xmlns:a16="http://schemas.microsoft.com/office/drawing/2014/main" id="{CAB2D221-D614-418D-9068-45EB52F65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" y="1880"/>
              <a:ext cx="441" cy="492"/>
            </a:xfrm>
            <a:custGeom>
              <a:avLst/>
              <a:gdLst>
                <a:gd name="T0" fmla="*/ 280 w 441"/>
                <a:gd name="T1" fmla="*/ 20 h 492"/>
                <a:gd name="T2" fmla="*/ 291 w 441"/>
                <a:gd name="T3" fmla="*/ 59 h 492"/>
                <a:gd name="T4" fmla="*/ 266 w 441"/>
                <a:gd name="T5" fmla="*/ 106 h 492"/>
                <a:gd name="T6" fmla="*/ 285 w 441"/>
                <a:gd name="T7" fmla="*/ 124 h 492"/>
                <a:gd name="T8" fmla="*/ 321 w 441"/>
                <a:gd name="T9" fmla="*/ 123 h 492"/>
                <a:gd name="T10" fmla="*/ 344 w 441"/>
                <a:gd name="T11" fmla="*/ 163 h 492"/>
                <a:gd name="T12" fmla="*/ 353 w 441"/>
                <a:gd name="T13" fmla="*/ 194 h 492"/>
                <a:gd name="T14" fmla="*/ 332 w 441"/>
                <a:gd name="T15" fmla="*/ 200 h 492"/>
                <a:gd name="T16" fmla="*/ 293 w 441"/>
                <a:gd name="T17" fmla="*/ 238 h 492"/>
                <a:gd name="T18" fmla="*/ 295 w 441"/>
                <a:gd name="T19" fmla="*/ 260 h 492"/>
                <a:gd name="T20" fmla="*/ 305 w 441"/>
                <a:gd name="T21" fmla="*/ 317 h 492"/>
                <a:gd name="T22" fmla="*/ 344 w 441"/>
                <a:gd name="T23" fmla="*/ 334 h 492"/>
                <a:gd name="T24" fmla="*/ 377 w 441"/>
                <a:gd name="T25" fmla="*/ 321 h 492"/>
                <a:gd name="T26" fmla="*/ 393 w 441"/>
                <a:gd name="T27" fmla="*/ 330 h 492"/>
                <a:gd name="T28" fmla="*/ 439 w 441"/>
                <a:gd name="T29" fmla="*/ 363 h 492"/>
                <a:gd name="T30" fmla="*/ 433 w 441"/>
                <a:gd name="T31" fmla="*/ 413 h 492"/>
                <a:gd name="T32" fmla="*/ 414 w 441"/>
                <a:gd name="T33" fmla="*/ 415 h 492"/>
                <a:gd name="T34" fmla="*/ 419 w 441"/>
                <a:gd name="T35" fmla="*/ 439 h 492"/>
                <a:gd name="T36" fmla="*/ 430 w 441"/>
                <a:gd name="T37" fmla="*/ 452 h 492"/>
                <a:gd name="T38" fmla="*/ 426 w 441"/>
                <a:gd name="T39" fmla="*/ 463 h 492"/>
                <a:gd name="T40" fmla="*/ 387 w 441"/>
                <a:gd name="T41" fmla="*/ 488 h 492"/>
                <a:gd name="T42" fmla="*/ 341 w 441"/>
                <a:gd name="T43" fmla="*/ 479 h 492"/>
                <a:gd name="T44" fmla="*/ 308 w 441"/>
                <a:gd name="T45" fmla="*/ 492 h 492"/>
                <a:gd name="T46" fmla="*/ 265 w 441"/>
                <a:gd name="T47" fmla="*/ 489 h 492"/>
                <a:gd name="T48" fmla="*/ 257 w 441"/>
                <a:gd name="T49" fmla="*/ 466 h 492"/>
                <a:gd name="T50" fmla="*/ 232 w 441"/>
                <a:gd name="T51" fmla="*/ 451 h 492"/>
                <a:gd name="T52" fmla="*/ 229 w 441"/>
                <a:gd name="T53" fmla="*/ 485 h 492"/>
                <a:gd name="T54" fmla="*/ 206 w 441"/>
                <a:gd name="T55" fmla="*/ 481 h 492"/>
                <a:gd name="T56" fmla="*/ 180 w 441"/>
                <a:gd name="T57" fmla="*/ 482 h 492"/>
                <a:gd name="T58" fmla="*/ 140 w 441"/>
                <a:gd name="T59" fmla="*/ 483 h 492"/>
                <a:gd name="T60" fmla="*/ 132 w 441"/>
                <a:gd name="T61" fmla="*/ 461 h 492"/>
                <a:gd name="T62" fmla="*/ 133 w 441"/>
                <a:gd name="T63" fmla="*/ 424 h 492"/>
                <a:gd name="T64" fmla="*/ 152 w 441"/>
                <a:gd name="T65" fmla="*/ 400 h 492"/>
                <a:gd name="T66" fmla="*/ 160 w 441"/>
                <a:gd name="T67" fmla="*/ 360 h 492"/>
                <a:gd name="T68" fmla="*/ 167 w 441"/>
                <a:gd name="T69" fmla="*/ 335 h 492"/>
                <a:gd name="T70" fmla="*/ 211 w 441"/>
                <a:gd name="T71" fmla="*/ 349 h 492"/>
                <a:gd name="T72" fmla="*/ 234 w 441"/>
                <a:gd name="T73" fmla="*/ 328 h 492"/>
                <a:gd name="T74" fmla="*/ 223 w 441"/>
                <a:gd name="T75" fmla="*/ 289 h 492"/>
                <a:gd name="T76" fmla="*/ 249 w 441"/>
                <a:gd name="T77" fmla="*/ 263 h 492"/>
                <a:gd name="T78" fmla="*/ 260 w 441"/>
                <a:gd name="T79" fmla="*/ 241 h 492"/>
                <a:gd name="T80" fmla="*/ 234 w 441"/>
                <a:gd name="T81" fmla="*/ 216 h 492"/>
                <a:gd name="T82" fmla="*/ 190 w 441"/>
                <a:gd name="T83" fmla="*/ 188 h 492"/>
                <a:gd name="T84" fmla="*/ 167 w 441"/>
                <a:gd name="T85" fmla="*/ 165 h 492"/>
                <a:gd name="T86" fmla="*/ 135 w 441"/>
                <a:gd name="T87" fmla="*/ 139 h 492"/>
                <a:gd name="T88" fmla="*/ 90 w 441"/>
                <a:gd name="T89" fmla="*/ 146 h 492"/>
                <a:gd name="T90" fmla="*/ 58 w 441"/>
                <a:gd name="T91" fmla="*/ 160 h 492"/>
                <a:gd name="T92" fmla="*/ 35 w 441"/>
                <a:gd name="T93" fmla="*/ 165 h 492"/>
                <a:gd name="T94" fmla="*/ 26 w 441"/>
                <a:gd name="T95" fmla="*/ 142 h 492"/>
                <a:gd name="T96" fmla="*/ 0 w 441"/>
                <a:gd name="T97" fmla="*/ 139 h 492"/>
                <a:gd name="T98" fmla="*/ 16 w 441"/>
                <a:gd name="T99" fmla="*/ 117 h 492"/>
                <a:gd name="T100" fmla="*/ 7 w 441"/>
                <a:gd name="T101" fmla="*/ 96 h 492"/>
                <a:gd name="T102" fmla="*/ 31 w 441"/>
                <a:gd name="T103" fmla="*/ 77 h 492"/>
                <a:gd name="T104" fmla="*/ 36 w 441"/>
                <a:gd name="T105" fmla="*/ 46 h 492"/>
                <a:gd name="T106" fmla="*/ 56 w 441"/>
                <a:gd name="T107" fmla="*/ 54 h 492"/>
                <a:gd name="T108" fmla="*/ 86 w 441"/>
                <a:gd name="T109" fmla="*/ 52 h 492"/>
                <a:gd name="T110" fmla="*/ 110 w 441"/>
                <a:gd name="T111" fmla="*/ 75 h 492"/>
                <a:gd name="T112" fmla="*/ 175 w 441"/>
                <a:gd name="T113" fmla="*/ 97 h 492"/>
                <a:gd name="T114" fmla="*/ 194 w 441"/>
                <a:gd name="T115" fmla="*/ 76 h 492"/>
                <a:gd name="T116" fmla="*/ 210 w 441"/>
                <a:gd name="T117" fmla="*/ 3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1" h="492">
                  <a:moveTo>
                    <a:pt x="238" y="0"/>
                  </a:moveTo>
                  <a:lnTo>
                    <a:pt x="239" y="0"/>
                  </a:lnTo>
                  <a:lnTo>
                    <a:pt x="241" y="1"/>
                  </a:lnTo>
                  <a:lnTo>
                    <a:pt x="244" y="1"/>
                  </a:lnTo>
                  <a:lnTo>
                    <a:pt x="247" y="2"/>
                  </a:lnTo>
                  <a:lnTo>
                    <a:pt x="251" y="3"/>
                  </a:lnTo>
                  <a:lnTo>
                    <a:pt x="255" y="5"/>
                  </a:lnTo>
                  <a:lnTo>
                    <a:pt x="262" y="9"/>
                  </a:lnTo>
                  <a:lnTo>
                    <a:pt x="272" y="13"/>
                  </a:lnTo>
                  <a:lnTo>
                    <a:pt x="273" y="13"/>
                  </a:lnTo>
                  <a:lnTo>
                    <a:pt x="275" y="14"/>
                  </a:lnTo>
                  <a:lnTo>
                    <a:pt x="277" y="16"/>
                  </a:lnTo>
                  <a:lnTo>
                    <a:pt x="280" y="20"/>
                  </a:lnTo>
                  <a:lnTo>
                    <a:pt x="289" y="29"/>
                  </a:lnTo>
                  <a:lnTo>
                    <a:pt x="291" y="31"/>
                  </a:lnTo>
                  <a:lnTo>
                    <a:pt x="291" y="33"/>
                  </a:lnTo>
                  <a:lnTo>
                    <a:pt x="292" y="35"/>
                  </a:lnTo>
                  <a:lnTo>
                    <a:pt x="293" y="37"/>
                  </a:lnTo>
                  <a:lnTo>
                    <a:pt x="293" y="39"/>
                  </a:lnTo>
                  <a:lnTo>
                    <a:pt x="294" y="43"/>
                  </a:lnTo>
                  <a:lnTo>
                    <a:pt x="294" y="46"/>
                  </a:lnTo>
                  <a:lnTo>
                    <a:pt x="294" y="49"/>
                  </a:lnTo>
                  <a:lnTo>
                    <a:pt x="293" y="52"/>
                  </a:lnTo>
                  <a:lnTo>
                    <a:pt x="293" y="54"/>
                  </a:lnTo>
                  <a:lnTo>
                    <a:pt x="292" y="57"/>
                  </a:lnTo>
                  <a:lnTo>
                    <a:pt x="291" y="59"/>
                  </a:lnTo>
                  <a:lnTo>
                    <a:pt x="290" y="62"/>
                  </a:lnTo>
                  <a:lnTo>
                    <a:pt x="289" y="64"/>
                  </a:lnTo>
                  <a:lnTo>
                    <a:pt x="287" y="67"/>
                  </a:lnTo>
                  <a:lnTo>
                    <a:pt x="285" y="69"/>
                  </a:lnTo>
                  <a:lnTo>
                    <a:pt x="281" y="75"/>
                  </a:lnTo>
                  <a:lnTo>
                    <a:pt x="274" y="84"/>
                  </a:lnTo>
                  <a:lnTo>
                    <a:pt x="270" y="90"/>
                  </a:lnTo>
                  <a:lnTo>
                    <a:pt x="268" y="94"/>
                  </a:lnTo>
                  <a:lnTo>
                    <a:pt x="268" y="96"/>
                  </a:lnTo>
                  <a:lnTo>
                    <a:pt x="267" y="98"/>
                  </a:lnTo>
                  <a:lnTo>
                    <a:pt x="266" y="101"/>
                  </a:lnTo>
                  <a:lnTo>
                    <a:pt x="266" y="103"/>
                  </a:lnTo>
                  <a:lnTo>
                    <a:pt x="266" y="106"/>
                  </a:lnTo>
                  <a:lnTo>
                    <a:pt x="267" y="109"/>
                  </a:lnTo>
                  <a:lnTo>
                    <a:pt x="267" y="111"/>
                  </a:lnTo>
                  <a:lnTo>
                    <a:pt x="268" y="114"/>
                  </a:lnTo>
                  <a:lnTo>
                    <a:pt x="269" y="116"/>
                  </a:lnTo>
                  <a:lnTo>
                    <a:pt x="270" y="118"/>
                  </a:lnTo>
                  <a:lnTo>
                    <a:pt x="272" y="120"/>
                  </a:lnTo>
                  <a:lnTo>
                    <a:pt x="273" y="122"/>
                  </a:lnTo>
                  <a:lnTo>
                    <a:pt x="275" y="123"/>
                  </a:lnTo>
                  <a:lnTo>
                    <a:pt x="276" y="123"/>
                  </a:lnTo>
                  <a:lnTo>
                    <a:pt x="278" y="124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5" y="124"/>
                  </a:lnTo>
                  <a:lnTo>
                    <a:pt x="288" y="124"/>
                  </a:lnTo>
                  <a:lnTo>
                    <a:pt x="291" y="123"/>
                  </a:lnTo>
                  <a:lnTo>
                    <a:pt x="294" y="121"/>
                  </a:lnTo>
                  <a:lnTo>
                    <a:pt x="298" y="119"/>
                  </a:lnTo>
                  <a:lnTo>
                    <a:pt x="302" y="117"/>
                  </a:lnTo>
                  <a:lnTo>
                    <a:pt x="304" y="114"/>
                  </a:lnTo>
                  <a:lnTo>
                    <a:pt x="307" y="113"/>
                  </a:lnTo>
                  <a:lnTo>
                    <a:pt x="310" y="110"/>
                  </a:lnTo>
                  <a:lnTo>
                    <a:pt x="314" y="106"/>
                  </a:lnTo>
                  <a:lnTo>
                    <a:pt x="314" y="105"/>
                  </a:lnTo>
                  <a:lnTo>
                    <a:pt x="314" y="107"/>
                  </a:lnTo>
                  <a:lnTo>
                    <a:pt x="318" y="114"/>
                  </a:lnTo>
                  <a:lnTo>
                    <a:pt x="321" y="123"/>
                  </a:lnTo>
                  <a:lnTo>
                    <a:pt x="322" y="125"/>
                  </a:lnTo>
                  <a:lnTo>
                    <a:pt x="323" y="126"/>
                  </a:lnTo>
                  <a:lnTo>
                    <a:pt x="324" y="128"/>
                  </a:lnTo>
                  <a:lnTo>
                    <a:pt x="325" y="130"/>
                  </a:lnTo>
                  <a:lnTo>
                    <a:pt x="331" y="137"/>
                  </a:lnTo>
                  <a:lnTo>
                    <a:pt x="331" y="138"/>
                  </a:lnTo>
                  <a:lnTo>
                    <a:pt x="333" y="140"/>
                  </a:lnTo>
                  <a:lnTo>
                    <a:pt x="335" y="144"/>
                  </a:lnTo>
                  <a:lnTo>
                    <a:pt x="336" y="146"/>
                  </a:lnTo>
                  <a:lnTo>
                    <a:pt x="338" y="152"/>
                  </a:lnTo>
                  <a:lnTo>
                    <a:pt x="339" y="155"/>
                  </a:lnTo>
                  <a:lnTo>
                    <a:pt x="343" y="161"/>
                  </a:lnTo>
                  <a:lnTo>
                    <a:pt x="344" y="163"/>
                  </a:lnTo>
                  <a:lnTo>
                    <a:pt x="345" y="164"/>
                  </a:lnTo>
                  <a:lnTo>
                    <a:pt x="348" y="168"/>
                  </a:lnTo>
                  <a:lnTo>
                    <a:pt x="352" y="172"/>
                  </a:lnTo>
                  <a:lnTo>
                    <a:pt x="354" y="175"/>
                  </a:lnTo>
                  <a:lnTo>
                    <a:pt x="354" y="176"/>
                  </a:lnTo>
                  <a:lnTo>
                    <a:pt x="355" y="183"/>
                  </a:lnTo>
                  <a:lnTo>
                    <a:pt x="356" y="188"/>
                  </a:lnTo>
                  <a:lnTo>
                    <a:pt x="356" y="190"/>
                  </a:lnTo>
                  <a:lnTo>
                    <a:pt x="356" y="191"/>
                  </a:lnTo>
                  <a:lnTo>
                    <a:pt x="355" y="192"/>
                  </a:lnTo>
                  <a:lnTo>
                    <a:pt x="355" y="193"/>
                  </a:lnTo>
                  <a:lnTo>
                    <a:pt x="354" y="193"/>
                  </a:lnTo>
                  <a:lnTo>
                    <a:pt x="353" y="194"/>
                  </a:lnTo>
                  <a:lnTo>
                    <a:pt x="352" y="194"/>
                  </a:lnTo>
                  <a:lnTo>
                    <a:pt x="350" y="194"/>
                  </a:lnTo>
                  <a:lnTo>
                    <a:pt x="348" y="194"/>
                  </a:lnTo>
                  <a:lnTo>
                    <a:pt x="342" y="194"/>
                  </a:lnTo>
                  <a:lnTo>
                    <a:pt x="339" y="194"/>
                  </a:lnTo>
                  <a:lnTo>
                    <a:pt x="338" y="194"/>
                  </a:lnTo>
                  <a:lnTo>
                    <a:pt x="337" y="194"/>
                  </a:lnTo>
                  <a:lnTo>
                    <a:pt x="336" y="195"/>
                  </a:lnTo>
                  <a:lnTo>
                    <a:pt x="335" y="196"/>
                  </a:lnTo>
                  <a:lnTo>
                    <a:pt x="334" y="196"/>
                  </a:lnTo>
                  <a:lnTo>
                    <a:pt x="333" y="198"/>
                  </a:lnTo>
                  <a:lnTo>
                    <a:pt x="332" y="199"/>
                  </a:lnTo>
                  <a:lnTo>
                    <a:pt x="332" y="200"/>
                  </a:lnTo>
                  <a:lnTo>
                    <a:pt x="332" y="203"/>
                  </a:lnTo>
                  <a:lnTo>
                    <a:pt x="332" y="207"/>
                  </a:lnTo>
                  <a:lnTo>
                    <a:pt x="332" y="209"/>
                  </a:lnTo>
                  <a:lnTo>
                    <a:pt x="332" y="210"/>
                  </a:lnTo>
                  <a:lnTo>
                    <a:pt x="330" y="211"/>
                  </a:lnTo>
                  <a:lnTo>
                    <a:pt x="322" y="216"/>
                  </a:lnTo>
                  <a:lnTo>
                    <a:pt x="319" y="217"/>
                  </a:lnTo>
                  <a:lnTo>
                    <a:pt x="315" y="219"/>
                  </a:lnTo>
                  <a:lnTo>
                    <a:pt x="311" y="223"/>
                  </a:lnTo>
                  <a:lnTo>
                    <a:pt x="300" y="231"/>
                  </a:lnTo>
                  <a:lnTo>
                    <a:pt x="296" y="234"/>
                  </a:lnTo>
                  <a:lnTo>
                    <a:pt x="294" y="236"/>
                  </a:lnTo>
                  <a:lnTo>
                    <a:pt x="293" y="238"/>
                  </a:lnTo>
                  <a:lnTo>
                    <a:pt x="292" y="239"/>
                  </a:lnTo>
                  <a:lnTo>
                    <a:pt x="291" y="240"/>
                  </a:lnTo>
                  <a:lnTo>
                    <a:pt x="291" y="241"/>
                  </a:lnTo>
                  <a:lnTo>
                    <a:pt x="291" y="243"/>
                  </a:lnTo>
                  <a:lnTo>
                    <a:pt x="291" y="244"/>
                  </a:lnTo>
                  <a:lnTo>
                    <a:pt x="291" y="245"/>
                  </a:lnTo>
                  <a:lnTo>
                    <a:pt x="291" y="246"/>
                  </a:lnTo>
                  <a:lnTo>
                    <a:pt x="291" y="247"/>
                  </a:lnTo>
                  <a:lnTo>
                    <a:pt x="293" y="250"/>
                  </a:lnTo>
                  <a:lnTo>
                    <a:pt x="294" y="252"/>
                  </a:lnTo>
                  <a:lnTo>
                    <a:pt x="294" y="253"/>
                  </a:lnTo>
                  <a:lnTo>
                    <a:pt x="295" y="257"/>
                  </a:lnTo>
                  <a:lnTo>
                    <a:pt x="295" y="260"/>
                  </a:lnTo>
                  <a:lnTo>
                    <a:pt x="296" y="261"/>
                  </a:lnTo>
                  <a:lnTo>
                    <a:pt x="298" y="265"/>
                  </a:lnTo>
                  <a:lnTo>
                    <a:pt x="298" y="266"/>
                  </a:lnTo>
                  <a:lnTo>
                    <a:pt x="299" y="268"/>
                  </a:lnTo>
                  <a:lnTo>
                    <a:pt x="299" y="270"/>
                  </a:lnTo>
                  <a:lnTo>
                    <a:pt x="300" y="275"/>
                  </a:lnTo>
                  <a:lnTo>
                    <a:pt x="301" y="285"/>
                  </a:lnTo>
                  <a:lnTo>
                    <a:pt x="302" y="299"/>
                  </a:lnTo>
                  <a:lnTo>
                    <a:pt x="302" y="304"/>
                  </a:lnTo>
                  <a:lnTo>
                    <a:pt x="302" y="307"/>
                  </a:lnTo>
                  <a:lnTo>
                    <a:pt x="303" y="310"/>
                  </a:lnTo>
                  <a:lnTo>
                    <a:pt x="304" y="313"/>
                  </a:lnTo>
                  <a:lnTo>
                    <a:pt x="305" y="317"/>
                  </a:lnTo>
                  <a:lnTo>
                    <a:pt x="306" y="318"/>
                  </a:lnTo>
                  <a:lnTo>
                    <a:pt x="307" y="320"/>
                  </a:lnTo>
                  <a:lnTo>
                    <a:pt x="310" y="324"/>
                  </a:lnTo>
                  <a:lnTo>
                    <a:pt x="312" y="326"/>
                  </a:lnTo>
                  <a:lnTo>
                    <a:pt x="313" y="328"/>
                  </a:lnTo>
                  <a:lnTo>
                    <a:pt x="314" y="329"/>
                  </a:lnTo>
                  <a:lnTo>
                    <a:pt x="315" y="330"/>
                  </a:lnTo>
                  <a:lnTo>
                    <a:pt x="317" y="330"/>
                  </a:lnTo>
                  <a:lnTo>
                    <a:pt x="319" y="331"/>
                  </a:lnTo>
                  <a:lnTo>
                    <a:pt x="320" y="331"/>
                  </a:lnTo>
                  <a:lnTo>
                    <a:pt x="325" y="332"/>
                  </a:lnTo>
                  <a:lnTo>
                    <a:pt x="342" y="334"/>
                  </a:lnTo>
                  <a:lnTo>
                    <a:pt x="344" y="334"/>
                  </a:lnTo>
                  <a:lnTo>
                    <a:pt x="346" y="334"/>
                  </a:lnTo>
                  <a:lnTo>
                    <a:pt x="348" y="334"/>
                  </a:lnTo>
                  <a:lnTo>
                    <a:pt x="350" y="334"/>
                  </a:lnTo>
                  <a:lnTo>
                    <a:pt x="352" y="333"/>
                  </a:lnTo>
                  <a:lnTo>
                    <a:pt x="355" y="332"/>
                  </a:lnTo>
                  <a:lnTo>
                    <a:pt x="360" y="330"/>
                  </a:lnTo>
                  <a:lnTo>
                    <a:pt x="364" y="329"/>
                  </a:lnTo>
                  <a:lnTo>
                    <a:pt x="366" y="329"/>
                  </a:lnTo>
                  <a:lnTo>
                    <a:pt x="371" y="325"/>
                  </a:lnTo>
                  <a:lnTo>
                    <a:pt x="374" y="324"/>
                  </a:lnTo>
                  <a:lnTo>
                    <a:pt x="375" y="323"/>
                  </a:lnTo>
                  <a:lnTo>
                    <a:pt x="376" y="322"/>
                  </a:lnTo>
                  <a:lnTo>
                    <a:pt x="377" y="321"/>
                  </a:lnTo>
                  <a:lnTo>
                    <a:pt x="380" y="318"/>
                  </a:lnTo>
                  <a:lnTo>
                    <a:pt x="382" y="317"/>
                  </a:lnTo>
                  <a:lnTo>
                    <a:pt x="382" y="316"/>
                  </a:lnTo>
                  <a:lnTo>
                    <a:pt x="383" y="316"/>
                  </a:lnTo>
                  <a:lnTo>
                    <a:pt x="384" y="316"/>
                  </a:lnTo>
                  <a:lnTo>
                    <a:pt x="385" y="316"/>
                  </a:lnTo>
                  <a:lnTo>
                    <a:pt x="386" y="317"/>
                  </a:lnTo>
                  <a:lnTo>
                    <a:pt x="387" y="317"/>
                  </a:lnTo>
                  <a:lnTo>
                    <a:pt x="388" y="318"/>
                  </a:lnTo>
                  <a:lnTo>
                    <a:pt x="389" y="318"/>
                  </a:lnTo>
                  <a:lnTo>
                    <a:pt x="390" y="321"/>
                  </a:lnTo>
                  <a:lnTo>
                    <a:pt x="393" y="329"/>
                  </a:lnTo>
                  <a:lnTo>
                    <a:pt x="393" y="330"/>
                  </a:lnTo>
                  <a:lnTo>
                    <a:pt x="394" y="333"/>
                  </a:lnTo>
                  <a:lnTo>
                    <a:pt x="403" y="344"/>
                  </a:lnTo>
                  <a:lnTo>
                    <a:pt x="405" y="348"/>
                  </a:lnTo>
                  <a:lnTo>
                    <a:pt x="408" y="350"/>
                  </a:lnTo>
                  <a:lnTo>
                    <a:pt x="410" y="352"/>
                  </a:lnTo>
                  <a:lnTo>
                    <a:pt x="412" y="353"/>
                  </a:lnTo>
                  <a:lnTo>
                    <a:pt x="416" y="355"/>
                  </a:lnTo>
                  <a:lnTo>
                    <a:pt x="419" y="356"/>
                  </a:lnTo>
                  <a:lnTo>
                    <a:pt x="430" y="361"/>
                  </a:lnTo>
                  <a:lnTo>
                    <a:pt x="432" y="362"/>
                  </a:lnTo>
                  <a:lnTo>
                    <a:pt x="436" y="362"/>
                  </a:lnTo>
                  <a:lnTo>
                    <a:pt x="437" y="363"/>
                  </a:lnTo>
                  <a:lnTo>
                    <a:pt x="439" y="363"/>
                  </a:lnTo>
                  <a:lnTo>
                    <a:pt x="439" y="364"/>
                  </a:lnTo>
                  <a:lnTo>
                    <a:pt x="440" y="364"/>
                  </a:lnTo>
                  <a:lnTo>
                    <a:pt x="441" y="366"/>
                  </a:lnTo>
                  <a:lnTo>
                    <a:pt x="441" y="369"/>
                  </a:lnTo>
                  <a:lnTo>
                    <a:pt x="441" y="372"/>
                  </a:lnTo>
                  <a:lnTo>
                    <a:pt x="439" y="379"/>
                  </a:lnTo>
                  <a:lnTo>
                    <a:pt x="438" y="398"/>
                  </a:lnTo>
                  <a:lnTo>
                    <a:pt x="438" y="400"/>
                  </a:lnTo>
                  <a:lnTo>
                    <a:pt x="437" y="407"/>
                  </a:lnTo>
                  <a:lnTo>
                    <a:pt x="436" y="409"/>
                  </a:lnTo>
                  <a:lnTo>
                    <a:pt x="435" y="412"/>
                  </a:lnTo>
                  <a:lnTo>
                    <a:pt x="434" y="413"/>
                  </a:lnTo>
                  <a:lnTo>
                    <a:pt x="433" y="413"/>
                  </a:lnTo>
                  <a:lnTo>
                    <a:pt x="432" y="413"/>
                  </a:lnTo>
                  <a:lnTo>
                    <a:pt x="430" y="413"/>
                  </a:lnTo>
                  <a:lnTo>
                    <a:pt x="428" y="411"/>
                  </a:lnTo>
                  <a:lnTo>
                    <a:pt x="427" y="410"/>
                  </a:lnTo>
                  <a:lnTo>
                    <a:pt x="425" y="410"/>
                  </a:lnTo>
                  <a:lnTo>
                    <a:pt x="424" y="410"/>
                  </a:lnTo>
                  <a:lnTo>
                    <a:pt x="423" y="410"/>
                  </a:lnTo>
                  <a:lnTo>
                    <a:pt x="421" y="410"/>
                  </a:lnTo>
                  <a:lnTo>
                    <a:pt x="420" y="410"/>
                  </a:lnTo>
                  <a:lnTo>
                    <a:pt x="418" y="411"/>
                  </a:lnTo>
                  <a:lnTo>
                    <a:pt x="416" y="412"/>
                  </a:lnTo>
                  <a:lnTo>
                    <a:pt x="415" y="413"/>
                  </a:lnTo>
                  <a:lnTo>
                    <a:pt x="414" y="415"/>
                  </a:lnTo>
                  <a:lnTo>
                    <a:pt x="412" y="417"/>
                  </a:lnTo>
                  <a:lnTo>
                    <a:pt x="411" y="419"/>
                  </a:lnTo>
                  <a:lnTo>
                    <a:pt x="410" y="420"/>
                  </a:lnTo>
                  <a:lnTo>
                    <a:pt x="409" y="422"/>
                  </a:lnTo>
                  <a:lnTo>
                    <a:pt x="409" y="424"/>
                  </a:lnTo>
                  <a:lnTo>
                    <a:pt x="410" y="426"/>
                  </a:lnTo>
                  <a:lnTo>
                    <a:pt x="410" y="428"/>
                  </a:lnTo>
                  <a:lnTo>
                    <a:pt x="411" y="430"/>
                  </a:lnTo>
                  <a:lnTo>
                    <a:pt x="413" y="432"/>
                  </a:lnTo>
                  <a:lnTo>
                    <a:pt x="414" y="433"/>
                  </a:lnTo>
                  <a:lnTo>
                    <a:pt x="416" y="435"/>
                  </a:lnTo>
                  <a:lnTo>
                    <a:pt x="417" y="437"/>
                  </a:lnTo>
                  <a:lnTo>
                    <a:pt x="419" y="439"/>
                  </a:lnTo>
                  <a:lnTo>
                    <a:pt x="421" y="440"/>
                  </a:lnTo>
                  <a:lnTo>
                    <a:pt x="423" y="441"/>
                  </a:lnTo>
                  <a:lnTo>
                    <a:pt x="425" y="442"/>
                  </a:lnTo>
                  <a:lnTo>
                    <a:pt x="427" y="443"/>
                  </a:lnTo>
                  <a:lnTo>
                    <a:pt x="430" y="443"/>
                  </a:lnTo>
                  <a:lnTo>
                    <a:pt x="436" y="444"/>
                  </a:lnTo>
                  <a:lnTo>
                    <a:pt x="439" y="445"/>
                  </a:lnTo>
                  <a:lnTo>
                    <a:pt x="439" y="446"/>
                  </a:lnTo>
                  <a:lnTo>
                    <a:pt x="437" y="448"/>
                  </a:lnTo>
                  <a:lnTo>
                    <a:pt x="435" y="450"/>
                  </a:lnTo>
                  <a:lnTo>
                    <a:pt x="433" y="451"/>
                  </a:lnTo>
                  <a:lnTo>
                    <a:pt x="432" y="451"/>
                  </a:lnTo>
                  <a:lnTo>
                    <a:pt x="430" y="452"/>
                  </a:lnTo>
                  <a:lnTo>
                    <a:pt x="428" y="452"/>
                  </a:lnTo>
                  <a:lnTo>
                    <a:pt x="427" y="453"/>
                  </a:lnTo>
                  <a:lnTo>
                    <a:pt x="426" y="454"/>
                  </a:lnTo>
                  <a:lnTo>
                    <a:pt x="425" y="454"/>
                  </a:lnTo>
                  <a:lnTo>
                    <a:pt x="425" y="455"/>
                  </a:lnTo>
                  <a:lnTo>
                    <a:pt x="426" y="457"/>
                  </a:lnTo>
                  <a:lnTo>
                    <a:pt x="427" y="458"/>
                  </a:lnTo>
                  <a:lnTo>
                    <a:pt x="428" y="459"/>
                  </a:lnTo>
                  <a:lnTo>
                    <a:pt x="428" y="460"/>
                  </a:lnTo>
                  <a:lnTo>
                    <a:pt x="428" y="461"/>
                  </a:lnTo>
                  <a:lnTo>
                    <a:pt x="428" y="461"/>
                  </a:lnTo>
                  <a:lnTo>
                    <a:pt x="427" y="462"/>
                  </a:lnTo>
                  <a:lnTo>
                    <a:pt x="426" y="463"/>
                  </a:lnTo>
                  <a:lnTo>
                    <a:pt x="420" y="470"/>
                  </a:lnTo>
                  <a:lnTo>
                    <a:pt x="418" y="473"/>
                  </a:lnTo>
                  <a:lnTo>
                    <a:pt x="417" y="474"/>
                  </a:lnTo>
                  <a:lnTo>
                    <a:pt x="416" y="474"/>
                  </a:lnTo>
                  <a:lnTo>
                    <a:pt x="411" y="477"/>
                  </a:lnTo>
                  <a:lnTo>
                    <a:pt x="409" y="479"/>
                  </a:lnTo>
                  <a:lnTo>
                    <a:pt x="405" y="481"/>
                  </a:lnTo>
                  <a:lnTo>
                    <a:pt x="403" y="483"/>
                  </a:lnTo>
                  <a:lnTo>
                    <a:pt x="399" y="485"/>
                  </a:lnTo>
                  <a:lnTo>
                    <a:pt x="395" y="486"/>
                  </a:lnTo>
                  <a:lnTo>
                    <a:pt x="393" y="487"/>
                  </a:lnTo>
                  <a:lnTo>
                    <a:pt x="390" y="488"/>
                  </a:lnTo>
                  <a:lnTo>
                    <a:pt x="387" y="488"/>
                  </a:lnTo>
                  <a:lnTo>
                    <a:pt x="386" y="488"/>
                  </a:lnTo>
                  <a:lnTo>
                    <a:pt x="384" y="487"/>
                  </a:lnTo>
                  <a:lnTo>
                    <a:pt x="382" y="486"/>
                  </a:lnTo>
                  <a:lnTo>
                    <a:pt x="378" y="485"/>
                  </a:lnTo>
                  <a:lnTo>
                    <a:pt x="375" y="484"/>
                  </a:lnTo>
                  <a:lnTo>
                    <a:pt x="371" y="483"/>
                  </a:lnTo>
                  <a:lnTo>
                    <a:pt x="367" y="482"/>
                  </a:lnTo>
                  <a:lnTo>
                    <a:pt x="363" y="481"/>
                  </a:lnTo>
                  <a:lnTo>
                    <a:pt x="350" y="479"/>
                  </a:lnTo>
                  <a:lnTo>
                    <a:pt x="348" y="479"/>
                  </a:lnTo>
                  <a:lnTo>
                    <a:pt x="346" y="479"/>
                  </a:lnTo>
                  <a:lnTo>
                    <a:pt x="344" y="479"/>
                  </a:lnTo>
                  <a:lnTo>
                    <a:pt x="341" y="479"/>
                  </a:lnTo>
                  <a:lnTo>
                    <a:pt x="339" y="480"/>
                  </a:lnTo>
                  <a:lnTo>
                    <a:pt x="337" y="481"/>
                  </a:lnTo>
                  <a:lnTo>
                    <a:pt x="332" y="483"/>
                  </a:lnTo>
                  <a:lnTo>
                    <a:pt x="327" y="486"/>
                  </a:lnTo>
                  <a:lnTo>
                    <a:pt x="325" y="487"/>
                  </a:lnTo>
                  <a:lnTo>
                    <a:pt x="321" y="489"/>
                  </a:lnTo>
                  <a:lnTo>
                    <a:pt x="319" y="490"/>
                  </a:lnTo>
                  <a:lnTo>
                    <a:pt x="317" y="491"/>
                  </a:lnTo>
                  <a:lnTo>
                    <a:pt x="316" y="491"/>
                  </a:lnTo>
                  <a:lnTo>
                    <a:pt x="313" y="492"/>
                  </a:lnTo>
                  <a:lnTo>
                    <a:pt x="311" y="492"/>
                  </a:lnTo>
                  <a:lnTo>
                    <a:pt x="310" y="492"/>
                  </a:lnTo>
                  <a:lnTo>
                    <a:pt x="308" y="492"/>
                  </a:lnTo>
                  <a:lnTo>
                    <a:pt x="306" y="492"/>
                  </a:lnTo>
                  <a:lnTo>
                    <a:pt x="302" y="491"/>
                  </a:lnTo>
                  <a:lnTo>
                    <a:pt x="296" y="488"/>
                  </a:lnTo>
                  <a:lnTo>
                    <a:pt x="294" y="488"/>
                  </a:lnTo>
                  <a:lnTo>
                    <a:pt x="291" y="488"/>
                  </a:lnTo>
                  <a:lnTo>
                    <a:pt x="286" y="488"/>
                  </a:lnTo>
                  <a:lnTo>
                    <a:pt x="283" y="487"/>
                  </a:lnTo>
                  <a:lnTo>
                    <a:pt x="281" y="488"/>
                  </a:lnTo>
                  <a:lnTo>
                    <a:pt x="279" y="488"/>
                  </a:lnTo>
                  <a:lnTo>
                    <a:pt x="274" y="488"/>
                  </a:lnTo>
                  <a:lnTo>
                    <a:pt x="271" y="489"/>
                  </a:lnTo>
                  <a:lnTo>
                    <a:pt x="268" y="489"/>
                  </a:lnTo>
                  <a:lnTo>
                    <a:pt x="265" y="489"/>
                  </a:lnTo>
                  <a:lnTo>
                    <a:pt x="264" y="489"/>
                  </a:lnTo>
                  <a:lnTo>
                    <a:pt x="262" y="488"/>
                  </a:lnTo>
                  <a:lnTo>
                    <a:pt x="261" y="488"/>
                  </a:lnTo>
                  <a:lnTo>
                    <a:pt x="260" y="488"/>
                  </a:lnTo>
                  <a:lnTo>
                    <a:pt x="258" y="487"/>
                  </a:lnTo>
                  <a:lnTo>
                    <a:pt x="258" y="486"/>
                  </a:lnTo>
                  <a:lnTo>
                    <a:pt x="257" y="485"/>
                  </a:lnTo>
                  <a:lnTo>
                    <a:pt x="257" y="483"/>
                  </a:lnTo>
                  <a:lnTo>
                    <a:pt x="257" y="481"/>
                  </a:lnTo>
                  <a:lnTo>
                    <a:pt x="256" y="479"/>
                  </a:lnTo>
                  <a:lnTo>
                    <a:pt x="257" y="473"/>
                  </a:lnTo>
                  <a:lnTo>
                    <a:pt x="257" y="468"/>
                  </a:lnTo>
                  <a:lnTo>
                    <a:pt x="257" y="466"/>
                  </a:lnTo>
                  <a:lnTo>
                    <a:pt x="257" y="465"/>
                  </a:lnTo>
                  <a:lnTo>
                    <a:pt x="256" y="464"/>
                  </a:lnTo>
                  <a:lnTo>
                    <a:pt x="255" y="462"/>
                  </a:lnTo>
                  <a:lnTo>
                    <a:pt x="254" y="461"/>
                  </a:lnTo>
                  <a:lnTo>
                    <a:pt x="252" y="459"/>
                  </a:lnTo>
                  <a:lnTo>
                    <a:pt x="250" y="457"/>
                  </a:lnTo>
                  <a:lnTo>
                    <a:pt x="247" y="455"/>
                  </a:lnTo>
                  <a:lnTo>
                    <a:pt x="246" y="454"/>
                  </a:lnTo>
                  <a:lnTo>
                    <a:pt x="242" y="453"/>
                  </a:lnTo>
                  <a:lnTo>
                    <a:pt x="238" y="452"/>
                  </a:lnTo>
                  <a:lnTo>
                    <a:pt x="235" y="451"/>
                  </a:lnTo>
                  <a:lnTo>
                    <a:pt x="233" y="451"/>
                  </a:lnTo>
                  <a:lnTo>
                    <a:pt x="232" y="451"/>
                  </a:lnTo>
                  <a:lnTo>
                    <a:pt x="233" y="452"/>
                  </a:lnTo>
                  <a:lnTo>
                    <a:pt x="234" y="462"/>
                  </a:lnTo>
                  <a:lnTo>
                    <a:pt x="235" y="465"/>
                  </a:lnTo>
                  <a:lnTo>
                    <a:pt x="235" y="467"/>
                  </a:lnTo>
                  <a:lnTo>
                    <a:pt x="235" y="471"/>
                  </a:lnTo>
                  <a:lnTo>
                    <a:pt x="235" y="472"/>
                  </a:lnTo>
                  <a:lnTo>
                    <a:pt x="235" y="474"/>
                  </a:lnTo>
                  <a:lnTo>
                    <a:pt x="234" y="477"/>
                  </a:lnTo>
                  <a:lnTo>
                    <a:pt x="234" y="478"/>
                  </a:lnTo>
                  <a:lnTo>
                    <a:pt x="234" y="480"/>
                  </a:lnTo>
                  <a:lnTo>
                    <a:pt x="233" y="481"/>
                  </a:lnTo>
                  <a:lnTo>
                    <a:pt x="231" y="483"/>
                  </a:lnTo>
                  <a:lnTo>
                    <a:pt x="229" y="485"/>
                  </a:lnTo>
                  <a:lnTo>
                    <a:pt x="227" y="486"/>
                  </a:lnTo>
                  <a:lnTo>
                    <a:pt x="226" y="487"/>
                  </a:lnTo>
                  <a:lnTo>
                    <a:pt x="225" y="488"/>
                  </a:lnTo>
                  <a:lnTo>
                    <a:pt x="223" y="488"/>
                  </a:lnTo>
                  <a:lnTo>
                    <a:pt x="223" y="488"/>
                  </a:lnTo>
                  <a:lnTo>
                    <a:pt x="223" y="487"/>
                  </a:lnTo>
                  <a:lnTo>
                    <a:pt x="221" y="487"/>
                  </a:lnTo>
                  <a:lnTo>
                    <a:pt x="216" y="485"/>
                  </a:lnTo>
                  <a:lnTo>
                    <a:pt x="213" y="483"/>
                  </a:lnTo>
                  <a:lnTo>
                    <a:pt x="210" y="482"/>
                  </a:lnTo>
                  <a:lnTo>
                    <a:pt x="208" y="481"/>
                  </a:lnTo>
                  <a:lnTo>
                    <a:pt x="207" y="481"/>
                  </a:lnTo>
                  <a:lnTo>
                    <a:pt x="206" y="481"/>
                  </a:lnTo>
                  <a:lnTo>
                    <a:pt x="204" y="481"/>
                  </a:lnTo>
                  <a:lnTo>
                    <a:pt x="201" y="483"/>
                  </a:lnTo>
                  <a:lnTo>
                    <a:pt x="199" y="484"/>
                  </a:lnTo>
                  <a:lnTo>
                    <a:pt x="197" y="485"/>
                  </a:lnTo>
                  <a:lnTo>
                    <a:pt x="196" y="486"/>
                  </a:lnTo>
                  <a:lnTo>
                    <a:pt x="195" y="486"/>
                  </a:lnTo>
                  <a:lnTo>
                    <a:pt x="194" y="486"/>
                  </a:lnTo>
                  <a:lnTo>
                    <a:pt x="193" y="485"/>
                  </a:lnTo>
                  <a:lnTo>
                    <a:pt x="190" y="484"/>
                  </a:lnTo>
                  <a:lnTo>
                    <a:pt x="189" y="483"/>
                  </a:lnTo>
                  <a:lnTo>
                    <a:pt x="188" y="483"/>
                  </a:lnTo>
                  <a:lnTo>
                    <a:pt x="184" y="483"/>
                  </a:lnTo>
                  <a:lnTo>
                    <a:pt x="180" y="482"/>
                  </a:lnTo>
                  <a:lnTo>
                    <a:pt x="177" y="482"/>
                  </a:lnTo>
                  <a:lnTo>
                    <a:pt x="176" y="482"/>
                  </a:lnTo>
                  <a:lnTo>
                    <a:pt x="175" y="482"/>
                  </a:lnTo>
                  <a:lnTo>
                    <a:pt x="169" y="483"/>
                  </a:lnTo>
                  <a:lnTo>
                    <a:pt x="166" y="484"/>
                  </a:lnTo>
                  <a:lnTo>
                    <a:pt x="160" y="485"/>
                  </a:lnTo>
                  <a:lnTo>
                    <a:pt x="151" y="485"/>
                  </a:lnTo>
                  <a:lnTo>
                    <a:pt x="146" y="485"/>
                  </a:lnTo>
                  <a:lnTo>
                    <a:pt x="143" y="485"/>
                  </a:lnTo>
                  <a:lnTo>
                    <a:pt x="142" y="484"/>
                  </a:lnTo>
                  <a:lnTo>
                    <a:pt x="141" y="484"/>
                  </a:lnTo>
                  <a:lnTo>
                    <a:pt x="140" y="484"/>
                  </a:lnTo>
                  <a:lnTo>
                    <a:pt x="140" y="483"/>
                  </a:lnTo>
                  <a:lnTo>
                    <a:pt x="141" y="483"/>
                  </a:lnTo>
                  <a:lnTo>
                    <a:pt x="141" y="482"/>
                  </a:lnTo>
                  <a:lnTo>
                    <a:pt x="142" y="482"/>
                  </a:lnTo>
                  <a:lnTo>
                    <a:pt x="142" y="481"/>
                  </a:lnTo>
                  <a:lnTo>
                    <a:pt x="142" y="480"/>
                  </a:lnTo>
                  <a:lnTo>
                    <a:pt x="142" y="479"/>
                  </a:lnTo>
                  <a:lnTo>
                    <a:pt x="141" y="477"/>
                  </a:lnTo>
                  <a:lnTo>
                    <a:pt x="141" y="476"/>
                  </a:lnTo>
                  <a:lnTo>
                    <a:pt x="140" y="475"/>
                  </a:lnTo>
                  <a:lnTo>
                    <a:pt x="136" y="468"/>
                  </a:lnTo>
                  <a:lnTo>
                    <a:pt x="134" y="465"/>
                  </a:lnTo>
                  <a:lnTo>
                    <a:pt x="133" y="463"/>
                  </a:lnTo>
                  <a:lnTo>
                    <a:pt x="132" y="461"/>
                  </a:lnTo>
                  <a:lnTo>
                    <a:pt x="132" y="458"/>
                  </a:lnTo>
                  <a:lnTo>
                    <a:pt x="132" y="456"/>
                  </a:lnTo>
                  <a:lnTo>
                    <a:pt x="131" y="454"/>
                  </a:lnTo>
                  <a:lnTo>
                    <a:pt x="131" y="451"/>
                  </a:lnTo>
                  <a:lnTo>
                    <a:pt x="131" y="449"/>
                  </a:lnTo>
                  <a:lnTo>
                    <a:pt x="131" y="447"/>
                  </a:lnTo>
                  <a:lnTo>
                    <a:pt x="132" y="445"/>
                  </a:lnTo>
                  <a:lnTo>
                    <a:pt x="132" y="441"/>
                  </a:lnTo>
                  <a:lnTo>
                    <a:pt x="133" y="438"/>
                  </a:lnTo>
                  <a:lnTo>
                    <a:pt x="134" y="435"/>
                  </a:lnTo>
                  <a:lnTo>
                    <a:pt x="134" y="433"/>
                  </a:lnTo>
                  <a:lnTo>
                    <a:pt x="134" y="431"/>
                  </a:lnTo>
                  <a:lnTo>
                    <a:pt x="133" y="424"/>
                  </a:lnTo>
                  <a:lnTo>
                    <a:pt x="133" y="422"/>
                  </a:lnTo>
                  <a:lnTo>
                    <a:pt x="134" y="421"/>
                  </a:lnTo>
                  <a:lnTo>
                    <a:pt x="134" y="420"/>
                  </a:lnTo>
                  <a:lnTo>
                    <a:pt x="134" y="420"/>
                  </a:lnTo>
                  <a:lnTo>
                    <a:pt x="135" y="418"/>
                  </a:lnTo>
                  <a:lnTo>
                    <a:pt x="138" y="415"/>
                  </a:lnTo>
                  <a:lnTo>
                    <a:pt x="142" y="409"/>
                  </a:lnTo>
                  <a:lnTo>
                    <a:pt x="144" y="408"/>
                  </a:lnTo>
                  <a:lnTo>
                    <a:pt x="145" y="406"/>
                  </a:lnTo>
                  <a:lnTo>
                    <a:pt x="147" y="405"/>
                  </a:lnTo>
                  <a:lnTo>
                    <a:pt x="151" y="402"/>
                  </a:lnTo>
                  <a:lnTo>
                    <a:pt x="151" y="401"/>
                  </a:lnTo>
                  <a:lnTo>
                    <a:pt x="152" y="400"/>
                  </a:lnTo>
                  <a:lnTo>
                    <a:pt x="154" y="398"/>
                  </a:lnTo>
                  <a:lnTo>
                    <a:pt x="155" y="397"/>
                  </a:lnTo>
                  <a:lnTo>
                    <a:pt x="155" y="395"/>
                  </a:lnTo>
                  <a:lnTo>
                    <a:pt x="156" y="392"/>
                  </a:lnTo>
                  <a:lnTo>
                    <a:pt x="157" y="387"/>
                  </a:lnTo>
                  <a:lnTo>
                    <a:pt x="158" y="385"/>
                  </a:lnTo>
                  <a:lnTo>
                    <a:pt x="158" y="382"/>
                  </a:lnTo>
                  <a:lnTo>
                    <a:pt x="159" y="372"/>
                  </a:lnTo>
                  <a:lnTo>
                    <a:pt x="159" y="370"/>
                  </a:lnTo>
                  <a:lnTo>
                    <a:pt x="159" y="365"/>
                  </a:lnTo>
                  <a:lnTo>
                    <a:pt x="159" y="363"/>
                  </a:lnTo>
                  <a:lnTo>
                    <a:pt x="159" y="362"/>
                  </a:lnTo>
                  <a:lnTo>
                    <a:pt x="160" y="360"/>
                  </a:lnTo>
                  <a:lnTo>
                    <a:pt x="162" y="352"/>
                  </a:lnTo>
                  <a:lnTo>
                    <a:pt x="163" y="350"/>
                  </a:lnTo>
                  <a:lnTo>
                    <a:pt x="163" y="349"/>
                  </a:lnTo>
                  <a:lnTo>
                    <a:pt x="163" y="346"/>
                  </a:lnTo>
                  <a:lnTo>
                    <a:pt x="163" y="343"/>
                  </a:lnTo>
                  <a:lnTo>
                    <a:pt x="162" y="340"/>
                  </a:lnTo>
                  <a:lnTo>
                    <a:pt x="162" y="338"/>
                  </a:lnTo>
                  <a:lnTo>
                    <a:pt x="162" y="337"/>
                  </a:lnTo>
                  <a:lnTo>
                    <a:pt x="162" y="336"/>
                  </a:lnTo>
                  <a:lnTo>
                    <a:pt x="163" y="336"/>
                  </a:lnTo>
                  <a:lnTo>
                    <a:pt x="164" y="335"/>
                  </a:lnTo>
                  <a:lnTo>
                    <a:pt x="166" y="335"/>
                  </a:lnTo>
                  <a:lnTo>
                    <a:pt x="167" y="335"/>
                  </a:lnTo>
                  <a:lnTo>
                    <a:pt x="169" y="335"/>
                  </a:lnTo>
                  <a:lnTo>
                    <a:pt x="171" y="335"/>
                  </a:lnTo>
                  <a:lnTo>
                    <a:pt x="173" y="335"/>
                  </a:lnTo>
                  <a:lnTo>
                    <a:pt x="177" y="337"/>
                  </a:lnTo>
                  <a:lnTo>
                    <a:pt x="183" y="339"/>
                  </a:lnTo>
                  <a:lnTo>
                    <a:pt x="186" y="341"/>
                  </a:lnTo>
                  <a:lnTo>
                    <a:pt x="194" y="345"/>
                  </a:lnTo>
                  <a:lnTo>
                    <a:pt x="197" y="346"/>
                  </a:lnTo>
                  <a:lnTo>
                    <a:pt x="200" y="347"/>
                  </a:lnTo>
                  <a:lnTo>
                    <a:pt x="202" y="348"/>
                  </a:lnTo>
                  <a:lnTo>
                    <a:pt x="206" y="349"/>
                  </a:lnTo>
                  <a:lnTo>
                    <a:pt x="209" y="349"/>
                  </a:lnTo>
                  <a:lnTo>
                    <a:pt x="211" y="349"/>
                  </a:lnTo>
                  <a:lnTo>
                    <a:pt x="212" y="348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7" y="346"/>
                  </a:lnTo>
                  <a:lnTo>
                    <a:pt x="220" y="343"/>
                  </a:lnTo>
                  <a:lnTo>
                    <a:pt x="221" y="342"/>
                  </a:lnTo>
                  <a:lnTo>
                    <a:pt x="227" y="338"/>
                  </a:lnTo>
                  <a:lnTo>
                    <a:pt x="228" y="337"/>
                  </a:lnTo>
                  <a:lnTo>
                    <a:pt x="230" y="335"/>
                  </a:lnTo>
                  <a:lnTo>
                    <a:pt x="231" y="333"/>
                  </a:lnTo>
                  <a:lnTo>
                    <a:pt x="232" y="331"/>
                  </a:lnTo>
                  <a:lnTo>
                    <a:pt x="233" y="330"/>
                  </a:lnTo>
                  <a:lnTo>
                    <a:pt x="234" y="328"/>
                  </a:lnTo>
                  <a:lnTo>
                    <a:pt x="234" y="325"/>
                  </a:lnTo>
                  <a:lnTo>
                    <a:pt x="234" y="323"/>
                  </a:lnTo>
                  <a:lnTo>
                    <a:pt x="234" y="321"/>
                  </a:lnTo>
                  <a:lnTo>
                    <a:pt x="234" y="318"/>
                  </a:lnTo>
                  <a:lnTo>
                    <a:pt x="232" y="310"/>
                  </a:lnTo>
                  <a:lnTo>
                    <a:pt x="231" y="304"/>
                  </a:lnTo>
                  <a:lnTo>
                    <a:pt x="231" y="301"/>
                  </a:lnTo>
                  <a:lnTo>
                    <a:pt x="230" y="298"/>
                  </a:lnTo>
                  <a:lnTo>
                    <a:pt x="228" y="296"/>
                  </a:lnTo>
                  <a:lnTo>
                    <a:pt x="226" y="294"/>
                  </a:lnTo>
                  <a:lnTo>
                    <a:pt x="223" y="291"/>
                  </a:lnTo>
                  <a:lnTo>
                    <a:pt x="223" y="290"/>
                  </a:lnTo>
                  <a:lnTo>
                    <a:pt x="223" y="289"/>
                  </a:lnTo>
                  <a:lnTo>
                    <a:pt x="222" y="287"/>
                  </a:lnTo>
                  <a:lnTo>
                    <a:pt x="222" y="286"/>
                  </a:lnTo>
                  <a:lnTo>
                    <a:pt x="222" y="284"/>
                  </a:lnTo>
                  <a:lnTo>
                    <a:pt x="223" y="283"/>
                  </a:lnTo>
                  <a:lnTo>
                    <a:pt x="223" y="282"/>
                  </a:lnTo>
                  <a:lnTo>
                    <a:pt x="223" y="281"/>
                  </a:lnTo>
                  <a:lnTo>
                    <a:pt x="224" y="279"/>
                  </a:lnTo>
                  <a:lnTo>
                    <a:pt x="226" y="277"/>
                  </a:lnTo>
                  <a:lnTo>
                    <a:pt x="228" y="275"/>
                  </a:lnTo>
                  <a:lnTo>
                    <a:pt x="230" y="274"/>
                  </a:lnTo>
                  <a:lnTo>
                    <a:pt x="233" y="273"/>
                  </a:lnTo>
                  <a:lnTo>
                    <a:pt x="244" y="266"/>
                  </a:lnTo>
                  <a:lnTo>
                    <a:pt x="249" y="263"/>
                  </a:lnTo>
                  <a:lnTo>
                    <a:pt x="253" y="261"/>
                  </a:lnTo>
                  <a:lnTo>
                    <a:pt x="255" y="260"/>
                  </a:lnTo>
                  <a:lnTo>
                    <a:pt x="256" y="258"/>
                  </a:lnTo>
                  <a:lnTo>
                    <a:pt x="257" y="257"/>
                  </a:lnTo>
                  <a:lnTo>
                    <a:pt x="258" y="256"/>
                  </a:lnTo>
                  <a:lnTo>
                    <a:pt x="259" y="254"/>
                  </a:lnTo>
                  <a:lnTo>
                    <a:pt x="260" y="252"/>
                  </a:lnTo>
                  <a:lnTo>
                    <a:pt x="261" y="250"/>
                  </a:lnTo>
                  <a:lnTo>
                    <a:pt x="261" y="249"/>
                  </a:lnTo>
                  <a:lnTo>
                    <a:pt x="261" y="246"/>
                  </a:lnTo>
                  <a:lnTo>
                    <a:pt x="261" y="244"/>
                  </a:lnTo>
                  <a:lnTo>
                    <a:pt x="261" y="243"/>
                  </a:lnTo>
                  <a:lnTo>
                    <a:pt x="260" y="241"/>
                  </a:lnTo>
                  <a:lnTo>
                    <a:pt x="260" y="240"/>
                  </a:lnTo>
                  <a:lnTo>
                    <a:pt x="259" y="239"/>
                  </a:lnTo>
                  <a:lnTo>
                    <a:pt x="258" y="238"/>
                  </a:lnTo>
                  <a:lnTo>
                    <a:pt x="257" y="236"/>
                  </a:lnTo>
                  <a:lnTo>
                    <a:pt x="255" y="233"/>
                  </a:lnTo>
                  <a:lnTo>
                    <a:pt x="253" y="230"/>
                  </a:lnTo>
                  <a:lnTo>
                    <a:pt x="251" y="229"/>
                  </a:lnTo>
                  <a:lnTo>
                    <a:pt x="248" y="228"/>
                  </a:lnTo>
                  <a:lnTo>
                    <a:pt x="241" y="222"/>
                  </a:lnTo>
                  <a:lnTo>
                    <a:pt x="239" y="220"/>
                  </a:lnTo>
                  <a:lnTo>
                    <a:pt x="237" y="219"/>
                  </a:lnTo>
                  <a:lnTo>
                    <a:pt x="235" y="217"/>
                  </a:lnTo>
                  <a:lnTo>
                    <a:pt x="234" y="216"/>
                  </a:lnTo>
                  <a:lnTo>
                    <a:pt x="228" y="208"/>
                  </a:lnTo>
                  <a:lnTo>
                    <a:pt x="227" y="206"/>
                  </a:lnTo>
                  <a:lnTo>
                    <a:pt x="226" y="205"/>
                  </a:lnTo>
                  <a:lnTo>
                    <a:pt x="223" y="204"/>
                  </a:lnTo>
                  <a:lnTo>
                    <a:pt x="221" y="202"/>
                  </a:lnTo>
                  <a:lnTo>
                    <a:pt x="218" y="201"/>
                  </a:lnTo>
                  <a:lnTo>
                    <a:pt x="212" y="197"/>
                  </a:lnTo>
                  <a:lnTo>
                    <a:pt x="208" y="195"/>
                  </a:lnTo>
                  <a:lnTo>
                    <a:pt x="200" y="193"/>
                  </a:lnTo>
                  <a:lnTo>
                    <a:pt x="196" y="192"/>
                  </a:lnTo>
                  <a:lnTo>
                    <a:pt x="194" y="191"/>
                  </a:lnTo>
                  <a:lnTo>
                    <a:pt x="192" y="190"/>
                  </a:lnTo>
                  <a:lnTo>
                    <a:pt x="190" y="188"/>
                  </a:lnTo>
                  <a:lnTo>
                    <a:pt x="189" y="187"/>
                  </a:lnTo>
                  <a:lnTo>
                    <a:pt x="187" y="185"/>
                  </a:lnTo>
                  <a:lnTo>
                    <a:pt x="185" y="183"/>
                  </a:lnTo>
                  <a:lnTo>
                    <a:pt x="184" y="182"/>
                  </a:lnTo>
                  <a:lnTo>
                    <a:pt x="182" y="179"/>
                  </a:lnTo>
                  <a:lnTo>
                    <a:pt x="181" y="177"/>
                  </a:lnTo>
                  <a:lnTo>
                    <a:pt x="179" y="171"/>
                  </a:lnTo>
                  <a:lnTo>
                    <a:pt x="178" y="170"/>
                  </a:lnTo>
                  <a:lnTo>
                    <a:pt x="177" y="169"/>
                  </a:lnTo>
                  <a:lnTo>
                    <a:pt x="176" y="168"/>
                  </a:lnTo>
                  <a:lnTo>
                    <a:pt x="175" y="167"/>
                  </a:lnTo>
                  <a:lnTo>
                    <a:pt x="173" y="166"/>
                  </a:lnTo>
                  <a:lnTo>
                    <a:pt x="167" y="165"/>
                  </a:lnTo>
                  <a:lnTo>
                    <a:pt x="165" y="164"/>
                  </a:lnTo>
                  <a:lnTo>
                    <a:pt x="162" y="163"/>
                  </a:lnTo>
                  <a:lnTo>
                    <a:pt x="159" y="161"/>
                  </a:lnTo>
                  <a:lnTo>
                    <a:pt x="152" y="155"/>
                  </a:lnTo>
                  <a:lnTo>
                    <a:pt x="148" y="152"/>
                  </a:lnTo>
                  <a:lnTo>
                    <a:pt x="142" y="148"/>
                  </a:lnTo>
                  <a:lnTo>
                    <a:pt x="140" y="147"/>
                  </a:lnTo>
                  <a:lnTo>
                    <a:pt x="138" y="146"/>
                  </a:lnTo>
                  <a:lnTo>
                    <a:pt x="137" y="144"/>
                  </a:lnTo>
                  <a:lnTo>
                    <a:pt x="136" y="143"/>
                  </a:lnTo>
                  <a:lnTo>
                    <a:pt x="135" y="141"/>
                  </a:lnTo>
                  <a:lnTo>
                    <a:pt x="135" y="140"/>
                  </a:lnTo>
                  <a:lnTo>
                    <a:pt x="135" y="139"/>
                  </a:lnTo>
                  <a:lnTo>
                    <a:pt x="135" y="138"/>
                  </a:lnTo>
                  <a:lnTo>
                    <a:pt x="135" y="137"/>
                  </a:lnTo>
                  <a:lnTo>
                    <a:pt x="134" y="137"/>
                  </a:lnTo>
                  <a:lnTo>
                    <a:pt x="132" y="137"/>
                  </a:lnTo>
                  <a:lnTo>
                    <a:pt x="124" y="139"/>
                  </a:lnTo>
                  <a:lnTo>
                    <a:pt x="116" y="141"/>
                  </a:lnTo>
                  <a:lnTo>
                    <a:pt x="113" y="141"/>
                  </a:lnTo>
                  <a:lnTo>
                    <a:pt x="109" y="142"/>
                  </a:lnTo>
                  <a:lnTo>
                    <a:pt x="104" y="142"/>
                  </a:lnTo>
                  <a:lnTo>
                    <a:pt x="100" y="142"/>
                  </a:lnTo>
                  <a:lnTo>
                    <a:pt x="98" y="143"/>
                  </a:lnTo>
                  <a:lnTo>
                    <a:pt x="96" y="144"/>
                  </a:lnTo>
                  <a:lnTo>
                    <a:pt x="90" y="146"/>
                  </a:lnTo>
                  <a:lnTo>
                    <a:pt x="89" y="147"/>
                  </a:lnTo>
                  <a:lnTo>
                    <a:pt x="87" y="148"/>
                  </a:lnTo>
                  <a:lnTo>
                    <a:pt x="86" y="149"/>
                  </a:lnTo>
                  <a:lnTo>
                    <a:pt x="82" y="154"/>
                  </a:lnTo>
                  <a:lnTo>
                    <a:pt x="81" y="154"/>
                  </a:lnTo>
                  <a:lnTo>
                    <a:pt x="79" y="156"/>
                  </a:lnTo>
                  <a:lnTo>
                    <a:pt x="76" y="157"/>
                  </a:lnTo>
                  <a:lnTo>
                    <a:pt x="73" y="158"/>
                  </a:lnTo>
                  <a:lnTo>
                    <a:pt x="69" y="159"/>
                  </a:lnTo>
                  <a:lnTo>
                    <a:pt x="63" y="160"/>
                  </a:lnTo>
                  <a:lnTo>
                    <a:pt x="61" y="160"/>
                  </a:lnTo>
                  <a:lnTo>
                    <a:pt x="59" y="160"/>
                  </a:lnTo>
                  <a:lnTo>
                    <a:pt x="58" y="160"/>
                  </a:lnTo>
                  <a:lnTo>
                    <a:pt x="57" y="161"/>
                  </a:lnTo>
                  <a:lnTo>
                    <a:pt x="54" y="163"/>
                  </a:lnTo>
                  <a:lnTo>
                    <a:pt x="52" y="165"/>
                  </a:lnTo>
                  <a:lnTo>
                    <a:pt x="49" y="167"/>
                  </a:lnTo>
                  <a:lnTo>
                    <a:pt x="48" y="168"/>
                  </a:lnTo>
                  <a:lnTo>
                    <a:pt x="44" y="170"/>
                  </a:lnTo>
                  <a:lnTo>
                    <a:pt x="37" y="172"/>
                  </a:lnTo>
                  <a:lnTo>
                    <a:pt x="35" y="173"/>
                  </a:lnTo>
                  <a:lnTo>
                    <a:pt x="34" y="174"/>
                  </a:lnTo>
                  <a:lnTo>
                    <a:pt x="33" y="174"/>
                  </a:lnTo>
                  <a:lnTo>
                    <a:pt x="33" y="175"/>
                  </a:lnTo>
                  <a:lnTo>
                    <a:pt x="33" y="174"/>
                  </a:lnTo>
                  <a:lnTo>
                    <a:pt x="35" y="165"/>
                  </a:lnTo>
                  <a:lnTo>
                    <a:pt x="36" y="160"/>
                  </a:lnTo>
                  <a:lnTo>
                    <a:pt x="37" y="156"/>
                  </a:lnTo>
                  <a:lnTo>
                    <a:pt x="37" y="153"/>
                  </a:lnTo>
                  <a:lnTo>
                    <a:pt x="37" y="151"/>
                  </a:lnTo>
                  <a:lnTo>
                    <a:pt x="36" y="148"/>
                  </a:lnTo>
                  <a:lnTo>
                    <a:pt x="36" y="148"/>
                  </a:lnTo>
                  <a:lnTo>
                    <a:pt x="35" y="147"/>
                  </a:lnTo>
                  <a:lnTo>
                    <a:pt x="34" y="145"/>
                  </a:lnTo>
                  <a:lnTo>
                    <a:pt x="33" y="144"/>
                  </a:lnTo>
                  <a:lnTo>
                    <a:pt x="31" y="143"/>
                  </a:lnTo>
                  <a:lnTo>
                    <a:pt x="30" y="143"/>
                  </a:lnTo>
                  <a:lnTo>
                    <a:pt x="29" y="142"/>
                  </a:lnTo>
                  <a:lnTo>
                    <a:pt x="26" y="142"/>
                  </a:lnTo>
                  <a:lnTo>
                    <a:pt x="23" y="142"/>
                  </a:lnTo>
                  <a:lnTo>
                    <a:pt x="19" y="142"/>
                  </a:lnTo>
                  <a:lnTo>
                    <a:pt x="15" y="142"/>
                  </a:lnTo>
                  <a:lnTo>
                    <a:pt x="8" y="144"/>
                  </a:lnTo>
                  <a:lnTo>
                    <a:pt x="7" y="144"/>
                  </a:lnTo>
                  <a:lnTo>
                    <a:pt x="5" y="144"/>
                  </a:lnTo>
                  <a:lnTo>
                    <a:pt x="4" y="143"/>
                  </a:lnTo>
                  <a:lnTo>
                    <a:pt x="3" y="143"/>
                  </a:lnTo>
                  <a:lnTo>
                    <a:pt x="2" y="142"/>
                  </a:lnTo>
                  <a:lnTo>
                    <a:pt x="1" y="142"/>
                  </a:lnTo>
                  <a:lnTo>
                    <a:pt x="1" y="141"/>
                  </a:lnTo>
                  <a:lnTo>
                    <a:pt x="0" y="140"/>
                  </a:lnTo>
                  <a:lnTo>
                    <a:pt x="0" y="139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3" y="134"/>
                  </a:lnTo>
                  <a:lnTo>
                    <a:pt x="4" y="133"/>
                  </a:lnTo>
                  <a:lnTo>
                    <a:pt x="9" y="129"/>
                  </a:lnTo>
                  <a:lnTo>
                    <a:pt x="10" y="128"/>
                  </a:lnTo>
                  <a:lnTo>
                    <a:pt x="12" y="126"/>
                  </a:lnTo>
                  <a:lnTo>
                    <a:pt x="13" y="125"/>
                  </a:lnTo>
                  <a:lnTo>
                    <a:pt x="14" y="123"/>
                  </a:lnTo>
                  <a:lnTo>
                    <a:pt x="15" y="121"/>
                  </a:lnTo>
                  <a:lnTo>
                    <a:pt x="16" y="119"/>
                  </a:lnTo>
                  <a:lnTo>
                    <a:pt x="16" y="117"/>
                  </a:lnTo>
                  <a:lnTo>
                    <a:pt x="16" y="116"/>
                  </a:lnTo>
                  <a:lnTo>
                    <a:pt x="15" y="114"/>
                  </a:lnTo>
                  <a:lnTo>
                    <a:pt x="14" y="112"/>
                  </a:lnTo>
                  <a:lnTo>
                    <a:pt x="13" y="111"/>
                  </a:lnTo>
                  <a:lnTo>
                    <a:pt x="12" y="109"/>
                  </a:lnTo>
                  <a:lnTo>
                    <a:pt x="7" y="103"/>
                  </a:lnTo>
                  <a:lnTo>
                    <a:pt x="7" y="101"/>
                  </a:lnTo>
                  <a:lnTo>
                    <a:pt x="6" y="101"/>
                  </a:lnTo>
                  <a:lnTo>
                    <a:pt x="6" y="100"/>
                  </a:lnTo>
                  <a:lnTo>
                    <a:pt x="6" y="99"/>
                  </a:lnTo>
                  <a:lnTo>
                    <a:pt x="6" y="98"/>
                  </a:lnTo>
                  <a:lnTo>
                    <a:pt x="7" y="97"/>
                  </a:lnTo>
                  <a:lnTo>
                    <a:pt x="7" y="96"/>
                  </a:lnTo>
                  <a:lnTo>
                    <a:pt x="7" y="95"/>
                  </a:lnTo>
                  <a:lnTo>
                    <a:pt x="11" y="92"/>
                  </a:lnTo>
                  <a:lnTo>
                    <a:pt x="19" y="86"/>
                  </a:lnTo>
                  <a:lnTo>
                    <a:pt x="20" y="85"/>
                  </a:lnTo>
                  <a:lnTo>
                    <a:pt x="22" y="84"/>
                  </a:lnTo>
                  <a:lnTo>
                    <a:pt x="27" y="82"/>
                  </a:lnTo>
                  <a:lnTo>
                    <a:pt x="28" y="82"/>
                  </a:lnTo>
                  <a:lnTo>
                    <a:pt x="29" y="81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1" y="79"/>
                  </a:lnTo>
                  <a:lnTo>
                    <a:pt x="31" y="77"/>
                  </a:lnTo>
                  <a:lnTo>
                    <a:pt x="31" y="76"/>
                  </a:lnTo>
                  <a:lnTo>
                    <a:pt x="32" y="73"/>
                  </a:lnTo>
                  <a:lnTo>
                    <a:pt x="32" y="67"/>
                  </a:lnTo>
                  <a:lnTo>
                    <a:pt x="31" y="59"/>
                  </a:lnTo>
                  <a:lnTo>
                    <a:pt x="31" y="57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32" y="50"/>
                  </a:lnTo>
                  <a:lnTo>
                    <a:pt x="32" y="49"/>
                  </a:lnTo>
                  <a:lnTo>
                    <a:pt x="33" y="48"/>
                  </a:lnTo>
                  <a:lnTo>
                    <a:pt x="34" y="46"/>
                  </a:lnTo>
                  <a:lnTo>
                    <a:pt x="35" y="46"/>
                  </a:lnTo>
                  <a:lnTo>
                    <a:pt x="36" y="46"/>
                  </a:lnTo>
                  <a:lnTo>
                    <a:pt x="38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1" y="45"/>
                  </a:lnTo>
                  <a:lnTo>
                    <a:pt x="42" y="46"/>
                  </a:lnTo>
                  <a:lnTo>
                    <a:pt x="43" y="46"/>
                  </a:lnTo>
                  <a:lnTo>
                    <a:pt x="44" y="46"/>
                  </a:lnTo>
                  <a:lnTo>
                    <a:pt x="46" y="47"/>
                  </a:lnTo>
                  <a:lnTo>
                    <a:pt x="50" y="50"/>
                  </a:lnTo>
                  <a:lnTo>
                    <a:pt x="52" y="52"/>
                  </a:lnTo>
                  <a:lnTo>
                    <a:pt x="54" y="53"/>
                  </a:lnTo>
                  <a:lnTo>
                    <a:pt x="55" y="54"/>
                  </a:lnTo>
                  <a:lnTo>
                    <a:pt x="56" y="54"/>
                  </a:lnTo>
                  <a:lnTo>
                    <a:pt x="57" y="54"/>
                  </a:lnTo>
                  <a:lnTo>
                    <a:pt x="59" y="54"/>
                  </a:lnTo>
                  <a:lnTo>
                    <a:pt x="60" y="53"/>
                  </a:lnTo>
                  <a:lnTo>
                    <a:pt x="64" y="52"/>
                  </a:lnTo>
                  <a:lnTo>
                    <a:pt x="65" y="51"/>
                  </a:lnTo>
                  <a:lnTo>
                    <a:pt x="67" y="51"/>
                  </a:lnTo>
                  <a:lnTo>
                    <a:pt x="70" y="50"/>
                  </a:lnTo>
                  <a:lnTo>
                    <a:pt x="76" y="50"/>
                  </a:lnTo>
                  <a:lnTo>
                    <a:pt x="79" y="50"/>
                  </a:lnTo>
                  <a:lnTo>
                    <a:pt x="81" y="50"/>
                  </a:lnTo>
                  <a:lnTo>
                    <a:pt x="83" y="50"/>
                  </a:lnTo>
                  <a:lnTo>
                    <a:pt x="85" y="51"/>
                  </a:lnTo>
                  <a:lnTo>
                    <a:pt x="86" y="52"/>
                  </a:lnTo>
                  <a:lnTo>
                    <a:pt x="87" y="54"/>
                  </a:lnTo>
                  <a:lnTo>
                    <a:pt x="90" y="57"/>
                  </a:lnTo>
                  <a:lnTo>
                    <a:pt x="92" y="58"/>
                  </a:lnTo>
                  <a:lnTo>
                    <a:pt x="94" y="59"/>
                  </a:lnTo>
                  <a:lnTo>
                    <a:pt x="97" y="61"/>
                  </a:lnTo>
                  <a:lnTo>
                    <a:pt x="98" y="62"/>
                  </a:lnTo>
                  <a:lnTo>
                    <a:pt x="99" y="64"/>
                  </a:lnTo>
                  <a:lnTo>
                    <a:pt x="102" y="67"/>
                  </a:lnTo>
                  <a:lnTo>
                    <a:pt x="103" y="69"/>
                  </a:lnTo>
                  <a:lnTo>
                    <a:pt x="105" y="70"/>
                  </a:lnTo>
                  <a:lnTo>
                    <a:pt x="107" y="72"/>
                  </a:lnTo>
                  <a:lnTo>
                    <a:pt x="109" y="74"/>
                  </a:lnTo>
                  <a:lnTo>
                    <a:pt x="110" y="75"/>
                  </a:lnTo>
                  <a:lnTo>
                    <a:pt x="115" y="78"/>
                  </a:lnTo>
                  <a:lnTo>
                    <a:pt x="118" y="79"/>
                  </a:lnTo>
                  <a:lnTo>
                    <a:pt x="130" y="83"/>
                  </a:lnTo>
                  <a:lnTo>
                    <a:pt x="133" y="84"/>
                  </a:lnTo>
                  <a:lnTo>
                    <a:pt x="140" y="86"/>
                  </a:lnTo>
                  <a:lnTo>
                    <a:pt x="144" y="87"/>
                  </a:lnTo>
                  <a:lnTo>
                    <a:pt x="155" y="91"/>
                  </a:lnTo>
                  <a:lnTo>
                    <a:pt x="158" y="92"/>
                  </a:lnTo>
                  <a:lnTo>
                    <a:pt x="167" y="95"/>
                  </a:lnTo>
                  <a:lnTo>
                    <a:pt x="170" y="96"/>
                  </a:lnTo>
                  <a:lnTo>
                    <a:pt x="172" y="97"/>
                  </a:lnTo>
                  <a:lnTo>
                    <a:pt x="174" y="97"/>
                  </a:lnTo>
                  <a:lnTo>
                    <a:pt x="175" y="97"/>
                  </a:lnTo>
                  <a:lnTo>
                    <a:pt x="177" y="97"/>
                  </a:lnTo>
                  <a:lnTo>
                    <a:pt x="179" y="96"/>
                  </a:lnTo>
                  <a:lnTo>
                    <a:pt x="181" y="95"/>
                  </a:lnTo>
                  <a:lnTo>
                    <a:pt x="183" y="94"/>
                  </a:lnTo>
                  <a:lnTo>
                    <a:pt x="185" y="92"/>
                  </a:lnTo>
                  <a:lnTo>
                    <a:pt x="188" y="91"/>
                  </a:lnTo>
                  <a:lnTo>
                    <a:pt x="189" y="90"/>
                  </a:lnTo>
                  <a:lnTo>
                    <a:pt x="189" y="88"/>
                  </a:lnTo>
                  <a:lnTo>
                    <a:pt x="190" y="87"/>
                  </a:lnTo>
                  <a:lnTo>
                    <a:pt x="191" y="85"/>
                  </a:lnTo>
                  <a:lnTo>
                    <a:pt x="193" y="80"/>
                  </a:lnTo>
                  <a:lnTo>
                    <a:pt x="194" y="78"/>
                  </a:lnTo>
                  <a:lnTo>
                    <a:pt x="194" y="76"/>
                  </a:lnTo>
                  <a:lnTo>
                    <a:pt x="194" y="74"/>
                  </a:lnTo>
                  <a:lnTo>
                    <a:pt x="194" y="72"/>
                  </a:lnTo>
                  <a:lnTo>
                    <a:pt x="194" y="67"/>
                  </a:lnTo>
                  <a:lnTo>
                    <a:pt x="194" y="65"/>
                  </a:lnTo>
                  <a:lnTo>
                    <a:pt x="194" y="62"/>
                  </a:lnTo>
                  <a:lnTo>
                    <a:pt x="195" y="59"/>
                  </a:lnTo>
                  <a:lnTo>
                    <a:pt x="196" y="57"/>
                  </a:lnTo>
                  <a:lnTo>
                    <a:pt x="197" y="55"/>
                  </a:lnTo>
                  <a:lnTo>
                    <a:pt x="203" y="43"/>
                  </a:lnTo>
                  <a:lnTo>
                    <a:pt x="206" y="38"/>
                  </a:lnTo>
                  <a:lnTo>
                    <a:pt x="208" y="35"/>
                  </a:lnTo>
                  <a:lnTo>
                    <a:pt x="209" y="32"/>
                  </a:lnTo>
                  <a:lnTo>
                    <a:pt x="210" y="30"/>
                  </a:lnTo>
                  <a:lnTo>
                    <a:pt x="212" y="23"/>
                  </a:lnTo>
                  <a:lnTo>
                    <a:pt x="212" y="22"/>
                  </a:lnTo>
                  <a:lnTo>
                    <a:pt x="212" y="21"/>
                  </a:lnTo>
                  <a:lnTo>
                    <a:pt x="213" y="19"/>
                  </a:lnTo>
                  <a:lnTo>
                    <a:pt x="215" y="17"/>
                  </a:lnTo>
                  <a:lnTo>
                    <a:pt x="222" y="12"/>
                  </a:lnTo>
                  <a:lnTo>
                    <a:pt x="227" y="8"/>
                  </a:lnTo>
                  <a:lnTo>
                    <a:pt x="233" y="2"/>
                  </a:lnTo>
                  <a:lnTo>
                    <a:pt x="234" y="1"/>
                  </a:lnTo>
                  <a:lnTo>
                    <a:pt x="235" y="1"/>
                  </a:lnTo>
                  <a:lnTo>
                    <a:pt x="237" y="0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2" name="Freeform 15">
              <a:extLst>
                <a:ext uri="{FF2B5EF4-FFF2-40B4-BE49-F238E27FC236}">
                  <a16:creationId xmlns:a16="http://schemas.microsoft.com/office/drawing/2014/main" id="{75E4F2A9-FDDA-4042-98DF-EACB69F25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2" y="1972"/>
              <a:ext cx="340" cy="507"/>
            </a:xfrm>
            <a:custGeom>
              <a:avLst/>
              <a:gdLst>
                <a:gd name="T0" fmla="*/ 151 w 340"/>
                <a:gd name="T1" fmla="*/ 4 h 507"/>
                <a:gd name="T2" fmla="*/ 172 w 340"/>
                <a:gd name="T3" fmla="*/ 4 h 507"/>
                <a:gd name="T4" fmla="*/ 193 w 340"/>
                <a:gd name="T5" fmla="*/ 25 h 507"/>
                <a:gd name="T6" fmla="*/ 177 w 340"/>
                <a:gd name="T7" fmla="*/ 46 h 507"/>
                <a:gd name="T8" fmla="*/ 196 w 340"/>
                <a:gd name="T9" fmla="*/ 50 h 507"/>
                <a:gd name="T10" fmla="*/ 214 w 340"/>
                <a:gd name="T11" fmla="*/ 61 h 507"/>
                <a:gd name="T12" fmla="*/ 189 w 340"/>
                <a:gd name="T13" fmla="*/ 85 h 507"/>
                <a:gd name="T14" fmla="*/ 176 w 340"/>
                <a:gd name="T15" fmla="*/ 109 h 507"/>
                <a:gd name="T16" fmla="*/ 147 w 340"/>
                <a:gd name="T17" fmla="*/ 107 h 507"/>
                <a:gd name="T18" fmla="*/ 114 w 340"/>
                <a:gd name="T19" fmla="*/ 114 h 507"/>
                <a:gd name="T20" fmla="*/ 87 w 340"/>
                <a:gd name="T21" fmla="*/ 129 h 507"/>
                <a:gd name="T22" fmla="*/ 117 w 340"/>
                <a:gd name="T23" fmla="*/ 156 h 507"/>
                <a:gd name="T24" fmla="*/ 104 w 340"/>
                <a:gd name="T25" fmla="*/ 174 h 507"/>
                <a:gd name="T26" fmla="*/ 115 w 340"/>
                <a:gd name="T27" fmla="*/ 204 h 507"/>
                <a:gd name="T28" fmla="*/ 140 w 340"/>
                <a:gd name="T29" fmla="*/ 236 h 507"/>
                <a:gd name="T30" fmla="*/ 141 w 340"/>
                <a:gd name="T31" fmla="*/ 256 h 507"/>
                <a:gd name="T32" fmla="*/ 161 w 340"/>
                <a:gd name="T33" fmla="*/ 272 h 507"/>
                <a:gd name="T34" fmla="*/ 162 w 340"/>
                <a:gd name="T35" fmla="*/ 291 h 507"/>
                <a:gd name="T36" fmla="*/ 168 w 340"/>
                <a:gd name="T37" fmla="*/ 310 h 507"/>
                <a:gd name="T38" fmla="*/ 201 w 340"/>
                <a:gd name="T39" fmla="*/ 314 h 507"/>
                <a:gd name="T40" fmla="*/ 218 w 340"/>
                <a:gd name="T41" fmla="*/ 294 h 507"/>
                <a:gd name="T42" fmla="*/ 277 w 340"/>
                <a:gd name="T43" fmla="*/ 266 h 507"/>
                <a:gd name="T44" fmla="*/ 307 w 340"/>
                <a:gd name="T45" fmla="*/ 249 h 507"/>
                <a:gd name="T46" fmla="*/ 338 w 340"/>
                <a:gd name="T47" fmla="*/ 245 h 507"/>
                <a:gd name="T48" fmla="*/ 336 w 340"/>
                <a:gd name="T49" fmla="*/ 273 h 507"/>
                <a:gd name="T50" fmla="*/ 328 w 340"/>
                <a:gd name="T51" fmla="*/ 310 h 507"/>
                <a:gd name="T52" fmla="*/ 311 w 340"/>
                <a:gd name="T53" fmla="*/ 339 h 507"/>
                <a:gd name="T54" fmla="*/ 309 w 340"/>
                <a:gd name="T55" fmla="*/ 369 h 507"/>
                <a:gd name="T56" fmla="*/ 318 w 340"/>
                <a:gd name="T57" fmla="*/ 391 h 507"/>
                <a:gd name="T58" fmla="*/ 303 w 340"/>
                <a:gd name="T59" fmla="*/ 419 h 507"/>
                <a:gd name="T60" fmla="*/ 274 w 340"/>
                <a:gd name="T61" fmla="*/ 423 h 507"/>
                <a:gd name="T62" fmla="*/ 237 w 340"/>
                <a:gd name="T63" fmla="*/ 421 h 507"/>
                <a:gd name="T64" fmla="*/ 244 w 340"/>
                <a:gd name="T65" fmla="*/ 444 h 507"/>
                <a:gd name="T66" fmla="*/ 232 w 340"/>
                <a:gd name="T67" fmla="*/ 470 h 507"/>
                <a:gd name="T68" fmla="*/ 218 w 340"/>
                <a:gd name="T69" fmla="*/ 506 h 507"/>
                <a:gd name="T70" fmla="*/ 185 w 340"/>
                <a:gd name="T71" fmla="*/ 498 h 507"/>
                <a:gd name="T72" fmla="*/ 179 w 340"/>
                <a:gd name="T73" fmla="*/ 471 h 507"/>
                <a:gd name="T74" fmla="*/ 133 w 340"/>
                <a:gd name="T75" fmla="*/ 455 h 507"/>
                <a:gd name="T76" fmla="*/ 116 w 340"/>
                <a:gd name="T77" fmla="*/ 435 h 507"/>
                <a:gd name="T78" fmla="*/ 69 w 340"/>
                <a:gd name="T79" fmla="*/ 444 h 507"/>
                <a:gd name="T80" fmla="*/ 46 w 340"/>
                <a:gd name="T81" fmla="*/ 437 h 507"/>
                <a:gd name="T82" fmla="*/ 62 w 340"/>
                <a:gd name="T83" fmla="*/ 403 h 507"/>
                <a:gd name="T84" fmla="*/ 61 w 340"/>
                <a:gd name="T85" fmla="*/ 387 h 507"/>
                <a:gd name="T86" fmla="*/ 78 w 340"/>
                <a:gd name="T87" fmla="*/ 343 h 507"/>
                <a:gd name="T88" fmla="*/ 95 w 340"/>
                <a:gd name="T89" fmla="*/ 329 h 507"/>
                <a:gd name="T90" fmla="*/ 93 w 340"/>
                <a:gd name="T91" fmla="*/ 302 h 507"/>
                <a:gd name="T92" fmla="*/ 93 w 340"/>
                <a:gd name="T93" fmla="*/ 275 h 507"/>
                <a:gd name="T94" fmla="*/ 76 w 340"/>
                <a:gd name="T95" fmla="*/ 257 h 507"/>
                <a:gd name="T96" fmla="*/ 65 w 340"/>
                <a:gd name="T97" fmla="*/ 242 h 507"/>
                <a:gd name="T98" fmla="*/ 46 w 340"/>
                <a:gd name="T99" fmla="*/ 240 h 507"/>
                <a:gd name="T100" fmla="*/ 24 w 340"/>
                <a:gd name="T101" fmla="*/ 220 h 507"/>
                <a:gd name="T102" fmla="*/ 13 w 340"/>
                <a:gd name="T103" fmla="*/ 185 h 507"/>
                <a:gd name="T104" fmla="*/ 25 w 340"/>
                <a:gd name="T105" fmla="*/ 165 h 507"/>
                <a:gd name="T106" fmla="*/ 57 w 340"/>
                <a:gd name="T107" fmla="*/ 134 h 507"/>
                <a:gd name="T108" fmla="*/ 75 w 340"/>
                <a:gd name="T109" fmla="*/ 102 h 507"/>
                <a:gd name="T110" fmla="*/ 82 w 340"/>
                <a:gd name="T111" fmla="*/ 73 h 507"/>
                <a:gd name="T112" fmla="*/ 93 w 340"/>
                <a:gd name="T113" fmla="*/ 51 h 507"/>
                <a:gd name="T114" fmla="*/ 116 w 340"/>
                <a:gd name="T115" fmla="*/ 22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0" h="507">
                  <a:moveTo>
                    <a:pt x="134" y="1"/>
                  </a:moveTo>
                  <a:lnTo>
                    <a:pt x="136" y="1"/>
                  </a:lnTo>
                  <a:lnTo>
                    <a:pt x="138" y="1"/>
                  </a:lnTo>
                  <a:lnTo>
                    <a:pt x="139" y="2"/>
                  </a:lnTo>
                  <a:lnTo>
                    <a:pt x="141" y="3"/>
                  </a:lnTo>
                  <a:lnTo>
                    <a:pt x="143" y="4"/>
                  </a:lnTo>
                  <a:lnTo>
                    <a:pt x="144" y="4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47" y="4"/>
                  </a:lnTo>
                  <a:lnTo>
                    <a:pt x="150" y="4"/>
                  </a:lnTo>
                  <a:lnTo>
                    <a:pt x="151" y="4"/>
                  </a:lnTo>
                  <a:lnTo>
                    <a:pt x="153" y="4"/>
                  </a:lnTo>
                  <a:lnTo>
                    <a:pt x="158" y="1"/>
                  </a:lnTo>
                  <a:lnTo>
                    <a:pt x="161" y="0"/>
                  </a:lnTo>
                  <a:lnTo>
                    <a:pt x="162" y="0"/>
                  </a:lnTo>
                  <a:lnTo>
                    <a:pt x="163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69" y="1"/>
                  </a:lnTo>
                  <a:lnTo>
                    <a:pt x="170" y="1"/>
                  </a:lnTo>
                  <a:lnTo>
                    <a:pt x="171" y="3"/>
                  </a:lnTo>
                  <a:lnTo>
                    <a:pt x="172" y="4"/>
                  </a:lnTo>
                  <a:lnTo>
                    <a:pt x="172" y="4"/>
                  </a:lnTo>
                  <a:lnTo>
                    <a:pt x="173" y="5"/>
                  </a:lnTo>
                  <a:lnTo>
                    <a:pt x="180" y="8"/>
                  </a:lnTo>
                  <a:lnTo>
                    <a:pt x="182" y="8"/>
                  </a:lnTo>
                  <a:lnTo>
                    <a:pt x="183" y="9"/>
                  </a:lnTo>
                  <a:lnTo>
                    <a:pt x="184" y="9"/>
                  </a:lnTo>
                  <a:lnTo>
                    <a:pt x="184" y="11"/>
                  </a:lnTo>
                  <a:lnTo>
                    <a:pt x="189" y="17"/>
                  </a:lnTo>
                  <a:lnTo>
                    <a:pt x="190" y="19"/>
                  </a:lnTo>
                  <a:lnTo>
                    <a:pt x="191" y="20"/>
                  </a:lnTo>
                  <a:lnTo>
                    <a:pt x="192" y="22"/>
                  </a:lnTo>
                  <a:lnTo>
                    <a:pt x="193" y="24"/>
                  </a:lnTo>
                  <a:lnTo>
                    <a:pt x="193" y="25"/>
                  </a:lnTo>
                  <a:lnTo>
                    <a:pt x="193" y="27"/>
                  </a:lnTo>
                  <a:lnTo>
                    <a:pt x="192" y="29"/>
                  </a:lnTo>
                  <a:lnTo>
                    <a:pt x="191" y="31"/>
                  </a:lnTo>
                  <a:lnTo>
                    <a:pt x="190" y="33"/>
                  </a:lnTo>
                  <a:lnTo>
                    <a:pt x="189" y="34"/>
                  </a:lnTo>
                  <a:lnTo>
                    <a:pt x="187" y="36"/>
                  </a:lnTo>
                  <a:lnTo>
                    <a:pt x="186" y="37"/>
                  </a:lnTo>
                  <a:lnTo>
                    <a:pt x="181" y="41"/>
                  </a:lnTo>
                  <a:lnTo>
                    <a:pt x="180" y="42"/>
                  </a:lnTo>
                  <a:lnTo>
                    <a:pt x="178" y="44"/>
                  </a:lnTo>
                  <a:lnTo>
                    <a:pt x="178" y="45"/>
                  </a:lnTo>
                  <a:lnTo>
                    <a:pt x="177" y="46"/>
                  </a:lnTo>
                  <a:lnTo>
                    <a:pt x="177" y="47"/>
                  </a:lnTo>
                  <a:lnTo>
                    <a:pt x="177" y="48"/>
                  </a:lnTo>
                  <a:lnTo>
                    <a:pt x="178" y="49"/>
                  </a:lnTo>
                  <a:lnTo>
                    <a:pt x="178" y="50"/>
                  </a:lnTo>
                  <a:lnTo>
                    <a:pt x="179" y="50"/>
                  </a:lnTo>
                  <a:lnTo>
                    <a:pt x="180" y="51"/>
                  </a:lnTo>
                  <a:lnTo>
                    <a:pt x="181" y="51"/>
                  </a:lnTo>
                  <a:lnTo>
                    <a:pt x="182" y="52"/>
                  </a:lnTo>
                  <a:lnTo>
                    <a:pt x="184" y="52"/>
                  </a:lnTo>
                  <a:lnTo>
                    <a:pt x="185" y="52"/>
                  </a:lnTo>
                  <a:lnTo>
                    <a:pt x="192" y="50"/>
                  </a:lnTo>
                  <a:lnTo>
                    <a:pt x="196" y="50"/>
                  </a:lnTo>
                  <a:lnTo>
                    <a:pt x="200" y="50"/>
                  </a:lnTo>
                  <a:lnTo>
                    <a:pt x="203" y="50"/>
                  </a:lnTo>
                  <a:lnTo>
                    <a:pt x="206" y="50"/>
                  </a:lnTo>
                  <a:lnTo>
                    <a:pt x="207" y="51"/>
                  </a:lnTo>
                  <a:lnTo>
                    <a:pt x="208" y="51"/>
                  </a:lnTo>
                  <a:lnTo>
                    <a:pt x="210" y="52"/>
                  </a:lnTo>
                  <a:lnTo>
                    <a:pt x="211" y="53"/>
                  </a:lnTo>
                  <a:lnTo>
                    <a:pt x="212" y="55"/>
                  </a:lnTo>
                  <a:lnTo>
                    <a:pt x="213" y="56"/>
                  </a:lnTo>
                  <a:lnTo>
                    <a:pt x="213" y="56"/>
                  </a:lnTo>
                  <a:lnTo>
                    <a:pt x="214" y="59"/>
                  </a:lnTo>
                  <a:lnTo>
                    <a:pt x="214" y="61"/>
                  </a:lnTo>
                  <a:lnTo>
                    <a:pt x="214" y="64"/>
                  </a:lnTo>
                  <a:lnTo>
                    <a:pt x="213" y="68"/>
                  </a:lnTo>
                  <a:lnTo>
                    <a:pt x="212" y="73"/>
                  </a:lnTo>
                  <a:lnTo>
                    <a:pt x="210" y="82"/>
                  </a:lnTo>
                  <a:lnTo>
                    <a:pt x="210" y="83"/>
                  </a:lnTo>
                  <a:lnTo>
                    <a:pt x="207" y="82"/>
                  </a:lnTo>
                  <a:lnTo>
                    <a:pt x="204" y="82"/>
                  </a:lnTo>
                  <a:lnTo>
                    <a:pt x="200" y="82"/>
                  </a:lnTo>
                  <a:lnTo>
                    <a:pt x="197" y="82"/>
                  </a:lnTo>
                  <a:lnTo>
                    <a:pt x="194" y="83"/>
                  </a:lnTo>
                  <a:lnTo>
                    <a:pt x="191" y="84"/>
                  </a:lnTo>
                  <a:lnTo>
                    <a:pt x="189" y="85"/>
                  </a:lnTo>
                  <a:lnTo>
                    <a:pt x="187" y="87"/>
                  </a:lnTo>
                  <a:lnTo>
                    <a:pt x="185" y="88"/>
                  </a:lnTo>
                  <a:lnTo>
                    <a:pt x="184" y="90"/>
                  </a:lnTo>
                  <a:lnTo>
                    <a:pt x="183" y="91"/>
                  </a:lnTo>
                  <a:lnTo>
                    <a:pt x="182" y="93"/>
                  </a:lnTo>
                  <a:lnTo>
                    <a:pt x="181" y="94"/>
                  </a:lnTo>
                  <a:lnTo>
                    <a:pt x="180" y="97"/>
                  </a:lnTo>
                  <a:lnTo>
                    <a:pt x="179" y="101"/>
                  </a:lnTo>
                  <a:lnTo>
                    <a:pt x="178" y="103"/>
                  </a:lnTo>
                  <a:lnTo>
                    <a:pt x="177" y="106"/>
                  </a:lnTo>
                  <a:lnTo>
                    <a:pt x="177" y="108"/>
                  </a:lnTo>
                  <a:lnTo>
                    <a:pt x="176" y="109"/>
                  </a:lnTo>
                  <a:lnTo>
                    <a:pt x="174" y="111"/>
                  </a:lnTo>
                  <a:lnTo>
                    <a:pt x="173" y="111"/>
                  </a:lnTo>
                  <a:lnTo>
                    <a:pt x="172" y="112"/>
                  </a:lnTo>
                  <a:lnTo>
                    <a:pt x="171" y="112"/>
                  </a:lnTo>
                  <a:lnTo>
                    <a:pt x="170" y="113"/>
                  </a:lnTo>
                  <a:lnTo>
                    <a:pt x="166" y="113"/>
                  </a:lnTo>
                  <a:lnTo>
                    <a:pt x="162" y="113"/>
                  </a:lnTo>
                  <a:lnTo>
                    <a:pt x="159" y="112"/>
                  </a:lnTo>
                  <a:lnTo>
                    <a:pt x="156" y="112"/>
                  </a:lnTo>
                  <a:lnTo>
                    <a:pt x="153" y="111"/>
                  </a:lnTo>
                  <a:lnTo>
                    <a:pt x="151" y="110"/>
                  </a:lnTo>
                  <a:lnTo>
                    <a:pt x="147" y="107"/>
                  </a:lnTo>
                  <a:lnTo>
                    <a:pt x="145" y="106"/>
                  </a:lnTo>
                  <a:lnTo>
                    <a:pt x="144" y="106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38" y="105"/>
                  </a:lnTo>
                  <a:lnTo>
                    <a:pt x="138" y="105"/>
                  </a:lnTo>
                  <a:lnTo>
                    <a:pt x="136" y="106"/>
                  </a:lnTo>
                  <a:lnTo>
                    <a:pt x="133" y="107"/>
                  </a:lnTo>
                  <a:lnTo>
                    <a:pt x="127" y="110"/>
                  </a:lnTo>
                  <a:lnTo>
                    <a:pt x="123" y="112"/>
                  </a:lnTo>
                  <a:lnTo>
                    <a:pt x="121" y="112"/>
                  </a:lnTo>
                  <a:lnTo>
                    <a:pt x="114" y="114"/>
                  </a:lnTo>
                  <a:lnTo>
                    <a:pt x="107" y="116"/>
                  </a:lnTo>
                  <a:lnTo>
                    <a:pt x="102" y="118"/>
                  </a:lnTo>
                  <a:lnTo>
                    <a:pt x="93" y="122"/>
                  </a:lnTo>
                  <a:lnTo>
                    <a:pt x="92" y="123"/>
                  </a:lnTo>
                  <a:lnTo>
                    <a:pt x="91" y="124"/>
                  </a:lnTo>
                  <a:lnTo>
                    <a:pt x="89" y="124"/>
                  </a:lnTo>
                  <a:lnTo>
                    <a:pt x="88" y="125"/>
                  </a:lnTo>
                  <a:lnTo>
                    <a:pt x="87" y="126"/>
                  </a:lnTo>
                  <a:lnTo>
                    <a:pt x="87" y="127"/>
                  </a:lnTo>
                  <a:lnTo>
                    <a:pt x="86" y="127"/>
                  </a:lnTo>
                  <a:lnTo>
                    <a:pt x="86" y="128"/>
                  </a:lnTo>
                  <a:lnTo>
                    <a:pt x="87" y="129"/>
                  </a:lnTo>
                  <a:lnTo>
                    <a:pt x="87" y="130"/>
                  </a:lnTo>
                  <a:lnTo>
                    <a:pt x="88" y="130"/>
                  </a:lnTo>
                  <a:lnTo>
                    <a:pt x="89" y="131"/>
                  </a:lnTo>
                  <a:lnTo>
                    <a:pt x="93" y="133"/>
                  </a:lnTo>
                  <a:lnTo>
                    <a:pt x="95" y="134"/>
                  </a:lnTo>
                  <a:lnTo>
                    <a:pt x="98" y="136"/>
                  </a:lnTo>
                  <a:lnTo>
                    <a:pt x="101" y="138"/>
                  </a:lnTo>
                  <a:lnTo>
                    <a:pt x="104" y="141"/>
                  </a:lnTo>
                  <a:lnTo>
                    <a:pt x="108" y="146"/>
                  </a:lnTo>
                  <a:lnTo>
                    <a:pt x="113" y="150"/>
                  </a:lnTo>
                  <a:lnTo>
                    <a:pt x="114" y="152"/>
                  </a:lnTo>
                  <a:lnTo>
                    <a:pt x="117" y="156"/>
                  </a:lnTo>
                  <a:lnTo>
                    <a:pt x="118" y="158"/>
                  </a:lnTo>
                  <a:lnTo>
                    <a:pt x="118" y="158"/>
                  </a:lnTo>
                  <a:lnTo>
                    <a:pt x="119" y="159"/>
                  </a:lnTo>
                  <a:lnTo>
                    <a:pt x="119" y="161"/>
                  </a:lnTo>
                  <a:lnTo>
                    <a:pt x="119" y="162"/>
                  </a:lnTo>
                  <a:lnTo>
                    <a:pt x="118" y="163"/>
                  </a:lnTo>
                  <a:lnTo>
                    <a:pt x="117" y="165"/>
                  </a:lnTo>
                  <a:lnTo>
                    <a:pt x="116" y="166"/>
                  </a:lnTo>
                  <a:lnTo>
                    <a:pt x="110" y="169"/>
                  </a:lnTo>
                  <a:lnTo>
                    <a:pt x="108" y="170"/>
                  </a:lnTo>
                  <a:lnTo>
                    <a:pt x="106" y="172"/>
                  </a:lnTo>
                  <a:lnTo>
                    <a:pt x="104" y="174"/>
                  </a:lnTo>
                  <a:lnTo>
                    <a:pt x="104" y="177"/>
                  </a:lnTo>
                  <a:lnTo>
                    <a:pt x="103" y="179"/>
                  </a:lnTo>
                  <a:lnTo>
                    <a:pt x="102" y="181"/>
                  </a:lnTo>
                  <a:lnTo>
                    <a:pt x="103" y="181"/>
                  </a:lnTo>
                  <a:lnTo>
                    <a:pt x="103" y="182"/>
                  </a:lnTo>
                  <a:lnTo>
                    <a:pt x="104" y="184"/>
                  </a:lnTo>
                  <a:lnTo>
                    <a:pt x="104" y="186"/>
                  </a:lnTo>
                  <a:lnTo>
                    <a:pt x="108" y="191"/>
                  </a:lnTo>
                  <a:lnTo>
                    <a:pt x="109" y="192"/>
                  </a:lnTo>
                  <a:lnTo>
                    <a:pt x="110" y="194"/>
                  </a:lnTo>
                  <a:lnTo>
                    <a:pt x="113" y="201"/>
                  </a:lnTo>
                  <a:lnTo>
                    <a:pt x="115" y="204"/>
                  </a:lnTo>
                  <a:lnTo>
                    <a:pt x="116" y="206"/>
                  </a:lnTo>
                  <a:lnTo>
                    <a:pt x="118" y="209"/>
                  </a:lnTo>
                  <a:lnTo>
                    <a:pt x="121" y="212"/>
                  </a:lnTo>
                  <a:lnTo>
                    <a:pt x="124" y="215"/>
                  </a:lnTo>
                  <a:lnTo>
                    <a:pt x="128" y="219"/>
                  </a:lnTo>
                  <a:lnTo>
                    <a:pt x="136" y="226"/>
                  </a:lnTo>
                  <a:lnTo>
                    <a:pt x="138" y="227"/>
                  </a:lnTo>
                  <a:lnTo>
                    <a:pt x="139" y="229"/>
                  </a:lnTo>
                  <a:lnTo>
                    <a:pt x="139" y="231"/>
                  </a:lnTo>
                  <a:lnTo>
                    <a:pt x="140" y="233"/>
                  </a:lnTo>
                  <a:lnTo>
                    <a:pt x="140" y="235"/>
                  </a:lnTo>
                  <a:lnTo>
                    <a:pt x="140" y="236"/>
                  </a:lnTo>
                  <a:lnTo>
                    <a:pt x="140" y="238"/>
                  </a:lnTo>
                  <a:lnTo>
                    <a:pt x="139" y="239"/>
                  </a:lnTo>
                  <a:lnTo>
                    <a:pt x="138" y="243"/>
                  </a:lnTo>
                  <a:lnTo>
                    <a:pt x="138" y="244"/>
                  </a:lnTo>
                  <a:lnTo>
                    <a:pt x="138" y="246"/>
                  </a:lnTo>
                  <a:lnTo>
                    <a:pt x="138" y="248"/>
                  </a:lnTo>
                  <a:lnTo>
                    <a:pt x="138" y="249"/>
                  </a:lnTo>
                  <a:lnTo>
                    <a:pt x="138" y="250"/>
                  </a:lnTo>
                  <a:lnTo>
                    <a:pt x="138" y="251"/>
                  </a:lnTo>
                  <a:lnTo>
                    <a:pt x="139" y="253"/>
                  </a:lnTo>
                  <a:lnTo>
                    <a:pt x="140" y="254"/>
                  </a:lnTo>
                  <a:lnTo>
                    <a:pt x="141" y="256"/>
                  </a:lnTo>
                  <a:lnTo>
                    <a:pt x="143" y="258"/>
                  </a:lnTo>
                  <a:lnTo>
                    <a:pt x="145" y="259"/>
                  </a:lnTo>
                  <a:lnTo>
                    <a:pt x="147" y="260"/>
                  </a:lnTo>
                  <a:lnTo>
                    <a:pt x="149" y="261"/>
                  </a:lnTo>
                  <a:lnTo>
                    <a:pt x="154" y="263"/>
                  </a:lnTo>
                  <a:lnTo>
                    <a:pt x="156" y="264"/>
                  </a:lnTo>
                  <a:lnTo>
                    <a:pt x="158" y="265"/>
                  </a:lnTo>
                  <a:lnTo>
                    <a:pt x="159" y="266"/>
                  </a:lnTo>
                  <a:lnTo>
                    <a:pt x="159" y="268"/>
                  </a:lnTo>
                  <a:lnTo>
                    <a:pt x="160" y="269"/>
                  </a:lnTo>
                  <a:lnTo>
                    <a:pt x="160" y="270"/>
                  </a:lnTo>
                  <a:lnTo>
                    <a:pt x="161" y="272"/>
                  </a:lnTo>
                  <a:lnTo>
                    <a:pt x="161" y="272"/>
                  </a:lnTo>
                  <a:lnTo>
                    <a:pt x="161" y="275"/>
                  </a:lnTo>
                  <a:lnTo>
                    <a:pt x="160" y="280"/>
                  </a:lnTo>
                  <a:lnTo>
                    <a:pt x="160" y="282"/>
                  </a:lnTo>
                  <a:lnTo>
                    <a:pt x="161" y="283"/>
                  </a:lnTo>
                  <a:lnTo>
                    <a:pt x="161" y="283"/>
                  </a:lnTo>
                  <a:lnTo>
                    <a:pt x="161" y="285"/>
                  </a:lnTo>
                  <a:lnTo>
                    <a:pt x="162" y="286"/>
                  </a:lnTo>
                  <a:lnTo>
                    <a:pt x="162" y="287"/>
                  </a:lnTo>
                  <a:lnTo>
                    <a:pt x="162" y="288"/>
                  </a:lnTo>
                  <a:lnTo>
                    <a:pt x="162" y="290"/>
                  </a:lnTo>
                  <a:lnTo>
                    <a:pt x="162" y="291"/>
                  </a:lnTo>
                  <a:lnTo>
                    <a:pt x="161" y="295"/>
                  </a:lnTo>
                  <a:lnTo>
                    <a:pt x="160" y="297"/>
                  </a:lnTo>
                  <a:lnTo>
                    <a:pt x="160" y="299"/>
                  </a:lnTo>
                  <a:lnTo>
                    <a:pt x="160" y="301"/>
                  </a:lnTo>
                  <a:lnTo>
                    <a:pt x="160" y="302"/>
                  </a:lnTo>
                  <a:lnTo>
                    <a:pt x="161" y="304"/>
                  </a:lnTo>
                  <a:lnTo>
                    <a:pt x="161" y="305"/>
                  </a:lnTo>
                  <a:lnTo>
                    <a:pt x="162" y="306"/>
                  </a:lnTo>
                  <a:lnTo>
                    <a:pt x="163" y="307"/>
                  </a:lnTo>
                  <a:lnTo>
                    <a:pt x="165" y="308"/>
                  </a:lnTo>
                  <a:lnTo>
                    <a:pt x="166" y="309"/>
                  </a:lnTo>
                  <a:lnTo>
                    <a:pt x="168" y="310"/>
                  </a:lnTo>
                  <a:lnTo>
                    <a:pt x="170" y="311"/>
                  </a:lnTo>
                  <a:lnTo>
                    <a:pt x="171" y="312"/>
                  </a:lnTo>
                  <a:lnTo>
                    <a:pt x="172" y="313"/>
                  </a:lnTo>
                  <a:lnTo>
                    <a:pt x="175" y="313"/>
                  </a:lnTo>
                  <a:lnTo>
                    <a:pt x="180" y="314"/>
                  </a:lnTo>
                  <a:lnTo>
                    <a:pt x="188" y="315"/>
                  </a:lnTo>
                  <a:lnTo>
                    <a:pt x="191" y="315"/>
                  </a:lnTo>
                  <a:lnTo>
                    <a:pt x="194" y="315"/>
                  </a:lnTo>
                  <a:lnTo>
                    <a:pt x="197" y="315"/>
                  </a:lnTo>
                  <a:lnTo>
                    <a:pt x="199" y="315"/>
                  </a:lnTo>
                  <a:lnTo>
                    <a:pt x="200" y="314"/>
                  </a:lnTo>
                  <a:lnTo>
                    <a:pt x="201" y="314"/>
                  </a:lnTo>
                  <a:lnTo>
                    <a:pt x="202" y="313"/>
                  </a:lnTo>
                  <a:lnTo>
                    <a:pt x="203" y="313"/>
                  </a:lnTo>
                  <a:lnTo>
                    <a:pt x="204" y="312"/>
                  </a:lnTo>
                  <a:lnTo>
                    <a:pt x="205" y="309"/>
                  </a:lnTo>
                  <a:lnTo>
                    <a:pt x="208" y="304"/>
                  </a:lnTo>
                  <a:lnTo>
                    <a:pt x="210" y="301"/>
                  </a:lnTo>
                  <a:lnTo>
                    <a:pt x="211" y="299"/>
                  </a:lnTo>
                  <a:lnTo>
                    <a:pt x="212" y="298"/>
                  </a:lnTo>
                  <a:lnTo>
                    <a:pt x="213" y="297"/>
                  </a:lnTo>
                  <a:lnTo>
                    <a:pt x="215" y="296"/>
                  </a:lnTo>
                  <a:lnTo>
                    <a:pt x="216" y="295"/>
                  </a:lnTo>
                  <a:lnTo>
                    <a:pt x="218" y="294"/>
                  </a:lnTo>
                  <a:lnTo>
                    <a:pt x="227" y="293"/>
                  </a:lnTo>
                  <a:lnTo>
                    <a:pt x="229" y="293"/>
                  </a:lnTo>
                  <a:lnTo>
                    <a:pt x="233" y="292"/>
                  </a:lnTo>
                  <a:lnTo>
                    <a:pt x="238" y="290"/>
                  </a:lnTo>
                  <a:lnTo>
                    <a:pt x="244" y="287"/>
                  </a:lnTo>
                  <a:lnTo>
                    <a:pt x="250" y="285"/>
                  </a:lnTo>
                  <a:lnTo>
                    <a:pt x="252" y="284"/>
                  </a:lnTo>
                  <a:lnTo>
                    <a:pt x="254" y="283"/>
                  </a:lnTo>
                  <a:lnTo>
                    <a:pt x="256" y="283"/>
                  </a:lnTo>
                  <a:lnTo>
                    <a:pt x="258" y="281"/>
                  </a:lnTo>
                  <a:lnTo>
                    <a:pt x="272" y="271"/>
                  </a:lnTo>
                  <a:lnTo>
                    <a:pt x="277" y="266"/>
                  </a:lnTo>
                  <a:lnTo>
                    <a:pt x="279" y="265"/>
                  </a:lnTo>
                  <a:lnTo>
                    <a:pt x="282" y="263"/>
                  </a:lnTo>
                  <a:lnTo>
                    <a:pt x="285" y="261"/>
                  </a:lnTo>
                  <a:lnTo>
                    <a:pt x="288" y="260"/>
                  </a:lnTo>
                  <a:lnTo>
                    <a:pt x="293" y="260"/>
                  </a:lnTo>
                  <a:lnTo>
                    <a:pt x="295" y="259"/>
                  </a:lnTo>
                  <a:lnTo>
                    <a:pt x="297" y="258"/>
                  </a:lnTo>
                  <a:lnTo>
                    <a:pt x="298" y="257"/>
                  </a:lnTo>
                  <a:lnTo>
                    <a:pt x="301" y="255"/>
                  </a:lnTo>
                  <a:lnTo>
                    <a:pt x="303" y="254"/>
                  </a:lnTo>
                  <a:lnTo>
                    <a:pt x="304" y="252"/>
                  </a:lnTo>
                  <a:lnTo>
                    <a:pt x="307" y="249"/>
                  </a:lnTo>
                  <a:lnTo>
                    <a:pt x="309" y="249"/>
                  </a:lnTo>
                  <a:lnTo>
                    <a:pt x="309" y="248"/>
                  </a:lnTo>
                  <a:lnTo>
                    <a:pt x="311" y="247"/>
                  </a:lnTo>
                  <a:lnTo>
                    <a:pt x="314" y="245"/>
                  </a:lnTo>
                  <a:lnTo>
                    <a:pt x="318" y="244"/>
                  </a:lnTo>
                  <a:lnTo>
                    <a:pt x="320" y="244"/>
                  </a:lnTo>
                  <a:lnTo>
                    <a:pt x="325" y="243"/>
                  </a:lnTo>
                  <a:lnTo>
                    <a:pt x="331" y="243"/>
                  </a:lnTo>
                  <a:lnTo>
                    <a:pt x="334" y="244"/>
                  </a:lnTo>
                  <a:lnTo>
                    <a:pt x="336" y="244"/>
                  </a:lnTo>
                  <a:lnTo>
                    <a:pt x="337" y="244"/>
                  </a:lnTo>
                  <a:lnTo>
                    <a:pt x="338" y="245"/>
                  </a:lnTo>
                  <a:lnTo>
                    <a:pt x="339" y="245"/>
                  </a:lnTo>
                  <a:lnTo>
                    <a:pt x="339" y="246"/>
                  </a:lnTo>
                  <a:lnTo>
                    <a:pt x="339" y="248"/>
                  </a:lnTo>
                  <a:lnTo>
                    <a:pt x="340" y="251"/>
                  </a:lnTo>
                  <a:lnTo>
                    <a:pt x="340" y="254"/>
                  </a:lnTo>
                  <a:lnTo>
                    <a:pt x="340" y="257"/>
                  </a:lnTo>
                  <a:lnTo>
                    <a:pt x="340" y="258"/>
                  </a:lnTo>
                  <a:lnTo>
                    <a:pt x="339" y="260"/>
                  </a:lnTo>
                  <a:lnTo>
                    <a:pt x="337" y="268"/>
                  </a:lnTo>
                  <a:lnTo>
                    <a:pt x="336" y="270"/>
                  </a:lnTo>
                  <a:lnTo>
                    <a:pt x="336" y="271"/>
                  </a:lnTo>
                  <a:lnTo>
                    <a:pt x="336" y="273"/>
                  </a:lnTo>
                  <a:lnTo>
                    <a:pt x="336" y="278"/>
                  </a:lnTo>
                  <a:lnTo>
                    <a:pt x="336" y="280"/>
                  </a:lnTo>
                  <a:lnTo>
                    <a:pt x="335" y="290"/>
                  </a:lnTo>
                  <a:lnTo>
                    <a:pt x="335" y="293"/>
                  </a:lnTo>
                  <a:lnTo>
                    <a:pt x="334" y="295"/>
                  </a:lnTo>
                  <a:lnTo>
                    <a:pt x="333" y="300"/>
                  </a:lnTo>
                  <a:lnTo>
                    <a:pt x="332" y="303"/>
                  </a:lnTo>
                  <a:lnTo>
                    <a:pt x="332" y="305"/>
                  </a:lnTo>
                  <a:lnTo>
                    <a:pt x="331" y="306"/>
                  </a:lnTo>
                  <a:lnTo>
                    <a:pt x="329" y="308"/>
                  </a:lnTo>
                  <a:lnTo>
                    <a:pt x="328" y="309"/>
                  </a:lnTo>
                  <a:lnTo>
                    <a:pt x="328" y="310"/>
                  </a:lnTo>
                  <a:lnTo>
                    <a:pt x="324" y="313"/>
                  </a:lnTo>
                  <a:lnTo>
                    <a:pt x="322" y="314"/>
                  </a:lnTo>
                  <a:lnTo>
                    <a:pt x="321" y="316"/>
                  </a:lnTo>
                  <a:lnTo>
                    <a:pt x="319" y="317"/>
                  </a:lnTo>
                  <a:lnTo>
                    <a:pt x="315" y="323"/>
                  </a:lnTo>
                  <a:lnTo>
                    <a:pt x="312" y="326"/>
                  </a:lnTo>
                  <a:lnTo>
                    <a:pt x="311" y="328"/>
                  </a:lnTo>
                  <a:lnTo>
                    <a:pt x="311" y="328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10" y="332"/>
                  </a:lnTo>
                  <a:lnTo>
                    <a:pt x="311" y="339"/>
                  </a:lnTo>
                  <a:lnTo>
                    <a:pt x="311" y="341"/>
                  </a:lnTo>
                  <a:lnTo>
                    <a:pt x="311" y="343"/>
                  </a:lnTo>
                  <a:lnTo>
                    <a:pt x="310" y="346"/>
                  </a:lnTo>
                  <a:lnTo>
                    <a:pt x="309" y="349"/>
                  </a:lnTo>
                  <a:lnTo>
                    <a:pt x="309" y="353"/>
                  </a:lnTo>
                  <a:lnTo>
                    <a:pt x="308" y="355"/>
                  </a:lnTo>
                  <a:lnTo>
                    <a:pt x="308" y="357"/>
                  </a:lnTo>
                  <a:lnTo>
                    <a:pt x="308" y="359"/>
                  </a:lnTo>
                  <a:lnTo>
                    <a:pt x="308" y="362"/>
                  </a:lnTo>
                  <a:lnTo>
                    <a:pt x="309" y="364"/>
                  </a:lnTo>
                  <a:lnTo>
                    <a:pt x="309" y="366"/>
                  </a:lnTo>
                  <a:lnTo>
                    <a:pt x="309" y="369"/>
                  </a:lnTo>
                  <a:lnTo>
                    <a:pt x="310" y="371"/>
                  </a:lnTo>
                  <a:lnTo>
                    <a:pt x="311" y="373"/>
                  </a:lnTo>
                  <a:lnTo>
                    <a:pt x="313" y="376"/>
                  </a:lnTo>
                  <a:lnTo>
                    <a:pt x="317" y="383"/>
                  </a:lnTo>
                  <a:lnTo>
                    <a:pt x="318" y="384"/>
                  </a:lnTo>
                  <a:lnTo>
                    <a:pt x="318" y="385"/>
                  </a:lnTo>
                  <a:lnTo>
                    <a:pt x="319" y="387"/>
                  </a:lnTo>
                  <a:lnTo>
                    <a:pt x="319" y="388"/>
                  </a:lnTo>
                  <a:lnTo>
                    <a:pt x="319" y="389"/>
                  </a:lnTo>
                  <a:lnTo>
                    <a:pt x="319" y="390"/>
                  </a:lnTo>
                  <a:lnTo>
                    <a:pt x="318" y="390"/>
                  </a:lnTo>
                  <a:lnTo>
                    <a:pt x="318" y="391"/>
                  </a:lnTo>
                  <a:lnTo>
                    <a:pt x="317" y="391"/>
                  </a:lnTo>
                  <a:lnTo>
                    <a:pt x="316" y="391"/>
                  </a:lnTo>
                  <a:lnTo>
                    <a:pt x="315" y="393"/>
                  </a:lnTo>
                  <a:lnTo>
                    <a:pt x="313" y="395"/>
                  </a:lnTo>
                  <a:lnTo>
                    <a:pt x="312" y="396"/>
                  </a:lnTo>
                  <a:lnTo>
                    <a:pt x="311" y="399"/>
                  </a:lnTo>
                  <a:lnTo>
                    <a:pt x="310" y="401"/>
                  </a:lnTo>
                  <a:lnTo>
                    <a:pt x="307" y="412"/>
                  </a:lnTo>
                  <a:lnTo>
                    <a:pt x="306" y="415"/>
                  </a:lnTo>
                  <a:lnTo>
                    <a:pt x="305" y="417"/>
                  </a:lnTo>
                  <a:lnTo>
                    <a:pt x="304" y="418"/>
                  </a:lnTo>
                  <a:lnTo>
                    <a:pt x="303" y="419"/>
                  </a:lnTo>
                  <a:lnTo>
                    <a:pt x="303" y="419"/>
                  </a:lnTo>
                  <a:lnTo>
                    <a:pt x="301" y="420"/>
                  </a:lnTo>
                  <a:lnTo>
                    <a:pt x="300" y="421"/>
                  </a:lnTo>
                  <a:lnTo>
                    <a:pt x="298" y="422"/>
                  </a:lnTo>
                  <a:lnTo>
                    <a:pt x="295" y="423"/>
                  </a:lnTo>
                  <a:lnTo>
                    <a:pt x="287" y="425"/>
                  </a:lnTo>
                  <a:lnTo>
                    <a:pt x="284" y="426"/>
                  </a:lnTo>
                  <a:lnTo>
                    <a:pt x="282" y="426"/>
                  </a:lnTo>
                  <a:lnTo>
                    <a:pt x="280" y="425"/>
                  </a:lnTo>
                  <a:lnTo>
                    <a:pt x="276" y="425"/>
                  </a:lnTo>
                  <a:lnTo>
                    <a:pt x="275" y="424"/>
                  </a:lnTo>
                  <a:lnTo>
                    <a:pt x="274" y="423"/>
                  </a:lnTo>
                  <a:lnTo>
                    <a:pt x="271" y="422"/>
                  </a:lnTo>
                  <a:lnTo>
                    <a:pt x="266" y="419"/>
                  </a:lnTo>
                  <a:lnTo>
                    <a:pt x="263" y="419"/>
                  </a:lnTo>
                  <a:lnTo>
                    <a:pt x="261" y="418"/>
                  </a:lnTo>
                  <a:lnTo>
                    <a:pt x="258" y="418"/>
                  </a:lnTo>
                  <a:lnTo>
                    <a:pt x="249" y="418"/>
                  </a:lnTo>
                  <a:lnTo>
                    <a:pt x="246" y="418"/>
                  </a:lnTo>
                  <a:lnTo>
                    <a:pt x="243" y="418"/>
                  </a:lnTo>
                  <a:lnTo>
                    <a:pt x="241" y="419"/>
                  </a:lnTo>
                  <a:lnTo>
                    <a:pt x="240" y="419"/>
                  </a:lnTo>
                  <a:lnTo>
                    <a:pt x="238" y="419"/>
                  </a:lnTo>
                  <a:lnTo>
                    <a:pt x="237" y="421"/>
                  </a:lnTo>
                  <a:lnTo>
                    <a:pt x="236" y="421"/>
                  </a:lnTo>
                  <a:lnTo>
                    <a:pt x="236" y="422"/>
                  </a:lnTo>
                  <a:lnTo>
                    <a:pt x="236" y="423"/>
                  </a:lnTo>
                  <a:lnTo>
                    <a:pt x="236" y="424"/>
                  </a:lnTo>
                  <a:lnTo>
                    <a:pt x="237" y="424"/>
                  </a:lnTo>
                  <a:lnTo>
                    <a:pt x="239" y="427"/>
                  </a:lnTo>
                  <a:lnTo>
                    <a:pt x="241" y="430"/>
                  </a:lnTo>
                  <a:lnTo>
                    <a:pt x="242" y="433"/>
                  </a:lnTo>
                  <a:lnTo>
                    <a:pt x="243" y="436"/>
                  </a:lnTo>
                  <a:lnTo>
                    <a:pt x="244" y="437"/>
                  </a:lnTo>
                  <a:lnTo>
                    <a:pt x="244" y="439"/>
                  </a:lnTo>
                  <a:lnTo>
                    <a:pt x="244" y="444"/>
                  </a:lnTo>
                  <a:lnTo>
                    <a:pt x="244" y="447"/>
                  </a:lnTo>
                  <a:lnTo>
                    <a:pt x="244" y="449"/>
                  </a:lnTo>
                  <a:lnTo>
                    <a:pt x="243" y="451"/>
                  </a:lnTo>
                  <a:lnTo>
                    <a:pt x="242" y="455"/>
                  </a:lnTo>
                  <a:lnTo>
                    <a:pt x="241" y="457"/>
                  </a:lnTo>
                  <a:lnTo>
                    <a:pt x="241" y="459"/>
                  </a:lnTo>
                  <a:lnTo>
                    <a:pt x="240" y="460"/>
                  </a:lnTo>
                  <a:lnTo>
                    <a:pt x="239" y="462"/>
                  </a:lnTo>
                  <a:lnTo>
                    <a:pt x="235" y="465"/>
                  </a:lnTo>
                  <a:lnTo>
                    <a:pt x="234" y="466"/>
                  </a:lnTo>
                  <a:lnTo>
                    <a:pt x="233" y="468"/>
                  </a:lnTo>
                  <a:lnTo>
                    <a:pt x="232" y="470"/>
                  </a:lnTo>
                  <a:lnTo>
                    <a:pt x="230" y="474"/>
                  </a:lnTo>
                  <a:lnTo>
                    <a:pt x="229" y="476"/>
                  </a:lnTo>
                  <a:lnTo>
                    <a:pt x="229" y="480"/>
                  </a:lnTo>
                  <a:lnTo>
                    <a:pt x="227" y="488"/>
                  </a:lnTo>
                  <a:lnTo>
                    <a:pt x="227" y="491"/>
                  </a:lnTo>
                  <a:lnTo>
                    <a:pt x="226" y="493"/>
                  </a:lnTo>
                  <a:lnTo>
                    <a:pt x="225" y="496"/>
                  </a:lnTo>
                  <a:lnTo>
                    <a:pt x="224" y="498"/>
                  </a:lnTo>
                  <a:lnTo>
                    <a:pt x="222" y="499"/>
                  </a:lnTo>
                  <a:lnTo>
                    <a:pt x="219" y="503"/>
                  </a:lnTo>
                  <a:lnTo>
                    <a:pt x="218" y="505"/>
                  </a:lnTo>
                  <a:lnTo>
                    <a:pt x="218" y="506"/>
                  </a:lnTo>
                  <a:lnTo>
                    <a:pt x="218" y="507"/>
                  </a:lnTo>
                  <a:lnTo>
                    <a:pt x="217" y="507"/>
                  </a:lnTo>
                  <a:lnTo>
                    <a:pt x="215" y="507"/>
                  </a:lnTo>
                  <a:lnTo>
                    <a:pt x="202" y="506"/>
                  </a:lnTo>
                  <a:lnTo>
                    <a:pt x="198" y="506"/>
                  </a:lnTo>
                  <a:lnTo>
                    <a:pt x="195" y="505"/>
                  </a:lnTo>
                  <a:lnTo>
                    <a:pt x="193" y="505"/>
                  </a:lnTo>
                  <a:lnTo>
                    <a:pt x="191" y="504"/>
                  </a:lnTo>
                  <a:lnTo>
                    <a:pt x="189" y="502"/>
                  </a:lnTo>
                  <a:lnTo>
                    <a:pt x="187" y="501"/>
                  </a:lnTo>
                  <a:lnTo>
                    <a:pt x="186" y="499"/>
                  </a:lnTo>
                  <a:lnTo>
                    <a:pt x="185" y="498"/>
                  </a:lnTo>
                  <a:lnTo>
                    <a:pt x="184" y="496"/>
                  </a:lnTo>
                  <a:lnTo>
                    <a:pt x="184" y="494"/>
                  </a:lnTo>
                  <a:lnTo>
                    <a:pt x="184" y="491"/>
                  </a:lnTo>
                  <a:lnTo>
                    <a:pt x="184" y="489"/>
                  </a:lnTo>
                  <a:lnTo>
                    <a:pt x="184" y="482"/>
                  </a:lnTo>
                  <a:lnTo>
                    <a:pt x="184" y="480"/>
                  </a:lnTo>
                  <a:lnTo>
                    <a:pt x="184" y="478"/>
                  </a:lnTo>
                  <a:lnTo>
                    <a:pt x="184" y="476"/>
                  </a:lnTo>
                  <a:lnTo>
                    <a:pt x="183" y="476"/>
                  </a:lnTo>
                  <a:lnTo>
                    <a:pt x="182" y="474"/>
                  </a:lnTo>
                  <a:lnTo>
                    <a:pt x="181" y="473"/>
                  </a:lnTo>
                  <a:lnTo>
                    <a:pt x="179" y="471"/>
                  </a:lnTo>
                  <a:lnTo>
                    <a:pt x="177" y="470"/>
                  </a:lnTo>
                  <a:lnTo>
                    <a:pt x="175" y="469"/>
                  </a:lnTo>
                  <a:lnTo>
                    <a:pt x="172" y="468"/>
                  </a:lnTo>
                  <a:lnTo>
                    <a:pt x="171" y="467"/>
                  </a:lnTo>
                  <a:lnTo>
                    <a:pt x="169" y="467"/>
                  </a:lnTo>
                  <a:lnTo>
                    <a:pt x="162" y="466"/>
                  </a:lnTo>
                  <a:lnTo>
                    <a:pt x="160" y="465"/>
                  </a:lnTo>
                  <a:lnTo>
                    <a:pt x="154" y="464"/>
                  </a:lnTo>
                  <a:lnTo>
                    <a:pt x="150" y="463"/>
                  </a:lnTo>
                  <a:lnTo>
                    <a:pt x="139" y="458"/>
                  </a:lnTo>
                  <a:lnTo>
                    <a:pt x="136" y="456"/>
                  </a:lnTo>
                  <a:lnTo>
                    <a:pt x="133" y="455"/>
                  </a:lnTo>
                  <a:lnTo>
                    <a:pt x="132" y="454"/>
                  </a:lnTo>
                  <a:lnTo>
                    <a:pt x="129" y="453"/>
                  </a:lnTo>
                  <a:lnTo>
                    <a:pt x="128" y="452"/>
                  </a:lnTo>
                  <a:lnTo>
                    <a:pt x="127" y="451"/>
                  </a:lnTo>
                  <a:lnTo>
                    <a:pt x="126" y="449"/>
                  </a:lnTo>
                  <a:lnTo>
                    <a:pt x="125" y="445"/>
                  </a:lnTo>
                  <a:lnTo>
                    <a:pt x="123" y="443"/>
                  </a:lnTo>
                  <a:lnTo>
                    <a:pt x="122" y="442"/>
                  </a:lnTo>
                  <a:lnTo>
                    <a:pt x="119" y="438"/>
                  </a:lnTo>
                  <a:lnTo>
                    <a:pt x="118" y="437"/>
                  </a:lnTo>
                  <a:lnTo>
                    <a:pt x="117" y="436"/>
                  </a:lnTo>
                  <a:lnTo>
                    <a:pt x="116" y="435"/>
                  </a:lnTo>
                  <a:lnTo>
                    <a:pt x="115" y="435"/>
                  </a:lnTo>
                  <a:lnTo>
                    <a:pt x="114" y="434"/>
                  </a:lnTo>
                  <a:lnTo>
                    <a:pt x="113" y="434"/>
                  </a:lnTo>
                  <a:lnTo>
                    <a:pt x="111" y="434"/>
                  </a:lnTo>
                  <a:lnTo>
                    <a:pt x="110" y="434"/>
                  </a:lnTo>
                  <a:lnTo>
                    <a:pt x="108" y="435"/>
                  </a:lnTo>
                  <a:lnTo>
                    <a:pt x="100" y="438"/>
                  </a:lnTo>
                  <a:lnTo>
                    <a:pt x="93" y="440"/>
                  </a:lnTo>
                  <a:lnTo>
                    <a:pt x="90" y="441"/>
                  </a:lnTo>
                  <a:lnTo>
                    <a:pt x="82" y="442"/>
                  </a:lnTo>
                  <a:lnTo>
                    <a:pt x="72" y="444"/>
                  </a:lnTo>
                  <a:lnTo>
                    <a:pt x="69" y="444"/>
                  </a:lnTo>
                  <a:lnTo>
                    <a:pt x="66" y="445"/>
                  </a:lnTo>
                  <a:lnTo>
                    <a:pt x="64" y="445"/>
                  </a:lnTo>
                  <a:lnTo>
                    <a:pt x="61" y="445"/>
                  </a:lnTo>
                  <a:lnTo>
                    <a:pt x="59" y="445"/>
                  </a:lnTo>
                  <a:lnTo>
                    <a:pt x="57" y="444"/>
                  </a:lnTo>
                  <a:lnTo>
                    <a:pt x="55" y="444"/>
                  </a:lnTo>
                  <a:lnTo>
                    <a:pt x="53" y="443"/>
                  </a:lnTo>
                  <a:lnTo>
                    <a:pt x="50" y="442"/>
                  </a:lnTo>
                  <a:lnTo>
                    <a:pt x="49" y="442"/>
                  </a:lnTo>
                  <a:lnTo>
                    <a:pt x="48" y="441"/>
                  </a:lnTo>
                  <a:lnTo>
                    <a:pt x="47" y="439"/>
                  </a:lnTo>
                  <a:lnTo>
                    <a:pt x="46" y="437"/>
                  </a:lnTo>
                  <a:lnTo>
                    <a:pt x="44" y="435"/>
                  </a:lnTo>
                  <a:lnTo>
                    <a:pt x="44" y="433"/>
                  </a:lnTo>
                  <a:lnTo>
                    <a:pt x="44" y="431"/>
                  </a:lnTo>
                  <a:lnTo>
                    <a:pt x="44" y="430"/>
                  </a:lnTo>
                  <a:lnTo>
                    <a:pt x="44" y="428"/>
                  </a:lnTo>
                  <a:lnTo>
                    <a:pt x="45" y="427"/>
                  </a:lnTo>
                  <a:lnTo>
                    <a:pt x="46" y="425"/>
                  </a:lnTo>
                  <a:lnTo>
                    <a:pt x="47" y="422"/>
                  </a:lnTo>
                  <a:lnTo>
                    <a:pt x="51" y="418"/>
                  </a:lnTo>
                  <a:lnTo>
                    <a:pt x="57" y="410"/>
                  </a:lnTo>
                  <a:lnTo>
                    <a:pt x="60" y="407"/>
                  </a:lnTo>
                  <a:lnTo>
                    <a:pt x="62" y="403"/>
                  </a:lnTo>
                  <a:lnTo>
                    <a:pt x="65" y="400"/>
                  </a:lnTo>
                  <a:lnTo>
                    <a:pt x="66" y="398"/>
                  </a:lnTo>
                  <a:lnTo>
                    <a:pt x="66" y="396"/>
                  </a:lnTo>
                  <a:lnTo>
                    <a:pt x="67" y="395"/>
                  </a:lnTo>
                  <a:lnTo>
                    <a:pt x="67" y="394"/>
                  </a:lnTo>
                  <a:lnTo>
                    <a:pt x="67" y="393"/>
                  </a:lnTo>
                  <a:lnTo>
                    <a:pt x="67" y="392"/>
                  </a:lnTo>
                  <a:lnTo>
                    <a:pt x="66" y="391"/>
                  </a:lnTo>
                  <a:lnTo>
                    <a:pt x="65" y="391"/>
                  </a:lnTo>
                  <a:lnTo>
                    <a:pt x="63" y="390"/>
                  </a:lnTo>
                  <a:lnTo>
                    <a:pt x="62" y="389"/>
                  </a:lnTo>
                  <a:lnTo>
                    <a:pt x="61" y="387"/>
                  </a:lnTo>
                  <a:lnTo>
                    <a:pt x="62" y="386"/>
                  </a:lnTo>
                  <a:lnTo>
                    <a:pt x="62" y="385"/>
                  </a:lnTo>
                  <a:lnTo>
                    <a:pt x="66" y="370"/>
                  </a:lnTo>
                  <a:lnTo>
                    <a:pt x="67" y="366"/>
                  </a:lnTo>
                  <a:lnTo>
                    <a:pt x="68" y="362"/>
                  </a:lnTo>
                  <a:lnTo>
                    <a:pt x="69" y="360"/>
                  </a:lnTo>
                  <a:lnTo>
                    <a:pt x="70" y="357"/>
                  </a:lnTo>
                  <a:lnTo>
                    <a:pt x="70" y="354"/>
                  </a:lnTo>
                  <a:lnTo>
                    <a:pt x="72" y="351"/>
                  </a:lnTo>
                  <a:lnTo>
                    <a:pt x="75" y="347"/>
                  </a:lnTo>
                  <a:lnTo>
                    <a:pt x="77" y="345"/>
                  </a:lnTo>
                  <a:lnTo>
                    <a:pt x="78" y="343"/>
                  </a:lnTo>
                  <a:lnTo>
                    <a:pt x="80" y="341"/>
                  </a:lnTo>
                  <a:lnTo>
                    <a:pt x="81" y="339"/>
                  </a:lnTo>
                  <a:lnTo>
                    <a:pt x="81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4" y="335"/>
                  </a:lnTo>
                  <a:lnTo>
                    <a:pt x="85" y="335"/>
                  </a:lnTo>
                  <a:lnTo>
                    <a:pt x="88" y="334"/>
                  </a:lnTo>
                  <a:lnTo>
                    <a:pt x="90" y="334"/>
                  </a:lnTo>
                  <a:lnTo>
                    <a:pt x="92" y="333"/>
                  </a:lnTo>
                  <a:lnTo>
                    <a:pt x="93" y="331"/>
                  </a:lnTo>
                  <a:lnTo>
                    <a:pt x="95" y="329"/>
                  </a:lnTo>
                  <a:lnTo>
                    <a:pt x="97" y="328"/>
                  </a:lnTo>
                  <a:lnTo>
                    <a:pt x="98" y="326"/>
                  </a:lnTo>
                  <a:lnTo>
                    <a:pt x="99" y="323"/>
                  </a:lnTo>
                  <a:lnTo>
                    <a:pt x="100" y="321"/>
                  </a:lnTo>
                  <a:lnTo>
                    <a:pt x="100" y="319"/>
                  </a:lnTo>
                  <a:lnTo>
                    <a:pt x="99" y="317"/>
                  </a:lnTo>
                  <a:lnTo>
                    <a:pt x="98" y="313"/>
                  </a:lnTo>
                  <a:lnTo>
                    <a:pt x="98" y="312"/>
                  </a:lnTo>
                  <a:lnTo>
                    <a:pt x="97" y="311"/>
                  </a:lnTo>
                  <a:lnTo>
                    <a:pt x="93" y="306"/>
                  </a:lnTo>
                  <a:lnTo>
                    <a:pt x="93" y="304"/>
                  </a:lnTo>
                  <a:lnTo>
                    <a:pt x="93" y="302"/>
                  </a:lnTo>
                  <a:lnTo>
                    <a:pt x="91" y="297"/>
                  </a:lnTo>
                  <a:lnTo>
                    <a:pt x="90" y="294"/>
                  </a:lnTo>
                  <a:lnTo>
                    <a:pt x="90" y="293"/>
                  </a:lnTo>
                  <a:lnTo>
                    <a:pt x="91" y="287"/>
                  </a:lnTo>
                  <a:lnTo>
                    <a:pt x="91" y="283"/>
                  </a:lnTo>
                  <a:lnTo>
                    <a:pt x="91" y="283"/>
                  </a:lnTo>
                  <a:lnTo>
                    <a:pt x="91" y="282"/>
                  </a:lnTo>
                  <a:lnTo>
                    <a:pt x="92" y="280"/>
                  </a:lnTo>
                  <a:lnTo>
                    <a:pt x="93" y="278"/>
                  </a:lnTo>
                  <a:lnTo>
                    <a:pt x="93" y="277"/>
                  </a:lnTo>
                  <a:lnTo>
                    <a:pt x="93" y="276"/>
                  </a:lnTo>
                  <a:lnTo>
                    <a:pt x="93" y="275"/>
                  </a:lnTo>
                  <a:lnTo>
                    <a:pt x="93" y="274"/>
                  </a:lnTo>
                  <a:lnTo>
                    <a:pt x="93" y="272"/>
                  </a:lnTo>
                  <a:lnTo>
                    <a:pt x="92" y="272"/>
                  </a:lnTo>
                  <a:lnTo>
                    <a:pt x="91" y="271"/>
                  </a:lnTo>
                  <a:lnTo>
                    <a:pt x="88" y="269"/>
                  </a:lnTo>
                  <a:lnTo>
                    <a:pt x="83" y="266"/>
                  </a:lnTo>
                  <a:lnTo>
                    <a:pt x="80" y="263"/>
                  </a:lnTo>
                  <a:lnTo>
                    <a:pt x="79" y="262"/>
                  </a:lnTo>
                  <a:lnTo>
                    <a:pt x="78" y="261"/>
                  </a:lnTo>
                  <a:lnTo>
                    <a:pt x="77" y="260"/>
                  </a:lnTo>
                  <a:lnTo>
                    <a:pt x="76" y="259"/>
                  </a:lnTo>
                  <a:lnTo>
                    <a:pt x="76" y="257"/>
                  </a:lnTo>
                  <a:lnTo>
                    <a:pt x="76" y="254"/>
                  </a:lnTo>
                  <a:lnTo>
                    <a:pt x="76" y="252"/>
                  </a:lnTo>
                  <a:lnTo>
                    <a:pt x="76" y="250"/>
                  </a:lnTo>
                  <a:lnTo>
                    <a:pt x="75" y="249"/>
                  </a:lnTo>
                  <a:lnTo>
                    <a:pt x="75" y="248"/>
                  </a:lnTo>
                  <a:lnTo>
                    <a:pt x="74" y="246"/>
                  </a:lnTo>
                  <a:lnTo>
                    <a:pt x="72" y="245"/>
                  </a:lnTo>
                  <a:lnTo>
                    <a:pt x="71" y="244"/>
                  </a:lnTo>
                  <a:lnTo>
                    <a:pt x="70" y="243"/>
                  </a:lnTo>
                  <a:lnTo>
                    <a:pt x="68" y="242"/>
                  </a:lnTo>
                  <a:lnTo>
                    <a:pt x="67" y="242"/>
                  </a:lnTo>
                  <a:lnTo>
                    <a:pt x="65" y="242"/>
                  </a:lnTo>
                  <a:lnTo>
                    <a:pt x="62" y="243"/>
                  </a:lnTo>
                  <a:lnTo>
                    <a:pt x="59" y="244"/>
                  </a:lnTo>
                  <a:lnTo>
                    <a:pt x="57" y="245"/>
                  </a:lnTo>
                  <a:lnTo>
                    <a:pt x="54" y="247"/>
                  </a:lnTo>
                  <a:lnTo>
                    <a:pt x="53" y="247"/>
                  </a:lnTo>
                  <a:lnTo>
                    <a:pt x="52" y="247"/>
                  </a:lnTo>
                  <a:lnTo>
                    <a:pt x="50" y="247"/>
                  </a:lnTo>
                  <a:lnTo>
                    <a:pt x="49" y="247"/>
                  </a:lnTo>
                  <a:lnTo>
                    <a:pt x="48" y="246"/>
                  </a:lnTo>
                  <a:lnTo>
                    <a:pt x="47" y="245"/>
                  </a:lnTo>
                  <a:lnTo>
                    <a:pt x="46" y="243"/>
                  </a:lnTo>
                  <a:lnTo>
                    <a:pt x="46" y="240"/>
                  </a:lnTo>
                  <a:lnTo>
                    <a:pt x="46" y="238"/>
                  </a:lnTo>
                  <a:lnTo>
                    <a:pt x="46" y="237"/>
                  </a:lnTo>
                  <a:lnTo>
                    <a:pt x="46" y="236"/>
                  </a:lnTo>
                  <a:lnTo>
                    <a:pt x="45" y="234"/>
                  </a:lnTo>
                  <a:lnTo>
                    <a:pt x="44" y="234"/>
                  </a:lnTo>
                  <a:lnTo>
                    <a:pt x="43" y="233"/>
                  </a:lnTo>
                  <a:lnTo>
                    <a:pt x="40" y="231"/>
                  </a:lnTo>
                  <a:lnTo>
                    <a:pt x="37" y="229"/>
                  </a:lnTo>
                  <a:lnTo>
                    <a:pt x="35" y="227"/>
                  </a:lnTo>
                  <a:lnTo>
                    <a:pt x="31" y="226"/>
                  </a:lnTo>
                  <a:lnTo>
                    <a:pt x="29" y="224"/>
                  </a:lnTo>
                  <a:lnTo>
                    <a:pt x="24" y="220"/>
                  </a:lnTo>
                  <a:lnTo>
                    <a:pt x="23" y="219"/>
                  </a:lnTo>
                  <a:lnTo>
                    <a:pt x="22" y="218"/>
                  </a:lnTo>
                  <a:lnTo>
                    <a:pt x="20" y="217"/>
                  </a:lnTo>
                  <a:lnTo>
                    <a:pt x="7" y="201"/>
                  </a:lnTo>
                  <a:lnTo>
                    <a:pt x="2" y="195"/>
                  </a:lnTo>
                  <a:lnTo>
                    <a:pt x="2" y="193"/>
                  </a:lnTo>
                  <a:lnTo>
                    <a:pt x="0" y="191"/>
                  </a:lnTo>
                  <a:lnTo>
                    <a:pt x="0" y="190"/>
                  </a:lnTo>
                  <a:lnTo>
                    <a:pt x="0" y="189"/>
                  </a:lnTo>
                  <a:lnTo>
                    <a:pt x="1" y="189"/>
                  </a:lnTo>
                  <a:lnTo>
                    <a:pt x="8" y="187"/>
                  </a:lnTo>
                  <a:lnTo>
                    <a:pt x="13" y="185"/>
                  </a:lnTo>
                  <a:lnTo>
                    <a:pt x="14" y="184"/>
                  </a:lnTo>
                  <a:lnTo>
                    <a:pt x="16" y="183"/>
                  </a:lnTo>
                  <a:lnTo>
                    <a:pt x="17" y="182"/>
                  </a:lnTo>
                  <a:lnTo>
                    <a:pt x="18" y="181"/>
                  </a:lnTo>
                  <a:lnTo>
                    <a:pt x="19" y="181"/>
                  </a:lnTo>
                  <a:lnTo>
                    <a:pt x="20" y="180"/>
                  </a:lnTo>
                  <a:lnTo>
                    <a:pt x="21" y="178"/>
                  </a:lnTo>
                  <a:lnTo>
                    <a:pt x="22" y="176"/>
                  </a:lnTo>
                  <a:lnTo>
                    <a:pt x="23" y="170"/>
                  </a:lnTo>
                  <a:lnTo>
                    <a:pt x="24" y="170"/>
                  </a:lnTo>
                  <a:lnTo>
                    <a:pt x="25" y="168"/>
                  </a:lnTo>
                  <a:lnTo>
                    <a:pt x="25" y="165"/>
                  </a:lnTo>
                  <a:lnTo>
                    <a:pt x="27" y="163"/>
                  </a:lnTo>
                  <a:lnTo>
                    <a:pt x="28" y="161"/>
                  </a:lnTo>
                  <a:lnTo>
                    <a:pt x="31" y="158"/>
                  </a:lnTo>
                  <a:lnTo>
                    <a:pt x="33" y="157"/>
                  </a:lnTo>
                  <a:lnTo>
                    <a:pt x="34" y="154"/>
                  </a:lnTo>
                  <a:lnTo>
                    <a:pt x="37" y="148"/>
                  </a:lnTo>
                  <a:lnTo>
                    <a:pt x="38" y="147"/>
                  </a:lnTo>
                  <a:lnTo>
                    <a:pt x="39" y="146"/>
                  </a:lnTo>
                  <a:lnTo>
                    <a:pt x="41" y="144"/>
                  </a:lnTo>
                  <a:lnTo>
                    <a:pt x="43" y="142"/>
                  </a:lnTo>
                  <a:lnTo>
                    <a:pt x="51" y="137"/>
                  </a:lnTo>
                  <a:lnTo>
                    <a:pt x="57" y="134"/>
                  </a:lnTo>
                  <a:lnTo>
                    <a:pt x="60" y="130"/>
                  </a:lnTo>
                  <a:lnTo>
                    <a:pt x="61" y="129"/>
                  </a:lnTo>
                  <a:lnTo>
                    <a:pt x="62" y="128"/>
                  </a:lnTo>
                  <a:lnTo>
                    <a:pt x="64" y="125"/>
                  </a:lnTo>
                  <a:lnTo>
                    <a:pt x="65" y="123"/>
                  </a:lnTo>
                  <a:lnTo>
                    <a:pt x="66" y="119"/>
                  </a:lnTo>
                  <a:lnTo>
                    <a:pt x="69" y="112"/>
                  </a:lnTo>
                  <a:lnTo>
                    <a:pt x="70" y="108"/>
                  </a:lnTo>
                  <a:lnTo>
                    <a:pt x="70" y="107"/>
                  </a:lnTo>
                  <a:lnTo>
                    <a:pt x="71" y="106"/>
                  </a:lnTo>
                  <a:lnTo>
                    <a:pt x="72" y="104"/>
                  </a:lnTo>
                  <a:lnTo>
                    <a:pt x="75" y="102"/>
                  </a:lnTo>
                  <a:lnTo>
                    <a:pt x="76" y="101"/>
                  </a:lnTo>
                  <a:lnTo>
                    <a:pt x="77" y="100"/>
                  </a:lnTo>
                  <a:lnTo>
                    <a:pt x="78" y="98"/>
                  </a:lnTo>
                  <a:lnTo>
                    <a:pt x="82" y="87"/>
                  </a:lnTo>
                  <a:lnTo>
                    <a:pt x="82" y="86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3" y="82"/>
                  </a:lnTo>
                  <a:lnTo>
                    <a:pt x="82" y="80"/>
                  </a:lnTo>
                  <a:lnTo>
                    <a:pt x="82" y="77"/>
                  </a:lnTo>
                  <a:lnTo>
                    <a:pt x="82" y="75"/>
                  </a:lnTo>
                  <a:lnTo>
                    <a:pt x="82" y="73"/>
                  </a:lnTo>
                  <a:lnTo>
                    <a:pt x="82" y="70"/>
                  </a:lnTo>
                  <a:lnTo>
                    <a:pt x="82" y="68"/>
                  </a:lnTo>
                  <a:lnTo>
                    <a:pt x="82" y="66"/>
                  </a:lnTo>
                  <a:lnTo>
                    <a:pt x="83" y="64"/>
                  </a:lnTo>
                  <a:lnTo>
                    <a:pt x="84" y="62"/>
                  </a:lnTo>
                  <a:lnTo>
                    <a:pt x="85" y="60"/>
                  </a:lnTo>
                  <a:lnTo>
                    <a:pt x="86" y="58"/>
                  </a:lnTo>
                  <a:lnTo>
                    <a:pt x="87" y="57"/>
                  </a:lnTo>
                  <a:lnTo>
                    <a:pt x="90" y="55"/>
                  </a:lnTo>
                  <a:lnTo>
                    <a:pt x="92" y="54"/>
                  </a:lnTo>
                  <a:lnTo>
                    <a:pt x="93" y="52"/>
                  </a:lnTo>
                  <a:lnTo>
                    <a:pt x="93" y="51"/>
                  </a:lnTo>
                  <a:lnTo>
                    <a:pt x="94" y="48"/>
                  </a:lnTo>
                  <a:lnTo>
                    <a:pt x="96" y="44"/>
                  </a:lnTo>
                  <a:lnTo>
                    <a:pt x="97" y="42"/>
                  </a:lnTo>
                  <a:lnTo>
                    <a:pt x="98" y="41"/>
                  </a:lnTo>
                  <a:lnTo>
                    <a:pt x="101" y="39"/>
                  </a:lnTo>
                  <a:lnTo>
                    <a:pt x="104" y="36"/>
                  </a:lnTo>
                  <a:lnTo>
                    <a:pt x="110" y="32"/>
                  </a:lnTo>
                  <a:lnTo>
                    <a:pt x="111" y="30"/>
                  </a:lnTo>
                  <a:lnTo>
                    <a:pt x="112" y="29"/>
                  </a:lnTo>
                  <a:lnTo>
                    <a:pt x="113" y="28"/>
                  </a:lnTo>
                  <a:lnTo>
                    <a:pt x="114" y="26"/>
                  </a:lnTo>
                  <a:lnTo>
                    <a:pt x="116" y="22"/>
                  </a:lnTo>
                  <a:lnTo>
                    <a:pt x="116" y="20"/>
                  </a:lnTo>
                  <a:lnTo>
                    <a:pt x="117" y="17"/>
                  </a:lnTo>
                  <a:lnTo>
                    <a:pt x="119" y="15"/>
                  </a:lnTo>
                  <a:lnTo>
                    <a:pt x="122" y="12"/>
                  </a:lnTo>
                  <a:lnTo>
                    <a:pt x="124" y="11"/>
                  </a:lnTo>
                  <a:lnTo>
                    <a:pt x="134" y="2"/>
                  </a:lnTo>
                  <a:lnTo>
                    <a:pt x="135" y="2"/>
                  </a:lnTo>
                  <a:lnTo>
                    <a:pt x="135" y="1"/>
                  </a:lnTo>
                  <a:lnTo>
                    <a:pt x="134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3" name="Freeform 16">
              <a:extLst>
                <a:ext uri="{FF2B5EF4-FFF2-40B4-BE49-F238E27FC236}">
                  <a16:creationId xmlns:a16="http://schemas.microsoft.com/office/drawing/2014/main" id="{F62718F5-8661-4E97-84AD-45FF593F6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2" y="2359"/>
              <a:ext cx="704" cy="451"/>
            </a:xfrm>
            <a:custGeom>
              <a:avLst/>
              <a:gdLst>
                <a:gd name="T0" fmla="*/ 412 w 704"/>
                <a:gd name="T1" fmla="*/ 16 h 451"/>
                <a:gd name="T2" fmla="*/ 397 w 704"/>
                <a:gd name="T3" fmla="*/ 52 h 451"/>
                <a:gd name="T4" fmla="*/ 432 w 704"/>
                <a:gd name="T5" fmla="*/ 55 h 451"/>
                <a:gd name="T6" fmla="*/ 469 w 704"/>
                <a:gd name="T7" fmla="*/ 51 h 451"/>
                <a:gd name="T8" fmla="*/ 504 w 704"/>
                <a:gd name="T9" fmla="*/ 77 h 451"/>
                <a:gd name="T10" fmla="*/ 534 w 704"/>
                <a:gd name="T11" fmla="*/ 91 h 451"/>
                <a:gd name="T12" fmla="*/ 545 w 704"/>
                <a:gd name="T13" fmla="*/ 118 h 451"/>
                <a:gd name="T14" fmla="*/ 571 w 704"/>
                <a:gd name="T15" fmla="*/ 150 h 451"/>
                <a:gd name="T16" fmla="*/ 569 w 704"/>
                <a:gd name="T17" fmla="*/ 178 h 451"/>
                <a:gd name="T18" fmla="*/ 591 w 704"/>
                <a:gd name="T19" fmla="*/ 195 h 451"/>
                <a:gd name="T20" fmla="*/ 617 w 704"/>
                <a:gd name="T21" fmla="*/ 213 h 451"/>
                <a:gd name="T22" fmla="*/ 641 w 704"/>
                <a:gd name="T23" fmla="*/ 215 h 451"/>
                <a:gd name="T24" fmla="*/ 649 w 704"/>
                <a:gd name="T25" fmla="*/ 262 h 451"/>
                <a:gd name="T26" fmla="*/ 642 w 704"/>
                <a:gd name="T27" fmla="*/ 286 h 451"/>
                <a:gd name="T28" fmla="*/ 653 w 704"/>
                <a:gd name="T29" fmla="*/ 319 h 451"/>
                <a:gd name="T30" fmla="*/ 687 w 704"/>
                <a:gd name="T31" fmla="*/ 345 h 451"/>
                <a:gd name="T32" fmla="*/ 704 w 704"/>
                <a:gd name="T33" fmla="*/ 404 h 451"/>
                <a:gd name="T34" fmla="*/ 677 w 704"/>
                <a:gd name="T35" fmla="*/ 419 h 451"/>
                <a:gd name="T36" fmla="*/ 636 w 704"/>
                <a:gd name="T37" fmla="*/ 408 h 451"/>
                <a:gd name="T38" fmla="*/ 607 w 704"/>
                <a:gd name="T39" fmla="*/ 420 h 451"/>
                <a:gd name="T40" fmla="*/ 565 w 704"/>
                <a:gd name="T41" fmla="*/ 394 h 451"/>
                <a:gd name="T42" fmla="*/ 557 w 704"/>
                <a:gd name="T43" fmla="*/ 410 h 451"/>
                <a:gd name="T44" fmla="*/ 520 w 704"/>
                <a:gd name="T45" fmla="*/ 424 h 451"/>
                <a:gd name="T46" fmla="*/ 494 w 704"/>
                <a:gd name="T47" fmla="*/ 406 h 451"/>
                <a:gd name="T48" fmla="*/ 465 w 704"/>
                <a:gd name="T49" fmla="*/ 384 h 451"/>
                <a:gd name="T50" fmla="*/ 430 w 704"/>
                <a:gd name="T51" fmla="*/ 384 h 451"/>
                <a:gd name="T52" fmla="*/ 408 w 704"/>
                <a:gd name="T53" fmla="*/ 413 h 451"/>
                <a:gd name="T54" fmla="*/ 345 w 704"/>
                <a:gd name="T55" fmla="*/ 417 h 451"/>
                <a:gd name="T56" fmla="*/ 308 w 704"/>
                <a:gd name="T57" fmla="*/ 417 h 451"/>
                <a:gd name="T58" fmla="*/ 298 w 704"/>
                <a:gd name="T59" fmla="*/ 383 h 451"/>
                <a:gd name="T60" fmla="*/ 258 w 704"/>
                <a:gd name="T61" fmla="*/ 402 h 451"/>
                <a:gd name="T62" fmla="*/ 241 w 704"/>
                <a:gd name="T63" fmla="*/ 427 h 451"/>
                <a:gd name="T64" fmla="*/ 214 w 704"/>
                <a:gd name="T65" fmla="*/ 438 h 451"/>
                <a:gd name="T66" fmla="*/ 190 w 704"/>
                <a:gd name="T67" fmla="*/ 451 h 451"/>
                <a:gd name="T68" fmla="*/ 159 w 704"/>
                <a:gd name="T69" fmla="*/ 435 h 451"/>
                <a:gd name="T70" fmla="*/ 141 w 704"/>
                <a:gd name="T71" fmla="*/ 428 h 451"/>
                <a:gd name="T72" fmla="*/ 113 w 704"/>
                <a:gd name="T73" fmla="*/ 426 h 451"/>
                <a:gd name="T74" fmla="*/ 94 w 704"/>
                <a:gd name="T75" fmla="*/ 431 h 451"/>
                <a:gd name="T76" fmla="*/ 72 w 704"/>
                <a:gd name="T77" fmla="*/ 438 h 451"/>
                <a:gd name="T78" fmla="*/ 66 w 704"/>
                <a:gd name="T79" fmla="*/ 408 h 451"/>
                <a:gd name="T80" fmla="*/ 50 w 704"/>
                <a:gd name="T81" fmla="*/ 389 h 451"/>
                <a:gd name="T82" fmla="*/ 56 w 704"/>
                <a:gd name="T83" fmla="*/ 318 h 451"/>
                <a:gd name="T84" fmla="*/ 37 w 704"/>
                <a:gd name="T85" fmla="*/ 303 h 451"/>
                <a:gd name="T86" fmla="*/ 22 w 704"/>
                <a:gd name="T87" fmla="*/ 292 h 451"/>
                <a:gd name="T88" fmla="*/ 14 w 704"/>
                <a:gd name="T89" fmla="*/ 280 h 451"/>
                <a:gd name="T90" fmla="*/ 22 w 704"/>
                <a:gd name="T91" fmla="*/ 267 h 451"/>
                <a:gd name="T92" fmla="*/ 24 w 704"/>
                <a:gd name="T93" fmla="*/ 247 h 451"/>
                <a:gd name="T94" fmla="*/ 27 w 704"/>
                <a:gd name="T95" fmla="*/ 236 h 451"/>
                <a:gd name="T96" fmla="*/ 1 w 704"/>
                <a:gd name="T97" fmla="*/ 228 h 451"/>
                <a:gd name="T98" fmla="*/ 26 w 704"/>
                <a:gd name="T99" fmla="*/ 190 h 451"/>
                <a:gd name="T100" fmla="*/ 65 w 704"/>
                <a:gd name="T101" fmla="*/ 187 h 451"/>
                <a:gd name="T102" fmla="*/ 90 w 704"/>
                <a:gd name="T103" fmla="*/ 166 h 451"/>
                <a:gd name="T104" fmla="*/ 124 w 704"/>
                <a:gd name="T105" fmla="*/ 149 h 451"/>
                <a:gd name="T106" fmla="*/ 157 w 704"/>
                <a:gd name="T107" fmla="*/ 128 h 451"/>
                <a:gd name="T108" fmla="*/ 164 w 704"/>
                <a:gd name="T109" fmla="*/ 101 h 451"/>
                <a:gd name="T110" fmla="*/ 207 w 704"/>
                <a:gd name="T111" fmla="*/ 84 h 451"/>
                <a:gd name="T112" fmla="*/ 238 w 704"/>
                <a:gd name="T113" fmla="*/ 73 h 451"/>
                <a:gd name="T114" fmla="*/ 266 w 704"/>
                <a:gd name="T115" fmla="*/ 106 h 451"/>
                <a:gd name="T116" fmla="*/ 299 w 704"/>
                <a:gd name="T117" fmla="*/ 116 h 451"/>
                <a:gd name="T118" fmla="*/ 314 w 704"/>
                <a:gd name="T119" fmla="*/ 90 h 451"/>
                <a:gd name="T120" fmla="*/ 349 w 704"/>
                <a:gd name="T121" fmla="*/ 48 h 451"/>
                <a:gd name="T122" fmla="*/ 395 w 704"/>
                <a:gd name="T123" fmla="*/ 17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" h="451">
                  <a:moveTo>
                    <a:pt x="411" y="0"/>
                  </a:moveTo>
                  <a:lnTo>
                    <a:pt x="412" y="2"/>
                  </a:lnTo>
                  <a:lnTo>
                    <a:pt x="413" y="3"/>
                  </a:lnTo>
                  <a:lnTo>
                    <a:pt x="415" y="4"/>
                  </a:lnTo>
                  <a:lnTo>
                    <a:pt x="416" y="4"/>
                  </a:lnTo>
                  <a:lnTo>
                    <a:pt x="417" y="5"/>
                  </a:lnTo>
                  <a:lnTo>
                    <a:pt x="417" y="6"/>
                  </a:lnTo>
                  <a:lnTo>
                    <a:pt x="417" y="7"/>
                  </a:lnTo>
                  <a:lnTo>
                    <a:pt x="417" y="8"/>
                  </a:lnTo>
                  <a:lnTo>
                    <a:pt x="416" y="9"/>
                  </a:lnTo>
                  <a:lnTo>
                    <a:pt x="416" y="11"/>
                  </a:lnTo>
                  <a:lnTo>
                    <a:pt x="415" y="13"/>
                  </a:lnTo>
                  <a:lnTo>
                    <a:pt x="412" y="16"/>
                  </a:lnTo>
                  <a:lnTo>
                    <a:pt x="410" y="20"/>
                  </a:lnTo>
                  <a:lnTo>
                    <a:pt x="407" y="23"/>
                  </a:lnTo>
                  <a:lnTo>
                    <a:pt x="401" y="31"/>
                  </a:lnTo>
                  <a:lnTo>
                    <a:pt x="397" y="35"/>
                  </a:lnTo>
                  <a:lnTo>
                    <a:pt x="396" y="38"/>
                  </a:lnTo>
                  <a:lnTo>
                    <a:pt x="395" y="40"/>
                  </a:lnTo>
                  <a:lnTo>
                    <a:pt x="394" y="41"/>
                  </a:lnTo>
                  <a:lnTo>
                    <a:pt x="394" y="43"/>
                  </a:lnTo>
                  <a:lnTo>
                    <a:pt x="394" y="44"/>
                  </a:lnTo>
                  <a:lnTo>
                    <a:pt x="394" y="46"/>
                  </a:lnTo>
                  <a:lnTo>
                    <a:pt x="394" y="48"/>
                  </a:lnTo>
                  <a:lnTo>
                    <a:pt x="396" y="50"/>
                  </a:lnTo>
                  <a:lnTo>
                    <a:pt x="397" y="52"/>
                  </a:lnTo>
                  <a:lnTo>
                    <a:pt x="398" y="54"/>
                  </a:lnTo>
                  <a:lnTo>
                    <a:pt x="399" y="55"/>
                  </a:lnTo>
                  <a:lnTo>
                    <a:pt x="400" y="55"/>
                  </a:lnTo>
                  <a:lnTo>
                    <a:pt x="403" y="56"/>
                  </a:lnTo>
                  <a:lnTo>
                    <a:pt x="405" y="57"/>
                  </a:lnTo>
                  <a:lnTo>
                    <a:pt x="407" y="57"/>
                  </a:lnTo>
                  <a:lnTo>
                    <a:pt x="409" y="58"/>
                  </a:lnTo>
                  <a:lnTo>
                    <a:pt x="411" y="58"/>
                  </a:lnTo>
                  <a:lnTo>
                    <a:pt x="414" y="58"/>
                  </a:lnTo>
                  <a:lnTo>
                    <a:pt x="416" y="58"/>
                  </a:lnTo>
                  <a:lnTo>
                    <a:pt x="419" y="57"/>
                  </a:lnTo>
                  <a:lnTo>
                    <a:pt x="422" y="57"/>
                  </a:lnTo>
                  <a:lnTo>
                    <a:pt x="432" y="55"/>
                  </a:lnTo>
                  <a:lnTo>
                    <a:pt x="440" y="54"/>
                  </a:lnTo>
                  <a:lnTo>
                    <a:pt x="443" y="53"/>
                  </a:lnTo>
                  <a:lnTo>
                    <a:pt x="450" y="51"/>
                  </a:lnTo>
                  <a:lnTo>
                    <a:pt x="458" y="48"/>
                  </a:lnTo>
                  <a:lnTo>
                    <a:pt x="460" y="47"/>
                  </a:lnTo>
                  <a:lnTo>
                    <a:pt x="461" y="47"/>
                  </a:lnTo>
                  <a:lnTo>
                    <a:pt x="463" y="47"/>
                  </a:lnTo>
                  <a:lnTo>
                    <a:pt x="464" y="47"/>
                  </a:lnTo>
                  <a:lnTo>
                    <a:pt x="465" y="48"/>
                  </a:lnTo>
                  <a:lnTo>
                    <a:pt x="466" y="48"/>
                  </a:lnTo>
                  <a:lnTo>
                    <a:pt x="467" y="49"/>
                  </a:lnTo>
                  <a:lnTo>
                    <a:pt x="468" y="50"/>
                  </a:lnTo>
                  <a:lnTo>
                    <a:pt x="469" y="51"/>
                  </a:lnTo>
                  <a:lnTo>
                    <a:pt x="472" y="55"/>
                  </a:lnTo>
                  <a:lnTo>
                    <a:pt x="473" y="56"/>
                  </a:lnTo>
                  <a:lnTo>
                    <a:pt x="475" y="58"/>
                  </a:lnTo>
                  <a:lnTo>
                    <a:pt x="476" y="62"/>
                  </a:lnTo>
                  <a:lnTo>
                    <a:pt x="477" y="64"/>
                  </a:lnTo>
                  <a:lnTo>
                    <a:pt x="478" y="65"/>
                  </a:lnTo>
                  <a:lnTo>
                    <a:pt x="479" y="66"/>
                  </a:lnTo>
                  <a:lnTo>
                    <a:pt x="482" y="67"/>
                  </a:lnTo>
                  <a:lnTo>
                    <a:pt x="483" y="68"/>
                  </a:lnTo>
                  <a:lnTo>
                    <a:pt x="486" y="69"/>
                  </a:lnTo>
                  <a:lnTo>
                    <a:pt x="489" y="71"/>
                  </a:lnTo>
                  <a:lnTo>
                    <a:pt x="500" y="76"/>
                  </a:lnTo>
                  <a:lnTo>
                    <a:pt x="504" y="77"/>
                  </a:lnTo>
                  <a:lnTo>
                    <a:pt x="510" y="78"/>
                  </a:lnTo>
                  <a:lnTo>
                    <a:pt x="512" y="79"/>
                  </a:lnTo>
                  <a:lnTo>
                    <a:pt x="519" y="80"/>
                  </a:lnTo>
                  <a:lnTo>
                    <a:pt x="521" y="80"/>
                  </a:lnTo>
                  <a:lnTo>
                    <a:pt x="522" y="81"/>
                  </a:lnTo>
                  <a:lnTo>
                    <a:pt x="525" y="82"/>
                  </a:lnTo>
                  <a:lnTo>
                    <a:pt x="527" y="83"/>
                  </a:lnTo>
                  <a:lnTo>
                    <a:pt x="529" y="84"/>
                  </a:lnTo>
                  <a:lnTo>
                    <a:pt x="531" y="86"/>
                  </a:lnTo>
                  <a:lnTo>
                    <a:pt x="532" y="87"/>
                  </a:lnTo>
                  <a:lnTo>
                    <a:pt x="533" y="89"/>
                  </a:lnTo>
                  <a:lnTo>
                    <a:pt x="534" y="89"/>
                  </a:lnTo>
                  <a:lnTo>
                    <a:pt x="534" y="91"/>
                  </a:lnTo>
                  <a:lnTo>
                    <a:pt x="534" y="93"/>
                  </a:lnTo>
                  <a:lnTo>
                    <a:pt x="534" y="95"/>
                  </a:lnTo>
                  <a:lnTo>
                    <a:pt x="534" y="102"/>
                  </a:lnTo>
                  <a:lnTo>
                    <a:pt x="534" y="104"/>
                  </a:lnTo>
                  <a:lnTo>
                    <a:pt x="534" y="107"/>
                  </a:lnTo>
                  <a:lnTo>
                    <a:pt x="534" y="109"/>
                  </a:lnTo>
                  <a:lnTo>
                    <a:pt x="535" y="111"/>
                  </a:lnTo>
                  <a:lnTo>
                    <a:pt x="536" y="112"/>
                  </a:lnTo>
                  <a:lnTo>
                    <a:pt x="537" y="114"/>
                  </a:lnTo>
                  <a:lnTo>
                    <a:pt x="539" y="115"/>
                  </a:lnTo>
                  <a:lnTo>
                    <a:pt x="541" y="117"/>
                  </a:lnTo>
                  <a:lnTo>
                    <a:pt x="543" y="118"/>
                  </a:lnTo>
                  <a:lnTo>
                    <a:pt x="545" y="118"/>
                  </a:lnTo>
                  <a:lnTo>
                    <a:pt x="548" y="119"/>
                  </a:lnTo>
                  <a:lnTo>
                    <a:pt x="552" y="119"/>
                  </a:lnTo>
                  <a:lnTo>
                    <a:pt x="565" y="120"/>
                  </a:lnTo>
                  <a:lnTo>
                    <a:pt x="567" y="120"/>
                  </a:lnTo>
                  <a:lnTo>
                    <a:pt x="568" y="120"/>
                  </a:lnTo>
                  <a:lnTo>
                    <a:pt x="568" y="123"/>
                  </a:lnTo>
                  <a:lnTo>
                    <a:pt x="568" y="129"/>
                  </a:lnTo>
                  <a:lnTo>
                    <a:pt x="568" y="133"/>
                  </a:lnTo>
                  <a:lnTo>
                    <a:pt x="570" y="140"/>
                  </a:lnTo>
                  <a:lnTo>
                    <a:pt x="571" y="143"/>
                  </a:lnTo>
                  <a:lnTo>
                    <a:pt x="571" y="145"/>
                  </a:lnTo>
                  <a:lnTo>
                    <a:pt x="571" y="147"/>
                  </a:lnTo>
                  <a:lnTo>
                    <a:pt x="571" y="150"/>
                  </a:lnTo>
                  <a:lnTo>
                    <a:pt x="570" y="153"/>
                  </a:lnTo>
                  <a:lnTo>
                    <a:pt x="569" y="155"/>
                  </a:lnTo>
                  <a:lnTo>
                    <a:pt x="567" y="159"/>
                  </a:lnTo>
                  <a:lnTo>
                    <a:pt x="566" y="160"/>
                  </a:lnTo>
                  <a:lnTo>
                    <a:pt x="566" y="162"/>
                  </a:lnTo>
                  <a:lnTo>
                    <a:pt x="566" y="163"/>
                  </a:lnTo>
                  <a:lnTo>
                    <a:pt x="566" y="165"/>
                  </a:lnTo>
                  <a:lnTo>
                    <a:pt x="566" y="168"/>
                  </a:lnTo>
                  <a:lnTo>
                    <a:pt x="567" y="171"/>
                  </a:lnTo>
                  <a:lnTo>
                    <a:pt x="568" y="174"/>
                  </a:lnTo>
                  <a:lnTo>
                    <a:pt x="568" y="176"/>
                  </a:lnTo>
                  <a:lnTo>
                    <a:pt x="569" y="177"/>
                  </a:lnTo>
                  <a:lnTo>
                    <a:pt x="569" y="178"/>
                  </a:lnTo>
                  <a:lnTo>
                    <a:pt x="571" y="179"/>
                  </a:lnTo>
                  <a:lnTo>
                    <a:pt x="572" y="179"/>
                  </a:lnTo>
                  <a:lnTo>
                    <a:pt x="574" y="180"/>
                  </a:lnTo>
                  <a:lnTo>
                    <a:pt x="575" y="181"/>
                  </a:lnTo>
                  <a:lnTo>
                    <a:pt x="577" y="182"/>
                  </a:lnTo>
                  <a:lnTo>
                    <a:pt x="580" y="183"/>
                  </a:lnTo>
                  <a:lnTo>
                    <a:pt x="581" y="184"/>
                  </a:lnTo>
                  <a:lnTo>
                    <a:pt x="582" y="184"/>
                  </a:lnTo>
                  <a:lnTo>
                    <a:pt x="583" y="185"/>
                  </a:lnTo>
                  <a:lnTo>
                    <a:pt x="583" y="187"/>
                  </a:lnTo>
                  <a:lnTo>
                    <a:pt x="588" y="192"/>
                  </a:lnTo>
                  <a:lnTo>
                    <a:pt x="589" y="193"/>
                  </a:lnTo>
                  <a:lnTo>
                    <a:pt x="591" y="195"/>
                  </a:lnTo>
                  <a:lnTo>
                    <a:pt x="592" y="197"/>
                  </a:lnTo>
                  <a:lnTo>
                    <a:pt x="593" y="198"/>
                  </a:lnTo>
                  <a:lnTo>
                    <a:pt x="600" y="202"/>
                  </a:lnTo>
                  <a:lnTo>
                    <a:pt x="602" y="204"/>
                  </a:lnTo>
                  <a:lnTo>
                    <a:pt x="604" y="207"/>
                  </a:lnTo>
                  <a:lnTo>
                    <a:pt x="609" y="212"/>
                  </a:lnTo>
                  <a:lnTo>
                    <a:pt x="610" y="213"/>
                  </a:lnTo>
                  <a:lnTo>
                    <a:pt x="611" y="213"/>
                  </a:lnTo>
                  <a:lnTo>
                    <a:pt x="612" y="214"/>
                  </a:lnTo>
                  <a:lnTo>
                    <a:pt x="613" y="214"/>
                  </a:lnTo>
                  <a:lnTo>
                    <a:pt x="614" y="214"/>
                  </a:lnTo>
                  <a:lnTo>
                    <a:pt x="615" y="214"/>
                  </a:lnTo>
                  <a:lnTo>
                    <a:pt x="617" y="213"/>
                  </a:lnTo>
                  <a:lnTo>
                    <a:pt x="621" y="212"/>
                  </a:lnTo>
                  <a:lnTo>
                    <a:pt x="623" y="211"/>
                  </a:lnTo>
                  <a:lnTo>
                    <a:pt x="625" y="210"/>
                  </a:lnTo>
                  <a:lnTo>
                    <a:pt x="629" y="209"/>
                  </a:lnTo>
                  <a:lnTo>
                    <a:pt x="632" y="209"/>
                  </a:lnTo>
                  <a:lnTo>
                    <a:pt x="634" y="209"/>
                  </a:lnTo>
                  <a:lnTo>
                    <a:pt x="635" y="209"/>
                  </a:lnTo>
                  <a:lnTo>
                    <a:pt x="636" y="210"/>
                  </a:lnTo>
                  <a:lnTo>
                    <a:pt x="636" y="210"/>
                  </a:lnTo>
                  <a:lnTo>
                    <a:pt x="637" y="211"/>
                  </a:lnTo>
                  <a:lnTo>
                    <a:pt x="638" y="212"/>
                  </a:lnTo>
                  <a:lnTo>
                    <a:pt x="640" y="213"/>
                  </a:lnTo>
                  <a:lnTo>
                    <a:pt x="641" y="215"/>
                  </a:lnTo>
                  <a:lnTo>
                    <a:pt x="643" y="218"/>
                  </a:lnTo>
                  <a:lnTo>
                    <a:pt x="645" y="222"/>
                  </a:lnTo>
                  <a:lnTo>
                    <a:pt x="652" y="236"/>
                  </a:lnTo>
                  <a:lnTo>
                    <a:pt x="655" y="243"/>
                  </a:lnTo>
                  <a:lnTo>
                    <a:pt x="655" y="244"/>
                  </a:lnTo>
                  <a:lnTo>
                    <a:pt x="655" y="246"/>
                  </a:lnTo>
                  <a:lnTo>
                    <a:pt x="655" y="247"/>
                  </a:lnTo>
                  <a:lnTo>
                    <a:pt x="655" y="247"/>
                  </a:lnTo>
                  <a:lnTo>
                    <a:pt x="655" y="249"/>
                  </a:lnTo>
                  <a:lnTo>
                    <a:pt x="654" y="251"/>
                  </a:lnTo>
                  <a:lnTo>
                    <a:pt x="652" y="255"/>
                  </a:lnTo>
                  <a:lnTo>
                    <a:pt x="650" y="260"/>
                  </a:lnTo>
                  <a:lnTo>
                    <a:pt x="649" y="262"/>
                  </a:lnTo>
                  <a:lnTo>
                    <a:pt x="648" y="263"/>
                  </a:lnTo>
                  <a:lnTo>
                    <a:pt x="648" y="265"/>
                  </a:lnTo>
                  <a:lnTo>
                    <a:pt x="643" y="270"/>
                  </a:lnTo>
                  <a:lnTo>
                    <a:pt x="642" y="272"/>
                  </a:lnTo>
                  <a:lnTo>
                    <a:pt x="641" y="273"/>
                  </a:lnTo>
                  <a:lnTo>
                    <a:pt x="640" y="275"/>
                  </a:lnTo>
                  <a:lnTo>
                    <a:pt x="640" y="277"/>
                  </a:lnTo>
                  <a:lnTo>
                    <a:pt x="640" y="278"/>
                  </a:lnTo>
                  <a:lnTo>
                    <a:pt x="640" y="280"/>
                  </a:lnTo>
                  <a:lnTo>
                    <a:pt x="640" y="281"/>
                  </a:lnTo>
                  <a:lnTo>
                    <a:pt x="640" y="282"/>
                  </a:lnTo>
                  <a:lnTo>
                    <a:pt x="641" y="284"/>
                  </a:lnTo>
                  <a:lnTo>
                    <a:pt x="642" y="286"/>
                  </a:lnTo>
                  <a:lnTo>
                    <a:pt x="645" y="292"/>
                  </a:lnTo>
                  <a:lnTo>
                    <a:pt x="647" y="299"/>
                  </a:lnTo>
                  <a:lnTo>
                    <a:pt x="648" y="304"/>
                  </a:lnTo>
                  <a:lnTo>
                    <a:pt x="649" y="305"/>
                  </a:lnTo>
                  <a:lnTo>
                    <a:pt x="650" y="307"/>
                  </a:lnTo>
                  <a:lnTo>
                    <a:pt x="650" y="308"/>
                  </a:lnTo>
                  <a:lnTo>
                    <a:pt x="649" y="312"/>
                  </a:lnTo>
                  <a:lnTo>
                    <a:pt x="649" y="313"/>
                  </a:lnTo>
                  <a:lnTo>
                    <a:pt x="649" y="315"/>
                  </a:lnTo>
                  <a:lnTo>
                    <a:pt x="649" y="315"/>
                  </a:lnTo>
                  <a:lnTo>
                    <a:pt x="650" y="317"/>
                  </a:lnTo>
                  <a:lnTo>
                    <a:pt x="651" y="318"/>
                  </a:lnTo>
                  <a:lnTo>
                    <a:pt x="653" y="319"/>
                  </a:lnTo>
                  <a:lnTo>
                    <a:pt x="654" y="320"/>
                  </a:lnTo>
                  <a:lnTo>
                    <a:pt x="657" y="321"/>
                  </a:lnTo>
                  <a:lnTo>
                    <a:pt x="662" y="323"/>
                  </a:lnTo>
                  <a:lnTo>
                    <a:pt x="666" y="325"/>
                  </a:lnTo>
                  <a:lnTo>
                    <a:pt x="670" y="326"/>
                  </a:lnTo>
                  <a:lnTo>
                    <a:pt x="671" y="327"/>
                  </a:lnTo>
                  <a:lnTo>
                    <a:pt x="673" y="328"/>
                  </a:lnTo>
                  <a:lnTo>
                    <a:pt x="679" y="333"/>
                  </a:lnTo>
                  <a:lnTo>
                    <a:pt x="681" y="335"/>
                  </a:lnTo>
                  <a:lnTo>
                    <a:pt x="682" y="337"/>
                  </a:lnTo>
                  <a:lnTo>
                    <a:pt x="682" y="338"/>
                  </a:lnTo>
                  <a:lnTo>
                    <a:pt x="684" y="339"/>
                  </a:lnTo>
                  <a:lnTo>
                    <a:pt x="687" y="345"/>
                  </a:lnTo>
                  <a:lnTo>
                    <a:pt x="689" y="349"/>
                  </a:lnTo>
                  <a:lnTo>
                    <a:pt x="691" y="351"/>
                  </a:lnTo>
                  <a:lnTo>
                    <a:pt x="694" y="362"/>
                  </a:lnTo>
                  <a:lnTo>
                    <a:pt x="698" y="372"/>
                  </a:lnTo>
                  <a:lnTo>
                    <a:pt x="701" y="380"/>
                  </a:lnTo>
                  <a:lnTo>
                    <a:pt x="704" y="388"/>
                  </a:lnTo>
                  <a:lnTo>
                    <a:pt x="704" y="390"/>
                  </a:lnTo>
                  <a:lnTo>
                    <a:pt x="704" y="394"/>
                  </a:lnTo>
                  <a:lnTo>
                    <a:pt x="704" y="398"/>
                  </a:lnTo>
                  <a:lnTo>
                    <a:pt x="704" y="399"/>
                  </a:lnTo>
                  <a:lnTo>
                    <a:pt x="704" y="401"/>
                  </a:lnTo>
                  <a:lnTo>
                    <a:pt x="704" y="403"/>
                  </a:lnTo>
                  <a:lnTo>
                    <a:pt x="704" y="404"/>
                  </a:lnTo>
                  <a:lnTo>
                    <a:pt x="703" y="405"/>
                  </a:lnTo>
                  <a:lnTo>
                    <a:pt x="702" y="406"/>
                  </a:lnTo>
                  <a:lnTo>
                    <a:pt x="699" y="409"/>
                  </a:lnTo>
                  <a:lnTo>
                    <a:pt x="696" y="411"/>
                  </a:lnTo>
                  <a:lnTo>
                    <a:pt x="694" y="413"/>
                  </a:lnTo>
                  <a:lnTo>
                    <a:pt x="689" y="416"/>
                  </a:lnTo>
                  <a:lnTo>
                    <a:pt x="688" y="417"/>
                  </a:lnTo>
                  <a:lnTo>
                    <a:pt x="687" y="417"/>
                  </a:lnTo>
                  <a:lnTo>
                    <a:pt x="684" y="417"/>
                  </a:lnTo>
                  <a:lnTo>
                    <a:pt x="683" y="417"/>
                  </a:lnTo>
                  <a:lnTo>
                    <a:pt x="680" y="418"/>
                  </a:lnTo>
                  <a:lnTo>
                    <a:pt x="678" y="419"/>
                  </a:lnTo>
                  <a:lnTo>
                    <a:pt x="677" y="419"/>
                  </a:lnTo>
                  <a:lnTo>
                    <a:pt x="675" y="419"/>
                  </a:lnTo>
                  <a:lnTo>
                    <a:pt x="672" y="419"/>
                  </a:lnTo>
                  <a:lnTo>
                    <a:pt x="669" y="418"/>
                  </a:lnTo>
                  <a:lnTo>
                    <a:pt x="660" y="417"/>
                  </a:lnTo>
                  <a:lnTo>
                    <a:pt x="659" y="417"/>
                  </a:lnTo>
                  <a:lnTo>
                    <a:pt x="655" y="417"/>
                  </a:lnTo>
                  <a:lnTo>
                    <a:pt x="652" y="417"/>
                  </a:lnTo>
                  <a:lnTo>
                    <a:pt x="648" y="416"/>
                  </a:lnTo>
                  <a:lnTo>
                    <a:pt x="646" y="415"/>
                  </a:lnTo>
                  <a:lnTo>
                    <a:pt x="643" y="413"/>
                  </a:lnTo>
                  <a:lnTo>
                    <a:pt x="639" y="409"/>
                  </a:lnTo>
                  <a:lnTo>
                    <a:pt x="638" y="409"/>
                  </a:lnTo>
                  <a:lnTo>
                    <a:pt x="636" y="408"/>
                  </a:lnTo>
                  <a:lnTo>
                    <a:pt x="635" y="408"/>
                  </a:lnTo>
                  <a:lnTo>
                    <a:pt x="629" y="407"/>
                  </a:lnTo>
                  <a:lnTo>
                    <a:pt x="624" y="406"/>
                  </a:lnTo>
                  <a:lnTo>
                    <a:pt x="621" y="406"/>
                  </a:lnTo>
                  <a:lnTo>
                    <a:pt x="620" y="406"/>
                  </a:lnTo>
                  <a:lnTo>
                    <a:pt x="618" y="406"/>
                  </a:lnTo>
                  <a:lnTo>
                    <a:pt x="616" y="407"/>
                  </a:lnTo>
                  <a:lnTo>
                    <a:pt x="615" y="408"/>
                  </a:lnTo>
                  <a:lnTo>
                    <a:pt x="614" y="410"/>
                  </a:lnTo>
                  <a:lnTo>
                    <a:pt x="612" y="412"/>
                  </a:lnTo>
                  <a:lnTo>
                    <a:pt x="609" y="416"/>
                  </a:lnTo>
                  <a:lnTo>
                    <a:pt x="608" y="417"/>
                  </a:lnTo>
                  <a:lnTo>
                    <a:pt x="607" y="420"/>
                  </a:lnTo>
                  <a:lnTo>
                    <a:pt x="603" y="417"/>
                  </a:lnTo>
                  <a:lnTo>
                    <a:pt x="597" y="413"/>
                  </a:lnTo>
                  <a:lnTo>
                    <a:pt x="592" y="408"/>
                  </a:lnTo>
                  <a:lnTo>
                    <a:pt x="590" y="406"/>
                  </a:lnTo>
                  <a:lnTo>
                    <a:pt x="588" y="406"/>
                  </a:lnTo>
                  <a:lnTo>
                    <a:pt x="586" y="404"/>
                  </a:lnTo>
                  <a:lnTo>
                    <a:pt x="583" y="403"/>
                  </a:lnTo>
                  <a:lnTo>
                    <a:pt x="577" y="401"/>
                  </a:lnTo>
                  <a:lnTo>
                    <a:pt x="575" y="400"/>
                  </a:lnTo>
                  <a:lnTo>
                    <a:pt x="570" y="396"/>
                  </a:lnTo>
                  <a:lnTo>
                    <a:pt x="568" y="395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4" y="394"/>
                  </a:lnTo>
                  <a:lnTo>
                    <a:pt x="563" y="394"/>
                  </a:lnTo>
                  <a:lnTo>
                    <a:pt x="562" y="395"/>
                  </a:lnTo>
                  <a:lnTo>
                    <a:pt x="561" y="396"/>
                  </a:lnTo>
                  <a:lnTo>
                    <a:pt x="561" y="397"/>
                  </a:lnTo>
                  <a:lnTo>
                    <a:pt x="560" y="398"/>
                  </a:lnTo>
                  <a:lnTo>
                    <a:pt x="560" y="399"/>
                  </a:lnTo>
                  <a:lnTo>
                    <a:pt x="560" y="405"/>
                  </a:lnTo>
                  <a:lnTo>
                    <a:pt x="560" y="408"/>
                  </a:lnTo>
                  <a:lnTo>
                    <a:pt x="560" y="409"/>
                  </a:lnTo>
                  <a:lnTo>
                    <a:pt x="559" y="410"/>
                  </a:lnTo>
                  <a:lnTo>
                    <a:pt x="558" y="410"/>
                  </a:lnTo>
                  <a:lnTo>
                    <a:pt x="557" y="410"/>
                  </a:lnTo>
                  <a:lnTo>
                    <a:pt x="553" y="410"/>
                  </a:lnTo>
                  <a:lnTo>
                    <a:pt x="550" y="410"/>
                  </a:lnTo>
                  <a:lnTo>
                    <a:pt x="548" y="410"/>
                  </a:lnTo>
                  <a:lnTo>
                    <a:pt x="545" y="411"/>
                  </a:lnTo>
                  <a:lnTo>
                    <a:pt x="543" y="412"/>
                  </a:lnTo>
                  <a:lnTo>
                    <a:pt x="541" y="414"/>
                  </a:lnTo>
                  <a:lnTo>
                    <a:pt x="538" y="415"/>
                  </a:lnTo>
                  <a:lnTo>
                    <a:pt x="531" y="420"/>
                  </a:lnTo>
                  <a:lnTo>
                    <a:pt x="530" y="421"/>
                  </a:lnTo>
                  <a:lnTo>
                    <a:pt x="528" y="422"/>
                  </a:lnTo>
                  <a:lnTo>
                    <a:pt x="527" y="422"/>
                  </a:lnTo>
                  <a:lnTo>
                    <a:pt x="522" y="424"/>
                  </a:lnTo>
                  <a:lnTo>
                    <a:pt x="520" y="424"/>
                  </a:lnTo>
                  <a:lnTo>
                    <a:pt x="518" y="424"/>
                  </a:lnTo>
                  <a:lnTo>
                    <a:pt x="506" y="422"/>
                  </a:lnTo>
                  <a:lnTo>
                    <a:pt x="505" y="421"/>
                  </a:lnTo>
                  <a:lnTo>
                    <a:pt x="504" y="421"/>
                  </a:lnTo>
                  <a:lnTo>
                    <a:pt x="503" y="420"/>
                  </a:lnTo>
                  <a:lnTo>
                    <a:pt x="503" y="419"/>
                  </a:lnTo>
                  <a:lnTo>
                    <a:pt x="502" y="418"/>
                  </a:lnTo>
                  <a:lnTo>
                    <a:pt x="500" y="414"/>
                  </a:lnTo>
                  <a:lnTo>
                    <a:pt x="500" y="413"/>
                  </a:lnTo>
                  <a:lnTo>
                    <a:pt x="499" y="411"/>
                  </a:lnTo>
                  <a:lnTo>
                    <a:pt x="498" y="410"/>
                  </a:lnTo>
                  <a:lnTo>
                    <a:pt x="495" y="407"/>
                  </a:lnTo>
                  <a:lnTo>
                    <a:pt x="494" y="406"/>
                  </a:lnTo>
                  <a:lnTo>
                    <a:pt x="492" y="406"/>
                  </a:lnTo>
                  <a:lnTo>
                    <a:pt x="489" y="404"/>
                  </a:lnTo>
                  <a:lnTo>
                    <a:pt x="485" y="401"/>
                  </a:lnTo>
                  <a:lnTo>
                    <a:pt x="480" y="400"/>
                  </a:lnTo>
                  <a:lnTo>
                    <a:pt x="478" y="399"/>
                  </a:lnTo>
                  <a:lnTo>
                    <a:pt x="477" y="398"/>
                  </a:lnTo>
                  <a:lnTo>
                    <a:pt x="476" y="396"/>
                  </a:lnTo>
                  <a:lnTo>
                    <a:pt x="474" y="395"/>
                  </a:lnTo>
                  <a:lnTo>
                    <a:pt x="471" y="391"/>
                  </a:lnTo>
                  <a:lnTo>
                    <a:pt x="469" y="388"/>
                  </a:lnTo>
                  <a:lnTo>
                    <a:pt x="467" y="387"/>
                  </a:lnTo>
                  <a:lnTo>
                    <a:pt x="466" y="385"/>
                  </a:lnTo>
                  <a:lnTo>
                    <a:pt x="465" y="384"/>
                  </a:lnTo>
                  <a:lnTo>
                    <a:pt x="463" y="383"/>
                  </a:lnTo>
                  <a:lnTo>
                    <a:pt x="460" y="383"/>
                  </a:lnTo>
                  <a:lnTo>
                    <a:pt x="458" y="382"/>
                  </a:lnTo>
                  <a:lnTo>
                    <a:pt x="455" y="381"/>
                  </a:lnTo>
                  <a:lnTo>
                    <a:pt x="453" y="381"/>
                  </a:lnTo>
                  <a:lnTo>
                    <a:pt x="451" y="380"/>
                  </a:lnTo>
                  <a:lnTo>
                    <a:pt x="449" y="380"/>
                  </a:lnTo>
                  <a:lnTo>
                    <a:pt x="445" y="380"/>
                  </a:lnTo>
                  <a:lnTo>
                    <a:pt x="443" y="381"/>
                  </a:lnTo>
                  <a:lnTo>
                    <a:pt x="439" y="382"/>
                  </a:lnTo>
                  <a:lnTo>
                    <a:pt x="432" y="383"/>
                  </a:lnTo>
                  <a:lnTo>
                    <a:pt x="431" y="383"/>
                  </a:lnTo>
                  <a:lnTo>
                    <a:pt x="430" y="384"/>
                  </a:lnTo>
                  <a:lnTo>
                    <a:pt x="428" y="384"/>
                  </a:lnTo>
                  <a:lnTo>
                    <a:pt x="427" y="386"/>
                  </a:lnTo>
                  <a:lnTo>
                    <a:pt x="425" y="387"/>
                  </a:lnTo>
                  <a:lnTo>
                    <a:pt x="423" y="389"/>
                  </a:lnTo>
                  <a:lnTo>
                    <a:pt x="422" y="391"/>
                  </a:lnTo>
                  <a:lnTo>
                    <a:pt x="420" y="395"/>
                  </a:lnTo>
                  <a:lnTo>
                    <a:pt x="418" y="400"/>
                  </a:lnTo>
                  <a:lnTo>
                    <a:pt x="416" y="403"/>
                  </a:lnTo>
                  <a:lnTo>
                    <a:pt x="413" y="406"/>
                  </a:lnTo>
                  <a:lnTo>
                    <a:pt x="411" y="410"/>
                  </a:lnTo>
                  <a:lnTo>
                    <a:pt x="410" y="411"/>
                  </a:lnTo>
                  <a:lnTo>
                    <a:pt x="409" y="412"/>
                  </a:lnTo>
                  <a:lnTo>
                    <a:pt x="408" y="413"/>
                  </a:lnTo>
                  <a:lnTo>
                    <a:pt x="407" y="414"/>
                  </a:lnTo>
                  <a:lnTo>
                    <a:pt x="405" y="414"/>
                  </a:lnTo>
                  <a:lnTo>
                    <a:pt x="404" y="414"/>
                  </a:lnTo>
                  <a:lnTo>
                    <a:pt x="399" y="414"/>
                  </a:lnTo>
                  <a:lnTo>
                    <a:pt x="396" y="414"/>
                  </a:lnTo>
                  <a:lnTo>
                    <a:pt x="392" y="415"/>
                  </a:lnTo>
                  <a:lnTo>
                    <a:pt x="384" y="416"/>
                  </a:lnTo>
                  <a:lnTo>
                    <a:pt x="375" y="416"/>
                  </a:lnTo>
                  <a:lnTo>
                    <a:pt x="364" y="417"/>
                  </a:lnTo>
                  <a:lnTo>
                    <a:pt x="361" y="417"/>
                  </a:lnTo>
                  <a:lnTo>
                    <a:pt x="352" y="417"/>
                  </a:lnTo>
                  <a:lnTo>
                    <a:pt x="349" y="417"/>
                  </a:lnTo>
                  <a:lnTo>
                    <a:pt x="345" y="417"/>
                  </a:lnTo>
                  <a:lnTo>
                    <a:pt x="341" y="418"/>
                  </a:lnTo>
                  <a:lnTo>
                    <a:pt x="338" y="418"/>
                  </a:lnTo>
                  <a:lnTo>
                    <a:pt x="334" y="418"/>
                  </a:lnTo>
                  <a:lnTo>
                    <a:pt x="329" y="417"/>
                  </a:lnTo>
                  <a:lnTo>
                    <a:pt x="328" y="417"/>
                  </a:lnTo>
                  <a:lnTo>
                    <a:pt x="326" y="417"/>
                  </a:lnTo>
                  <a:lnTo>
                    <a:pt x="322" y="418"/>
                  </a:lnTo>
                  <a:lnTo>
                    <a:pt x="320" y="419"/>
                  </a:lnTo>
                  <a:lnTo>
                    <a:pt x="318" y="419"/>
                  </a:lnTo>
                  <a:lnTo>
                    <a:pt x="315" y="419"/>
                  </a:lnTo>
                  <a:lnTo>
                    <a:pt x="312" y="419"/>
                  </a:lnTo>
                  <a:lnTo>
                    <a:pt x="310" y="418"/>
                  </a:lnTo>
                  <a:lnTo>
                    <a:pt x="308" y="417"/>
                  </a:lnTo>
                  <a:lnTo>
                    <a:pt x="306" y="417"/>
                  </a:lnTo>
                  <a:lnTo>
                    <a:pt x="305" y="416"/>
                  </a:lnTo>
                  <a:lnTo>
                    <a:pt x="304" y="415"/>
                  </a:lnTo>
                  <a:lnTo>
                    <a:pt x="303" y="413"/>
                  </a:lnTo>
                  <a:lnTo>
                    <a:pt x="302" y="412"/>
                  </a:lnTo>
                  <a:lnTo>
                    <a:pt x="301" y="410"/>
                  </a:lnTo>
                  <a:lnTo>
                    <a:pt x="300" y="408"/>
                  </a:lnTo>
                  <a:lnTo>
                    <a:pt x="300" y="406"/>
                  </a:lnTo>
                  <a:lnTo>
                    <a:pt x="300" y="404"/>
                  </a:lnTo>
                  <a:lnTo>
                    <a:pt x="299" y="398"/>
                  </a:lnTo>
                  <a:lnTo>
                    <a:pt x="299" y="388"/>
                  </a:lnTo>
                  <a:lnTo>
                    <a:pt x="299" y="385"/>
                  </a:lnTo>
                  <a:lnTo>
                    <a:pt x="298" y="383"/>
                  </a:lnTo>
                  <a:lnTo>
                    <a:pt x="298" y="383"/>
                  </a:lnTo>
                  <a:lnTo>
                    <a:pt x="297" y="382"/>
                  </a:lnTo>
                  <a:lnTo>
                    <a:pt x="296" y="382"/>
                  </a:lnTo>
                  <a:lnTo>
                    <a:pt x="287" y="384"/>
                  </a:lnTo>
                  <a:lnTo>
                    <a:pt x="284" y="385"/>
                  </a:lnTo>
                  <a:lnTo>
                    <a:pt x="282" y="386"/>
                  </a:lnTo>
                  <a:lnTo>
                    <a:pt x="276" y="389"/>
                  </a:lnTo>
                  <a:lnTo>
                    <a:pt x="264" y="394"/>
                  </a:lnTo>
                  <a:lnTo>
                    <a:pt x="262" y="396"/>
                  </a:lnTo>
                  <a:lnTo>
                    <a:pt x="261" y="397"/>
                  </a:lnTo>
                  <a:lnTo>
                    <a:pt x="259" y="398"/>
                  </a:lnTo>
                  <a:lnTo>
                    <a:pt x="258" y="400"/>
                  </a:lnTo>
                  <a:lnTo>
                    <a:pt x="258" y="402"/>
                  </a:lnTo>
                  <a:lnTo>
                    <a:pt x="257" y="406"/>
                  </a:lnTo>
                  <a:lnTo>
                    <a:pt x="256" y="407"/>
                  </a:lnTo>
                  <a:lnTo>
                    <a:pt x="254" y="413"/>
                  </a:lnTo>
                  <a:lnTo>
                    <a:pt x="253" y="416"/>
                  </a:lnTo>
                  <a:lnTo>
                    <a:pt x="252" y="417"/>
                  </a:lnTo>
                  <a:lnTo>
                    <a:pt x="250" y="420"/>
                  </a:lnTo>
                  <a:lnTo>
                    <a:pt x="249" y="423"/>
                  </a:lnTo>
                  <a:lnTo>
                    <a:pt x="248" y="425"/>
                  </a:lnTo>
                  <a:lnTo>
                    <a:pt x="247" y="425"/>
                  </a:lnTo>
                  <a:lnTo>
                    <a:pt x="246" y="426"/>
                  </a:lnTo>
                  <a:lnTo>
                    <a:pt x="245" y="427"/>
                  </a:lnTo>
                  <a:lnTo>
                    <a:pt x="244" y="427"/>
                  </a:lnTo>
                  <a:lnTo>
                    <a:pt x="241" y="427"/>
                  </a:lnTo>
                  <a:lnTo>
                    <a:pt x="240" y="427"/>
                  </a:lnTo>
                  <a:lnTo>
                    <a:pt x="238" y="427"/>
                  </a:lnTo>
                  <a:lnTo>
                    <a:pt x="238" y="428"/>
                  </a:lnTo>
                  <a:lnTo>
                    <a:pt x="237" y="428"/>
                  </a:lnTo>
                  <a:lnTo>
                    <a:pt x="236" y="428"/>
                  </a:lnTo>
                  <a:lnTo>
                    <a:pt x="232" y="432"/>
                  </a:lnTo>
                  <a:lnTo>
                    <a:pt x="230" y="434"/>
                  </a:lnTo>
                  <a:lnTo>
                    <a:pt x="228" y="435"/>
                  </a:lnTo>
                  <a:lnTo>
                    <a:pt x="227" y="436"/>
                  </a:lnTo>
                  <a:lnTo>
                    <a:pt x="224" y="437"/>
                  </a:lnTo>
                  <a:lnTo>
                    <a:pt x="222" y="437"/>
                  </a:lnTo>
                  <a:lnTo>
                    <a:pt x="219" y="438"/>
                  </a:lnTo>
                  <a:lnTo>
                    <a:pt x="214" y="438"/>
                  </a:lnTo>
                  <a:lnTo>
                    <a:pt x="211" y="438"/>
                  </a:lnTo>
                  <a:lnTo>
                    <a:pt x="209" y="438"/>
                  </a:lnTo>
                  <a:lnTo>
                    <a:pt x="208" y="439"/>
                  </a:lnTo>
                  <a:lnTo>
                    <a:pt x="205" y="440"/>
                  </a:lnTo>
                  <a:lnTo>
                    <a:pt x="204" y="440"/>
                  </a:lnTo>
                  <a:lnTo>
                    <a:pt x="203" y="441"/>
                  </a:lnTo>
                  <a:lnTo>
                    <a:pt x="201" y="442"/>
                  </a:lnTo>
                  <a:lnTo>
                    <a:pt x="200" y="444"/>
                  </a:lnTo>
                  <a:lnTo>
                    <a:pt x="199" y="446"/>
                  </a:lnTo>
                  <a:lnTo>
                    <a:pt x="196" y="451"/>
                  </a:lnTo>
                  <a:lnTo>
                    <a:pt x="195" y="451"/>
                  </a:lnTo>
                  <a:lnTo>
                    <a:pt x="194" y="451"/>
                  </a:lnTo>
                  <a:lnTo>
                    <a:pt x="190" y="451"/>
                  </a:lnTo>
                  <a:lnTo>
                    <a:pt x="187" y="450"/>
                  </a:lnTo>
                  <a:lnTo>
                    <a:pt x="182" y="449"/>
                  </a:lnTo>
                  <a:lnTo>
                    <a:pt x="179" y="447"/>
                  </a:lnTo>
                  <a:lnTo>
                    <a:pt x="172" y="444"/>
                  </a:lnTo>
                  <a:lnTo>
                    <a:pt x="170" y="443"/>
                  </a:lnTo>
                  <a:lnTo>
                    <a:pt x="169" y="442"/>
                  </a:lnTo>
                  <a:lnTo>
                    <a:pt x="168" y="441"/>
                  </a:lnTo>
                  <a:lnTo>
                    <a:pt x="167" y="440"/>
                  </a:lnTo>
                  <a:lnTo>
                    <a:pt x="167" y="439"/>
                  </a:lnTo>
                  <a:lnTo>
                    <a:pt x="166" y="439"/>
                  </a:lnTo>
                  <a:lnTo>
                    <a:pt x="164" y="438"/>
                  </a:lnTo>
                  <a:lnTo>
                    <a:pt x="161" y="436"/>
                  </a:lnTo>
                  <a:lnTo>
                    <a:pt x="159" y="435"/>
                  </a:lnTo>
                  <a:lnTo>
                    <a:pt x="159" y="434"/>
                  </a:lnTo>
                  <a:lnTo>
                    <a:pt x="158" y="433"/>
                  </a:lnTo>
                  <a:lnTo>
                    <a:pt x="154" y="429"/>
                  </a:lnTo>
                  <a:lnTo>
                    <a:pt x="152" y="428"/>
                  </a:lnTo>
                  <a:lnTo>
                    <a:pt x="151" y="427"/>
                  </a:lnTo>
                  <a:lnTo>
                    <a:pt x="150" y="427"/>
                  </a:lnTo>
                  <a:lnTo>
                    <a:pt x="149" y="426"/>
                  </a:lnTo>
                  <a:lnTo>
                    <a:pt x="147" y="426"/>
                  </a:lnTo>
                  <a:lnTo>
                    <a:pt x="147" y="426"/>
                  </a:lnTo>
                  <a:lnTo>
                    <a:pt x="145" y="426"/>
                  </a:lnTo>
                  <a:lnTo>
                    <a:pt x="144" y="426"/>
                  </a:lnTo>
                  <a:lnTo>
                    <a:pt x="142" y="427"/>
                  </a:lnTo>
                  <a:lnTo>
                    <a:pt x="141" y="428"/>
                  </a:lnTo>
                  <a:lnTo>
                    <a:pt x="136" y="432"/>
                  </a:lnTo>
                  <a:lnTo>
                    <a:pt x="134" y="433"/>
                  </a:lnTo>
                  <a:lnTo>
                    <a:pt x="132" y="435"/>
                  </a:lnTo>
                  <a:lnTo>
                    <a:pt x="129" y="436"/>
                  </a:lnTo>
                  <a:lnTo>
                    <a:pt x="127" y="437"/>
                  </a:lnTo>
                  <a:lnTo>
                    <a:pt x="126" y="437"/>
                  </a:lnTo>
                  <a:lnTo>
                    <a:pt x="124" y="437"/>
                  </a:lnTo>
                  <a:lnTo>
                    <a:pt x="122" y="437"/>
                  </a:lnTo>
                  <a:lnTo>
                    <a:pt x="121" y="436"/>
                  </a:lnTo>
                  <a:lnTo>
                    <a:pt x="120" y="436"/>
                  </a:lnTo>
                  <a:lnTo>
                    <a:pt x="120" y="435"/>
                  </a:lnTo>
                  <a:lnTo>
                    <a:pt x="119" y="434"/>
                  </a:lnTo>
                  <a:lnTo>
                    <a:pt x="113" y="426"/>
                  </a:lnTo>
                  <a:lnTo>
                    <a:pt x="111" y="421"/>
                  </a:lnTo>
                  <a:lnTo>
                    <a:pt x="110" y="420"/>
                  </a:lnTo>
                  <a:lnTo>
                    <a:pt x="110" y="421"/>
                  </a:lnTo>
                  <a:lnTo>
                    <a:pt x="107" y="423"/>
                  </a:lnTo>
                  <a:lnTo>
                    <a:pt x="106" y="425"/>
                  </a:lnTo>
                  <a:lnTo>
                    <a:pt x="104" y="427"/>
                  </a:lnTo>
                  <a:lnTo>
                    <a:pt x="103" y="428"/>
                  </a:lnTo>
                  <a:lnTo>
                    <a:pt x="102" y="429"/>
                  </a:lnTo>
                  <a:lnTo>
                    <a:pt x="102" y="430"/>
                  </a:lnTo>
                  <a:lnTo>
                    <a:pt x="100" y="431"/>
                  </a:lnTo>
                  <a:lnTo>
                    <a:pt x="99" y="431"/>
                  </a:lnTo>
                  <a:lnTo>
                    <a:pt x="98" y="431"/>
                  </a:lnTo>
                  <a:lnTo>
                    <a:pt x="94" y="431"/>
                  </a:lnTo>
                  <a:lnTo>
                    <a:pt x="91" y="430"/>
                  </a:lnTo>
                  <a:lnTo>
                    <a:pt x="90" y="430"/>
                  </a:lnTo>
                  <a:lnTo>
                    <a:pt x="89" y="431"/>
                  </a:lnTo>
                  <a:lnTo>
                    <a:pt x="88" y="431"/>
                  </a:lnTo>
                  <a:lnTo>
                    <a:pt x="87" y="432"/>
                  </a:lnTo>
                  <a:lnTo>
                    <a:pt x="85" y="435"/>
                  </a:lnTo>
                  <a:lnTo>
                    <a:pt x="82" y="438"/>
                  </a:lnTo>
                  <a:lnTo>
                    <a:pt x="81" y="439"/>
                  </a:lnTo>
                  <a:lnTo>
                    <a:pt x="80" y="440"/>
                  </a:lnTo>
                  <a:lnTo>
                    <a:pt x="79" y="440"/>
                  </a:lnTo>
                  <a:lnTo>
                    <a:pt x="78" y="440"/>
                  </a:lnTo>
                  <a:lnTo>
                    <a:pt x="75" y="439"/>
                  </a:lnTo>
                  <a:lnTo>
                    <a:pt x="72" y="438"/>
                  </a:lnTo>
                  <a:lnTo>
                    <a:pt x="70" y="437"/>
                  </a:lnTo>
                  <a:lnTo>
                    <a:pt x="68" y="437"/>
                  </a:lnTo>
                  <a:lnTo>
                    <a:pt x="68" y="436"/>
                  </a:lnTo>
                  <a:lnTo>
                    <a:pt x="67" y="435"/>
                  </a:lnTo>
                  <a:lnTo>
                    <a:pt x="68" y="434"/>
                  </a:lnTo>
                  <a:lnTo>
                    <a:pt x="68" y="432"/>
                  </a:lnTo>
                  <a:lnTo>
                    <a:pt x="68" y="428"/>
                  </a:lnTo>
                  <a:lnTo>
                    <a:pt x="68" y="425"/>
                  </a:lnTo>
                  <a:lnTo>
                    <a:pt x="68" y="420"/>
                  </a:lnTo>
                  <a:lnTo>
                    <a:pt x="68" y="417"/>
                  </a:lnTo>
                  <a:lnTo>
                    <a:pt x="68" y="415"/>
                  </a:lnTo>
                  <a:lnTo>
                    <a:pt x="67" y="412"/>
                  </a:lnTo>
                  <a:lnTo>
                    <a:pt x="66" y="408"/>
                  </a:lnTo>
                  <a:lnTo>
                    <a:pt x="65" y="406"/>
                  </a:lnTo>
                  <a:lnTo>
                    <a:pt x="64" y="403"/>
                  </a:lnTo>
                  <a:lnTo>
                    <a:pt x="62" y="401"/>
                  </a:lnTo>
                  <a:lnTo>
                    <a:pt x="61" y="399"/>
                  </a:lnTo>
                  <a:lnTo>
                    <a:pt x="60" y="398"/>
                  </a:lnTo>
                  <a:lnTo>
                    <a:pt x="57" y="396"/>
                  </a:lnTo>
                  <a:lnTo>
                    <a:pt x="56" y="394"/>
                  </a:lnTo>
                  <a:lnTo>
                    <a:pt x="52" y="393"/>
                  </a:lnTo>
                  <a:lnTo>
                    <a:pt x="51" y="393"/>
                  </a:lnTo>
                  <a:lnTo>
                    <a:pt x="51" y="392"/>
                  </a:lnTo>
                  <a:lnTo>
                    <a:pt x="50" y="391"/>
                  </a:lnTo>
                  <a:lnTo>
                    <a:pt x="50" y="390"/>
                  </a:lnTo>
                  <a:lnTo>
                    <a:pt x="50" y="389"/>
                  </a:lnTo>
                  <a:lnTo>
                    <a:pt x="50" y="386"/>
                  </a:lnTo>
                  <a:lnTo>
                    <a:pt x="49" y="376"/>
                  </a:lnTo>
                  <a:lnTo>
                    <a:pt x="49" y="374"/>
                  </a:lnTo>
                  <a:lnTo>
                    <a:pt x="50" y="368"/>
                  </a:lnTo>
                  <a:lnTo>
                    <a:pt x="51" y="359"/>
                  </a:lnTo>
                  <a:lnTo>
                    <a:pt x="51" y="354"/>
                  </a:lnTo>
                  <a:lnTo>
                    <a:pt x="52" y="350"/>
                  </a:lnTo>
                  <a:lnTo>
                    <a:pt x="54" y="340"/>
                  </a:lnTo>
                  <a:lnTo>
                    <a:pt x="55" y="337"/>
                  </a:lnTo>
                  <a:lnTo>
                    <a:pt x="56" y="333"/>
                  </a:lnTo>
                  <a:lnTo>
                    <a:pt x="56" y="329"/>
                  </a:lnTo>
                  <a:lnTo>
                    <a:pt x="56" y="324"/>
                  </a:lnTo>
                  <a:lnTo>
                    <a:pt x="56" y="318"/>
                  </a:lnTo>
                  <a:lnTo>
                    <a:pt x="56" y="316"/>
                  </a:lnTo>
                  <a:lnTo>
                    <a:pt x="56" y="315"/>
                  </a:lnTo>
                  <a:lnTo>
                    <a:pt x="55" y="313"/>
                  </a:lnTo>
                  <a:lnTo>
                    <a:pt x="54" y="312"/>
                  </a:lnTo>
                  <a:lnTo>
                    <a:pt x="53" y="311"/>
                  </a:lnTo>
                  <a:lnTo>
                    <a:pt x="52" y="309"/>
                  </a:lnTo>
                  <a:lnTo>
                    <a:pt x="51" y="308"/>
                  </a:lnTo>
                  <a:lnTo>
                    <a:pt x="49" y="307"/>
                  </a:lnTo>
                  <a:lnTo>
                    <a:pt x="47" y="305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39" y="303"/>
                  </a:lnTo>
                  <a:lnTo>
                    <a:pt x="37" y="303"/>
                  </a:lnTo>
                  <a:lnTo>
                    <a:pt x="34" y="303"/>
                  </a:lnTo>
                  <a:lnTo>
                    <a:pt x="29" y="303"/>
                  </a:lnTo>
                  <a:lnTo>
                    <a:pt x="26" y="303"/>
                  </a:lnTo>
                  <a:lnTo>
                    <a:pt x="24" y="303"/>
                  </a:lnTo>
                  <a:lnTo>
                    <a:pt x="22" y="302"/>
                  </a:lnTo>
                  <a:lnTo>
                    <a:pt x="22" y="301"/>
                  </a:lnTo>
                  <a:lnTo>
                    <a:pt x="21" y="300"/>
                  </a:lnTo>
                  <a:lnTo>
                    <a:pt x="21" y="299"/>
                  </a:lnTo>
                  <a:lnTo>
                    <a:pt x="21" y="298"/>
                  </a:lnTo>
                  <a:lnTo>
                    <a:pt x="22" y="296"/>
                  </a:lnTo>
                  <a:lnTo>
                    <a:pt x="22" y="294"/>
                  </a:lnTo>
                  <a:lnTo>
                    <a:pt x="22" y="293"/>
                  </a:lnTo>
                  <a:lnTo>
                    <a:pt x="22" y="292"/>
                  </a:lnTo>
                  <a:lnTo>
                    <a:pt x="21" y="292"/>
                  </a:lnTo>
                  <a:lnTo>
                    <a:pt x="20" y="291"/>
                  </a:lnTo>
                  <a:lnTo>
                    <a:pt x="19" y="289"/>
                  </a:lnTo>
                  <a:lnTo>
                    <a:pt x="16" y="288"/>
                  </a:lnTo>
                  <a:lnTo>
                    <a:pt x="12" y="285"/>
                  </a:lnTo>
                  <a:lnTo>
                    <a:pt x="3" y="280"/>
                  </a:lnTo>
                  <a:lnTo>
                    <a:pt x="1" y="279"/>
                  </a:lnTo>
                  <a:lnTo>
                    <a:pt x="0" y="278"/>
                  </a:lnTo>
                  <a:lnTo>
                    <a:pt x="1" y="278"/>
                  </a:lnTo>
                  <a:lnTo>
                    <a:pt x="3" y="279"/>
                  </a:lnTo>
                  <a:lnTo>
                    <a:pt x="8" y="280"/>
                  </a:lnTo>
                  <a:lnTo>
                    <a:pt x="11" y="280"/>
                  </a:lnTo>
                  <a:lnTo>
                    <a:pt x="14" y="280"/>
                  </a:lnTo>
                  <a:lnTo>
                    <a:pt x="18" y="280"/>
                  </a:lnTo>
                  <a:lnTo>
                    <a:pt x="21" y="279"/>
                  </a:lnTo>
                  <a:lnTo>
                    <a:pt x="22" y="279"/>
                  </a:lnTo>
                  <a:lnTo>
                    <a:pt x="22" y="278"/>
                  </a:lnTo>
                  <a:lnTo>
                    <a:pt x="23" y="277"/>
                  </a:lnTo>
                  <a:lnTo>
                    <a:pt x="24" y="277"/>
                  </a:lnTo>
                  <a:lnTo>
                    <a:pt x="24" y="276"/>
                  </a:lnTo>
                  <a:lnTo>
                    <a:pt x="25" y="275"/>
                  </a:lnTo>
                  <a:lnTo>
                    <a:pt x="25" y="274"/>
                  </a:lnTo>
                  <a:lnTo>
                    <a:pt x="25" y="272"/>
                  </a:lnTo>
                  <a:lnTo>
                    <a:pt x="24" y="270"/>
                  </a:lnTo>
                  <a:lnTo>
                    <a:pt x="23" y="269"/>
                  </a:lnTo>
                  <a:lnTo>
                    <a:pt x="22" y="267"/>
                  </a:lnTo>
                  <a:lnTo>
                    <a:pt x="21" y="266"/>
                  </a:lnTo>
                  <a:lnTo>
                    <a:pt x="17" y="261"/>
                  </a:lnTo>
                  <a:lnTo>
                    <a:pt x="16" y="260"/>
                  </a:lnTo>
                  <a:lnTo>
                    <a:pt x="15" y="259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4" y="255"/>
                  </a:lnTo>
                  <a:lnTo>
                    <a:pt x="14" y="253"/>
                  </a:lnTo>
                  <a:lnTo>
                    <a:pt x="14" y="252"/>
                  </a:lnTo>
                  <a:lnTo>
                    <a:pt x="15" y="252"/>
                  </a:lnTo>
                  <a:lnTo>
                    <a:pt x="15" y="251"/>
                  </a:lnTo>
                  <a:lnTo>
                    <a:pt x="16" y="250"/>
                  </a:lnTo>
                  <a:lnTo>
                    <a:pt x="24" y="247"/>
                  </a:lnTo>
                  <a:lnTo>
                    <a:pt x="28" y="245"/>
                  </a:lnTo>
                  <a:lnTo>
                    <a:pt x="31" y="244"/>
                  </a:lnTo>
                  <a:lnTo>
                    <a:pt x="32" y="243"/>
                  </a:lnTo>
                  <a:lnTo>
                    <a:pt x="32" y="242"/>
                  </a:lnTo>
                  <a:lnTo>
                    <a:pt x="33" y="241"/>
                  </a:lnTo>
                  <a:lnTo>
                    <a:pt x="33" y="240"/>
                  </a:lnTo>
                  <a:lnTo>
                    <a:pt x="33" y="239"/>
                  </a:lnTo>
                  <a:lnTo>
                    <a:pt x="33" y="238"/>
                  </a:lnTo>
                  <a:lnTo>
                    <a:pt x="32" y="237"/>
                  </a:lnTo>
                  <a:lnTo>
                    <a:pt x="31" y="236"/>
                  </a:lnTo>
                  <a:lnTo>
                    <a:pt x="29" y="236"/>
                  </a:lnTo>
                  <a:lnTo>
                    <a:pt x="28" y="236"/>
                  </a:lnTo>
                  <a:lnTo>
                    <a:pt x="27" y="236"/>
                  </a:lnTo>
                  <a:lnTo>
                    <a:pt x="22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14" y="235"/>
                  </a:lnTo>
                  <a:lnTo>
                    <a:pt x="9" y="236"/>
                  </a:lnTo>
                  <a:lnTo>
                    <a:pt x="7" y="236"/>
                  </a:lnTo>
                  <a:lnTo>
                    <a:pt x="6" y="236"/>
                  </a:lnTo>
                  <a:lnTo>
                    <a:pt x="4" y="236"/>
                  </a:lnTo>
                  <a:lnTo>
                    <a:pt x="3" y="235"/>
                  </a:lnTo>
                  <a:lnTo>
                    <a:pt x="2" y="233"/>
                  </a:lnTo>
                  <a:lnTo>
                    <a:pt x="1" y="232"/>
                  </a:lnTo>
                  <a:lnTo>
                    <a:pt x="1" y="230"/>
                  </a:lnTo>
                  <a:lnTo>
                    <a:pt x="1" y="228"/>
                  </a:lnTo>
                  <a:lnTo>
                    <a:pt x="1" y="226"/>
                  </a:lnTo>
                  <a:lnTo>
                    <a:pt x="1" y="224"/>
                  </a:lnTo>
                  <a:lnTo>
                    <a:pt x="1" y="223"/>
                  </a:lnTo>
                  <a:lnTo>
                    <a:pt x="1" y="221"/>
                  </a:lnTo>
                  <a:lnTo>
                    <a:pt x="2" y="219"/>
                  </a:lnTo>
                  <a:lnTo>
                    <a:pt x="3" y="217"/>
                  </a:lnTo>
                  <a:lnTo>
                    <a:pt x="4" y="214"/>
                  </a:lnTo>
                  <a:lnTo>
                    <a:pt x="7" y="211"/>
                  </a:lnTo>
                  <a:lnTo>
                    <a:pt x="12" y="203"/>
                  </a:lnTo>
                  <a:lnTo>
                    <a:pt x="17" y="198"/>
                  </a:lnTo>
                  <a:lnTo>
                    <a:pt x="20" y="194"/>
                  </a:lnTo>
                  <a:lnTo>
                    <a:pt x="22" y="191"/>
                  </a:lnTo>
                  <a:lnTo>
                    <a:pt x="26" y="190"/>
                  </a:lnTo>
                  <a:lnTo>
                    <a:pt x="29" y="187"/>
                  </a:lnTo>
                  <a:lnTo>
                    <a:pt x="34" y="184"/>
                  </a:lnTo>
                  <a:lnTo>
                    <a:pt x="38" y="182"/>
                  </a:lnTo>
                  <a:lnTo>
                    <a:pt x="42" y="180"/>
                  </a:lnTo>
                  <a:lnTo>
                    <a:pt x="45" y="179"/>
                  </a:lnTo>
                  <a:lnTo>
                    <a:pt x="47" y="179"/>
                  </a:lnTo>
                  <a:lnTo>
                    <a:pt x="49" y="179"/>
                  </a:lnTo>
                  <a:lnTo>
                    <a:pt x="51" y="179"/>
                  </a:lnTo>
                  <a:lnTo>
                    <a:pt x="52" y="179"/>
                  </a:lnTo>
                  <a:lnTo>
                    <a:pt x="54" y="180"/>
                  </a:lnTo>
                  <a:lnTo>
                    <a:pt x="61" y="185"/>
                  </a:lnTo>
                  <a:lnTo>
                    <a:pt x="63" y="186"/>
                  </a:lnTo>
                  <a:lnTo>
                    <a:pt x="65" y="187"/>
                  </a:lnTo>
                  <a:lnTo>
                    <a:pt x="67" y="187"/>
                  </a:lnTo>
                  <a:lnTo>
                    <a:pt x="68" y="187"/>
                  </a:lnTo>
                  <a:lnTo>
                    <a:pt x="68" y="187"/>
                  </a:lnTo>
                  <a:lnTo>
                    <a:pt x="70" y="187"/>
                  </a:lnTo>
                  <a:lnTo>
                    <a:pt x="71" y="186"/>
                  </a:lnTo>
                  <a:lnTo>
                    <a:pt x="72" y="185"/>
                  </a:lnTo>
                  <a:lnTo>
                    <a:pt x="74" y="183"/>
                  </a:lnTo>
                  <a:lnTo>
                    <a:pt x="76" y="181"/>
                  </a:lnTo>
                  <a:lnTo>
                    <a:pt x="79" y="177"/>
                  </a:lnTo>
                  <a:lnTo>
                    <a:pt x="80" y="174"/>
                  </a:lnTo>
                  <a:lnTo>
                    <a:pt x="84" y="170"/>
                  </a:lnTo>
                  <a:lnTo>
                    <a:pt x="87" y="168"/>
                  </a:lnTo>
                  <a:lnTo>
                    <a:pt x="90" y="166"/>
                  </a:lnTo>
                  <a:lnTo>
                    <a:pt x="92" y="163"/>
                  </a:lnTo>
                  <a:lnTo>
                    <a:pt x="98" y="159"/>
                  </a:lnTo>
                  <a:lnTo>
                    <a:pt x="108" y="152"/>
                  </a:lnTo>
                  <a:lnTo>
                    <a:pt x="110" y="150"/>
                  </a:lnTo>
                  <a:lnTo>
                    <a:pt x="111" y="150"/>
                  </a:lnTo>
                  <a:lnTo>
                    <a:pt x="112" y="149"/>
                  </a:lnTo>
                  <a:lnTo>
                    <a:pt x="113" y="149"/>
                  </a:lnTo>
                  <a:lnTo>
                    <a:pt x="113" y="149"/>
                  </a:lnTo>
                  <a:lnTo>
                    <a:pt x="114" y="149"/>
                  </a:lnTo>
                  <a:lnTo>
                    <a:pt x="116" y="149"/>
                  </a:lnTo>
                  <a:lnTo>
                    <a:pt x="121" y="149"/>
                  </a:lnTo>
                  <a:lnTo>
                    <a:pt x="122" y="150"/>
                  </a:lnTo>
                  <a:lnTo>
                    <a:pt x="124" y="149"/>
                  </a:lnTo>
                  <a:lnTo>
                    <a:pt x="125" y="149"/>
                  </a:lnTo>
                  <a:lnTo>
                    <a:pt x="126" y="149"/>
                  </a:lnTo>
                  <a:lnTo>
                    <a:pt x="128" y="148"/>
                  </a:lnTo>
                  <a:lnTo>
                    <a:pt x="129" y="147"/>
                  </a:lnTo>
                  <a:lnTo>
                    <a:pt x="136" y="145"/>
                  </a:lnTo>
                  <a:lnTo>
                    <a:pt x="138" y="143"/>
                  </a:lnTo>
                  <a:lnTo>
                    <a:pt x="142" y="140"/>
                  </a:lnTo>
                  <a:lnTo>
                    <a:pt x="147" y="135"/>
                  </a:lnTo>
                  <a:lnTo>
                    <a:pt x="149" y="134"/>
                  </a:lnTo>
                  <a:lnTo>
                    <a:pt x="151" y="132"/>
                  </a:lnTo>
                  <a:lnTo>
                    <a:pt x="152" y="131"/>
                  </a:lnTo>
                  <a:lnTo>
                    <a:pt x="154" y="130"/>
                  </a:lnTo>
                  <a:lnTo>
                    <a:pt x="157" y="128"/>
                  </a:lnTo>
                  <a:lnTo>
                    <a:pt x="158" y="127"/>
                  </a:lnTo>
                  <a:lnTo>
                    <a:pt x="159" y="126"/>
                  </a:lnTo>
                  <a:lnTo>
                    <a:pt x="159" y="124"/>
                  </a:lnTo>
                  <a:lnTo>
                    <a:pt x="160" y="123"/>
                  </a:lnTo>
                  <a:lnTo>
                    <a:pt x="161" y="120"/>
                  </a:lnTo>
                  <a:lnTo>
                    <a:pt x="161" y="116"/>
                  </a:lnTo>
                  <a:lnTo>
                    <a:pt x="162" y="113"/>
                  </a:lnTo>
                  <a:lnTo>
                    <a:pt x="162" y="112"/>
                  </a:lnTo>
                  <a:lnTo>
                    <a:pt x="162" y="107"/>
                  </a:lnTo>
                  <a:lnTo>
                    <a:pt x="162" y="106"/>
                  </a:lnTo>
                  <a:lnTo>
                    <a:pt x="162" y="104"/>
                  </a:lnTo>
                  <a:lnTo>
                    <a:pt x="163" y="102"/>
                  </a:lnTo>
                  <a:lnTo>
                    <a:pt x="164" y="101"/>
                  </a:lnTo>
                  <a:lnTo>
                    <a:pt x="164" y="100"/>
                  </a:lnTo>
                  <a:lnTo>
                    <a:pt x="167" y="99"/>
                  </a:lnTo>
                  <a:lnTo>
                    <a:pt x="170" y="97"/>
                  </a:lnTo>
                  <a:lnTo>
                    <a:pt x="176" y="92"/>
                  </a:lnTo>
                  <a:lnTo>
                    <a:pt x="180" y="90"/>
                  </a:lnTo>
                  <a:lnTo>
                    <a:pt x="184" y="88"/>
                  </a:lnTo>
                  <a:lnTo>
                    <a:pt x="187" y="87"/>
                  </a:lnTo>
                  <a:lnTo>
                    <a:pt x="193" y="85"/>
                  </a:lnTo>
                  <a:lnTo>
                    <a:pt x="196" y="84"/>
                  </a:lnTo>
                  <a:lnTo>
                    <a:pt x="199" y="83"/>
                  </a:lnTo>
                  <a:lnTo>
                    <a:pt x="201" y="83"/>
                  </a:lnTo>
                  <a:lnTo>
                    <a:pt x="203" y="83"/>
                  </a:lnTo>
                  <a:lnTo>
                    <a:pt x="207" y="84"/>
                  </a:lnTo>
                  <a:lnTo>
                    <a:pt x="211" y="84"/>
                  </a:lnTo>
                  <a:lnTo>
                    <a:pt x="215" y="83"/>
                  </a:lnTo>
                  <a:lnTo>
                    <a:pt x="219" y="82"/>
                  </a:lnTo>
                  <a:lnTo>
                    <a:pt x="221" y="81"/>
                  </a:lnTo>
                  <a:lnTo>
                    <a:pt x="224" y="79"/>
                  </a:lnTo>
                  <a:lnTo>
                    <a:pt x="225" y="78"/>
                  </a:lnTo>
                  <a:lnTo>
                    <a:pt x="229" y="76"/>
                  </a:lnTo>
                  <a:lnTo>
                    <a:pt x="231" y="74"/>
                  </a:lnTo>
                  <a:lnTo>
                    <a:pt x="233" y="73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8" y="73"/>
                  </a:lnTo>
                  <a:lnTo>
                    <a:pt x="238" y="73"/>
                  </a:lnTo>
                  <a:lnTo>
                    <a:pt x="240" y="74"/>
                  </a:lnTo>
                  <a:lnTo>
                    <a:pt x="242" y="76"/>
                  </a:lnTo>
                  <a:lnTo>
                    <a:pt x="246" y="77"/>
                  </a:lnTo>
                  <a:lnTo>
                    <a:pt x="248" y="79"/>
                  </a:lnTo>
                  <a:lnTo>
                    <a:pt x="250" y="81"/>
                  </a:lnTo>
                  <a:lnTo>
                    <a:pt x="251" y="83"/>
                  </a:lnTo>
                  <a:lnTo>
                    <a:pt x="254" y="87"/>
                  </a:lnTo>
                  <a:lnTo>
                    <a:pt x="256" y="90"/>
                  </a:lnTo>
                  <a:lnTo>
                    <a:pt x="260" y="97"/>
                  </a:lnTo>
                  <a:lnTo>
                    <a:pt x="263" y="102"/>
                  </a:lnTo>
                  <a:lnTo>
                    <a:pt x="264" y="104"/>
                  </a:lnTo>
                  <a:lnTo>
                    <a:pt x="265" y="105"/>
                  </a:lnTo>
                  <a:lnTo>
                    <a:pt x="266" y="106"/>
                  </a:lnTo>
                  <a:lnTo>
                    <a:pt x="267" y="106"/>
                  </a:lnTo>
                  <a:lnTo>
                    <a:pt x="268" y="107"/>
                  </a:lnTo>
                  <a:lnTo>
                    <a:pt x="272" y="109"/>
                  </a:lnTo>
                  <a:lnTo>
                    <a:pt x="278" y="111"/>
                  </a:lnTo>
                  <a:lnTo>
                    <a:pt x="280" y="111"/>
                  </a:lnTo>
                  <a:lnTo>
                    <a:pt x="286" y="116"/>
                  </a:lnTo>
                  <a:lnTo>
                    <a:pt x="288" y="117"/>
                  </a:lnTo>
                  <a:lnTo>
                    <a:pt x="289" y="117"/>
                  </a:lnTo>
                  <a:lnTo>
                    <a:pt x="291" y="118"/>
                  </a:lnTo>
                  <a:lnTo>
                    <a:pt x="294" y="118"/>
                  </a:lnTo>
                  <a:lnTo>
                    <a:pt x="295" y="118"/>
                  </a:lnTo>
                  <a:lnTo>
                    <a:pt x="296" y="117"/>
                  </a:lnTo>
                  <a:lnTo>
                    <a:pt x="299" y="116"/>
                  </a:lnTo>
                  <a:lnTo>
                    <a:pt x="302" y="113"/>
                  </a:lnTo>
                  <a:lnTo>
                    <a:pt x="305" y="111"/>
                  </a:lnTo>
                  <a:lnTo>
                    <a:pt x="305" y="110"/>
                  </a:lnTo>
                  <a:lnTo>
                    <a:pt x="306" y="109"/>
                  </a:lnTo>
                  <a:lnTo>
                    <a:pt x="306" y="108"/>
                  </a:lnTo>
                  <a:lnTo>
                    <a:pt x="306" y="106"/>
                  </a:lnTo>
                  <a:lnTo>
                    <a:pt x="307" y="100"/>
                  </a:lnTo>
                  <a:lnTo>
                    <a:pt x="308" y="99"/>
                  </a:lnTo>
                  <a:lnTo>
                    <a:pt x="308" y="97"/>
                  </a:lnTo>
                  <a:lnTo>
                    <a:pt x="309" y="96"/>
                  </a:lnTo>
                  <a:lnTo>
                    <a:pt x="310" y="94"/>
                  </a:lnTo>
                  <a:lnTo>
                    <a:pt x="311" y="92"/>
                  </a:lnTo>
                  <a:lnTo>
                    <a:pt x="314" y="90"/>
                  </a:lnTo>
                  <a:lnTo>
                    <a:pt x="316" y="89"/>
                  </a:lnTo>
                  <a:lnTo>
                    <a:pt x="318" y="87"/>
                  </a:lnTo>
                  <a:lnTo>
                    <a:pt x="322" y="84"/>
                  </a:lnTo>
                  <a:lnTo>
                    <a:pt x="324" y="82"/>
                  </a:lnTo>
                  <a:lnTo>
                    <a:pt x="325" y="80"/>
                  </a:lnTo>
                  <a:lnTo>
                    <a:pt x="326" y="78"/>
                  </a:lnTo>
                  <a:lnTo>
                    <a:pt x="329" y="72"/>
                  </a:lnTo>
                  <a:lnTo>
                    <a:pt x="331" y="69"/>
                  </a:lnTo>
                  <a:lnTo>
                    <a:pt x="333" y="66"/>
                  </a:lnTo>
                  <a:lnTo>
                    <a:pt x="335" y="64"/>
                  </a:lnTo>
                  <a:lnTo>
                    <a:pt x="339" y="60"/>
                  </a:lnTo>
                  <a:lnTo>
                    <a:pt x="346" y="52"/>
                  </a:lnTo>
                  <a:lnTo>
                    <a:pt x="349" y="48"/>
                  </a:lnTo>
                  <a:lnTo>
                    <a:pt x="354" y="43"/>
                  </a:lnTo>
                  <a:lnTo>
                    <a:pt x="360" y="37"/>
                  </a:lnTo>
                  <a:lnTo>
                    <a:pt x="363" y="34"/>
                  </a:lnTo>
                  <a:lnTo>
                    <a:pt x="367" y="31"/>
                  </a:lnTo>
                  <a:lnTo>
                    <a:pt x="369" y="29"/>
                  </a:lnTo>
                  <a:lnTo>
                    <a:pt x="372" y="27"/>
                  </a:lnTo>
                  <a:lnTo>
                    <a:pt x="374" y="26"/>
                  </a:lnTo>
                  <a:lnTo>
                    <a:pt x="375" y="25"/>
                  </a:lnTo>
                  <a:lnTo>
                    <a:pt x="383" y="23"/>
                  </a:lnTo>
                  <a:lnTo>
                    <a:pt x="386" y="22"/>
                  </a:lnTo>
                  <a:lnTo>
                    <a:pt x="388" y="21"/>
                  </a:lnTo>
                  <a:lnTo>
                    <a:pt x="390" y="20"/>
                  </a:lnTo>
                  <a:lnTo>
                    <a:pt x="395" y="17"/>
                  </a:lnTo>
                  <a:lnTo>
                    <a:pt x="397" y="14"/>
                  </a:lnTo>
                  <a:lnTo>
                    <a:pt x="401" y="11"/>
                  </a:lnTo>
                  <a:lnTo>
                    <a:pt x="406" y="7"/>
                  </a:lnTo>
                  <a:lnTo>
                    <a:pt x="411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4" name="Freeform 17">
              <a:extLst>
                <a:ext uri="{FF2B5EF4-FFF2-40B4-BE49-F238E27FC236}">
                  <a16:creationId xmlns:a16="http://schemas.microsoft.com/office/drawing/2014/main" id="{965B0643-46C3-47A2-9D47-379AA9C78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3" y="1909"/>
              <a:ext cx="449" cy="397"/>
            </a:xfrm>
            <a:custGeom>
              <a:avLst/>
              <a:gdLst>
                <a:gd name="T0" fmla="*/ 325 w 449"/>
                <a:gd name="T1" fmla="*/ 4 h 397"/>
                <a:gd name="T2" fmla="*/ 335 w 449"/>
                <a:gd name="T3" fmla="*/ 23 h 397"/>
                <a:gd name="T4" fmla="*/ 350 w 449"/>
                <a:gd name="T5" fmla="*/ 24 h 397"/>
                <a:gd name="T6" fmla="*/ 370 w 449"/>
                <a:gd name="T7" fmla="*/ 25 h 397"/>
                <a:gd name="T8" fmla="*/ 381 w 449"/>
                <a:gd name="T9" fmla="*/ 35 h 397"/>
                <a:gd name="T10" fmla="*/ 401 w 449"/>
                <a:gd name="T11" fmla="*/ 60 h 397"/>
                <a:gd name="T12" fmla="*/ 421 w 449"/>
                <a:gd name="T13" fmla="*/ 86 h 397"/>
                <a:gd name="T14" fmla="*/ 415 w 449"/>
                <a:gd name="T15" fmla="*/ 105 h 397"/>
                <a:gd name="T16" fmla="*/ 413 w 449"/>
                <a:gd name="T17" fmla="*/ 133 h 397"/>
                <a:gd name="T18" fmla="*/ 412 w 449"/>
                <a:gd name="T19" fmla="*/ 153 h 397"/>
                <a:gd name="T20" fmla="*/ 393 w 449"/>
                <a:gd name="T21" fmla="*/ 161 h 397"/>
                <a:gd name="T22" fmla="*/ 366 w 449"/>
                <a:gd name="T23" fmla="*/ 161 h 397"/>
                <a:gd name="T24" fmla="*/ 365 w 449"/>
                <a:gd name="T25" fmla="*/ 190 h 397"/>
                <a:gd name="T26" fmla="*/ 398 w 449"/>
                <a:gd name="T27" fmla="*/ 231 h 397"/>
                <a:gd name="T28" fmla="*/ 417 w 449"/>
                <a:gd name="T29" fmla="*/ 252 h 397"/>
                <a:gd name="T30" fmla="*/ 445 w 449"/>
                <a:gd name="T31" fmla="*/ 270 h 397"/>
                <a:gd name="T32" fmla="*/ 443 w 449"/>
                <a:gd name="T33" fmla="*/ 294 h 397"/>
                <a:gd name="T34" fmla="*/ 421 w 449"/>
                <a:gd name="T35" fmla="*/ 294 h 397"/>
                <a:gd name="T36" fmla="*/ 410 w 449"/>
                <a:gd name="T37" fmla="*/ 301 h 397"/>
                <a:gd name="T38" fmla="*/ 393 w 449"/>
                <a:gd name="T39" fmla="*/ 337 h 397"/>
                <a:gd name="T40" fmla="*/ 380 w 449"/>
                <a:gd name="T41" fmla="*/ 357 h 397"/>
                <a:gd name="T42" fmla="*/ 351 w 449"/>
                <a:gd name="T43" fmla="*/ 355 h 397"/>
                <a:gd name="T44" fmla="*/ 318 w 449"/>
                <a:gd name="T45" fmla="*/ 353 h 397"/>
                <a:gd name="T46" fmla="*/ 304 w 449"/>
                <a:gd name="T47" fmla="*/ 361 h 397"/>
                <a:gd name="T48" fmla="*/ 309 w 449"/>
                <a:gd name="T49" fmla="*/ 384 h 397"/>
                <a:gd name="T50" fmla="*/ 305 w 449"/>
                <a:gd name="T51" fmla="*/ 395 h 397"/>
                <a:gd name="T52" fmla="*/ 268 w 449"/>
                <a:gd name="T53" fmla="*/ 379 h 397"/>
                <a:gd name="T54" fmla="*/ 261 w 449"/>
                <a:gd name="T55" fmla="*/ 375 h 397"/>
                <a:gd name="T56" fmla="*/ 260 w 449"/>
                <a:gd name="T57" fmla="*/ 354 h 397"/>
                <a:gd name="T58" fmla="*/ 233 w 449"/>
                <a:gd name="T59" fmla="*/ 350 h 397"/>
                <a:gd name="T60" fmla="*/ 223 w 449"/>
                <a:gd name="T61" fmla="*/ 349 h 397"/>
                <a:gd name="T62" fmla="*/ 197 w 449"/>
                <a:gd name="T63" fmla="*/ 315 h 397"/>
                <a:gd name="T64" fmla="*/ 179 w 449"/>
                <a:gd name="T65" fmla="*/ 311 h 397"/>
                <a:gd name="T66" fmla="*/ 143 w 449"/>
                <a:gd name="T67" fmla="*/ 314 h 397"/>
                <a:gd name="T68" fmla="*/ 118 w 449"/>
                <a:gd name="T69" fmla="*/ 304 h 397"/>
                <a:gd name="T70" fmla="*/ 85 w 449"/>
                <a:gd name="T71" fmla="*/ 281 h 397"/>
                <a:gd name="T72" fmla="*/ 86 w 449"/>
                <a:gd name="T73" fmla="*/ 273 h 397"/>
                <a:gd name="T74" fmla="*/ 86 w 449"/>
                <a:gd name="T75" fmla="*/ 263 h 397"/>
                <a:gd name="T76" fmla="*/ 55 w 449"/>
                <a:gd name="T77" fmla="*/ 261 h 397"/>
                <a:gd name="T78" fmla="*/ 20 w 449"/>
                <a:gd name="T79" fmla="*/ 267 h 397"/>
                <a:gd name="T80" fmla="*/ 1 w 449"/>
                <a:gd name="T81" fmla="*/ 263 h 397"/>
                <a:gd name="T82" fmla="*/ 3 w 449"/>
                <a:gd name="T83" fmla="*/ 249 h 397"/>
                <a:gd name="T84" fmla="*/ 16 w 449"/>
                <a:gd name="T85" fmla="*/ 224 h 397"/>
                <a:gd name="T86" fmla="*/ 5 w 449"/>
                <a:gd name="T87" fmla="*/ 200 h 397"/>
                <a:gd name="T88" fmla="*/ 17 w 449"/>
                <a:gd name="T89" fmla="*/ 185 h 397"/>
                <a:gd name="T90" fmla="*/ 39 w 449"/>
                <a:gd name="T91" fmla="*/ 178 h 397"/>
                <a:gd name="T92" fmla="*/ 53 w 449"/>
                <a:gd name="T93" fmla="*/ 160 h 397"/>
                <a:gd name="T94" fmla="*/ 64 w 449"/>
                <a:gd name="T95" fmla="*/ 151 h 397"/>
                <a:gd name="T96" fmla="*/ 69 w 449"/>
                <a:gd name="T97" fmla="*/ 131 h 397"/>
                <a:gd name="T98" fmla="*/ 81 w 449"/>
                <a:gd name="T99" fmla="*/ 108 h 397"/>
                <a:gd name="T100" fmla="*/ 110 w 449"/>
                <a:gd name="T101" fmla="*/ 85 h 397"/>
                <a:gd name="T102" fmla="*/ 142 w 449"/>
                <a:gd name="T103" fmla="*/ 83 h 397"/>
                <a:gd name="T104" fmla="*/ 170 w 449"/>
                <a:gd name="T105" fmla="*/ 64 h 397"/>
                <a:gd name="T106" fmla="*/ 202 w 449"/>
                <a:gd name="T107" fmla="*/ 37 h 397"/>
                <a:gd name="T108" fmla="*/ 216 w 449"/>
                <a:gd name="T109" fmla="*/ 41 h 397"/>
                <a:gd name="T110" fmla="*/ 256 w 449"/>
                <a:gd name="T111" fmla="*/ 43 h 397"/>
                <a:gd name="T112" fmla="*/ 281 w 449"/>
                <a:gd name="T113" fmla="*/ 31 h 397"/>
                <a:gd name="T114" fmla="*/ 315 w 449"/>
                <a:gd name="T115" fmla="*/ 1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9" h="397">
                  <a:moveTo>
                    <a:pt x="317" y="0"/>
                  </a:moveTo>
                  <a:lnTo>
                    <a:pt x="318" y="0"/>
                  </a:lnTo>
                  <a:lnTo>
                    <a:pt x="319" y="1"/>
                  </a:lnTo>
                  <a:lnTo>
                    <a:pt x="320" y="2"/>
                  </a:lnTo>
                  <a:lnTo>
                    <a:pt x="322" y="4"/>
                  </a:lnTo>
                  <a:lnTo>
                    <a:pt x="323" y="5"/>
                  </a:lnTo>
                  <a:lnTo>
                    <a:pt x="324" y="5"/>
                  </a:lnTo>
                  <a:lnTo>
                    <a:pt x="324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6" y="5"/>
                  </a:lnTo>
                  <a:lnTo>
                    <a:pt x="327" y="6"/>
                  </a:lnTo>
                  <a:lnTo>
                    <a:pt x="328" y="6"/>
                  </a:lnTo>
                  <a:lnTo>
                    <a:pt x="329" y="8"/>
                  </a:lnTo>
                  <a:lnTo>
                    <a:pt x="332" y="15"/>
                  </a:lnTo>
                  <a:lnTo>
                    <a:pt x="333" y="17"/>
                  </a:lnTo>
                  <a:lnTo>
                    <a:pt x="334" y="21"/>
                  </a:lnTo>
                  <a:lnTo>
                    <a:pt x="335" y="23"/>
                  </a:lnTo>
                  <a:lnTo>
                    <a:pt x="335" y="24"/>
                  </a:lnTo>
                  <a:lnTo>
                    <a:pt x="335" y="25"/>
                  </a:lnTo>
                  <a:lnTo>
                    <a:pt x="336" y="26"/>
                  </a:lnTo>
                  <a:lnTo>
                    <a:pt x="337" y="26"/>
                  </a:lnTo>
                  <a:lnTo>
                    <a:pt x="338" y="26"/>
                  </a:lnTo>
                  <a:lnTo>
                    <a:pt x="341" y="26"/>
                  </a:lnTo>
                  <a:lnTo>
                    <a:pt x="344" y="25"/>
                  </a:lnTo>
                  <a:lnTo>
                    <a:pt x="347" y="25"/>
                  </a:lnTo>
                  <a:lnTo>
                    <a:pt x="350" y="24"/>
                  </a:lnTo>
                  <a:lnTo>
                    <a:pt x="353" y="23"/>
                  </a:lnTo>
                  <a:lnTo>
                    <a:pt x="355" y="23"/>
                  </a:lnTo>
                  <a:lnTo>
                    <a:pt x="356" y="23"/>
                  </a:lnTo>
                  <a:lnTo>
                    <a:pt x="358" y="23"/>
                  </a:lnTo>
                  <a:lnTo>
                    <a:pt x="367" y="23"/>
                  </a:lnTo>
                  <a:lnTo>
                    <a:pt x="369" y="24"/>
                  </a:lnTo>
                  <a:lnTo>
                    <a:pt x="369" y="24"/>
                  </a:lnTo>
                  <a:lnTo>
                    <a:pt x="370" y="24"/>
                  </a:lnTo>
                  <a:lnTo>
                    <a:pt x="370" y="25"/>
                  </a:lnTo>
                  <a:lnTo>
                    <a:pt x="370" y="26"/>
                  </a:lnTo>
                  <a:lnTo>
                    <a:pt x="371" y="28"/>
                  </a:lnTo>
                  <a:lnTo>
                    <a:pt x="372" y="28"/>
                  </a:lnTo>
                  <a:lnTo>
                    <a:pt x="372" y="29"/>
                  </a:lnTo>
                  <a:lnTo>
                    <a:pt x="373" y="29"/>
                  </a:lnTo>
                  <a:lnTo>
                    <a:pt x="378" y="31"/>
                  </a:lnTo>
                  <a:lnTo>
                    <a:pt x="379" y="32"/>
                  </a:lnTo>
                  <a:lnTo>
                    <a:pt x="380" y="33"/>
                  </a:lnTo>
                  <a:lnTo>
                    <a:pt x="381" y="35"/>
                  </a:lnTo>
                  <a:lnTo>
                    <a:pt x="383" y="38"/>
                  </a:lnTo>
                  <a:lnTo>
                    <a:pt x="385" y="40"/>
                  </a:lnTo>
                  <a:lnTo>
                    <a:pt x="388" y="45"/>
                  </a:lnTo>
                  <a:lnTo>
                    <a:pt x="389" y="47"/>
                  </a:lnTo>
                  <a:lnTo>
                    <a:pt x="390" y="49"/>
                  </a:lnTo>
                  <a:lnTo>
                    <a:pt x="394" y="52"/>
                  </a:lnTo>
                  <a:lnTo>
                    <a:pt x="397" y="56"/>
                  </a:lnTo>
                  <a:lnTo>
                    <a:pt x="398" y="58"/>
                  </a:lnTo>
                  <a:lnTo>
                    <a:pt x="401" y="60"/>
                  </a:lnTo>
                  <a:lnTo>
                    <a:pt x="405" y="63"/>
                  </a:lnTo>
                  <a:lnTo>
                    <a:pt x="406" y="64"/>
                  </a:lnTo>
                  <a:lnTo>
                    <a:pt x="409" y="67"/>
                  </a:lnTo>
                  <a:lnTo>
                    <a:pt x="411" y="70"/>
                  </a:lnTo>
                  <a:lnTo>
                    <a:pt x="413" y="73"/>
                  </a:lnTo>
                  <a:lnTo>
                    <a:pt x="415" y="77"/>
                  </a:lnTo>
                  <a:lnTo>
                    <a:pt x="419" y="83"/>
                  </a:lnTo>
                  <a:lnTo>
                    <a:pt x="420" y="85"/>
                  </a:lnTo>
                  <a:lnTo>
                    <a:pt x="421" y="86"/>
                  </a:lnTo>
                  <a:lnTo>
                    <a:pt x="422" y="89"/>
                  </a:lnTo>
                  <a:lnTo>
                    <a:pt x="422" y="90"/>
                  </a:lnTo>
                  <a:lnTo>
                    <a:pt x="422" y="92"/>
                  </a:lnTo>
                  <a:lnTo>
                    <a:pt x="422" y="94"/>
                  </a:lnTo>
                  <a:lnTo>
                    <a:pt x="422" y="96"/>
                  </a:lnTo>
                  <a:lnTo>
                    <a:pt x="421" y="97"/>
                  </a:lnTo>
                  <a:lnTo>
                    <a:pt x="419" y="98"/>
                  </a:lnTo>
                  <a:lnTo>
                    <a:pt x="418" y="100"/>
                  </a:lnTo>
                  <a:lnTo>
                    <a:pt x="415" y="105"/>
                  </a:lnTo>
                  <a:lnTo>
                    <a:pt x="413" y="109"/>
                  </a:lnTo>
                  <a:lnTo>
                    <a:pt x="411" y="113"/>
                  </a:lnTo>
                  <a:lnTo>
                    <a:pt x="411" y="115"/>
                  </a:lnTo>
                  <a:lnTo>
                    <a:pt x="411" y="117"/>
                  </a:lnTo>
                  <a:lnTo>
                    <a:pt x="410" y="119"/>
                  </a:lnTo>
                  <a:lnTo>
                    <a:pt x="410" y="121"/>
                  </a:lnTo>
                  <a:lnTo>
                    <a:pt x="410" y="123"/>
                  </a:lnTo>
                  <a:lnTo>
                    <a:pt x="411" y="126"/>
                  </a:lnTo>
                  <a:lnTo>
                    <a:pt x="413" y="133"/>
                  </a:lnTo>
                  <a:lnTo>
                    <a:pt x="414" y="136"/>
                  </a:lnTo>
                  <a:lnTo>
                    <a:pt x="414" y="142"/>
                  </a:lnTo>
                  <a:lnTo>
                    <a:pt x="415" y="142"/>
                  </a:lnTo>
                  <a:lnTo>
                    <a:pt x="415" y="144"/>
                  </a:lnTo>
                  <a:lnTo>
                    <a:pt x="415" y="146"/>
                  </a:lnTo>
                  <a:lnTo>
                    <a:pt x="415" y="148"/>
                  </a:lnTo>
                  <a:lnTo>
                    <a:pt x="414" y="150"/>
                  </a:lnTo>
                  <a:lnTo>
                    <a:pt x="413" y="152"/>
                  </a:lnTo>
                  <a:lnTo>
                    <a:pt x="412" y="153"/>
                  </a:lnTo>
                  <a:lnTo>
                    <a:pt x="411" y="155"/>
                  </a:lnTo>
                  <a:lnTo>
                    <a:pt x="410" y="156"/>
                  </a:lnTo>
                  <a:lnTo>
                    <a:pt x="408" y="157"/>
                  </a:lnTo>
                  <a:lnTo>
                    <a:pt x="406" y="158"/>
                  </a:lnTo>
                  <a:lnTo>
                    <a:pt x="403" y="159"/>
                  </a:lnTo>
                  <a:lnTo>
                    <a:pt x="401" y="160"/>
                  </a:lnTo>
                  <a:lnTo>
                    <a:pt x="399" y="161"/>
                  </a:lnTo>
                  <a:lnTo>
                    <a:pt x="396" y="161"/>
                  </a:lnTo>
                  <a:lnTo>
                    <a:pt x="393" y="161"/>
                  </a:lnTo>
                  <a:lnTo>
                    <a:pt x="386" y="160"/>
                  </a:lnTo>
                  <a:lnTo>
                    <a:pt x="378" y="158"/>
                  </a:lnTo>
                  <a:lnTo>
                    <a:pt x="375" y="158"/>
                  </a:lnTo>
                  <a:lnTo>
                    <a:pt x="373" y="158"/>
                  </a:lnTo>
                  <a:lnTo>
                    <a:pt x="371" y="158"/>
                  </a:lnTo>
                  <a:lnTo>
                    <a:pt x="369" y="159"/>
                  </a:lnTo>
                  <a:lnTo>
                    <a:pt x="368" y="159"/>
                  </a:lnTo>
                  <a:lnTo>
                    <a:pt x="367" y="160"/>
                  </a:lnTo>
                  <a:lnTo>
                    <a:pt x="366" y="161"/>
                  </a:lnTo>
                  <a:lnTo>
                    <a:pt x="366" y="163"/>
                  </a:lnTo>
                  <a:lnTo>
                    <a:pt x="365" y="164"/>
                  </a:lnTo>
                  <a:lnTo>
                    <a:pt x="364" y="166"/>
                  </a:lnTo>
                  <a:lnTo>
                    <a:pt x="362" y="174"/>
                  </a:lnTo>
                  <a:lnTo>
                    <a:pt x="362" y="177"/>
                  </a:lnTo>
                  <a:lnTo>
                    <a:pt x="361" y="180"/>
                  </a:lnTo>
                  <a:lnTo>
                    <a:pt x="362" y="183"/>
                  </a:lnTo>
                  <a:lnTo>
                    <a:pt x="363" y="186"/>
                  </a:lnTo>
                  <a:lnTo>
                    <a:pt x="365" y="190"/>
                  </a:lnTo>
                  <a:lnTo>
                    <a:pt x="367" y="194"/>
                  </a:lnTo>
                  <a:lnTo>
                    <a:pt x="369" y="197"/>
                  </a:lnTo>
                  <a:lnTo>
                    <a:pt x="370" y="199"/>
                  </a:lnTo>
                  <a:lnTo>
                    <a:pt x="377" y="207"/>
                  </a:lnTo>
                  <a:lnTo>
                    <a:pt x="381" y="213"/>
                  </a:lnTo>
                  <a:lnTo>
                    <a:pt x="384" y="216"/>
                  </a:lnTo>
                  <a:lnTo>
                    <a:pt x="388" y="220"/>
                  </a:lnTo>
                  <a:lnTo>
                    <a:pt x="395" y="227"/>
                  </a:lnTo>
                  <a:lnTo>
                    <a:pt x="398" y="231"/>
                  </a:lnTo>
                  <a:lnTo>
                    <a:pt x="400" y="233"/>
                  </a:lnTo>
                  <a:lnTo>
                    <a:pt x="402" y="235"/>
                  </a:lnTo>
                  <a:lnTo>
                    <a:pt x="407" y="244"/>
                  </a:lnTo>
                  <a:lnTo>
                    <a:pt x="408" y="245"/>
                  </a:lnTo>
                  <a:lnTo>
                    <a:pt x="409" y="247"/>
                  </a:lnTo>
                  <a:lnTo>
                    <a:pt x="412" y="249"/>
                  </a:lnTo>
                  <a:lnTo>
                    <a:pt x="413" y="250"/>
                  </a:lnTo>
                  <a:lnTo>
                    <a:pt x="414" y="251"/>
                  </a:lnTo>
                  <a:lnTo>
                    <a:pt x="417" y="252"/>
                  </a:lnTo>
                  <a:lnTo>
                    <a:pt x="424" y="255"/>
                  </a:lnTo>
                  <a:lnTo>
                    <a:pt x="427" y="256"/>
                  </a:lnTo>
                  <a:lnTo>
                    <a:pt x="430" y="258"/>
                  </a:lnTo>
                  <a:lnTo>
                    <a:pt x="433" y="260"/>
                  </a:lnTo>
                  <a:lnTo>
                    <a:pt x="436" y="262"/>
                  </a:lnTo>
                  <a:lnTo>
                    <a:pt x="438" y="265"/>
                  </a:lnTo>
                  <a:lnTo>
                    <a:pt x="441" y="267"/>
                  </a:lnTo>
                  <a:lnTo>
                    <a:pt x="443" y="268"/>
                  </a:lnTo>
                  <a:lnTo>
                    <a:pt x="445" y="270"/>
                  </a:lnTo>
                  <a:lnTo>
                    <a:pt x="447" y="272"/>
                  </a:lnTo>
                  <a:lnTo>
                    <a:pt x="449" y="275"/>
                  </a:lnTo>
                  <a:lnTo>
                    <a:pt x="449" y="276"/>
                  </a:lnTo>
                  <a:lnTo>
                    <a:pt x="449" y="279"/>
                  </a:lnTo>
                  <a:lnTo>
                    <a:pt x="449" y="283"/>
                  </a:lnTo>
                  <a:lnTo>
                    <a:pt x="447" y="287"/>
                  </a:lnTo>
                  <a:lnTo>
                    <a:pt x="446" y="290"/>
                  </a:lnTo>
                  <a:lnTo>
                    <a:pt x="445" y="292"/>
                  </a:lnTo>
                  <a:lnTo>
                    <a:pt x="443" y="294"/>
                  </a:lnTo>
                  <a:lnTo>
                    <a:pt x="441" y="296"/>
                  </a:lnTo>
                  <a:lnTo>
                    <a:pt x="439" y="297"/>
                  </a:lnTo>
                  <a:lnTo>
                    <a:pt x="438" y="298"/>
                  </a:lnTo>
                  <a:lnTo>
                    <a:pt x="437" y="298"/>
                  </a:lnTo>
                  <a:lnTo>
                    <a:pt x="435" y="299"/>
                  </a:lnTo>
                  <a:lnTo>
                    <a:pt x="432" y="299"/>
                  </a:lnTo>
                  <a:lnTo>
                    <a:pt x="431" y="298"/>
                  </a:lnTo>
                  <a:lnTo>
                    <a:pt x="429" y="297"/>
                  </a:lnTo>
                  <a:lnTo>
                    <a:pt x="421" y="294"/>
                  </a:lnTo>
                  <a:lnTo>
                    <a:pt x="419" y="293"/>
                  </a:lnTo>
                  <a:lnTo>
                    <a:pt x="417" y="293"/>
                  </a:lnTo>
                  <a:lnTo>
                    <a:pt x="416" y="293"/>
                  </a:lnTo>
                  <a:lnTo>
                    <a:pt x="414" y="293"/>
                  </a:lnTo>
                  <a:lnTo>
                    <a:pt x="414" y="294"/>
                  </a:lnTo>
                  <a:lnTo>
                    <a:pt x="413" y="295"/>
                  </a:lnTo>
                  <a:lnTo>
                    <a:pt x="411" y="297"/>
                  </a:lnTo>
                  <a:lnTo>
                    <a:pt x="411" y="299"/>
                  </a:lnTo>
                  <a:lnTo>
                    <a:pt x="410" y="301"/>
                  </a:lnTo>
                  <a:lnTo>
                    <a:pt x="410" y="305"/>
                  </a:lnTo>
                  <a:lnTo>
                    <a:pt x="410" y="308"/>
                  </a:lnTo>
                  <a:lnTo>
                    <a:pt x="409" y="311"/>
                  </a:lnTo>
                  <a:lnTo>
                    <a:pt x="407" y="313"/>
                  </a:lnTo>
                  <a:lnTo>
                    <a:pt x="405" y="318"/>
                  </a:lnTo>
                  <a:lnTo>
                    <a:pt x="403" y="323"/>
                  </a:lnTo>
                  <a:lnTo>
                    <a:pt x="396" y="332"/>
                  </a:lnTo>
                  <a:lnTo>
                    <a:pt x="394" y="335"/>
                  </a:lnTo>
                  <a:lnTo>
                    <a:pt x="393" y="337"/>
                  </a:lnTo>
                  <a:lnTo>
                    <a:pt x="392" y="341"/>
                  </a:lnTo>
                  <a:lnTo>
                    <a:pt x="391" y="345"/>
                  </a:lnTo>
                  <a:lnTo>
                    <a:pt x="389" y="348"/>
                  </a:lnTo>
                  <a:lnTo>
                    <a:pt x="387" y="352"/>
                  </a:lnTo>
                  <a:lnTo>
                    <a:pt x="385" y="354"/>
                  </a:lnTo>
                  <a:lnTo>
                    <a:pt x="384" y="356"/>
                  </a:lnTo>
                  <a:lnTo>
                    <a:pt x="383" y="357"/>
                  </a:lnTo>
                  <a:lnTo>
                    <a:pt x="382" y="357"/>
                  </a:lnTo>
                  <a:lnTo>
                    <a:pt x="380" y="357"/>
                  </a:lnTo>
                  <a:lnTo>
                    <a:pt x="380" y="358"/>
                  </a:lnTo>
                  <a:lnTo>
                    <a:pt x="378" y="358"/>
                  </a:lnTo>
                  <a:lnTo>
                    <a:pt x="376" y="359"/>
                  </a:lnTo>
                  <a:lnTo>
                    <a:pt x="374" y="359"/>
                  </a:lnTo>
                  <a:lnTo>
                    <a:pt x="371" y="359"/>
                  </a:lnTo>
                  <a:lnTo>
                    <a:pt x="369" y="359"/>
                  </a:lnTo>
                  <a:lnTo>
                    <a:pt x="365" y="359"/>
                  </a:lnTo>
                  <a:lnTo>
                    <a:pt x="362" y="358"/>
                  </a:lnTo>
                  <a:lnTo>
                    <a:pt x="351" y="355"/>
                  </a:lnTo>
                  <a:lnTo>
                    <a:pt x="348" y="354"/>
                  </a:lnTo>
                  <a:lnTo>
                    <a:pt x="345" y="353"/>
                  </a:lnTo>
                  <a:lnTo>
                    <a:pt x="342" y="353"/>
                  </a:lnTo>
                  <a:lnTo>
                    <a:pt x="338" y="353"/>
                  </a:lnTo>
                  <a:lnTo>
                    <a:pt x="331" y="352"/>
                  </a:lnTo>
                  <a:lnTo>
                    <a:pt x="324" y="352"/>
                  </a:lnTo>
                  <a:lnTo>
                    <a:pt x="322" y="352"/>
                  </a:lnTo>
                  <a:lnTo>
                    <a:pt x="320" y="352"/>
                  </a:lnTo>
                  <a:lnTo>
                    <a:pt x="318" y="353"/>
                  </a:lnTo>
                  <a:lnTo>
                    <a:pt x="315" y="354"/>
                  </a:lnTo>
                  <a:lnTo>
                    <a:pt x="312" y="355"/>
                  </a:lnTo>
                  <a:lnTo>
                    <a:pt x="311" y="355"/>
                  </a:lnTo>
                  <a:lnTo>
                    <a:pt x="309" y="356"/>
                  </a:lnTo>
                  <a:lnTo>
                    <a:pt x="308" y="357"/>
                  </a:lnTo>
                  <a:lnTo>
                    <a:pt x="307" y="358"/>
                  </a:lnTo>
                  <a:lnTo>
                    <a:pt x="306" y="359"/>
                  </a:lnTo>
                  <a:lnTo>
                    <a:pt x="305" y="360"/>
                  </a:lnTo>
                  <a:lnTo>
                    <a:pt x="304" y="361"/>
                  </a:lnTo>
                  <a:lnTo>
                    <a:pt x="304" y="362"/>
                  </a:lnTo>
                  <a:lnTo>
                    <a:pt x="304" y="363"/>
                  </a:lnTo>
                  <a:lnTo>
                    <a:pt x="303" y="366"/>
                  </a:lnTo>
                  <a:lnTo>
                    <a:pt x="304" y="368"/>
                  </a:lnTo>
                  <a:lnTo>
                    <a:pt x="304" y="370"/>
                  </a:lnTo>
                  <a:lnTo>
                    <a:pt x="305" y="372"/>
                  </a:lnTo>
                  <a:lnTo>
                    <a:pt x="307" y="378"/>
                  </a:lnTo>
                  <a:lnTo>
                    <a:pt x="308" y="380"/>
                  </a:lnTo>
                  <a:lnTo>
                    <a:pt x="309" y="384"/>
                  </a:lnTo>
                  <a:lnTo>
                    <a:pt x="309" y="386"/>
                  </a:lnTo>
                  <a:lnTo>
                    <a:pt x="309" y="390"/>
                  </a:lnTo>
                  <a:lnTo>
                    <a:pt x="309" y="391"/>
                  </a:lnTo>
                  <a:lnTo>
                    <a:pt x="309" y="393"/>
                  </a:lnTo>
                  <a:lnTo>
                    <a:pt x="309" y="394"/>
                  </a:lnTo>
                  <a:lnTo>
                    <a:pt x="308" y="396"/>
                  </a:lnTo>
                  <a:lnTo>
                    <a:pt x="308" y="397"/>
                  </a:lnTo>
                  <a:lnTo>
                    <a:pt x="307" y="397"/>
                  </a:lnTo>
                  <a:lnTo>
                    <a:pt x="305" y="395"/>
                  </a:lnTo>
                  <a:lnTo>
                    <a:pt x="299" y="391"/>
                  </a:lnTo>
                  <a:lnTo>
                    <a:pt x="292" y="385"/>
                  </a:lnTo>
                  <a:lnTo>
                    <a:pt x="289" y="383"/>
                  </a:lnTo>
                  <a:lnTo>
                    <a:pt x="288" y="382"/>
                  </a:lnTo>
                  <a:lnTo>
                    <a:pt x="285" y="381"/>
                  </a:lnTo>
                  <a:lnTo>
                    <a:pt x="277" y="380"/>
                  </a:lnTo>
                  <a:lnTo>
                    <a:pt x="272" y="379"/>
                  </a:lnTo>
                  <a:lnTo>
                    <a:pt x="270" y="379"/>
                  </a:lnTo>
                  <a:lnTo>
                    <a:pt x="268" y="379"/>
                  </a:lnTo>
                  <a:lnTo>
                    <a:pt x="265" y="380"/>
                  </a:lnTo>
                  <a:lnTo>
                    <a:pt x="263" y="380"/>
                  </a:lnTo>
                  <a:lnTo>
                    <a:pt x="262" y="380"/>
                  </a:lnTo>
                  <a:lnTo>
                    <a:pt x="261" y="380"/>
                  </a:lnTo>
                  <a:lnTo>
                    <a:pt x="260" y="380"/>
                  </a:lnTo>
                  <a:lnTo>
                    <a:pt x="259" y="379"/>
                  </a:lnTo>
                  <a:lnTo>
                    <a:pt x="259" y="378"/>
                  </a:lnTo>
                  <a:lnTo>
                    <a:pt x="260" y="376"/>
                  </a:lnTo>
                  <a:lnTo>
                    <a:pt x="261" y="375"/>
                  </a:lnTo>
                  <a:lnTo>
                    <a:pt x="261" y="374"/>
                  </a:lnTo>
                  <a:lnTo>
                    <a:pt x="262" y="369"/>
                  </a:lnTo>
                  <a:lnTo>
                    <a:pt x="263" y="364"/>
                  </a:lnTo>
                  <a:lnTo>
                    <a:pt x="263" y="361"/>
                  </a:lnTo>
                  <a:lnTo>
                    <a:pt x="263" y="359"/>
                  </a:lnTo>
                  <a:lnTo>
                    <a:pt x="262" y="357"/>
                  </a:lnTo>
                  <a:lnTo>
                    <a:pt x="262" y="356"/>
                  </a:lnTo>
                  <a:lnTo>
                    <a:pt x="261" y="355"/>
                  </a:lnTo>
                  <a:lnTo>
                    <a:pt x="260" y="354"/>
                  </a:lnTo>
                  <a:lnTo>
                    <a:pt x="258" y="353"/>
                  </a:lnTo>
                  <a:lnTo>
                    <a:pt x="257" y="352"/>
                  </a:lnTo>
                  <a:lnTo>
                    <a:pt x="255" y="351"/>
                  </a:lnTo>
                  <a:lnTo>
                    <a:pt x="244" y="348"/>
                  </a:lnTo>
                  <a:lnTo>
                    <a:pt x="243" y="348"/>
                  </a:lnTo>
                  <a:lnTo>
                    <a:pt x="239" y="349"/>
                  </a:lnTo>
                  <a:lnTo>
                    <a:pt x="235" y="350"/>
                  </a:lnTo>
                  <a:lnTo>
                    <a:pt x="233" y="350"/>
                  </a:lnTo>
                  <a:lnTo>
                    <a:pt x="233" y="350"/>
                  </a:lnTo>
                  <a:lnTo>
                    <a:pt x="232" y="350"/>
                  </a:lnTo>
                  <a:lnTo>
                    <a:pt x="228" y="353"/>
                  </a:lnTo>
                  <a:lnTo>
                    <a:pt x="227" y="354"/>
                  </a:lnTo>
                  <a:lnTo>
                    <a:pt x="226" y="354"/>
                  </a:lnTo>
                  <a:lnTo>
                    <a:pt x="224" y="355"/>
                  </a:lnTo>
                  <a:lnTo>
                    <a:pt x="224" y="354"/>
                  </a:lnTo>
                  <a:lnTo>
                    <a:pt x="224" y="353"/>
                  </a:lnTo>
                  <a:lnTo>
                    <a:pt x="223" y="351"/>
                  </a:lnTo>
                  <a:lnTo>
                    <a:pt x="223" y="349"/>
                  </a:lnTo>
                  <a:lnTo>
                    <a:pt x="222" y="347"/>
                  </a:lnTo>
                  <a:lnTo>
                    <a:pt x="221" y="346"/>
                  </a:lnTo>
                  <a:lnTo>
                    <a:pt x="219" y="343"/>
                  </a:lnTo>
                  <a:lnTo>
                    <a:pt x="217" y="340"/>
                  </a:lnTo>
                  <a:lnTo>
                    <a:pt x="210" y="330"/>
                  </a:lnTo>
                  <a:lnTo>
                    <a:pt x="200" y="319"/>
                  </a:lnTo>
                  <a:lnTo>
                    <a:pt x="199" y="317"/>
                  </a:lnTo>
                  <a:lnTo>
                    <a:pt x="198" y="316"/>
                  </a:lnTo>
                  <a:lnTo>
                    <a:pt x="197" y="315"/>
                  </a:lnTo>
                  <a:lnTo>
                    <a:pt x="195" y="313"/>
                  </a:lnTo>
                  <a:lnTo>
                    <a:pt x="192" y="312"/>
                  </a:lnTo>
                  <a:lnTo>
                    <a:pt x="191" y="312"/>
                  </a:lnTo>
                  <a:lnTo>
                    <a:pt x="189" y="311"/>
                  </a:lnTo>
                  <a:lnTo>
                    <a:pt x="187" y="311"/>
                  </a:lnTo>
                  <a:lnTo>
                    <a:pt x="187" y="311"/>
                  </a:lnTo>
                  <a:lnTo>
                    <a:pt x="185" y="311"/>
                  </a:lnTo>
                  <a:lnTo>
                    <a:pt x="183" y="310"/>
                  </a:lnTo>
                  <a:lnTo>
                    <a:pt x="179" y="311"/>
                  </a:lnTo>
                  <a:lnTo>
                    <a:pt x="176" y="311"/>
                  </a:lnTo>
                  <a:lnTo>
                    <a:pt x="166" y="313"/>
                  </a:lnTo>
                  <a:lnTo>
                    <a:pt x="164" y="314"/>
                  </a:lnTo>
                  <a:lnTo>
                    <a:pt x="161" y="314"/>
                  </a:lnTo>
                  <a:lnTo>
                    <a:pt x="158" y="315"/>
                  </a:lnTo>
                  <a:lnTo>
                    <a:pt x="155" y="315"/>
                  </a:lnTo>
                  <a:lnTo>
                    <a:pt x="152" y="315"/>
                  </a:lnTo>
                  <a:lnTo>
                    <a:pt x="149" y="315"/>
                  </a:lnTo>
                  <a:lnTo>
                    <a:pt x="143" y="314"/>
                  </a:lnTo>
                  <a:lnTo>
                    <a:pt x="141" y="314"/>
                  </a:lnTo>
                  <a:lnTo>
                    <a:pt x="138" y="313"/>
                  </a:lnTo>
                  <a:lnTo>
                    <a:pt x="135" y="313"/>
                  </a:lnTo>
                  <a:lnTo>
                    <a:pt x="132" y="312"/>
                  </a:lnTo>
                  <a:lnTo>
                    <a:pt x="130" y="312"/>
                  </a:lnTo>
                  <a:lnTo>
                    <a:pt x="129" y="311"/>
                  </a:lnTo>
                  <a:lnTo>
                    <a:pt x="125" y="310"/>
                  </a:lnTo>
                  <a:lnTo>
                    <a:pt x="121" y="307"/>
                  </a:lnTo>
                  <a:lnTo>
                    <a:pt x="118" y="304"/>
                  </a:lnTo>
                  <a:lnTo>
                    <a:pt x="111" y="299"/>
                  </a:lnTo>
                  <a:lnTo>
                    <a:pt x="107" y="296"/>
                  </a:lnTo>
                  <a:lnTo>
                    <a:pt x="102" y="293"/>
                  </a:lnTo>
                  <a:lnTo>
                    <a:pt x="95" y="289"/>
                  </a:lnTo>
                  <a:lnTo>
                    <a:pt x="91" y="288"/>
                  </a:lnTo>
                  <a:lnTo>
                    <a:pt x="90" y="287"/>
                  </a:lnTo>
                  <a:lnTo>
                    <a:pt x="88" y="285"/>
                  </a:lnTo>
                  <a:lnTo>
                    <a:pt x="85" y="283"/>
                  </a:lnTo>
                  <a:lnTo>
                    <a:pt x="85" y="281"/>
                  </a:lnTo>
                  <a:lnTo>
                    <a:pt x="84" y="280"/>
                  </a:lnTo>
                  <a:lnTo>
                    <a:pt x="83" y="279"/>
                  </a:lnTo>
                  <a:lnTo>
                    <a:pt x="83" y="278"/>
                  </a:lnTo>
                  <a:lnTo>
                    <a:pt x="83" y="278"/>
                  </a:lnTo>
                  <a:lnTo>
                    <a:pt x="83" y="277"/>
                  </a:lnTo>
                  <a:lnTo>
                    <a:pt x="84" y="276"/>
                  </a:lnTo>
                  <a:lnTo>
                    <a:pt x="84" y="275"/>
                  </a:lnTo>
                  <a:lnTo>
                    <a:pt x="85" y="274"/>
                  </a:lnTo>
                  <a:lnTo>
                    <a:pt x="86" y="273"/>
                  </a:lnTo>
                  <a:lnTo>
                    <a:pt x="88" y="272"/>
                  </a:lnTo>
                  <a:lnTo>
                    <a:pt x="93" y="270"/>
                  </a:lnTo>
                  <a:lnTo>
                    <a:pt x="94" y="269"/>
                  </a:lnTo>
                  <a:lnTo>
                    <a:pt x="94" y="268"/>
                  </a:lnTo>
                  <a:lnTo>
                    <a:pt x="94" y="267"/>
                  </a:lnTo>
                  <a:lnTo>
                    <a:pt x="93" y="267"/>
                  </a:lnTo>
                  <a:lnTo>
                    <a:pt x="92" y="267"/>
                  </a:lnTo>
                  <a:lnTo>
                    <a:pt x="89" y="265"/>
                  </a:lnTo>
                  <a:lnTo>
                    <a:pt x="86" y="263"/>
                  </a:lnTo>
                  <a:lnTo>
                    <a:pt x="85" y="263"/>
                  </a:lnTo>
                  <a:lnTo>
                    <a:pt x="83" y="262"/>
                  </a:lnTo>
                  <a:lnTo>
                    <a:pt x="81" y="262"/>
                  </a:lnTo>
                  <a:lnTo>
                    <a:pt x="79" y="262"/>
                  </a:lnTo>
                  <a:lnTo>
                    <a:pt x="75" y="262"/>
                  </a:lnTo>
                  <a:lnTo>
                    <a:pt x="68" y="263"/>
                  </a:lnTo>
                  <a:lnTo>
                    <a:pt x="64" y="263"/>
                  </a:lnTo>
                  <a:lnTo>
                    <a:pt x="62" y="262"/>
                  </a:lnTo>
                  <a:lnTo>
                    <a:pt x="55" y="261"/>
                  </a:lnTo>
                  <a:lnTo>
                    <a:pt x="51" y="260"/>
                  </a:lnTo>
                  <a:lnTo>
                    <a:pt x="48" y="260"/>
                  </a:lnTo>
                  <a:lnTo>
                    <a:pt x="44" y="260"/>
                  </a:lnTo>
                  <a:lnTo>
                    <a:pt x="39" y="261"/>
                  </a:lnTo>
                  <a:lnTo>
                    <a:pt x="35" y="262"/>
                  </a:lnTo>
                  <a:lnTo>
                    <a:pt x="32" y="263"/>
                  </a:lnTo>
                  <a:lnTo>
                    <a:pt x="26" y="266"/>
                  </a:lnTo>
                  <a:lnTo>
                    <a:pt x="23" y="267"/>
                  </a:lnTo>
                  <a:lnTo>
                    <a:pt x="20" y="267"/>
                  </a:lnTo>
                  <a:lnTo>
                    <a:pt x="19" y="267"/>
                  </a:lnTo>
                  <a:lnTo>
                    <a:pt x="17" y="267"/>
                  </a:lnTo>
                  <a:lnTo>
                    <a:pt x="17" y="267"/>
                  </a:lnTo>
                  <a:lnTo>
                    <a:pt x="15" y="267"/>
                  </a:lnTo>
                  <a:lnTo>
                    <a:pt x="6" y="266"/>
                  </a:lnTo>
                  <a:lnTo>
                    <a:pt x="4" y="265"/>
                  </a:lnTo>
                  <a:lnTo>
                    <a:pt x="3" y="264"/>
                  </a:lnTo>
                  <a:lnTo>
                    <a:pt x="2" y="264"/>
                  </a:lnTo>
                  <a:lnTo>
                    <a:pt x="1" y="263"/>
                  </a:lnTo>
                  <a:lnTo>
                    <a:pt x="1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2" y="251"/>
                  </a:lnTo>
                  <a:lnTo>
                    <a:pt x="3" y="249"/>
                  </a:lnTo>
                  <a:lnTo>
                    <a:pt x="5" y="244"/>
                  </a:lnTo>
                  <a:lnTo>
                    <a:pt x="7" y="241"/>
                  </a:lnTo>
                  <a:lnTo>
                    <a:pt x="9" y="237"/>
                  </a:lnTo>
                  <a:lnTo>
                    <a:pt x="14" y="233"/>
                  </a:lnTo>
                  <a:lnTo>
                    <a:pt x="15" y="231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4"/>
                  </a:lnTo>
                  <a:lnTo>
                    <a:pt x="16" y="222"/>
                  </a:lnTo>
                  <a:lnTo>
                    <a:pt x="16" y="220"/>
                  </a:lnTo>
                  <a:lnTo>
                    <a:pt x="15" y="217"/>
                  </a:lnTo>
                  <a:lnTo>
                    <a:pt x="14" y="215"/>
                  </a:lnTo>
                  <a:lnTo>
                    <a:pt x="12" y="212"/>
                  </a:lnTo>
                  <a:lnTo>
                    <a:pt x="10" y="209"/>
                  </a:lnTo>
                  <a:lnTo>
                    <a:pt x="9" y="207"/>
                  </a:lnTo>
                  <a:lnTo>
                    <a:pt x="5" y="202"/>
                  </a:lnTo>
                  <a:lnTo>
                    <a:pt x="5" y="200"/>
                  </a:lnTo>
                  <a:lnTo>
                    <a:pt x="4" y="199"/>
                  </a:lnTo>
                  <a:lnTo>
                    <a:pt x="4" y="199"/>
                  </a:lnTo>
                  <a:lnTo>
                    <a:pt x="4" y="198"/>
                  </a:lnTo>
                  <a:lnTo>
                    <a:pt x="5" y="196"/>
                  </a:lnTo>
                  <a:lnTo>
                    <a:pt x="5" y="194"/>
                  </a:lnTo>
                  <a:lnTo>
                    <a:pt x="7" y="192"/>
                  </a:lnTo>
                  <a:lnTo>
                    <a:pt x="10" y="190"/>
                  </a:lnTo>
                  <a:lnTo>
                    <a:pt x="13" y="187"/>
                  </a:lnTo>
                  <a:lnTo>
                    <a:pt x="17" y="185"/>
                  </a:lnTo>
                  <a:lnTo>
                    <a:pt x="19" y="183"/>
                  </a:lnTo>
                  <a:lnTo>
                    <a:pt x="21" y="182"/>
                  </a:lnTo>
                  <a:lnTo>
                    <a:pt x="23" y="181"/>
                  </a:lnTo>
                  <a:lnTo>
                    <a:pt x="26" y="180"/>
                  </a:lnTo>
                  <a:lnTo>
                    <a:pt x="28" y="180"/>
                  </a:lnTo>
                  <a:lnTo>
                    <a:pt x="30" y="179"/>
                  </a:lnTo>
                  <a:lnTo>
                    <a:pt x="35" y="179"/>
                  </a:lnTo>
                  <a:lnTo>
                    <a:pt x="37" y="178"/>
                  </a:lnTo>
                  <a:lnTo>
                    <a:pt x="39" y="178"/>
                  </a:lnTo>
                  <a:lnTo>
                    <a:pt x="40" y="178"/>
                  </a:lnTo>
                  <a:lnTo>
                    <a:pt x="42" y="177"/>
                  </a:lnTo>
                  <a:lnTo>
                    <a:pt x="43" y="176"/>
                  </a:lnTo>
                  <a:lnTo>
                    <a:pt x="44" y="176"/>
                  </a:lnTo>
                  <a:lnTo>
                    <a:pt x="46" y="175"/>
                  </a:lnTo>
                  <a:lnTo>
                    <a:pt x="49" y="171"/>
                  </a:lnTo>
                  <a:lnTo>
                    <a:pt x="51" y="168"/>
                  </a:lnTo>
                  <a:lnTo>
                    <a:pt x="51" y="166"/>
                  </a:lnTo>
                  <a:lnTo>
                    <a:pt x="53" y="160"/>
                  </a:lnTo>
                  <a:lnTo>
                    <a:pt x="54" y="159"/>
                  </a:lnTo>
                  <a:lnTo>
                    <a:pt x="55" y="157"/>
                  </a:lnTo>
                  <a:lnTo>
                    <a:pt x="56" y="156"/>
                  </a:lnTo>
                  <a:lnTo>
                    <a:pt x="57" y="155"/>
                  </a:lnTo>
                  <a:lnTo>
                    <a:pt x="62" y="153"/>
                  </a:lnTo>
                  <a:lnTo>
                    <a:pt x="62" y="153"/>
                  </a:lnTo>
                  <a:lnTo>
                    <a:pt x="63" y="152"/>
                  </a:lnTo>
                  <a:lnTo>
                    <a:pt x="64" y="152"/>
                  </a:lnTo>
                  <a:lnTo>
                    <a:pt x="64" y="151"/>
                  </a:lnTo>
                  <a:lnTo>
                    <a:pt x="65" y="150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6" y="143"/>
                  </a:lnTo>
                  <a:lnTo>
                    <a:pt x="66" y="139"/>
                  </a:lnTo>
                  <a:lnTo>
                    <a:pt x="67" y="138"/>
                  </a:lnTo>
                  <a:lnTo>
                    <a:pt x="67" y="136"/>
                  </a:lnTo>
                  <a:lnTo>
                    <a:pt x="68" y="132"/>
                  </a:lnTo>
                  <a:lnTo>
                    <a:pt x="69" y="131"/>
                  </a:lnTo>
                  <a:lnTo>
                    <a:pt x="69" y="128"/>
                  </a:lnTo>
                  <a:lnTo>
                    <a:pt x="70" y="122"/>
                  </a:lnTo>
                  <a:lnTo>
                    <a:pt x="70" y="120"/>
                  </a:lnTo>
                  <a:lnTo>
                    <a:pt x="71" y="117"/>
                  </a:lnTo>
                  <a:lnTo>
                    <a:pt x="72" y="116"/>
                  </a:lnTo>
                  <a:lnTo>
                    <a:pt x="72" y="114"/>
                  </a:lnTo>
                  <a:lnTo>
                    <a:pt x="73" y="113"/>
                  </a:lnTo>
                  <a:lnTo>
                    <a:pt x="75" y="111"/>
                  </a:lnTo>
                  <a:lnTo>
                    <a:pt x="81" y="108"/>
                  </a:lnTo>
                  <a:lnTo>
                    <a:pt x="84" y="105"/>
                  </a:lnTo>
                  <a:lnTo>
                    <a:pt x="87" y="102"/>
                  </a:lnTo>
                  <a:lnTo>
                    <a:pt x="91" y="97"/>
                  </a:lnTo>
                  <a:lnTo>
                    <a:pt x="93" y="97"/>
                  </a:lnTo>
                  <a:lnTo>
                    <a:pt x="97" y="93"/>
                  </a:lnTo>
                  <a:lnTo>
                    <a:pt x="101" y="90"/>
                  </a:lnTo>
                  <a:lnTo>
                    <a:pt x="105" y="87"/>
                  </a:lnTo>
                  <a:lnTo>
                    <a:pt x="108" y="86"/>
                  </a:lnTo>
                  <a:lnTo>
                    <a:pt x="110" y="85"/>
                  </a:lnTo>
                  <a:lnTo>
                    <a:pt x="113" y="85"/>
                  </a:lnTo>
                  <a:lnTo>
                    <a:pt x="117" y="84"/>
                  </a:lnTo>
                  <a:lnTo>
                    <a:pt x="119" y="84"/>
                  </a:lnTo>
                  <a:lnTo>
                    <a:pt x="122" y="84"/>
                  </a:lnTo>
                  <a:lnTo>
                    <a:pt x="129" y="85"/>
                  </a:lnTo>
                  <a:lnTo>
                    <a:pt x="131" y="85"/>
                  </a:lnTo>
                  <a:lnTo>
                    <a:pt x="134" y="85"/>
                  </a:lnTo>
                  <a:lnTo>
                    <a:pt x="138" y="84"/>
                  </a:lnTo>
                  <a:lnTo>
                    <a:pt x="142" y="83"/>
                  </a:lnTo>
                  <a:lnTo>
                    <a:pt x="146" y="82"/>
                  </a:lnTo>
                  <a:lnTo>
                    <a:pt x="151" y="80"/>
                  </a:lnTo>
                  <a:lnTo>
                    <a:pt x="155" y="78"/>
                  </a:lnTo>
                  <a:lnTo>
                    <a:pt x="157" y="77"/>
                  </a:lnTo>
                  <a:lnTo>
                    <a:pt x="159" y="75"/>
                  </a:lnTo>
                  <a:lnTo>
                    <a:pt x="161" y="74"/>
                  </a:lnTo>
                  <a:lnTo>
                    <a:pt x="164" y="72"/>
                  </a:lnTo>
                  <a:lnTo>
                    <a:pt x="166" y="69"/>
                  </a:lnTo>
                  <a:lnTo>
                    <a:pt x="170" y="64"/>
                  </a:lnTo>
                  <a:lnTo>
                    <a:pt x="172" y="63"/>
                  </a:lnTo>
                  <a:lnTo>
                    <a:pt x="173" y="62"/>
                  </a:lnTo>
                  <a:lnTo>
                    <a:pt x="178" y="57"/>
                  </a:lnTo>
                  <a:lnTo>
                    <a:pt x="184" y="51"/>
                  </a:lnTo>
                  <a:lnTo>
                    <a:pt x="195" y="41"/>
                  </a:lnTo>
                  <a:lnTo>
                    <a:pt x="198" y="40"/>
                  </a:lnTo>
                  <a:lnTo>
                    <a:pt x="199" y="38"/>
                  </a:lnTo>
                  <a:lnTo>
                    <a:pt x="201" y="37"/>
                  </a:lnTo>
                  <a:lnTo>
                    <a:pt x="202" y="37"/>
                  </a:lnTo>
                  <a:lnTo>
                    <a:pt x="203" y="36"/>
                  </a:lnTo>
                  <a:lnTo>
                    <a:pt x="204" y="36"/>
                  </a:lnTo>
                  <a:lnTo>
                    <a:pt x="205" y="36"/>
                  </a:lnTo>
                  <a:lnTo>
                    <a:pt x="206" y="37"/>
                  </a:lnTo>
                  <a:lnTo>
                    <a:pt x="208" y="38"/>
                  </a:lnTo>
                  <a:lnTo>
                    <a:pt x="210" y="40"/>
                  </a:lnTo>
                  <a:lnTo>
                    <a:pt x="212" y="40"/>
                  </a:lnTo>
                  <a:lnTo>
                    <a:pt x="214" y="40"/>
                  </a:lnTo>
                  <a:lnTo>
                    <a:pt x="216" y="41"/>
                  </a:lnTo>
                  <a:lnTo>
                    <a:pt x="221" y="42"/>
                  </a:lnTo>
                  <a:lnTo>
                    <a:pt x="225" y="43"/>
                  </a:lnTo>
                  <a:lnTo>
                    <a:pt x="228" y="44"/>
                  </a:lnTo>
                  <a:lnTo>
                    <a:pt x="231" y="44"/>
                  </a:lnTo>
                  <a:lnTo>
                    <a:pt x="234" y="44"/>
                  </a:lnTo>
                  <a:lnTo>
                    <a:pt x="238" y="44"/>
                  </a:lnTo>
                  <a:lnTo>
                    <a:pt x="247" y="44"/>
                  </a:lnTo>
                  <a:lnTo>
                    <a:pt x="253" y="43"/>
                  </a:lnTo>
                  <a:lnTo>
                    <a:pt x="256" y="43"/>
                  </a:lnTo>
                  <a:lnTo>
                    <a:pt x="259" y="42"/>
                  </a:lnTo>
                  <a:lnTo>
                    <a:pt x="262" y="42"/>
                  </a:lnTo>
                  <a:lnTo>
                    <a:pt x="265" y="41"/>
                  </a:lnTo>
                  <a:lnTo>
                    <a:pt x="266" y="40"/>
                  </a:lnTo>
                  <a:lnTo>
                    <a:pt x="267" y="40"/>
                  </a:lnTo>
                  <a:lnTo>
                    <a:pt x="272" y="36"/>
                  </a:lnTo>
                  <a:lnTo>
                    <a:pt x="276" y="33"/>
                  </a:lnTo>
                  <a:lnTo>
                    <a:pt x="278" y="32"/>
                  </a:lnTo>
                  <a:lnTo>
                    <a:pt x="281" y="31"/>
                  </a:lnTo>
                  <a:lnTo>
                    <a:pt x="283" y="30"/>
                  </a:lnTo>
                  <a:lnTo>
                    <a:pt x="285" y="29"/>
                  </a:lnTo>
                  <a:lnTo>
                    <a:pt x="288" y="28"/>
                  </a:lnTo>
                  <a:lnTo>
                    <a:pt x="290" y="26"/>
                  </a:lnTo>
                  <a:lnTo>
                    <a:pt x="294" y="22"/>
                  </a:lnTo>
                  <a:lnTo>
                    <a:pt x="308" y="8"/>
                  </a:lnTo>
                  <a:lnTo>
                    <a:pt x="312" y="4"/>
                  </a:lnTo>
                  <a:lnTo>
                    <a:pt x="313" y="3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5" name="Freeform 18">
              <a:extLst>
                <a:ext uri="{FF2B5EF4-FFF2-40B4-BE49-F238E27FC236}">
                  <a16:creationId xmlns:a16="http://schemas.microsoft.com/office/drawing/2014/main" id="{1E8B4566-4553-4035-80B0-276923883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0" y="3017"/>
              <a:ext cx="534" cy="776"/>
            </a:xfrm>
            <a:custGeom>
              <a:avLst/>
              <a:gdLst>
                <a:gd name="T0" fmla="*/ 146 w 534"/>
                <a:gd name="T1" fmla="*/ 19 h 776"/>
                <a:gd name="T2" fmla="*/ 162 w 534"/>
                <a:gd name="T3" fmla="*/ 70 h 776"/>
                <a:gd name="T4" fmla="*/ 189 w 534"/>
                <a:gd name="T5" fmla="*/ 65 h 776"/>
                <a:gd name="T6" fmla="*/ 208 w 534"/>
                <a:gd name="T7" fmla="*/ 91 h 776"/>
                <a:gd name="T8" fmla="*/ 236 w 534"/>
                <a:gd name="T9" fmla="*/ 115 h 776"/>
                <a:gd name="T10" fmla="*/ 285 w 534"/>
                <a:gd name="T11" fmla="*/ 135 h 776"/>
                <a:gd name="T12" fmla="*/ 308 w 534"/>
                <a:gd name="T13" fmla="*/ 173 h 776"/>
                <a:gd name="T14" fmla="*/ 335 w 534"/>
                <a:gd name="T15" fmla="*/ 202 h 776"/>
                <a:gd name="T16" fmla="*/ 365 w 534"/>
                <a:gd name="T17" fmla="*/ 231 h 776"/>
                <a:gd name="T18" fmla="*/ 353 w 534"/>
                <a:gd name="T19" fmla="*/ 255 h 776"/>
                <a:gd name="T20" fmla="*/ 336 w 534"/>
                <a:gd name="T21" fmla="*/ 275 h 776"/>
                <a:gd name="T22" fmla="*/ 328 w 534"/>
                <a:gd name="T23" fmla="*/ 303 h 776"/>
                <a:gd name="T24" fmla="*/ 353 w 534"/>
                <a:gd name="T25" fmla="*/ 314 h 776"/>
                <a:gd name="T26" fmla="*/ 365 w 534"/>
                <a:gd name="T27" fmla="*/ 333 h 776"/>
                <a:gd name="T28" fmla="*/ 355 w 534"/>
                <a:gd name="T29" fmla="*/ 361 h 776"/>
                <a:gd name="T30" fmla="*/ 369 w 534"/>
                <a:gd name="T31" fmla="*/ 387 h 776"/>
                <a:gd name="T32" fmla="*/ 396 w 534"/>
                <a:gd name="T33" fmla="*/ 405 h 776"/>
                <a:gd name="T34" fmla="*/ 398 w 534"/>
                <a:gd name="T35" fmla="*/ 439 h 776"/>
                <a:gd name="T36" fmla="*/ 416 w 534"/>
                <a:gd name="T37" fmla="*/ 455 h 776"/>
                <a:gd name="T38" fmla="*/ 434 w 534"/>
                <a:gd name="T39" fmla="*/ 461 h 776"/>
                <a:gd name="T40" fmla="*/ 422 w 534"/>
                <a:gd name="T41" fmla="*/ 482 h 776"/>
                <a:gd name="T42" fmla="*/ 441 w 534"/>
                <a:gd name="T43" fmla="*/ 497 h 776"/>
                <a:gd name="T44" fmla="*/ 457 w 534"/>
                <a:gd name="T45" fmla="*/ 546 h 776"/>
                <a:gd name="T46" fmla="*/ 484 w 534"/>
                <a:gd name="T47" fmla="*/ 570 h 776"/>
                <a:gd name="T48" fmla="*/ 513 w 534"/>
                <a:gd name="T49" fmla="*/ 586 h 776"/>
                <a:gd name="T50" fmla="*/ 529 w 534"/>
                <a:gd name="T51" fmla="*/ 638 h 776"/>
                <a:gd name="T52" fmla="*/ 529 w 534"/>
                <a:gd name="T53" fmla="*/ 663 h 776"/>
                <a:gd name="T54" fmla="*/ 478 w 534"/>
                <a:gd name="T55" fmla="*/ 651 h 776"/>
                <a:gd name="T56" fmla="*/ 456 w 534"/>
                <a:gd name="T57" fmla="*/ 687 h 776"/>
                <a:gd name="T58" fmla="*/ 435 w 534"/>
                <a:gd name="T59" fmla="*/ 729 h 776"/>
                <a:gd name="T60" fmla="*/ 398 w 534"/>
                <a:gd name="T61" fmla="*/ 764 h 776"/>
                <a:gd name="T62" fmla="*/ 385 w 534"/>
                <a:gd name="T63" fmla="*/ 769 h 776"/>
                <a:gd name="T64" fmla="*/ 371 w 534"/>
                <a:gd name="T65" fmla="*/ 722 h 776"/>
                <a:gd name="T66" fmla="*/ 361 w 534"/>
                <a:gd name="T67" fmla="*/ 715 h 776"/>
                <a:gd name="T68" fmla="*/ 315 w 534"/>
                <a:gd name="T69" fmla="*/ 661 h 776"/>
                <a:gd name="T70" fmla="*/ 287 w 534"/>
                <a:gd name="T71" fmla="*/ 633 h 776"/>
                <a:gd name="T72" fmla="*/ 275 w 534"/>
                <a:gd name="T73" fmla="*/ 620 h 776"/>
                <a:gd name="T74" fmla="*/ 219 w 534"/>
                <a:gd name="T75" fmla="*/ 633 h 776"/>
                <a:gd name="T76" fmla="*/ 202 w 534"/>
                <a:gd name="T77" fmla="*/ 593 h 776"/>
                <a:gd name="T78" fmla="*/ 187 w 534"/>
                <a:gd name="T79" fmla="*/ 568 h 776"/>
                <a:gd name="T80" fmla="*/ 146 w 534"/>
                <a:gd name="T81" fmla="*/ 537 h 776"/>
                <a:gd name="T82" fmla="*/ 137 w 534"/>
                <a:gd name="T83" fmla="*/ 518 h 776"/>
                <a:gd name="T84" fmla="*/ 87 w 534"/>
                <a:gd name="T85" fmla="*/ 487 h 776"/>
                <a:gd name="T86" fmla="*/ 58 w 534"/>
                <a:gd name="T87" fmla="*/ 460 h 776"/>
                <a:gd name="T88" fmla="*/ 29 w 534"/>
                <a:gd name="T89" fmla="*/ 435 h 776"/>
                <a:gd name="T90" fmla="*/ 1 w 534"/>
                <a:gd name="T91" fmla="*/ 408 h 776"/>
                <a:gd name="T92" fmla="*/ 12 w 534"/>
                <a:gd name="T93" fmla="*/ 385 h 776"/>
                <a:gd name="T94" fmla="*/ 44 w 534"/>
                <a:gd name="T95" fmla="*/ 360 h 776"/>
                <a:gd name="T96" fmla="*/ 45 w 534"/>
                <a:gd name="T97" fmla="*/ 331 h 776"/>
                <a:gd name="T98" fmla="*/ 26 w 534"/>
                <a:gd name="T99" fmla="*/ 303 h 776"/>
                <a:gd name="T100" fmla="*/ 28 w 534"/>
                <a:gd name="T101" fmla="*/ 257 h 776"/>
                <a:gd name="T102" fmla="*/ 17 w 534"/>
                <a:gd name="T103" fmla="*/ 238 h 776"/>
                <a:gd name="T104" fmla="*/ 27 w 534"/>
                <a:gd name="T105" fmla="*/ 225 h 776"/>
                <a:gd name="T106" fmla="*/ 46 w 534"/>
                <a:gd name="T107" fmla="*/ 213 h 776"/>
                <a:gd name="T108" fmla="*/ 50 w 534"/>
                <a:gd name="T109" fmla="*/ 189 h 776"/>
                <a:gd name="T110" fmla="*/ 70 w 534"/>
                <a:gd name="T111" fmla="*/ 154 h 776"/>
                <a:gd name="T112" fmla="*/ 67 w 534"/>
                <a:gd name="T113" fmla="*/ 112 h 776"/>
                <a:gd name="T114" fmla="*/ 84 w 534"/>
                <a:gd name="T115" fmla="*/ 105 h 776"/>
                <a:gd name="T116" fmla="*/ 113 w 534"/>
                <a:gd name="T117" fmla="*/ 110 h 776"/>
                <a:gd name="T118" fmla="*/ 98 w 534"/>
                <a:gd name="T119" fmla="*/ 72 h 776"/>
                <a:gd name="T120" fmla="*/ 101 w 534"/>
                <a:gd name="T121" fmla="*/ 30 h 776"/>
                <a:gd name="T122" fmla="*/ 130 w 534"/>
                <a:gd name="T123" fmla="*/ 7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4" h="776">
                  <a:moveTo>
                    <a:pt x="136" y="1"/>
                  </a:moveTo>
                  <a:lnTo>
                    <a:pt x="137" y="1"/>
                  </a:lnTo>
                  <a:lnTo>
                    <a:pt x="137" y="3"/>
                  </a:lnTo>
                  <a:lnTo>
                    <a:pt x="138" y="3"/>
                  </a:lnTo>
                  <a:lnTo>
                    <a:pt x="142" y="4"/>
                  </a:lnTo>
                  <a:lnTo>
                    <a:pt x="143" y="3"/>
                  </a:lnTo>
                  <a:lnTo>
                    <a:pt x="143" y="4"/>
                  </a:lnTo>
                  <a:lnTo>
                    <a:pt x="144" y="5"/>
                  </a:lnTo>
                  <a:lnTo>
                    <a:pt x="144" y="6"/>
                  </a:lnTo>
                  <a:lnTo>
                    <a:pt x="144" y="8"/>
                  </a:lnTo>
                  <a:lnTo>
                    <a:pt x="145" y="14"/>
                  </a:lnTo>
                  <a:lnTo>
                    <a:pt x="146" y="19"/>
                  </a:lnTo>
                  <a:lnTo>
                    <a:pt x="148" y="24"/>
                  </a:lnTo>
                  <a:lnTo>
                    <a:pt x="149" y="33"/>
                  </a:lnTo>
                  <a:lnTo>
                    <a:pt x="151" y="36"/>
                  </a:lnTo>
                  <a:lnTo>
                    <a:pt x="152" y="41"/>
                  </a:lnTo>
                  <a:lnTo>
                    <a:pt x="155" y="47"/>
                  </a:lnTo>
                  <a:lnTo>
                    <a:pt x="158" y="53"/>
                  </a:lnTo>
                  <a:lnTo>
                    <a:pt x="159" y="57"/>
                  </a:lnTo>
                  <a:lnTo>
                    <a:pt x="160" y="64"/>
                  </a:lnTo>
                  <a:lnTo>
                    <a:pt x="160" y="65"/>
                  </a:lnTo>
                  <a:lnTo>
                    <a:pt x="161" y="67"/>
                  </a:lnTo>
                  <a:lnTo>
                    <a:pt x="161" y="69"/>
                  </a:lnTo>
                  <a:lnTo>
                    <a:pt x="162" y="70"/>
                  </a:lnTo>
                  <a:lnTo>
                    <a:pt x="163" y="71"/>
                  </a:lnTo>
                  <a:lnTo>
                    <a:pt x="164" y="71"/>
                  </a:lnTo>
                  <a:lnTo>
                    <a:pt x="165" y="72"/>
                  </a:lnTo>
                  <a:lnTo>
                    <a:pt x="166" y="72"/>
                  </a:lnTo>
                  <a:lnTo>
                    <a:pt x="168" y="72"/>
                  </a:lnTo>
                  <a:lnTo>
                    <a:pt x="170" y="71"/>
                  </a:lnTo>
                  <a:lnTo>
                    <a:pt x="174" y="68"/>
                  </a:lnTo>
                  <a:lnTo>
                    <a:pt x="177" y="67"/>
                  </a:lnTo>
                  <a:lnTo>
                    <a:pt x="180" y="65"/>
                  </a:lnTo>
                  <a:lnTo>
                    <a:pt x="183" y="65"/>
                  </a:lnTo>
                  <a:lnTo>
                    <a:pt x="186" y="65"/>
                  </a:lnTo>
                  <a:lnTo>
                    <a:pt x="189" y="65"/>
                  </a:lnTo>
                  <a:lnTo>
                    <a:pt x="191" y="65"/>
                  </a:lnTo>
                  <a:lnTo>
                    <a:pt x="193" y="66"/>
                  </a:lnTo>
                  <a:lnTo>
                    <a:pt x="194" y="67"/>
                  </a:lnTo>
                  <a:lnTo>
                    <a:pt x="196" y="69"/>
                  </a:lnTo>
                  <a:lnTo>
                    <a:pt x="198" y="71"/>
                  </a:lnTo>
                  <a:lnTo>
                    <a:pt x="200" y="73"/>
                  </a:lnTo>
                  <a:lnTo>
                    <a:pt x="202" y="76"/>
                  </a:lnTo>
                  <a:lnTo>
                    <a:pt x="203" y="77"/>
                  </a:lnTo>
                  <a:lnTo>
                    <a:pt x="205" y="81"/>
                  </a:lnTo>
                  <a:lnTo>
                    <a:pt x="205" y="84"/>
                  </a:lnTo>
                  <a:lnTo>
                    <a:pt x="207" y="88"/>
                  </a:lnTo>
                  <a:lnTo>
                    <a:pt x="208" y="91"/>
                  </a:lnTo>
                  <a:lnTo>
                    <a:pt x="210" y="93"/>
                  </a:lnTo>
                  <a:lnTo>
                    <a:pt x="216" y="101"/>
                  </a:lnTo>
                  <a:lnTo>
                    <a:pt x="217" y="103"/>
                  </a:lnTo>
                  <a:lnTo>
                    <a:pt x="220" y="106"/>
                  </a:lnTo>
                  <a:lnTo>
                    <a:pt x="222" y="108"/>
                  </a:lnTo>
                  <a:lnTo>
                    <a:pt x="224" y="110"/>
                  </a:lnTo>
                  <a:lnTo>
                    <a:pt x="226" y="111"/>
                  </a:lnTo>
                  <a:lnTo>
                    <a:pt x="228" y="112"/>
                  </a:lnTo>
                  <a:lnTo>
                    <a:pt x="229" y="113"/>
                  </a:lnTo>
                  <a:lnTo>
                    <a:pt x="231" y="114"/>
                  </a:lnTo>
                  <a:lnTo>
                    <a:pt x="233" y="115"/>
                  </a:lnTo>
                  <a:lnTo>
                    <a:pt x="236" y="115"/>
                  </a:lnTo>
                  <a:lnTo>
                    <a:pt x="244" y="117"/>
                  </a:lnTo>
                  <a:lnTo>
                    <a:pt x="249" y="119"/>
                  </a:lnTo>
                  <a:lnTo>
                    <a:pt x="264" y="123"/>
                  </a:lnTo>
                  <a:lnTo>
                    <a:pt x="273" y="126"/>
                  </a:lnTo>
                  <a:lnTo>
                    <a:pt x="275" y="127"/>
                  </a:lnTo>
                  <a:lnTo>
                    <a:pt x="278" y="128"/>
                  </a:lnTo>
                  <a:lnTo>
                    <a:pt x="280" y="129"/>
                  </a:lnTo>
                  <a:lnTo>
                    <a:pt x="281" y="130"/>
                  </a:lnTo>
                  <a:lnTo>
                    <a:pt x="282" y="131"/>
                  </a:lnTo>
                  <a:lnTo>
                    <a:pt x="283" y="132"/>
                  </a:lnTo>
                  <a:lnTo>
                    <a:pt x="284" y="133"/>
                  </a:lnTo>
                  <a:lnTo>
                    <a:pt x="285" y="135"/>
                  </a:lnTo>
                  <a:lnTo>
                    <a:pt x="286" y="139"/>
                  </a:lnTo>
                  <a:lnTo>
                    <a:pt x="288" y="145"/>
                  </a:lnTo>
                  <a:lnTo>
                    <a:pt x="289" y="148"/>
                  </a:lnTo>
                  <a:lnTo>
                    <a:pt x="290" y="151"/>
                  </a:lnTo>
                  <a:lnTo>
                    <a:pt x="292" y="153"/>
                  </a:lnTo>
                  <a:lnTo>
                    <a:pt x="293" y="155"/>
                  </a:lnTo>
                  <a:lnTo>
                    <a:pt x="295" y="156"/>
                  </a:lnTo>
                  <a:lnTo>
                    <a:pt x="300" y="164"/>
                  </a:lnTo>
                  <a:lnTo>
                    <a:pt x="306" y="168"/>
                  </a:lnTo>
                  <a:lnTo>
                    <a:pt x="308" y="170"/>
                  </a:lnTo>
                  <a:lnTo>
                    <a:pt x="308" y="172"/>
                  </a:lnTo>
                  <a:lnTo>
                    <a:pt x="308" y="173"/>
                  </a:lnTo>
                  <a:lnTo>
                    <a:pt x="311" y="179"/>
                  </a:lnTo>
                  <a:lnTo>
                    <a:pt x="312" y="181"/>
                  </a:lnTo>
                  <a:lnTo>
                    <a:pt x="313" y="183"/>
                  </a:lnTo>
                  <a:lnTo>
                    <a:pt x="315" y="184"/>
                  </a:lnTo>
                  <a:lnTo>
                    <a:pt x="319" y="190"/>
                  </a:lnTo>
                  <a:lnTo>
                    <a:pt x="321" y="191"/>
                  </a:lnTo>
                  <a:lnTo>
                    <a:pt x="322" y="192"/>
                  </a:lnTo>
                  <a:lnTo>
                    <a:pt x="324" y="193"/>
                  </a:lnTo>
                  <a:lnTo>
                    <a:pt x="328" y="196"/>
                  </a:lnTo>
                  <a:lnTo>
                    <a:pt x="330" y="197"/>
                  </a:lnTo>
                  <a:lnTo>
                    <a:pt x="331" y="198"/>
                  </a:lnTo>
                  <a:lnTo>
                    <a:pt x="335" y="202"/>
                  </a:lnTo>
                  <a:lnTo>
                    <a:pt x="338" y="204"/>
                  </a:lnTo>
                  <a:lnTo>
                    <a:pt x="341" y="207"/>
                  </a:lnTo>
                  <a:lnTo>
                    <a:pt x="344" y="209"/>
                  </a:lnTo>
                  <a:lnTo>
                    <a:pt x="348" y="211"/>
                  </a:lnTo>
                  <a:lnTo>
                    <a:pt x="353" y="213"/>
                  </a:lnTo>
                  <a:lnTo>
                    <a:pt x="358" y="215"/>
                  </a:lnTo>
                  <a:lnTo>
                    <a:pt x="365" y="218"/>
                  </a:lnTo>
                  <a:lnTo>
                    <a:pt x="366" y="219"/>
                  </a:lnTo>
                  <a:lnTo>
                    <a:pt x="366" y="220"/>
                  </a:lnTo>
                  <a:lnTo>
                    <a:pt x="366" y="221"/>
                  </a:lnTo>
                  <a:lnTo>
                    <a:pt x="366" y="227"/>
                  </a:lnTo>
                  <a:lnTo>
                    <a:pt x="365" y="231"/>
                  </a:lnTo>
                  <a:lnTo>
                    <a:pt x="365" y="235"/>
                  </a:lnTo>
                  <a:lnTo>
                    <a:pt x="365" y="239"/>
                  </a:lnTo>
                  <a:lnTo>
                    <a:pt x="364" y="242"/>
                  </a:lnTo>
                  <a:lnTo>
                    <a:pt x="363" y="246"/>
                  </a:lnTo>
                  <a:lnTo>
                    <a:pt x="362" y="248"/>
                  </a:lnTo>
                  <a:lnTo>
                    <a:pt x="361" y="250"/>
                  </a:lnTo>
                  <a:lnTo>
                    <a:pt x="359" y="252"/>
                  </a:lnTo>
                  <a:lnTo>
                    <a:pt x="358" y="253"/>
                  </a:lnTo>
                  <a:lnTo>
                    <a:pt x="357" y="254"/>
                  </a:lnTo>
                  <a:lnTo>
                    <a:pt x="356" y="254"/>
                  </a:lnTo>
                  <a:lnTo>
                    <a:pt x="354" y="255"/>
                  </a:lnTo>
                  <a:lnTo>
                    <a:pt x="353" y="255"/>
                  </a:lnTo>
                  <a:lnTo>
                    <a:pt x="348" y="255"/>
                  </a:lnTo>
                  <a:lnTo>
                    <a:pt x="347" y="255"/>
                  </a:lnTo>
                  <a:lnTo>
                    <a:pt x="345" y="255"/>
                  </a:lnTo>
                  <a:lnTo>
                    <a:pt x="343" y="256"/>
                  </a:lnTo>
                  <a:lnTo>
                    <a:pt x="342" y="257"/>
                  </a:lnTo>
                  <a:lnTo>
                    <a:pt x="341" y="258"/>
                  </a:lnTo>
                  <a:lnTo>
                    <a:pt x="340" y="259"/>
                  </a:lnTo>
                  <a:lnTo>
                    <a:pt x="339" y="261"/>
                  </a:lnTo>
                  <a:lnTo>
                    <a:pt x="337" y="264"/>
                  </a:lnTo>
                  <a:lnTo>
                    <a:pt x="337" y="267"/>
                  </a:lnTo>
                  <a:lnTo>
                    <a:pt x="337" y="269"/>
                  </a:lnTo>
                  <a:lnTo>
                    <a:pt x="336" y="275"/>
                  </a:lnTo>
                  <a:lnTo>
                    <a:pt x="336" y="282"/>
                  </a:lnTo>
                  <a:lnTo>
                    <a:pt x="335" y="285"/>
                  </a:lnTo>
                  <a:lnTo>
                    <a:pt x="334" y="287"/>
                  </a:lnTo>
                  <a:lnTo>
                    <a:pt x="333" y="289"/>
                  </a:lnTo>
                  <a:lnTo>
                    <a:pt x="332" y="290"/>
                  </a:lnTo>
                  <a:lnTo>
                    <a:pt x="330" y="294"/>
                  </a:lnTo>
                  <a:lnTo>
                    <a:pt x="329" y="295"/>
                  </a:lnTo>
                  <a:lnTo>
                    <a:pt x="328" y="296"/>
                  </a:lnTo>
                  <a:lnTo>
                    <a:pt x="328" y="297"/>
                  </a:lnTo>
                  <a:lnTo>
                    <a:pt x="328" y="299"/>
                  </a:lnTo>
                  <a:lnTo>
                    <a:pt x="328" y="302"/>
                  </a:lnTo>
                  <a:lnTo>
                    <a:pt x="328" y="303"/>
                  </a:lnTo>
                  <a:lnTo>
                    <a:pt x="329" y="303"/>
                  </a:lnTo>
                  <a:lnTo>
                    <a:pt x="329" y="304"/>
                  </a:lnTo>
                  <a:lnTo>
                    <a:pt x="331" y="305"/>
                  </a:lnTo>
                  <a:lnTo>
                    <a:pt x="331" y="306"/>
                  </a:lnTo>
                  <a:lnTo>
                    <a:pt x="332" y="307"/>
                  </a:lnTo>
                  <a:lnTo>
                    <a:pt x="334" y="307"/>
                  </a:lnTo>
                  <a:lnTo>
                    <a:pt x="336" y="308"/>
                  </a:lnTo>
                  <a:lnTo>
                    <a:pt x="342" y="309"/>
                  </a:lnTo>
                  <a:lnTo>
                    <a:pt x="346" y="310"/>
                  </a:lnTo>
                  <a:lnTo>
                    <a:pt x="350" y="312"/>
                  </a:lnTo>
                  <a:lnTo>
                    <a:pt x="352" y="313"/>
                  </a:lnTo>
                  <a:lnTo>
                    <a:pt x="353" y="314"/>
                  </a:lnTo>
                  <a:lnTo>
                    <a:pt x="354" y="314"/>
                  </a:lnTo>
                  <a:lnTo>
                    <a:pt x="356" y="315"/>
                  </a:lnTo>
                  <a:lnTo>
                    <a:pt x="357" y="317"/>
                  </a:lnTo>
                  <a:lnTo>
                    <a:pt x="359" y="318"/>
                  </a:lnTo>
                  <a:lnTo>
                    <a:pt x="360" y="320"/>
                  </a:lnTo>
                  <a:lnTo>
                    <a:pt x="361" y="322"/>
                  </a:lnTo>
                  <a:lnTo>
                    <a:pt x="364" y="326"/>
                  </a:lnTo>
                  <a:lnTo>
                    <a:pt x="365" y="327"/>
                  </a:lnTo>
                  <a:lnTo>
                    <a:pt x="365" y="328"/>
                  </a:lnTo>
                  <a:lnTo>
                    <a:pt x="365" y="330"/>
                  </a:lnTo>
                  <a:lnTo>
                    <a:pt x="365" y="332"/>
                  </a:lnTo>
                  <a:lnTo>
                    <a:pt x="365" y="333"/>
                  </a:lnTo>
                  <a:lnTo>
                    <a:pt x="365" y="335"/>
                  </a:lnTo>
                  <a:lnTo>
                    <a:pt x="365" y="337"/>
                  </a:lnTo>
                  <a:lnTo>
                    <a:pt x="364" y="342"/>
                  </a:lnTo>
                  <a:lnTo>
                    <a:pt x="363" y="344"/>
                  </a:lnTo>
                  <a:lnTo>
                    <a:pt x="362" y="346"/>
                  </a:lnTo>
                  <a:lnTo>
                    <a:pt x="361" y="348"/>
                  </a:lnTo>
                  <a:lnTo>
                    <a:pt x="356" y="356"/>
                  </a:lnTo>
                  <a:lnTo>
                    <a:pt x="355" y="358"/>
                  </a:lnTo>
                  <a:lnTo>
                    <a:pt x="355" y="359"/>
                  </a:lnTo>
                  <a:lnTo>
                    <a:pt x="354" y="360"/>
                  </a:lnTo>
                  <a:lnTo>
                    <a:pt x="355" y="360"/>
                  </a:lnTo>
                  <a:lnTo>
                    <a:pt x="355" y="361"/>
                  </a:lnTo>
                  <a:lnTo>
                    <a:pt x="356" y="362"/>
                  </a:lnTo>
                  <a:lnTo>
                    <a:pt x="358" y="365"/>
                  </a:lnTo>
                  <a:lnTo>
                    <a:pt x="360" y="367"/>
                  </a:lnTo>
                  <a:lnTo>
                    <a:pt x="362" y="370"/>
                  </a:lnTo>
                  <a:lnTo>
                    <a:pt x="363" y="371"/>
                  </a:lnTo>
                  <a:lnTo>
                    <a:pt x="364" y="374"/>
                  </a:lnTo>
                  <a:lnTo>
                    <a:pt x="365" y="376"/>
                  </a:lnTo>
                  <a:lnTo>
                    <a:pt x="366" y="382"/>
                  </a:lnTo>
                  <a:lnTo>
                    <a:pt x="367" y="384"/>
                  </a:lnTo>
                  <a:lnTo>
                    <a:pt x="367" y="385"/>
                  </a:lnTo>
                  <a:lnTo>
                    <a:pt x="368" y="386"/>
                  </a:lnTo>
                  <a:lnTo>
                    <a:pt x="369" y="387"/>
                  </a:lnTo>
                  <a:lnTo>
                    <a:pt x="370" y="389"/>
                  </a:lnTo>
                  <a:lnTo>
                    <a:pt x="372" y="390"/>
                  </a:lnTo>
                  <a:lnTo>
                    <a:pt x="375" y="391"/>
                  </a:lnTo>
                  <a:lnTo>
                    <a:pt x="381" y="393"/>
                  </a:lnTo>
                  <a:lnTo>
                    <a:pt x="382" y="394"/>
                  </a:lnTo>
                  <a:lnTo>
                    <a:pt x="383" y="394"/>
                  </a:lnTo>
                  <a:lnTo>
                    <a:pt x="385" y="395"/>
                  </a:lnTo>
                  <a:lnTo>
                    <a:pt x="387" y="398"/>
                  </a:lnTo>
                  <a:lnTo>
                    <a:pt x="389" y="400"/>
                  </a:lnTo>
                  <a:lnTo>
                    <a:pt x="390" y="401"/>
                  </a:lnTo>
                  <a:lnTo>
                    <a:pt x="394" y="404"/>
                  </a:lnTo>
                  <a:lnTo>
                    <a:pt x="396" y="405"/>
                  </a:lnTo>
                  <a:lnTo>
                    <a:pt x="398" y="406"/>
                  </a:lnTo>
                  <a:lnTo>
                    <a:pt x="399" y="407"/>
                  </a:lnTo>
                  <a:lnTo>
                    <a:pt x="399" y="408"/>
                  </a:lnTo>
                  <a:lnTo>
                    <a:pt x="399" y="410"/>
                  </a:lnTo>
                  <a:lnTo>
                    <a:pt x="399" y="411"/>
                  </a:lnTo>
                  <a:lnTo>
                    <a:pt x="399" y="413"/>
                  </a:lnTo>
                  <a:lnTo>
                    <a:pt x="399" y="418"/>
                  </a:lnTo>
                  <a:lnTo>
                    <a:pt x="397" y="429"/>
                  </a:lnTo>
                  <a:lnTo>
                    <a:pt x="397" y="432"/>
                  </a:lnTo>
                  <a:lnTo>
                    <a:pt x="397" y="434"/>
                  </a:lnTo>
                  <a:lnTo>
                    <a:pt x="397" y="437"/>
                  </a:lnTo>
                  <a:lnTo>
                    <a:pt x="398" y="439"/>
                  </a:lnTo>
                  <a:lnTo>
                    <a:pt x="399" y="440"/>
                  </a:lnTo>
                  <a:lnTo>
                    <a:pt x="399" y="443"/>
                  </a:lnTo>
                  <a:lnTo>
                    <a:pt x="401" y="445"/>
                  </a:lnTo>
                  <a:lnTo>
                    <a:pt x="402" y="447"/>
                  </a:lnTo>
                  <a:lnTo>
                    <a:pt x="404" y="449"/>
                  </a:lnTo>
                  <a:lnTo>
                    <a:pt x="407" y="450"/>
                  </a:lnTo>
                  <a:lnTo>
                    <a:pt x="409" y="451"/>
                  </a:lnTo>
                  <a:lnTo>
                    <a:pt x="410" y="452"/>
                  </a:lnTo>
                  <a:lnTo>
                    <a:pt x="412" y="453"/>
                  </a:lnTo>
                  <a:lnTo>
                    <a:pt x="413" y="454"/>
                  </a:lnTo>
                  <a:lnTo>
                    <a:pt x="415" y="455"/>
                  </a:lnTo>
                  <a:lnTo>
                    <a:pt x="416" y="455"/>
                  </a:lnTo>
                  <a:lnTo>
                    <a:pt x="419" y="455"/>
                  </a:lnTo>
                  <a:lnTo>
                    <a:pt x="421" y="455"/>
                  </a:lnTo>
                  <a:lnTo>
                    <a:pt x="428" y="454"/>
                  </a:lnTo>
                  <a:lnTo>
                    <a:pt x="430" y="454"/>
                  </a:lnTo>
                  <a:lnTo>
                    <a:pt x="431" y="454"/>
                  </a:lnTo>
                  <a:lnTo>
                    <a:pt x="433" y="454"/>
                  </a:lnTo>
                  <a:lnTo>
                    <a:pt x="433" y="454"/>
                  </a:lnTo>
                  <a:lnTo>
                    <a:pt x="434" y="455"/>
                  </a:lnTo>
                  <a:lnTo>
                    <a:pt x="435" y="456"/>
                  </a:lnTo>
                  <a:lnTo>
                    <a:pt x="435" y="457"/>
                  </a:lnTo>
                  <a:lnTo>
                    <a:pt x="435" y="459"/>
                  </a:lnTo>
                  <a:lnTo>
                    <a:pt x="434" y="461"/>
                  </a:lnTo>
                  <a:lnTo>
                    <a:pt x="433" y="462"/>
                  </a:lnTo>
                  <a:lnTo>
                    <a:pt x="433" y="463"/>
                  </a:lnTo>
                  <a:lnTo>
                    <a:pt x="432" y="464"/>
                  </a:lnTo>
                  <a:lnTo>
                    <a:pt x="427" y="468"/>
                  </a:lnTo>
                  <a:lnTo>
                    <a:pt x="426" y="469"/>
                  </a:lnTo>
                  <a:lnTo>
                    <a:pt x="424" y="471"/>
                  </a:lnTo>
                  <a:lnTo>
                    <a:pt x="423" y="473"/>
                  </a:lnTo>
                  <a:lnTo>
                    <a:pt x="422" y="474"/>
                  </a:lnTo>
                  <a:lnTo>
                    <a:pt x="422" y="477"/>
                  </a:lnTo>
                  <a:lnTo>
                    <a:pt x="421" y="479"/>
                  </a:lnTo>
                  <a:lnTo>
                    <a:pt x="422" y="481"/>
                  </a:lnTo>
                  <a:lnTo>
                    <a:pt x="422" y="482"/>
                  </a:lnTo>
                  <a:lnTo>
                    <a:pt x="423" y="483"/>
                  </a:lnTo>
                  <a:lnTo>
                    <a:pt x="424" y="484"/>
                  </a:lnTo>
                  <a:lnTo>
                    <a:pt x="425" y="485"/>
                  </a:lnTo>
                  <a:lnTo>
                    <a:pt x="427" y="486"/>
                  </a:lnTo>
                  <a:lnTo>
                    <a:pt x="428" y="487"/>
                  </a:lnTo>
                  <a:lnTo>
                    <a:pt x="434" y="490"/>
                  </a:lnTo>
                  <a:lnTo>
                    <a:pt x="437" y="492"/>
                  </a:lnTo>
                  <a:lnTo>
                    <a:pt x="438" y="493"/>
                  </a:lnTo>
                  <a:lnTo>
                    <a:pt x="439" y="494"/>
                  </a:lnTo>
                  <a:lnTo>
                    <a:pt x="440" y="495"/>
                  </a:lnTo>
                  <a:lnTo>
                    <a:pt x="441" y="496"/>
                  </a:lnTo>
                  <a:lnTo>
                    <a:pt x="441" y="497"/>
                  </a:lnTo>
                  <a:lnTo>
                    <a:pt x="442" y="499"/>
                  </a:lnTo>
                  <a:lnTo>
                    <a:pt x="443" y="505"/>
                  </a:lnTo>
                  <a:lnTo>
                    <a:pt x="444" y="511"/>
                  </a:lnTo>
                  <a:lnTo>
                    <a:pt x="446" y="515"/>
                  </a:lnTo>
                  <a:lnTo>
                    <a:pt x="449" y="521"/>
                  </a:lnTo>
                  <a:lnTo>
                    <a:pt x="451" y="524"/>
                  </a:lnTo>
                  <a:lnTo>
                    <a:pt x="451" y="528"/>
                  </a:lnTo>
                  <a:lnTo>
                    <a:pt x="453" y="535"/>
                  </a:lnTo>
                  <a:lnTo>
                    <a:pt x="454" y="539"/>
                  </a:lnTo>
                  <a:lnTo>
                    <a:pt x="455" y="541"/>
                  </a:lnTo>
                  <a:lnTo>
                    <a:pt x="456" y="543"/>
                  </a:lnTo>
                  <a:lnTo>
                    <a:pt x="457" y="546"/>
                  </a:lnTo>
                  <a:lnTo>
                    <a:pt x="459" y="549"/>
                  </a:lnTo>
                  <a:lnTo>
                    <a:pt x="461" y="552"/>
                  </a:lnTo>
                  <a:lnTo>
                    <a:pt x="463" y="554"/>
                  </a:lnTo>
                  <a:lnTo>
                    <a:pt x="465" y="556"/>
                  </a:lnTo>
                  <a:lnTo>
                    <a:pt x="467" y="559"/>
                  </a:lnTo>
                  <a:lnTo>
                    <a:pt x="468" y="561"/>
                  </a:lnTo>
                  <a:lnTo>
                    <a:pt x="470" y="563"/>
                  </a:lnTo>
                  <a:lnTo>
                    <a:pt x="473" y="564"/>
                  </a:lnTo>
                  <a:lnTo>
                    <a:pt x="475" y="565"/>
                  </a:lnTo>
                  <a:lnTo>
                    <a:pt x="478" y="567"/>
                  </a:lnTo>
                  <a:lnTo>
                    <a:pt x="480" y="569"/>
                  </a:lnTo>
                  <a:lnTo>
                    <a:pt x="484" y="570"/>
                  </a:lnTo>
                  <a:lnTo>
                    <a:pt x="488" y="572"/>
                  </a:lnTo>
                  <a:lnTo>
                    <a:pt x="491" y="573"/>
                  </a:lnTo>
                  <a:lnTo>
                    <a:pt x="494" y="574"/>
                  </a:lnTo>
                  <a:lnTo>
                    <a:pt x="503" y="575"/>
                  </a:lnTo>
                  <a:lnTo>
                    <a:pt x="504" y="576"/>
                  </a:lnTo>
                  <a:lnTo>
                    <a:pt x="506" y="577"/>
                  </a:lnTo>
                  <a:lnTo>
                    <a:pt x="508" y="578"/>
                  </a:lnTo>
                  <a:lnTo>
                    <a:pt x="510" y="579"/>
                  </a:lnTo>
                  <a:lnTo>
                    <a:pt x="511" y="581"/>
                  </a:lnTo>
                  <a:lnTo>
                    <a:pt x="512" y="583"/>
                  </a:lnTo>
                  <a:lnTo>
                    <a:pt x="512" y="585"/>
                  </a:lnTo>
                  <a:lnTo>
                    <a:pt x="513" y="586"/>
                  </a:lnTo>
                  <a:lnTo>
                    <a:pt x="514" y="589"/>
                  </a:lnTo>
                  <a:lnTo>
                    <a:pt x="515" y="592"/>
                  </a:lnTo>
                  <a:lnTo>
                    <a:pt x="517" y="599"/>
                  </a:lnTo>
                  <a:lnTo>
                    <a:pt x="517" y="602"/>
                  </a:lnTo>
                  <a:lnTo>
                    <a:pt x="518" y="604"/>
                  </a:lnTo>
                  <a:lnTo>
                    <a:pt x="520" y="609"/>
                  </a:lnTo>
                  <a:lnTo>
                    <a:pt x="525" y="619"/>
                  </a:lnTo>
                  <a:lnTo>
                    <a:pt x="526" y="622"/>
                  </a:lnTo>
                  <a:lnTo>
                    <a:pt x="527" y="625"/>
                  </a:lnTo>
                  <a:lnTo>
                    <a:pt x="528" y="627"/>
                  </a:lnTo>
                  <a:lnTo>
                    <a:pt x="528" y="629"/>
                  </a:lnTo>
                  <a:lnTo>
                    <a:pt x="529" y="638"/>
                  </a:lnTo>
                  <a:lnTo>
                    <a:pt x="530" y="643"/>
                  </a:lnTo>
                  <a:lnTo>
                    <a:pt x="531" y="647"/>
                  </a:lnTo>
                  <a:lnTo>
                    <a:pt x="533" y="654"/>
                  </a:lnTo>
                  <a:lnTo>
                    <a:pt x="534" y="658"/>
                  </a:lnTo>
                  <a:lnTo>
                    <a:pt x="534" y="661"/>
                  </a:lnTo>
                  <a:lnTo>
                    <a:pt x="534" y="663"/>
                  </a:lnTo>
                  <a:lnTo>
                    <a:pt x="534" y="664"/>
                  </a:lnTo>
                  <a:lnTo>
                    <a:pt x="533" y="664"/>
                  </a:lnTo>
                  <a:lnTo>
                    <a:pt x="533" y="665"/>
                  </a:lnTo>
                  <a:lnTo>
                    <a:pt x="532" y="665"/>
                  </a:lnTo>
                  <a:lnTo>
                    <a:pt x="531" y="664"/>
                  </a:lnTo>
                  <a:lnTo>
                    <a:pt x="529" y="663"/>
                  </a:lnTo>
                  <a:lnTo>
                    <a:pt x="523" y="659"/>
                  </a:lnTo>
                  <a:lnTo>
                    <a:pt x="520" y="658"/>
                  </a:lnTo>
                  <a:lnTo>
                    <a:pt x="517" y="656"/>
                  </a:lnTo>
                  <a:lnTo>
                    <a:pt x="513" y="655"/>
                  </a:lnTo>
                  <a:lnTo>
                    <a:pt x="512" y="655"/>
                  </a:lnTo>
                  <a:lnTo>
                    <a:pt x="509" y="654"/>
                  </a:lnTo>
                  <a:lnTo>
                    <a:pt x="497" y="653"/>
                  </a:lnTo>
                  <a:lnTo>
                    <a:pt x="490" y="651"/>
                  </a:lnTo>
                  <a:lnTo>
                    <a:pt x="486" y="651"/>
                  </a:lnTo>
                  <a:lnTo>
                    <a:pt x="484" y="650"/>
                  </a:lnTo>
                  <a:lnTo>
                    <a:pt x="480" y="650"/>
                  </a:lnTo>
                  <a:lnTo>
                    <a:pt x="478" y="651"/>
                  </a:lnTo>
                  <a:lnTo>
                    <a:pt x="475" y="651"/>
                  </a:lnTo>
                  <a:lnTo>
                    <a:pt x="473" y="652"/>
                  </a:lnTo>
                  <a:lnTo>
                    <a:pt x="471" y="653"/>
                  </a:lnTo>
                  <a:lnTo>
                    <a:pt x="468" y="654"/>
                  </a:lnTo>
                  <a:lnTo>
                    <a:pt x="467" y="654"/>
                  </a:lnTo>
                  <a:lnTo>
                    <a:pt x="466" y="656"/>
                  </a:lnTo>
                  <a:lnTo>
                    <a:pt x="464" y="658"/>
                  </a:lnTo>
                  <a:lnTo>
                    <a:pt x="463" y="660"/>
                  </a:lnTo>
                  <a:lnTo>
                    <a:pt x="462" y="664"/>
                  </a:lnTo>
                  <a:lnTo>
                    <a:pt x="461" y="666"/>
                  </a:lnTo>
                  <a:lnTo>
                    <a:pt x="459" y="674"/>
                  </a:lnTo>
                  <a:lnTo>
                    <a:pt x="456" y="687"/>
                  </a:lnTo>
                  <a:lnTo>
                    <a:pt x="456" y="690"/>
                  </a:lnTo>
                  <a:lnTo>
                    <a:pt x="456" y="699"/>
                  </a:lnTo>
                  <a:lnTo>
                    <a:pt x="455" y="701"/>
                  </a:lnTo>
                  <a:lnTo>
                    <a:pt x="454" y="704"/>
                  </a:lnTo>
                  <a:lnTo>
                    <a:pt x="453" y="706"/>
                  </a:lnTo>
                  <a:lnTo>
                    <a:pt x="452" y="708"/>
                  </a:lnTo>
                  <a:lnTo>
                    <a:pt x="451" y="710"/>
                  </a:lnTo>
                  <a:lnTo>
                    <a:pt x="447" y="715"/>
                  </a:lnTo>
                  <a:lnTo>
                    <a:pt x="444" y="719"/>
                  </a:lnTo>
                  <a:lnTo>
                    <a:pt x="441" y="723"/>
                  </a:lnTo>
                  <a:lnTo>
                    <a:pt x="438" y="726"/>
                  </a:lnTo>
                  <a:lnTo>
                    <a:pt x="435" y="729"/>
                  </a:lnTo>
                  <a:lnTo>
                    <a:pt x="433" y="731"/>
                  </a:lnTo>
                  <a:lnTo>
                    <a:pt x="430" y="733"/>
                  </a:lnTo>
                  <a:lnTo>
                    <a:pt x="422" y="737"/>
                  </a:lnTo>
                  <a:lnTo>
                    <a:pt x="419" y="741"/>
                  </a:lnTo>
                  <a:lnTo>
                    <a:pt x="414" y="745"/>
                  </a:lnTo>
                  <a:lnTo>
                    <a:pt x="410" y="747"/>
                  </a:lnTo>
                  <a:lnTo>
                    <a:pt x="408" y="750"/>
                  </a:lnTo>
                  <a:lnTo>
                    <a:pt x="405" y="753"/>
                  </a:lnTo>
                  <a:lnTo>
                    <a:pt x="403" y="756"/>
                  </a:lnTo>
                  <a:lnTo>
                    <a:pt x="401" y="758"/>
                  </a:lnTo>
                  <a:lnTo>
                    <a:pt x="399" y="762"/>
                  </a:lnTo>
                  <a:lnTo>
                    <a:pt x="398" y="764"/>
                  </a:lnTo>
                  <a:lnTo>
                    <a:pt x="396" y="768"/>
                  </a:lnTo>
                  <a:lnTo>
                    <a:pt x="395" y="770"/>
                  </a:lnTo>
                  <a:lnTo>
                    <a:pt x="393" y="773"/>
                  </a:lnTo>
                  <a:lnTo>
                    <a:pt x="393" y="775"/>
                  </a:lnTo>
                  <a:lnTo>
                    <a:pt x="393" y="776"/>
                  </a:lnTo>
                  <a:lnTo>
                    <a:pt x="392" y="776"/>
                  </a:lnTo>
                  <a:lnTo>
                    <a:pt x="391" y="775"/>
                  </a:lnTo>
                  <a:lnTo>
                    <a:pt x="390" y="775"/>
                  </a:lnTo>
                  <a:lnTo>
                    <a:pt x="388" y="774"/>
                  </a:lnTo>
                  <a:lnTo>
                    <a:pt x="387" y="772"/>
                  </a:lnTo>
                  <a:lnTo>
                    <a:pt x="386" y="771"/>
                  </a:lnTo>
                  <a:lnTo>
                    <a:pt x="385" y="769"/>
                  </a:lnTo>
                  <a:lnTo>
                    <a:pt x="383" y="768"/>
                  </a:lnTo>
                  <a:lnTo>
                    <a:pt x="381" y="766"/>
                  </a:lnTo>
                  <a:lnTo>
                    <a:pt x="380" y="764"/>
                  </a:lnTo>
                  <a:lnTo>
                    <a:pt x="377" y="760"/>
                  </a:lnTo>
                  <a:lnTo>
                    <a:pt x="376" y="756"/>
                  </a:lnTo>
                  <a:lnTo>
                    <a:pt x="374" y="751"/>
                  </a:lnTo>
                  <a:lnTo>
                    <a:pt x="373" y="746"/>
                  </a:lnTo>
                  <a:lnTo>
                    <a:pt x="372" y="743"/>
                  </a:lnTo>
                  <a:lnTo>
                    <a:pt x="372" y="739"/>
                  </a:lnTo>
                  <a:lnTo>
                    <a:pt x="371" y="735"/>
                  </a:lnTo>
                  <a:lnTo>
                    <a:pt x="371" y="730"/>
                  </a:lnTo>
                  <a:lnTo>
                    <a:pt x="371" y="722"/>
                  </a:lnTo>
                  <a:lnTo>
                    <a:pt x="372" y="717"/>
                  </a:lnTo>
                  <a:lnTo>
                    <a:pt x="373" y="712"/>
                  </a:lnTo>
                  <a:lnTo>
                    <a:pt x="373" y="711"/>
                  </a:lnTo>
                  <a:lnTo>
                    <a:pt x="372" y="711"/>
                  </a:lnTo>
                  <a:lnTo>
                    <a:pt x="371" y="711"/>
                  </a:lnTo>
                  <a:lnTo>
                    <a:pt x="370" y="711"/>
                  </a:lnTo>
                  <a:lnTo>
                    <a:pt x="366" y="714"/>
                  </a:lnTo>
                  <a:lnTo>
                    <a:pt x="365" y="715"/>
                  </a:lnTo>
                  <a:lnTo>
                    <a:pt x="365" y="715"/>
                  </a:lnTo>
                  <a:lnTo>
                    <a:pt x="364" y="715"/>
                  </a:lnTo>
                  <a:lnTo>
                    <a:pt x="362" y="715"/>
                  </a:lnTo>
                  <a:lnTo>
                    <a:pt x="361" y="715"/>
                  </a:lnTo>
                  <a:lnTo>
                    <a:pt x="360" y="714"/>
                  </a:lnTo>
                  <a:lnTo>
                    <a:pt x="359" y="713"/>
                  </a:lnTo>
                  <a:lnTo>
                    <a:pt x="357" y="711"/>
                  </a:lnTo>
                  <a:lnTo>
                    <a:pt x="353" y="704"/>
                  </a:lnTo>
                  <a:lnTo>
                    <a:pt x="349" y="700"/>
                  </a:lnTo>
                  <a:lnTo>
                    <a:pt x="347" y="698"/>
                  </a:lnTo>
                  <a:lnTo>
                    <a:pt x="342" y="693"/>
                  </a:lnTo>
                  <a:lnTo>
                    <a:pt x="340" y="690"/>
                  </a:lnTo>
                  <a:lnTo>
                    <a:pt x="328" y="677"/>
                  </a:lnTo>
                  <a:lnTo>
                    <a:pt x="321" y="668"/>
                  </a:lnTo>
                  <a:lnTo>
                    <a:pt x="318" y="664"/>
                  </a:lnTo>
                  <a:lnTo>
                    <a:pt x="315" y="661"/>
                  </a:lnTo>
                  <a:lnTo>
                    <a:pt x="311" y="658"/>
                  </a:lnTo>
                  <a:lnTo>
                    <a:pt x="310" y="657"/>
                  </a:lnTo>
                  <a:lnTo>
                    <a:pt x="309" y="656"/>
                  </a:lnTo>
                  <a:lnTo>
                    <a:pt x="306" y="654"/>
                  </a:lnTo>
                  <a:lnTo>
                    <a:pt x="296" y="650"/>
                  </a:lnTo>
                  <a:lnTo>
                    <a:pt x="295" y="649"/>
                  </a:lnTo>
                  <a:lnTo>
                    <a:pt x="294" y="648"/>
                  </a:lnTo>
                  <a:lnTo>
                    <a:pt x="292" y="646"/>
                  </a:lnTo>
                  <a:lnTo>
                    <a:pt x="291" y="644"/>
                  </a:lnTo>
                  <a:lnTo>
                    <a:pt x="290" y="643"/>
                  </a:lnTo>
                  <a:lnTo>
                    <a:pt x="289" y="641"/>
                  </a:lnTo>
                  <a:lnTo>
                    <a:pt x="287" y="633"/>
                  </a:lnTo>
                  <a:lnTo>
                    <a:pt x="286" y="632"/>
                  </a:lnTo>
                  <a:lnTo>
                    <a:pt x="286" y="628"/>
                  </a:lnTo>
                  <a:lnTo>
                    <a:pt x="286" y="624"/>
                  </a:lnTo>
                  <a:lnTo>
                    <a:pt x="285" y="622"/>
                  </a:lnTo>
                  <a:lnTo>
                    <a:pt x="285" y="620"/>
                  </a:lnTo>
                  <a:lnTo>
                    <a:pt x="285" y="620"/>
                  </a:lnTo>
                  <a:lnTo>
                    <a:pt x="284" y="620"/>
                  </a:lnTo>
                  <a:lnTo>
                    <a:pt x="283" y="619"/>
                  </a:lnTo>
                  <a:lnTo>
                    <a:pt x="281" y="619"/>
                  </a:lnTo>
                  <a:lnTo>
                    <a:pt x="279" y="620"/>
                  </a:lnTo>
                  <a:lnTo>
                    <a:pt x="277" y="620"/>
                  </a:lnTo>
                  <a:lnTo>
                    <a:pt x="275" y="620"/>
                  </a:lnTo>
                  <a:lnTo>
                    <a:pt x="267" y="624"/>
                  </a:lnTo>
                  <a:lnTo>
                    <a:pt x="261" y="626"/>
                  </a:lnTo>
                  <a:lnTo>
                    <a:pt x="254" y="628"/>
                  </a:lnTo>
                  <a:lnTo>
                    <a:pt x="242" y="631"/>
                  </a:lnTo>
                  <a:lnTo>
                    <a:pt x="234" y="633"/>
                  </a:lnTo>
                  <a:lnTo>
                    <a:pt x="230" y="634"/>
                  </a:lnTo>
                  <a:lnTo>
                    <a:pt x="228" y="634"/>
                  </a:lnTo>
                  <a:lnTo>
                    <a:pt x="227" y="634"/>
                  </a:lnTo>
                  <a:lnTo>
                    <a:pt x="225" y="634"/>
                  </a:lnTo>
                  <a:lnTo>
                    <a:pt x="223" y="634"/>
                  </a:lnTo>
                  <a:lnTo>
                    <a:pt x="221" y="633"/>
                  </a:lnTo>
                  <a:lnTo>
                    <a:pt x="219" y="633"/>
                  </a:lnTo>
                  <a:lnTo>
                    <a:pt x="218" y="632"/>
                  </a:lnTo>
                  <a:lnTo>
                    <a:pt x="217" y="632"/>
                  </a:lnTo>
                  <a:lnTo>
                    <a:pt x="216" y="631"/>
                  </a:lnTo>
                  <a:lnTo>
                    <a:pt x="215" y="629"/>
                  </a:lnTo>
                  <a:lnTo>
                    <a:pt x="212" y="623"/>
                  </a:lnTo>
                  <a:lnTo>
                    <a:pt x="206" y="614"/>
                  </a:lnTo>
                  <a:lnTo>
                    <a:pt x="205" y="611"/>
                  </a:lnTo>
                  <a:lnTo>
                    <a:pt x="205" y="609"/>
                  </a:lnTo>
                  <a:lnTo>
                    <a:pt x="205" y="608"/>
                  </a:lnTo>
                  <a:lnTo>
                    <a:pt x="204" y="601"/>
                  </a:lnTo>
                  <a:lnTo>
                    <a:pt x="203" y="596"/>
                  </a:lnTo>
                  <a:lnTo>
                    <a:pt x="202" y="593"/>
                  </a:lnTo>
                  <a:lnTo>
                    <a:pt x="202" y="589"/>
                  </a:lnTo>
                  <a:lnTo>
                    <a:pt x="202" y="587"/>
                  </a:lnTo>
                  <a:lnTo>
                    <a:pt x="203" y="585"/>
                  </a:lnTo>
                  <a:lnTo>
                    <a:pt x="203" y="584"/>
                  </a:lnTo>
                  <a:lnTo>
                    <a:pt x="203" y="582"/>
                  </a:lnTo>
                  <a:lnTo>
                    <a:pt x="202" y="581"/>
                  </a:lnTo>
                  <a:lnTo>
                    <a:pt x="201" y="579"/>
                  </a:lnTo>
                  <a:lnTo>
                    <a:pt x="201" y="578"/>
                  </a:lnTo>
                  <a:lnTo>
                    <a:pt x="199" y="577"/>
                  </a:lnTo>
                  <a:lnTo>
                    <a:pt x="196" y="575"/>
                  </a:lnTo>
                  <a:lnTo>
                    <a:pt x="194" y="574"/>
                  </a:lnTo>
                  <a:lnTo>
                    <a:pt x="187" y="568"/>
                  </a:lnTo>
                  <a:lnTo>
                    <a:pt x="183" y="563"/>
                  </a:lnTo>
                  <a:lnTo>
                    <a:pt x="176" y="555"/>
                  </a:lnTo>
                  <a:lnTo>
                    <a:pt x="174" y="554"/>
                  </a:lnTo>
                  <a:lnTo>
                    <a:pt x="173" y="553"/>
                  </a:lnTo>
                  <a:lnTo>
                    <a:pt x="170" y="552"/>
                  </a:lnTo>
                  <a:lnTo>
                    <a:pt x="164" y="548"/>
                  </a:lnTo>
                  <a:lnTo>
                    <a:pt x="161" y="546"/>
                  </a:lnTo>
                  <a:lnTo>
                    <a:pt x="157" y="543"/>
                  </a:lnTo>
                  <a:lnTo>
                    <a:pt x="151" y="540"/>
                  </a:lnTo>
                  <a:lnTo>
                    <a:pt x="149" y="539"/>
                  </a:lnTo>
                  <a:lnTo>
                    <a:pt x="148" y="538"/>
                  </a:lnTo>
                  <a:lnTo>
                    <a:pt x="146" y="537"/>
                  </a:lnTo>
                  <a:lnTo>
                    <a:pt x="140" y="535"/>
                  </a:lnTo>
                  <a:lnTo>
                    <a:pt x="138" y="535"/>
                  </a:lnTo>
                  <a:lnTo>
                    <a:pt x="138" y="534"/>
                  </a:lnTo>
                  <a:lnTo>
                    <a:pt x="137" y="533"/>
                  </a:lnTo>
                  <a:lnTo>
                    <a:pt x="137" y="532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7" y="527"/>
                  </a:lnTo>
                  <a:lnTo>
                    <a:pt x="137" y="525"/>
                  </a:lnTo>
                  <a:lnTo>
                    <a:pt x="137" y="520"/>
                  </a:lnTo>
                  <a:lnTo>
                    <a:pt x="137" y="519"/>
                  </a:lnTo>
                  <a:lnTo>
                    <a:pt x="137" y="518"/>
                  </a:lnTo>
                  <a:lnTo>
                    <a:pt x="136" y="517"/>
                  </a:lnTo>
                  <a:lnTo>
                    <a:pt x="135" y="515"/>
                  </a:lnTo>
                  <a:lnTo>
                    <a:pt x="133" y="514"/>
                  </a:lnTo>
                  <a:lnTo>
                    <a:pt x="131" y="513"/>
                  </a:lnTo>
                  <a:lnTo>
                    <a:pt x="124" y="509"/>
                  </a:lnTo>
                  <a:lnTo>
                    <a:pt x="120" y="507"/>
                  </a:lnTo>
                  <a:lnTo>
                    <a:pt x="115" y="504"/>
                  </a:lnTo>
                  <a:lnTo>
                    <a:pt x="108" y="499"/>
                  </a:lnTo>
                  <a:lnTo>
                    <a:pt x="103" y="496"/>
                  </a:lnTo>
                  <a:lnTo>
                    <a:pt x="99" y="494"/>
                  </a:lnTo>
                  <a:lnTo>
                    <a:pt x="89" y="488"/>
                  </a:lnTo>
                  <a:lnTo>
                    <a:pt x="87" y="487"/>
                  </a:lnTo>
                  <a:lnTo>
                    <a:pt x="85" y="486"/>
                  </a:lnTo>
                  <a:lnTo>
                    <a:pt x="84" y="485"/>
                  </a:lnTo>
                  <a:lnTo>
                    <a:pt x="82" y="484"/>
                  </a:lnTo>
                  <a:lnTo>
                    <a:pt x="80" y="481"/>
                  </a:lnTo>
                  <a:lnTo>
                    <a:pt x="75" y="475"/>
                  </a:lnTo>
                  <a:lnTo>
                    <a:pt x="69" y="467"/>
                  </a:lnTo>
                  <a:lnTo>
                    <a:pt x="69" y="466"/>
                  </a:lnTo>
                  <a:lnTo>
                    <a:pt x="68" y="465"/>
                  </a:lnTo>
                  <a:lnTo>
                    <a:pt x="66" y="464"/>
                  </a:lnTo>
                  <a:lnTo>
                    <a:pt x="62" y="462"/>
                  </a:lnTo>
                  <a:lnTo>
                    <a:pt x="59" y="461"/>
                  </a:lnTo>
                  <a:lnTo>
                    <a:pt x="58" y="460"/>
                  </a:lnTo>
                  <a:lnTo>
                    <a:pt x="54" y="456"/>
                  </a:lnTo>
                  <a:lnTo>
                    <a:pt x="52" y="454"/>
                  </a:lnTo>
                  <a:lnTo>
                    <a:pt x="50" y="453"/>
                  </a:lnTo>
                  <a:lnTo>
                    <a:pt x="46" y="450"/>
                  </a:lnTo>
                  <a:lnTo>
                    <a:pt x="44" y="449"/>
                  </a:lnTo>
                  <a:lnTo>
                    <a:pt x="43" y="448"/>
                  </a:lnTo>
                  <a:lnTo>
                    <a:pt x="41" y="447"/>
                  </a:lnTo>
                  <a:lnTo>
                    <a:pt x="37" y="441"/>
                  </a:lnTo>
                  <a:lnTo>
                    <a:pt x="35" y="439"/>
                  </a:lnTo>
                  <a:lnTo>
                    <a:pt x="34" y="438"/>
                  </a:lnTo>
                  <a:lnTo>
                    <a:pt x="32" y="436"/>
                  </a:lnTo>
                  <a:lnTo>
                    <a:pt x="29" y="435"/>
                  </a:lnTo>
                  <a:lnTo>
                    <a:pt x="26" y="433"/>
                  </a:lnTo>
                  <a:lnTo>
                    <a:pt x="17" y="428"/>
                  </a:lnTo>
                  <a:lnTo>
                    <a:pt x="15" y="427"/>
                  </a:lnTo>
                  <a:lnTo>
                    <a:pt x="12" y="425"/>
                  </a:lnTo>
                  <a:lnTo>
                    <a:pt x="10" y="422"/>
                  </a:lnTo>
                  <a:lnTo>
                    <a:pt x="8" y="420"/>
                  </a:lnTo>
                  <a:lnTo>
                    <a:pt x="6" y="418"/>
                  </a:lnTo>
                  <a:lnTo>
                    <a:pt x="5" y="416"/>
                  </a:lnTo>
                  <a:lnTo>
                    <a:pt x="4" y="415"/>
                  </a:lnTo>
                  <a:lnTo>
                    <a:pt x="3" y="413"/>
                  </a:lnTo>
                  <a:lnTo>
                    <a:pt x="2" y="411"/>
                  </a:lnTo>
                  <a:lnTo>
                    <a:pt x="1" y="408"/>
                  </a:lnTo>
                  <a:lnTo>
                    <a:pt x="1" y="405"/>
                  </a:lnTo>
                  <a:lnTo>
                    <a:pt x="0" y="403"/>
                  </a:lnTo>
                  <a:lnTo>
                    <a:pt x="0" y="401"/>
                  </a:lnTo>
                  <a:lnTo>
                    <a:pt x="0" y="398"/>
                  </a:lnTo>
                  <a:lnTo>
                    <a:pt x="0" y="396"/>
                  </a:lnTo>
                  <a:lnTo>
                    <a:pt x="0" y="394"/>
                  </a:lnTo>
                  <a:lnTo>
                    <a:pt x="1" y="391"/>
                  </a:lnTo>
                  <a:lnTo>
                    <a:pt x="1" y="390"/>
                  </a:lnTo>
                  <a:lnTo>
                    <a:pt x="1" y="389"/>
                  </a:lnTo>
                  <a:lnTo>
                    <a:pt x="2" y="389"/>
                  </a:lnTo>
                  <a:lnTo>
                    <a:pt x="10" y="386"/>
                  </a:lnTo>
                  <a:lnTo>
                    <a:pt x="12" y="385"/>
                  </a:lnTo>
                  <a:lnTo>
                    <a:pt x="15" y="383"/>
                  </a:lnTo>
                  <a:lnTo>
                    <a:pt x="19" y="382"/>
                  </a:lnTo>
                  <a:lnTo>
                    <a:pt x="22" y="381"/>
                  </a:lnTo>
                  <a:lnTo>
                    <a:pt x="24" y="379"/>
                  </a:lnTo>
                  <a:lnTo>
                    <a:pt x="26" y="377"/>
                  </a:lnTo>
                  <a:lnTo>
                    <a:pt x="31" y="373"/>
                  </a:lnTo>
                  <a:lnTo>
                    <a:pt x="34" y="371"/>
                  </a:lnTo>
                  <a:lnTo>
                    <a:pt x="36" y="369"/>
                  </a:lnTo>
                  <a:lnTo>
                    <a:pt x="39" y="364"/>
                  </a:lnTo>
                  <a:lnTo>
                    <a:pt x="41" y="362"/>
                  </a:lnTo>
                  <a:lnTo>
                    <a:pt x="42" y="361"/>
                  </a:lnTo>
                  <a:lnTo>
                    <a:pt x="44" y="360"/>
                  </a:lnTo>
                  <a:lnTo>
                    <a:pt x="48" y="359"/>
                  </a:lnTo>
                  <a:lnTo>
                    <a:pt x="49" y="357"/>
                  </a:lnTo>
                  <a:lnTo>
                    <a:pt x="50" y="357"/>
                  </a:lnTo>
                  <a:lnTo>
                    <a:pt x="50" y="356"/>
                  </a:lnTo>
                  <a:lnTo>
                    <a:pt x="51" y="355"/>
                  </a:lnTo>
                  <a:lnTo>
                    <a:pt x="51" y="353"/>
                  </a:lnTo>
                  <a:lnTo>
                    <a:pt x="51" y="350"/>
                  </a:lnTo>
                  <a:lnTo>
                    <a:pt x="51" y="348"/>
                  </a:lnTo>
                  <a:lnTo>
                    <a:pt x="51" y="348"/>
                  </a:lnTo>
                  <a:lnTo>
                    <a:pt x="50" y="345"/>
                  </a:lnTo>
                  <a:lnTo>
                    <a:pt x="49" y="342"/>
                  </a:lnTo>
                  <a:lnTo>
                    <a:pt x="45" y="331"/>
                  </a:lnTo>
                  <a:lnTo>
                    <a:pt x="44" y="329"/>
                  </a:lnTo>
                  <a:lnTo>
                    <a:pt x="41" y="326"/>
                  </a:lnTo>
                  <a:lnTo>
                    <a:pt x="39" y="325"/>
                  </a:lnTo>
                  <a:lnTo>
                    <a:pt x="35" y="319"/>
                  </a:lnTo>
                  <a:lnTo>
                    <a:pt x="33" y="318"/>
                  </a:lnTo>
                  <a:lnTo>
                    <a:pt x="32" y="316"/>
                  </a:lnTo>
                  <a:lnTo>
                    <a:pt x="30" y="314"/>
                  </a:lnTo>
                  <a:lnTo>
                    <a:pt x="29" y="313"/>
                  </a:lnTo>
                  <a:lnTo>
                    <a:pt x="28" y="311"/>
                  </a:lnTo>
                  <a:lnTo>
                    <a:pt x="27" y="308"/>
                  </a:lnTo>
                  <a:lnTo>
                    <a:pt x="27" y="306"/>
                  </a:lnTo>
                  <a:lnTo>
                    <a:pt x="26" y="303"/>
                  </a:lnTo>
                  <a:lnTo>
                    <a:pt x="26" y="302"/>
                  </a:lnTo>
                  <a:lnTo>
                    <a:pt x="26" y="299"/>
                  </a:lnTo>
                  <a:lnTo>
                    <a:pt x="27" y="294"/>
                  </a:lnTo>
                  <a:lnTo>
                    <a:pt x="28" y="287"/>
                  </a:lnTo>
                  <a:lnTo>
                    <a:pt x="29" y="283"/>
                  </a:lnTo>
                  <a:lnTo>
                    <a:pt x="30" y="268"/>
                  </a:lnTo>
                  <a:lnTo>
                    <a:pt x="30" y="265"/>
                  </a:lnTo>
                  <a:lnTo>
                    <a:pt x="30" y="262"/>
                  </a:lnTo>
                  <a:lnTo>
                    <a:pt x="29" y="259"/>
                  </a:lnTo>
                  <a:lnTo>
                    <a:pt x="29" y="258"/>
                  </a:lnTo>
                  <a:lnTo>
                    <a:pt x="28" y="258"/>
                  </a:lnTo>
                  <a:lnTo>
                    <a:pt x="28" y="257"/>
                  </a:lnTo>
                  <a:lnTo>
                    <a:pt x="26" y="255"/>
                  </a:lnTo>
                  <a:lnTo>
                    <a:pt x="25" y="254"/>
                  </a:lnTo>
                  <a:lnTo>
                    <a:pt x="24" y="254"/>
                  </a:lnTo>
                  <a:lnTo>
                    <a:pt x="23" y="254"/>
                  </a:lnTo>
                  <a:lnTo>
                    <a:pt x="22" y="254"/>
                  </a:lnTo>
                  <a:lnTo>
                    <a:pt x="20" y="249"/>
                  </a:lnTo>
                  <a:lnTo>
                    <a:pt x="16" y="243"/>
                  </a:lnTo>
                  <a:lnTo>
                    <a:pt x="16" y="242"/>
                  </a:lnTo>
                  <a:lnTo>
                    <a:pt x="16" y="241"/>
                  </a:lnTo>
                  <a:lnTo>
                    <a:pt x="16" y="240"/>
                  </a:lnTo>
                  <a:lnTo>
                    <a:pt x="16" y="239"/>
                  </a:lnTo>
                  <a:lnTo>
                    <a:pt x="17" y="238"/>
                  </a:lnTo>
                  <a:lnTo>
                    <a:pt x="19" y="238"/>
                  </a:lnTo>
                  <a:lnTo>
                    <a:pt x="22" y="237"/>
                  </a:lnTo>
                  <a:lnTo>
                    <a:pt x="23" y="237"/>
                  </a:lnTo>
                  <a:lnTo>
                    <a:pt x="24" y="236"/>
                  </a:lnTo>
                  <a:lnTo>
                    <a:pt x="24" y="236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5" y="231"/>
                  </a:lnTo>
                  <a:lnTo>
                    <a:pt x="26" y="228"/>
                  </a:lnTo>
                  <a:lnTo>
                    <a:pt x="26" y="227"/>
                  </a:lnTo>
                  <a:lnTo>
                    <a:pt x="27" y="226"/>
                  </a:lnTo>
                  <a:lnTo>
                    <a:pt x="27" y="225"/>
                  </a:lnTo>
                  <a:lnTo>
                    <a:pt x="28" y="224"/>
                  </a:lnTo>
                  <a:lnTo>
                    <a:pt x="29" y="224"/>
                  </a:lnTo>
                  <a:lnTo>
                    <a:pt x="30" y="224"/>
                  </a:lnTo>
                  <a:lnTo>
                    <a:pt x="33" y="224"/>
                  </a:lnTo>
                  <a:lnTo>
                    <a:pt x="35" y="223"/>
                  </a:lnTo>
                  <a:lnTo>
                    <a:pt x="36" y="222"/>
                  </a:lnTo>
                  <a:lnTo>
                    <a:pt x="38" y="221"/>
                  </a:lnTo>
                  <a:lnTo>
                    <a:pt x="40" y="220"/>
                  </a:lnTo>
                  <a:lnTo>
                    <a:pt x="41" y="219"/>
                  </a:lnTo>
                  <a:lnTo>
                    <a:pt x="44" y="216"/>
                  </a:lnTo>
                  <a:lnTo>
                    <a:pt x="45" y="215"/>
                  </a:lnTo>
                  <a:lnTo>
                    <a:pt x="46" y="213"/>
                  </a:lnTo>
                  <a:lnTo>
                    <a:pt x="46" y="212"/>
                  </a:lnTo>
                  <a:lnTo>
                    <a:pt x="46" y="209"/>
                  </a:lnTo>
                  <a:lnTo>
                    <a:pt x="47" y="206"/>
                  </a:lnTo>
                  <a:lnTo>
                    <a:pt x="47" y="202"/>
                  </a:lnTo>
                  <a:lnTo>
                    <a:pt x="47" y="201"/>
                  </a:lnTo>
                  <a:lnTo>
                    <a:pt x="47" y="200"/>
                  </a:lnTo>
                  <a:lnTo>
                    <a:pt x="47" y="199"/>
                  </a:lnTo>
                  <a:lnTo>
                    <a:pt x="47" y="198"/>
                  </a:lnTo>
                  <a:lnTo>
                    <a:pt x="47" y="197"/>
                  </a:lnTo>
                  <a:lnTo>
                    <a:pt x="48" y="195"/>
                  </a:lnTo>
                  <a:lnTo>
                    <a:pt x="49" y="191"/>
                  </a:lnTo>
                  <a:lnTo>
                    <a:pt x="50" y="189"/>
                  </a:lnTo>
                  <a:lnTo>
                    <a:pt x="52" y="187"/>
                  </a:lnTo>
                  <a:lnTo>
                    <a:pt x="54" y="184"/>
                  </a:lnTo>
                  <a:lnTo>
                    <a:pt x="59" y="176"/>
                  </a:lnTo>
                  <a:lnTo>
                    <a:pt x="64" y="170"/>
                  </a:lnTo>
                  <a:lnTo>
                    <a:pt x="68" y="165"/>
                  </a:lnTo>
                  <a:lnTo>
                    <a:pt x="69" y="163"/>
                  </a:lnTo>
                  <a:lnTo>
                    <a:pt x="69" y="162"/>
                  </a:lnTo>
                  <a:lnTo>
                    <a:pt x="69" y="160"/>
                  </a:lnTo>
                  <a:lnTo>
                    <a:pt x="70" y="158"/>
                  </a:lnTo>
                  <a:lnTo>
                    <a:pt x="70" y="156"/>
                  </a:lnTo>
                  <a:lnTo>
                    <a:pt x="70" y="156"/>
                  </a:lnTo>
                  <a:lnTo>
                    <a:pt x="70" y="154"/>
                  </a:lnTo>
                  <a:lnTo>
                    <a:pt x="70" y="152"/>
                  </a:lnTo>
                  <a:lnTo>
                    <a:pt x="69" y="149"/>
                  </a:lnTo>
                  <a:lnTo>
                    <a:pt x="68" y="142"/>
                  </a:lnTo>
                  <a:lnTo>
                    <a:pt x="67" y="137"/>
                  </a:lnTo>
                  <a:lnTo>
                    <a:pt x="66" y="131"/>
                  </a:lnTo>
                  <a:lnTo>
                    <a:pt x="66" y="125"/>
                  </a:lnTo>
                  <a:lnTo>
                    <a:pt x="65" y="122"/>
                  </a:lnTo>
                  <a:lnTo>
                    <a:pt x="66" y="120"/>
                  </a:lnTo>
                  <a:lnTo>
                    <a:pt x="66" y="117"/>
                  </a:lnTo>
                  <a:lnTo>
                    <a:pt x="66" y="116"/>
                  </a:lnTo>
                  <a:lnTo>
                    <a:pt x="66" y="114"/>
                  </a:lnTo>
                  <a:lnTo>
                    <a:pt x="67" y="112"/>
                  </a:lnTo>
                  <a:lnTo>
                    <a:pt x="68" y="110"/>
                  </a:lnTo>
                  <a:lnTo>
                    <a:pt x="69" y="109"/>
                  </a:lnTo>
                  <a:lnTo>
                    <a:pt x="69" y="108"/>
                  </a:lnTo>
                  <a:lnTo>
                    <a:pt x="70" y="107"/>
                  </a:lnTo>
                  <a:lnTo>
                    <a:pt x="71" y="106"/>
                  </a:lnTo>
                  <a:lnTo>
                    <a:pt x="72" y="105"/>
                  </a:lnTo>
                  <a:lnTo>
                    <a:pt x="74" y="105"/>
                  </a:lnTo>
                  <a:lnTo>
                    <a:pt x="76" y="105"/>
                  </a:lnTo>
                  <a:lnTo>
                    <a:pt x="78" y="104"/>
                  </a:lnTo>
                  <a:lnTo>
                    <a:pt x="80" y="104"/>
                  </a:lnTo>
                  <a:lnTo>
                    <a:pt x="81" y="105"/>
                  </a:lnTo>
                  <a:lnTo>
                    <a:pt x="84" y="105"/>
                  </a:lnTo>
                  <a:lnTo>
                    <a:pt x="87" y="107"/>
                  </a:lnTo>
                  <a:lnTo>
                    <a:pt x="95" y="110"/>
                  </a:lnTo>
                  <a:lnTo>
                    <a:pt x="103" y="111"/>
                  </a:lnTo>
                  <a:lnTo>
                    <a:pt x="105" y="112"/>
                  </a:lnTo>
                  <a:lnTo>
                    <a:pt x="108" y="113"/>
                  </a:lnTo>
                  <a:lnTo>
                    <a:pt x="109" y="113"/>
                  </a:lnTo>
                  <a:lnTo>
                    <a:pt x="110" y="112"/>
                  </a:lnTo>
                  <a:lnTo>
                    <a:pt x="111" y="112"/>
                  </a:lnTo>
                  <a:lnTo>
                    <a:pt x="112" y="112"/>
                  </a:lnTo>
                  <a:lnTo>
                    <a:pt x="112" y="111"/>
                  </a:lnTo>
                  <a:lnTo>
                    <a:pt x="113" y="111"/>
                  </a:lnTo>
                  <a:lnTo>
                    <a:pt x="113" y="110"/>
                  </a:lnTo>
                  <a:lnTo>
                    <a:pt x="113" y="109"/>
                  </a:lnTo>
                  <a:lnTo>
                    <a:pt x="113" y="108"/>
                  </a:lnTo>
                  <a:lnTo>
                    <a:pt x="112" y="106"/>
                  </a:lnTo>
                  <a:lnTo>
                    <a:pt x="111" y="103"/>
                  </a:lnTo>
                  <a:lnTo>
                    <a:pt x="107" y="98"/>
                  </a:lnTo>
                  <a:lnTo>
                    <a:pt x="106" y="95"/>
                  </a:lnTo>
                  <a:lnTo>
                    <a:pt x="103" y="91"/>
                  </a:lnTo>
                  <a:lnTo>
                    <a:pt x="103" y="88"/>
                  </a:lnTo>
                  <a:lnTo>
                    <a:pt x="101" y="83"/>
                  </a:lnTo>
                  <a:lnTo>
                    <a:pt x="100" y="78"/>
                  </a:lnTo>
                  <a:lnTo>
                    <a:pt x="99" y="76"/>
                  </a:lnTo>
                  <a:lnTo>
                    <a:pt x="98" y="72"/>
                  </a:lnTo>
                  <a:lnTo>
                    <a:pt x="97" y="67"/>
                  </a:lnTo>
                  <a:lnTo>
                    <a:pt x="97" y="64"/>
                  </a:lnTo>
                  <a:lnTo>
                    <a:pt x="96" y="55"/>
                  </a:lnTo>
                  <a:lnTo>
                    <a:pt x="95" y="43"/>
                  </a:lnTo>
                  <a:lnTo>
                    <a:pt x="95" y="39"/>
                  </a:lnTo>
                  <a:lnTo>
                    <a:pt x="95" y="37"/>
                  </a:lnTo>
                  <a:lnTo>
                    <a:pt x="95" y="35"/>
                  </a:lnTo>
                  <a:lnTo>
                    <a:pt x="96" y="34"/>
                  </a:lnTo>
                  <a:lnTo>
                    <a:pt x="96" y="33"/>
                  </a:lnTo>
                  <a:lnTo>
                    <a:pt x="97" y="32"/>
                  </a:lnTo>
                  <a:lnTo>
                    <a:pt x="98" y="31"/>
                  </a:lnTo>
                  <a:lnTo>
                    <a:pt x="101" y="30"/>
                  </a:lnTo>
                  <a:lnTo>
                    <a:pt x="103" y="28"/>
                  </a:lnTo>
                  <a:lnTo>
                    <a:pt x="107" y="26"/>
                  </a:lnTo>
                  <a:lnTo>
                    <a:pt x="110" y="26"/>
                  </a:lnTo>
                  <a:lnTo>
                    <a:pt x="114" y="24"/>
                  </a:lnTo>
                  <a:lnTo>
                    <a:pt x="117" y="23"/>
                  </a:lnTo>
                  <a:lnTo>
                    <a:pt x="119" y="22"/>
                  </a:lnTo>
                  <a:lnTo>
                    <a:pt x="120" y="21"/>
                  </a:lnTo>
                  <a:lnTo>
                    <a:pt x="121" y="21"/>
                  </a:lnTo>
                  <a:lnTo>
                    <a:pt x="123" y="20"/>
                  </a:lnTo>
                  <a:lnTo>
                    <a:pt x="125" y="17"/>
                  </a:lnTo>
                  <a:lnTo>
                    <a:pt x="127" y="12"/>
                  </a:lnTo>
                  <a:lnTo>
                    <a:pt x="130" y="7"/>
                  </a:lnTo>
                  <a:lnTo>
                    <a:pt x="132" y="4"/>
                  </a:lnTo>
                  <a:lnTo>
                    <a:pt x="133" y="2"/>
                  </a:lnTo>
                  <a:lnTo>
                    <a:pt x="134" y="1"/>
                  </a:lnTo>
                  <a:lnTo>
                    <a:pt x="135" y="1"/>
                  </a:lnTo>
                  <a:lnTo>
                    <a:pt x="136" y="0"/>
                  </a:lnTo>
                  <a:lnTo>
                    <a:pt x="136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6" name="Freeform 19">
              <a:extLst>
                <a:ext uri="{FF2B5EF4-FFF2-40B4-BE49-F238E27FC236}">
                  <a16:creationId xmlns:a16="http://schemas.microsoft.com/office/drawing/2014/main" id="{6B00F040-214D-45ED-8154-1240FAADD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" y="3406"/>
              <a:ext cx="632" cy="524"/>
            </a:xfrm>
            <a:custGeom>
              <a:avLst/>
              <a:gdLst>
                <a:gd name="T0" fmla="*/ 240 w 632"/>
                <a:gd name="T1" fmla="*/ 19 h 524"/>
                <a:gd name="T2" fmla="*/ 256 w 632"/>
                <a:gd name="T3" fmla="*/ 39 h 524"/>
                <a:gd name="T4" fmla="*/ 285 w 632"/>
                <a:gd name="T5" fmla="*/ 61 h 524"/>
                <a:gd name="T6" fmla="*/ 308 w 632"/>
                <a:gd name="T7" fmla="*/ 78 h 524"/>
                <a:gd name="T8" fmla="*/ 347 w 632"/>
                <a:gd name="T9" fmla="*/ 110 h 524"/>
                <a:gd name="T10" fmla="*/ 376 w 632"/>
                <a:gd name="T11" fmla="*/ 131 h 524"/>
                <a:gd name="T12" fmla="*/ 385 w 632"/>
                <a:gd name="T13" fmla="*/ 148 h 524"/>
                <a:gd name="T14" fmla="*/ 415 w 632"/>
                <a:gd name="T15" fmla="*/ 166 h 524"/>
                <a:gd name="T16" fmla="*/ 442 w 632"/>
                <a:gd name="T17" fmla="*/ 195 h 524"/>
                <a:gd name="T18" fmla="*/ 445 w 632"/>
                <a:gd name="T19" fmla="*/ 225 h 524"/>
                <a:gd name="T20" fmla="*/ 466 w 632"/>
                <a:gd name="T21" fmla="*/ 245 h 524"/>
                <a:gd name="T22" fmla="*/ 518 w 632"/>
                <a:gd name="T23" fmla="*/ 231 h 524"/>
                <a:gd name="T24" fmla="*/ 526 w 632"/>
                <a:gd name="T25" fmla="*/ 244 h 524"/>
                <a:gd name="T26" fmla="*/ 549 w 632"/>
                <a:gd name="T27" fmla="*/ 268 h 524"/>
                <a:gd name="T28" fmla="*/ 592 w 632"/>
                <a:gd name="T29" fmla="*/ 315 h 524"/>
                <a:gd name="T30" fmla="*/ 609 w 632"/>
                <a:gd name="T31" fmla="*/ 322 h 524"/>
                <a:gd name="T32" fmla="*/ 611 w 632"/>
                <a:gd name="T33" fmla="*/ 354 h 524"/>
                <a:gd name="T34" fmla="*/ 626 w 632"/>
                <a:gd name="T35" fmla="*/ 383 h 524"/>
                <a:gd name="T36" fmla="*/ 628 w 632"/>
                <a:gd name="T37" fmla="*/ 409 h 524"/>
                <a:gd name="T38" fmla="*/ 624 w 632"/>
                <a:gd name="T39" fmla="*/ 477 h 524"/>
                <a:gd name="T40" fmla="*/ 603 w 632"/>
                <a:gd name="T41" fmla="*/ 494 h 524"/>
                <a:gd name="T42" fmla="*/ 575 w 632"/>
                <a:gd name="T43" fmla="*/ 475 h 524"/>
                <a:gd name="T44" fmla="*/ 555 w 632"/>
                <a:gd name="T45" fmla="*/ 461 h 524"/>
                <a:gd name="T46" fmla="*/ 536 w 632"/>
                <a:gd name="T47" fmla="*/ 447 h 524"/>
                <a:gd name="T48" fmla="*/ 497 w 632"/>
                <a:gd name="T49" fmla="*/ 463 h 524"/>
                <a:gd name="T50" fmla="*/ 450 w 632"/>
                <a:gd name="T51" fmla="*/ 439 h 524"/>
                <a:gd name="T52" fmla="*/ 424 w 632"/>
                <a:gd name="T53" fmla="*/ 424 h 524"/>
                <a:gd name="T54" fmla="*/ 417 w 632"/>
                <a:gd name="T55" fmla="*/ 448 h 524"/>
                <a:gd name="T56" fmla="*/ 403 w 632"/>
                <a:gd name="T57" fmla="*/ 479 h 524"/>
                <a:gd name="T58" fmla="*/ 376 w 632"/>
                <a:gd name="T59" fmla="*/ 486 h 524"/>
                <a:gd name="T60" fmla="*/ 364 w 632"/>
                <a:gd name="T61" fmla="*/ 503 h 524"/>
                <a:gd name="T62" fmla="*/ 342 w 632"/>
                <a:gd name="T63" fmla="*/ 514 h 524"/>
                <a:gd name="T64" fmla="*/ 314 w 632"/>
                <a:gd name="T65" fmla="*/ 519 h 524"/>
                <a:gd name="T66" fmla="*/ 252 w 632"/>
                <a:gd name="T67" fmla="*/ 495 h 524"/>
                <a:gd name="T68" fmla="*/ 195 w 632"/>
                <a:gd name="T69" fmla="*/ 482 h 524"/>
                <a:gd name="T70" fmla="*/ 151 w 632"/>
                <a:gd name="T71" fmla="*/ 481 h 524"/>
                <a:gd name="T72" fmla="*/ 118 w 632"/>
                <a:gd name="T73" fmla="*/ 471 h 524"/>
                <a:gd name="T74" fmla="*/ 97 w 632"/>
                <a:gd name="T75" fmla="*/ 447 h 524"/>
                <a:gd name="T76" fmla="*/ 82 w 632"/>
                <a:gd name="T77" fmla="*/ 427 h 524"/>
                <a:gd name="T78" fmla="*/ 89 w 632"/>
                <a:gd name="T79" fmla="*/ 413 h 524"/>
                <a:gd name="T80" fmla="*/ 108 w 632"/>
                <a:gd name="T81" fmla="*/ 398 h 524"/>
                <a:gd name="T82" fmla="*/ 95 w 632"/>
                <a:gd name="T83" fmla="*/ 378 h 524"/>
                <a:gd name="T84" fmla="*/ 67 w 632"/>
                <a:gd name="T85" fmla="*/ 346 h 524"/>
                <a:gd name="T86" fmla="*/ 32 w 632"/>
                <a:gd name="T87" fmla="*/ 332 h 524"/>
                <a:gd name="T88" fmla="*/ 3 w 632"/>
                <a:gd name="T89" fmla="*/ 294 h 524"/>
                <a:gd name="T90" fmla="*/ 27 w 632"/>
                <a:gd name="T91" fmla="*/ 281 h 524"/>
                <a:gd name="T92" fmla="*/ 44 w 632"/>
                <a:gd name="T93" fmla="*/ 253 h 524"/>
                <a:gd name="T94" fmla="*/ 46 w 632"/>
                <a:gd name="T95" fmla="*/ 213 h 524"/>
                <a:gd name="T96" fmla="*/ 33 w 632"/>
                <a:gd name="T97" fmla="*/ 165 h 524"/>
                <a:gd name="T98" fmla="*/ 32 w 632"/>
                <a:gd name="T99" fmla="*/ 129 h 524"/>
                <a:gd name="T100" fmla="*/ 53 w 632"/>
                <a:gd name="T101" fmla="*/ 121 h 524"/>
                <a:gd name="T102" fmla="*/ 85 w 632"/>
                <a:gd name="T103" fmla="*/ 118 h 524"/>
                <a:gd name="T104" fmla="*/ 139 w 632"/>
                <a:gd name="T105" fmla="*/ 113 h 524"/>
                <a:gd name="T106" fmla="*/ 182 w 632"/>
                <a:gd name="T107" fmla="*/ 116 h 524"/>
                <a:gd name="T108" fmla="*/ 206 w 632"/>
                <a:gd name="T109" fmla="*/ 130 h 524"/>
                <a:gd name="T110" fmla="*/ 210 w 632"/>
                <a:gd name="T111" fmla="*/ 116 h 524"/>
                <a:gd name="T112" fmla="*/ 204 w 632"/>
                <a:gd name="T113" fmla="*/ 98 h 524"/>
                <a:gd name="T114" fmla="*/ 206 w 632"/>
                <a:gd name="T115" fmla="*/ 71 h 524"/>
                <a:gd name="T116" fmla="*/ 215 w 632"/>
                <a:gd name="T117" fmla="*/ 43 h 524"/>
                <a:gd name="T118" fmla="*/ 223 w 632"/>
                <a:gd name="T119" fmla="*/ 18 h 524"/>
                <a:gd name="T120" fmla="*/ 241 w 632"/>
                <a:gd name="T121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32" h="524">
                  <a:moveTo>
                    <a:pt x="240" y="0"/>
                  </a:moveTo>
                  <a:lnTo>
                    <a:pt x="240" y="1"/>
                  </a:lnTo>
                  <a:lnTo>
                    <a:pt x="240" y="2"/>
                  </a:lnTo>
                  <a:lnTo>
                    <a:pt x="239" y="5"/>
                  </a:lnTo>
                  <a:lnTo>
                    <a:pt x="239" y="7"/>
                  </a:lnTo>
                  <a:lnTo>
                    <a:pt x="239" y="9"/>
                  </a:lnTo>
                  <a:lnTo>
                    <a:pt x="239" y="12"/>
                  </a:lnTo>
                  <a:lnTo>
                    <a:pt x="239" y="14"/>
                  </a:lnTo>
                  <a:lnTo>
                    <a:pt x="240" y="16"/>
                  </a:lnTo>
                  <a:lnTo>
                    <a:pt x="240" y="19"/>
                  </a:lnTo>
                  <a:lnTo>
                    <a:pt x="241" y="22"/>
                  </a:lnTo>
                  <a:lnTo>
                    <a:pt x="242" y="24"/>
                  </a:lnTo>
                  <a:lnTo>
                    <a:pt x="243" y="26"/>
                  </a:lnTo>
                  <a:lnTo>
                    <a:pt x="244" y="27"/>
                  </a:lnTo>
                  <a:lnTo>
                    <a:pt x="245" y="29"/>
                  </a:lnTo>
                  <a:lnTo>
                    <a:pt x="247" y="31"/>
                  </a:lnTo>
                  <a:lnTo>
                    <a:pt x="249" y="33"/>
                  </a:lnTo>
                  <a:lnTo>
                    <a:pt x="251" y="36"/>
                  </a:lnTo>
                  <a:lnTo>
                    <a:pt x="254" y="38"/>
                  </a:lnTo>
                  <a:lnTo>
                    <a:pt x="256" y="39"/>
                  </a:lnTo>
                  <a:lnTo>
                    <a:pt x="265" y="44"/>
                  </a:lnTo>
                  <a:lnTo>
                    <a:pt x="268" y="46"/>
                  </a:lnTo>
                  <a:lnTo>
                    <a:pt x="271" y="47"/>
                  </a:lnTo>
                  <a:lnTo>
                    <a:pt x="273" y="49"/>
                  </a:lnTo>
                  <a:lnTo>
                    <a:pt x="274" y="50"/>
                  </a:lnTo>
                  <a:lnTo>
                    <a:pt x="276" y="52"/>
                  </a:lnTo>
                  <a:lnTo>
                    <a:pt x="280" y="58"/>
                  </a:lnTo>
                  <a:lnTo>
                    <a:pt x="282" y="59"/>
                  </a:lnTo>
                  <a:lnTo>
                    <a:pt x="283" y="60"/>
                  </a:lnTo>
                  <a:lnTo>
                    <a:pt x="285" y="61"/>
                  </a:lnTo>
                  <a:lnTo>
                    <a:pt x="289" y="64"/>
                  </a:lnTo>
                  <a:lnTo>
                    <a:pt x="291" y="65"/>
                  </a:lnTo>
                  <a:lnTo>
                    <a:pt x="293" y="67"/>
                  </a:lnTo>
                  <a:lnTo>
                    <a:pt x="297" y="71"/>
                  </a:lnTo>
                  <a:lnTo>
                    <a:pt x="298" y="72"/>
                  </a:lnTo>
                  <a:lnTo>
                    <a:pt x="301" y="73"/>
                  </a:lnTo>
                  <a:lnTo>
                    <a:pt x="305" y="75"/>
                  </a:lnTo>
                  <a:lnTo>
                    <a:pt x="307" y="76"/>
                  </a:lnTo>
                  <a:lnTo>
                    <a:pt x="308" y="77"/>
                  </a:lnTo>
                  <a:lnTo>
                    <a:pt x="308" y="78"/>
                  </a:lnTo>
                  <a:lnTo>
                    <a:pt x="314" y="86"/>
                  </a:lnTo>
                  <a:lnTo>
                    <a:pt x="319" y="92"/>
                  </a:lnTo>
                  <a:lnTo>
                    <a:pt x="321" y="95"/>
                  </a:lnTo>
                  <a:lnTo>
                    <a:pt x="323" y="96"/>
                  </a:lnTo>
                  <a:lnTo>
                    <a:pt x="324" y="97"/>
                  </a:lnTo>
                  <a:lnTo>
                    <a:pt x="326" y="98"/>
                  </a:lnTo>
                  <a:lnTo>
                    <a:pt x="328" y="99"/>
                  </a:lnTo>
                  <a:lnTo>
                    <a:pt x="338" y="105"/>
                  </a:lnTo>
                  <a:lnTo>
                    <a:pt x="342" y="107"/>
                  </a:lnTo>
                  <a:lnTo>
                    <a:pt x="347" y="110"/>
                  </a:lnTo>
                  <a:lnTo>
                    <a:pt x="354" y="115"/>
                  </a:lnTo>
                  <a:lnTo>
                    <a:pt x="359" y="118"/>
                  </a:lnTo>
                  <a:lnTo>
                    <a:pt x="363" y="120"/>
                  </a:lnTo>
                  <a:lnTo>
                    <a:pt x="370" y="124"/>
                  </a:lnTo>
                  <a:lnTo>
                    <a:pt x="372" y="125"/>
                  </a:lnTo>
                  <a:lnTo>
                    <a:pt x="374" y="126"/>
                  </a:lnTo>
                  <a:lnTo>
                    <a:pt x="375" y="128"/>
                  </a:lnTo>
                  <a:lnTo>
                    <a:pt x="376" y="129"/>
                  </a:lnTo>
                  <a:lnTo>
                    <a:pt x="376" y="130"/>
                  </a:lnTo>
                  <a:lnTo>
                    <a:pt x="376" y="131"/>
                  </a:lnTo>
                  <a:lnTo>
                    <a:pt x="376" y="136"/>
                  </a:lnTo>
                  <a:lnTo>
                    <a:pt x="376" y="138"/>
                  </a:lnTo>
                  <a:lnTo>
                    <a:pt x="376" y="141"/>
                  </a:lnTo>
                  <a:lnTo>
                    <a:pt x="376" y="142"/>
                  </a:lnTo>
                  <a:lnTo>
                    <a:pt x="376" y="143"/>
                  </a:lnTo>
                  <a:lnTo>
                    <a:pt x="376" y="144"/>
                  </a:lnTo>
                  <a:lnTo>
                    <a:pt x="377" y="145"/>
                  </a:lnTo>
                  <a:lnTo>
                    <a:pt x="377" y="146"/>
                  </a:lnTo>
                  <a:lnTo>
                    <a:pt x="379" y="146"/>
                  </a:lnTo>
                  <a:lnTo>
                    <a:pt x="385" y="148"/>
                  </a:lnTo>
                  <a:lnTo>
                    <a:pt x="387" y="149"/>
                  </a:lnTo>
                  <a:lnTo>
                    <a:pt x="388" y="150"/>
                  </a:lnTo>
                  <a:lnTo>
                    <a:pt x="390" y="151"/>
                  </a:lnTo>
                  <a:lnTo>
                    <a:pt x="396" y="154"/>
                  </a:lnTo>
                  <a:lnTo>
                    <a:pt x="400" y="157"/>
                  </a:lnTo>
                  <a:lnTo>
                    <a:pt x="403" y="159"/>
                  </a:lnTo>
                  <a:lnTo>
                    <a:pt x="409" y="163"/>
                  </a:lnTo>
                  <a:lnTo>
                    <a:pt x="412" y="164"/>
                  </a:lnTo>
                  <a:lnTo>
                    <a:pt x="413" y="165"/>
                  </a:lnTo>
                  <a:lnTo>
                    <a:pt x="415" y="166"/>
                  </a:lnTo>
                  <a:lnTo>
                    <a:pt x="422" y="174"/>
                  </a:lnTo>
                  <a:lnTo>
                    <a:pt x="426" y="179"/>
                  </a:lnTo>
                  <a:lnTo>
                    <a:pt x="433" y="185"/>
                  </a:lnTo>
                  <a:lnTo>
                    <a:pt x="435" y="186"/>
                  </a:lnTo>
                  <a:lnTo>
                    <a:pt x="438" y="188"/>
                  </a:lnTo>
                  <a:lnTo>
                    <a:pt x="440" y="189"/>
                  </a:lnTo>
                  <a:lnTo>
                    <a:pt x="440" y="190"/>
                  </a:lnTo>
                  <a:lnTo>
                    <a:pt x="441" y="192"/>
                  </a:lnTo>
                  <a:lnTo>
                    <a:pt x="442" y="193"/>
                  </a:lnTo>
                  <a:lnTo>
                    <a:pt x="442" y="195"/>
                  </a:lnTo>
                  <a:lnTo>
                    <a:pt x="442" y="196"/>
                  </a:lnTo>
                  <a:lnTo>
                    <a:pt x="441" y="198"/>
                  </a:lnTo>
                  <a:lnTo>
                    <a:pt x="441" y="200"/>
                  </a:lnTo>
                  <a:lnTo>
                    <a:pt x="441" y="204"/>
                  </a:lnTo>
                  <a:lnTo>
                    <a:pt x="442" y="207"/>
                  </a:lnTo>
                  <a:lnTo>
                    <a:pt x="443" y="212"/>
                  </a:lnTo>
                  <a:lnTo>
                    <a:pt x="444" y="219"/>
                  </a:lnTo>
                  <a:lnTo>
                    <a:pt x="444" y="220"/>
                  </a:lnTo>
                  <a:lnTo>
                    <a:pt x="444" y="222"/>
                  </a:lnTo>
                  <a:lnTo>
                    <a:pt x="445" y="225"/>
                  </a:lnTo>
                  <a:lnTo>
                    <a:pt x="451" y="234"/>
                  </a:lnTo>
                  <a:lnTo>
                    <a:pt x="454" y="240"/>
                  </a:lnTo>
                  <a:lnTo>
                    <a:pt x="455" y="242"/>
                  </a:lnTo>
                  <a:lnTo>
                    <a:pt x="456" y="243"/>
                  </a:lnTo>
                  <a:lnTo>
                    <a:pt x="457" y="243"/>
                  </a:lnTo>
                  <a:lnTo>
                    <a:pt x="458" y="244"/>
                  </a:lnTo>
                  <a:lnTo>
                    <a:pt x="460" y="244"/>
                  </a:lnTo>
                  <a:lnTo>
                    <a:pt x="462" y="245"/>
                  </a:lnTo>
                  <a:lnTo>
                    <a:pt x="464" y="245"/>
                  </a:lnTo>
                  <a:lnTo>
                    <a:pt x="466" y="245"/>
                  </a:lnTo>
                  <a:lnTo>
                    <a:pt x="467" y="245"/>
                  </a:lnTo>
                  <a:lnTo>
                    <a:pt x="469" y="245"/>
                  </a:lnTo>
                  <a:lnTo>
                    <a:pt x="473" y="244"/>
                  </a:lnTo>
                  <a:lnTo>
                    <a:pt x="481" y="242"/>
                  </a:lnTo>
                  <a:lnTo>
                    <a:pt x="493" y="239"/>
                  </a:lnTo>
                  <a:lnTo>
                    <a:pt x="500" y="237"/>
                  </a:lnTo>
                  <a:lnTo>
                    <a:pt x="506" y="235"/>
                  </a:lnTo>
                  <a:lnTo>
                    <a:pt x="514" y="231"/>
                  </a:lnTo>
                  <a:lnTo>
                    <a:pt x="516" y="231"/>
                  </a:lnTo>
                  <a:lnTo>
                    <a:pt x="518" y="231"/>
                  </a:lnTo>
                  <a:lnTo>
                    <a:pt x="520" y="230"/>
                  </a:lnTo>
                  <a:lnTo>
                    <a:pt x="522" y="230"/>
                  </a:lnTo>
                  <a:lnTo>
                    <a:pt x="523" y="231"/>
                  </a:lnTo>
                  <a:lnTo>
                    <a:pt x="524" y="231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5" y="235"/>
                  </a:lnTo>
                  <a:lnTo>
                    <a:pt x="525" y="239"/>
                  </a:lnTo>
                  <a:lnTo>
                    <a:pt x="525" y="243"/>
                  </a:lnTo>
                  <a:lnTo>
                    <a:pt x="526" y="244"/>
                  </a:lnTo>
                  <a:lnTo>
                    <a:pt x="528" y="252"/>
                  </a:lnTo>
                  <a:lnTo>
                    <a:pt x="529" y="254"/>
                  </a:lnTo>
                  <a:lnTo>
                    <a:pt x="530" y="255"/>
                  </a:lnTo>
                  <a:lnTo>
                    <a:pt x="531" y="257"/>
                  </a:lnTo>
                  <a:lnTo>
                    <a:pt x="533" y="259"/>
                  </a:lnTo>
                  <a:lnTo>
                    <a:pt x="534" y="260"/>
                  </a:lnTo>
                  <a:lnTo>
                    <a:pt x="535" y="261"/>
                  </a:lnTo>
                  <a:lnTo>
                    <a:pt x="545" y="265"/>
                  </a:lnTo>
                  <a:lnTo>
                    <a:pt x="548" y="267"/>
                  </a:lnTo>
                  <a:lnTo>
                    <a:pt x="549" y="268"/>
                  </a:lnTo>
                  <a:lnTo>
                    <a:pt x="550" y="269"/>
                  </a:lnTo>
                  <a:lnTo>
                    <a:pt x="554" y="272"/>
                  </a:lnTo>
                  <a:lnTo>
                    <a:pt x="557" y="275"/>
                  </a:lnTo>
                  <a:lnTo>
                    <a:pt x="560" y="279"/>
                  </a:lnTo>
                  <a:lnTo>
                    <a:pt x="567" y="288"/>
                  </a:lnTo>
                  <a:lnTo>
                    <a:pt x="579" y="301"/>
                  </a:lnTo>
                  <a:lnTo>
                    <a:pt x="581" y="304"/>
                  </a:lnTo>
                  <a:lnTo>
                    <a:pt x="586" y="309"/>
                  </a:lnTo>
                  <a:lnTo>
                    <a:pt x="588" y="311"/>
                  </a:lnTo>
                  <a:lnTo>
                    <a:pt x="592" y="315"/>
                  </a:lnTo>
                  <a:lnTo>
                    <a:pt x="596" y="322"/>
                  </a:lnTo>
                  <a:lnTo>
                    <a:pt x="598" y="324"/>
                  </a:lnTo>
                  <a:lnTo>
                    <a:pt x="599" y="325"/>
                  </a:lnTo>
                  <a:lnTo>
                    <a:pt x="600" y="326"/>
                  </a:lnTo>
                  <a:lnTo>
                    <a:pt x="601" y="326"/>
                  </a:lnTo>
                  <a:lnTo>
                    <a:pt x="603" y="326"/>
                  </a:lnTo>
                  <a:lnTo>
                    <a:pt x="604" y="326"/>
                  </a:lnTo>
                  <a:lnTo>
                    <a:pt x="604" y="326"/>
                  </a:lnTo>
                  <a:lnTo>
                    <a:pt x="605" y="325"/>
                  </a:lnTo>
                  <a:lnTo>
                    <a:pt x="609" y="322"/>
                  </a:lnTo>
                  <a:lnTo>
                    <a:pt x="610" y="322"/>
                  </a:lnTo>
                  <a:lnTo>
                    <a:pt x="611" y="322"/>
                  </a:lnTo>
                  <a:lnTo>
                    <a:pt x="612" y="322"/>
                  </a:lnTo>
                  <a:lnTo>
                    <a:pt x="612" y="323"/>
                  </a:lnTo>
                  <a:lnTo>
                    <a:pt x="611" y="328"/>
                  </a:lnTo>
                  <a:lnTo>
                    <a:pt x="610" y="333"/>
                  </a:lnTo>
                  <a:lnTo>
                    <a:pt x="610" y="341"/>
                  </a:lnTo>
                  <a:lnTo>
                    <a:pt x="610" y="346"/>
                  </a:lnTo>
                  <a:lnTo>
                    <a:pt x="611" y="350"/>
                  </a:lnTo>
                  <a:lnTo>
                    <a:pt x="611" y="354"/>
                  </a:lnTo>
                  <a:lnTo>
                    <a:pt x="612" y="357"/>
                  </a:lnTo>
                  <a:lnTo>
                    <a:pt x="613" y="362"/>
                  </a:lnTo>
                  <a:lnTo>
                    <a:pt x="615" y="367"/>
                  </a:lnTo>
                  <a:lnTo>
                    <a:pt x="616" y="371"/>
                  </a:lnTo>
                  <a:lnTo>
                    <a:pt x="619" y="375"/>
                  </a:lnTo>
                  <a:lnTo>
                    <a:pt x="620" y="377"/>
                  </a:lnTo>
                  <a:lnTo>
                    <a:pt x="622" y="379"/>
                  </a:lnTo>
                  <a:lnTo>
                    <a:pt x="624" y="380"/>
                  </a:lnTo>
                  <a:lnTo>
                    <a:pt x="625" y="382"/>
                  </a:lnTo>
                  <a:lnTo>
                    <a:pt x="626" y="383"/>
                  </a:lnTo>
                  <a:lnTo>
                    <a:pt x="627" y="385"/>
                  </a:lnTo>
                  <a:lnTo>
                    <a:pt x="629" y="386"/>
                  </a:lnTo>
                  <a:lnTo>
                    <a:pt x="630" y="386"/>
                  </a:lnTo>
                  <a:lnTo>
                    <a:pt x="631" y="387"/>
                  </a:lnTo>
                  <a:lnTo>
                    <a:pt x="632" y="387"/>
                  </a:lnTo>
                  <a:lnTo>
                    <a:pt x="631" y="389"/>
                  </a:lnTo>
                  <a:lnTo>
                    <a:pt x="630" y="394"/>
                  </a:lnTo>
                  <a:lnTo>
                    <a:pt x="628" y="400"/>
                  </a:lnTo>
                  <a:lnTo>
                    <a:pt x="628" y="405"/>
                  </a:lnTo>
                  <a:lnTo>
                    <a:pt x="628" y="409"/>
                  </a:lnTo>
                  <a:lnTo>
                    <a:pt x="628" y="413"/>
                  </a:lnTo>
                  <a:lnTo>
                    <a:pt x="628" y="432"/>
                  </a:lnTo>
                  <a:lnTo>
                    <a:pt x="628" y="437"/>
                  </a:lnTo>
                  <a:lnTo>
                    <a:pt x="628" y="442"/>
                  </a:lnTo>
                  <a:lnTo>
                    <a:pt x="627" y="455"/>
                  </a:lnTo>
                  <a:lnTo>
                    <a:pt x="626" y="464"/>
                  </a:lnTo>
                  <a:lnTo>
                    <a:pt x="626" y="467"/>
                  </a:lnTo>
                  <a:lnTo>
                    <a:pt x="626" y="470"/>
                  </a:lnTo>
                  <a:lnTo>
                    <a:pt x="626" y="473"/>
                  </a:lnTo>
                  <a:lnTo>
                    <a:pt x="624" y="477"/>
                  </a:lnTo>
                  <a:lnTo>
                    <a:pt x="623" y="481"/>
                  </a:lnTo>
                  <a:lnTo>
                    <a:pt x="620" y="483"/>
                  </a:lnTo>
                  <a:lnTo>
                    <a:pt x="618" y="487"/>
                  </a:lnTo>
                  <a:lnTo>
                    <a:pt x="616" y="489"/>
                  </a:lnTo>
                  <a:lnTo>
                    <a:pt x="615" y="490"/>
                  </a:lnTo>
                  <a:lnTo>
                    <a:pt x="614" y="491"/>
                  </a:lnTo>
                  <a:lnTo>
                    <a:pt x="612" y="492"/>
                  </a:lnTo>
                  <a:lnTo>
                    <a:pt x="609" y="493"/>
                  </a:lnTo>
                  <a:lnTo>
                    <a:pt x="606" y="493"/>
                  </a:lnTo>
                  <a:lnTo>
                    <a:pt x="603" y="494"/>
                  </a:lnTo>
                  <a:lnTo>
                    <a:pt x="599" y="494"/>
                  </a:lnTo>
                  <a:lnTo>
                    <a:pt x="596" y="494"/>
                  </a:lnTo>
                  <a:lnTo>
                    <a:pt x="593" y="493"/>
                  </a:lnTo>
                  <a:lnTo>
                    <a:pt x="591" y="492"/>
                  </a:lnTo>
                  <a:lnTo>
                    <a:pt x="589" y="492"/>
                  </a:lnTo>
                  <a:lnTo>
                    <a:pt x="587" y="490"/>
                  </a:lnTo>
                  <a:lnTo>
                    <a:pt x="585" y="488"/>
                  </a:lnTo>
                  <a:lnTo>
                    <a:pt x="582" y="485"/>
                  </a:lnTo>
                  <a:lnTo>
                    <a:pt x="577" y="478"/>
                  </a:lnTo>
                  <a:lnTo>
                    <a:pt x="575" y="475"/>
                  </a:lnTo>
                  <a:lnTo>
                    <a:pt x="573" y="473"/>
                  </a:lnTo>
                  <a:lnTo>
                    <a:pt x="571" y="471"/>
                  </a:lnTo>
                  <a:lnTo>
                    <a:pt x="570" y="470"/>
                  </a:lnTo>
                  <a:lnTo>
                    <a:pt x="567" y="469"/>
                  </a:lnTo>
                  <a:lnTo>
                    <a:pt x="563" y="468"/>
                  </a:lnTo>
                  <a:lnTo>
                    <a:pt x="561" y="467"/>
                  </a:lnTo>
                  <a:lnTo>
                    <a:pt x="559" y="466"/>
                  </a:lnTo>
                  <a:lnTo>
                    <a:pt x="558" y="465"/>
                  </a:lnTo>
                  <a:lnTo>
                    <a:pt x="556" y="463"/>
                  </a:lnTo>
                  <a:lnTo>
                    <a:pt x="555" y="461"/>
                  </a:lnTo>
                  <a:lnTo>
                    <a:pt x="553" y="459"/>
                  </a:lnTo>
                  <a:lnTo>
                    <a:pt x="549" y="454"/>
                  </a:lnTo>
                  <a:lnTo>
                    <a:pt x="547" y="451"/>
                  </a:lnTo>
                  <a:lnTo>
                    <a:pt x="546" y="450"/>
                  </a:lnTo>
                  <a:lnTo>
                    <a:pt x="545" y="449"/>
                  </a:lnTo>
                  <a:lnTo>
                    <a:pt x="544" y="448"/>
                  </a:lnTo>
                  <a:lnTo>
                    <a:pt x="542" y="447"/>
                  </a:lnTo>
                  <a:lnTo>
                    <a:pt x="541" y="447"/>
                  </a:lnTo>
                  <a:lnTo>
                    <a:pt x="539" y="447"/>
                  </a:lnTo>
                  <a:lnTo>
                    <a:pt x="536" y="447"/>
                  </a:lnTo>
                  <a:lnTo>
                    <a:pt x="535" y="448"/>
                  </a:lnTo>
                  <a:lnTo>
                    <a:pt x="532" y="450"/>
                  </a:lnTo>
                  <a:lnTo>
                    <a:pt x="515" y="460"/>
                  </a:lnTo>
                  <a:lnTo>
                    <a:pt x="512" y="462"/>
                  </a:lnTo>
                  <a:lnTo>
                    <a:pt x="509" y="463"/>
                  </a:lnTo>
                  <a:lnTo>
                    <a:pt x="506" y="464"/>
                  </a:lnTo>
                  <a:lnTo>
                    <a:pt x="504" y="464"/>
                  </a:lnTo>
                  <a:lnTo>
                    <a:pt x="501" y="464"/>
                  </a:lnTo>
                  <a:lnTo>
                    <a:pt x="500" y="464"/>
                  </a:lnTo>
                  <a:lnTo>
                    <a:pt x="497" y="463"/>
                  </a:lnTo>
                  <a:lnTo>
                    <a:pt x="490" y="460"/>
                  </a:lnTo>
                  <a:lnTo>
                    <a:pt x="480" y="458"/>
                  </a:lnTo>
                  <a:lnTo>
                    <a:pt x="477" y="457"/>
                  </a:lnTo>
                  <a:lnTo>
                    <a:pt x="466" y="452"/>
                  </a:lnTo>
                  <a:lnTo>
                    <a:pt x="464" y="451"/>
                  </a:lnTo>
                  <a:lnTo>
                    <a:pt x="462" y="450"/>
                  </a:lnTo>
                  <a:lnTo>
                    <a:pt x="459" y="448"/>
                  </a:lnTo>
                  <a:lnTo>
                    <a:pt x="456" y="446"/>
                  </a:lnTo>
                  <a:lnTo>
                    <a:pt x="455" y="444"/>
                  </a:lnTo>
                  <a:lnTo>
                    <a:pt x="450" y="439"/>
                  </a:lnTo>
                  <a:lnTo>
                    <a:pt x="448" y="436"/>
                  </a:lnTo>
                  <a:lnTo>
                    <a:pt x="441" y="429"/>
                  </a:lnTo>
                  <a:lnTo>
                    <a:pt x="437" y="426"/>
                  </a:lnTo>
                  <a:lnTo>
                    <a:pt x="435" y="424"/>
                  </a:lnTo>
                  <a:lnTo>
                    <a:pt x="433" y="424"/>
                  </a:lnTo>
                  <a:lnTo>
                    <a:pt x="431" y="423"/>
                  </a:lnTo>
                  <a:lnTo>
                    <a:pt x="429" y="423"/>
                  </a:lnTo>
                  <a:lnTo>
                    <a:pt x="427" y="424"/>
                  </a:lnTo>
                  <a:lnTo>
                    <a:pt x="426" y="424"/>
                  </a:lnTo>
                  <a:lnTo>
                    <a:pt x="424" y="424"/>
                  </a:lnTo>
                  <a:lnTo>
                    <a:pt x="422" y="425"/>
                  </a:lnTo>
                  <a:lnTo>
                    <a:pt x="422" y="425"/>
                  </a:lnTo>
                  <a:lnTo>
                    <a:pt x="421" y="426"/>
                  </a:lnTo>
                  <a:lnTo>
                    <a:pt x="420" y="427"/>
                  </a:lnTo>
                  <a:lnTo>
                    <a:pt x="420" y="429"/>
                  </a:lnTo>
                  <a:lnTo>
                    <a:pt x="419" y="430"/>
                  </a:lnTo>
                  <a:lnTo>
                    <a:pt x="419" y="433"/>
                  </a:lnTo>
                  <a:lnTo>
                    <a:pt x="418" y="441"/>
                  </a:lnTo>
                  <a:lnTo>
                    <a:pt x="418" y="445"/>
                  </a:lnTo>
                  <a:lnTo>
                    <a:pt x="417" y="448"/>
                  </a:lnTo>
                  <a:lnTo>
                    <a:pt x="415" y="455"/>
                  </a:lnTo>
                  <a:lnTo>
                    <a:pt x="413" y="460"/>
                  </a:lnTo>
                  <a:lnTo>
                    <a:pt x="412" y="463"/>
                  </a:lnTo>
                  <a:lnTo>
                    <a:pt x="411" y="466"/>
                  </a:lnTo>
                  <a:lnTo>
                    <a:pt x="410" y="469"/>
                  </a:lnTo>
                  <a:lnTo>
                    <a:pt x="409" y="471"/>
                  </a:lnTo>
                  <a:lnTo>
                    <a:pt x="408" y="473"/>
                  </a:lnTo>
                  <a:lnTo>
                    <a:pt x="406" y="475"/>
                  </a:lnTo>
                  <a:lnTo>
                    <a:pt x="404" y="478"/>
                  </a:lnTo>
                  <a:lnTo>
                    <a:pt x="403" y="479"/>
                  </a:lnTo>
                  <a:lnTo>
                    <a:pt x="401" y="481"/>
                  </a:lnTo>
                  <a:lnTo>
                    <a:pt x="399" y="481"/>
                  </a:lnTo>
                  <a:lnTo>
                    <a:pt x="398" y="482"/>
                  </a:lnTo>
                  <a:lnTo>
                    <a:pt x="396" y="483"/>
                  </a:lnTo>
                  <a:lnTo>
                    <a:pt x="395" y="483"/>
                  </a:lnTo>
                  <a:lnTo>
                    <a:pt x="392" y="483"/>
                  </a:lnTo>
                  <a:lnTo>
                    <a:pt x="384" y="484"/>
                  </a:lnTo>
                  <a:lnTo>
                    <a:pt x="380" y="485"/>
                  </a:lnTo>
                  <a:lnTo>
                    <a:pt x="376" y="486"/>
                  </a:lnTo>
                  <a:lnTo>
                    <a:pt x="376" y="486"/>
                  </a:lnTo>
                  <a:lnTo>
                    <a:pt x="375" y="487"/>
                  </a:lnTo>
                  <a:lnTo>
                    <a:pt x="373" y="488"/>
                  </a:lnTo>
                  <a:lnTo>
                    <a:pt x="372" y="489"/>
                  </a:lnTo>
                  <a:lnTo>
                    <a:pt x="371" y="490"/>
                  </a:lnTo>
                  <a:lnTo>
                    <a:pt x="370" y="492"/>
                  </a:lnTo>
                  <a:lnTo>
                    <a:pt x="368" y="497"/>
                  </a:lnTo>
                  <a:lnTo>
                    <a:pt x="367" y="500"/>
                  </a:lnTo>
                  <a:lnTo>
                    <a:pt x="366" y="501"/>
                  </a:lnTo>
                  <a:lnTo>
                    <a:pt x="365" y="503"/>
                  </a:lnTo>
                  <a:lnTo>
                    <a:pt x="364" y="503"/>
                  </a:lnTo>
                  <a:lnTo>
                    <a:pt x="363" y="504"/>
                  </a:lnTo>
                  <a:lnTo>
                    <a:pt x="361" y="505"/>
                  </a:lnTo>
                  <a:lnTo>
                    <a:pt x="359" y="506"/>
                  </a:lnTo>
                  <a:lnTo>
                    <a:pt x="356" y="507"/>
                  </a:lnTo>
                  <a:lnTo>
                    <a:pt x="351" y="508"/>
                  </a:lnTo>
                  <a:lnTo>
                    <a:pt x="349" y="509"/>
                  </a:lnTo>
                  <a:lnTo>
                    <a:pt x="348" y="510"/>
                  </a:lnTo>
                  <a:lnTo>
                    <a:pt x="346" y="511"/>
                  </a:lnTo>
                  <a:lnTo>
                    <a:pt x="344" y="512"/>
                  </a:lnTo>
                  <a:lnTo>
                    <a:pt x="342" y="514"/>
                  </a:lnTo>
                  <a:lnTo>
                    <a:pt x="338" y="518"/>
                  </a:lnTo>
                  <a:lnTo>
                    <a:pt x="335" y="520"/>
                  </a:lnTo>
                  <a:lnTo>
                    <a:pt x="333" y="522"/>
                  </a:lnTo>
                  <a:lnTo>
                    <a:pt x="331" y="523"/>
                  </a:lnTo>
                  <a:lnTo>
                    <a:pt x="329" y="524"/>
                  </a:lnTo>
                  <a:lnTo>
                    <a:pt x="327" y="524"/>
                  </a:lnTo>
                  <a:lnTo>
                    <a:pt x="324" y="524"/>
                  </a:lnTo>
                  <a:lnTo>
                    <a:pt x="322" y="524"/>
                  </a:lnTo>
                  <a:lnTo>
                    <a:pt x="319" y="523"/>
                  </a:lnTo>
                  <a:lnTo>
                    <a:pt x="314" y="519"/>
                  </a:lnTo>
                  <a:lnTo>
                    <a:pt x="306" y="515"/>
                  </a:lnTo>
                  <a:lnTo>
                    <a:pt x="297" y="512"/>
                  </a:lnTo>
                  <a:lnTo>
                    <a:pt x="280" y="502"/>
                  </a:lnTo>
                  <a:lnTo>
                    <a:pt x="277" y="501"/>
                  </a:lnTo>
                  <a:lnTo>
                    <a:pt x="274" y="500"/>
                  </a:lnTo>
                  <a:lnTo>
                    <a:pt x="272" y="499"/>
                  </a:lnTo>
                  <a:lnTo>
                    <a:pt x="268" y="498"/>
                  </a:lnTo>
                  <a:lnTo>
                    <a:pt x="264" y="497"/>
                  </a:lnTo>
                  <a:lnTo>
                    <a:pt x="257" y="496"/>
                  </a:lnTo>
                  <a:lnTo>
                    <a:pt x="252" y="495"/>
                  </a:lnTo>
                  <a:lnTo>
                    <a:pt x="250" y="494"/>
                  </a:lnTo>
                  <a:lnTo>
                    <a:pt x="241" y="491"/>
                  </a:lnTo>
                  <a:lnTo>
                    <a:pt x="236" y="490"/>
                  </a:lnTo>
                  <a:lnTo>
                    <a:pt x="227" y="486"/>
                  </a:lnTo>
                  <a:lnTo>
                    <a:pt x="221" y="485"/>
                  </a:lnTo>
                  <a:lnTo>
                    <a:pt x="216" y="483"/>
                  </a:lnTo>
                  <a:lnTo>
                    <a:pt x="210" y="483"/>
                  </a:lnTo>
                  <a:lnTo>
                    <a:pt x="206" y="482"/>
                  </a:lnTo>
                  <a:lnTo>
                    <a:pt x="199" y="482"/>
                  </a:lnTo>
                  <a:lnTo>
                    <a:pt x="195" y="482"/>
                  </a:lnTo>
                  <a:lnTo>
                    <a:pt x="193" y="481"/>
                  </a:lnTo>
                  <a:lnTo>
                    <a:pt x="183" y="480"/>
                  </a:lnTo>
                  <a:lnTo>
                    <a:pt x="179" y="480"/>
                  </a:lnTo>
                  <a:lnTo>
                    <a:pt x="173" y="479"/>
                  </a:lnTo>
                  <a:lnTo>
                    <a:pt x="170" y="479"/>
                  </a:lnTo>
                  <a:lnTo>
                    <a:pt x="166" y="479"/>
                  </a:lnTo>
                  <a:lnTo>
                    <a:pt x="164" y="480"/>
                  </a:lnTo>
                  <a:lnTo>
                    <a:pt x="158" y="481"/>
                  </a:lnTo>
                  <a:lnTo>
                    <a:pt x="154" y="481"/>
                  </a:lnTo>
                  <a:lnTo>
                    <a:pt x="151" y="481"/>
                  </a:lnTo>
                  <a:lnTo>
                    <a:pt x="149" y="481"/>
                  </a:lnTo>
                  <a:lnTo>
                    <a:pt x="147" y="481"/>
                  </a:lnTo>
                  <a:lnTo>
                    <a:pt x="144" y="480"/>
                  </a:lnTo>
                  <a:lnTo>
                    <a:pt x="142" y="479"/>
                  </a:lnTo>
                  <a:lnTo>
                    <a:pt x="137" y="477"/>
                  </a:lnTo>
                  <a:lnTo>
                    <a:pt x="135" y="476"/>
                  </a:lnTo>
                  <a:lnTo>
                    <a:pt x="131" y="475"/>
                  </a:lnTo>
                  <a:lnTo>
                    <a:pt x="122" y="473"/>
                  </a:lnTo>
                  <a:lnTo>
                    <a:pt x="120" y="472"/>
                  </a:lnTo>
                  <a:lnTo>
                    <a:pt x="118" y="471"/>
                  </a:lnTo>
                  <a:lnTo>
                    <a:pt x="117" y="470"/>
                  </a:lnTo>
                  <a:lnTo>
                    <a:pt x="114" y="467"/>
                  </a:lnTo>
                  <a:lnTo>
                    <a:pt x="109" y="464"/>
                  </a:lnTo>
                  <a:lnTo>
                    <a:pt x="108" y="463"/>
                  </a:lnTo>
                  <a:lnTo>
                    <a:pt x="106" y="461"/>
                  </a:lnTo>
                  <a:lnTo>
                    <a:pt x="103" y="458"/>
                  </a:lnTo>
                  <a:lnTo>
                    <a:pt x="103" y="457"/>
                  </a:lnTo>
                  <a:lnTo>
                    <a:pt x="101" y="454"/>
                  </a:lnTo>
                  <a:lnTo>
                    <a:pt x="100" y="452"/>
                  </a:lnTo>
                  <a:lnTo>
                    <a:pt x="97" y="447"/>
                  </a:lnTo>
                  <a:lnTo>
                    <a:pt x="97" y="445"/>
                  </a:lnTo>
                  <a:lnTo>
                    <a:pt x="96" y="444"/>
                  </a:lnTo>
                  <a:lnTo>
                    <a:pt x="95" y="442"/>
                  </a:lnTo>
                  <a:lnTo>
                    <a:pt x="94" y="441"/>
                  </a:lnTo>
                  <a:lnTo>
                    <a:pt x="89" y="436"/>
                  </a:lnTo>
                  <a:lnTo>
                    <a:pt x="87" y="435"/>
                  </a:lnTo>
                  <a:lnTo>
                    <a:pt x="85" y="434"/>
                  </a:lnTo>
                  <a:lnTo>
                    <a:pt x="84" y="432"/>
                  </a:lnTo>
                  <a:lnTo>
                    <a:pt x="83" y="429"/>
                  </a:lnTo>
                  <a:lnTo>
                    <a:pt x="82" y="427"/>
                  </a:lnTo>
                  <a:lnTo>
                    <a:pt x="81" y="425"/>
                  </a:lnTo>
                  <a:lnTo>
                    <a:pt x="81" y="424"/>
                  </a:lnTo>
                  <a:lnTo>
                    <a:pt x="81" y="424"/>
                  </a:lnTo>
                  <a:lnTo>
                    <a:pt x="82" y="422"/>
                  </a:lnTo>
                  <a:lnTo>
                    <a:pt x="82" y="421"/>
                  </a:lnTo>
                  <a:lnTo>
                    <a:pt x="83" y="419"/>
                  </a:lnTo>
                  <a:lnTo>
                    <a:pt x="84" y="417"/>
                  </a:lnTo>
                  <a:lnTo>
                    <a:pt x="86" y="415"/>
                  </a:lnTo>
                  <a:lnTo>
                    <a:pt x="87" y="414"/>
                  </a:lnTo>
                  <a:lnTo>
                    <a:pt x="89" y="413"/>
                  </a:lnTo>
                  <a:lnTo>
                    <a:pt x="92" y="411"/>
                  </a:lnTo>
                  <a:lnTo>
                    <a:pt x="94" y="409"/>
                  </a:lnTo>
                  <a:lnTo>
                    <a:pt x="100" y="406"/>
                  </a:lnTo>
                  <a:lnTo>
                    <a:pt x="103" y="405"/>
                  </a:lnTo>
                  <a:lnTo>
                    <a:pt x="103" y="404"/>
                  </a:lnTo>
                  <a:lnTo>
                    <a:pt x="104" y="403"/>
                  </a:lnTo>
                  <a:lnTo>
                    <a:pt x="105" y="402"/>
                  </a:lnTo>
                  <a:lnTo>
                    <a:pt x="106" y="401"/>
                  </a:lnTo>
                  <a:lnTo>
                    <a:pt x="107" y="400"/>
                  </a:lnTo>
                  <a:lnTo>
                    <a:pt x="108" y="398"/>
                  </a:lnTo>
                  <a:lnTo>
                    <a:pt x="108" y="396"/>
                  </a:lnTo>
                  <a:lnTo>
                    <a:pt x="108" y="393"/>
                  </a:lnTo>
                  <a:lnTo>
                    <a:pt x="108" y="391"/>
                  </a:lnTo>
                  <a:lnTo>
                    <a:pt x="108" y="390"/>
                  </a:lnTo>
                  <a:lnTo>
                    <a:pt x="107" y="388"/>
                  </a:lnTo>
                  <a:lnTo>
                    <a:pt x="106" y="387"/>
                  </a:lnTo>
                  <a:lnTo>
                    <a:pt x="105" y="385"/>
                  </a:lnTo>
                  <a:lnTo>
                    <a:pt x="103" y="384"/>
                  </a:lnTo>
                  <a:lnTo>
                    <a:pt x="101" y="382"/>
                  </a:lnTo>
                  <a:lnTo>
                    <a:pt x="95" y="378"/>
                  </a:lnTo>
                  <a:lnTo>
                    <a:pt x="92" y="375"/>
                  </a:lnTo>
                  <a:lnTo>
                    <a:pt x="91" y="373"/>
                  </a:lnTo>
                  <a:lnTo>
                    <a:pt x="88" y="370"/>
                  </a:lnTo>
                  <a:lnTo>
                    <a:pt x="82" y="364"/>
                  </a:lnTo>
                  <a:lnTo>
                    <a:pt x="80" y="360"/>
                  </a:lnTo>
                  <a:lnTo>
                    <a:pt x="76" y="356"/>
                  </a:lnTo>
                  <a:lnTo>
                    <a:pt x="73" y="353"/>
                  </a:lnTo>
                  <a:lnTo>
                    <a:pt x="70" y="350"/>
                  </a:lnTo>
                  <a:lnTo>
                    <a:pt x="69" y="348"/>
                  </a:lnTo>
                  <a:lnTo>
                    <a:pt x="67" y="346"/>
                  </a:lnTo>
                  <a:lnTo>
                    <a:pt x="65" y="345"/>
                  </a:lnTo>
                  <a:lnTo>
                    <a:pt x="63" y="345"/>
                  </a:lnTo>
                  <a:lnTo>
                    <a:pt x="61" y="344"/>
                  </a:lnTo>
                  <a:lnTo>
                    <a:pt x="57" y="342"/>
                  </a:lnTo>
                  <a:lnTo>
                    <a:pt x="47" y="338"/>
                  </a:lnTo>
                  <a:lnTo>
                    <a:pt x="40" y="335"/>
                  </a:lnTo>
                  <a:lnTo>
                    <a:pt x="37" y="334"/>
                  </a:lnTo>
                  <a:lnTo>
                    <a:pt x="35" y="333"/>
                  </a:lnTo>
                  <a:lnTo>
                    <a:pt x="34" y="333"/>
                  </a:lnTo>
                  <a:lnTo>
                    <a:pt x="32" y="332"/>
                  </a:lnTo>
                  <a:lnTo>
                    <a:pt x="26" y="327"/>
                  </a:lnTo>
                  <a:lnTo>
                    <a:pt x="21" y="323"/>
                  </a:lnTo>
                  <a:lnTo>
                    <a:pt x="18" y="321"/>
                  </a:lnTo>
                  <a:lnTo>
                    <a:pt x="14" y="317"/>
                  </a:lnTo>
                  <a:lnTo>
                    <a:pt x="10" y="313"/>
                  </a:lnTo>
                  <a:lnTo>
                    <a:pt x="6" y="309"/>
                  </a:lnTo>
                  <a:lnTo>
                    <a:pt x="2" y="303"/>
                  </a:lnTo>
                  <a:lnTo>
                    <a:pt x="0" y="300"/>
                  </a:lnTo>
                  <a:lnTo>
                    <a:pt x="2" y="296"/>
                  </a:lnTo>
                  <a:lnTo>
                    <a:pt x="3" y="294"/>
                  </a:lnTo>
                  <a:lnTo>
                    <a:pt x="4" y="293"/>
                  </a:lnTo>
                  <a:lnTo>
                    <a:pt x="5" y="291"/>
                  </a:lnTo>
                  <a:lnTo>
                    <a:pt x="7" y="290"/>
                  </a:lnTo>
                  <a:lnTo>
                    <a:pt x="8" y="288"/>
                  </a:lnTo>
                  <a:lnTo>
                    <a:pt x="10" y="288"/>
                  </a:lnTo>
                  <a:lnTo>
                    <a:pt x="12" y="286"/>
                  </a:lnTo>
                  <a:lnTo>
                    <a:pt x="15" y="285"/>
                  </a:lnTo>
                  <a:lnTo>
                    <a:pt x="18" y="284"/>
                  </a:lnTo>
                  <a:lnTo>
                    <a:pt x="24" y="282"/>
                  </a:lnTo>
                  <a:lnTo>
                    <a:pt x="27" y="281"/>
                  </a:lnTo>
                  <a:lnTo>
                    <a:pt x="28" y="280"/>
                  </a:lnTo>
                  <a:lnTo>
                    <a:pt x="30" y="279"/>
                  </a:lnTo>
                  <a:lnTo>
                    <a:pt x="31" y="277"/>
                  </a:lnTo>
                  <a:lnTo>
                    <a:pt x="33" y="277"/>
                  </a:lnTo>
                  <a:lnTo>
                    <a:pt x="34" y="275"/>
                  </a:lnTo>
                  <a:lnTo>
                    <a:pt x="35" y="273"/>
                  </a:lnTo>
                  <a:lnTo>
                    <a:pt x="36" y="271"/>
                  </a:lnTo>
                  <a:lnTo>
                    <a:pt x="37" y="269"/>
                  </a:lnTo>
                  <a:lnTo>
                    <a:pt x="40" y="260"/>
                  </a:lnTo>
                  <a:lnTo>
                    <a:pt x="44" y="253"/>
                  </a:lnTo>
                  <a:lnTo>
                    <a:pt x="46" y="249"/>
                  </a:lnTo>
                  <a:lnTo>
                    <a:pt x="46" y="246"/>
                  </a:lnTo>
                  <a:lnTo>
                    <a:pt x="47" y="242"/>
                  </a:lnTo>
                  <a:lnTo>
                    <a:pt x="48" y="239"/>
                  </a:lnTo>
                  <a:lnTo>
                    <a:pt x="48" y="237"/>
                  </a:lnTo>
                  <a:lnTo>
                    <a:pt x="48" y="235"/>
                  </a:lnTo>
                  <a:lnTo>
                    <a:pt x="48" y="232"/>
                  </a:lnTo>
                  <a:lnTo>
                    <a:pt x="47" y="220"/>
                  </a:lnTo>
                  <a:lnTo>
                    <a:pt x="46" y="217"/>
                  </a:lnTo>
                  <a:lnTo>
                    <a:pt x="46" y="213"/>
                  </a:lnTo>
                  <a:lnTo>
                    <a:pt x="46" y="210"/>
                  </a:lnTo>
                  <a:lnTo>
                    <a:pt x="45" y="207"/>
                  </a:lnTo>
                  <a:lnTo>
                    <a:pt x="43" y="201"/>
                  </a:lnTo>
                  <a:lnTo>
                    <a:pt x="40" y="196"/>
                  </a:lnTo>
                  <a:lnTo>
                    <a:pt x="35" y="186"/>
                  </a:lnTo>
                  <a:lnTo>
                    <a:pt x="35" y="181"/>
                  </a:lnTo>
                  <a:lnTo>
                    <a:pt x="34" y="177"/>
                  </a:lnTo>
                  <a:lnTo>
                    <a:pt x="33" y="173"/>
                  </a:lnTo>
                  <a:lnTo>
                    <a:pt x="33" y="169"/>
                  </a:lnTo>
                  <a:lnTo>
                    <a:pt x="33" y="165"/>
                  </a:lnTo>
                  <a:lnTo>
                    <a:pt x="33" y="163"/>
                  </a:lnTo>
                  <a:lnTo>
                    <a:pt x="34" y="156"/>
                  </a:lnTo>
                  <a:lnTo>
                    <a:pt x="34" y="152"/>
                  </a:lnTo>
                  <a:lnTo>
                    <a:pt x="34" y="149"/>
                  </a:lnTo>
                  <a:lnTo>
                    <a:pt x="33" y="146"/>
                  </a:lnTo>
                  <a:lnTo>
                    <a:pt x="32" y="139"/>
                  </a:lnTo>
                  <a:lnTo>
                    <a:pt x="32" y="137"/>
                  </a:lnTo>
                  <a:lnTo>
                    <a:pt x="32" y="135"/>
                  </a:lnTo>
                  <a:lnTo>
                    <a:pt x="32" y="132"/>
                  </a:lnTo>
                  <a:lnTo>
                    <a:pt x="32" y="129"/>
                  </a:lnTo>
                  <a:lnTo>
                    <a:pt x="33" y="128"/>
                  </a:lnTo>
                  <a:lnTo>
                    <a:pt x="34" y="126"/>
                  </a:lnTo>
                  <a:lnTo>
                    <a:pt x="35" y="125"/>
                  </a:lnTo>
                  <a:lnTo>
                    <a:pt x="35" y="124"/>
                  </a:lnTo>
                  <a:lnTo>
                    <a:pt x="37" y="123"/>
                  </a:lnTo>
                  <a:lnTo>
                    <a:pt x="38" y="123"/>
                  </a:lnTo>
                  <a:lnTo>
                    <a:pt x="41" y="122"/>
                  </a:lnTo>
                  <a:lnTo>
                    <a:pt x="46" y="122"/>
                  </a:lnTo>
                  <a:lnTo>
                    <a:pt x="51" y="121"/>
                  </a:lnTo>
                  <a:lnTo>
                    <a:pt x="53" y="121"/>
                  </a:lnTo>
                  <a:lnTo>
                    <a:pt x="56" y="121"/>
                  </a:lnTo>
                  <a:lnTo>
                    <a:pt x="58" y="122"/>
                  </a:lnTo>
                  <a:lnTo>
                    <a:pt x="61" y="123"/>
                  </a:lnTo>
                  <a:lnTo>
                    <a:pt x="63" y="124"/>
                  </a:lnTo>
                  <a:lnTo>
                    <a:pt x="65" y="124"/>
                  </a:lnTo>
                  <a:lnTo>
                    <a:pt x="68" y="123"/>
                  </a:lnTo>
                  <a:lnTo>
                    <a:pt x="69" y="123"/>
                  </a:lnTo>
                  <a:lnTo>
                    <a:pt x="71" y="122"/>
                  </a:lnTo>
                  <a:lnTo>
                    <a:pt x="83" y="118"/>
                  </a:lnTo>
                  <a:lnTo>
                    <a:pt x="85" y="118"/>
                  </a:lnTo>
                  <a:lnTo>
                    <a:pt x="88" y="118"/>
                  </a:lnTo>
                  <a:lnTo>
                    <a:pt x="91" y="117"/>
                  </a:lnTo>
                  <a:lnTo>
                    <a:pt x="100" y="116"/>
                  </a:lnTo>
                  <a:lnTo>
                    <a:pt x="117" y="114"/>
                  </a:lnTo>
                  <a:lnTo>
                    <a:pt x="120" y="114"/>
                  </a:lnTo>
                  <a:lnTo>
                    <a:pt x="125" y="112"/>
                  </a:lnTo>
                  <a:lnTo>
                    <a:pt x="127" y="112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3"/>
                  </a:lnTo>
                  <a:lnTo>
                    <a:pt x="148" y="114"/>
                  </a:lnTo>
                  <a:lnTo>
                    <a:pt x="151" y="114"/>
                  </a:lnTo>
                  <a:lnTo>
                    <a:pt x="155" y="114"/>
                  </a:lnTo>
                  <a:lnTo>
                    <a:pt x="162" y="113"/>
                  </a:lnTo>
                  <a:lnTo>
                    <a:pt x="164" y="113"/>
                  </a:lnTo>
                  <a:lnTo>
                    <a:pt x="165" y="113"/>
                  </a:lnTo>
                  <a:lnTo>
                    <a:pt x="176" y="114"/>
                  </a:lnTo>
                  <a:lnTo>
                    <a:pt x="178" y="114"/>
                  </a:lnTo>
                  <a:lnTo>
                    <a:pt x="180" y="115"/>
                  </a:lnTo>
                  <a:lnTo>
                    <a:pt x="182" y="116"/>
                  </a:lnTo>
                  <a:lnTo>
                    <a:pt x="183" y="116"/>
                  </a:lnTo>
                  <a:lnTo>
                    <a:pt x="188" y="120"/>
                  </a:lnTo>
                  <a:lnTo>
                    <a:pt x="194" y="125"/>
                  </a:lnTo>
                  <a:lnTo>
                    <a:pt x="198" y="129"/>
                  </a:lnTo>
                  <a:lnTo>
                    <a:pt x="201" y="130"/>
                  </a:lnTo>
                  <a:lnTo>
                    <a:pt x="202" y="131"/>
                  </a:lnTo>
                  <a:lnTo>
                    <a:pt x="203" y="131"/>
                  </a:lnTo>
                  <a:lnTo>
                    <a:pt x="205" y="131"/>
                  </a:lnTo>
                  <a:lnTo>
                    <a:pt x="206" y="131"/>
                  </a:lnTo>
                  <a:lnTo>
                    <a:pt x="206" y="130"/>
                  </a:lnTo>
                  <a:lnTo>
                    <a:pt x="208" y="129"/>
                  </a:lnTo>
                  <a:lnTo>
                    <a:pt x="209" y="127"/>
                  </a:lnTo>
                  <a:lnTo>
                    <a:pt x="210" y="126"/>
                  </a:lnTo>
                  <a:lnTo>
                    <a:pt x="211" y="124"/>
                  </a:lnTo>
                  <a:lnTo>
                    <a:pt x="211" y="122"/>
                  </a:lnTo>
                  <a:lnTo>
                    <a:pt x="212" y="121"/>
                  </a:lnTo>
                  <a:lnTo>
                    <a:pt x="212" y="120"/>
                  </a:lnTo>
                  <a:lnTo>
                    <a:pt x="212" y="119"/>
                  </a:lnTo>
                  <a:lnTo>
                    <a:pt x="211" y="118"/>
                  </a:lnTo>
                  <a:lnTo>
                    <a:pt x="210" y="116"/>
                  </a:lnTo>
                  <a:lnTo>
                    <a:pt x="210" y="115"/>
                  </a:lnTo>
                  <a:lnTo>
                    <a:pt x="211" y="114"/>
                  </a:lnTo>
                  <a:lnTo>
                    <a:pt x="211" y="113"/>
                  </a:lnTo>
                  <a:lnTo>
                    <a:pt x="211" y="112"/>
                  </a:lnTo>
                  <a:lnTo>
                    <a:pt x="211" y="111"/>
                  </a:lnTo>
                  <a:lnTo>
                    <a:pt x="209" y="107"/>
                  </a:lnTo>
                  <a:lnTo>
                    <a:pt x="206" y="103"/>
                  </a:lnTo>
                  <a:lnTo>
                    <a:pt x="206" y="102"/>
                  </a:lnTo>
                  <a:lnTo>
                    <a:pt x="205" y="100"/>
                  </a:lnTo>
                  <a:lnTo>
                    <a:pt x="204" y="98"/>
                  </a:lnTo>
                  <a:lnTo>
                    <a:pt x="204" y="96"/>
                  </a:lnTo>
                  <a:lnTo>
                    <a:pt x="204" y="94"/>
                  </a:lnTo>
                  <a:lnTo>
                    <a:pt x="203" y="89"/>
                  </a:lnTo>
                  <a:lnTo>
                    <a:pt x="202" y="86"/>
                  </a:lnTo>
                  <a:lnTo>
                    <a:pt x="202" y="84"/>
                  </a:lnTo>
                  <a:lnTo>
                    <a:pt x="203" y="83"/>
                  </a:lnTo>
                  <a:lnTo>
                    <a:pt x="203" y="81"/>
                  </a:lnTo>
                  <a:lnTo>
                    <a:pt x="204" y="78"/>
                  </a:lnTo>
                  <a:lnTo>
                    <a:pt x="204" y="76"/>
                  </a:lnTo>
                  <a:lnTo>
                    <a:pt x="206" y="71"/>
                  </a:lnTo>
                  <a:lnTo>
                    <a:pt x="207" y="70"/>
                  </a:lnTo>
                  <a:lnTo>
                    <a:pt x="209" y="68"/>
                  </a:lnTo>
                  <a:lnTo>
                    <a:pt x="210" y="67"/>
                  </a:lnTo>
                  <a:lnTo>
                    <a:pt x="210" y="66"/>
                  </a:lnTo>
                  <a:lnTo>
                    <a:pt x="211" y="61"/>
                  </a:lnTo>
                  <a:lnTo>
                    <a:pt x="213" y="55"/>
                  </a:lnTo>
                  <a:lnTo>
                    <a:pt x="214" y="53"/>
                  </a:lnTo>
                  <a:lnTo>
                    <a:pt x="215" y="50"/>
                  </a:lnTo>
                  <a:lnTo>
                    <a:pt x="215" y="48"/>
                  </a:lnTo>
                  <a:lnTo>
                    <a:pt x="215" y="43"/>
                  </a:lnTo>
                  <a:lnTo>
                    <a:pt x="215" y="39"/>
                  </a:lnTo>
                  <a:lnTo>
                    <a:pt x="216" y="37"/>
                  </a:lnTo>
                  <a:lnTo>
                    <a:pt x="216" y="35"/>
                  </a:lnTo>
                  <a:lnTo>
                    <a:pt x="217" y="34"/>
                  </a:lnTo>
                  <a:lnTo>
                    <a:pt x="217" y="32"/>
                  </a:lnTo>
                  <a:lnTo>
                    <a:pt x="219" y="27"/>
                  </a:lnTo>
                  <a:lnTo>
                    <a:pt x="220" y="27"/>
                  </a:lnTo>
                  <a:lnTo>
                    <a:pt x="221" y="25"/>
                  </a:lnTo>
                  <a:lnTo>
                    <a:pt x="222" y="20"/>
                  </a:lnTo>
                  <a:lnTo>
                    <a:pt x="223" y="18"/>
                  </a:lnTo>
                  <a:lnTo>
                    <a:pt x="224" y="16"/>
                  </a:lnTo>
                  <a:lnTo>
                    <a:pt x="225" y="14"/>
                  </a:lnTo>
                  <a:lnTo>
                    <a:pt x="227" y="11"/>
                  </a:lnTo>
                  <a:lnTo>
                    <a:pt x="228" y="9"/>
                  </a:lnTo>
                  <a:lnTo>
                    <a:pt x="231" y="6"/>
                  </a:lnTo>
                  <a:lnTo>
                    <a:pt x="234" y="5"/>
                  </a:lnTo>
                  <a:lnTo>
                    <a:pt x="237" y="3"/>
                  </a:lnTo>
                  <a:lnTo>
                    <a:pt x="240" y="1"/>
                  </a:lnTo>
                  <a:lnTo>
                    <a:pt x="240" y="0"/>
                  </a:lnTo>
                  <a:lnTo>
                    <a:pt x="241" y="0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7" name="Freeform 20">
              <a:extLst>
                <a:ext uri="{FF2B5EF4-FFF2-40B4-BE49-F238E27FC236}">
                  <a16:creationId xmlns:a16="http://schemas.microsoft.com/office/drawing/2014/main" id="{66FA8645-0427-42C5-826F-6E11EA517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8" y="3042"/>
              <a:ext cx="750" cy="649"/>
            </a:xfrm>
            <a:custGeom>
              <a:avLst/>
              <a:gdLst>
                <a:gd name="T0" fmla="*/ 273 w 750"/>
                <a:gd name="T1" fmla="*/ 36 h 649"/>
                <a:gd name="T2" fmla="*/ 320 w 750"/>
                <a:gd name="T3" fmla="*/ 33 h 649"/>
                <a:gd name="T4" fmla="*/ 358 w 750"/>
                <a:gd name="T5" fmla="*/ 58 h 649"/>
                <a:gd name="T6" fmla="*/ 355 w 750"/>
                <a:gd name="T7" fmla="*/ 76 h 649"/>
                <a:gd name="T8" fmla="*/ 392 w 750"/>
                <a:gd name="T9" fmla="*/ 99 h 649"/>
                <a:gd name="T10" fmla="*/ 429 w 750"/>
                <a:gd name="T11" fmla="*/ 97 h 649"/>
                <a:gd name="T12" fmla="*/ 480 w 750"/>
                <a:gd name="T13" fmla="*/ 113 h 649"/>
                <a:gd name="T14" fmla="*/ 531 w 750"/>
                <a:gd name="T15" fmla="*/ 109 h 649"/>
                <a:gd name="T16" fmla="*/ 550 w 750"/>
                <a:gd name="T17" fmla="*/ 138 h 649"/>
                <a:gd name="T18" fmla="*/ 570 w 750"/>
                <a:gd name="T19" fmla="*/ 194 h 649"/>
                <a:gd name="T20" fmla="*/ 627 w 750"/>
                <a:gd name="T21" fmla="*/ 217 h 649"/>
                <a:gd name="T22" fmla="*/ 685 w 750"/>
                <a:gd name="T23" fmla="*/ 215 h 649"/>
                <a:gd name="T24" fmla="*/ 718 w 750"/>
                <a:gd name="T25" fmla="*/ 217 h 649"/>
                <a:gd name="T26" fmla="*/ 727 w 750"/>
                <a:gd name="T27" fmla="*/ 241 h 649"/>
                <a:gd name="T28" fmla="*/ 726 w 750"/>
                <a:gd name="T29" fmla="*/ 278 h 649"/>
                <a:gd name="T30" fmla="*/ 702 w 750"/>
                <a:gd name="T31" fmla="*/ 312 h 649"/>
                <a:gd name="T32" fmla="*/ 668 w 750"/>
                <a:gd name="T33" fmla="*/ 363 h 649"/>
                <a:gd name="T34" fmla="*/ 687 w 750"/>
                <a:gd name="T35" fmla="*/ 379 h 649"/>
                <a:gd name="T36" fmla="*/ 727 w 750"/>
                <a:gd name="T37" fmla="*/ 409 h 649"/>
                <a:gd name="T38" fmla="*/ 725 w 750"/>
                <a:gd name="T39" fmla="*/ 437 h 649"/>
                <a:gd name="T40" fmla="*/ 714 w 750"/>
                <a:gd name="T41" fmla="*/ 457 h 649"/>
                <a:gd name="T42" fmla="*/ 678 w 750"/>
                <a:gd name="T43" fmla="*/ 455 h 649"/>
                <a:gd name="T44" fmla="*/ 618 w 750"/>
                <a:gd name="T45" fmla="*/ 422 h 649"/>
                <a:gd name="T46" fmla="*/ 546 w 750"/>
                <a:gd name="T47" fmla="*/ 388 h 649"/>
                <a:gd name="T48" fmla="*/ 502 w 750"/>
                <a:gd name="T49" fmla="*/ 383 h 649"/>
                <a:gd name="T50" fmla="*/ 469 w 750"/>
                <a:gd name="T51" fmla="*/ 417 h 649"/>
                <a:gd name="T52" fmla="*/ 412 w 750"/>
                <a:gd name="T53" fmla="*/ 430 h 649"/>
                <a:gd name="T54" fmla="*/ 400 w 750"/>
                <a:gd name="T55" fmla="*/ 381 h 649"/>
                <a:gd name="T56" fmla="*/ 347 w 750"/>
                <a:gd name="T57" fmla="*/ 368 h 649"/>
                <a:gd name="T58" fmla="*/ 304 w 750"/>
                <a:gd name="T59" fmla="*/ 348 h 649"/>
                <a:gd name="T60" fmla="*/ 278 w 750"/>
                <a:gd name="T61" fmla="*/ 365 h 649"/>
                <a:gd name="T62" fmla="*/ 266 w 750"/>
                <a:gd name="T63" fmla="*/ 429 h 649"/>
                <a:gd name="T64" fmla="*/ 264 w 750"/>
                <a:gd name="T65" fmla="*/ 524 h 649"/>
                <a:gd name="T66" fmla="*/ 249 w 750"/>
                <a:gd name="T67" fmla="*/ 601 h 649"/>
                <a:gd name="T68" fmla="*/ 259 w 750"/>
                <a:gd name="T69" fmla="*/ 640 h 649"/>
                <a:gd name="T70" fmla="*/ 205 w 750"/>
                <a:gd name="T71" fmla="*/ 640 h 649"/>
                <a:gd name="T72" fmla="*/ 190 w 750"/>
                <a:gd name="T73" fmla="*/ 579 h 649"/>
                <a:gd name="T74" fmla="*/ 160 w 750"/>
                <a:gd name="T75" fmla="*/ 547 h 649"/>
                <a:gd name="T76" fmla="*/ 126 w 750"/>
                <a:gd name="T77" fmla="*/ 514 h 649"/>
                <a:gd name="T78" fmla="*/ 100 w 750"/>
                <a:gd name="T79" fmla="*/ 462 h 649"/>
                <a:gd name="T80" fmla="*/ 105 w 750"/>
                <a:gd name="T81" fmla="*/ 437 h 649"/>
                <a:gd name="T82" fmla="*/ 84 w 750"/>
                <a:gd name="T83" fmla="*/ 428 h 649"/>
                <a:gd name="T84" fmla="*/ 71 w 750"/>
                <a:gd name="T85" fmla="*/ 386 h 649"/>
                <a:gd name="T86" fmla="*/ 42 w 750"/>
                <a:gd name="T87" fmla="*/ 364 h 649"/>
                <a:gd name="T88" fmla="*/ 27 w 750"/>
                <a:gd name="T89" fmla="*/ 334 h 649"/>
                <a:gd name="T90" fmla="*/ 32 w 750"/>
                <a:gd name="T91" fmla="*/ 295 h 649"/>
                <a:gd name="T92" fmla="*/ 1 w 750"/>
                <a:gd name="T93" fmla="*/ 278 h 649"/>
                <a:gd name="T94" fmla="*/ 9 w 750"/>
                <a:gd name="T95" fmla="*/ 239 h 649"/>
                <a:gd name="T96" fmla="*/ 34 w 750"/>
                <a:gd name="T97" fmla="*/ 223 h 649"/>
                <a:gd name="T98" fmla="*/ 57 w 750"/>
                <a:gd name="T99" fmla="*/ 196 h 649"/>
                <a:gd name="T100" fmla="*/ 90 w 750"/>
                <a:gd name="T101" fmla="*/ 222 h 649"/>
                <a:gd name="T102" fmla="*/ 129 w 750"/>
                <a:gd name="T103" fmla="*/ 229 h 649"/>
                <a:gd name="T104" fmla="*/ 122 w 750"/>
                <a:gd name="T105" fmla="*/ 210 h 649"/>
                <a:gd name="T106" fmla="*/ 125 w 750"/>
                <a:gd name="T107" fmla="*/ 166 h 649"/>
                <a:gd name="T108" fmla="*/ 104 w 750"/>
                <a:gd name="T109" fmla="*/ 140 h 649"/>
                <a:gd name="T110" fmla="*/ 94 w 750"/>
                <a:gd name="T111" fmla="*/ 101 h 649"/>
                <a:gd name="T112" fmla="*/ 147 w 750"/>
                <a:gd name="T113" fmla="*/ 102 h 649"/>
                <a:gd name="T114" fmla="*/ 186 w 750"/>
                <a:gd name="T115" fmla="*/ 58 h 649"/>
                <a:gd name="T116" fmla="*/ 182 w 750"/>
                <a:gd name="T117" fmla="*/ 18 h 649"/>
                <a:gd name="T118" fmla="*/ 218 w 750"/>
                <a:gd name="T119" fmla="*/ 2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0" h="649">
                  <a:moveTo>
                    <a:pt x="224" y="0"/>
                  </a:moveTo>
                  <a:lnTo>
                    <a:pt x="226" y="2"/>
                  </a:lnTo>
                  <a:lnTo>
                    <a:pt x="229" y="4"/>
                  </a:lnTo>
                  <a:lnTo>
                    <a:pt x="231" y="6"/>
                  </a:lnTo>
                  <a:lnTo>
                    <a:pt x="234" y="7"/>
                  </a:lnTo>
                  <a:lnTo>
                    <a:pt x="236" y="9"/>
                  </a:lnTo>
                  <a:lnTo>
                    <a:pt x="243" y="17"/>
                  </a:lnTo>
                  <a:lnTo>
                    <a:pt x="246" y="19"/>
                  </a:lnTo>
                  <a:lnTo>
                    <a:pt x="258" y="29"/>
                  </a:lnTo>
                  <a:lnTo>
                    <a:pt x="261" y="31"/>
                  </a:lnTo>
                  <a:lnTo>
                    <a:pt x="263" y="33"/>
                  </a:lnTo>
                  <a:lnTo>
                    <a:pt x="264" y="34"/>
                  </a:lnTo>
                  <a:lnTo>
                    <a:pt x="265" y="35"/>
                  </a:lnTo>
                  <a:lnTo>
                    <a:pt x="268" y="36"/>
                  </a:lnTo>
                  <a:lnTo>
                    <a:pt x="270" y="36"/>
                  </a:lnTo>
                  <a:lnTo>
                    <a:pt x="273" y="36"/>
                  </a:lnTo>
                  <a:lnTo>
                    <a:pt x="275" y="35"/>
                  </a:lnTo>
                  <a:lnTo>
                    <a:pt x="276" y="35"/>
                  </a:lnTo>
                  <a:lnTo>
                    <a:pt x="278" y="34"/>
                  </a:lnTo>
                  <a:lnTo>
                    <a:pt x="288" y="29"/>
                  </a:lnTo>
                  <a:lnTo>
                    <a:pt x="292" y="27"/>
                  </a:lnTo>
                  <a:lnTo>
                    <a:pt x="295" y="26"/>
                  </a:lnTo>
                  <a:lnTo>
                    <a:pt x="298" y="25"/>
                  </a:lnTo>
                  <a:lnTo>
                    <a:pt x="300" y="24"/>
                  </a:lnTo>
                  <a:lnTo>
                    <a:pt x="302" y="24"/>
                  </a:lnTo>
                  <a:lnTo>
                    <a:pt x="305" y="24"/>
                  </a:lnTo>
                  <a:lnTo>
                    <a:pt x="307" y="25"/>
                  </a:lnTo>
                  <a:lnTo>
                    <a:pt x="308" y="25"/>
                  </a:lnTo>
                  <a:lnTo>
                    <a:pt x="309" y="26"/>
                  </a:lnTo>
                  <a:lnTo>
                    <a:pt x="312" y="27"/>
                  </a:lnTo>
                  <a:lnTo>
                    <a:pt x="314" y="29"/>
                  </a:lnTo>
                  <a:lnTo>
                    <a:pt x="320" y="33"/>
                  </a:lnTo>
                  <a:lnTo>
                    <a:pt x="323" y="36"/>
                  </a:lnTo>
                  <a:lnTo>
                    <a:pt x="327" y="39"/>
                  </a:lnTo>
                  <a:lnTo>
                    <a:pt x="331" y="40"/>
                  </a:lnTo>
                  <a:lnTo>
                    <a:pt x="332" y="41"/>
                  </a:lnTo>
                  <a:lnTo>
                    <a:pt x="335" y="42"/>
                  </a:lnTo>
                  <a:lnTo>
                    <a:pt x="344" y="46"/>
                  </a:lnTo>
                  <a:lnTo>
                    <a:pt x="348" y="47"/>
                  </a:lnTo>
                  <a:lnTo>
                    <a:pt x="351" y="48"/>
                  </a:lnTo>
                  <a:lnTo>
                    <a:pt x="353" y="50"/>
                  </a:lnTo>
                  <a:lnTo>
                    <a:pt x="355" y="51"/>
                  </a:lnTo>
                  <a:lnTo>
                    <a:pt x="355" y="51"/>
                  </a:lnTo>
                  <a:lnTo>
                    <a:pt x="356" y="52"/>
                  </a:lnTo>
                  <a:lnTo>
                    <a:pt x="357" y="53"/>
                  </a:lnTo>
                  <a:lnTo>
                    <a:pt x="358" y="55"/>
                  </a:lnTo>
                  <a:lnTo>
                    <a:pt x="358" y="56"/>
                  </a:lnTo>
                  <a:lnTo>
                    <a:pt x="358" y="58"/>
                  </a:lnTo>
                  <a:lnTo>
                    <a:pt x="358" y="60"/>
                  </a:lnTo>
                  <a:lnTo>
                    <a:pt x="357" y="62"/>
                  </a:lnTo>
                  <a:lnTo>
                    <a:pt x="357" y="63"/>
                  </a:lnTo>
                  <a:lnTo>
                    <a:pt x="356" y="65"/>
                  </a:lnTo>
                  <a:lnTo>
                    <a:pt x="355" y="66"/>
                  </a:lnTo>
                  <a:lnTo>
                    <a:pt x="355" y="67"/>
                  </a:lnTo>
                  <a:lnTo>
                    <a:pt x="354" y="68"/>
                  </a:lnTo>
                  <a:lnTo>
                    <a:pt x="353" y="69"/>
                  </a:lnTo>
                  <a:lnTo>
                    <a:pt x="349" y="71"/>
                  </a:lnTo>
                  <a:lnTo>
                    <a:pt x="348" y="72"/>
                  </a:lnTo>
                  <a:lnTo>
                    <a:pt x="348" y="73"/>
                  </a:lnTo>
                  <a:lnTo>
                    <a:pt x="349" y="74"/>
                  </a:lnTo>
                  <a:lnTo>
                    <a:pt x="350" y="74"/>
                  </a:lnTo>
                  <a:lnTo>
                    <a:pt x="351" y="75"/>
                  </a:lnTo>
                  <a:lnTo>
                    <a:pt x="353" y="76"/>
                  </a:lnTo>
                  <a:lnTo>
                    <a:pt x="355" y="76"/>
                  </a:lnTo>
                  <a:lnTo>
                    <a:pt x="357" y="77"/>
                  </a:lnTo>
                  <a:lnTo>
                    <a:pt x="359" y="77"/>
                  </a:lnTo>
                  <a:lnTo>
                    <a:pt x="366" y="78"/>
                  </a:lnTo>
                  <a:lnTo>
                    <a:pt x="369" y="79"/>
                  </a:lnTo>
                  <a:lnTo>
                    <a:pt x="371" y="79"/>
                  </a:lnTo>
                  <a:lnTo>
                    <a:pt x="373" y="80"/>
                  </a:lnTo>
                  <a:lnTo>
                    <a:pt x="374" y="80"/>
                  </a:lnTo>
                  <a:lnTo>
                    <a:pt x="376" y="82"/>
                  </a:lnTo>
                  <a:lnTo>
                    <a:pt x="378" y="83"/>
                  </a:lnTo>
                  <a:lnTo>
                    <a:pt x="378" y="84"/>
                  </a:lnTo>
                  <a:lnTo>
                    <a:pt x="380" y="85"/>
                  </a:lnTo>
                  <a:lnTo>
                    <a:pt x="382" y="87"/>
                  </a:lnTo>
                  <a:lnTo>
                    <a:pt x="385" y="90"/>
                  </a:lnTo>
                  <a:lnTo>
                    <a:pt x="389" y="97"/>
                  </a:lnTo>
                  <a:lnTo>
                    <a:pt x="391" y="98"/>
                  </a:lnTo>
                  <a:lnTo>
                    <a:pt x="392" y="99"/>
                  </a:lnTo>
                  <a:lnTo>
                    <a:pt x="394" y="101"/>
                  </a:lnTo>
                  <a:lnTo>
                    <a:pt x="395" y="102"/>
                  </a:lnTo>
                  <a:lnTo>
                    <a:pt x="397" y="103"/>
                  </a:lnTo>
                  <a:lnTo>
                    <a:pt x="399" y="104"/>
                  </a:lnTo>
                  <a:lnTo>
                    <a:pt x="401" y="105"/>
                  </a:lnTo>
                  <a:lnTo>
                    <a:pt x="403" y="105"/>
                  </a:lnTo>
                  <a:lnTo>
                    <a:pt x="405" y="106"/>
                  </a:lnTo>
                  <a:lnTo>
                    <a:pt x="407" y="106"/>
                  </a:lnTo>
                  <a:lnTo>
                    <a:pt x="409" y="106"/>
                  </a:lnTo>
                  <a:lnTo>
                    <a:pt x="410" y="106"/>
                  </a:lnTo>
                  <a:lnTo>
                    <a:pt x="412" y="105"/>
                  </a:lnTo>
                  <a:lnTo>
                    <a:pt x="414" y="104"/>
                  </a:lnTo>
                  <a:lnTo>
                    <a:pt x="417" y="103"/>
                  </a:lnTo>
                  <a:lnTo>
                    <a:pt x="420" y="102"/>
                  </a:lnTo>
                  <a:lnTo>
                    <a:pt x="426" y="98"/>
                  </a:lnTo>
                  <a:lnTo>
                    <a:pt x="429" y="97"/>
                  </a:lnTo>
                  <a:lnTo>
                    <a:pt x="431" y="97"/>
                  </a:lnTo>
                  <a:lnTo>
                    <a:pt x="433" y="96"/>
                  </a:lnTo>
                  <a:lnTo>
                    <a:pt x="434" y="96"/>
                  </a:lnTo>
                  <a:lnTo>
                    <a:pt x="435" y="96"/>
                  </a:lnTo>
                  <a:lnTo>
                    <a:pt x="437" y="97"/>
                  </a:lnTo>
                  <a:lnTo>
                    <a:pt x="440" y="97"/>
                  </a:lnTo>
                  <a:lnTo>
                    <a:pt x="453" y="100"/>
                  </a:lnTo>
                  <a:lnTo>
                    <a:pt x="457" y="101"/>
                  </a:lnTo>
                  <a:lnTo>
                    <a:pt x="467" y="104"/>
                  </a:lnTo>
                  <a:lnTo>
                    <a:pt x="473" y="107"/>
                  </a:lnTo>
                  <a:lnTo>
                    <a:pt x="478" y="108"/>
                  </a:lnTo>
                  <a:lnTo>
                    <a:pt x="480" y="109"/>
                  </a:lnTo>
                  <a:lnTo>
                    <a:pt x="480" y="109"/>
                  </a:lnTo>
                  <a:lnTo>
                    <a:pt x="480" y="110"/>
                  </a:lnTo>
                  <a:lnTo>
                    <a:pt x="480" y="111"/>
                  </a:lnTo>
                  <a:lnTo>
                    <a:pt x="480" y="113"/>
                  </a:lnTo>
                  <a:lnTo>
                    <a:pt x="480" y="113"/>
                  </a:lnTo>
                  <a:lnTo>
                    <a:pt x="480" y="114"/>
                  </a:lnTo>
                  <a:lnTo>
                    <a:pt x="481" y="115"/>
                  </a:lnTo>
                  <a:lnTo>
                    <a:pt x="482" y="115"/>
                  </a:lnTo>
                  <a:lnTo>
                    <a:pt x="483" y="115"/>
                  </a:lnTo>
                  <a:lnTo>
                    <a:pt x="485" y="115"/>
                  </a:lnTo>
                  <a:lnTo>
                    <a:pt x="491" y="115"/>
                  </a:lnTo>
                  <a:lnTo>
                    <a:pt x="495" y="115"/>
                  </a:lnTo>
                  <a:lnTo>
                    <a:pt x="499" y="114"/>
                  </a:lnTo>
                  <a:lnTo>
                    <a:pt x="505" y="112"/>
                  </a:lnTo>
                  <a:lnTo>
                    <a:pt x="509" y="112"/>
                  </a:lnTo>
                  <a:lnTo>
                    <a:pt x="512" y="111"/>
                  </a:lnTo>
                  <a:lnTo>
                    <a:pt x="519" y="111"/>
                  </a:lnTo>
                  <a:lnTo>
                    <a:pt x="526" y="110"/>
                  </a:lnTo>
                  <a:lnTo>
                    <a:pt x="528" y="109"/>
                  </a:lnTo>
                  <a:lnTo>
                    <a:pt x="531" y="109"/>
                  </a:lnTo>
                  <a:lnTo>
                    <a:pt x="533" y="110"/>
                  </a:lnTo>
                  <a:lnTo>
                    <a:pt x="536" y="110"/>
                  </a:lnTo>
                  <a:lnTo>
                    <a:pt x="537" y="111"/>
                  </a:lnTo>
                  <a:lnTo>
                    <a:pt x="539" y="111"/>
                  </a:lnTo>
                  <a:lnTo>
                    <a:pt x="540" y="112"/>
                  </a:lnTo>
                  <a:lnTo>
                    <a:pt x="542" y="113"/>
                  </a:lnTo>
                  <a:lnTo>
                    <a:pt x="543" y="114"/>
                  </a:lnTo>
                  <a:lnTo>
                    <a:pt x="544" y="115"/>
                  </a:lnTo>
                  <a:lnTo>
                    <a:pt x="545" y="117"/>
                  </a:lnTo>
                  <a:lnTo>
                    <a:pt x="546" y="118"/>
                  </a:lnTo>
                  <a:lnTo>
                    <a:pt x="547" y="119"/>
                  </a:lnTo>
                  <a:lnTo>
                    <a:pt x="548" y="122"/>
                  </a:lnTo>
                  <a:lnTo>
                    <a:pt x="548" y="126"/>
                  </a:lnTo>
                  <a:lnTo>
                    <a:pt x="549" y="130"/>
                  </a:lnTo>
                  <a:lnTo>
                    <a:pt x="549" y="133"/>
                  </a:lnTo>
                  <a:lnTo>
                    <a:pt x="550" y="138"/>
                  </a:lnTo>
                  <a:lnTo>
                    <a:pt x="550" y="142"/>
                  </a:lnTo>
                  <a:lnTo>
                    <a:pt x="549" y="147"/>
                  </a:lnTo>
                  <a:lnTo>
                    <a:pt x="548" y="154"/>
                  </a:lnTo>
                  <a:lnTo>
                    <a:pt x="548" y="158"/>
                  </a:lnTo>
                  <a:lnTo>
                    <a:pt x="548" y="163"/>
                  </a:lnTo>
                  <a:lnTo>
                    <a:pt x="548" y="165"/>
                  </a:lnTo>
                  <a:lnTo>
                    <a:pt x="548" y="168"/>
                  </a:lnTo>
                  <a:lnTo>
                    <a:pt x="549" y="170"/>
                  </a:lnTo>
                  <a:lnTo>
                    <a:pt x="550" y="174"/>
                  </a:lnTo>
                  <a:lnTo>
                    <a:pt x="552" y="177"/>
                  </a:lnTo>
                  <a:lnTo>
                    <a:pt x="553" y="179"/>
                  </a:lnTo>
                  <a:lnTo>
                    <a:pt x="555" y="180"/>
                  </a:lnTo>
                  <a:lnTo>
                    <a:pt x="556" y="182"/>
                  </a:lnTo>
                  <a:lnTo>
                    <a:pt x="558" y="184"/>
                  </a:lnTo>
                  <a:lnTo>
                    <a:pt x="563" y="189"/>
                  </a:lnTo>
                  <a:lnTo>
                    <a:pt x="570" y="194"/>
                  </a:lnTo>
                  <a:lnTo>
                    <a:pt x="571" y="195"/>
                  </a:lnTo>
                  <a:lnTo>
                    <a:pt x="578" y="201"/>
                  </a:lnTo>
                  <a:lnTo>
                    <a:pt x="580" y="203"/>
                  </a:lnTo>
                  <a:lnTo>
                    <a:pt x="582" y="205"/>
                  </a:lnTo>
                  <a:lnTo>
                    <a:pt x="585" y="207"/>
                  </a:lnTo>
                  <a:lnTo>
                    <a:pt x="599" y="215"/>
                  </a:lnTo>
                  <a:lnTo>
                    <a:pt x="607" y="219"/>
                  </a:lnTo>
                  <a:lnTo>
                    <a:pt x="608" y="220"/>
                  </a:lnTo>
                  <a:lnTo>
                    <a:pt x="610" y="220"/>
                  </a:lnTo>
                  <a:lnTo>
                    <a:pt x="611" y="220"/>
                  </a:lnTo>
                  <a:lnTo>
                    <a:pt x="613" y="220"/>
                  </a:lnTo>
                  <a:lnTo>
                    <a:pt x="617" y="218"/>
                  </a:lnTo>
                  <a:lnTo>
                    <a:pt x="620" y="217"/>
                  </a:lnTo>
                  <a:lnTo>
                    <a:pt x="622" y="217"/>
                  </a:lnTo>
                  <a:lnTo>
                    <a:pt x="625" y="217"/>
                  </a:lnTo>
                  <a:lnTo>
                    <a:pt x="627" y="217"/>
                  </a:lnTo>
                  <a:lnTo>
                    <a:pt x="628" y="218"/>
                  </a:lnTo>
                  <a:lnTo>
                    <a:pt x="639" y="221"/>
                  </a:lnTo>
                  <a:lnTo>
                    <a:pt x="641" y="221"/>
                  </a:lnTo>
                  <a:lnTo>
                    <a:pt x="644" y="221"/>
                  </a:lnTo>
                  <a:lnTo>
                    <a:pt x="647" y="221"/>
                  </a:lnTo>
                  <a:lnTo>
                    <a:pt x="652" y="221"/>
                  </a:lnTo>
                  <a:lnTo>
                    <a:pt x="656" y="221"/>
                  </a:lnTo>
                  <a:lnTo>
                    <a:pt x="661" y="221"/>
                  </a:lnTo>
                  <a:lnTo>
                    <a:pt x="663" y="221"/>
                  </a:lnTo>
                  <a:lnTo>
                    <a:pt x="665" y="221"/>
                  </a:lnTo>
                  <a:lnTo>
                    <a:pt x="668" y="221"/>
                  </a:lnTo>
                  <a:lnTo>
                    <a:pt x="670" y="221"/>
                  </a:lnTo>
                  <a:lnTo>
                    <a:pt x="673" y="220"/>
                  </a:lnTo>
                  <a:lnTo>
                    <a:pt x="679" y="217"/>
                  </a:lnTo>
                  <a:lnTo>
                    <a:pt x="683" y="216"/>
                  </a:lnTo>
                  <a:lnTo>
                    <a:pt x="685" y="215"/>
                  </a:lnTo>
                  <a:lnTo>
                    <a:pt x="692" y="214"/>
                  </a:lnTo>
                  <a:lnTo>
                    <a:pt x="695" y="213"/>
                  </a:lnTo>
                  <a:lnTo>
                    <a:pt x="696" y="212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3" y="210"/>
                  </a:lnTo>
                  <a:lnTo>
                    <a:pt x="705" y="210"/>
                  </a:lnTo>
                  <a:lnTo>
                    <a:pt x="706" y="210"/>
                  </a:lnTo>
                  <a:lnTo>
                    <a:pt x="707" y="210"/>
                  </a:lnTo>
                  <a:lnTo>
                    <a:pt x="708" y="210"/>
                  </a:lnTo>
                  <a:lnTo>
                    <a:pt x="709" y="211"/>
                  </a:lnTo>
                  <a:lnTo>
                    <a:pt x="712" y="213"/>
                  </a:lnTo>
                  <a:lnTo>
                    <a:pt x="716" y="215"/>
                  </a:lnTo>
                  <a:lnTo>
                    <a:pt x="717" y="216"/>
                  </a:lnTo>
                  <a:lnTo>
                    <a:pt x="717" y="217"/>
                  </a:lnTo>
                  <a:lnTo>
                    <a:pt x="718" y="217"/>
                  </a:lnTo>
                  <a:lnTo>
                    <a:pt x="719" y="218"/>
                  </a:lnTo>
                  <a:lnTo>
                    <a:pt x="719" y="219"/>
                  </a:lnTo>
                  <a:lnTo>
                    <a:pt x="719" y="221"/>
                  </a:lnTo>
                  <a:lnTo>
                    <a:pt x="719" y="221"/>
                  </a:lnTo>
                  <a:lnTo>
                    <a:pt x="719" y="223"/>
                  </a:lnTo>
                  <a:lnTo>
                    <a:pt x="719" y="224"/>
                  </a:lnTo>
                  <a:lnTo>
                    <a:pt x="718" y="228"/>
                  </a:lnTo>
                  <a:lnTo>
                    <a:pt x="718" y="229"/>
                  </a:lnTo>
                  <a:lnTo>
                    <a:pt x="718" y="230"/>
                  </a:lnTo>
                  <a:lnTo>
                    <a:pt x="718" y="231"/>
                  </a:lnTo>
                  <a:lnTo>
                    <a:pt x="718" y="233"/>
                  </a:lnTo>
                  <a:lnTo>
                    <a:pt x="719" y="233"/>
                  </a:lnTo>
                  <a:lnTo>
                    <a:pt x="719" y="234"/>
                  </a:lnTo>
                  <a:lnTo>
                    <a:pt x="721" y="237"/>
                  </a:lnTo>
                  <a:lnTo>
                    <a:pt x="724" y="239"/>
                  </a:lnTo>
                  <a:lnTo>
                    <a:pt x="727" y="241"/>
                  </a:lnTo>
                  <a:lnTo>
                    <a:pt x="732" y="244"/>
                  </a:lnTo>
                  <a:lnTo>
                    <a:pt x="734" y="246"/>
                  </a:lnTo>
                  <a:lnTo>
                    <a:pt x="736" y="247"/>
                  </a:lnTo>
                  <a:lnTo>
                    <a:pt x="739" y="250"/>
                  </a:lnTo>
                  <a:lnTo>
                    <a:pt x="743" y="256"/>
                  </a:lnTo>
                  <a:lnTo>
                    <a:pt x="749" y="262"/>
                  </a:lnTo>
                  <a:lnTo>
                    <a:pt x="750" y="263"/>
                  </a:lnTo>
                  <a:lnTo>
                    <a:pt x="749" y="264"/>
                  </a:lnTo>
                  <a:lnTo>
                    <a:pt x="748" y="265"/>
                  </a:lnTo>
                  <a:lnTo>
                    <a:pt x="745" y="268"/>
                  </a:lnTo>
                  <a:lnTo>
                    <a:pt x="743" y="270"/>
                  </a:lnTo>
                  <a:lnTo>
                    <a:pt x="741" y="272"/>
                  </a:lnTo>
                  <a:lnTo>
                    <a:pt x="739" y="274"/>
                  </a:lnTo>
                  <a:lnTo>
                    <a:pt x="735" y="276"/>
                  </a:lnTo>
                  <a:lnTo>
                    <a:pt x="730" y="277"/>
                  </a:lnTo>
                  <a:lnTo>
                    <a:pt x="726" y="278"/>
                  </a:lnTo>
                  <a:lnTo>
                    <a:pt x="720" y="279"/>
                  </a:lnTo>
                  <a:lnTo>
                    <a:pt x="719" y="280"/>
                  </a:lnTo>
                  <a:lnTo>
                    <a:pt x="717" y="280"/>
                  </a:lnTo>
                  <a:lnTo>
                    <a:pt x="716" y="281"/>
                  </a:lnTo>
                  <a:lnTo>
                    <a:pt x="715" y="282"/>
                  </a:lnTo>
                  <a:lnTo>
                    <a:pt x="714" y="283"/>
                  </a:lnTo>
                  <a:lnTo>
                    <a:pt x="713" y="285"/>
                  </a:lnTo>
                  <a:lnTo>
                    <a:pt x="710" y="289"/>
                  </a:lnTo>
                  <a:lnTo>
                    <a:pt x="707" y="294"/>
                  </a:lnTo>
                  <a:lnTo>
                    <a:pt x="707" y="296"/>
                  </a:lnTo>
                  <a:lnTo>
                    <a:pt x="707" y="298"/>
                  </a:lnTo>
                  <a:lnTo>
                    <a:pt x="706" y="300"/>
                  </a:lnTo>
                  <a:lnTo>
                    <a:pt x="704" y="307"/>
                  </a:lnTo>
                  <a:lnTo>
                    <a:pt x="704" y="310"/>
                  </a:lnTo>
                  <a:lnTo>
                    <a:pt x="703" y="311"/>
                  </a:lnTo>
                  <a:lnTo>
                    <a:pt x="702" y="312"/>
                  </a:lnTo>
                  <a:lnTo>
                    <a:pt x="701" y="314"/>
                  </a:lnTo>
                  <a:lnTo>
                    <a:pt x="696" y="321"/>
                  </a:lnTo>
                  <a:lnTo>
                    <a:pt x="696" y="323"/>
                  </a:lnTo>
                  <a:lnTo>
                    <a:pt x="695" y="325"/>
                  </a:lnTo>
                  <a:lnTo>
                    <a:pt x="693" y="331"/>
                  </a:lnTo>
                  <a:lnTo>
                    <a:pt x="692" y="334"/>
                  </a:lnTo>
                  <a:lnTo>
                    <a:pt x="691" y="335"/>
                  </a:lnTo>
                  <a:lnTo>
                    <a:pt x="690" y="337"/>
                  </a:lnTo>
                  <a:lnTo>
                    <a:pt x="688" y="339"/>
                  </a:lnTo>
                  <a:lnTo>
                    <a:pt x="682" y="346"/>
                  </a:lnTo>
                  <a:lnTo>
                    <a:pt x="678" y="349"/>
                  </a:lnTo>
                  <a:lnTo>
                    <a:pt x="677" y="351"/>
                  </a:lnTo>
                  <a:lnTo>
                    <a:pt x="673" y="354"/>
                  </a:lnTo>
                  <a:lnTo>
                    <a:pt x="671" y="357"/>
                  </a:lnTo>
                  <a:lnTo>
                    <a:pt x="669" y="361"/>
                  </a:lnTo>
                  <a:lnTo>
                    <a:pt x="668" y="363"/>
                  </a:lnTo>
                  <a:lnTo>
                    <a:pt x="667" y="365"/>
                  </a:lnTo>
                  <a:lnTo>
                    <a:pt x="667" y="368"/>
                  </a:lnTo>
                  <a:lnTo>
                    <a:pt x="667" y="369"/>
                  </a:lnTo>
                  <a:lnTo>
                    <a:pt x="667" y="370"/>
                  </a:lnTo>
                  <a:lnTo>
                    <a:pt x="668" y="371"/>
                  </a:lnTo>
                  <a:lnTo>
                    <a:pt x="669" y="372"/>
                  </a:lnTo>
                  <a:lnTo>
                    <a:pt x="670" y="372"/>
                  </a:lnTo>
                  <a:lnTo>
                    <a:pt x="672" y="372"/>
                  </a:lnTo>
                  <a:lnTo>
                    <a:pt x="676" y="373"/>
                  </a:lnTo>
                  <a:lnTo>
                    <a:pt x="679" y="373"/>
                  </a:lnTo>
                  <a:lnTo>
                    <a:pt x="680" y="374"/>
                  </a:lnTo>
                  <a:lnTo>
                    <a:pt x="682" y="374"/>
                  </a:lnTo>
                  <a:lnTo>
                    <a:pt x="683" y="375"/>
                  </a:lnTo>
                  <a:lnTo>
                    <a:pt x="685" y="376"/>
                  </a:lnTo>
                  <a:lnTo>
                    <a:pt x="686" y="377"/>
                  </a:lnTo>
                  <a:lnTo>
                    <a:pt x="687" y="379"/>
                  </a:lnTo>
                  <a:lnTo>
                    <a:pt x="688" y="380"/>
                  </a:lnTo>
                  <a:lnTo>
                    <a:pt x="692" y="386"/>
                  </a:lnTo>
                  <a:lnTo>
                    <a:pt x="693" y="388"/>
                  </a:lnTo>
                  <a:lnTo>
                    <a:pt x="695" y="390"/>
                  </a:lnTo>
                  <a:lnTo>
                    <a:pt x="696" y="391"/>
                  </a:lnTo>
                  <a:lnTo>
                    <a:pt x="698" y="393"/>
                  </a:lnTo>
                  <a:lnTo>
                    <a:pt x="701" y="395"/>
                  </a:lnTo>
                  <a:lnTo>
                    <a:pt x="705" y="396"/>
                  </a:lnTo>
                  <a:lnTo>
                    <a:pt x="711" y="399"/>
                  </a:lnTo>
                  <a:lnTo>
                    <a:pt x="713" y="401"/>
                  </a:lnTo>
                  <a:lnTo>
                    <a:pt x="716" y="402"/>
                  </a:lnTo>
                  <a:lnTo>
                    <a:pt x="719" y="403"/>
                  </a:lnTo>
                  <a:lnTo>
                    <a:pt x="720" y="404"/>
                  </a:lnTo>
                  <a:lnTo>
                    <a:pt x="723" y="406"/>
                  </a:lnTo>
                  <a:lnTo>
                    <a:pt x="725" y="408"/>
                  </a:lnTo>
                  <a:lnTo>
                    <a:pt x="727" y="409"/>
                  </a:lnTo>
                  <a:lnTo>
                    <a:pt x="728" y="411"/>
                  </a:lnTo>
                  <a:lnTo>
                    <a:pt x="730" y="413"/>
                  </a:lnTo>
                  <a:lnTo>
                    <a:pt x="730" y="414"/>
                  </a:lnTo>
                  <a:lnTo>
                    <a:pt x="733" y="418"/>
                  </a:lnTo>
                  <a:lnTo>
                    <a:pt x="737" y="425"/>
                  </a:lnTo>
                  <a:lnTo>
                    <a:pt x="738" y="427"/>
                  </a:lnTo>
                  <a:lnTo>
                    <a:pt x="739" y="428"/>
                  </a:lnTo>
                  <a:lnTo>
                    <a:pt x="738" y="430"/>
                  </a:lnTo>
                  <a:lnTo>
                    <a:pt x="734" y="434"/>
                  </a:lnTo>
                  <a:lnTo>
                    <a:pt x="733" y="435"/>
                  </a:lnTo>
                  <a:lnTo>
                    <a:pt x="732" y="435"/>
                  </a:lnTo>
                  <a:lnTo>
                    <a:pt x="731" y="436"/>
                  </a:lnTo>
                  <a:lnTo>
                    <a:pt x="730" y="436"/>
                  </a:lnTo>
                  <a:lnTo>
                    <a:pt x="727" y="437"/>
                  </a:lnTo>
                  <a:lnTo>
                    <a:pt x="726" y="437"/>
                  </a:lnTo>
                  <a:lnTo>
                    <a:pt x="725" y="437"/>
                  </a:lnTo>
                  <a:lnTo>
                    <a:pt x="725" y="440"/>
                  </a:lnTo>
                  <a:lnTo>
                    <a:pt x="725" y="441"/>
                  </a:lnTo>
                  <a:lnTo>
                    <a:pt x="724" y="444"/>
                  </a:lnTo>
                  <a:lnTo>
                    <a:pt x="723" y="445"/>
                  </a:lnTo>
                  <a:lnTo>
                    <a:pt x="720" y="448"/>
                  </a:lnTo>
                  <a:lnTo>
                    <a:pt x="720" y="448"/>
                  </a:lnTo>
                  <a:lnTo>
                    <a:pt x="720" y="449"/>
                  </a:lnTo>
                  <a:lnTo>
                    <a:pt x="720" y="450"/>
                  </a:lnTo>
                  <a:lnTo>
                    <a:pt x="721" y="451"/>
                  </a:lnTo>
                  <a:lnTo>
                    <a:pt x="722" y="451"/>
                  </a:lnTo>
                  <a:lnTo>
                    <a:pt x="721" y="451"/>
                  </a:lnTo>
                  <a:lnTo>
                    <a:pt x="721" y="452"/>
                  </a:lnTo>
                  <a:lnTo>
                    <a:pt x="719" y="453"/>
                  </a:lnTo>
                  <a:lnTo>
                    <a:pt x="717" y="455"/>
                  </a:lnTo>
                  <a:lnTo>
                    <a:pt x="716" y="456"/>
                  </a:lnTo>
                  <a:lnTo>
                    <a:pt x="714" y="457"/>
                  </a:lnTo>
                  <a:lnTo>
                    <a:pt x="712" y="457"/>
                  </a:lnTo>
                  <a:lnTo>
                    <a:pt x="712" y="458"/>
                  </a:lnTo>
                  <a:lnTo>
                    <a:pt x="711" y="459"/>
                  </a:lnTo>
                  <a:lnTo>
                    <a:pt x="710" y="460"/>
                  </a:lnTo>
                  <a:lnTo>
                    <a:pt x="707" y="470"/>
                  </a:lnTo>
                  <a:lnTo>
                    <a:pt x="705" y="472"/>
                  </a:lnTo>
                  <a:lnTo>
                    <a:pt x="705" y="475"/>
                  </a:lnTo>
                  <a:lnTo>
                    <a:pt x="704" y="475"/>
                  </a:lnTo>
                  <a:lnTo>
                    <a:pt x="702" y="474"/>
                  </a:lnTo>
                  <a:lnTo>
                    <a:pt x="699" y="473"/>
                  </a:lnTo>
                  <a:lnTo>
                    <a:pt x="696" y="471"/>
                  </a:lnTo>
                  <a:lnTo>
                    <a:pt x="693" y="469"/>
                  </a:lnTo>
                  <a:lnTo>
                    <a:pt x="688" y="466"/>
                  </a:lnTo>
                  <a:lnTo>
                    <a:pt x="685" y="462"/>
                  </a:lnTo>
                  <a:lnTo>
                    <a:pt x="682" y="459"/>
                  </a:lnTo>
                  <a:lnTo>
                    <a:pt x="678" y="455"/>
                  </a:lnTo>
                  <a:lnTo>
                    <a:pt x="672" y="446"/>
                  </a:lnTo>
                  <a:lnTo>
                    <a:pt x="668" y="442"/>
                  </a:lnTo>
                  <a:lnTo>
                    <a:pt x="666" y="440"/>
                  </a:lnTo>
                  <a:lnTo>
                    <a:pt x="663" y="437"/>
                  </a:lnTo>
                  <a:lnTo>
                    <a:pt x="661" y="436"/>
                  </a:lnTo>
                  <a:lnTo>
                    <a:pt x="657" y="434"/>
                  </a:lnTo>
                  <a:lnTo>
                    <a:pt x="654" y="432"/>
                  </a:lnTo>
                  <a:lnTo>
                    <a:pt x="651" y="431"/>
                  </a:lnTo>
                  <a:lnTo>
                    <a:pt x="649" y="430"/>
                  </a:lnTo>
                  <a:lnTo>
                    <a:pt x="647" y="429"/>
                  </a:lnTo>
                  <a:lnTo>
                    <a:pt x="643" y="428"/>
                  </a:lnTo>
                  <a:lnTo>
                    <a:pt x="638" y="427"/>
                  </a:lnTo>
                  <a:lnTo>
                    <a:pt x="635" y="426"/>
                  </a:lnTo>
                  <a:lnTo>
                    <a:pt x="624" y="424"/>
                  </a:lnTo>
                  <a:lnTo>
                    <a:pt x="621" y="423"/>
                  </a:lnTo>
                  <a:lnTo>
                    <a:pt x="618" y="422"/>
                  </a:lnTo>
                  <a:lnTo>
                    <a:pt x="615" y="421"/>
                  </a:lnTo>
                  <a:lnTo>
                    <a:pt x="612" y="420"/>
                  </a:lnTo>
                  <a:lnTo>
                    <a:pt x="609" y="418"/>
                  </a:lnTo>
                  <a:lnTo>
                    <a:pt x="606" y="417"/>
                  </a:lnTo>
                  <a:lnTo>
                    <a:pt x="601" y="414"/>
                  </a:lnTo>
                  <a:lnTo>
                    <a:pt x="591" y="407"/>
                  </a:lnTo>
                  <a:lnTo>
                    <a:pt x="581" y="400"/>
                  </a:lnTo>
                  <a:lnTo>
                    <a:pt x="577" y="397"/>
                  </a:lnTo>
                  <a:lnTo>
                    <a:pt x="573" y="395"/>
                  </a:lnTo>
                  <a:lnTo>
                    <a:pt x="569" y="392"/>
                  </a:lnTo>
                  <a:lnTo>
                    <a:pt x="564" y="391"/>
                  </a:lnTo>
                  <a:lnTo>
                    <a:pt x="560" y="390"/>
                  </a:lnTo>
                  <a:lnTo>
                    <a:pt x="557" y="389"/>
                  </a:lnTo>
                  <a:lnTo>
                    <a:pt x="554" y="388"/>
                  </a:lnTo>
                  <a:lnTo>
                    <a:pt x="550" y="388"/>
                  </a:lnTo>
                  <a:lnTo>
                    <a:pt x="546" y="388"/>
                  </a:lnTo>
                  <a:lnTo>
                    <a:pt x="541" y="388"/>
                  </a:lnTo>
                  <a:lnTo>
                    <a:pt x="535" y="389"/>
                  </a:lnTo>
                  <a:lnTo>
                    <a:pt x="532" y="389"/>
                  </a:lnTo>
                  <a:lnTo>
                    <a:pt x="529" y="389"/>
                  </a:lnTo>
                  <a:lnTo>
                    <a:pt x="526" y="389"/>
                  </a:lnTo>
                  <a:lnTo>
                    <a:pt x="521" y="388"/>
                  </a:lnTo>
                  <a:lnTo>
                    <a:pt x="519" y="387"/>
                  </a:lnTo>
                  <a:lnTo>
                    <a:pt x="517" y="387"/>
                  </a:lnTo>
                  <a:lnTo>
                    <a:pt x="514" y="385"/>
                  </a:lnTo>
                  <a:lnTo>
                    <a:pt x="509" y="382"/>
                  </a:lnTo>
                  <a:lnTo>
                    <a:pt x="506" y="382"/>
                  </a:lnTo>
                  <a:lnTo>
                    <a:pt x="505" y="381"/>
                  </a:lnTo>
                  <a:lnTo>
                    <a:pt x="504" y="381"/>
                  </a:lnTo>
                  <a:lnTo>
                    <a:pt x="503" y="381"/>
                  </a:lnTo>
                  <a:lnTo>
                    <a:pt x="503" y="382"/>
                  </a:lnTo>
                  <a:lnTo>
                    <a:pt x="502" y="383"/>
                  </a:lnTo>
                  <a:lnTo>
                    <a:pt x="501" y="384"/>
                  </a:lnTo>
                  <a:lnTo>
                    <a:pt x="500" y="385"/>
                  </a:lnTo>
                  <a:lnTo>
                    <a:pt x="499" y="387"/>
                  </a:lnTo>
                  <a:lnTo>
                    <a:pt x="497" y="394"/>
                  </a:lnTo>
                  <a:lnTo>
                    <a:pt x="495" y="398"/>
                  </a:lnTo>
                  <a:lnTo>
                    <a:pt x="493" y="403"/>
                  </a:lnTo>
                  <a:lnTo>
                    <a:pt x="490" y="409"/>
                  </a:lnTo>
                  <a:lnTo>
                    <a:pt x="488" y="411"/>
                  </a:lnTo>
                  <a:lnTo>
                    <a:pt x="487" y="413"/>
                  </a:lnTo>
                  <a:lnTo>
                    <a:pt x="485" y="414"/>
                  </a:lnTo>
                  <a:lnTo>
                    <a:pt x="483" y="415"/>
                  </a:lnTo>
                  <a:lnTo>
                    <a:pt x="482" y="415"/>
                  </a:lnTo>
                  <a:lnTo>
                    <a:pt x="481" y="416"/>
                  </a:lnTo>
                  <a:lnTo>
                    <a:pt x="479" y="416"/>
                  </a:lnTo>
                  <a:lnTo>
                    <a:pt x="476" y="417"/>
                  </a:lnTo>
                  <a:lnTo>
                    <a:pt x="469" y="417"/>
                  </a:lnTo>
                  <a:lnTo>
                    <a:pt x="462" y="418"/>
                  </a:lnTo>
                  <a:lnTo>
                    <a:pt x="458" y="418"/>
                  </a:lnTo>
                  <a:lnTo>
                    <a:pt x="455" y="419"/>
                  </a:lnTo>
                  <a:lnTo>
                    <a:pt x="450" y="420"/>
                  </a:lnTo>
                  <a:lnTo>
                    <a:pt x="446" y="422"/>
                  </a:lnTo>
                  <a:lnTo>
                    <a:pt x="441" y="424"/>
                  </a:lnTo>
                  <a:lnTo>
                    <a:pt x="433" y="428"/>
                  </a:lnTo>
                  <a:lnTo>
                    <a:pt x="430" y="429"/>
                  </a:lnTo>
                  <a:lnTo>
                    <a:pt x="428" y="430"/>
                  </a:lnTo>
                  <a:lnTo>
                    <a:pt x="426" y="430"/>
                  </a:lnTo>
                  <a:lnTo>
                    <a:pt x="424" y="431"/>
                  </a:lnTo>
                  <a:lnTo>
                    <a:pt x="419" y="432"/>
                  </a:lnTo>
                  <a:lnTo>
                    <a:pt x="415" y="432"/>
                  </a:lnTo>
                  <a:lnTo>
                    <a:pt x="414" y="431"/>
                  </a:lnTo>
                  <a:lnTo>
                    <a:pt x="413" y="431"/>
                  </a:lnTo>
                  <a:lnTo>
                    <a:pt x="412" y="430"/>
                  </a:lnTo>
                  <a:lnTo>
                    <a:pt x="411" y="430"/>
                  </a:lnTo>
                  <a:lnTo>
                    <a:pt x="411" y="429"/>
                  </a:lnTo>
                  <a:lnTo>
                    <a:pt x="410" y="428"/>
                  </a:lnTo>
                  <a:lnTo>
                    <a:pt x="409" y="426"/>
                  </a:lnTo>
                  <a:lnTo>
                    <a:pt x="409" y="425"/>
                  </a:lnTo>
                  <a:lnTo>
                    <a:pt x="409" y="423"/>
                  </a:lnTo>
                  <a:lnTo>
                    <a:pt x="409" y="414"/>
                  </a:lnTo>
                  <a:lnTo>
                    <a:pt x="409" y="412"/>
                  </a:lnTo>
                  <a:lnTo>
                    <a:pt x="409" y="409"/>
                  </a:lnTo>
                  <a:lnTo>
                    <a:pt x="409" y="407"/>
                  </a:lnTo>
                  <a:lnTo>
                    <a:pt x="408" y="404"/>
                  </a:lnTo>
                  <a:lnTo>
                    <a:pt x="407" y="399"/>
                  </a:lnTo>
                  <a:lnTo>
                    <a:pt x="406" y="396"/>
                  </a:lnTo>
                  <a:lnTo>
                    <a:pt x="403" y="390"/>
                  </a:lnTo>
                  <a:lnTo>
                    <a:pt x="401" y="384"/>
                  </a:lnTo>
                  <a:lnTo>
                    <a:pt x="400" y="381"/>
                  </a:lnTo>
                  <a:lnTo>
                    <a:pt x="400" y="380"/>
                  </a:lnTo>
                  <a:lnTo>
                    <a:pt x="398" y="378"/>
                  </a:lnTo>
                  <a:lnTo>
                    <a:pt x="397" y="377"/>
                  </a:lnTo>
                  <a:lnTo>
                    <a:pt x="395" y="375"/>
                  </a:lnTo>
                  <a:lnTo>
                    <a:pt x="392" y="374"/>
                  </a:lnTo>
                  <a:lnTo>
                    <a:pt x="389" y="372"/>
                  </a:lnTo>
                  <a:lnTo>
                    <a:pt x="386" y="371"/>
                  </a:lnTo>
                  <a:lnTo>
                    <a:pt x="383" y="370"/>
                  </a:lnTo>
                  <a:lnTo>
                    <a:pt x="378" y="370"/>
                  </a:lnTo>
                  <a:lnTo>
                    <a:pt x="373" y="369"/>
                  </a:lnTo>
                  <a:lnTo>
                    <a:pt x="368" y="369"/>
                  </a:lnTo>
                  <a:lnTo>
                    <a:pt x="362" y="369"/>
                  </a:lnTo>
                  <a:lnTo>
                    <a:pt x="358" y="369"/>
                  </a:lnTo>
                  <a:lnTo>
                    <a:pt x="354" y="369"/>
                  </a:lnTo>
                  <a:lnTo>
                    <a:pt x="350" y="369"/>
                  </a:lnTo>
                  <a:lnTo>
                    <a:pt x="347" y="368"/>
                  </a:lnTo>
                  <a:lnTo>
                    <a:pt x="344" y="367"/>
                  </a:lnTo>
                  <a:lnTo>
                    <a:pt x="343" y="366"/>
                  </a:lnTo>
                  <a:lnTo>
                    <a:pt x="341" y="365"/>
                  </a:lnTo>
                  <a:lnTo>
                    <a:pt x="339" y="364"/>
                  </a:lnTo>
                  <a:lnTo>
                    <a:pt x="337" y="363"/>
                  </a:lnTo>
                  <a:lnTo>
                    <a:pt x="335" y="362"/>
                  </a:lnTo>
                  <a:lnTo>
                    <a:pt x="331" y="357"/>
                  </a:lnTo>
                  <a:lnTo>
                    <a:pt x="329" y="356"/>
                  </a:lnTo>
                  <a:lnTo>
                    <a:pt x="327" y="355"/>
                  </a:lnTo>
                  <a:lnTo>
                    <a:pt x="326" y="354"/>
                  </a:lnTo>
                  <a:lnTo>
                    <a:pt x="324" y="353"/>
                  </a:lnTo>
                  <a:lnTo>
                    <a:pt x="322" y="353"/>
                  </a:lnTo>
                  <a:lnTo>
                    <a:pt x="321" y="352"/>
                  </a:lnTo>
                  <a:lnTo>
                    <a:pt x="319" y="351"/>
                  </a:lnTo>
                  <a:lnTo>
                    <a:pt x="312" y="350"/>
                  </a:lnTo>
                  <a:lnTo>
                    <a:pt x="304" y="348"/>
                  </a:lnTo>
                  <a:lnTo>
                    <a:pt x="300" y="348"/>
                  </a:lnTo>
                  <a:lnTo>
                    <a:pt x="298" y="348"/>
                  </a:lnTo>
                  <a:lnTo>
                    <a:pt x="297" y="348"/>
                  </a:lnTo>
                  <a:lnTo>
                    <a:pt x="294" y="348"/>
                  </a:lnTo>
                  <a:lnTo>
                    <a:pt x="292" y="349"/>
                  </a:lnTo>
                  <a:lnTo>
                    <a:pt x="290" y="350"/>
                  </a:lnTo>
                  <a:lnTo>
                    <a:pt x="287" y="351"/>
                  </a:lnTo>
                  <a:lnTo>
                    <a:pt x="286" y="352"/>
                  </a:lnTo>
                  <a:lnTo>
                    <a:pt x="284" y="353"/>
                  </a:lnTo>
                  <a:lnTo>
                    <a:pt x="283" y="354"/>
                  </a:lnTo>
                  <a:lnTo>
                    <a:pt x="282" y="355"/>
                  </a:lnTo>
                  <a:lnTo>
                    <a:pt x="281" y="356"/>
                  </a:lnTo>
                  <a:lnTo>
                    <a:pt x="280" y="357"/>
                  </a:lnTo>
                  <a:lnTo>
                    <a:pt x="279" y="358"/>
                  </a:lnTo>
                  <a:lnTo>
                    <a:pt x="279" y="359"/>
                  </a:lnTo>
                  <a:lnTo>
                    <a:pt x="278" y="365"/>
                  </a:lnTo>
                  <a:lnTo>
                    <a:pt x="277" y="368"/>
                  </a:lnTo>
                  <a:lnTo>
                    <a:pt x="276" y="371"/>
                  </a:lnTo>
                  <a:lnTo>
                    <a:pt x="275" y="374"/>
                  </a:lnTo>
                  <a:lnTo>
                    <a:pt x="274" y="378"/>
                  </a:lnTo>
                  <a:lnTo>
                    <a:pt x="270" y="386"/>
                  </a:lnTo>
                  <a:lnTo>
                    <a:pt x="268" y="388"/>
                  </a:lnTo>
                  <a:lnTo>
                    <a:pt x="267" y="391"/>
                  </a:lnTo>
                  <a:lnTo>
                    <a:pt x="266" y="394"/>
                  </a:lnTo>
                  <a:lnTo>
                    <a:pt x="266" y="397"/>
                  </a:lnTo>
                  <a:lnTo>
                    <a:pt x="265" y="400"/>
                  </a:lnTo>
                  <a:lnTo>
                    <a:pt x="265" y="403"/>
                  </a:lnTo>
                  <a:lnTo>
                    <a:pt x="264" y="406"/>
                  </a:lnTo>
                  <a:lnTo>
                    <a:pt x="264" y="411"/>
                  </a:lnTo>
                  <a:lnTo>
                    <a:pt x="264" y="416"/>
                  </a:lnTo>
                  <a:lnTo>
                    <a:pt x="265" y="421"/>
                  </a:lnTo>
                  <a:lnTo>
                    <a:pt x="266" y="429"/>
                  </a:lnTo>
                  <a:lnTo>
                    <a:pt x="268" y="440"/>
                  </a:lnTo>
                  <a:lnTo>
                    <a:pt x="268" y="449"/>
                  </a:lnTo>
                  <a:lnTo>
                    <a:pt x="269" y="452"/>
                  </a:lnTo>
                  <a:lnTo>
                    <a:pt x="272" y="467"/>
                  </a:lnTo>
                  <a:lnTo>
                    <a:pt x="273" y="471"/>
                  </a:lnTo>
                  <a:lnTo>
                    <a:pt x="273" y="475"/>
                  </a:lnTo>
                  <a:lnTo>
                    <a:pt x="273" y="479"/>
                  </a:lnTo>
                  <a:lnTo>
                    <a:pt x="273" y="482"/>
                  </a:lnTo>
                  <a:lnTo>
                    <a:pt x="273" y="484"/>
                  </a:lnTo>
                  <a:lnTo>
                    <a:pt x="272" y="489"/>
                  </a:lnTo>
                  <a:lnTo>
                    <a:pt x="271" y="495"/>
                  </a:lnTo>
                  <a:lnTo>
                    <a:pt x="267" y="510"/>
                  </a:lnTo>
                  <a:lnTo>
                    <a:pt x="266" y="513"/>
                  </a:lnTo>
                  <a:lnTo>
                    <a:pt x="264" y="517"/>
                  </a:lnTo>
                  <a:lnTo>
                    <a:pt x="264" y="520"/>
                  </a:lnTo>
                  <a:lnTo>
                    <a:pt x="264" y="524"/>
                  </a:lnTo>
                  <a:lnTo>
                    <a:pt x="263" y="528"/>
                  </a:lnTo>
                  <a:lnTo>
                    <a:pt x="263" y="532"/>
                  </a:lnTo>
                  <a:lnTo>
                    <a:pt x="263" y="537"/>
                  </a:lnTo>
                  <a:lnTo>
                    <a:pt x="264" y="546"/>
                  </a:lnTo>
                  <a:lnTo>
                    <a:pt x="264" y="549"/>
                  </a:lnTo>
                  <a:lnTo>
                    <a:pt x="263" y="550"/>
                  </a:lnTo>
                  <a:lnTo>
                    <a:pt x="263" y="552"/>
                  </a:lnTo>
                  <a:lnTo>
                    <a:pt x="262" y="554"/>
                  </a:lnTo>
                  <a:lnTo>
                    <a:pt x="260" y="560"/>
                  </a:lnTo>
                  <a:lnTo>
                    <a:pt x="258" y="564"/>
                  </a:lnTo>
                  <a:lnTo>
                    <a:pt x="255" y="575"/>
                  </a:lnTo>
                  <a:lnTo>
                    <a:pt x="253" y="584"/>
                  </a:lnTo>
                  <a:lnTo>
                    <a:pt x="252" y="587"/>
                  </a:lnTo>
                  <a:lnTo>
                    <a:pt x="251" y="592"/>
                  </a:lnTo>
                  <a:lnTo>
                    <a:pt x="250" y="596"/>
                  </a:lnTo>
                  <a:lnTo>
                    <a:pt x="249" y="601"/>
                  </a:lnTo>
                  <a:lnTo>
                    <a:pt x="249" y="606"/>
                  </a:lnTo>
                  <a:lnTo>
                    <a:pt x="249" y="608"/>
                  </a:lnTo>
                  <a:lnTo>
                    <a:pt x="249" y="610"/>
                  </a:lnTo>
                  <a:lnTo>
                    <a:pt x="250" y="613"/>
                  </a:lnTo>
                  <a:lnTo>
                    <a:pt x="251" y="616"/>
                  </a:lnTo>
                  <a:lnTo>
                    <a:pt x="252" y="617"/>
                  </a:lnTo>
                  <a:lnTo>
                    <a:pt x="253" y="618"/>
                  </a:lnTo>
                  <a:lnTo>
                    <a:pt x="256" y="624"/>
                  </a:lnTo>
                  <a:lnTo>
                    <a:pt x="257" y="626"/>
                  </a:lnTo>
                  <a:lnTo>
                    <a:pt x="258" y="628"/>
                  </a:lnTo>
                  <a:lnTo>
                    <a:pt x="259" y="629"/>
                  </a:lnTo>
                  <a:lnTo>
                    <a:pt x="260" y="631"/>
                  </a:lnTo>
                  <a:lnTo>
                    <a:pt x="260" y="634"/>
                  </a:lnTo>
                  <a:lnTo>
                    <a:pt x="260" y="636"/>
                  </a:lnTo>
                  <a:lnTo>
                    <a:pt x="260" y="638"/>
                  </a:lnTo>
                  <a:lnTo>
                    <a:pt x="259" y="640"/>
                  </a:lnTo>
                  <a:lnTo>
                    <a:pt x="257" y="641"/>
                  </a:lnTo>
                  <a:lnTo>
                    <a:pt x="256" y="643"/>
                  </a:lnTo>
                  <a:lnTo>
                    <a:pt x="253" y="645"/>
                  </a:lnTo>
                  <a:lnTo>
                    <a:pt x="252" y="647"/>
                  </a:lnTo>
                  <a:lnTo>
                    <a:pt x="249" y="648"/>
                  </a:lnTo>
                  <a:lnTo>
                    <a:pt x="248" y="648"/>
                  </a:lnTo>
                  <a:lnTo>
                    <a:pt x="245" y="649"/>
                  </a:lnTo>
                  <a:lnTo>
                    <a:pt x="242" y="649"/>
                  </a:lnTo>
                  <a:lnTo>
                    <a:pt x="239" y="648"/>
                  </a:lnTo>
                  <a:lnTo>
                    <a:pt x="235" y="648"/>
                  </a:lnTo>
                  <a:lnTo>
                    <a:pt x="231" y="647"/>
                  </a:lnTo>
                  <a:lnTo>
                    <a:pt x="228" y="646"/>
                  </a:lnTo>
                  <a:lnTo>
                    <a:pt x="215" y="642"/>
                  </a:lnTo>
                  <a:lnTo>
                    <a:pt x="206" y="640"/>
                  </a:lnTo>
                  <a:lnTo>
                    <a:pt x="204" y="640"/>
                  </a:lnTo>
                  <a:lnTo>
                    <a:pt x="205" y="640"/>
                  </a:lnTo>
                  <a:lnTo>
                    <a:pt x="205" y="639"/>
                  </a:lnTo>
                  <a:lnTo>
                    <a:pt x="206" y="639"/>
                  </a:lnTo>
                  <a:lnTo>
                    <a:pt x="206" y="638"/>
                  </a:lnTo>
                  <a:lnTo>
                    <a:pt x="206" y="636"/>
                  </a:lnTo>
                  <a:lnTo>
                    <a:pt x="206" y="633"/>
                  </a:lnTo>
                  <a:lnTo>
                    <a:pt x="205" y="629"/>
                  </a:lnTo>
                  <a:lnTo>
                    <a:pt x="203" y="622"/>
                  </a:lnTo>
                  <a:lnTo>
                    <a:pt x="202" y="618"/>
                  </a:lnTo>
                  <a:lnTo>
                    <a:pt x="201" y="613"/>
                  </a:lnTo>
                  <a:lnTo>
                    <a:pt x="200" y="604"/>
                  </a:lnTo>
                  <a:lnTo>
                    <a:pt x="200" y="602"/>
                  </a:lnTo>
                  <a:lnTo>
                    <a:pt x="199" y="600"/>
                  </a:lnTo>
                  <a:lnTo>
                    <a:pt x="198" y="597"/>
                  </a:lnTo>
                  <a:lnTo>
                    <a:pt x="197" y="594"/>
                  </a:lnTo>
                  <a:lnTo>
                    <a:pt x="192" y="584"/>
                  </a:lnTo>
                  <a:lnTo>
                    <a:pt x="190" y="579"/>
                  </a:lnTo>
                  <a:lnTo>
                    <a:pt x="189" y="577"/>
                  </a:lnTo>
                  <a:lnTo>
                    <a:pt x="189" y="574"/>
                  </a:lnTo>
                  <a:lnTo>
                    <a:pt x="187" y="567"/>
                  </a:lnTo>
                  <a:lnTo>
                    <a:pt x="186" y="564"/>
                  </a:lnTo>
                  <a:lnTo>
                    <a:pt x="185" y="561"/>
                  </a:lnTo>
                  <a:lnTo>
                    <a:pt x="184" y="560"/>
                  </a:lnTo>
                  <a:lnTo>
                    <a:pt x="184" y="558"/>
                  </a:lnTo>
                  <a:lnTo>
                    <a:pt x="183" y="556"/>
                  </a:lnTo>
                  <a:lnTo>
                    <a:pt x="182" y="554"/>
                  </a:lnTo>
                  <a:lnTo>
                    <a:pt x="180" y="553"/>
                  </a:lnTo>
                  <a:lnTo>
                    <a:pt x="178" y="552"/>
                  </a:lnTo>
                  <a:lnTo>
                    <a:pt x="176" y="551"/>
                  </a:lnTo>
                  <a:lnTo>
                    <a:pt x="175" y="550"/>
                  </a:lnTo>
                  <a:lnTo>
                    <a:pt x="166" y="549"/>
                  </a:lnTo>
                  <a:lnTo>
                    <a:pt x="163" y="548"/>
                  </a:lnTo>
                  <a:lnTo>
                    <a:pt x="160" y="547"/>
                  </a:lnTo>
                  <a:lnTo>
                    <a:pt x="156" y="545"/>
                  </a:lnTo>
                  <a:lnTo>
                    <a:pt x="152" y="544"/>
                  </a:lnTo>
                  <a:lnTo>
                    <a:pt x="150" y="542"/>
                  </a:lnTo>
                  <a:lnTo>
                    <a:pt x="147" y="540"/>
                  </a:lnTo>
                  <a:lnTo>
                    <a:pt x="145" y="539"/>
                  </a:lnTo>
                  <a:lnTo>
                    <a:pt x="142" y="538"/>
                  </a:lnTo>
                  <a:lnTo>
                    <a:pt x="140" y="536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5" y="529"/>
                  </a:lnTo>
                  <a:lnTo>
                    <a:pt x="133" y="527"/>
                  </a:lnTo>
                  <a:lnTo>
                    <a:pt x="131" y="524"/>
                  </a:lnTo>
                  <a:lnTo>
                    <a:pt x="129" y="521"/>
                  </a:lnTo>
                  <a:lnTo>
                    <a:pt x="128" y="518"/>
                  </a:lnTo>
                  <a:lnTo>
                    <a:pt x="127" y="516"/>
                  </a:lnTo>
                  <a:lnTo>
                    <a:pt x="126" y="514"/>
                  </a:lnTo>
                  <a:lnTo>
                    <a:pt x="125" y="510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1" y="496"/>
                  </a:lnTo>
                  <a:lnTo>
                    <a:pt x="118" y="490"/>
                  </a:lnTo>
                  <a:lnTo>
                    <a:pt x="116" y="486"/>
                  </a:lnTo>
                  <a:lnTo>
                    <a:pt x="115" y="480"/>
                  </a:lnTo>
                  <a:lnTo>
                    <a:pt x="114" y="474"/>
                  </a:lnTo>
                  <a:lnTo>
                    <a:pt x="113" y="472"/>
                  </a:lnTo>
                  <a:lnTo>
                    <a:pt x="113" y="471"/>
                  </a:lnTo>
                  <a:lnTo>
                    <a:pt x="112" y="470"/>
                  </a:lnTo>
                  <a:lnTo>
                    <a:pt x="111" y="469"/>
                  </a:lnTo>
                  <a:lnTo>
                    <a:pt x="110" y="468"/>
                  </a:lnTo>
                  <a:lnTo>
                    <a:pt x="109" y="467"/>
                  </a:lnTo>
                  <a:lnTo>
                    <a:pt x="106" y="465"/>
                  </a:lnTo>
                  <a:lnTo>
                    <a:pt x="100" y="462"/>
                  </a:lnTo>
                  <a:lnTo>
                    <a:pt x="99" y="461"/>
                  </a:lnTo>
                  <a:lnTo>
                    <a:pt x="97" y="460"/>
                  </a:lnTo>
                  <a:lnTo>
                    <a:pt x="96" y="459"/>
                  </a:lnTo>
                  <a:lnTo>
                    <a:pt x="95" y="458"/>
                  </a:lnTo>
                  <a:lnTo>
                    <a:pt x="94" y="457"/>
                  </a:lnTo>
                  <a:lnTo>
                    <a:pt x="94" y="456"/>
                  </a:lnTo>
                  <a:lnTo>
                    <a:pt x="93" y="454"/>
                  </a:lnTo>
                  <a:lnTo>
                    <a:pt x="94" y="452"/>
                  </a:lnTo>
                  <a:lnTo>
                    <a:pt x="94" y="449"/>
                  </a:lnTo>
                  <a:lnTo>
                    <a:pt x="95" y="448"/>
                  </a:lnTo>
                  <a:lnTo>
                    <a:pt x="96" y="446"/>
                  </a:lnTo>
                  <a:lnTo>
                    <a:pt x="98" y="444"/>
                  </a:lnTo>
                  <a:lnTo>
                    <a:pt x="99" y="443"/>
                  </a:lnTo>
                  <a:lnTo>
                    <a:pt x="104" y="439"/>
                  </a:lnTo>
                  <a:lnTo>
                    <a:pt x="105" y="438"/>
                  </a:lnTo>
                  <a:lnTo>
                    <a:pt x="105" y="437"/>
                  </a:lnTo>
                  <a:lnTo>
                    <a:pt x="106" y="436"/>
                  </a:lnTo>
                  <a:lnTo>
                    <a:pt x="107" y="434"/>
                  </a:lnTo>
                  <a:lnTo>
                    <a:pt x="107" y="432"/>
                  </a:lnTo>
                  <a:lnTo>
                    <a:pt x="107" y="431"/>
                  </a:lnTo>
                  <a:lnTo>
                    <a:pt x="106" y="430"/>
                  </a:lnTo>
                  <a:lnTo>
                    <a:pt x="105" y="429"/>
                  </a:lnTo>
                  <a:lnTo>
                    <a:pt x="105" y="429"/>
                  </a:lnTo>
                  <a:lnTo>
                    <a:pt x="103" y="429"/>
                  </a:lnTo>
                  <a:lnTo>
                    <a:pt x="102" y="429"/>
                  </a:lnTo>
                  <a:lnTo>
                    <a:pt x="100" y="429"/>
                  </a:lnTo>
                  <a:lnTo>
                    <a:pt x="93" y="430"/>
                  </a:lnTo>
                  <a:lnTo>
                    <a:pt x="91" y="430"/>
                  </a:lnTo>
                  <a:lnTo>
                    <a:pt x="88" y="430"/>
                  </a:lnTo>
                  <a:lnTo>
                    <a:pt x="87" y="430"/>
                  </a:lnTo>
                  <a:lnTo>
                    <a:pt x="85" y="429"/>
                  </a:lnTo>
                  <a:lnTo>
                    <a:pt x="84" y="428"/>
                  </a:lnTo>
                  <a:lnTo>
                    <a:pt x="82" y="427"/>
                  </a:lnTo>
                  <a:lnTo>
                    <a:pt x="81" y="426"/>
                  </a:lnTo>
                  <a:lnTo>
                    <a:pt x="79" y="425"/>
                  </a:lnTo>
                  <a:lnTo>
                    <a:pt x="76" y="424"/>
                  </a:lnTo>
                  <a:lnTo>
                    <a:pt x="74" y="422"/>
                  </a:lnTo>
                  <a:lnTo>
                    <a:pt x="73" y="420"/>
                  </a:lnTo>
                  <a:lnTo>
                    <a:pt x="71" y="418"/>
                  </a:lnTo>
                  <a:lnTo>
                    <a:pt x="71" y="415"/>
                  </a:lnTo>
                  <a:lnTo>
                    <a:pt x="70" y="414"/>
                  </a:lnTo>
                  <a:lnTo>
                    <a:pt x="69" y="412"/>
                  </a:lnTo>
                  <a:lnTo>
                    <a:pt x="69" y="409"/>
                  </a:lnTo>
                  <a:lnTo>
                    <a:pt x="69" y="407"/>
                  </a:lnTo>
                  <a:lnTo>
                    <a:pt x="69" y="404"/>
                  </a:lnTo>
                  <a:lnTo>
                    <a:pt x="71" y="393"/>
                  </a:lnTo>
                  <a:lnTo>
                    <a:pt x="71" y="388"/>
                  </a:lnTo>
                  <a:lnTo>
                    <a:pt x="71" y="386"/>
                  </a:lnTo>
                  <a:lnTo>
                    <a:pt x="71" y="385"/>
                  </a:lnTo>
                  <a:lnTo>
                    <a:pt x="71" y="383"/>
                  </a:lnTo>
                  <a:lnTo>
                    <a:pt x="71" y="382"/>
                  </a:lnTo>
                  <a:lnTo>
                    <a:pt x="70" y="381"/>
                  </a:lnTo>
                  <a:lnTo>
                    <a:pt x="68" y="380"/>
                  </a:lnTo>
                  <a:lnTo>
                    <a:pt x="66" y="379"/>
                  </a:lnTo>
                  <a:lnTo>
                    <a:pt x="62" y="376"/>
                  </a:lnTo>
                  <a:lnTo>
                    <a:pt x="61" y="375"/>
                  </a:lnTo>
                  <a:lnTo>
                    <a:pt x="59" y="373"/>
                  </a:lnTo>
                  <a:lnTo>
                    <a:pt x="57" y="370"/>
                  </a:lnTo>
                  <a:lnTo>
                    <a:pt x="55" y="369"/>
                  </a:lnTo>
                  <a:lnTo>
                    <a:pt x="54" y="369"/>
                  </a:lnTo>
                  <a:lnTo>
                    <a:pt x="53" y="368"/>
                  </a:lnTo>
                  <a:lnTo>
                    <a:pt x="47" y="366"/>
                  </a:lnTo>
                  <a:lnTo>
                    <a:pt x="44" y="365"/>
                  </a:lnTo>
                  <a:lnTo>
                    <a:pt x="42" y="364"/>
                  </a:lnTo>
                  <a:lnTo>
                    <a:pt x="41" y="362"/>
                  </a:lnTo>
                  <a:lnTo>
                    <a:pt x="40" y="361"/>
                  </a:lnTo>
                  <a:lnTo>
                    <a:pt x="39" y="360"/>
                  </a:lnTo>
                  <a:lnTo>
                    <a:pt x="39" y="359"/>
                  </a:lnTo>
                  <a:lnTo>
                    <a:pt x="38" y="357"/>
                  </a:lnTo>
                  <a:lnTo>
                    <a:pt x="37" y="351"/>
                  </a:lnTo>
                  <a:lnTo>
                    <a:pt x="36" y="349"/>
                  </a:lnTo>
                  <a:lnTo>
                    <a:pt x="35" y="346"/>
                  </a:lnTo>
                  <a:lnTo>
                    <a:pt x="34" y="345"/>
                  </a:lnTo>
                  <a:lnTo>
                    <a:pt x="32" y="342"/>
                  </a:lnTo>
                  <a:lnTo>
                    <a:pt x="30" y="340"/>
                  </a:lnTo>
                  <a:lnTo>
                    <a:pt x="28" y="337"/>
                  </a:lnTo>
                  <a:lnTo>
                    <a:pt x="27" y="336"/>
                  </a:lnTo>
                  <a:lnTo>
                    <a:pt x="27" y="335"/>
                  </a:lnTo>
                  <a:lnTo>
                    <a:pt x="26" y="335"/>
                  </a:lnTo>
                  <a:lnTo>
                    <a:pt x="27" y="334"/>
                  </a:lnTo>
                  <a:lnTo>
                    <a:pt x="27" y="333"/>
                  </a:lnTo>
                  <a:lnTo>
                    <a:pt x="28" y="331"/>
                  </a:lnTo>
                  <a:lnTo>
                    <a:pt x="33" y="323"/>
                  </a:lnTo>
                  <a:lnTo>
                    <a:pt x="34" y="321"/>
                  </a:lnTo>
                  <a:lnTo>
                    <a:pt x="35" y="319"/>
                  </a:lnTo>
                  <a:lnTo>
                    <a:pt x="36" y="317"/>
                  </a:lnTo>
                  <a:lnTo>
                    <a:pt x="37" y="312"/>
                  </a:lnTo>
                  <a:lnTo>
                    <a:pt x="37" y="310"/>
                  </a:lnTo>
                  <a:lnTo>
                    <a:pt x="37" y="308"/>
                  </a:lnTo>
                  <a:lnTo>
                    <a:pt x="37" y="307"/>
                  </a:lnTo>
                  <a:lnTo>
                    <a:pt x="37" y="305"/>
                  </a:lnTo>
                  <a:lnTo>
                    <a:pt x="37" y="303"/>
                  </a:lnTo>
                  <a:lnTo>
                    <a:pt x="37" y="302"/>
                  </a:lnTo>
                  <a:lnTo>
                    <a:pt x="36" y="301"/>
                  </a:lnTo>
                  <a:lnTo>
                    <a:pt x="33" y="297"/>
                  </a:lnTo>
                  <a:lnTo>
                    <a:pt x="32" y="295"/>
                  </a:lnTo>
                  <a:lnTo>
                    <a:pt x="31" y="293"/>
                  </a:lnTo>
                  <a:lnTo>
                    <a:pt x="29" y="292"/>
                  </a:lnTo>
                  <a:lnTo>
                    <a:pt x="28" y="290"/>
                  </a:lnTo>
                  <a:lnTo>
                    <a:pt x="26" y="289"/>
                  </a:lnTo>
                  <a:lnTo>
                    <a:pt x="25" y="289"/>
                  </a:lnTo>
                  <a:lnTo>
                    <a:pt x="24" y="288"/>
                  </a:lnTo>
                  <a:lnTo>
                    <a:pt x="22" y="287"/>
                  </a:lnTo>
                  <a:lnTo>
                    <a:pt x="18" y="285"/>
                  </a:lnTo>
                  <a:lnTo>
                    <a:pt x="14" y="284"/>
                  </a:lnTo>
                  <a:lnTo>
                    <a:pt x="8" y="283"/>
                  </a:lnTo>
                  <a:lnTo>
                    <a:pt x="6" y="282"/>
                  </a:lnTo>
                  <a:lnTo>
                    <a:pt x="4" y="282"/>
                  </a:lnTo>
                  <a:lnTo>
                    <a:pt x="3" y="281"/>
                  </a:lnTo>
                  <a:lnTo>
                    <a:pt x="3" y="280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0" y="278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0" y="272"/>
                  </a:lnTo>
                  <a:lnTo>
                    <a:pt x="0" y="271"/>
                  </a:lnTo>
                  <a:lnTo>
                    <a:pt x="1" y="270"/>
                  </a:lnTo>
                  <a:lnTo>
                    <a:pt x="2" y="269"/>
                  </a:lnTo>
                  <a:lnTo>
                    <a:pt x="4" y="265"/>
                  </a:lnTo>
                  <a:lnTo>
                    <a:pt x="5" y="264"/>
                  </a:lnTo>
                  <a:lnTo>
                    <a:pt x="6" y="262"/>
                  </a:lnTo>
                  <a:lnTo>
                    <a:pt x="7" y="260"/>
                  </a:lnTo>
                  <a:lnTo>
                    <a:pt x="8" y="257"/>
                  </a:lnTo>
                  <a:lnTo>
                    <a:pt x="8" y="250"/>
                  </a:lnTo>
                  <a:lnTo>
                    <a:pt x="9" y="244"/>
                  </a:lnTo>
                  <a:lnTo>
                    <a:pt x="9" y="242"/>
                  </a:lnTo>
                  <a:lnTo>
                    <a:pt x="9" y="239"/>
                  </a:lnTo>
                  <a:lnTo>
                    <a:pt x="11" y="236"/>
                  </a:lnTo>
                  <a:lnTo>
                    <a:pt x="12" y="234"/>
                  </a:lnTo>
                  <a:lnTo>
                    <a:pt x="13" y="233"/>
                  </a:lnTo>
                  <a:lnTo>
                    <a:pt x="14" y="232"/>
                  </a:lnTo>
                  <a:lnTo>
                    <a:pt x="15" y="231"/>
                  </a:lnTo>
                  <a:lnTo>
                    <a:pt x="17" y="230"/>
                  </a:lnTo>
                  <a:lnTo>
                    <a:pt x="19" y="230"/>
                  </a:lnTo>
                  <a:lnTo>
                    <a:pt x="20" y="230"/>
                  </a:lnTo>
                  <a:lnTo>
                    <a:pt x="25" y="230"/>
                  </a:lnTo>
                  <a:lnTo>
                    <a:pt x="26" y="230"/>
                  </a:lnTo>
                  <a:lnTo>
                    <a:pt x="28" y="229"/>
                  </a:lnTo>
                  <a:lnTo>
                    <a:pt x="29" y="229"/>
                  </a:lnTo>
                  <a:lnTo>
                    <a:pt x="30" y="228"/>
                  </a:lnTo>
                  <a:lnTo>
                    <a:pt x="31" y="227"/>
                  </a:lnTo>
                  <a:lnTo>
                    <a:pt x="33" y="225"/>
                  </a:lnTo>
                  <a:lnTo>
                    <a:pt x="34" y="223"/>
                  </a:lnTo>
                  <a:lnTo>
                    <a:pt x="35" y="221"/>
                  </a:lnTo>
                  <a:lnTo>
                    <a:pt x="36" y="217"/>
                  </a:lnTo>
                  <a:lnTo>
                    <a:pt x="37" y="214"/>
                  </a:lnTo>
                  <a:lnTo>
                    <a:pt x="37" y="210"/>
                  </a:lnTo>
                  <a:lnTo>
                    <a:pt x="37" y="206"/>
                  </a:lnTo>
                  <a:lnTo>
                    <a:pt x="38" y="202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40" y="195"/>
                  </a:lnTo>
                  <a:lnTo>
                    <a:pt x="44" y="194"/>
                  </a:lnTo>
                  <a:lnTo>
                    <a:pt x="46" y="194"/>
                  </a:lnTo>
                  <a:lnTo>
                    <a:pt x="48" y="193"/>
                  </a:lnTo>
                  <a:lnTo>
                    <a:pt x="49" y="194"/>
                  </a:lnTo>
                  <a:lnTo>
                    <a:pt x="52" y="194"/>
                  </a:lnTo>
                  <a:lnTo>
                    <a:pt x="54" y="195"/>
                  </a:lnTo>
                  <a:lnTo>
                    <a:pt x="57" y="196"/>
                  </a:lnTo>
                  <a:lnTo>
                    <a:pt x="59" y="197"/>
                  </a:lnTo>
                  <a:lnTo>
                    <a:pt x="60" y="199"/>
                  </a:lnTo>
                  <a:lnTo>
                    <a:pt x="63" y="200"/>
                  </a:lnTo>
                  <a:lnTo>
                    <a:pt x="65" y="202"/>
                  </a:lnTo>
                  <a:lnTo>
                    <a:pt x="67" y="204"/>
                  </a:lnTo>
                  <a:lnTo>
                    <a:pt x="70" y="207"/>
                  </a:lnTo>
                  <a:lnTo>
                    <a:pt x="74" y="214"/>
                  </a:lnTo>
                  <a:lnTo>
                    <a:pt x="76" y="216"/>
                  </a:lnTo>
                  <a:lnTo>
                    <a:pt x="78" y="218"/>
                  </a:lnTo>
                  <a:lnTo>
                    <a:pt x="79" y="219"/>
                  </a:lnTo>
                  <a:lnTo>
                    <a:pt x="81" y="220"/>
                  </a:lnTo>
                  <a:lnTo>
                    <a:pt x="82" y="221"/>
                  </a:lnTo>
                  <a:lnTo>
                    <a:pt x="83" y="221"/>
                  </a:lnTo>
                  <a:lnTo>
                    <a:pt x="85" y="222"/>
                  </a:lnTo>
                  <a:lnTo>
                    <a:pt x="87" y="222"/>
                  </a:lnTo>
                  <a:lnTo>
                    <a:pt x="90" y="222"/>
                  </a:lnTo>
                  <a:lnTo>
                    <a:pt x="92" y="222"/>
                  </a:lnTo>
                  <a:lnTo>
                    <a:pt x="93" y="222"/>
                  </a:lnTo>
                  <a:lnTo>
                    <a:pt x="95" y="221"/>
                  </a:lnTo>
                  <a:lnTo>
                    <a:pt x="101" y="220"/>
                  </a:lnTo>
                  <a:lnTo>
                    <a:pt x="104" y="220"/>
                  </a:lnTo>
                  <a:lnTo>
                    <a:pt x="106" y="219"/>
                  </a:lnTo>
                  <a:lnTo>
                    <a:pt x="108" y="219"/>
                  </a:lnTo>
                  <a:lnTo>
                    <a:pt x="110" y="219"/>
                  </a:lnTo>
                  <a:lnTo>
                    <a:pt x="112" y="220"/>
                  </a:lnTo>
                  <a:lnTo>
                    <a:pt x="114" y="220"/>
                  </a:lnTo>
                  <a:lnTo>
                    <a:pt x="116" y="221"/>
                  </a:lnTo>
                  <a:lnTo>
                    <a:pt x="118" y="221"/>
                  </a:lnTo>
                  <a:lnTo>
                    <a:pt x="119" y="221"/>
                  </a:lnTo>
                  <a:lnTo>
                    <a:pt x="122" y="223"/>
                  </a:lnTo>
                  <a:lnTo>
                    <a:pt x="123" y="224"/>
                  </a:lnTo>
                  <a:lnTo>
                    <a:pt x="129" y="229"/>
                  </a:lnTo>
                  <a:lnTo>
                    <a:pt x="131" y="229"/>
                  </a:lnTo>
                  <a:lnTo>
                    <a:pt x="132" y="230"/>
                  </a:lnTo>
                  <a:lnTo>
                    <a:pt x="134" y="231"/>
                  </a:lnTo>
                  <a:lnTo>
                    <a:pt x="136" y="231"/>
                  </a:lnTo>
                  <a:lnTo>
                    <a:pt x="137" y="230"/>
                  </a:lnTo>
                  <a:lnTo>
                    <a:pt x="138" y="230"/>
                  </a:lnTo>
                  <a:lnTo>
                    <a:pt x="138" y="229"/>
                  </a:lnTo>
                  <a:lnTo>
                    <a:pt x="139" y="228"/>
                  </a:lnTo>
                  <a:lnTo>
                    <a:pt x="139" y="227"/>
                  </a:lnTo>
                  <a:lnTo>
                    <a:pt x="138" y="225"/>
                  </a:lnTo>
                  <a:lnTo>
                    <a:pt x="137" y="224"/>
                  </a:lnTo>
                  <a:lnTo>
                    <a:pt x="136" y="222"/>
                  </a:lnTo>
                  <a:lnTo>
                    <a:pt x="135" y="221"/>
                  </a:lnTo>
                  <a:lnTo>
                    <a:pt x="129" y="217"/>
                  </a:lnTo>
                  <a:lnTo>
                    <a:pt x="124" y="211"/>
                  </a:lnTo>
                  <a:lnTo>
                    <a:pt x="122" y="210"/>
                  </a:lnTo>
                  <a:lnTo>
                    <a:pt x="118" y="205"/>
                  </a:lnTo>
                  <a:lnTo>
                    <a:pt x="116" y="201"/>
                  </a:lnTo>
                  <a:lnTo>
                    <a:pt x="115" y="199"/>
                  </a:lnTo>
                  <a:lnTo>
                    <a:pt x="114" y="198"/>
                  </a:lnTo>
                  <a:lnTo>
                    <a:pt x="113" y="196"/>
                  </a:lnTo>
                  <a:lnTo>
                    <a:pt x="112" y="193"/>
                  </a:lnTo>
                  <a:lnTo>
                    <a:pt x="111" y="191"/>
                  </a:lnTo>
                  <a:lnTo>
                    <a:pt x="111" y="189"/>
                  </a:lnTo>
                  <a:lnTo>
                    <a:pt x="111" y="187"/>
                  </a:lnTo>
                  <a:lnTo>
                    <a:pt x="111" y="185"/>
                  </a:lnTo>
                  <a:lnTo>
                    <a:pt x="112" y="183"/>
                  </a:lnTo>
                  <a:lnTo>
                    <a:pt x="113" y="181"/>
                  </a:lnTo>
                  <a:lnTo>
                    <a:pt x="115" y="178"/>
                  </a:lnTo>
                  <a:lnTo>
                    <a:pt x="116" y="176"/>
                  </a:lnTo>
                  <a:lnTo>
                    <a:pt x="123" y="168"/>
                  </a:lnTo>
                  <a:lnTo>
                    <a:pt x="125" y="166"/>
                  </a:lnTo>
                  <a:lnTo>
                    <a:pt x="125" y="165"/>
                  </a:lnTo>
                  <a:lnTo>
                    <a:pt x="126" y="163"/>
                  </a:lnTo>
                  <a:lnTo>
                    <a:pt x="126" y="161"/>
                  </a:lnTo>
                  <a:lnTo>
                    <a:pt x="126" y="159"/>
                  </a:lnTo>
                  <a:lnTo>
                    <a:pt x="126" y="157"/>
                  </a:lnTo>
                  <a:lnTo>
                    <a:pt x="125" y="155"/>
                  </a:lnTo>
                  <a:lnTo>
                    <a:pt x="124" y="154"/>
                  </a:lnTo>
                  <a:lnTo>
                    <a:pt x="123" y="153"/>
                  </a:lnTo>
                  <a:lnTo>
                    <a:pt x="122" y="152"/>
                  </a:lnTo>
                  <a:lnTo>
                    <a:pt x="118" y="150"/>
                  </a:lnTo>
                  <a:lnTo>
                    <a:pt x="115" y="147"/>
                  </a:lnTo>
                  <a:lnTo>
                    <a:pt x="113" y="146"/>
                  </a:lnTo>
                  <a:lnTo>
                    <a:pt x="108" y="143"/>
                  </a:lnTo>
                  <a:lnTo>
                    <a:pt x="106" y="142"/>
                  </a:lnTo>
                  <a:lnTo>
                    <a:pt x="105" y="141"/>
                  </a:lnTo>
                  <a:lnTo>
                    <a:pt x="104" y="140"/>
                  </a:lnTo>
                  <a:lnTo>
                    <a:pt x="103" y="138"/>
                  </a:lnTo>
                  <a:lnTo>
                    <a:pt x="101" y="136"/>
                  </a:lnTo>
                  <a:lnTo>
                    <a:pt x="99" y="132"/>
                  </a:lnTo>
                  <a:lnTo>
                    <a:pt x="96" y="129"/>
                  </a:lnTo>
                  <a:lnTo>
                    <a:pt x="94" y="124"/>
                  </a:lnTo>
                  <a:lnTo>
                    <a:pt x="93" y="121"/>
                  </a:lnTo>
                  <a:lnTo>
                    <a:pt x="92" y="114"/>
                  </a:lnTo>
                  <a:lnTo>
                    <a:pt x="91" y="110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7"/>
                  </a:lnTo>
                  <a:lnTo>
                    <a:pt x="92" y="105"/>
                  </a:lnTo>
                  <a:lnTo>
                    <a:pt x="92" y="104"/>
                  </a:lnTo>
                  <a:lnTo>
                    <a:pt x="93" y="103"/>
                  </a:lnTo>
                  <a:lnTo>
                    <a:pt x="93" y="102"/>
                  </a:lnTo>
                  <a:lnTo>
                    <a:pt x="94" y="101"/>
                  </a:lnTo>
                  <a:lnTo>
                    <a:pt x="96" y="100"/>
                  </a:lnTo>
                  <a:lnTo>
                    <a:pt x="97" y="100"/>
                  </a:lnTo>
                  <a:lnTo>
                    <a:pt x="99" y="99"/>
                  </a:lnTo>
                  <a:lnTo>
                    <a:pt x="100" y="99"/>
                  </a:lnTo>
                  <a:lnTo>
                    <a:pt x="102" y="100"/>
                  </a:lnTo>
                  <a:lnTo>
                    <a:pt x="104" y="100"/>
                  </a:lnTo>
                  <a:lnTo>
                    <a:pt x="105" y="101"/>
                  </a:lnTo>
                  <a:lnTo>
                    <a:pt x="111" y="103"/>
                  </a:lnTo>
                  <a:lnTo>
                    <a:pt x="114" y="104"/>
                  </a:lnTo>
                  <a:lnTo>
                    <a:pt x="118" y="105"/>
                  </a:lnTo>
                  <a:lnTo>
                    <a:pt x="121" y="106"/>
                  </a:lnTo>
                  <a:lnTo>
                    <a:pt x="125" y="106"/>
                  </a:lnTo>
                  <a:lnTo>
                    <a:pt x="128" y="107"/>
                  </a:lnTo>
                  <a:lnTo>
                    <a:pt x="131" y="107"/>
                  </a:lnTo>
                  <a:lnTo>
                    <a:pt x="134" y="106"/>
                  </a:lnTo>
                  <a:lnTo>
                    <a:pt x="147" y="102"/>
                  </a:lnTo>
                  <a:lnTo>
                    <a:pt x="150" y="101"/>
                  </a:lnTo>
                  <a:lnTo>
                    <a:pt x="153" y="100"/>
                  </a:lnTo>
                  <a:lnTo>
                    <a:pt x="160" y="97"/>
                  </a:lnTo>
                  <a:lnTo>
                    <a:pt x="162" y="96"/>
                  </a:lnTo>
                  <a:lnTo>
                    <a:pt x="169" y="91"/>
                  </a:lnTo>
                  <a:lnTo>
                    <a:pt x="175" y="88"/>
                  </a:lnTo>
                  <a:lnTo>
                    <a:pt x="177" y="86"/>
                  </a:lnTo>
                  <a:lnTo>
                    <a:pt x="178" y="85"/>
                  </a:lnTo>
                  <a:lnTo>
                    <a:pt x="179" y="85"/>
                  </a:lnTo>
                  <a:lnTo>
                    <a:pt x="180" y="83"/>
                  </a:lnTo>
                  <a:lnTo>
                    <a:pt x="181" y="81"/>
                  </a:lnTo>
                  <a:lnTo>
                    <a:pt x="182" y="78"/>
                  </a:lnTo>
                  <a:lnTo>
                    <a:pt x="183" y="70"/>
                  </a:lnTo>
                  <a:lnTo>
                    <a:pt x="184" y="64"/>
                  </a:lnTo>
                  <a:lnTo>
                    <a:pt x="184" y="63"/>
                  </a:lnTo>
                  <a:lnTo>
                    <a:pt x="186" y="58"/>
                  </a:lnTo>
                  <a:lnTo>
                    <a:pt x="187" y="55"/>
                  </a:lnTo>
                  <a:lnTo>
                    <a:pt x="191" y="48"/>
                  </a:lnTo>
                  <a:lnTo>
                    <a:pt x="192" y="45"/>
                  </a:lnTo>
                  <a:lnTo>
                    <a:pt x="194" y="41"/>
                  </a:lnTo>
                  <a:lnTo>
                    <a:pt x="194" y="40"/>
                  </a:lnTo>
                  <a:lnTo>
                    <a:pt x="194" y="39"/>
                  </a:lnTo>
                  <a:lnTo>
                    <a:pt x="194" y="38"/>
                  </a:lnTo>
                  <a:lnTo>
                    <a:pt x="194" y="36"/>
                  </a:lnTo>
                  <a:lnTo>
                    <a:pt x="193" y="35"/>
                  </a:lnTo>
                  <a:lnTo>
                    <a:pt x="193" y="34"/>
                  </a:lnTo>
                  <a:lnTo>
                    <a:pt x="192" y="32"/>
                  </a:lnTo>
                  <a:lnTo>
                    <a:pt x="189" y="29"/>
                  </a:lnTo>
                  <a:lnTo>
                    <a:pt x="184" y="24"/>
                  </a:lnTo>
                  <a:lnTo>
                    <a:pt x="184" y="23"/>
                  </a:lnTo>
                  <a:lnTo>
                    <a:pt x="183" y="21"/>
                  </a:lnTo>
                  <a:lnTo>
                    <a:pt x="182" y="18"/>
                  </a:lnTo>
                  <a:lnTo>
                    <a:pt x="181" y="17"/>
                  </a:lnTo>
                  <a:lnTo>
                    <a:pt x="181" y="16"/>
                  </a:lnTo>
                  <a:lnTo>
                    <a:pt x="181" y="14"/>
                  </a:lnTo>
                  <a:lnTo>
                    <a:pt x="182" y="14"/>
                  </a:lnTo>
                  <a:lnTo>
                    <a:pt x="183" y="13"/>
                  </a:lnTo>
                  <a:lnTo>
                    <a:pt x="184" y="11"/>
                  </a:lnTo>
                  <a:lnTo>
                    <a:pt x="186" y="9"/>
                  </a:lnTo>
                  <a:lnTo>
                    <a:pt x="189" y="8"/>
                  </a:lnTo>
                  <a:lnTo>
                    <a:pt x="192" y="7"/>
                  </a:lnTo>
                  <a:lnTo>
                    <a:pt x="196" y="6"/>
                  </a:lnTo>
                  <a:lnTo>
                    <a:pt x="207" y="4"/>
                  </a:lnTo>
                  <a:lnTo>
                    <a:pt x="209" y="3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5" y="2"/>
                  </a:lnTo>
                  <a:lnTo>
                    <a:pt x="218" y="2"/>
                  </a:lnTo>
                  <a:lnTo>
                    <a:pt x="219" y="2"/>
                  </a:lnTo>
                  <a:lnTo>
                    <a:pt x="220" y="2"/>
                  </a:lnTo>
                  <a:lnTo>
                    <a:pt x="221" y="1"/>
                  </a:lnTo>
                  <a:lnTo>
                    <a:pt x="223" y="0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8" name="Freeform 21">
              <a:extLst>
                <a:ext uri="{FF2B5EF4-FFF2-40B4-BE49-F238E27FC236}">
                  <a16:creationId xmlns:a16="http://schemas.microsoft.com/office/drawing/2014/main" id="{8C386262-CEC8-4153-B39C-5E85A1605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7" y="2739"/>
              <a:ext cx="413" cy="478"/>
            </a:xfrm>
            <a:custGeom>
              <a:avLst/>
              <a:gdLst>
                <a:gd name="T0" fmla="*/ 106 w 413"/>
                <a:gd name="T1" fmla="*/ 30 h 478"/>
                <a:gd name="T2" fmla="*/ 123 w 413"/>
                <a:gd name="T3" fmla="*/ 39 h 478"/>
                <a:gd name="T4" fmla="*/ 154 w 413"/>
                <a:gd name="T5" fmla="*/ 37 h 478"/>
                <a:gd name="T6" fmla="*/ 210 w 413"/>
                <a:gd name="T7" fmla="*/ 34 h 478"/>
                <a:gd name="T8" fmla="*/ 227 w 413"/>
                <a:gd name="T9" fmla="*/ 11 h 478"/>
                <a:gd name="T10" fmla="*/ 250 w 413"/>
                <a:gd name="T11" fmla="*/ 0 h 478"/>
                <a:gd name="T12" fmla="*/ 272 w 413"/>
                <a:gd name="T13" fmla="*/ 7 h 478"/>
                <a:gd name="T14" fmla="*/ 297 w 413"/>
                <a:gd name="T15" fmla="*/ 26 h 478"/>
                <a:gd name="T16" fmla="*/ 309 w 413"/>
                <a:gd name="T17" fmla="*/ 41 h 478"/>
                <a:gd name="T18" fmla="*/ 343 w 413"/>
                <a:gd name="T19" fmla="*/ 35 h 478"/>
                <a:gd name="T20" fmla="*/ 365 w 413"/>
                <a:gd name="T21" fmla="*/ 29 h 478"/>
                <a:gd name="T22" fmla="*/ 370 w 413"/>
                <a:gd name="T23" fmla="*/ 14 h 478"/>
                <a:gd name="T24" fmla="*/ 397 w 413"/>
                <a:gd name="T25" fmla="*/ 28 h 478"/>
                <a:gd name="T26" fmla="*/ 410 w 413"/>
                <a:gd name="T27" fmla="*/ 50 h 478"/>
                <a:gd name="T28" fmla="*/ 400 w 413"/>
                <a:gd name="T29" fmla="*/ 75 h 478"/>
                <a:gd name="T30" fmla="*/ 407 w 413"/>
                <a:gd name="T31" fmla="*/ 107 h 478"/>
                <a:gd name="T32" fmla="*/ 411 w 413"/>
                <a:gd name="T33" fmla="*/ 131 h 478"/>
                <a:gd name="T34" fmla="*/ 407 w 413"/>
                <a:gd name="T35" fmla="*/ 170 h 478"/>
                <a:gd name="T36" fmla="*/ 393 w 413"/>
                <a:gd name="T37" fmla="*/ 186 h 478"/>
                <a:gd name="T38" fmla="*/ 401 w 413"/>
                <a:gd name="T39" fmla="*/ 227 h 478"/>
                <a:gd name="T40" fmla="*/ 384 w 413"/>
                <a:gd name="T41" fmla="*/ 244 h 478"/>
                <a:gd name="T42" fmla="*/ 373 w 413"/>
                <a:gd name="T43" fmla="*/ 268 h 478"/>
                <a:gd name="T44" fmla="*/ 355 w 413"/>
                <a:gd name="T45" fmla="*/ 282 h 478"/>
                <a:gd name="T46" fmla="*/ 343 w 413"/>
                <a:gd name="T47" fmla="*/ 285 h 478"/>
                <a:gd name="T48" fmla="*/ 320 w 413"/>
                <a:gd name="T49" fmla="*/ 304 h 478"/>
                <a:gd name="T50" fmla="*/ 308 w 413"/>
                <a:gd name="T51" fmla="*/ 321 h 478"/>
                <a:gd name="T52" fmla="*/ 319 w 413"/>
                <a:gd name="T53" fmla="*/ 373 h 478"/>
                <a:gd name="T54" fmla="*/ 324 w 413"/>
                <a:gd name="T55" fmla="*/ 390 h 478"/>
                <a:gd name="T56" fmla="*/ 293 w 413"/>
                <a:gd name="T57" fmla="*/ 382 h 478"/>
                <a:gd name="T58" fmla="*/ 280 w 413"/>
                <a:gd name="T59" fmla="*/ 390 h 478"/>
                <a:gd name="T60" fmla="*/ 282 w 413"/>
                <a:gd name="T61" fmla="*/ 427 h 478"/>
                <a:gd name="T62" fmla="*/ 277 w 413"/>
                <a:gd name="T63" fmla="*/ 448 h 478"/>
                <a:gd name="T64" fmla="*/ 260 w 413"/>
                <a:gd name="T65" fmla="*/ 478 h 478"/>
                <a:gd name="T66" fmla="*/ 220 w 413"/>
                <a:gd name="T67" fmla="*/ 474 h 478"/>
                <a:gd name="T68" fmla="*/ 195 w 413"/>
                <a:gd name="T69" fmla="*/ 458 h 478"/>
                <a:gd name="T70" fmla="*/ 175 w 413"/>
                <a:gd name="T71" fmla="*/ 441 h 478"/>
                <a:gd name="T72" fmla="*/ 153 w 413"/>
                <a:gd name="T73" fmla="*/ 433 h 478"/>
                <a:gd name="T74" fmla="*/ 127 w 413"/>
                <a:gd name="T75" fmla="*/ 417 h 478"/>
                <a:gd name="T76" fmla="*/ 107 w 413"/>
                <a:gd name="T77" fmla="*/ 385 h 478"/>
                <a:gd name="T78" fmla="*/ 86 w 413"/>
                <a:gd name="T79" fmla="*/ 356 h 478"/>
                <a:gd name="T80" fmla="*/ 77 w 413"/>
                <a:gd name="T81" fmla="*/ 328 h 478"/>
                <a:gd name="T82" fmla="*/ 47 w 413"/>
                <a:gd name="T83" fmla="*/ 281 h 478"/>
                <a:gd name="T84" fmla="*/ 46 w 413"/>
                <a:gd name="T85" fmla="*/ 249 h 478"/>
                <a:gd name="T86" fmla="*/ 56 w 413"/>
                <a:gd name="T87" fmla="*/ 220 h 478"/>
                <a:gd name="T88" fmla="*/ 58 w 413"/>
                <a:gd name="T89" fmla="*/ 201 h 478"/>
                <a:gd name="T90" fmla="*/ 46 w 413"/>
                <a:gd name="T91" fmla="*/ 186 h 478"/>
                <a:gd name="T92" fmla="*/ 43 w 413"/>
                <a:gd name="T93" fmla="*/ 164 h 478"/>
                <a:gd name="T94" fmla="*/ 36 w 413"/>
                <a:gd name="T95" fmla="*/ 143 h 478"/>
                <a:gd name="T96" fmla="*/ 52 w 413"/>
                <a:gd name="T97" fmla="*/ 130 h 478"/>
                <a:gd name="T98" fmla="*/ 58 w 413"/>
                <a:gd name="T99" fmla="*/ 113 h 478"/>
                <a:gd name="T100" fmla="*/ 44 w 413"/>
                <a:gd name="T101" fmla="*/ 103 h 478"/>
                <a:gd name="T102" fmla="*/ 43 w 413"/>
                <a:gd name="T103" fmla="*/ 94 h 478"/>
                <a:gd name="T104" fmla="*/ 27 w 413"/>
                <a:gd name="T105" fmla="*/ 82 h 478"/>
                <a:gd name="T106" fmla="*/ 1 w 413"/>
                <a:gd name="T107" fmla="*/ 72 h 478"/>
                <a:gd name="T108" fmla="*/ 13 w 413"/>
                <a:gd name="T109" fmla="*/ 59 h 478"/>
                <a:gd name="T110" fmla="*/ 37 w 413"/>
                <a:gd name="T111" fmla="*/ 52 h 478"/>
                <a:gd name="T112" fmla="*/ 52 w 413"/>
                <a:gd name="T113" fmla="*/ 45 h 478"/>
                <a:gd name="T114" fmla="*/ 63 w 413"/>
                <a:gd name="T115" fmla="*/ 20 h 478"/>
                <a:gd name="T116" fmla="*/ 102 w 413"/>
                <a:gd name="T117" fmla="*/ 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3" h="478">
                  <a:moveTo>
                    <a:pt x="102" y="2"/>
                  </a:moveTo>
                  <a:lnTo>
                    <a:pt x="103" y="3"/>
                  </a:lnTo>
                  <a:lnTo>
                    <a:pt x="103" y="3"/>
                  </a:lnTo>
                  <a:lnTo>
                    <a:pt x="104" y="5"/>
                  </a:lnTo>
                  <a:lnTo>
                    <a:pt x="104" y="8"/>
                  </a:lnTo>
                  <a:lnTo>
                    <a:pt x="104" y="18"/>
                  </a:lnTo>
                  <a:lnTo>
                    <a:pt x="105" y="24"/>
                  </a:lnTo>
                  <a:lnTo>
                    <a:pt x="105" y="26"/>
                  </a:lnTo>
                  <a:lnTo>
                    <a:pt x="105" y="28"/>
                  </a:lnTo>
                  <a:lnTo>
                    <a:pt x="106" y="30"/>
                  </a:lnTo>
                  <a:lnTo>
                    <a:pt x="107" y="32"/>
                  </a:lnTo>
                  <a:lnTo>
                    <a:pt x="108" y="33"/>
                  </a:lnTo>
                  <a:lnTo>
                    <a:pt x="109" y="35"/>
                  </a:lnTo>
                  <a:lnTo>
                    <a:pt x="110" y="36"/>
                  </a:lnTo>
                  <a:lnTo>
                    <a:pt x="111" y="37"/>
                  </a:lnTo>
                  <a:lnTo>
                    <a:pt x="113" y="37"/>
                  </a:lnTo>
                  <a:lnTo>
                    <a:pt x="115" y="38"/>
                  </a:lnTo>
                  <a:lnTo>
                    <a:pt x="117" y="39"/>
                  </a:lnTo>
                  <a:lnTo>
                    <a:pt x="120" y="39"/>
                  </a:lnTo>
                  <a:lnTo>
                    <a:pt x="123" y="39"/>
                  </a:lnTo>
                  <a:lnTo>
                    <a:pt x="125" y="39"/>
                  </a:lnTo>
                  <a:lnTo>
                    <a:pt x="127" y="38"/>
                  </a:lnTo>
                  <a:lnTo>
                    <a:pt x="131" y="37"/>
                  </a:lnTo>
                  <a:lnTo>
                    <a:pt x="133" y="37"/>
                  </a:lnTo>
                  <a:lnTo>
                    <a:pt x="134" y="37"/>
                  </a:lnTo>
                  <a:lnTo>
                    <a:pt x="139" y="38"/>
                  </a:lnTo>
                  <a:lnTo>
                    <a:pt x="143" y="38"/>
                  </a:lnTo>
                  <a:lnTo>
                    <a:pt x="146" y="38"/>
                  </a:lnTo>
                  <a:lnTo>
                    <a:pt x="150" y="37"/>
                  </a:lnTo>
                  <a:lnTo>
                    <a:pt x="154" y="37"/>
                  </a:lnTo>
                  <a:lnTo>
                    <a:pt x="157" y="37"/>
                  </a:lnTo>
                  <a:lnTo>
                    <a:pt x="166" y="37"/>
                  </a:lnTo>
                  <a:lnTo>
                    <a:pt x="169" y="37"/>
                  </a:lnTo>
                  <a:lnTo>
                    <a:pt x="180" y="36"/>
                  </a:lnTo>
                  <a:lnTo>
                    <a:pt x="189" y="36"/>
                  </a:lnTo>
                  <a:lnTo>
                    <a:pt x="197" y="35"/>
                  </a:lnTo>
                  <a:lnTo>
                    <a:pt x="201" y="34"/>
                  </a:lnTo>
                  <a:lnTo>
                    <a:pt x="204" y="34"/>
                  </a:lnTo>
                  <a:lnTo>
                    <a:pt x="209" y="34"/>
                  </a:lnTo>
                  <a:lnTo>
                    <a:pt x="210" y="34"/>
                  </a:lnTo>
                  <a:lnTo>
                    <a:pt x="212" y="34"/>
                  </a:lnTo>
                  <a:lnTo>
                    <a:pt x="213" y="33"/>
                  </a:lnTo>
                  <a:lnTo>
                    <a:pt x="214" y="32"/>
                  </a:lnTo>
                  <a:lnTo>
                    <a:pt x="215" y="31"/>
                  </a:lnTo>
                  <a:lnTo>
                    <a:pt x="216" y="30"/>
                  </a:lnTo>
                  <a:lnTo>
                    <a:pt x="218" y="26"/>
                  </a:lnTo>
                  <a:lnTo>
                    <a:pt x="221" y="23"/>
                  </a:lnTo>
                  <a:lnTo>
                    <a:pt x="223" y="20"/>
                  </a:lnTo>
                  <a:lnTo>
                    <a:pt x="225" y="15"/>
                  </a:lnTo>
                  <a:lnTo>
                    <a:pt x="227" y="11"/>
                  </a:lnTo>
                  <a:lnTo>
                    <a:pt x="228" y="9"/>
                  </a:lnTo>
                  <a:lnTo>
                    <a:pt x="230" y="7"/>
                  </a:lnTo>
                  <a:lnTo>
                    <a:pt x="232" y="6"/>
                  </a:lnTo>
                  <a:lnTo>
                    <a:pt x="233" y="4"/>
                  </a:lnTo>
                  <a:lnTo>
                    <a:pt x="235" y="4"/>
                  </a:lnTo>
                  <a:lnTo>
                    <a:pt x="236" y="3"/>
                  </a:lnTo>
                  <a:lnTo>
                    <a:pt x="237" y="3"/>
                  </a:lnTo>
                  <a:lnTo>
                    <a:pt x="244" y="2"/>
                  </a:lnTo>
                  <a:lnTo>
                    <a:pt x="248" y="1"/>
                  </a:lnTo>
                  <a:lnTo>
                    <a:pt x="250" y="0"/>
                  </a:lnTo>
                  <a:lnTo>
                    <a:pt x="254" y="0"/>
                  </a:lnTo>
                  <a:lnTo>
                    <a:pt x="256" y="0"/>
                  </a:lnTo>
                  <a:lnTo>
                    <a:pt x="258" y="1"/>
                  </a:lnTo>
                  <a:lnTo>
                    <a:pt x="260" y="1"/>
                  </a:lnTo>
                  <a:lnTo>
                    <a:pt x="263" y="2"/>
                  </a:lnTo>
                  <a:lnTo>
                    <a:pt x="265" y="3"/>
                  </a:lnTo>
                  <a:lnTo>
                    <a:pt x="268" y="3"/>
                  </a:lnTo>
                  <a:lnTo>
                    <a:pt x="270" y="4"/>
                  </a:lnTo>
                  <a:lnTo>
                    <a:pt x="271" y="5"/>
                  </a:lnTo>
                  <a:lnTo>
                    <a:pt x="272" y="7"/>
                  </a:lnTo>
                  <a:lnTo>
                    <a:pt x="274" y="8"/>
                  </a:lnTo>
                  <a:lnTo>
                    <a:pt x="276" y="11"/>
                  </a:lnTo>
                  <a:lnTo>
                    <a:pt x="279" y="15"/>
                  </a:lnTo>
                  <a:lnTo>
                    <a:pt x="281" y="16"/>
                  </a:lnTo>
                  <a:lnTo>
                    <a:pt x="282" y="18"/>
                  </a:lnTo>
                  <a:lnTo>
                    <a:pt x="283" y="19"/>
                  </a:lnTo>
                  <a:lnTo>
                    <a:pt x="285" y="20"/>
                  </a:lnTo>
                  <a:lnTo>
                    <a:pt x="290" y="21"/>
                  </a:lnTo>
                  <a:lnTo>
                    <a:pt x="294" y="24"/>
                  </a:lnTo>
                  <a:lnTo>
                    <a:pt x="297" y="26"/>
                  </a:lnTo>
                  <a:lnTo>
                    <a:pt x="299" y="26"/>
                  </a:lnTo>
                  <a:lnTo>
                    <a:pt x="300" y="27"/>
                  </a:lnTo>
                  <a:lnTo>
                    <a:pt x="303" y="30"/>
                  </a:lnTo>
                  <a:lnTo>
                    <a:pt x="304" y="31"/>
                  </a:lnTo>
                  <a:lnTo>
                    <a:pt x="305" y="33"/>
                  </a:lnTo>
                  <a:lnTo>
                    <a:pt x="305" y="34"/>
                  </a:lnTo>
                  <a:lnTo>
                    <a:pt x="307" y="38"/>
                  </a:lnTo>
                  <a:lnTo>
                    <a:pt x="308" y="39"/>
                  </a:lnTo>
                  <a:lnTo>
                    <a:pt x="308" y="40"/>
                  </a:lnTo>
                  <a:lnTo>
                    <a:pt x="309" y="41"/>
                  </a:lnTo>
                  <a:lnTo>
                    <a:pt x="310" y="41"/>
                  </a:lnTo>
                  <a:lnTo>
                    <a:pt x="311" y="42"/>
                  </a:lnTo>
                  <a:lnTo>
                    <a:pt x="323" y="44"/>
                  </a:lnTo>
                  <a:lnTo>
                    <a:pt x="325" y="44"/>
                  </a:lnTo>
                  <a:lnTo>
                    <a:pt x="327" y="44"/>
                  </a:lnTo>
                  <a:lnTo>
                    <a:pt x="332" y="42"/>
                  </a:lnTo>
                  <a:lnTo>
                    <a:pt x="333" y="42"/>
                  </a:lnTo>
                  <a:lnTo>
                    <a:pt x="335" y="41"/>
                  </a:lnTo>
                  <a:lnTo>
                    <a:pt x="336" y="40"/>
                  </a:lnTo>
                  <a:lnTo>
                    <a:pt x="343" y="35"/>
                  </a:lnTo>
                  <a:lnTo>
                    <a:pt x="346" y="34"/>
                  </a:lnTo>
                  <a:lnTo>
                    <a:pt x="348" y="32"/>
                  </a:lnTo>
                  <a:lnTo>
                    <a:pt x="350" y="31"/>
                  </a:lnTo>
                  <a:lnTo>
                    <a:pt x="353" y="30"/>
                  </a:lnTo>
                  <a:lnTo>
                    <a:pt x="355" y="30"/>
                  </a:lnTo>
                  <a:lnTo>
                    <a:pt x="358" y="30"/>
                  </a:lnTo>
                  <a:lnTo>
                    <a:pt x="362" y="30"/>
                  </a:lnTo>
                  <a:lnTo>
                    <a:pt x="363" y="30"/>
                  </a:lnTo>
                  <a:lnTo>
                    <a:pt x="364" y="30"/>
                  </a:lnTo>
                  <a:lnTo>
                    <a:pt x="365" y="29"/>
                  </a:lnTo>
                  <a:lnTo>
                    <a:pt x="365" y="28"/>
                  </a:lnTo>
                  <a:lnTo>
                    <a:pt x="365" y="25"/>
                  </a:lnTo>
                  <a:lnTo>
                    <a:pt x="365" y="19"/>
                  </a:lnTo>
                  <a:lnTo>
                    <a:pt x="365" y="18"/>
                  </a:lnTo>
                  <a:lnTo>
                    <a:pt x="366" y="17"/>
                  </a:lnTo>
                  <a:lnTo>
                    <a:pt x="366" y="16"/>
                  </a:lnTo>
                  <a:lnTo>
                    <a:pt x="367" y="15"/>
                  </a:lnTo>
                  <a:lnTo>
                    <a:pt x="368" y="14"/>
                  </a:lnTo>
                  <a:lnTo>
                    <a:pt x="369" y="14"/>
                  </a:lnTo>
                  <a:lnTo>
                    <a:pt x="370" y="14"/>
                  </a:lnTo>
                  <a:lnTo>
                    <a:pt x="371" y="14"/>
                  </a:lnTo>
                  <a:lnTo>
                    <a:pt x="373" y="15"/>
                  </a:lnTo>
                  <a:lnTo>
                    <a:pt x="375" y="16"/>
                  </a:lnTo>
                  <a:lnTo>
                    <a:pt x="380" y="20"/>
                  </a:lnTo>
                  <a:lnTo>
                    <a:pt x="382" y="21"/>
                  </a:lnTo>
                  <a:lnTo>
                    <a:pt x="388" y="23"/>
                  </a:lnTo>
                  <a:lnTo>
                    <a:pt x="391" y="24"/>
                  </a:lnTo>
                  <a:lnTo>
                    <a:pt x="393" y="26"/>
                  </a:lnTo>
                  <a:lnTo>
                    <a:pt x="395" y="26"/>
                  </a:lnTo>
                  <a:lnTo>
                    <a:pt x="397" y="28"/>
                  </a:lnTo>
                  <a:lnTo>
                    <a:pt x="402" y="33"/>
                  </a:lnTo>
                  <a:lnTo>
                    <a:pt x="408" y="37"/>
                  </a:lnTo>
                  <a:lnTo>
                    <a:pt x="412" y="40"/>
                  </a:lnTo>
                  <a:lnTo>
                    <a:pt x="412" y="41"/>
                  </a:lnTo>
                  <a:lnTo>
                    <a:pt x="413" y="41"/>
                  </a:lnTo>
                  <a:lnTo>
                    <a:pt x="413" y="42"/>
                  </a:lnTo>
                  <a:lnTo>
                    <a:pt x="413" y="43"/>
                  </a:lnTo>
                  <a:lnTo>
                    <a:pt x="412" y="46"/>
                  </a:lnTo>
                  <a:lnTo>
                    <a:pt x="411" y="48"/>
                  </a:lnTo>
                  <a:lnTo>
                    <a:pt x="410" y="50"/>
                  </a:lnTo>
                  <a:lnTo>
                    <a:pt x="407" y="56"/>
                  </a:lnTo>
                  <a:lnTo>
                    <a:pt x="405" y="60"/>
                  </a:lnTo>
                  <a:lnTo>
                    <a:pt x="402" y="63"/>
                  </a:lnTo>
                  <a:lnTo>
                    <a:pt x="401" y="65"/>
                  </a:lnTo>
                  <a:lnTo>
                    <a:pt x="400" y="67"/>
                  </a:lnTo>
                  <a:lnTo>
                    <a:pt x="400" y="69"/>
                  </a:lnTo>
                  <a:lnTo>
                    <a:pt x="400" y="71"/>
                  </a:lnTo>
                  <a:lnTo>
                    <a:pt x="399" y="72"/>
                  </a:lnTo>
                  <a:lnTo>
                    <a:pt x="400" y="74"/>
                  </a:lnTo>
                  <a:lnTo>
                    <a:pt x="400" y="75"/>
                  </a:lnTo>
                  <a:lnTo>
                    <a:pt x="401" y="82"/>
                  </a:lnTo>
                  <a:lnTo>
                    <a:pt x="402" y="83"/>
                  </a:lnTo>
                  <a:lnTo>
                    <a:pt x="402" y="87"/>
                  </a:lnTo>
                  <a:lnTo>
                    <a:pt x="401" y="94"/>
                  </a:lnTo>
                  <a:lnTo>
                    <a:pt x="402" y="97"/>
                  </a:lnTo>
                  <a:lnTo>
                    <a:pt x="402" y="99"/>
                  </a:lnTo>
                  <a:lnTo>
                    <a:pt x="403" y="101"/>
                  </a:lnTo>
                  <a:lnTo>
                    <a:pt x="404" y="103"/>
                  </a:lnTo>
                  <a:lnTo>
                    <a:pt x="405" y="105"/>
                  </a:lnTo>
                  <a:lnTo>
                    <a:pt x="407" y="107"/>
                  </a:lnTo>
                  <a:lnTo>
                    <a:pt x="410" y="112"/>
                  </a:lnTo>
                  <a:lnTo>
                    <a:pt x="412" y="114"/>
                  </a:lnTo>
                  <a:lnTo>
                    <a:pt x="413" y="116"/>
                  </a:lnTo>
                  <a:lnTo>
                    <a:pt x="413" y="118"/>
                  </a:lnTo>
                  <a:lnTo>
                    <a:pt x="413" y="120"/>
                  </a:lnTo>
                  <a:lnTo>
                    <a:pt x="413" y="122"/>
                  </a:lnTo>
                  <a:lnTo>
                    <a:pt x="413" y="123"/>
                  </a:lnTo>
                  <a:lnTo>
                    <a:pt x="412" y="127"/>
                  </a:lnTo>
                  <a:lnTo>
                    <a:pt x="411" y="129"/>
                  </a:lnTo>
                  <a:lnTo>
                    <a:pt x="411" y="131"/>
                  </a:lnTo>
                  <a:lnTo>
                    <a:pt x="412" y="138"/>
                  </a:lnTo>
                  <a:lnTo>
                    <a:pt x="411" y="140"/>
                  </a:lnTo>
                  <a:lnTo>
                    <a:pt x="411" y="142"/>
                  </a:lnTo>
                  <a:lnTo>
                    <a:pt x="410" y="148"/>
                  </a:lnTo>
                  <a:lnTo>
                    <a:pt x="408" y="151"/>
                  </a:lnTo>
                  <a:lnTo>
                    <a:pt x="408" y="153"/>
                  </a:lnTo>
                  <a:lnTo>
                    <a:pt x="408" y="157"/>
                  </a:lnTo>
                  <a:lnTo>
                    <a:pt x="408" y="163"/>
                  </a:lnTo>
                  <a:lnTo>
                    <a:pt x="407" y="167"/>
                  </a:lnTo>
                  <a:lnTo>
                    <a:pt x="407" y="170"/>
                  </a:lnTo>
                  <a:lnTo>
                    <a:pt x="407" y="173"/>
                  </a:lnTo>
                  <a:lnTo>
                    <a:pt x="406" y="174"/>
                  </a:lnTo>
                  <a:lnTo>
                    <a:pt x="405" y="176"/>
                  </a:lnTo>
                  <a:lnTo>
                    <a:pt x="403" y="178"/>
                  </a:lnTo>
                  <a:lnTo>
                    <a:pt x="402" y="179"/>
                  </a:lnTo>
                  <a:lnTo>
                    <a:pt x="401" y="181"/>
                  </a:lnTo>
                  <a:lnTo>
                    <a:pt x="399" y="182"/>
                  </a:lnTo>
                  <a:lnTo>
                    <a:pt x="394" y="185"/>
                  </a:lnTo>
                  <a:lnTo>
                    <a:pt x="393" y="185"/>
                  </a:lnTo>
                  <a:lnTo>
                    <a:pt x="393" y="186"/>
                  </a:lnTo>
                  <a:lnTo>
                    <a:pt x="392" y="187"/>
                  </a:lnTo>
                  <a:lnTo>
                    <a:pt x="393" y="189"/>
                  </a:lnTo>
                  <a:lnTo>
                    <a:pt x="393" y="191"/>
                  </a:lnTo>
                  <a:lnTo>
                    <a:pt x="396" y="200"/>
                  </a:lnTo>
                  <a:lnTo>
                    <a:pt x="397" y="204"/>
                  </a:lnTo>
                  <a:lnTo>
                    <a:pt x="400" y="211"/>
                  </a:lnTo>
                  <a:lnTo>
                    <a:pt x="401" y="216"/>
                  </a:lnTo>
                  <a:lnTo>
                    <a:pt x="401" y="218"/>
                  </a:lnTo>
                  <a:lnTo>
                    <a:pt x="401" y="223"/>
                  </a:lnTo>
                  <a:lnTo>
                    <a:pt x="401" y="227"/>
                  </a:lnTo>
                  <a:lnTo>
                    <a:pt x="401" y="230"/>
                  </a:lnTo>
                  <a:lnTo>
                    <a:pt x="400" y="232"/>
                  </a:lnTo>
                  <a:lnTo>
                    <a:pt x="399" y="234"/>
                  </a:lnTo>
                  <a:lnTo>
                    <a:pt x="397" y="237"/>
                  </a:lnTo>
                  <a:lnTo>
                    <a:pt x="396" y="239"/>
                  </a:lnTo>
                  <a:lnTo>
                    <a:pt x="395" y="240"/>
                  </a:lnTo>
                  <a:lnTo>
                    <a:pt x="390" y="241"/>
                  </a:lnTo>
                  <a:lnTo>
                    <a:pt x="387" y="242"/>
                  </a:lnTo>
                  <a:lnTo>
                    <a:pt x="385" y="243"/>
                  </a:lnTo>
                  <a:lnTo>
                    <a:pt x="384" y="244"/>
                  </a:lnTo>
                  <a:lnTo>
                    <a:pt x="383" y="245"/>
                  </a:lnTo>
                  <a:lnTo>
                    <a:pt x="382" y="246"/>
                  </a:lnTo>
                  <a:lnTo>
                    <a:pt x="381" y="248"/>
                  </a:lnTo>
                  <a:lnTo>
                    <a:pt x="380" y="250"/>
                  </a:lnTo>
                  <a:lnTo>
                    <a:pt x="379" y="252"/>
                  </a:lnTo>
                  <a:lnTo>
                    <a:pt x="378" y="257"/>
                  </a:lnTo>
                  <a:lnTo>
                    <a:pt x="377" y="260"/>
                  </a:lnTo>
                  <a:lnTo>
                    <a:pt x="377" y="262"/>
                  </a:lnTo>
                  <a:lnTo>
                    <a:pt x="375" y="264"/>
                  </a:lnTo>
                  <a:lnTo>
                    <a:pt x="373" y="268"/>
                  </a:lnTo>
                  <a:lnTo>
                    <a:pt x="367" y="274"/>
                  </a:lnTo>
                  <a:lnTo>
                    <a:pt x="364" y="277"/>
                  </a:lnTo>
                  <a:lnTo>
                    <a:pt x="362" y="280"/>
                  </a:lnTo>
                  <a:lnTo>
                    <a:pt x="361" y="281"/>
                  </a:lnTo>
                  <a:lnTo>
                    <a:pt x="359" y="282"/>
                  </a:lnTo>
                  <a:lnTo>
                    <a:pt x="358" y="283"/>
                  </a:lnTo>
                  <a:lnTo>
                    <a:pt x="357" y="283"/>
                  </a:lnTo>
                  <a:lnTo>
                    <a:pt x="356" y="282"/>
                  </a:lnTo>
                  <a:lnTo>
                    <a:pt x="356" y="281"/>
                  </a:lnTo>
                  <a:lnTo>
                    <a:pt x="355" y="282"/>
                  </a:lnTo>
                  <a:lnTo>
                    <a:pt x="351" y="281"/>
                  </a:lnTo>
                  <a:lnTo>
                    <a:pt x="350" y="281"/>
                  </a:lnTo>
                  <a:lnTo>
                    <a:pt x="350" y="279"/>
                  </a:lnTo>
                  <a:lnTo>
                    <a:pt x="349" y="279"/>
                  </a:lnTo>
                  <a:lnTo>
                    <a:pt x="349" y="278"/>
                  </a:lnTo>
                  <a:lnTo>
                    <a:pt x="348" y="279"/>
                  </a:lnTo>
                  <a:lnTo>
                    <a:pt x="347" y="279"/>
                  </a:lnTo>
                  <a:lnTo>
                    <a:pt x="346" y="280"/>
                  </a:lnTo>
                  <a:lnTo>
                    <a:pt x="345" y="282"/>
                  </a:lnTo>
                  <a:lnTo>
                    <a:pt x="343" y="285"/>
                  </a:lnTo>
                  <a:lnTo>
                    <a:pt x="340" y="290"/>
                  </a:lnTo>
                  <a:lnTo>
                    <a:pt x="338" y="295"/>
                  </a:lnTo>
                  <a:lnTo>
                    <a:pt x="336" y="298"/>
                  </a:lnTo>
                  <a:lnTo>
                    <a:pt x="334" y="299"/>
                  </a:lnTo>
                  <a:lnTo>
                    <a:pt x="333" y="299"/>
                  </a:lnTo>
                  <a:lnTo>
                    <a:pt x="332" y="300"/>
                  </a:lnTo>
                  <a:lnTo>
                    <a:pt x="330" y="301"/>
                  </a:lnTo>
                  <a:lnTo>
                    <a:pt x="327" y="302"/>
                  </a:lnTo>
                  <a:lnTo>
                    <a:pt x="323" y="304"/>
                  </a:lnTo>
                  <a:lnTo>
                    <a:pt x="320" y="304"/>
                  </a:lnTo>
                  <a:lnTo>
                    <a:pt x="316" y="306"/>
                  </a:lnTo>
                  <a:lnTo>
                    <a:pt x="314" y="308"/>
                  </a:lnTo>
                  <a:lnTo>
                    <a:pt x="311" y="309"/>
                  </a:lnTo>
                  <a:lnTo>
                    <a:pt x="310" y="310"/>
                  </a:lnTo>
                  <a:lnTo>
                    <a:pt x="309" y="311"/>
                  </a:lnTo>
                  <a:lnTo>
                    <a:pt x="309" y="312"/>
                  </a:lnTo>
                  <a:lnTo>
                    <a:pt x="308" y="313"/>
                  </a:lnTo>
                  <a:lnTo>
                    <a:pt x="308" y="315"/>
                  </a:lnTo>
                  <a:lnTo>
                    <a:pt x="308" y="317"/>
                  </a:lnTo>
                  <a:lnTo>
                    <a:pt x="308" y="321"/>
                  </a:lnTo>
                  <a:lnTo>
                    <a:pt x="309" y="333"/>
                  </a:lnTo>
                  <a:lnTo>
                    <a:pt x="310" y="342"/>
                  </a:lnTo>
                  <a:lnTo>
                    <a:pt x="310" y="345"/>
                  </a:lnTo>
                  <a:lnTo>
                    <a:pt x="311" y="350"/>
                  </a:lnTo>
                  <a:lnTo>
                    <a:pt x="312" y="354"/>
                  </a:lnTo>
                  <a:lnTo>
                    <a:pt x="313" y="356"/>
                  </a:lnTo>
                  <a:lnTo>
                    <a:pt x="314" y="361"/>
                  </a:lnTo>
                  <a:lnTo>
                    <a:pt x="316" y="366"/>
                  </a:lnTo>
                  <a:lnTo>
                    <a:pt x="316" y="369"/>
                  </a:lnTo>
                  <a:lnTo>
                    <a:pt x="319" y="373"/>
                  </a:lnTo>
                  <a:lnTo>
                    <a:pt x="320" y="376"/>
                  </a:lnTo>
                  <a:lnTo>
                    <a:pt x="324" y="381"/>
                  </a:lnTo>
                  <a:lnTo>
                    <a:pt x="325" y="384"/>
                  </a:lnTo>
                  <a:lnTo>
                    <a:pt x="326" y="386"/>
                  </a:lnTo>
                  <a:lnTo>
                    <a:pt x="326" y="387"/>
                  </a:lnTo>
                  <a:lnTo>
                    <a:pt x="326" y="388"/>
                  </a:lnTo>
                  <a:lnTo>
                    <a:pt x="326" y="389"/>
                  </a:lnTo>
                  <a:lnTo>
                    <a:pt x="325" y="389"/>
                  </a:lnTo>
                  <a:lnTo>
                    <a:pt x="325" y="390"/>
                  </a:lnTo>
                  <a:lnTo>
                    <a:pt x="324" y="390"/>
                  </a:lnTo>
                  <a:lnTo>
                    <a:pt x="323" y="390"/>
                  </a:lnTo>
                  <a:lnTo>
                    <a:pt x="322" y="391"/>
                  </a:lnTo>
                  <a:lnTo>
                    <a:pt x="321" y="391"/>
                  </a:lnTo>
                  <a:lnTo>
                    <a:pt x="318" y="390"/>
                  </a:lnTo>
                  <a:lnTo>
                    <a:pt x="316" y="389"/>
                  </a:lnTo>
                  <a:lnTo>
                    <a:pt x="308" y="388"/>
                  </a:lnTo>
                  <a:lnTo>
                    <a:pt x="300" y="385"/>
                  </a:lnTo>
                  <a:lnTo>
                    <a:pt x="297" y="383"/>
                  </a:lnTo>
                  <a:lnTo>
                    <a:pt x="294" y="383"/>
                  </a:lnTo>
                  <a:lnTo>
                    <a:pt x="293" y="382"/>
                  </a:lnTo>
                  <a:lnTo>
                    <a:pt x="291" y="382"/>
                  </a:lnTo>
                  <a:lnTo>
                    <a:pt x="289" y="383"/>
                  </a:lnTo>
                  <a:lnTo>
                    <a:pt x="287" y="383"/>
                  </a:lnTo>
                  <a:lnTo>
                    <a:pt x="285" y="383"/>
                  </a:lnTo>
                  <a:lnTo>
                    <a:pt x="284" y="384"/>
                  </a:lnTo>
                  <a:lnTo>
                    <a:pt x="283" y="385"/>
                  </a:lnTo>
                  <a:lnTo>
                    <a:pt x="282" y="386"/>
                  </a:lnTo>
                  <a:lnTo>
                    <a:pt x="282" y="387"/>
                  </a:lnTo>
                  <a:lnTo>
                    <a:pt x="281" y="388"/>
                  </a:lnTo>
                  <a:lnTo>
                    <a:pt x="280" y="390"/>
                  </a:lnTo>
                  <a:lnTo>
                    <a:pt x="279" y="392"/>
                  </a:lnTo>
                  <a:lnTo>
                    <a:pt x="279" y="394"/>
                  </a:lnTo>
                  <a:lnTo>
                    <a:pt x="279" y="395"/>
                  </a:lnTo>
                  <a:lnTo>
                    <a:pt x="279" y="398"/>
                  </a:lnTo>
                  <a:lnTo>
                    <a:pt x="278" y="400"/>
                  </a:lnTo>
                  <a:lnTo>
                    <a:pt x="279" y="403"/>
                  </a:lnTo>
                  <a:lnTo>
                    <a:pt x="279" y="409"/>
                  </a:lnTo>
                  <a:lnTo>
                    <a:pt x="280" y="415"/>
                  </a:lnTo>
                  <a:lnTo>
                    <a:pt x="281" y="420"/>
                  </a:lnTo>
                  <a:lnTo>
                    <a:pt x="282" y="427"/>
                  </a:lnTo>
                  <a:lnTo>
                    <a:pt x="283" y="430"/>
                  </a:lnTo>
                  <a:lnTo>
                    <a:pt x="283" y="432"/>
                  </a:lnTo>
                  <a:lnTo>
                    <a:pt x="283" y="434"/>
                  </a:lnTo>
                  <a:lnTo>
                    <a:pt x="283" y="434"/>
                  </a:lnTo>
                  <a:lnTo>
                    <a:pt x="283" y="436"/>
                  </a:lnTo>
                  <a:lnTo>
                    <a:pt x="282" y="438"/>
                  </a:lnTo>
                  <a:lnTo>
                    <a:pt x="282" y="440"/>
                  </a:lnTo>
                  <a:lnTo>
                    <a:pt x="282" y="441"/>
                  </a:lnTo>
                  <a:lnTo>
                    <a:pt x="281" y="443"/>
                  </a:lnTo>
                  <a:lnTo>
                    <a:pt x="277" y="448"/>
                  </a:lnTo>
                  <a:lnTo>
                    <a:pt x="272" y="454"/>
                  </a:lnTo>
                  <a:lnTo>
                    <a:pt x="267" y="462"/>
                  </a:lnTo>
                  <a:lnTo>
                    <a:pt x="265" y="465"/>
                  </a:lnTo>
                  <a:lnTo>
                    <a:pt x="263" y="467"/>
                  </a:lnTo>
                  <a:lnTo>
                    <a:pt x="262" y="469"/>
                  </a:lnTo>
                  <a:lnTo>
                    <a:pt x="261" y="473"/>
                  </a:lnTo>
                  <a:lnTo>
                    <a:pt x="260" y="475"/>
                  </a:lnTo>
                  <a:lnTo>
                    <a:pt x="260" y="476"/>
                  </a:lnTo>
                  <a:lnTo>
                    <a:pt x="260" y="477"/>
                  </a:lnTo>
                  <a:lnTo>
                    <a:pt x="260" y="478"/>
                  </a:lnTo>
                  <a:lnTo>
                    <a:pt x="259" y="478"/>
                  </a:lnTo>
                  <a:lnTo>
                    <a:pt x="259" y="478"/>
                  </a:lnTo>
                  <a:lnTo>
                    <a:pt x="256" y="478"/>
                  </a:lnTo>
                  <a:lnTo>
                    <a:pt x="253" y="478"/>
                  </a:lnTo>
                  <a:lnTo>
                    <a:pt x="245" y="476"/>
                  </a:lnTo>
                  <a:lnTo>
                    <a:pt x="241" y="475"/>
                  </a:lnTo>
                  <a:lnTo>
                    <a:pt x="237" y="475"/>
                  </a:lnTo>
                  <a:lnTo>
                    <a:pt x="234" y="475"/>
                  </a:lnTo>
                  <a:lnTo>
                    <a:pt x="224" y="474"/>
                  </a:lnTo>
                  <a:lnTo>
                    <a:pt x="220" y="474"/>
                  </a:lnTo>
                  <a:lnTo>
                    <a:pt x="215" y="473"/>
                  </a:lnTo>
                  <a:lnTo>
                    <a:pt x="212" y="472"/>
                  </a:lnTo>
                  <a:lnTo>
                    <a:pt x="207" y="470"/>
                  </a:lnTo>
                  <a:lnTo>
                    <a:pt x="204" y="469"/>
                  </a:lnTo>
                  <a:lnTo>
                    <a:pt x="203" y="468"/>
                  </a:lnTo>
                  <a:lnTo>
                    <a:pt x="202" y="468"/>
                  </a:lnTo>
                  <a:lnTo>
                    <a:pt x="201" y="466"/>
                  </a:lnTo>
                  <a:lnTo>
                    <a:pt x="198" y="460"/>
                  </a:lnTo>
                  <a:lnTo>
                    <a:pt x="197" y="459"/>
                  </a:lnTo>
                  <a:lnTo>
                    <a:pt x="195" y="458"/>
                  </a:lnTo>
                  <a:lnTo>
                    <a:pt x="194" y="457"/>
                  </a:lnTo>
                  <a:lnTo>
                    <a:pt x="193" y="456"/>
                  </a:lnTo>
                  <a:lnTo>
                    <a:pt x="185" y="454"/>
                  </a:lnTo>
                  <a:lnTo>
                    <a:pt x="182" y="454"/>
                  </a:lnTo>
                  <a:lnTo>
                    <a:pt x="180" y="452"/>
                  </a:lnTo>
                  <a:lnTo>
                    <a:pt x="179" y="451"/>
                  </a:lnTo>
                  <a:lnTo>
                    <a:pt x="178" y="449"/>
                  </a:lnTo>
                  <a:lnTo>
                    <a:pt x="176" y="447"/>
                  </a:lnTo>
                  <a:lnTo>
                    <a:pt x="176" y="445"/>
                  </a:lnTo>
                  <a:lnTo>
                    <a:pt x="175" y="441"/>
                  </a:lnTo>
                  <a:lnTo>
                    <a:pt x="174" y="439"/>
                  </a:lnTo>
                  <a:lnTo>
                    <a:pt x="173" y="437"/>
                  </a:lnTo>
                  <a:lnTo>
                    <a:pt x="173" y="436"/>
                  </a:lnTo>
                  <a:lnTo>
                    <a:pt x="172" y="436"/>
                  </a:lnTo>
                  <a:lnTo>
                    <a:pt x="170" y="435"/>
                  </a:lnTo>
                  <a:lnTo>
                    <a:pt x="168" y="434"/>
                  </a:lnTo>
                  <a:lnTo>
                    <a:pt x="167" y="434"/>
                  </a:lnTo>
                  <a:lnTo>
                    <a:pt x="162" y="434"/>
                  </a:lnTo>
                  <a:lnTo>
                    <a:pt x="159" y="434"/>
                  </a:lnTo>
                  <a:lnTo>
                    <a:pt x="153" y="433"/>
                  </a:lnTo>
                  <a:lnTo>
                    <a:pt x="144" y="431"/>
                  </a:lnTo>
                  <a:lnTo>
                    <a:pt x="140" y="429"/>
                  </a:lnTo>
                  <a:lnTo>
                    <a:pt x="138" y="429"/>
                  </a:lnTo>
                  <a:lnTo>
                    <a:pt x="137" y="428"/>
                  </a:lnTo>
                  <a:lnTo>
                    <a:pt x="135" y="427"/>
                  </a:lnTo>
                  <a:lnTo>
                    <a:pt x="134" y="426"/>
                  </a:lnTo>
                  <a:lnTo>
                    <a:pt x="134" y="425"/>
                  </a:lnTo>
                  <a:lnTo>
                    <a:pt x="132" y="423"/>
                  </a:lnTo>
                  <a:lnTo>
                    <a:pt x="129" y="419"/>
                  </a:lnTo>
                  <a:lnTo>
                    <a:pt x="127" y="417"/>
                  </a:lnTo>
                  <a:lnTo>
                    <a:pt x="125" y="415"/>
                  </a:lnTo>
                  <a:lnTo>
                    <a:pt x="122" y="411"/>
                  </a:lnTo>
                  <a:lnTo>
                    <a:pt x="117" y="408"/>
                  </a:lnTo>
                  <a:lnTo>
                    <a:pt x="115" y="406"/>
                  </a:lnTo>
                  <a:lnTo>
                    <a:pt x="114" y="404"/>
                  </a:lnTo>
                  <a:lnTo>
                    <a:pt x="112" y="401"/>
                  </a:lnTo>
                  <a:lnTo>
                    <a:pt x="111" y="398"/>
                  </a:lnTo>
                  <a:lnTo>
                    <a:pt x="110" y="395"/>
                  </a:lnTo>
                  <a:lnTo>
                    <a:pt x="108" y="388"/>
                  </a:lnTo>
                  <a:lnTo>
                    <a:pt x="107" y="385"/>
                  </a:lnTo>
                  <a:lnTo>
                    <a:pt x="105" y="381"/>
                  </a:lnTo>
                  <a:lnTo>
                    <a:pt x="103" y="377"/>
                  </a:lnTo>
                  <a:lnTo>
                    <a:pt x="100" y="374"/>
                  </a:lnTo>
                  <a:lnTo>
                    <a:pt x="97" y="368"/>
                  </a:lnTo>
                  <a:lnTo>
                    <a:pt x="95" y="366"/>
                  </a:lnTo>
                  <a:lnTo>
                    <a:pt x="91" y="363"/>
                  </a:lnTo>
                  <a:lnTo>
                    <a:pt x="89" y="361"/>
                  </a:lnTo>
                  <a:lnTo>
                    <a:pt x="88" y="360"/>
                  </a:lnTo>
                  <a:lnTo>
                    <a:pt x="87" y="358"/>
                  </a:lnTo>
                  <a:lnTo>
                    <a:pt x="86" y="356"/>
                  </a:lnTo>
                  <a:lnTo>
                    <a:pt x="85" y="354"/>
                  </a:lnTo>
                  <a:lnTo>
                    <a:pt x="84" y="353"/>
                  </a:lnTo>
                  <a:lnTo>
                    <a:pt x="84" y="352"/>
                  </a:lnTo>
                  <a:lnTo>
                    <a:pt x="84" y="350"/>
                  </a:lnTo>
                  <a:lnTo>
                    <a:pt x="84" y="346"/>
                  </a:lnTo>
                  <a:lnTo>
                    <a:pt x="83" y="344"/>
                  </a:lnTo>
                  <a:lnTo>
                    <a:pt x="83" y="343"/>
                  </a:lnTo>
                  <a:lnTo>
                    <a:pt x="82" y="340"/>
                  </a:lnTo>
                  <a:lnTo>
                    <a:pt x="79" y="333"/>
                  </a:lnTo>
                  <a:lnTo>
                    <a:pt x="77" y="328"/>
                  </a:lnTo>
                  <a:lnTo>
                    <a:pt x="76" y="323"/>
                  </a:lnTo>
                  <a:lnTo>
                    <a:pt x="73" y="319"/>
                  </a:lnTo>
                  <a:lnTo>
                    <a:pt x="67" y="308"/>
                  </a:lnTo>
                  <a:lnTo>
                    <a:pt x="66" y="304"/>
                  </a:lnTo>
                  <a:lnTo>
                    <a:pt x="64" y="301"/>
                  </a:lnTo>
                  <a:lnTo>
                    <a:pt x="61" y="298"/>
                  </a:lnTo>
                  <a:lnTo>
                    <a:pt x="58" y="294"/>
                  </a:lnTo>
                  <a:lnTo>
                    <a:pt x="55" y="289"/>
                  </a:lnTo>
                  <a:lnTo>
                    <a:pt x="48" y="283"/>
                  </a:lnTo>
                  <a:lnTo>
                    <a:pt x="47" y="281"/>
                  </a:lnTo>
                  <a:lnTo>
                    <a:pt x="45" y="280"/>
                  </a:lnTo>
                  <a:lnTo>
                    <a:pt x="44" y="278"/>
                  </a:lnTo>
                  <a:lnTo>
                    <a:pt x="43" y="276"/>
                  </a:lnTo>
                  <a:lnTo>
                    <a:pt x="43" y="275"/>
                  </a:lnTo>
                  <a:lnTo>
                    <a:pt x="43" y="273"/>
                  </a:lnTo>
                  <a:lnTo>
                    <a:pt x="43" y="270"/>
                  </a:lnTo>
                  <a:lnTo>
                    <a:pt x="43" y="267"/>
                  </a:lnTo>
                  <a:lnTo>
                    <a:pt x="43" y="261"/>
                  </a:lnTo>
                  <a:lnTo>
                    <a:pt x="45" y="252"/>
                  </a:lnTo>
                  <a:lnTo>
                    <a:pt x="46" y="249"/>
                  </a:lnTo>
                  <a:lnTo>
                    <a:pt x="47" y="246"/>
                  </a:lnTo>
                  <a:lnTo>
                    <a:pt x="49" y="239"/>
                  </a:lnTo>
                  <a:lnTo>
                    <a:pt x="50" y="237"/>
                  </a:lnTo>
                  <a:lnTo>
                    <a:pt x="51" y="233"/>
                  </a:lnTo>
                  <a:lnTo>
                    <a:pt x="51" y="230"/>
                  </a:lnTo>
                  <a:lnTo>
                    <a:pt x="52" y="228"/>
                  </a:lnTo>
                  <a:lnTo>
                    <a:pt x="53" y="226"/>
                  </a:lnTo>
                  <a:lnTo>
                    <a:pt x="55" y="222"/>
                  </a:lnTo>
                  <a:lnTo>
                    <a:pt x="55" y="221"/>
                  </a:lnTo>
                  <a:lnTo>
                    <a:pt x="56" y="220"/>
                  </a:lnTo>
                  <a:lnTo>
                    <a:pt x="56" y="218"/>
                  </a:lnTo>
                  <a:lnTo>
                    <a:pt x="56" y="218"/>
                  </a:lnTo>
                  <a:lnTo>
                    <a:pt x="56" y="216"/>
                  </a:lnTo>
                  <a:lnTo>
                    <a:pt x="55" y="213"/>
                  </a:lnTo>
                  <a:lnTo>
                    <a:pt x="55" y="211"/>
                  </a:lnTo>
                  <a:lnTo>
                    <a:pt x="56" y="209"/>
                  </a:lnTo>
                  <a:lnTo>
                    <a:pt x="57" y="205"/>
                  </a:lnTo>
                  <a:lnTo>
                    <a:pt x="58" y="204"/>
                  </a:lnTo>
                  <a:lnTo>
                    <a:pt x="58" y="203"/>
                  </a:lnTo>
                  <a:lnTo>
                    <a:pt x="58" y="201"/>
                  </a:lnTo>
                  <a:lnTo>
                    <a:pt x="57" y="200"/>
                  </a:lnTo>
                  <a:lnTo>
                    <a:pt x="56" y="198"/>
                  </a:lnTo>
                  <a:lnTo>
                    <a:pt x="55" y="196"/>
                  </a:lnTo>
                  <a:lnTo>
                    <a:pt x="55" y="196"/>
                  </a:lnTo>
                  <a:lnTo>
                    <a:pt x="54" y="195"/>
                  </a:lnTo>
                  <a:lnTo>
                    <a:pt x="50" y="192"/>
                  </a:lnTo>
                  <a:lnTo>
                    <a:pt x="48" y="190"/>
                  </a:lnTo>
                  <a:lnTo>
                    <a:pt x="46" y="189"/>
                  </a:lnTo>
                  <a:lnTo>
                    <a:pt x="46" y="187"/>
                  </a:lnTo>
                  <a:lnTo>
                    <a:pt x="46" y="186"/>
                  </a:lnTo>
                  <a:lnTo>
                    <a:pt x="46" y="185"/>
                  </a:lnTo>
                  <a:lnTo>
                    <a:pt x="46" y="184"/>
                  </a:lnTo>
                  <a:lnTo>
                    <a:pt x="48" y="183"/>
                  </a:lnTo>
                  <a:lnTo>
                    <a:pt x="48" y="181"/>
                  </a:lnTo>
                  <a:lnTo>
                    <a:pt x="48" y="179"/>
                  </a:lnTo>
                  <a:lnTo>
                    <a:pt x="48" y="178"/>
                  </a:lnTo>
                  <a:lnTo>
                    <a:pt x="47" y="175"/>
                  </a:lnTo>
                  <a:lnTo>
                    <a:pt x="45" y="170"/>
                  </a:lnTo>
                  <a:lnTo>
                    <a:pt x="43" y="167"/>
                  </a:lnTo>
                  <a:lnTo>
                    <a:pt x="43" y="164"/>
                  </a:lnTo>
                  <a:lnTo>
                    <a:pt x="43" y="160"/>
                  </a:lnTo>
                  <a:lnTo>
                    <a:pt x="42" y="158"/>
                  </a:lnTo>
                  <a:lnTo>
                    <a:pt x="41" y="156"/>
                  </a:lnTo>
                  <a:lnTo>
                    <a:pt x="38" y="151"/>
                  </a:lnTo>
                  <a:lnTo>
                    <a:pt x="37" y="149"/>
                  </a:lnTo>
                  <a:lnTo>
                    <a:pt x="36" y="148"/>
                  </a:lnTo>
                  <a:lnTo>
                    <a:pt x="36" y="147"/>
                  </a:lnTo>
                  <a:lnTo>
                    <a:pt x="36" y="145"/>
                  </a:lnTo>
                  <a:lnTo>
                    <a:pt x="36" y="144"/>
                  </a:lnTo>
                  <a:lnTo>
                    <a:pt x="36" y="143"/>
                  </a:lnTo>
                  <a:lnTo>
                    <a:pt x="36" y="142"/>
                  </a:lnTo>
                  <a:lnTo>
                    <a:pt x="38" y="139"/>
                  </a:lnTo>
                  <a:lnTo>
                    <a:pt x="39" y="138"/>
                  </a:lnTo>
                  <a:lnTo>
                    <a:pt x="41" y="136"/>
                  </a:lnTo>
                  <a:lnTo>
                    <a:pt x="42" y="135"/>
                  </a:lnTo>
                  <a:lnTo>
                    <a:pt x="43" y="134"/>
                  </a:lnTo>
                  <a:lnTo>
                    <a:pt x="44" y="134"/>
                  </a:lnTo>
                  <a:lnTo>
                    <a:pt x="48" y="132"/>
                  </a:lnTo>
                  <a:lnTo>
                    <a:pt x="50" y="131"/>
                  </a:lnTo>
                  <a:lnTo>
                    <a:pt x="52" y="130"/>
                  </a:lnTo>
                  <a:lnTo>
                    <a:pt x="54" y="128"/>
                  </a:lnTo>
                  <a:lnTo>
                    <a:pt x="55" y="127"/>
                  </a:lnTo>
                  <a:lnTo>
                    <a:pt x="56" y="124"/>
                  </a:lnTo>
                  <a:lnTo>
                    <a:pt x="57" y="121"/>
                  </a:lnTo>
                  <a:lnTo>
                    <a:pt x="58" y="119"/>
                  </a:lnTo>
                  <a:lnTo>
                    <a:pt x="58" y="118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58" y="114"/>
                  </a:lnTo>
                  <a:lnTo>
                    <a:pt x="58" y="113"/>
                  </a:lnTo>
                  <a:lnTo>
                    <a:pt x="57" y="112"/>
                  </a:lnTo>
                  <a:lnTo>
                    <a:pt x="56" y="112"/>
                  </a:lnTo>
                  <a:lnTo>
                    <a:pt x="55" y="111"/>
                  </a:lnTo>
                  <a:lnTo>
                    <a:pt x="52" y="111"/>
                  </a:lnTo>
                  <a:lnTo>
                    <a:pt x="51" y="110"/>
                  </a:lnTo>
                  <a:lnTo>
                    <a:pt x="50" y="109"/>
                  </a:lnTo>
                  <a:lnTo>
                    <a:pt x="48" y="108"/>
                  </a:lnTo>
                  <a:lnTo>
                    <a:pt x="45" y="104"/>
                  </a:lnTo>
                  <a:lnTo>
                    <a:pt x="44" y="104"/>
                  </a:lnTo>
                  <a:lnTo>
                    <a:pt x="44" y="103"/>
                  </a:lnTo>
                  <a:lnTo>
                    <a:pt x="44" y="101"/>
                  </a:lnTo>
                  <a:lnTo>
                    <a:pt x="44" y="100"/>
                  </a:lnTo>
                  <a:lnTo>
                    <a:pt x="44" y="99"/>
                  </a:lnTo>
                  <a:lnTo>
                    <a:pt x="44" y="98"/>
                  </a:lnTo>
                  <a:lnTo>
                    <a:pt x="45" y="97"/>
                  </a:lnTo>
                  <a:lnTo>
                    <a:pt x="45" y="96"/>
                  </a:lnTo>
                  <a:lnTo>
                    <a:pt x="45" y="95"/>
                  </a:lnTo>
                  <a:lnTo>
                    <a:pt x="44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2" y="94"/>
                  </a:lnTo>
                  <a:lnTo>
                    <a:pt x="39" y="93"/>
                  </a:lnTo>
                  <a:lnTo>
                    <a:pt x="38" y="93"/>
                  </a:lnTo>
                  <a:lnTo>
                    <a:pt x="36" y="92"/>
                  </a:lnTo>
                  <a:lnTo>
                    <a:pt x="34" y="91"/>
                  </a:lnTo>
                  <a:lnTo>
                    <a:pt x="33" y="90"/>
                  </a:lnTo>
                  <a:lnTo>
                    <a:pt x="32" y="88"/>
                  </a:lnTo>
                  <a:lnTo>
                    <a:pt x="29" y="83"/>
                  </a:lnTo>
                  <a:lnTo>
                    <a:pt x="28" y="82"/>
                  </a:lnTo>
                  <a:lnTo>
                    <a:pt x="27" y="82"/>
                  </a:lnTo>
                  <a:lnTo>
                    <a:pt x="26" y="81"/>
                  </a:lnTo>
                  <a:lnTo>
                    <a:pt x="23" y="80"/>
                  </a:lnTo>
                  <a:lnTo>
                    <a:pt x="21" y="78"/>
                  </a:lnTo>
                  <a:lnTo>
                    <a:pt x="19" y="77"/>
                  </a:lnTo>
                  <a:lnTo>
                    <a:pt x="16" y="76"/>
                  </a:lnTo>
                  <a:lnTo>
                    <a:pt x="14" y="75"/>
                  </a:lnTo>
                  <a:lnTo>
                    <a:pt x="11" y="74"/>
                  </a:lnTo>
                  <a:lnTo>
                    <a:pt x="4" y="73"/>
                  </a:lnTo>
                  <a:lnTo>
                    <a:pt x="2" y="73"/>
                  </a:lnTo>
                  <a:lnTo>
                    <a:pt x="1" y="72"/>
                  </a:lnTo>
                  <a:lnTo>
                    <a:pt x="0" y="72"/>
                  </a:lnTo>
                  <a:lnTo>
                    <a:pt x="0" y="71"/>
                  </a:lnTo>
                  <a:lnTo>
                    <a:pt x="1" y="71"/>
                  </a:lnTo>
                  <a:lnTo>
                    <a:pt x="4" y="66"/>
                  </a:lnTo>
                  <a:lnTo>
                    <a:pt x="5" y="64"/>
                  </a:lnTo>
                  <a:lnTo>
                    <a:pt x="6" y="62"/>
                  </a:lnTo>
                  <a:lnTo>
                    <a:pt x="8" y="61"/>
                  </a:lnTo>
                  <a:lnTo>
                    <a:pt x="9" y="60"/>
                  </a:lnTo>
                  <a:lnTo>
                    <a:pt x="10" y="60"/>
                  </a:lnTo>
                  <a:lnTo>
                    <a:pt x="13" y="59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9" y="58"/>
                  </a:lnTo>
                  <a:lnTo>
                    <a:pt x="24" y="58"/>
                  </a:lnTo>
                  <a:lnTo>
                    <a:pt x="27" y="57"/>
                  </a:lnTo>
                  <a:lnTo>
                    <a:pt x="29" y="57"/>
                  </a:lnTo>
                  <a:lnTo>
                    <a:pt x="32" y="56"/>
                  </a:lnTo>
                  <a:lnTo>
                    <a:pt x="33" y="55"/>
                  </a:lnTo>
                  <a:lnTo>
                    <a:pt x="35" y="54"/>
                  </a:lnTo>
                  <a:lnTo>
                    <a:pt x="37" y="52"/>
                  </a:lnTo>
                  <a:lnTo>
                    <a:pt x="41" y="48"/>
                  </a:lnTo>
                  <a:lnTo>
                    <a:pt x="42" y="48"/>
                  </a:lnTo>
                  <a:lnTo>
                    <a:pt x="43" y="48"/>
                  </a:lnTo>
                  <a:lnTo>
                    <a:pt x="43" y="47"/>
                  </a:lnTo>
                  <a:lnTo>
                    <a:pt x="45" y="47"/>
                  </a:lnTo>
                  <a:lnTo>
                    <a:pt x="46" y="47"/>
                  </a:lnTo>
                  <a:lnTo>
                    <a:pt x="49" y="47"/>
                  </a:lnTo>
                  <a:lnTo>
                    <a:pt x="50" y="47"/>
                  </a:lnTo>
                  <a:lnTo>
                    <a:pt x="51" y="46"/>
                  </a:lnTo>
                  <a:lnTo>
                    <a:pt x="52" y="45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5" y="40"/>
                  </a:lnTo>
                  <a:lnTo>
                    <a:pt x="57" y="37"/>
                  </a:lnTo>
                  <a:lnTo>
                    <a:pt x="58" y="36"/>
                  </a:lnTo>
                  <a:lnTo>
                    <a:pt x="59" y="33"/>
                  </a:lnTo>
                  <a:lnTo>
                    <a:pt x="61" y="27"/>
                  </a:lnTo>
                  <a:lnTo>
                    <a:pt x="62" y="26"/>
                  </a:lnTo>
                  <a:lnTo>
                    <a:pt x="63" y="22"/>
                  </a:lnTo>
                  <a:lnTo>
                    <a:pt x="63" y="20"/>
                  </a:lnTo>
                  <a:lnTo>
                    <a:pt x="64" y="18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9" y="14"/>
                  </a:lnTo>
                  <a:lnTo>
                    <a:pt x="81" y="9"/>
                  </a:lnTo>
                  <a:lnTo>
                    <a:pt x="87" y="6"/>
                  </a:lnTo>
                  <a:lnTo>
                    <a:pt x="89" y="5"/>
                  </a:lnTo>
                  <a:lnTo>
                    <a:pt x="92" y="4"/>
                  </a:lnTo>
                  <a:lnTo>
                    <a:pt x="101" y="2"/>
                  </a:lnTo>
                  <a:lnTo>
                    <a:pt x="102" y="2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9" name="Freeform 22">
              <a:extLst>
                <a:ext uri="{FF2B5EF4-FFF2-40B4-BE49-F238E27FC236}">
                  <a16:creationId xmlns:a16="http://schemas.microsoft.com/office/drawing/2014/main" id="{F3518D59-4765-4F0E-B3F5-CA61B41B2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" y="3207"/>
              <a:ext cx="576" cy="499"/>
            </a:xfrm>
            <a:custGeom>
              <a:avLst/>
              <a:gdLst>
                <a:gd name="T0" fmla="*/ 118 w 576"/>
                <a:gd name="T1" fmla="*/ 5 h 499"/>
                <a:gd name="T2" fmla="*/ 148 w 576"/>
                <a:gd name="T3" fmla="*/ 13 h 499"/>
                <a:gd name="T4" fmla="*/ 163 w 576"/>
                <a:gd name="T5" fmla="*/ 29 h 499"/>
                <a:gd name="T6" fmla="*/ 180 w 576"/>
                <a:gd name="T7" fmla="*/ 36 h 499"/>
                <a:gd name="T8" fmla="*/ 243 w 576"/>
                <a:gd name="T9" fmla="*/ 39 h 499"/>
                <a:gd name="T10" fmla="*/ 257 w 576"/>
                <a:gd name="T11" fmla="*/ 64 h 499"/>
                <a:gd name="T12" fmla="*/ 289 w 576"/>
                <a:gd name="T13" fmla="*/ 63 h 499"/>
                <a:gd name="T14" fmla="*/ 323 w 576"/>
                <a:gd name="T15" fmla="*/ 53 h 499"/>
                <a:gd name="T16" fmla="*/ 338 w 576"/>
                <a:gd name="T17" fmla="*/ 33 h 499"/>
                <a:gd name="T18" fmla="*/ 352 w 576"/>
                <a:gd name="T19" fmla="*/ 43 h 499"/>
                <a:gd name="T20" fmla="*/ 370 w 576"/>
                <a:gd name="T21" fmla="*/ 44 h 499"/>
                <a:gd name="T22" fmla="*/ 379 w 576"/>
                <a:gd name="T23" fmla="*/ 58 h 499"/>
                <a:gd name="T24" fmla="*/ 398 w 576"/>
                <a:gd name="T25" fmla="*/ 79 h 499"/>
                <a:gd name="T26" fmla="*/ 425 w 576"/>
                <a:gd name="T27" fmla="*/ 89 h 499"/>
                <a:gd name="T28" fmla="*/ 493 w 576"/>
                <a:gd name="T29" fmla="*/ 89 h 499"/>
                <a:gd name="T30" fmla="*/ 526 w 576"/>
                <a:gd name="T31" fmla="*/ 85 h 499"/>
                <a:gd name="T32" fmla="*/ 545 w 576"/>
                <a:gd name="T33" fmla="*/ 69 h 499"/>
                <a:gd name="T34" fmla="*/ 553 w 576"/>
                <a:gd name="T35" fmla="*/ 67 h 499"/>
                <a:gd name="T36" fmla="*/ 552 w 576"/>
                <a:gd name="T37" fmla="*/ 104 h 499"/>
                <a:gd name="T38" fmla="*/ 557 w 576"/>
                <a:gd name="T39" fmla="*/ 126 h 499"/>
                <a:gd name="T40" fmla="*/ 576 w 576"/>
                <a:gd name="T41" fmla="*/ 158 h 499"/>
                <a:gd name="T42" fmla="*/ 569 w 576"/>
                <a:gd name="T43" fmla="*/ 170 h 499"/>
                <a:gd name="T44" fmla="*/ 547 w 576"/>
                <a:gd name="T45" fmla="*/ 191 h 499"/>
                <a:gd name="T46" fmla="*/ 520 w 576"/>
                <a:gd name="T47" fmla="*/ 204 h 499"/>
                <a:gd name="T48" fmla="*/ 506 w 576"/>
                <a:gd name="T49" fmla="*/ 226 h 499"/>
                <a:gd name="T50" fmla="*/ 501 w 576"/>
                <a:gd name="T51" fmla="*/ 249 h 499"/>
                <a:gd name="T52" fmla="*/ 490 w 576"/>
                <a:gd name="T53" fmla="*/ 275 h 499"/>
                <a:gd name="T54" fmla="*/ 490 w 576"/>
                <a:gd name="T55" fmla="*/ 297 h 499"/>
                <a:gd name="T56" fmla="*/ 496 w 576"/>
                <a:gd name="T57" fmla="*/ 314 h 499"/>
                <a:gd name="T58" fmla="*/ 495 w 576"/>
                <a:gd name="T59" fmla="*/ 326 h 499"/>
                <a:gd name="T60" fmla="*/ 480 w 576"/>
                <a:gd name="T61" fmla="*/ 324 h 499"/>
                <a:gd name="T62" fmla="*/ 448 w 576"/>
                <a:gd name="T63" fmla="*/ 312 h 499"/>
                <a:gd name="T64" fmla="*/ 406 w 576"/>
                <a:gd name="T65" fmla="*/ 313 h 499"/>
                <a:gd name="T66" fmla="*/ 354 w 576"/>
                <a:gd name="T67" fmla="*/ 322 h 499"/>
                <a:gd name="T68" fmla="*/ 327 w 576"/>
                <a:gd name="T69" fmla="*/ 321 h 499"/>
                <a:gd name="T70" fmla="*/ 318 w 576"/>
                <a:gd name="T71" fmla="*/ 334 h 499"/>
                <a:gd name="T72" fmla="*/ 319 w 576"/>
                <a:gd name="T73" fmla="*/ 368 h 499"/>
                <a:gd name="T74" fmla="*/ 332 w 576"/>
                <a:gd name="T75" fmla="*/ 412 h 499"/>
                <a:gd name="T76" fmla="*/ 332 w 576"/>
                <a:gd name="T77" fmla="*/ 448 h 499"/>
                <a:gd name="T78" fmla="*/ 316 w 576"/>
                <a:gd name="T79" fmla="*/ 478 h 499"/>
                <a:gd name="T80" fmla="*/ 293 w 576"/>
                <a:gd name="T81" fmla="*/ 489 h 499"/>
                <a:gd name="T82" fmla="*/ 276 w 576"/>
                <a:gd name="T83" fmla="*/ 491 h 499"/>
                <a:gd name="T84" fmla="*/ 242 w 576"/>
                <a:gd name="T85" fmla="*/ 470 h 499"/>
                <a:gd name="T86" fmla="*/ 208 w 576"/>
                <a:gd name="T87" fmla="*/ 455 h 499"/>
                <a:gd name="T88" fmla="*/ 200 w 576"/>
                <a:gd name="T89" fmla="*/ 425 h 499"/>
                <a:gd name="T90" fmla="*/ 178 w 576"/>
                <a:gd name="T91" fmla="*/ 392 h 499"/>
                <a:gd name="T92" fmla="*/ 165 w 576"/>
                <a:gd name="T93" fmla="*/ 372 h 499"/>
                <a:gd name="T94" fmla="*/ 147 w 576"/>
                <a:gd name="T95" fmla="*/ 335 h 499"/>
                <a:gd name="T96" fmla="*/ 113 w 576"/>
                <a:gd name="T97" fmla="*/ 334 h 499"/>
                <a:gd name="T98" fmla="*/ 88 w 576"/>
                <a:gd name="T99" fmla="*/ 317 h 499"/>
                <a:gd name="T100" fmla="*/ 62 w 576"/>
                <a:gd name="T101" fmla="*/ 260 h 499"/>
                <a:gd name="T102" fmla="*/ 48 w 576"/>
                <a:gd name="T103" fmla="*/ 256 h 499"/>
                <a:gd name="T104" fmla="*/ 30 w 576"/>
                <a:gd name="T105" fmla="*/ 236 h 499"/>
                <a:gd name="T106" fmla="*/ 7 w 576"/>
                <a:gd name="T107" fmla="*/ 229 h 499"/>
                <a:gd name="T108" fmla="*/ 0 w 576"/>
                <a:gd name="T109" fmla="*/ 204 h 499"/>
                <a:gd name="T110" fmla="*/ 5 w 576"/>
                <a:gd name="T111" fmla="*/ 168 h 499"/>
                <a:gd name="T112" fmla="*/ 23 w 576"/>
                <a:gd name="T113" fmla="*/ 141 h 499"/>
                <a:gd name="T114" fmla="*/ 43 w 576"/>
                <a:gd name="T115" fmla="*/ 127 h 499"/>
                <a:gd name="T116" fmla="*/ 48 w 576"/>
                <a:gd name="T117" fmla="*/ 108 h 499"/>
                <a:gd name="T118" fmla="*/ 38 w 576"/>
                <a:gd name="T119" fmla="*/ 70 h 499"/>
                <a:gd name="T120" fmla="*/ 45 w 576"/>
                <a:gd name="T121" fmla="*/ 25 h 499"/>
                <a:gd name="T122" fmla="*/ 65 w 576"/>
                <a:gd name="T123" fmla="*/ 24 h 499"/>
                <a:gd name="T124" fmla="*/ 83 w 576"/>
                <a:gd name="T125" fmla="*/ 19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6" h="499">
                  <a:moveTo>
                    <a:pt x="112" y="0"/>
                  </a:moveTo>
                  <a:lnTo>
                    <a:pt x="114" y="1"/>
                  </a:lnTo>
                  <a:lnTo>
                    <a:pt x="115" y="1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1"/>
                  </a:lnTo>
                  <a:lnTo>
                    <a:pt x="117" y="2"/>
                  </a:lnTo>
                  <a:lnTo>
                    <a:pt x="118" y="4"/>
                  </a:lnTo>
                  <a:lnTo>
                    <a:pt x="118" y="5"/>
                  </a:lnTo>
                  <a:lnTo>
                    <a:pt x="119" y="6"/>
                  </a:lnTo>
                  <a:lnTo>
                    <a:pt x="121" y="7"/>
                  </a:lnTo>
                  <a:lnTo>
                    <a:pt x="123" y="8"/>
                  </a:lnTo>
                  <a:lnTo>
                    <a:pt x="125" y="8"/>
                  </a:lnTo>
                  <a:lnTo>
                    <a:pt x="127" y="9"/>
                  </a:lnTo>
                  <a:lnTo>
                    <a:pt x="136" y="11"/>
                  </a:lnTo>
                  <a:lnTo>
                    <a:pt x="141" y="11"/>
                  </a:lnTo>
                  <a:lnTo>
                    <a:pt x="145" y="12"/>
                  </a:lnTo>
                  <a:lnTo>
                    <a:pt x="148" y="13"/>
                  </a:lnTo>
                  <a:lnTo>
                    <a:pt x="150" y="14"/>
                  </a:lnTo>
                  <a:lnTo>
                    <a:pt x="152" y="16"/>
                  </a:lnTo>
                  <a:lnTo>
                    <a:pt x="154" y="17"/>
                  </a:lnTo>
                  <a:lnTo>
                    <a:pt x="156" y="18"/>
                  </a:lnTo>
                  <a:lnTo>
                    <a:pt x="157" y="20"/>
                  </a:lnTo>
                  <a:lnTo>
                    <a:pt x="159" y="21"/>
                  </a:lnTo>
                  <a:lnTo>
                    <a:pt x="160" y="22"/>
                  </a:lnTo>
                  <a:lnTo>
                    <a:pt x="161" y="23"/>
                  </a:lnTo>
                  <a:lnTo>
                    <a:pt x="163" y="29"/>
                  </a:lnTo>
                  <a:lnTo>
                    <a:pt x="164" y="31"/>
                  </a:lnTo>
                  <a:lnTo>
                    <a:pt x="165" y="32"/>
                  </a:lnTo>
                  <a:lnTo>
                    <a:pt x="167" y="34"/>
                  </a:lnTo>
                  <a:lnTo>
                    <a:pt x="169" y="34"/>
                  </a:lnTo>
                  <a:lnTo>
                    <a:pt x="171" y="35"/>
                  </a:lnTo>
                  <a:lnTo>
                    <a:pt x="173" y="35"/>
                  </a:lnTo>
                  <a:lnTo>
                    <a:pt x="174" y="36"/>
                  </a:lnTo>
                  <a:lnTo>
                    <a:pt x="176" y="36"/>
                  </a:lnTo>
                  <a:lnTo>
                    <a:pt x="180" y="36"/>
                  </a:lnTo>
                  <a:lnTo>
                    <a:pt x="183" y="36"/>
                  </a:lnTo>
                  <a:lnTo>
                    <a:pt x="191" y="36"/>
                  </a:lnTo>
                  <a:lnTo>
                    <a:pt x="196" y="36"/>
                  </a:lnTo>
                  <a:lnTo>
                    <a:pt x="207" y="36"/>
                  </a:lnTo>
                  <a:lnTo>
                    <a:pt x="218" y="36"/>
                  </a:lnTo>
                  <a:lnTo>
                    <a:pt x="238" y="37"/>
                  </a:lnTo>
                  <a:lnTo>
                    <a:pt x="240" y="37"/>
                  </a:lnTo>
                  <a:lnTo>
                    <a:pt x="242" y="38"/>
                  </a:lnTo>
                  <a:lnTo>
                    <a:pt x="243" y="39"/>
                  </a:lnTo>
                  <a:lnTo>
                    <a:pt x="244" y="40"/>
                  </a:lnTo>
                  <a:lnTo>
                    <a:pt x="246" y="43"/>
                  </a:lnTo>
                  <a:lnTo>
                    <a:pt x="248" y="45"/>
                  </a:lnTo>
                  <a:lnTo>
                    <a:pt x="249" y="48"/>
                  </a:lnTo>
                  <a:lnTo>
                    <a:pt x="251" y="52"/>
                  </a:lnTo>
                  <a:lnTo>
                    <a:pt x="254" y="60"/>
                  </a:lnTo>
                  <a:lnTo>
                    <a:pt x="255" y="62"/>
                  </a:lnTo>
                  <a:lnTo>
                    <a:pt x="256" y="63"/>
                  </a:lnTo>
                  <a:lnTo>
                    <a:pt x="257" y="64"/>
                  </a:lnTo>
                  <a:lnTo>
                    <a:pt x="258" y="65"/>
                  </a:lnTo>
                  <a:lnTo>
                    <a:pt x="260" y="64"/>
                  </a:lnTo>
                  <a:lnTo>
                    <a:pt x="266" y="63"/>
                  </a:lnTo>
                  <a:lnTo>
                    <a:pt x="270" y="63"/>
                  </a:lnTo>
                  <a:lnTo>
                    <a:pt x="275" y="62"/>
                  </a:lnTo>
                  <a:lnTo>
                    <a:pt x="282" y="63"/>
                  </a:lnTo>
                  <a:lnTo>
                    <a:pt x="286" y="63"/>
                  </a:lnTo>
                  <a:lnTo>
                    <a:pt x="287" y="63"/>
                  </a:lnTo>
                  <a:lnTo>
                    <a:pt x="289" y="63"/>
                  </a:lnTo>
                  <a:lnTo>
                    <a:pt x="290" y="62"/>
                  </a:lnTo>
                  <a:lnTo>
                    <a:pt x="292" y="62"/>
                  </a:lnTo>
                  <a:lnTo>
                    <a:pt x="299" y="58"/>
                  </a:lnTo>
                  <a:lnTo>
                    <a:pt x="303" y="56"/>
                  </a:lnTo>
                  <a:lnTo>
                    <a:pt x="305" y="56"/>
                  </a:lnTo>
                  <a:lnTo>
                    <a:pt x="309" y="55"/>
                  </a:lnTo>
                  <a:lnTo>
                    <a:pt x="321" y="54"/>
                  </a:lnTo>
                  <a:lnTo>
                    <a:pt x="322" y="53"/>
                  </a:lnTo>
                  <a:lnTo>
                    <a:pt x="323" y="53"/>
                  </a:lnTo>
                  <a:lnTo>
                    <a:pt x="324" y="52"/>
                  </a:lnTo>
                  <a:lnTo>
                    <a:pt x="325" y="51"/>
                  </a:lnTo>
                  <a:lnTo>
                    <a:pt x="326" y="50"/>
                  </a:lnTo>
                  <a:lnTo>
                    <a:pt x="329" y="45"/>
                  </a:lnTo>
                  <a:lnTo>
                    <a:pt x="333" y="37"/>
                  </a:lnTo>
                  <a:lnTo>
                    <a:pt x="334" y="35"/>
                  </a:lnTo>
                  <a:lnTo>
                    <a:pt x="335" y="34"/>
                  </a:lnTo>
                  <a:lnTo>
                    <a:pt x="336" y="33"/>
                  </a:lnTo>
                  <a:lnTo>
                    <a:pt x="338" y="33"/>
                  </a:lnTo>
                  <a:lnTo>
                    <a:pt x="339" y="32"/>
                  </a:lnTo>
                  <a:lnTo>
                    <a:pt x="341" y="33"/>
                  </a:lnTo>
                  <a:lnTo>
                    <a:pt x="342" y="33"/>
                  </a:lnTo>
                  <a:lnTo>
                    <a:pt x="344" y="34"/>
                  </a:lnTo>
                  <a:lnTo>
                    <a:pt x="344" y="35"/>
                  </a:lnTo>
                  <a:lnTo>
                    <a:pt x="347" y="38"/>
                  </a:lnTo>
                  <a:lnTo>
                    <a:pt x="348" y="40"/>
                  </a:lnTo>
                  <a:lnTo>
                    <a:pt x="350" y="42"/>
                  </a:lnTo>
                  <a:lnTo>
                    <a:pt x="352" y="43"/>
                  </a:lnTo>
                  <a:lnTo>
                    <a:pt x="353" y="43"/>
                  </a:lnTo>
                  <a:lnTo>
                    <a:pt x="354" y="44"/>
                  </a:lnTo>
                  <a:lnTo>
                    <a:pt x="356" y="44"/>
                  </a:lnTo>
                  <a:lnTo>
                    <a:pt x="359" y="44"/>
                  </a:lnTo>
                  <a:lnTo>
                    <a:pt x="365" y="43"/>
                  </a:lnTo>
                  <a:lnTo>
                    <a:pt x="367" y="43"/>
                  </a:lnTo>
                  <a:lnTo>
                    <a:pt x="368" y="43"/>
                  </a:lnTo>
                  <a:lnTo>
                    <a:pt x="369" y="44"/>
                  </a:lnTo>
                  <a:lnTo>
                    <a:pt x="370" y="44"/>
                  </a:lnTo>
                  <a:lnTo>
                    <a:pt x="371" y="45"/>
                  </a:lnTo>
                  <a:lnTo>
                    <a:pt x="372" y="46"/>
                  </a:lnTo>
                  <a:lnTo>
                    <a:pt x="373" y="47"/>
                  </a:lnTo>
                  <a:lnTo>
                    <a:pt x="374" y="49"/>
                  </a:lnTo>
                  <a:lnTo>
                    <a:pt x="376" y="53"/>
                  </a:lnTo>
                  <a:lnTo>
                    <a:pt x="376" y="54"/>
                  </a:lnTo>
                  <a:lnTo>
                    <a:pt x="377" y="55"/>
                  </a:lnTo>
                  <a:lnTo>
                    <a:pt x="378" y="56"/>
                  </a:lnTo>
                  <a:lnTo>
                    <a:pt x="379" y="58"/>
                  </a:lnTo>
                  <a:lnTo>
                    <a:pt x="385" y="63"/>
                  </a:lnTo>
                  <a:lnTo>
                    <a:pt x="388" y="65"/>
                  </a:lnTo>
                  <a:lnTo>
                    <a:pt x="389" y="67"/>
                  </a:lnTo>
                  <a:lnTo>
                    <a:pt x="389" y="68"/>
                  </a:lnTo>
                  <a:lnTo>
                    <a:pt x="393" y="74"/>
                  </a:lnTo>
                  <a:lnTo>
                    <a:pt x="395" y="77"/>
                  </a:lnTo>
                  <a:lnTo>
                    <a:pt x="396" y="78"/>
                  </a:lnTo>
                  <a:lnTo>
                    <a:pt x="397" y="79"/>
                  </a:lnTo>
                  <a:lnTo>
                    <a:pt x="398" y="79"/>
                  </a:lnTo>
                  <a:lnTo>
                    <a:pt x="400" y="80"/>
                  </a:lnTo>
                  <a:lnTo>
                    <a:pt x="401" y="81"/>
                  </a:lnTo>
                  <a:lnTo>
                    <a:pt x="403" y="82"/>
                  </a:lnTo>
                  <a:lnTo>
                    <a:pt x="405" y="82"/>
                  </a:lnTo>
                  <a:lnTo>
                    <a:pt x="411" y="83"/>
                  </a:lnTo>
                  <a:lnTo>
                    <a:pt x="415" y="84"/>
                  </a:lnTo>
                  <a:lnTo>
                    <a:pt x="418" y="86"/>
                  </a:lnTo>
                  <a:lnTo>
                    <a:pt x="423" y="88"/>
                  </a:lnTo>
                  <a:lnTo>
                    <a:pt x="425" y="89"/>
                  </a:lnTo>
                  <a:lnTo>
                    <a:pt x="429" y="90"/>
                  </a:lnTo>
                  <a:lnTo>
                    <a:pt x="434" y="90"/>
                  </a:lnTo>
                  <a:lnTo>
                    <a:pt x="442" y="91"/>
                  </a:lnTo>
                  <a:lnTo>
                    <a:pt x="446" y="91"/>
                  </a:lnTo>
                  <a:lnTo>
                    <a:pt x="456" y="90"/>
                  </a:lnTo>
                  <a:lnTo>
                    <a:pt x="468" y="90"/>
                  </a:lnTo>
                  <a:lnTo>
                    <a:pt x="478" y="90"/>
                  </a:lnTo>
                  <a:lnTo>
                    <a:pt x="488" y="89"/>
                  </a:lnTo>
                  <a:lnTo>
                    <a:pt x="493" y="89"/>
                  </a:lnTo>
                  <a:lnTo>
                    <a:pt x="503" y="89"/>
                  </a:lnTo>
                  <a:lnTo>
                    <a:pt x="507" y="89"/>
                  </a:lnTo>
                  <a:lnTo>
                    <a:pt x="511" y="89"/>
                  </a:lnTo>
                  <a:lnTo>
                    <a:pt x="514" y="89"/>
                  </a:lnTo>
                  <a:lnTo>
                    <a:pt x="517" y="88"/>
                  </a:lnTo>
                  <a:lnTo>
                    <a:pt x="520" y="88"/>
                  </a:lnTo>
                  <a:lnTo>
                    <a:pt x="522" y="87"/>
                  </a:lnTo>
                  <a:lnTo>
                    <a:pt x="524" y="86"/>
                  </a:lnTo>
                  <a:lnTo>
                    <a:pt x="526" y="85"/>
                  </a:lnTo>
                  <a:lnTo>
                    <a:pt x="529" y="84"/>
                  </a:lnTo>
                  <a:lnTo>
                    <a:pt x="531" y="82"/>
                  </a:lnTo>
                  <a:lnTo>
                    <a:pt x="533" y="81"/>
                  </a:lnTo>
                  <a:lnTo>
                    <a:pt x="536" y="79"/>
                  </a:lnTo>
                  <a:lnTo>
                    <a:pt x="537" y="78"/>
                  </a:lnTo>
                  <a:lnTo>
                    <a:pt x="539" y="76"/>
                  </a:lnTo>
                  <a:lnTo>
                    <a:pt x="541" y="74"/>
                  </a:lnTo>
                  <a:lnTo>
                    <a:pt x="543" y="71"/>
                  </a:lnTo>
                  <a:lnTo>
                    <a:pt x="545" y="69"/>
                  </a:lnTo>
                  <a:lnTo>
                    <a:pt x="546" y="68"/>
                  </a:lnTo>
                  <a:lnTo>
                    <a:pt x="546" y="67"/>
                  </a:lnTo>
                  <a:lnTo>
                    <a:pt x="547" y="65"/>
                  </a:lnTo>
                  <a:lnTo>
                    <a:pt x="547" y="64"/>
                  </a:lnTo>
                  <a:lnTo>
                    <a:pt x="548" y="64"/>
                  </a:lnTo>
                  <a:lnTo>
                    <a:pt x="549" y="64"/>
                  </a:lnTo>
                  <a:lnTo>
                    <a:pt x="550" y="64"/>
                  </a:lnTo>
                  <a:lnTo>
                    <a:pt x="551" y="65"/>
                  </a:lnTo>
                  <a:lnTo>
                    <a:pt x="553" y="67"/>
                  </a:lnTo>
                  <a:lnTo>
                    <a:pt x="553" y="68"/>
                  </a:lnTo>
                  <a:lnTo>
                    <a:pt x="554" y="68"/>
                  </a:lnTo>
                  <a:lnTo>
                    <a:pt x="554" y="69"/>
                  </a:lnTo>
                  <a:lnTo>
                    <a:pt x="555" y="72"/>
                  </a:lnTo>
                  <a:lnTo>
                    <a:pt x="555" y="75"/>
                  </a:lnTo>
                  <a:lnTo>
                    <a:pt x="555" y="78"/>
                  </a:lnTo>
                  <a:lnTo>
                    <a:pt x="554" y="93"/>
                  </a:lnTo>
                  <a:lnTo>
                    <a:pt x="553" y="97"/>
                  </a:lnTo>
                  <a:lnTo>
                    <a:pt x="552" y="104"/>
                  </a:lnTo>
                  <a:lnTo>
                    <a:pt x="551" y="109"/>
                  </a:lnTo>
                  <a:lnTo>
                    <a:pt x="551" y="112"/>
                  </a:lnTo>
                  <a:lnTo>
                    <a:pt x="551" y="113"/>
                  </a:lnTo>
                  <a:lnTo>
                    <a:pt x="552" y="116"/>
                  </a:lnTo>
                  <a:lnTo>
                    <a:pt x="552" y="118"/>
                  </a:lnTo>
                  <a:lnTo>
                    <a:pt x="553" y="121"/>
                  </a:lnTo>
                  <a:lnTo>
                    <a:pt x="554" y="123"/>
                  </a:lnTo>
                  <a:lnTo>
                    <a:pt x="555" y="124"/>
                  </a:lnTo>
                  <a:lnTo>
                    <a:pt x="557" y="126"/>
                  </a:lnTo>
                  <a:lnTo>
                    <a:pt x="558" y="128"/>
                  </a:lnTo>
                  <a:lnTo>
                    <a:pt x="560" y="129"/>
                  </a:lnTo>
                  <a:lnTo>
                    <a:pt x="564" y="135"/>
                  </a:lnTo>
                  <a:lnTo>
                    <a:pt x="566" y="136"/>
                  </a:lnTo>
                  <a:lnTo>
                    <a:pt x="569" y="139"/>
                  </a:lnTo>
                  <a:lnTo>
                    <a:pt x="570" y="141"/>
                  </a:lnTo>
                  <a:lnTo>
                    <a:pt x="574" y="152"/>
                  </a:lnTo>
                  <a:lnTo>
                    <a:pt x="575" y="155"/>
                  </a:lnTo>
                  <a:lnTo>
                    <a:pt x="576" y="158"/>
                  </a:lnTo>
                  <a:lnTo>
                    <a:pt x="576" y="158"/>
                  </a:lnTo>
                  <a:lnTo>
                    <a:pt x="576" y="160"/>
                  </a:lnTo>
                  <a:lnTo>
                    <a:pt x="576" y="163"/>
                  </a:lnTo>
                  <a:lnTo>
                    <a:pt x="576" y="165"/>
                  </a:lnTo>
                  <a:lnTo>
                    <a:pt x="575" y="166"/>
                  </a:lnTo>
                  <a:lnTo>
                    <a:pt x="575" y="167"/>
                  </a:lnTo>
                  <a:lnTo>
                    <a:pt x="574" y="167"/>
                  </a:lnTo>
                  <a:lnTo>
                    <a:pt x="573" y="169"/>
                  </a:lnTo>
                  <a:lnTo>
                    <a:pt x="569" y="170"/>
                  </a:lnTo>
                  <a:lnTo>
                    <a:pt x="567" y="171"/>
                  </a:lnTo>
                  <a:lnTo>
                    <a:pt x="566" y="172"/>
                  </a:lnTo>
                  <a:lnTo>
                    <a:pt x="564" y="174"/>
                  </a:lnTo>
                  <a:lnTo>
                    <a:pt x="561" y="179"/>
                  </a:lnTo>
                  <a:lnTo>
                    <a:pt x="559" y="181"/>
                  </a:lnTo>
                  <a:lnTo>
                    <a:pt x="556" y="183"/>
                  </a:lnTo>
                  <a:lnTo>
                    <a:pt x="551" y="187"/>
                  </a:lnTo>
                  <a:lnTo>
                    <a:pt x="549" y="189"/>
                  </a:lnTo>
                  <a:lnTo>
                    <a:pt x="547" y="191"/>
                  </a:lnTo>
                  <a:lnTo>
                    <a:pt x="544" y="192"/>
                  </a:lnTo>
                  <a:lnTo>
                    <a:pt x="540" y="193"/>
                  </a:lnTo>
                  <a:lnTo>
                    <a:pt x="537" y="195"/>
                  </a:lnTo>
                  <a:lnTo>
                    <a:pt x="535" y="196"/>
                  </a:lnTo>
                  <a:lnTo>
                    <a:pt x="527" y="199"/>
                  </a:lnTo>
                  <a:lnTo>
                    <a:pt x="526" y="199"/>
                  </a:lnTo>
                  <a:lnTo>
                    <a:pt x="526" y="200"/>
                  </a:lnTo>
                  <a:lnTo>
                    <a:pt x="523" y="202"/>
                  </a:lnTo>
                  <a:lnTo>
                    <a:pt x="520" y="204"/>
                  </a:lnTo>
                  <a:lnTo>
                    <a:pt x="517" y="205"/>
                  </a:lnTo>
                  <a:lnTo>
                    <a:pt x="514" y="208"/>
                  </a:lnTo>
                  <a:lnTo>
                    <a:pt x="513" y="210"/>
                  </a:lnTo>
                  <a:lnTo>
                    <a:pt x="511" y="213"/>
                  </a:lnTo>
                  <a:lnTo>
                    <a:pt x="510" y="215"/>
                  </a:lnTo>
                  <a:lnTo>
                    <a:pt x="509" y="217"/>
                  </a:lnTo>
                  <a:lnTo>
                    <a:pt x="508" y="219"/>
                  </a:lnTo>
                  <a:lnTo>
                    <a:pt x="507" y="224"/>
                  </a:lnTo>
                  <a:lnTo>
                    <a:pt x="506" y="226"/>
                  </a:lnTo>
                  <a:lnTo>
                    <a:pt x="505" y="226"/>
                  </a:lnTo>
                  <a:lnTo>
                    <a:pt x="503" y="231"/>
                  </a:lnTo>
                  <a:lnTo>
                    <a:pt x="503" y="233"/>
                  </a:lnTo>
                  <a:lnTo>
                    <a:pt x="502" y="234"/>
                  </a:lnTo>
                  <a:lnTo>
                    <a:pt x="502" y="236"/>
                  </a:lnTo>
                  <a:lnTo>
                    <a:pt x="501" y="238"/>
                  </a:lnTo>
                  <a:lnTo>
                    <a:pt x="501" y="242"/>
                  </a:lnTo>
                  <a:lnTo>
                    <a:pt x="501" y="247"/>
                  </a:lnTo>
                  <a:lnTo>
                    <a:pt x="501" y="249"/>
                  </a:lnTo>
                  <a:lnTo>
                    <a:pt x="500" y="252"/>
                  </a:lnTo>
                  <a:lnTo>
                    <a:pt x="499" y="254"/>
                  </a:lnTo>
                  <a:lnTo>
                    <a:pt x="497" y="260"/>
                  </a:lnTo>
                  <a:lnTo>
                    <a:pt x="496" y="265"/>
                  </a:lnTo>
                  <a:lnTo>
                    <a:pt x="496" y="266"/>
                  </a:lnTo>
                  <a:lnTo>
                    <a:pt x="495" y="267"/>
                  </a:lnTo>
                  <a:lnTo>
                    <a:pt x="493" y="269"/>
                  </a:lnTo>
                  <a:lnTo>
                    <a:pt x="492" y="270"/>
                  </a:lnTo>
                  <a:lnTo>
                    <a:pt x="490" y="275"/>
                  </a:lnTo>
                  <a:lnTo>
                    <a:pt x="490" y="277"/>
                  </a:lnTo>
                  <a:lnTo>
                    <a:pt x="489" y="280"/>
                  </a:lnTo>
                  <a:lnTo>
                    <a:pt x="489" y="282"/>
                  </a:lnTo>
                  <a:lnTo>
                    <a:pt x="488" y="283"/>
                  </a:lnTo>
                  <a:lnTo>
                    <a:pt x="488" y="285"/>
                  </a:lnTo>
                  <a:lnTo>
                    <a:pt x="489" y="288"/>
                  </a:lnTo>
                  <a:lnTo>
                    <a:pt x="490" y="293"/>
                  </a:lnTo>
                  <a:lnTo>
                    <a:pt x="490" y="295"/>
                  </a:lnTo>
                  <a:lnTo>
                    <a:pt x="490" y="297"/>
                  </a:lnTo>
                  <a:lnTo>
                    <a:pt x="491" y="299"/>
                  </a:lnTo>
                  <a:lnTo>
                    <a:pt x="492" y="301"/>
                  </a:lnTo>
                  <a:lnTo>
                    <a:pt x="492" y="302"/>
                  </a:lnTo>
                  <a:lnTo>
                    <a:pt x="495" y="306"/>
                  </a:lnTo>
                  <a:lnTo>
                    <a:pt x="497" y="310"/>
                  </a:lnTo>
                  <a:lnTo>
                    <a:pt x="497" y="311"/>
                  </a:lnTo>
                  <a:lnTo>
                    <a:pt x="497" y="312"/>
                  </a:lnTo>
                  <a:lnTo>
                    <a:pt x="497" y="313"/>
                  </a:lnTo>
                  <a:lnTo>
                    <a:pt x="496" y="314"/>
                  </a:lnTo>
                  <a:lnTo>
                    <a:pt x="496" y="315"/>
                  </a:lnTo>
                  <a:lnTo>
                    <a:pt x="497" y="317"/>
                  </a:lnTo>
                  <a:lnTo>
                    <a:pt x="498" y="318"/>
                  </a:lnTo>
                  <a:lnTo>
                    <a:pt x="498" y="319"/>
                  </a:lnTo>
                  <a:lnTo>
                    <a:pt x="498" y="320"/>
                  </a:lnTo>
                  <a:lnTo>
                    <a:pt x="497" y="321"/>
                  </a:lnTo>
                  <a:lnTo>
                    <a:pt x="497" y="323"/>
                  </a:lnTo>
                  <a:lnTo>
                    <a:pt x="496" y="325"/>
                  </a:lnTo>
                  <a:lnTo>
                    <a:pt x="495" y="326"/>
                  </a:lnTo>
                  <a:lnTo>
                    <a:pt x="494" y="328"/>
                  </a:lnTo>
                  <a:lnTo>
                    <a:pt x="492" y="329"/>
                  </a:lnTo>
                  <a:lnTo>
                    <a:pt x="492" y="330"/>
                  </a:lnTo>
                  <a:lnTo>
                    <a:pt x="491" y="330"/>
                  </a:lnTo>
                  <a:lnTo>
                    <a:pt x="489" y="330"/>
                  </a:lnTo>
                  <a:lnTo>
                    <a:pt x="488" y="330"/>
                  </a:lnTo>
                  <a:lnTo>
                    <a:pt x="487" y="329"/>
                  </a:lnTo>
                  <a:lnTo>
                    <a:pt x="484" y="328"/>
                  </a:lnTo>
                  <a:lnTo>
                    <a:pt x="480" y="324"/>
                  </a:lnTo>
                  <a:lnTo>
                    <a:pt x="474" y="319"/>
                  </a:lnTo>
                  <a:lnTo>
                    <a:pt x="469" y="315"/>
                  </a:lnTo>
                  <a:lnTo>
                    <a:pt x="468" y="315"/>
                  </a:lnTo>
                  <a:lnTo>
                    <a:pt x="466" y="314"/>
                  </a:lnTo>
                  <a:lnTo>
                    <a:pt x="464" y="313"/>
                  </a:lnTo>
                  <a:lnTo>
                    <a:pt x="462" y="313"/>
                  </a:lnTo>
                  <a:lnTo>
                    <a:pt x="451" y="312"/>
                  </a:lnTo>
                  <a:lnTo>
                    <a:pt x="450" y="312"/>
                  </a:lnTo>
                  <a:lnTo>
                    <a:pt x="448" y="312"/>
                  </a:lnTo>
                  <a:lnTo>
                    <a:pt x="441" y="313"/>
                  </a:lnTo>
                  <a:lnTo>
                    <a:pt x="437" y="313"/>
                  </a:lnTo>
                  <a:lnTo>
                    <a:pt x="434" y="313"/>
                  </a:lnTo>
                  <a:lnTo>
                    <a:pt x="425" y="312"/>
                  </a:lnTo>
                  <a:lnTo>
                    <a:pt x="421" y="311"/>
                  </a:lnTo>
                  <a:lnTo>
                    <a:pt x="417" y="311"/>
                  </a:lnTo>
                  <a:lnTo>
                    <a:pt x="413" y="311"/>
                  </a:lnTo>
                  <a:lnTo>
                    <a:pt x="411" y="311"/>
                  </a:lnTo>
                  <a:lnTo>
                    <a:pt x="406" y="313"/>
                  </a:lnTo>
                  <a:lnTo>
                    <a:pt x="403" y="313"/>
                  </a:lnTo>
                  <a:lnTo>
                    <a:pt x="386" y="315"/>
                  </a:lnTo>
                  <a:lnTo>
                    <a:pt x="377" y="316"/>
                  </a:lnTo>
                  <a:lnTo>
                    <a:pt x="374" y="317"/>
                  </a:lnTo>
                  <a:lnTo>
                    <a:pt x="371" y="317"/>
                  </a:lnTo>
                  <a:lnTo>
                    <a:pt x="369" y="317"/>
                  </a:lnTo>
                  <a:lnTo>
                    <a:pt x="357" y="321"/>
                  </a:lnTo>
                  <a:lnTo>
                    <a:pt x="355" y="322"/>
                  </a:lnTo>
                  <a:lnTo>
                    <a:pt x="354" y="322"/>
                  </a:lnTo>
                  <a:lnTo>
                    <a:pt x="351" y="323"/>
                  </a:lnTo>
                  <a:lnTo>
                    <a:pt x="349" y="323"/>
                  </a:lnTo>
                  <a:lnTo>
                    <a:pt x="347" y="322"/>
                  </a:lnTo>
                  <a:lnTo>
                    <a:pt x="344" y="321"/>
                  </a:lnTo>
                  <a:lnTo>
                    <a:pt x="342" y="320"/>
                  </a:lnTo>
                  <a:lnTo>
                    <a:pt x="339" y="320"/>
                  </a:lnTo>
                  <a:lnTo>
                    <a:pt x="337" y="320"/>
                  </a:lnTo>
                  <a:lnTo>
                    <a:pt x="332" y="321"/>
                  </a:lnTo>
                  <a:lnTo>
                    <a:pt x="327" y="321"/>
                  </a:lnTo>
                  <a:lnTo>
                    <a:pt x="324" y="322"/>
                  </a:lnTo>
                  <a:lnTo>
                    <a:pt x="323" y="322"/>
                  </a:lnTo>
                  <a:lnTo>
                    <a:pt x="321" y="323"/>
                  </a:lnTo>
                  <a:lnTo>
                    <a:pt x="321" y="324"/>
                  </a:lnTo>
                  <a:lnTo>
                    <a:pt x="320" y="325"/>
                  </a:lnTo>
                  <a:lnTo>
                    <a:pt x="319" y="327"/>
                  </a:lnTo>
                  <a:lnTo>
                    <a:pt x="318" y="328"/>
                  </a:lnTo>
                  <a:lnTo>
                    <a:pt x="318" y="331"/>
                  </a:lnTo>
                  <a:lnTo>
                    <a:pt x="318" y="334"/>
                  </a:lnTo>
                  <a:lnTo>
                    <a:pt x="318" y="336"/>
                  </a:lnTo>
                  <a:lnTo>
                    <a:pt x="318" y="338"/>
                  </a:lnTo>
                  <a:lnTo>
                    <a:pt x="319" y="345"/>
                  </a:lnTo>
                  <a:lnTo>
                    <a:pt x="320" y="348"/>
                  </a:lnTo>
                  <a:lnTo>
                    <a:pt x="320" y="351"/>
                  </a:lnTo>
                  <a:lnTo>
                    <a:pt x="320" y="355"/>
                  </a:lnTo>
                  <a:lnTo>
                    <a:pt x="319" y="362"/>
                  </a:lnTo>
                  <a:lnTo>
                    <a:pt x="319" y="364"/>
                  </a:lnTo>
                  <a:lnTo>
                    <a:pt x="319" y="368"/>
                  </a:lnTo>
                  <a:lnTo>
                    <a:pt x="319" y="372"/>
                  </a:lnTo>
                  <a:lnTo>
                    <a:pt x="320" y="376"/>
                  </a:lnTo>
                  <a:lnTo>
                    <a:pt x="321" y="380"/>
                  </a:lnTo>
                  <a:lnTo>
                    <a:pt x="321" y="385"/>
                  </a:lnTo>
                  <a:lnTo>
                    <a:pt x="326" y="395"/>
                  </a:lnTo>
                  <a:lnTo>
                    <a:pt x="329" y="400"/>
                  </a:lnTo>
                  <a:lnTo>
                    <a:pt x="331" y="406"/>
                  </a:lnTo>
                  <a:lnTo>
                    <a:pt x="332" y="409"/>
                  </a:lnTo>
                  <a:lnTo>
                    <a:pt x="332" y="412"/>
                  </a:lnTo>
                  <a:lnTo>
                    <a:pt x="332" y="416"/>
                  </a:lnTo>
                  <a:lnTo>
                    <a:pt x="333" y="419"/>
                  </a:lnTo>
                  <a:lnTo>
                    <a:pt x="334" y="431"/>
                  </a:lnTo>
                  <a:lnTo>
                    <a:pt x="334" y="434"/>
                  </a:lnTo>
                  <a:lnTo>
                    <a:pt x="334" y="436"/>
                  </a:lnTo>
                  <a:lnTo>
                    <a:pt x="334" y="438"/>
                  </a:lnTo>
                  <a:lnTo>
                    <a:pt x="333" y="441"/>
                  </a:lnTo>
                  <a:lnTo>
                    <a:pt x="332" y="445"/>
                  </a:lnTo>
                  <a:lnTo>
                    <a:pt x="332" y="448"/>
                  </a:lnTo>
                  <a:lnTo>
                    <a:pt x="330" y="452"/>
                  </a:lnTo>
                  <a:lnTo>
                    <a:pt x="326" y="459"/>
                  </a:lnTo>
                  <a:lnTo>
                    <a:pt x="323" y="468"/>
                  </a:lnTo>
                  <a:lnTo>
                    <a:pt x="322" y="470"/>
                  </a:lnTo>
                  <a:lnTo>
                    <a:pt x="321" y="472"/>
                  </a:lnTo>
                  <a:lnTo>
                    <a:pt x="320" y="474"/>
                  </a:lnTo>
                  <a:lnTo>
                    <a:pt x="319" y="476"/>
                  </a:lnTo>
                  <a:lnTo>
                    <a:pt x="317" y="476"/>
                  </a:lnTo>
                  <a:lnTo>
                    <a:pt x="316" y="478"/>
                  </a:lnTo>
                  <a:lnTo>
                    <a:pt x="314" y="479"/>
                  </a:lnTo>
                  <a:lnTo>
                    <a:pt x="313" y="480"/>
                  </a:lnTo>
                  <a:lnTo>
                    <a:pt x="310" y="481"/>
                  </a:lnTo>
                  <a:lnTo>
                    <a:pt x="304" y="483"/>
                  </a:lnTo>
                  <a:lnTo>
                    <a:pt x="301" y="484"/>
                  </a:lnTo>
                  <a:lnTo>
                    <a:pt x="298" y="485"/>
                  </a:lnTo>
                  <a:lnTo>
                    <a:pt x="296" y="487"/>
                  </a:lnTo>
                  <a:lnTo>
                    <a:pt x="294" y="487"/>
                  </a:lnTo>
                  <a:lnTo>
                    <a:pt x="293" y="489"/>
                  </a:lnTo>
                  <a:lnTo>
                    <a:pt x="291" y="490"/>
                  </a:lnTo>
                  <a:lnTo>
                    <a:pt x="290" y="492"/>
                  </a:lnTo>
                  <a:lnTo>
                    <a:pt x="289" y="493"/>
                  </a:lnTo>
                  <a:lnTo>
                    <a:pt x="288" y="495"/>
                  </a:lnTo>
                  <a:lnTo>
                    <a:pt x="286" y="499"/>
                  </a:lnTo>
                  <a:lnTo>
                    <a:pt x="286" y="498"/>
                  </a:lnTo>
                  <a:lnTo>
                    <a:pt x="285" y="498"/>
                  </a:lnTo>
                  <a:lnTo>
                    <a:pt x="280" y="494"/>
                  </a:lnTo>
                  <a:lnTo>
                    <a:pt x="276" y="491"/>
                  </a:lnTo>
                  <a:lnTo>
                    <a:pt x="273" y="487"/>
                  </a:lnTo>
                  <a:lnTo>
                    <a:pt x="268" y="484"/>
                  </a:lnTo>
                  <a:lnTo>
                    <a:pt x="264" y="481"/>
                  </a:lnTo>
                  <a:lnTo>
                    <a:pt x="259" y="478"/>
                  </a:lnTo>
                  <a:lnTo>
                    <a:pt x="254" y="476"/>
                  </a:lnTo>
                  <a:lnTo>
                    <a:pt x="252" y="474"/>
                  </a:lnTo>
                  <a:lnTo>
                    <a:pt x="249" y="473"/>
                  </a:lnTo>
                  <a:lnTo>
                    <a:pt x="245" y="471"/>
                  </a:lnTo>
                  <a:lnTo>
                    <a:pt x="242" y="470"/>
                  </a:lnTo>
                  <a:lnTo>
                    <a:pt x="239" y="469"/>
                  </a:lnTo>
                  <a:lnTo>
                    <a:pt x="225" y="465"/>
                  </a:lnTo>
                  <a:lnTo>
                    <a:pt x="219" y="464"/>
                  </a:lnTo>
                  <a:lnTo>
                    <a:pt x="217" y="463"/>
                  </a:lnTo>
                  <a:lnTo>
                    <a:pt x="215" y="462"/>
                  </a:lnTo>
                  <a:lnTo>
                    <a:pt x="212" y="460"/>
                  </a:lnTo>
                  <a:lnTo>
                    <a:pt x="210" y="458"/>
                  </a:lnTo>
                  <a:lnTo>
                    <a:pt x="209" y="457"/>
                  </a:lnTo>
                  <a:lnTo>
                    <a:pt x="208" y="455"/>
                  </a:lnTo>
                  <a:lnTo>
                    <a:pt x="207" y="453"/>
                  </a:lnTo>
                  <a:lnTo>
                    <a:pt x="207" y="452"/>
                  </a:lnTo>
                  <a:lnTo>
                    <a:pt x="206" y="451"/>
                  </a:lnTo>
                  <a:lnTo>
                    <a:pt x="206" y="448"/>
                  </a:lnTo>
                  <a:lnTo>
                    <a:pt x="204" y="438"/>
                  </a:lnTo>
                  <a:lnTo>
                    <a:pt x="204" y="435"/>
                  </a:lnTo>
                  <a:lnTo>
                    <a:pt x="203" y="432"/>
                  </a:lnTo>
                  <a:lnTo>
                    <a:pt x="202" y="430"/>
                  </a:lnTo>
                  <a:lnTo>
                    <a:pt x="200" y="425"/>
                  </a:lnTo>
                  <a:lnTo>
                    <a:pt x="195" y="413"/>
                  </a:lnTo>
                  <a:lnTo>
                    <a:pt x="193" y="408"/>
                  </a:lnTo>
                  <a:lnTo>
                    <a:pt x="192" y="406"/>
                  </a:lnTo>
                  <a:lnTo>
                    <a:pt x="189" y="402"/>
                  </a:lnTo>
                  <a:lnTo>
                    <a:pt x="188" y="400"/>
                  </a:lnTo>
                  <a:lnTo>
                    <a:pt x="187" y="399"/>
                  </a:lnTo>
                  <a:lnTo>
                    <a:pt x="185" y="397"/>
                  </a:lnTo>
                  <a:lnTo>
                    <a:pt x="185" y="396"/>
                  </a:lnTo>
                  <a:lnTo>
                    <a:pt x="178" y="392"/>
                  </a:lnTo>
                  <a:lnTo>
                    <a:pt x="176" y="390"/>
                  </a:lnTo>
                  <a:lnTo>
                    <a:pt x="174" y="389"/>
                  </a:lnTo>
                  <a:lnTo>
                    <a:pt x="173" y="387"/>
                  </a:lnTo>
                  <a:lnTo>
                    <a:pt x="173" y="386"/>
                  </a:lnTo>
                  <a:lnTo>
                    <a:pt x="171" y="385"/>
                  </a:lnTo>
                  <a:lnTo>
                    <a:pt x="170" y="382"/>
                  </a:lnTo>
                  <a:lnTo>
                    <a:pt x="168" y="379"/>
                  </a:lnTo>
                  <a:lnTo>
                    <a:pt x="167" y="375"/>
                  </a:lnTo>
                  <a:lnTo>
                    <a:pt x="165" y="372"/>
                  </a:lnTo>
                  <a:lnTo>
                    <a:pt x="162" y="362"/>
                  </a:lnTo>
                  <a:lnTo>
                    <a:pt x="158" y="352"/>
                  </a:lnTo>
                  <a:lnTo>
                    <a:pt x="156" y="348"/>
                  </a:lnTo>
                  <a:lnTo>
                    <a:pt x="154" y="344"/>
                  </a:lnTo>
                  <a:lnTo>
                    <a:pt x="153" y="341"/>
                  </a:lnTo>
                  <a:lnTo>
                    <a:pt x="151" y="339"/>
                  </a:lnTo>
                  <a:lnTo>
                    <a:pt x="150" y="337"/>
                  </a:lnTo>
                  <a:lnTo>
                    <a:pt x="148" y="336"/>
                  </a:lnTo>
                  <a:lnTo>
                    <a:pt x="147" y="335"/>
                  </a:lnTo>
                  <a:lnTo>
                    <a:pt x="145" y="334"/>
                  </a:lnTo>
                  <a:lnTo>
                    <a:pt x="143" y="334"/>
                  </a:lnTo>
                  <a:lnTo>
                    <a:pt x="140" y="334"/>
                  </a:lnTo>
                  <a:lnTo>
                    <a:pt x="134" y="335"/>
                  </a:lnTo>
                  <a:lnTo>
                    <a:pt x="129" y="335"/>
                  </a:lnTo>
                  <a:lnTo>
                    <a:pt x="126" y="335"/>
                  </a:lnTo>
                  <a:lnTo>
                    <a:pt x="118" y="335"/>
                  </a:lnTo>
                  <a:lnTo>
                    <a:pt x="116" y="335"/>
                  </a:lnTo>
                  <a:lnTo>
                    <a:pt x="113" y="334"/>
                  </a:lnTo>
                  <a:lnTo>
                    <a:pt x="109" y="334"/>
                  </a:lnTo>
                  <a:lnTo>
                    <a:pt x="106" y="333"/>
                  </a:lnTo>
                  <a:lnTo>
                    <a:pt x="105" y="332"/>
                  </a:lnTo>
                  <a:lnTo>
                    <a:pt x="103" y="331"/>
                  </a:lnTo>
                  <a:lnTo>
                    <a:pt x="102" y="330"/>
                  </a:lnTo>
                  <a:lnTo>
                    <a:pt x="99" y="328"/>
                  </a:lnTo>
                  <a:lnTo>
                    <a:pt x="97" y="327"/>
                  </a:lnTo>
                  <a:lnTo>
                    <a:pt x="90" y="318"/>
                  </a:lnTo>
                  <a:lnTo>
                    <a:pt x="88" y="317"/>
                  </a:lnTo>
                  <a:lnTo>
                    <a:pt x="87" y="314"/>
                  </a:lnTo>
                  <a:lnTo>
                    <a:pt x="83" y="309"/>
                  </a:lnTo>
                  <a:lnTo>
                    <a:pt x="82" y="305"/>
                  </a:lnTo>
                  <a:lnTo>
                    <a:pt x="77" y="295"/>
                  </a:lnTo>
                  <a:lnTo>
                    <a:pt x="74" y="289"/>
                  </a:lnTo>
                  <a:lnTo>
                    <a:pt x="71" y="280"/>
                  </a:lnTo>
                  <a:lnTo>
                    <a:pt x="66" y="270"/>
                  </a:lnTo>
                  <a:lnTo>
                    <a:pt x="63" y="262"/>
                  </a:lnTo>
                  <a:lnTo>
                    <a:pt x="62" y="260"/>
                  </a:lnTo>
                  <a:lnTo>
                    <a:pt x="61" y="260"/>
                  </a:lnTo>
                  <a:lnTo>
                    <a:pt x="61" y="259"/>
                  </a:lnTo>
                  <a:lnTo>
                    <a:pt x="60" y="259"/>
                  </a:lnTo>
                  <a:lnTo>
                    <a:pt x="60" y="258"/>
                  </a:lnTo>
                  <a:lnTo>
                    <a:pt x="59" y="258"/>
                  </a:lnTo>
                  <a:lnTo>
                    <a:pt x="57" y="258"/>
                  </a:lnTo>
                  <a:lnTo>
                    <a:pt x="52" y="258"/>
                  </a:lnTo>
                  <a:lnTo>
                    <a:pt x="50" y="257"/>
                  </a:lnTo>
                  <a:lnTo>
                    <a:pt x="48" y="256"/>
                  </a:lnTo>
                  <a:lnTo>
                    <a:pt x="47" y="255"/>
                  </a:lnTo>
                  <a:lnTo>
                    <a:pt x="44" y="253"/>
                  </a:lnTo>
                  <a:lnTo>
                    <a:pt x="42" y="250"/>
                  </a:lnTo>
                  <a:lnTo>
                    <a:pt x="40" y="249"/>
                  </a:lnTo>
                  <a:lnTo>
                    <a:pt x="37" y="242"/>
                  </a:lnTo>
                  <a:lnTo>
                    <a:pt x="35" y="240"/>
                  </a:lnTo>
                  <a:lnTo>
                    <a:pt x="34" y="239"/>
                  </a:lnTo>
                  <a:lnTo>
                    <a:pt x="32" y="238"/>
                  </a:lnTo>
                  <a:lnTo>
                    <a:pt x="30" y="236"/>
                  </a:lnTo>
                  <a:lnTo>
                    <a:pt x="28" y="234"/>
                  </a:lnTo>
                  <a:lnTo>
                    <a:pt x="26" y="233"/>
                  </a:lnTo>
                  <a:lnTo>
                    <a:pt x="24" y="232"/>
                  </a:lnTo>
                  <a:lnTo>
                    <a:pt x="23" y="232"/>
                  </a:lnTo>
                  <a:lnTo>
                    <a:pt x="20" y="231"/>
                  </a:lnTo>
                  <a:lnTo>
                    <a:pt x="17" y="230"/>
                  </a:lnTo>
                  <a:lnTo>
                    <a:pt x="14" y="230"/>
                  </a:lnTo>
                  <a:lnTo>
                    <a:pt x="11" y="229"/>
                  </a:lnTo>
                  <a:lnTo>
                    <a:pt x="7" y="229"/>
                  </a:lnTo>
                  <a:lnTo>
                    <a:pt x="6" y="230"/>
                  </a:lnTo>
                  <a:lnTo>
                    <a:pt x="6" y="229"/>
                  </a:lnTo>
                  <a:lnTo>
                    <a:pt x="5" y="227"/>
                  </a:lnTo>
                  <a:lnTo>
                    <a:pt x="3" y="217"/>
                  </a:lnTo>
                  <a:lnTo>
                    <a:pt x="2" y="215"/>
                  </a:lnTo>
                  <a:lnTo>
                    <a:pt x="1" y="213"/>
                  </a:lnTo>
                  <a:lnTo>
                    <a:pt x="1" y="210"/>
                  </a:lnTo>
                  <a:lnTo>
                    <a:pt x="0" y="207"/>
                  </a:lnTo>
                  <a:lnTo>
                    <a:pt x="0" y="204"/>
                  </a:lnTo>
                  <a:lnTo>
                    <a:pt x="0" y="201"/>
                  </a:lnTo>
                  <a:lnTo>
                    <a:pt x="0" y="198"/>
                  </a:lnTo>
                  <a:lnTo>
                    <a:pt x="0" y="194"/>
                  </a:lnTo>
                  <a:lnTo>
                    <a:pt x="0" y="190"/>
                  </a:lnTo>
                  <a:lnTo>
                    <a:pt x="1" y="186"/>
                  </a:lnTo>
                  <a:lnTo>
                    <a:pt x="2" y="181"/>
                  </a:lnTo>
                  <a:lnTo>
                    <a:pt x="3" y="176"/>
                  </a:lnTo>
                  <a:lnTo>
                    <a:pt x="4" y="171"/>
                  </a:lnTo>
                  <a:lnTo>
                    <a:pt x="5" y="168"/>
                  </a:lnTo>
                  <a:lnTo>
                    <a:pt x="6" y="165"/>
                  </a:lnTo>
                  <a:lnTo>
                    <a:pt x="7" y="162"/>
                  </a:lnTo>
                  <a:lnTo>
                    <a:pt x="11" y="157"/>
                  </a:lnTo>
                  <a:lnTo>
                    <a:pt x="14" y="150"/>
                  </a:lnTo>
                  <a:lnTo>
                    <a:pt x="15" y="147"/>
                  </a:lnTo>
                  <a:lnTo>
                    <a:pt x="17" y="146"/>
                  </a:lnTo>
                  <a:lnTo>
                    <a:pt x="19" y="144"/>
                  </a:lnTo>
                  <a:lnTo>
                    <a:pt x="21" y="142"/>
                  </a:lnTo>
                  <a:lnTo>
                    <a:pt x="23" y="141"/>
                  </a:lnTo>
                  <a:lnTo>
                    <a:pt x="25" y="139"/>
                  </a:lnTo>
                  <a:lnTo>
                    <a:pt x="26" y="138"/>
                  </a:lnTo>
                  <a:lnTo>
                    <a:pt x="27" y="137"/>
                  </a:lnTo>
                  <a:lnTo>
                    <a:pt x="33" y="136"/>
                  </a:lnTo>
                  <a:lnTo>
                    <a:pt x="35" y="135"/>
                  </a:lnTo>
                  <a:lnTo>
                    <a:pt x="37" y="133"/>
                  </a:lnTo>
                  <a:lnTo>
                    <a:pt x="39" y="131"/>
                  </a:lnTo>
                  <a:lnTo>
                    <a:pt x="41" y="129"/>
                  </a:lnTo>
                  <a:lnTo>
                    <a:pt x="43" y="127"/>
                  </a:lnTo>
                  <a:lnTo>
                    <a:pt x="44" y="126"/>
                  </a:lnTo>
                  <a:lnTo>
                    <a:pt x="45" y="124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7" y="119"/>
                  </a:lnTo>
                  <a:lnTo>
                    <a:pt x="48" y="117"/>
                  </a:lnTo>
                  <a:lnTo>
                    <a:pt x="48" y="114"/>
                  </a:lnTo>
                  <a:lnTo>
                    <a:pt x="48" y="111"/>
                  </a:lnTo>
                  <a:lnTo>
                    <a:pt x="48" y="108"/>
                  </a:lnTo>
                  <a:lnTo>
                    <a:pt x="47" y="104"/>
                  </a:lnTo>
                  <a:lnTo>
                    <a:pt x="44" y="93"/>
                  </a:lnTo>
                  <a:lnTo>
                    <a:pt x="43" y="90"/>
                  </a:lnTo>
                  <a:lnTo>
                    <a:pt x="42" y="87"/>
                  </a:lnTo>
                  <a:lnTo>
                    <a:pt x="39" y="80"/>
                  </a:lnTo>
                  <a:lnTo>
                    <a:pt x="39" y="78"/>
                  </a:lnTo>
                  <a:lnTo>
                    <a:pt x="38" y="75"/>
                  </a:lnTo>
                  <a:lnTo>
                    <a:pt x="38" y="72"/>
                  </a:lnTo>
                  <a:lnTo>
                    <a:pt x="38" y="70"/>
                  </a:lnTo>
                  <a:lnTo>
                    <a:pt x="38" y="68"/>
                  </a:lnTo>
                  <a:lnTo>
                    <a:pt x="40" y="62"/>
                  </a:lnTo>
                  <a:lnTo>
                    <a:pt x="41" y="58"/>
                  </a:lnTo>
                  <a:lnTo>
                    <a:pt x="42" y="54"/>
                  </a:lnTo>
                  <a:lnTo>
                    <a:pt x="42" y="45"/>
                  </a:lnTo>
                  <a:lnTo>
                    <a:pt x="42" y="41"/>
                  </a:lnTo>
                  <a:lnTo>
                    <a:pt x="43" y="34"/>
                  </a:lnTo>
                  <a:lnTo>
                    <a:pt x="45" y="29"/>
                  </a:lnTo>
                  <a:lnTo>
                    <a:pt x="45" y="25"/>
                  </a:lnTo>
                  <a:lnTo>
                    <a:pt x="46" y="23"/>
                  </a:lnTo>
                  <a:lnTo>
                    <a:pt x="47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50" y="21"/>
                  </a:lnTo>
                  <a:lnTo>
                    <a:pt x="51" y="22"/>
                  </a:lnTo>
                  <a:lnTo>
                    <a:pt x="53" y="22"/>
                  </a:lnTo>
                  <a:lnTo>
                    <a:pt x="62" y="23"/>
                  </a:lnTo>
                  <a:lnTo>
                    <a:pt x="65" y="24"/>
                  </a:lnTo>
                  <a:lnTo>
                    <a:pt x="68" y="24"/>
                  </a:lnTo>
                  <a:lnTo>
                    <a:pt x="70" y="24"/>
                  </a:lnTo>
                  <a:lnTo>
                    <a:pt x="71" y="24"/>
                  </a:lnTo>
                  <a:lnTo>
                    <a:pt x="73" y="24"/>
                  </a:lnTo>
                  <a:lnTo>
                    <a:pt x="75" y="23"/>
                  </a:lnTo>
                  <a:lnTo>
                    <a:pt x="77" y="22"/>
                  </a:lnTo>
                  <a:lnTo>
                    <a:pt x="79" y="22"/>
                  </a:lnTo>
                  <a:lnTo>
                    <a:pt x="81" y="21"/>
                  </a:lnTo>
                  <a:lnTo>
                    <a:pt x="83" y="19"/>
                  </a:lnTo>
                  <a:lnTo>
                    <a:pt x="87" y="16"/>
                  </a:lnTo>
                  <a:lnTo>
                    <a:pt x="91" y="14"/>
                  </a:lnTo>
                  <a:lnTo>
                    <a:pt x="100" y="6"/>
                  </a:lnTo>
                  <a:lnTo>
                    <a:pt x="103" y="4"/>
                  </a:lnTo>
                  <a:lnTo>
                    <a:pt x="105" y="3"/>
                  </a:lnTo>
                  <a:lnTo>
                    <a:pt x="109" y="1"/>
                  </a:lnTo>
                  <a:lnTo>
                    <a:pt x="111" y="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0" name="Freeform 23">
              <a:extLst>
                <a:ext uri="{FF2B5EF4-FFF2-40B4-BE49-F238E27FC236}">
                  <a16:creationId xmlns:a16="http://schemas.microsoft.com/office/drawing/2014/main" id="{D3E9F853-B1C5-4DEC-A786-68F27125F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779"/>
              <a:ext cx="454" cy="519"/>
            </a:xfrm>
            <a:custGeom>
              <a:avLst/>
              <a:gdLst>
                <a:gd name="T0" fmla="*/ 125 w 454"/>
                <a:gd name="T1" fmla="*/ 17 h 519"/>
                <a:gd name="T2" fmla="*/ 146 w 454"/>
                <a:gd name="T3" fmla="*/ 6 h 519"/>
                <a:gd name="T4" fmla="*/ 160 w 454"/>
                <a:gd name="T5" fmla="*/ 16 h 519"/>
                <a:gd name="T6" fmla="*/ 181 w 454"/>
                <a:gd name="T7" fmla="*/ 29 h 519"/>
                <a:gd name="T8" fmla="*/ 208 w 454"/>
                <a:gd name="T9" fmla="*/ 35 h 519"/>
                <a:gd name="T10" fmla="*/ 227 w 454"/>
                <a:gd name="T11" fmla="*/ 50 h 519"/>
                <a:gd name="T12" fmla="*/ 239 w 454"/>
                <a:gd name="T13" fmla="*/ 56 h 519"/>
                <a:gd name="T14" fmla="*/ 244 w 454"/>
                <a:gd name="T15" fmla="*/ 69 h 519"/>
                <a:gd name="T16" fmla="*/ 252 w 454"/>
                <a:gd name="T17" fmla="*/ 78 h 519"/>
                <a:gd name="T18" fmla="*/ 237 w 454"/>
                <a:gd name="T19" fmla="*/ 94 h 519"/>
                <a:gd name="T20" fmla="*/ 230 w 454"/>
                <a:gd name="T21" fmla="*/ 108 h 519"/>
                <a:gd name="T22" fmla="*/ 242 w 454"/>
                <a:gd name="T23" fmla="*/ 138 h 519"/>
                <a:gd name="T24" fmla="*/ 244 w 454"/>
                <a:gd name="T25" fmla="*/ 152 h 519"/>
                <a:gd name="T26" fmla="*/ 250 w 454"/>
                <a:gd name="T27" fmla="*/ 169 h 519"/>
                <a:gd name="T28" fmla="*/ 246 w 454"/>
                <a:gd name="T29" fmla="*/ 188 h 519"/>
                <a:gd name="T30" fmla="*/ 237 w 454"/>
                <a:gd name="T31" fmla="*/ 230 h 519"/>
                <a:gd name="T32" fmla="*/ 255 w 454"/>
                <a:gd name="T33" fmla="*/ 258 h 519"/>
                <a:gd name="T34" fmla="*/ 277 w 454"/>
                <a:gd name="T35" fmla="*/ 304 h 519"/>
                <a:gd name="T36" fmla="*/ 285 w 454"/>
                <a:gd name="T37" fmla="*/ 323 h 519"/>
                <a:gd name="T38" fmla="*/ 306 w 454"/>
                <a:gd name="T39" fmla="*/ 361 h 519"/>
                <a:gd name="T40" fmla="*/ 328 w 454"/>
                <a:gd name="T41" fmla="*/ 386 h 519"/>
                <a:gd name="T42" fmla="*/ 362 w 454"/>
                <a:gd name="T43" fmla="*/ 394 h 519"/>
                <a:gd name="T44" fmla="*/ 373 w 454"/>
                <a:gd name="T45" fmla="*/ 411 h 519"/>
                <a:gd name="T46" fmla="*/ 396 w 454"/>
                <a:gd name="T47" fmla="*/ 428 h 519"/>
                <a:gd name="T48" fmla="*/ 435 w 454"/>
                <a:gd name="T49" fmla="*/ 435 h 519"/>
                <a:gd name="T50" fmla="*/ 453 w 454"/>
                <a:gd name="T51" fmla="*/ 447 h 519"/>
                <a:gd name="T52" fmla="*/ 440 w 454"/>
                <a:gd name="T53" fmla="*/ 462 h 519"/>
                <a:gd name="T54" fmla="*/ 431 w 454"/>
                <a:gd name="T55" fmla="*/ 473 h 519"/>
                <a:gd name="T56" fmla="*/ 423 w 454"/>
                <a:gd name="T57" fmla="*/ 480 h 519"/>
                <a:gd name="T58" fmla="*/ 421 w 454"/>
                <a:gd name="T59" fmla="*/ 504 h 519"/>
                <a:gd name="T60" fmla="*/ 399 w 454"/>
                <a:gd name="T61" fmla="*/ 516 h 519"/>
                <a:gd name="T62" fmla="*/ 328 w 454"/>
                <a:gd name="T63" fmla="*/ 519 h 519"/>
                <a:gd name="T64" fmla="*/ 285 w 454"/>
                <a:gd name="T65" fmla="*/ 510 h 519"/>
                <a:gd name="T66" fmla="*/ 270 w 454"/>
                <a:gd name="T67" fmla="*/ 493 h 519"/>
                <a:gd name="T68" fmla="*/ 253 w 454"/>
                <a:gd name="T69" fmla="*/ 473 h 519"/>
                <a:gd name="T70" fmla="*/ 234 w 454"/>
                <a:gd name="T71" fmla="*/ 471 h 519"/>
                <a:gd name="T72" fmla="*/ 218 w 454"/>
                <a:gd name="T73" fmla="*/ 461 h 519"/>
                <a:gd name="T74" fmla="*/ 203 w 454"/>
                <a:gd name="T75" fmla="*/ 482 h 519"/>
                <a:gd name="T76" fmla="*/ 164 w 454"/>
                <a:gd name="T77" fmla="*/ 491 h 519"/>
                <a:gd name="T78" fmla="*/ 133 w 454"/>
                <a:gd name="T79" fmla="*/ 480 h 519"/>
                <a:gd name="T80" fmla="*/ 89 w 454"/>
                <a:gd name="T81" fmla="*/ 464 h 519"/>
                <a:gd name="T82" fmla="*/ 49 w 454"/>
                <a:gd name="T83" fmla="*/ 462 h 519"/>
                <a:gd name="T84" fmla="*/ 34 w 454"/>
                <a:gd name="T85" fmla="*/ 444 h 519"/>
                <a:gd name="T86" fmla="*/ 1 w 454"/>
                <a:gd name="T87" fmla="*/ 434 h 519"/>
                <a:gd name="T88" fmla="*/ 7 w 454"/>
                <a:gd name="T89" fmla="*/ 403 h 519"/>
                <a:gd name="T90" fmla="*/ 19 w 454"/>
                <a:gd name="T91" fmla="*/ 384 h 519"/>
                <a:gd name="T92" fmla="*/ 5 w 454"/>
                <a:gd name="T93" fmla="*/ 358 h 519"/>
                <a:gd name="T94" fmla="*/ 16 w 454"/>
                <a:gd name="T95" fmla="*/ 336 h 519"/>
                <a:gd name="T96" fmla="*/ 28 w 454"/>
                <a:gd name="T97" fmla="*/ 323 h 519"/>
                <a:gd name="T98" fmla="*/ 17 w 454"/>
                <a:gd name="T99" fmla="*/ 308 h 519"/>
                <a:gd name="T100" fmla="*/ 18 w 454"/>
                <a:gd name="T101" fmla="*/ 295 h 519"/>
                <a:gd name="T102" fmla="*/ 32 w 454"/>
                <a:gd name="T103" fmla="*/ 281 h 519"/>
                <a:gd name="T104" fmla="*/ 33 w 454"/>
                <a:gd name="T105" fmla="*/ 259 h 519"/>
                <a:gd name="T106" fmla="*/ 62 w 454"/>
                <a:gd name="T107" fmla="*/ 233 h 519"/>
                <a:gd name="T108" fmla="*/ 78 w 454"/>
                <a:gd name="T109" fmla="*/ 194 h 519"/>
                <a:gd name="T110" fmla="*/ 71 w 454"/>
                <a:gd name="T111" fmla="*/ 175 h 519"/>
                <a:gd name="T112" fmla="*/ 65 w 454"/>
                <a:gd name="T113" fmla="*/ 129 h 519"/>
                <a:gd name="T114" fmla="*/ 70 w 454"/>
                <a:gd name="T115" fmla="*/ 96 h 519"/>
                <a:gd name="T116" fmla="*/ 63 w 454"/>
                <a:gd name="T117" fmla="*/ 55 h 519"/>
                <a:gd name="T118" fmla="*/ 55 w 454"/>
                <a:gd name="T119" fmla="*/ 40 h 519"/>
                <a:gd name="T120" fmla="*/ 66 w 454"/>
                <a:gd name="T121" fmla="*/ 15 h 519"/>
                <a:gd name="T122" fmla="*/ 81 w 454"/>
                <a:gd name="T123" fmla="*/ 18 h 519"/>
                <a:gd name="T124" fmla="*/ 99 w 454"/>
                <a:gd name="T125" fmla="*/ 11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4" h="519">
                  <a:moveTo>
                    <a:pt x="109" y="0"/>
                  </a:moveTo>
                  <a:lnTo>
                    <a:pt x="110" y="1"/>
                  </a:lnTo>
                  <a:lnTo>
                    <a:pt x="112" y="6"/>
                  </a:lnTo>
                  <a:lnTo>
                    <a:pt x="118" y="14"/>
                  </a:lnTo>
                  <a:lnTo>
                    <a:pt x="119" y="15"/>
                  </a:lnTo>
                  <a:lnTo>
                    <a:pt x="119" y="16"/>
                  </a:lnTo>
                  <a:lnTo>
                    <a:pt x="120" y="16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5" y="17"/>
                  </a:lnTo>
                  <a:lnTo>
                    <a:pt x="126" y="17"/>
                  </a:lnTo>
                  <a:lnTo>
                    <a:pt x="128" y="16"/>
                  </a:lnTo>
                  <a:lnTo>
                    <a:pt x="131" y="15"/>
                  </a:lnTo>
                  <a:lnTo>
                    <a:pt x="133" y="13"/>
                  </a:lnTo>
                  <a:lnTo>
                    <a:pt x="135" y="12"/>
                  </a:lnTo>
                  <a:lnTo>
                    <a:pt x="140" y="8"/>
                  </a:lnTo>
                  <a:lnTo>
                    <a:pt x="141" y="7"/>
                  </a:lnTo>
                  <a:lnTo>
                    <a:pt x="143" y="6"/>
                  </a:lnTo>
                  <a:lnTo>
                    <a:pt x="144" y="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48" y="6"/>
                  </a:lnTo>
                  <a:lnTo>
                    <a:pt x="149" y="7"/>
                  </a:lnTo>
                  <a:lnTo>
                    <a:pt x="150" y="7"/>
                  </a:lnTo>
                  <a:lnTo>
                    <a:pt x="151" y="8"/>
                  </a:lnTo>
                  <a:lnTo>
                    <a:pt x="153" y="9"/>
                  </a:lnTo>
                  <a:lnTo>
                    <a:pt x="157" y="13"/>
                  </a:lnTo>
                  <a:lnTo>
                    <a:pt x="158" y="14"/>
                  </a:lnTo>
                  <a:lnTo>
                    <a:pt x="158" y="15"/>
                  </a:lnTo>
                  <a:lnTo>
                    <a:pt x="160" y="16"/>
                  </a:lnTo>
                  <a:lnTo>
                    <a:pt x="163" y="18"/>
                  </a:lnTo>
                  <a:lnTo>
                    <a:pt x="165" y="19"/>
                  </a:lnTo>
                  <a:lnTo>
                    <a:pt x="166" y="19"/>
                  </a:lnTo>
                  <a:lnTo>
                    <a:pt x="166" y="20"/>
                  </a:lnTo>
                  <a:lnTo>
                    <a:pt x="167" y="21"/>
                  </a:lnTo>
                  <a:lnTo>
                    <a:pt x="168" y="22"/>
                  </a:lnTo>
                  <a:lnTo>
                    <a:pt x="169" y="23"/>
                  </a:lnTo>
                  <a:lnTo>
                    <a:pt x="171" y="24"/>
                  </a:lnTo>
                  <a:lnTo>
                    <a:pt x="178" y="27"/>
                  </a:lnTo>
                  <a:lnTo>
                    <a:pt x="181" y="29"/>
                  </a:lnTo>
                  <a:lnTo>
                    <a:pt x="186" y="30"/>
                  </a:lnTo>
                  <a:lnTo>
                    <a:pt x="189" y="31"/>
                  </a:lnTo>
                  <a:lnTo>
                    <a:pt x="193" y="31"/>
                  </a:lnTo>
                  <a:lnTo>
                    <a:pt x="194" y="31"/>
                  </a:lnTo>
                  <a:lnTo>
                    <a:pt x="194" y="32"/>
                  </a:lnTo>
                  <a:lnTo>
                    <a:pt x="195" y="32"/>
                  </a:lnTo>
                  <a:lnTo>
                    <a:pt x="196" y="33"/>
                  </a:lnTo>
                  <a:lnTo>
                    <a:pt x="198" y="33"/>
                  </a:lnTo>
                  <a:lnTo>
                    <a:pt x="205" y="34"/>
                  </a:lnTo>
                  <a:lnTo>
                    <a:pt x="208" y="35"/>
                  </a:lnTo>
                  <a:lnTo>
                    <a:pt x="210" y="36"/>
                  </a:lnTo>
                  <a:lnTo>
                    <a:pt x="213" y="37"/>
                  </a:lnTo>
                  <a:lnTo>
                    <a:pt x="215" y="38"/>
                  </a:lnTo>
                  <a:lnTo>
                    <a:pt x="217" y="40"/>
                  </a:lnTo>
                  <a:lnTo>
                    <a:pt x="220" y="41"/>
                  </a:lnTo>
                  <a:lnTo>
                    <a:pt x="221" y="42"/>
                  </a:lnTo>
                  <a:lnTo>
                    <a:pt x="222" y="42"/>
                  </a:lnTo>
                  <a:lnTo>
                    <a:pt x="223" y="43"/>
                  </a:lnTo>
                  <a:lnTo>
                    <a:pt x="226" y="48"/>
                  </a:lnTo>
                  <a:lnTo>
                    <a:pt x="227" y="50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2" y="53"/>
                  </a:lnTo>
                  <a:lnTo>
                    <a:pt x="233" y="53"/>
                  </a:lnTo>
                  <a:lnTo>
                    <a:pt x="236" y="54"/>
                  </a:lnTo>
                  <a:lnTo>
                    <a:pt x="237" y="54"/>
                  </a:lnTo>
                  <a:lnTo>
                    <a:pt x="237" y="54"/>
                  </a:lnTo>
                  <a:lnTo>
                    <a:pt x="238" y="54"/>
                  </a:lnTo>
                  <a:lnTo>
                    <a:pt x="239" y="55"/>
                  </a:lnTo>
                  <a:lnTo>
                    <a:pt x="239" y="56"/>
                  </a:lnTo>
                  <a:lnTo>
                    <a:pt x="239" y="57"/>
                  </a:lnTo>
                  <a:lnTo>
                    <a:pt x="238" y="58"/>
                  </a:lnTo>
                  <a:lnTo>
                    <a:pt x="238" y="59"/>
                  </a:lnTo>
                  <a:lnTo>
                    <a:pt x="238" y="60"/>
                  </a:lnTo>
                  <a:lnTo>
                    <a:pt x="238" y="61"/>
                  </a:lnTo>
                  <a:lnTo>
                    <a:pt x="238" y="63"/>
                  </a:lnTo>
                  <a:lnTo>
                    <a:pt x="238" y="64"/>
                  </a:lnTo>
                  <a:lnTo>
                    <a:pt x="239" y="64"/>
                  </a:lnTo>
                  <a:lnTo>
                    <a:pt x="242" y="68"/>
                  </a:lnTo>
                  <a:lnTo>
                    <a:pt x="244" y="69"/>
                  </a:lnTo>
                  <a:lnTo>
                    <a:pt x="245" y="70"/>
                  </a:lnTo>
                  <a:lnTo>
                    <a:pt x="246" y="71"/>
                  </a:lnTo>
                  <a:lnTo>
                    <a:pt x="249" y="71"/>
                  </a:lnTo>
                  <a:lnTo>
                    <a:pt x="250" y="72"/>
                  </a:lnTo>
                  <a:lnTo>
                    <a:pt x="251" y="72"/>
                  </a:lnTo>
                  <a:lnTo>
                    <a:pt x="252" y="73"/>
                  </a:lnTo>
                  <a:lnTo>
                    <a:pt x="252" y="74"/>
                  </a:lnTo>
                  <a:lnTo>
                    <a:pt x="253" y="76"/>
                  </a:lnTo>
                  <a:lnTo>
                    <a:pt x="253" y="76"/>
                  </a:lnTo>
                  <a:lnTo>
                    <a:pt x="252" y="78"/>
                  </a:lnTo>
                  <a:lnTo>
                    <a:pt x="252" y="79"/>
                  </a:lnTo>
                  <a:lnTo>
                    <a:pt x="251" y="81"/>
                  </a:lnTo>
                  <a:lnTo>
                    <a:pt x="250" y="84"/>
                  </a:lnTo>
                  <a:lnTo>
                    <a:pt x="249" y="87"/>
                  </a:lnTo>
                  <a:lnTo>
                    <a:pt x="248" y="88"/>
                  </a:lnTo>
                  <a:lnTo>
                    <a:pt x="246" y="90"/>
                  </a:lnTo>
                  <a:lnTo>
                    <a:pt x="244" y="91"/>
                  </a:lnTo>
                  <a:lnTo>
                    <a:pt x="242" y="92"/>
                  </a:lnTo>
                  <a:lnTo>
                    <a:pt x="238" y="94"/>
                  </a:lnTo>
                  <a:lnTo>
                    <a:pt x="237" y="94"/>
                  </a:lnTo>
                  <a:lnTo>
                    <a:pt x="236" y="95"/>
                  </a:lnTo>
                  <a:lnTo>
                    <a:pt x="235" y="96"/>
                  </a:lnTo>
                  <a:lnTo>
                    <a:pt x="233" y="98"/>
                  </a:lnTo>
                  <a:lnTo>
                    <a:pt x="232" y="99"/>
                  </a:lnTo>
                  <a:lnTo>
                    <a:pt x="230" y="102"/>
                  </a:lnTo>
                  <a:lnTo>
                    <a:pt x="230" y="103"/>
                  </a:lnTo>
                  <a:lnTo>
                    <a:pt x="230" y="104"/>
                  </a:lnTo>
                  <a:lnTo>
                    <a:pt x="230" y="105"/>
                  </a:lnTo>
                  <a:lnTo>
                    <a:pt x="230" y="107"/>
                  </a:lnTo>
                  <a:lnTo>
                    <a:pt x="230" y="108"/>
                  </a:lnTo>
                  <a:lnTo>
                    <a:pt x="231" y="109"/>
                  </a:lnTo>
                  <a:lnTo>
                    <a:pt x="232" y="111"/>
                  </a:lnTo>
                  <a:lnTo>
                    <a:pt x="235" y="116"/>
                  </a:lnTo>
                  <a:lnTo>
                    <a:pt x="236" y="118"/>
                  </a:lnTo>
                  <a:lnTo>
                    <a:pt x="237" y="120"/>
                  </a:lnTo>
                  <a:lnTo>
                    <a:pt x="237" y="124"/>
                  </a:lnTo>
                  <a:lnTo>
                    <a:pt x="237" y="127"/>
                  </a:lnTo>
                  <a:lnTo>
                    <a:pt x="239" y="130"/>
                  </a:lnTo>
                  <a:lnTo>
                    <a:pt x="241" y="135"/>
                  </a:lnTo>
                  <a:lnTo>
                    <a:pt x="242" y="138"/>
                  </a:lnTo>
                  <a:lnTo>
                    <a:pt x="242" y="139"/>
                  </a:lnTo>
                  <a:lnTo>
                    <a:pt x="242" y="141"/>
                  </a:lnTo>
                  <a:lnTo>
                    <a:pt x="242" y="143"/>
                  </a:lnTo>
                  <a:lnTo>
                    <a:pt x="240" y="144"/>
                  </a:lnTo>
                  <a:lnTo>
                    <a:pt x="240" y="145"/>
                  </a:lnTo>
                  <a:lnTo>
                    <a:pt x="240" y="146"/>
                  </a:lnTo>
                  <a:lnTo>
                    <a:pt x="240" y="147"/>
                  </a:lnTo>
                  <a:lnTo>
                    <a:pt x="240" y="149"/>
                  </a:lnTo>
                  <a:lnTo>
                    <a:pt x="242" y="150"/>
                  </a:lnTo>
                  <a:lnTo>
                    <a:pt x="244" y="152"/>
                  </a:lnTo>
                  <a:lnTo>
                    <a:pt x="248" y="155"/>
                  </a:lnTo>
                  <a:lnTo>
                    <a:pt x="249" y="156"/>
                  </a:lnTo>
                  <a:lnTo>
                    <a:pt x="249" y="156"/>
                  </a:lnTo>
                  <a:lnTo>
                    <a:pt x="250" y="158"/>
                  </a:lnTo>
                  <a:lnTo>
                    <a:pt x="251" y="160"/>
                  </a:lnTo>
                  <a:lnTo>
                    <a:pt x="252" y="161"/>
                  </a:lnTo>
                  <a:lnTo>
                    <a:pt x="252" y="163"/>
                  </a:lnTo>
                  <a:lnTo>
                    <a:pt x="252" y="164"/>
                  </a:lnTo>
                  <a:lnTo>
                    <a:pt x="251" y="165"/>
                  </a:lnTo>
                  <a:lnTo>
                    <a:pt x="250" y="169"/>
                  </a:lnTo>
                  <a:lnTo>
                    <a:pt x="249" y="171"/>
                  </a:lnTo>
                  <a:lnTo>
                    <a:pt x="249" y="173"/>
                  </a:lnTo>
                  <a:lnTo>
                    <a:pt x="250" y="176"/>
                  </a:lnTo>
                  <a:lnTo>
                    <a:pt x="250" y="178"/>
                  </a:lnTo>
                  <a:lnTo>
                    <a:pt x="250" y="178"/>
                  </a:lnTo>
                  <a:lnTo>
                    <a:pt x="250" y="180"/>
                  </a:lnTo>
                  <a:lnTo>
                    <a:pt x="249" y="181"/>
                  </a:lnTo>
                  <a:lnTo>
                    <a:pt x="249" y="182"/>
                  </a:lnTo>
                  <a:lnTo>
                    <a:pt x="247" y="186"/>
                  </a:lnTo>
                  <a:lnTo>
                    <a:pt x="246" y="188"/>
                  </a:lnTo>
                  <a:lnTo>
                    <a:pt x="245" y="190"/>
                  </a:lnTo>
                  <a:lnTo>
                    <a:pt x="245" y="193"/>
                  </a:lnTo>
                  <a:lnTo>
                    <a:pt x="244" y="197"/>
                  </a:lnTo>
                  <a:lnTo>
                    <a:pt x="243" y="199"/>
                  </a:lnTo>
                  <a:lnTo>
                    <a:pt x="241" y="206"/>
                  </a:lnTo>
                  <a:lnTo>
                    <a:pt x="240" y="209"/>
                  </a:lnTo>
                  <a:lnTo>
                    <a:pt x="239" y="212"/>
                  </a:lnTo>
                  <a:lnTo>
                    <a:pt x="237" y="221"/>
                  </a:lnTo>
                  <a:lnTo>
                    <a:pt x="237" y="227"/>
                  </a:lnTo>
                  <a:lnTo>
                    <a:pt x="237" y="230"/>
                  </a:lnTo>
                  <a:lnTo>
                    <a:pt x="237" y="233"/>
                  </a:lnTo>
                  <a:lnTo>
                    <a:pt x="237" y="235"/>
                  </a:lnTo>
                  <a:lnTo>
                    <a:pt x="237" y="236"/>
                  </a:lnTo>
                  <a:lnTo>
                    <a:pt x="238" y="238"/>
                  </a:lnTo>
                  <a:lnTo>
                    <a:pt x="239" y="240"/>
                  </a:lnTo>
                  <a:lnTo>
                    <a:pt x="241" y="241"/>
                  </a:lnTo>
                  <a:lnTo>
                    <a:pt x="242" y="243"/>
                  </a:lnTo>
                  <a:lnTo>
                    <a:pt x="249" y="249"/>
                  </a:lnTo>
                  <a:lnTo>
                    <a:pt x="252" y="254"/>
                  </a:lnTo>
                  <a:lnTo>
                    <a:pt x="255" y="258"/>
                  </a:lnTo>
                  <a:lnTo>
                    <a:pt x="258" y="261"/>
                  </a:lnTo>
                  <a:lnTo>
                    <a:pt x="260" y="264"/>
                  </a:lnTo>
                  <a:lnTo>
                    <a:pt x="261" y="268"/>
                  </a:lnTo>
                  <a:lnTo>
                    <a:pt x="267" y="279"/>
                  </a:lnTo>
                  <a:lnTo>
                    <a:pt x="270" y="283"/>
                  </a:lnTo>
                  <a:lnTo>
                    <a:pt x="271" y="288"/>
                  </a:lnTo>
                  <a:lnTo>
                    <a:pt x="273" y="293"/>
                  </a:lnTo>
                  <a:lnTo>
                    <a:pt x="276" y="300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8" y="306"/>
                  </a:lnTo>
                  <a:lnTo>
                    <a:pt x="278" y="310"/>
                  </a:lnTo>
                  <a:lnTo>
                    <a:pt x="278" y="312"/>
                  </a:lnTo>
                  <a:lnTo>
                    <a:pt x="278" y="313"/>
                  </a:lnTo>
                  <a:lnTo>
                    <a:pt x="279" y="314"/>
                  </a:lnTo>
                  <a:lnTo>
                    <a:pt x="280" y="316"/>
                  </a:lnTo>
                  <a:lnTo>
                    <a:pt x="281" y="318"/>
                  </a:lnTo>
                  <a:lnTo>
                    <a:pt x="282" y="320"/>
                  </a:lnTo>
                  <a:lnTo>
                    <a:pt x="283" y="321"/>
                  </a:lnTo>
                  <a:lnTo>
                    <a:pt x="285" y="323"/>
                  </a:lnTo>
                  <a:lnTo>
                    <a:pt x="289" y="326"/>
                  </a:lnTo>
                  <a:lnTo>
                    <a:pt x="291" y="328"/>
                  </a:lnTo>
                  <a:lnTo>
                    <a:pt x="294" y="334"/>
                  </a:lnTo>
                  <a:lnTo>
                    <a:pt x="297" y="337"/>
                  </a:lnTo>
                  <a:lnTo>
                    <a:pt x="299" y="341"/>
                  </a:lnTo>
                  <a:lnTo>
                    <a:pt x="301" y="345"/>
                  </a:lnTo>
                  <a:lnTo>
                    <a:pt x="302" y="348"/>
                  </a:lnTo>
                  <a:lnTo>
                    <a:pt x="304" y="355"/>
                  </a:lnTo>
                  <a:lnTo>
                    <a:pt x="305" y="358"/>
                  </a:lnTo>
                  <a:lnTo>
                    <a:pt x="306" y="361"/>
                  </a:lnTo>
                  <a:lnTo>
                    <a:pt x="308" y="364"/>
                  </a:lnTo>
                  <a:lnTo>
                    <a:pt x="309" y="366"/>
                  </a:lnTo>
                  <a:lnTo>
                    <a:pt x="311" y="368"/>
                  </a:lnTo>
                  <a:lnTo>
                    <a:pt x="316" y="371"/>
                  </a:lnTo>
                  <a:lnTo>
                    <a:pt x="319" y="375"/>
                  </a:lnTo>
                  <a:lnTo>
                    <a:pt x="321" y="377"/>
                  </a:lnTo>
                  <a:lnTo>
                    <a:pt x="323" y="379"/>
                  </a:lnTo>
                  <a:lnTo>
                    <a:pt x="326" y="383"/>
                  </a:lnTo>
                  <a:lnTo>
                    <a:pt x="328" y="385"/>
                  </a:lnTo>
                  <a:lnTo>
                    <a:pt x="328" y="386"/>
                  </a:lnTo>
                  <a:lnTo>
                    <a:pt x="329" y="387"/>
                  </a:lnTo>
                  <a:lnTo>
                    <a:pt x="331" y="388"/>
                  </a:lnTo>
                  <a:lnTo>
                    <a:pt x="332" y="389"/>
                  </a:lnTo>
                  <a:lnTo>
                    <a:pt x="334" y="389"/>
                  </a:lnTo>
                  <a:lnTo>
                    <a:pt x="338" y="391"/>
                  </a:lnTo>
                  <a:lnTo>
                    <a:pt x="347" y="393"/>
                  </a:lnTo>
                  <a:lnTo>
                    <a:pt x="353" y="394"/>
                  </a:lnTo>
                  <a:lnTo>
                    <a:pt x="356" y="394"/>
                  </a:lnTo>
                  <a:lnTo>
                    <a:pt x="361" y="394"/>
                  </a:lnTo>
                  <a:lnTo>
                    <a:pt x="362" y="394"/>
                  </a:lnTo>
                  <a:lnTo>
                    <a:pt x="364" y="395"/>
                  </a:lnTo>
                  <a:lnTo>
                    <a:pt x="366" y="396"/>
                  </a:lnTo>
                  <a:lnTo>
                    <a:pt x="367" y="396"/>
                  </a:lnTo>
                  <a:lnTo>
                    <a:pt x="367" y="397"/>
                  </a:lnTo>
                  <a:lnTo>
                    <a:pt x="368" y="399"/>
                  </a:lnTo>
                  <a:lnTo>
                    <a:pt x="369" y="401"/>
                  </a:lnTo>
                  <a:lnTo>
                    <a:pt x="370" y="405"/>
                  </a:lnTo>
                  <a:lnTo>
                    <a:pt x="370" y="407"/>
                  </a:lnTo>
                  <a:lnTo>
                    <a:pt x="372" y="409"/>
                  </a:lnTo>
                  <a:lnTo>
                    <a:pt x="373" y="411"/>
                  </a:lnTo>
                  <a:lnTo>
                    <a:pt x="374" y="412"/>
                  </a:lnTo>
                  <a:lnTo>
                    <a:pt x="376" y="414"/>
                  </a:lnTo>
                  <a:lnTo>
                    <a:pt x="379" y="414"/>
                  </a:lnTo>
                  <a:lnTo>
                    <a:pt x="387" y="416"/>
                  </a:lnTo>
                  <a:lnTo>
                    <a:pt x="388" y="417"/>
                  </a:lnTo>
                  <a:lnTo>
                    <a:pt x="389" y="418"/>
                  </a:lnTo>
                  <a:lnTo>
                    <a:pt x="391" y="419"/>
                  </a:lnTo>
                  <a:lnTo>
                    <a:pt x="392" y="420"/>
                  </a:lnTo>
                  <a:lnTo>
                    <a:pt x="395" y="426"/>
                  </a:lnTo>
                  <a:lnTo>
                    <a:pt x="396" y="428"/>
                  </a:lnTo>
                  <a:lnTo>
                    <a:pt x="397" y="428"/>
                  </a:lnTo>
                  <a:lnTo>
                    <a:pt x="398" y="429"/>
                  </a:lnTo>
                  <a:lnTo>
                    <a:pt x="401" y="430"/>
                  </a:lnTo>
                  <a:lnTo>
                    <a:pt x="406" y="432"/>
                  </a:lnTo>
                  <a:lnTo>
                    <a:pt x="409" y="433"/>
                  </a:lnTo>
                  <a:lnTo>
                    <a:pt x="414" y="434"/>
                  </a:lnTo>
                  <a:lnTo>
                    <a:pt x="418" y="434"/>
                  </a:lnTo>
                  <a:lnTo>
                    <a:pt x="428" y="435"/>
                  </a:lnTo>
                  <a:lnTo>
                    <a:pt x="431" y="435"/>
                  </a:lnTo>
                  <a:lnTo>
                    <a:pt x="435" y="435"/>
                  </a:lnTo>
                  <a:lnTo>
                    <a:pt x="439" y="436"/>
                  </a:lnTo>
                  <a:lnTo>
                    <a:pt x="447" y="438"/>
                  </a:lnTo>
                  <a:lnTo>
                    <a:pt x="450" y="438"/>
                  </a:lnTo>
                  <a:lnTo>
                    <a:pt x="453" y="438"/>
                  </a:lnTo>
                  <a:lnTo>
                    <a:pt x="453" y="438"/>
                  </a:lnTo>
                  <a:lnTo>
                    <a:pt x="454" y="438"/>
                  </a:lnTo>
                  <a:lnTo>
                    <a:pt x="454" y="439"/>
                  </a:lnTo>
                  <a:lnTo>
                    <a:pt x="454" y="440"/>
                  </a:lnTo>
                  <a:lnTo>
                    <a:pt x="454" y="444"/>
                  </a:lnTo>
                  <a:lnTo>
                    <a:pt x="453" y="447"/>
                  </a:lnTo>
                  <a:lnTo>
                    <a:pt x="453" y="450"/>
                  </a:lnTo>
                  <a:lnTo>
                    <a:pt x="453" y="451"/>
                  </a:lnTo>
                  <a:lnTo>
                    <a:pt x="452" y="453"/>
                  </a:lnTo>
                  <a:lnTo>
                    <a:pt x="451" y="454"/>
                  </a:lnTo>
                  <a:lnTo>
                    <a:pt x="448" y="457"/>
                  </a:lnTo>
                  <a:lnTo>
                    <a:pt x="447" y="458"/>
                  </a:lnTo>
                  <a:lnTo>
                    <a:pt x="445" y="459"/>
                  </a:lnTo>
                  <a:lnTo>
                    <a:pt x="443" y="460"/>
                  </a:lnTo>
                  <a:lnTo>
                    <a:pt x="442" y="461"/>
                  </a:lnTo>
                  <a:lnTo>
                    <a:pt x="440" y="462"/>
                  </a:lnTo>
                  <a:lnTo>
                    <a:pt x="437" y="462"/>
                  </a:lnTo>
                  <a:lnTo>
                    <a:pt x="436" y="462"/>
                  </a:lnTo>
                  <a:lnTo>
                    <a:pt x="435" y="462"/>
                  </a:lnTo>
                  <a:lnTo>
                    <a:pt x="434" y="463"/>
                  </a:lnTo>
                  <a:lnTo>
                    <a:pt x="434" y="464"/>
                  </a:lnTo>
                  <a:lnTo>
                    <a:pt x="433" y="465"/>
                  </a:lnTo>
                  <a:lnTo>
                    <a:pt x="433" y="466"/>
                  </a:lnTo>
                  <a:lnTo>
                    <a:pt x="432" y="469"/>
                  </a:lnTo>
                  <a:lnTo>
                    <a:pt x="431" y="473"/>
                  </a:lnTo>
                  <a:lnTo>
                    <a:pt x="431" y="473"/>
                  </a:lnTo>
                  <a:lnTo>
                    <a:pt x="431" y="474"/>
                  </a:lnTo>
                  <a:lnTo>
                    <a:pt x="431" y="474"/>
                  </a:lnTo>
                  <a:lnTo>
                    <a:pt x="430" y="475"/>
                  </a:lnTo>
                  <a:lnTo>
                    <a:pt x="429" y="475"/>
                  </a:lnTo>
                  <a:lnTo>
                    <a:pt x="426" y="476"/>
                  </a:lnTo>
                  <a:lnTo>
                    <a:pt x="424" y="476"/>
                  </a:lnTo>
                  <a:lnTo>
                    <a:pt x="423" y="477"/>
                  </a:lnTo>
                  <a:lnTo>
                    <a:pt x="423" y="478"/>
                  </a:lnTo>
                  <a:lnTo>
                    <a:pt x="423" y="479"/>
                  </a:lnTo>
                  <a:lnTo>
                    <a:pt x="423" y="480"/>
                  </a:lnTo>
                  <a:lnTo>
                    <a:pt x="423" y="481"/>
                  </a:lnTo>
                  <a:lnTo>
                    <a:pt x="427" y="487"/>
                  </a:lnTo>
                  <a:lnTo>
                    <a:pt x="429" y="492"/>
                  </a:lnTo>
                  <a:lnTo>
                    <a:pt x="429" y="493"/>
                  </a:lnTo>
                  <a:lnTo>
                    <a:pt x="428" y="495"/>
                  </a:lnTo>
                  <a:lnTo>
                    <a:pt x="428" y="496"/>
                  </a:lnTo>
                  <a:lnTo>
                    <a:pt x="427" y="497"/>
                  </a:lnTo>
                  <a:lnTo>
                    <a:pt x="425" y="499"/>
                  </a:lnTo>
                  <a:lnTo>
                    <a:pt x="423" y="502"/>
                  </a:lnTo>
                  <a:lnTo>
                    <a:pt x="421" y="504"/>
                  </a:lnTo>
                  <a:lnTo>
                    <a:pt x="419" y="506"/>
                  </a:lnTo>
                  <a:lnTo>
                    <a:pt x="418" y="507"/>
                  </a:lnTo>
                  <a:lnTo>
                    <a:pt x="415" y="509"/>
                  </a:lnTo>
                  <a:lnTo>
                    <a:pt x="413" y="510"/>
                  </a:lnTo>
                  <a:lnTo>
                    <a:pt x="411" y="512"/>
                  </a:lnTo>
                  <a:lnTo>
                    <a:pt x="408" y="513"/>
                  </a:lnTo>
                  <a:lnTo>
                    <a:pt x="406" y="514"/>
                  </a:lnTo>
                  <a:lnTo>
                    <a:pt x="404" y="515"/>
                  </a:lnTo>
                  <a:lnTo>
                    <a:pt x="402" y="516"/>
                  </a:lnTo>
                  <a:lnTo>
                    <a:pt x="399" y="516"/>
                  </a:lnTo>
                  <a:lnTo>
                    <a:pt x="396" y="517"/>
                  </a:lnTo>
                  <a:lnTo>
                    <a:pt x="393" y="517"/>
                  </a:lnTo>
                  <a:lnTo>
                    <a:pt x="389" y="517"/>
                  </a:lnTo>
                  <a:lnTo>
                    <a:pt x="385" y="517"/>
                  </a:lnTo>
                  <a:lnTo>
                    <a:pt x="375" y="517"/>
                  </a:lnTo>
                  <a:lnTo>
                    <a:pt x="370" y="517"/>
                  </a:lnTo>
                  <a:lnTo>
                    <a:pt x="360" y="518"/>
                  </a:lnTo>
                  <a:lnTo>
                    <a:pt x="350" y="518"/>
                  </a:lnTo>
                  <a:lnTo>
                    <a:pt x="338" y="518"/>
                  </a:lnTo>
                  <a:lnTo>
                    <a:pt x="328" y="519"/>
                  </a:lnTo>
                  <a:lnTo>
                    <a:pt x="324" y="519"/>
                  </a:lnTo>
                  <a:lnTo>
                    <a:pt x="316" y="518"/>
                  </a:lnTo>
                  <a:lnTo>
                    <a:pt x="311" y="518"/>
                  </a:lnTo>
                  <a:lnTo>
                    <a:pt x="307" y="517"/>
                  </a:lnTo>
                  <a:lnTo>
                    <a:pt x="305" y="516"/>
                  </a:lnTo>
                  <a:lnTo>
                    <a:pt x="300" y="514"/>
                  </a:lnTo>
                  <a:lnTo>
                    <a:pt x="297" y="512"/>
                  </a:lnTo>
                  <a:lnTo>
                    <a:pt x="293" y="511"/>
                  </a:lnTo>
                  <a:lnTo>
                    <a:pt x="287" y="510"/>
                  </a:lnTo>
                  <a:lnTo>
                    <a:pt x="285" y="510"/>
                  </a:lnTo>
                  <a:lnTo>
                    <a:pt x="283" y="509"/>
                  </a:lnTo>
                  <a:lnTo>
                    <a:pt x="282" y="508"/>
                  </a:lnTo>
                  <a:lnTo>
                    <a:pt x="280" y="507"/>
                  </a:lnTo>
                  <a:lnTo>
                    <a:pt x="279" y="507"/>
                  </a:lnTo>
                  <a:lnTo>
                    <a:pt x="278" y="506"/>
                  </a:lnTo>
                  <a:lnTo>
                    <a:pt x="277" y="505"/>
                  </a:lnTo>
                  <a:lnTo>
                    <a:pt x="275" y="502"/>
                  </a:lnTo>
                  <a:lnTo>
                    <a:pt x="271" y="496"/>
                  </a:lnTo>
                  <a:lnTo>
                    <a:pt x="271" y="495"/>
                  </a:lnTo>
                  <a:lnTo>
                    <a:pt x="270" y="493"/>
                  </a:lnTo>
                  <a:lnTo>
                    <a:pt x="267" y="491"/>
                  </a:lnTo>
                  <a:lnTo>
                    <a:pt x="261" y="486"/>
                  </a:lnTo>
                  <a:lnTo>
                    <a:pt x="260" y="484"/>
                  </a:lnTo>
                  <a:lnTo>
                    <a:pt x="259" y="483"/>
                  </a:lnTo>
                  <a:lnTo>
                    <a:pt x="258" y="482"/>
                  </a:lnTo>
                  <a:lnTo>
                    <a:pt x="258" y="481"/>
                  </a:lnTo>
                  <a:lnTo>
                    <a:pt x="256" y="477"/>
                  </a:lnTo>
                  <a:lnTo>
                    <a:pt x="255" y="475"/>
                  </a:lnTo>
                  <a:lnTo>
                    <a:pt x="254" y="474"/>
                  </a:lnTo>
                  <a:lnTo>
                    <a:pt x="253" y="473"/>
                  </a:lnTo>
                  <a:lnTo>
                    <a:pt x="252" y="472"/>
                  </a:lnTo>
                  <a:lnTo>
                    <a:pt x="251" y="472"/>
                  </a:lnTo>
                  <a:lnTo>
                    <a:pt x="250" y="471"/>
                  </a:lnTo>
                  <a:lnTo>
                    <a:pt x="249" y="471"/>
                  </a:lnTo>
                  <a:lnTo>
                    <a:pt x="247" y="471"/>
                  </a:lnTo>
                  <a:lnTo>
                    <a:pt x="241" y="472"/>
                  </a:lnTo>
                  <a:lnTo>
                    <a:pt x="238" y="472"/>
                  </a:lnTo>
                  <a:lnTo>
                    <a:pt x="236" y="472"/>
                  </a:lnTo>
                  <a:lnTo>
                    <a:pt x="235" y="471"/>
                  </a:lnTo>
                  <a:lnTo>
                    <a:pt x="234" y="471"/>
                  </a:lnTo>
                  <a:lnTo>
                    <a:pt x="232" y="470"/>
                  </a:lnTo>
                  <a:lnTo>
                    <a:pt x="230" y="468"/>
                  </a:lnTo>
                  <a:lnTo>
                    <a:pt x="229" y="466"/>
                  </a:lnTo>
                  <a:lnTo>
                    <a:pt x="226" y="463"/>
                  </a:lnTo>
                  <a:lnTo>
                    <a:pt x="226" y="462"/>
                  </a:lnTo>
                  <a:lnTo>
                    <a:pt x="224" y="461"/>
                  </a:lnTo>
                  <a:lnTo>
                    <a:pt x="223" y="461"/>
                  </a:lnTo>
                  <a:lnTo>
                    <a:pt x="221" y="460"/>
                  </a:lnTo>
                  <a:lnTo>
                    <a:pt x="220" y="461"/>
                  </a:lnTo>
                  <a:lnTo>
                    <a:pt x="218" y="461"/>
                  </a:lnTo>
                  <a:lnTo>
                    <a:pt x="217" y="462"/>
                  </a:lnTo>
                  <a:lnTo>
                    <a:pt x="216" y="463"/>
                  </a:lnTo>
                  <a:lnTo>
                    <a:pt x="215" y="465"/>
                  </a:lnTo>
                  <a:lnTo>
                    <a:pt x="211" y="473"/>
                  </a:lnTo>
                  <a:lnTo>
                    <a:pt x="208" y="478"/>
                  </a:lnTo>
                  <a:lnTo>
                    <a:pt x="207" y="479"/>
                  </a:lnTo>
                  <a:lnTo>
                    <a:pt x="206" y="480"/>
                  </a:lnTo>
                  <a:lnTo>
                    <a:pt x="205" y="481"/>
                  </a:lnTo>
                  <a:lnTo>
                    <a:pt x="204" y="481"/>
                  </a:lnTo>
                  <a:lnTo>
                    <a:pt x="203" y="482"/>
                  </a:lnTo>
                  <a:lnTo>
                    <a:pt x="191" y="483"/>
                  </a:lnTo>
                  <a:lnTo>
                    <a:pt x="187" y="484"/>
                  </a:lnTo>
                  <a:lnTo>
                    <a:pt x="185" y="484"/>
                  </a:lnTo>
                  <a:lnTo>
                    <a:pt x="181" y="486"/>
                  </a:lnTo>
                  <a:lnTo>
                    <a:pt x="174" y="490"/>
                  </a:lnTo>
                  <a:lnTo>
                    <a:pt x="172" y="490"/>
                  </a:lnTo>
                  <a:lnTo>
                    <a:pt x="171" y="491"/>
                  </a:lnTo>
                  <a:lnTo>
                    <a:pt x="169" y="491"/>
                  </a:lnTo>
                  <a:lnTo>
                    <a:pt x="168" y="491"/>
                  </a:lnTo>
                  <a:lnTo>
                    <a:pt x="164" y="491"/>
                  </a:lnTo>
                  <a:lnTo>
                    <a:pt x="157" y="490"/>
                  </a:lnTo>
                  <a:lnTo>
                    <a:pt x="152" y="491"/>
                  </a:lnTo>
                  <a:lnTo>
                    <a:pt x="148" y="491"/>
                  </a:lnTo>
                  <a:lnTo>
                    <a:pt x="142" y="492"/>
                  </a:lnTo>
                  <a:lnTo>
                    <a:pt x="140" y="493"/>
                  </a:lnTo>
                  <a:lnTo>
                    <a:pt x="139" y="492"/>
                  </a:lnTo>
                  <a:lnTo>
                    <a:pt x="138" y="491"/>
                  </a:lnTo>
                  <a:lnTo>
                    <a:pt x="137" y="490"/>
                  </a:lnTo>
                  <a:lnTo>
                    <a:pt x="136" y="488"/>
                  </a:lnTo>
                  <a:lnTo>
                    <a:pt x="133" y="480"/>
                  </a:lnTo>
                  <a:lnTo>
                    <a:pt x="131" y="476"/>
                  </a:lnTo>
                  <a:lnTo>
                    <a:pt x="130" y="473"/>
                  </a:lnTo>
                  <a:lnTo>
                    <a:pt x="128" y="471"/>
                  </a:lnTo>
                  <a:lnTo>
                    <a:pt x="126" y="468"/>
                  </a:lnTo>
                  <a:lnTo>
                    <a:pt x="125" y="467"/>
                  </a:lnTo>
                  <a:lnTo>
                    <a:pt x="124" y="466"/>
                  </a:lnTo>
                  <a:lnTo>
                    <a:pt x="122" y="465"/>
                  </a:lnTo>
                  <a:lnTo>
                    <a:pt x="120" y="465"/>
                  </a:lnTo>
                  <a:lnTo>
                    <a:pt x="100" y="464"/>
                  </a:lnTo>
                  <a:lnTo>
                    <a:pt x="89" y="464"/>
                  </a:lnTo>
                  <a:lnTo>
                    <a:pt x="78" y="464"/>
                  </a:lnTo>
                  <a:lnTo>
                    <a:pt x="73" y="464"/>
                  </a:lnTo>
                  <a:lnTo>
                    <a:pt x="65" y="464"/>
                  </a:lnTo>
                  <a:lnTo>
                    <a:pt x="62" y="464"/>
                  </a:lnTo>
                  <a:lnTo>
                    <a:pt x="58" y="464"/>
                  </a:lnTo>
                  <a:lnTo>
                    <a:pt x="56" y="464"/>
                  </a:lnTo>
                  <a:lnTo>
                    <a:pt x="55" y="463"/>
                  </a:lnTo>
                  <a:lnTo>
                    <a:pt x="53" y="463"/>
                  </a:lnTo>
                  <a:lnTo>
                    <a:pt x="51" y="462"/>
                  </a:lnTo>
                  <a:lnTo>
                    <a:pt x="49" y="462"/>
                  </a:lnTo>
                  <a:lnTo>
                    <a:pt x="47" y="460"/>
                  </a:lnTo>
                  <a:lnTo>
                    <a:pt x="46" y="459"/>
                  </a:lnTo>
                  <a:lnTo>
                    <a:pt x="45" y="457"/>
                  </a:lnTo>
                  <a:lnTo>
                    <a:pt x="43" y="451"/>
                  </a:lnTo>
                  <a:lnTo>
                    <a:pt x="42" y="450"/>
                  </a:lnTo>
                  <a:lnTo>
                    <a:pt x="41" y="449"/>
                  </a:lnTo>
                  <a:lnTo>
                    <a:pt x="39" y="448"/>
                  </a:lnTo>
                  <a:lnTo>
                    <a:pt x="38" y="446"/>
                  </a:lnTo>
                  <a:lnTo>
                    <a:pt x="36" y="445"/>
                  </a:lnTo>
                  <a:lnTo>
                    <a:pt x="34" y="444"/>
                  </a:lnTo>
                  <a:lnTo>
                    <a:pt x="32" y="442"/>
                  </a:lnTo>
                  <a:lnTo>
                    <a:pt x="30" y="441"/>
                  </a:lnTo>
                  <a:lnTo>
                    <a:pt x="27" y="440"/>
                  </a:lnTo>
                  <a:lnTo>
                    <a:pt x="23" y="439"/>
                  </a:lnTo>
                  <a:lnTo>
                    <a:pt x="18" y="439"/>
                  </a:lnTo>
                  <a:lnTo>
                    <a:pt x="9" y="437"/>
                  </a:lnTo>
                  <a:lnTo>
                    <a:pt x="7" y="436"/>
                  </a:lnTo>
                  <a:lnTo>
                    <a:pt x="5" y="436"/>
                  </a:lnTo>
                  <a:lnTo>
                    <a:pt x="3" y="435"/>
                  </a:lnTo>
                  <a:lnTo>
                    <a:pt x="1" y="434"/>
                  </a:lnTo>
                  <a:lnTo>
                    <a:pt x="0" y="433"/>
                  </a:lnTo>
                  <a:lnTo>
                    <a:pt x="0" y="432"/>
                  </a:lnTo>
                  <a:lnTo>
                    <a:pt x="0" y="431"/>
                  </a:lnTo>
                  <a:lnTo>
                    <a:pt x="0" y="428"/>
                  </a:lnTo>
                  <a:lnTo>
                    <a:pt x="0" y="425"/>
                  </a:lnTo>
                  <a:lnTo>
                    <a:pt x="3" y="413"/>
                  </a:lnTo>
                  <a:lnTo>
                    <a:pt x="4" y="409"/>
                  </a:lnTo>
                  <a:lnTo>
                    <a:pt x="6" y="406"/>
                  </a:lnTo>
                  <a:lnTo>
                    <a:pt x="6" y="405"/>
                  </a:lnTo>
                  <a:lnTo>
                    <a:pt x="7" y="403"/>
                  </a:lnTo>
                  <a:lnTo>
                    <a:pt x="8" y="401"/>
                  </a:lnTo>
                  <a:lnTo>
                    <a:pt x="9" y="400"/>
                  </a:lnTo>
                  <a:lnTo>
                    <a:pt x="11" y="397"/>
                  </a:lnTo>
                  <a:lnTo>
                    <a:pt x="16" y="394"/>
                  </a:lnTo>
                  <a:lnTo>
                    <a:pt x="17" y="392"/>
                  </a:lnTo>
                  <a:lnTo>
                    <a:pt x="18" y="390"/>
                  </a:lnTo>
                  <a:lnTo>
                    <a:pt x="18" y="389"/>
                  </a:lnTo>
                  <a:lnTo>
                    <a:pt x="19" y="388"/>
                  </a:lnTo>
                  <a:lnTo>
                    <a:pt x="19" y="386"/>
                  </a:lnTo>
                  <a:lnTo>
                    <a:pt x="19" y="384"/>
                  </a:lnTo>
                  <a:lnTo>
                    <a:pt x="18" y="382"/>
                  </a:lnTo>
                  <a:lnTo>
                    <a:pt x="18" y="379"/>
                  </a:lnTo>
                  <a:lnTo>
                    <a:pt x="17" y="377"/>
                  </a:lnTo>
                  <a:lnTo>
                    <a:pt x="16" y="375"/>
                  </a:lnTo>
                  <a:lnTo>
                    <a:pt x="15" y="373"/>
                  </a:lnTo>
                  <a:lnTo>
                    <a:pt x="11" y="369"/>
                  </a:lnTo>
                  <a:lnTo>
                    <a:pt x="10" y="366"/>
                  </a:lnTo>
                  <a:lnTo>
                    <a:pt x="8" y="362"/>
                  </a:lnTo>
                  <a:lnTo>
                    <a:pt x="6" y="360"/>
                  </a:lnTo>
                  <a:lnTo>
                    <a:pt x="5" y="358"/>
                  </a:lnTo>
                  <a:lnTo>
                    <a:pt x="5" y="355"/>
                  </a:lnTo>
                  <a:lnTo>
                    <a:pt x="5" y="353"/>
                  </a:lnTo>
                  <a:lnTo>
                    <a:pt x="5" y="351"/>
                  </a:lnTo>
                  <a:lnTo>
                    <a:pt x="6" y="349"/>
                  </a:lnTo>
                  <a:lnTo>
                    <a:pt x="6" y="348"/>
                  </a:lnTo>
                  <a:lnTo>
                    <a:pt x="7" y="346"/>
                  </a:lnTo>
                  <a:lnTo>
                    <a:pt x="8" y="345"/>
                  </a:lnTo>
                  <a:lnTo>
                    <a:pt x="10" y="343"/>
                  </a:lnTo>
                  <a:lnTo>
                    <a:pt x="13" y="339"/>
                  </a:lnTo>
                  <a:lnTo>
                    <a:pt x="16" y="336"/>
                  </a:lnTo>
                  <a:lnTo>
                    <a:pt x="18" y="335"/>
                  </a:lnTo>
                  <a:lnTo>
                    <a:pt x="19" y="334"/>
                  </a:lnTo>
                  <a:lnTo>
                    <a:pt x="22" y="332"/>
                  </a:lnTo>
                  <a:lnTo>
                    <a:pt x="24" y="331"/>
                  </a:lnTo>
                  <a:lnTo>
                    <a:pt x="25" y="331"/>
                  </a:lnTo>
                  <a:lnTo>
                    <a:pt x="25" y="330"/>
                  </a:lnTo>
                  <a:lnTo>
                    <a:pt x="26" y="329"/>
                  </a:lnTo>
                  <a:lnTo>
                    <a:pt x="27" y="327"/>
                  </a:lnTo>
                  <a:lnTo>
                    <a:pt x="28" y="325"/>
                  </a:lnTo>
                  <a:lnTo>
                    <a:pt x="28" y="323"/>
                  </a:lnTo>
                  <a:lnTo>
                    <a:pt x="28" y="321"/>
                  </a:lnTo>
                  <a:lnTo>
                    <a:pt x="28" y="320"/>
                  </a:lnTo>
                  <a:lnTo>
                    <a:pt x="28" y="319"/>
                  </a:lnTo>
                  <a:lnTo>
                    <a:pt x="26" y="318"/>
                  </a:lnTo>
                  <a:lnTo>
                    <a:pt x="22" y="315"/>
                  </a:lnTo>
                  <a:lnTo>
                    <a:pt x="21" y="314"/>
                  </a:lnTo>
                  <a:lnTo>
                    <a:pt x="19" y="312"/>
                  </a:lnTo>
                  <a:lnTo>
                    <a:pt x="19" y="311"/>
                  </a:lnTo>
                  <a:lnTo>
                    <a:pt x="18" y="309"/>
                  </a:lnTo>
                  <a:lnTo>
                    <a:pt x="17" y="308"/>
                  </a:lnTo>
                  <a:lnTo>
                    <a:pt x="16" y="306"/>
                  </a:lnTo>
                  <a:lnTo>
                    <a:pt x="16" y="304"/>
                  </a:lnTo>
                  <a:lnTo>
                    <a:pt x="16" y="303"/>
                  </a:lnTo>
                  <a:lnTo>
                    <a:pt x="16" y="303"/>
                  </a:lnTo>
                  <a:lnTo>
                    <a:pt x="16" y="301"/>
                  </a:lnTo>
                  <a:lnTo>
                    <a:pt x="16" y="299"/>
                  </a:lnTo>
                  <a:lnTo>
                    <a:pt x="16" y="298"/>
                  </a:lnTo>
                  <a:lnTo>
                    <a:pt x="16" y="297"/>
                  </a:lnTo>
                  <a:lnTo>
                    <a:pt x="17" y="296"/>
                  </a:lnTo>
                  <a:lnTo>
                    <a:pt x="18" y="295"/>
                  </a:lnTo>
                  <a:lnTo>
                    <a:pt x="20" y="294"/>
                  </a:lnTo>
                  <a:lnTo>
                    <a:pt x="25" y="292"/>
                  </a:lnTo>
                  <a:lnTo>
                    <a:pt x="26" y="291"/>
                  </a:lnTo>
                  <a:lnTo>
                    <a:pt x="27" y="290"/>
                  </a:lnTo>
                  <a:lnTo>
                    <a:pt x="29" y="288"/>
                  </a:lnTo>
                  <a:lnTo>
                    <a:pt x="30" y="287"/>
                  </a:lnTo>
                  <a:lnTo>
                    <a:pt x="30" y="286"/>
                  </a:lnTo>
                  <a:lnTo>
                    <a:pt x="31" y="284"/>
                  </a:lnTo>
                  <a:lnTo>
                    <a:pt x="32" y="283"/>
                  </a:lnTo>
                  <a:lnTo>
                    <a:pt x="32" y="281"/>
                  </a:lnTo>
                  <a:lnTo>
                    <a:pt x="33" y="280"/>
                  </a:lnTo>
                  <a:lnTo>
                    <a:pt x="33" y="280"/>
                  </a:lnTo>
                  <a:lnTo>
                    <a:pt x="33" y="278"/>
                  </a:lnTo>
                  <a:lnTo>
                    <a:pt x="32" y="273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2" y="267"/>
                  </a:lnTo>
                  <a:lnTo>
                    <a:pt x="32" y="264"/>
                  </a:lnTo>
                  <a:lnTo>
                    <a:pt x="33" y="261"/>
                  </a:lnTo>
                  <a:lnTo>
                    <a:pt x="33" y="259"/>
                  </a:lnTo>
                  <a:lnTo>
                    <a:pt x="34" y="258"/>
                  </a:lnTo>
                  <a:lnTo>
                    <a:pt x="35" y="257"/>
                  </a:lnTo>
                  <a:lnTo>
                    <a:pt x="40" y="251"/>
                  </a:lnTo>
                  <a:lnTo>
                    <a:pt x="43" y="249"/>
                  </a:lnTo>
                  <a:lnTo>
                    <a:pt x="44" y="247"/>
                  </a:lnTo>
                  <a:lnTo>
                    <a:pt x="51" y="243"/>
                  </a:lnTo>
                  <a:lnTo>
                    <a:pt x="57" y="238"/>
                  </a:lnTo>
                  <a:lnTo>
                    <a:pt x="59" y="236"/>
                  </a:lnTo>
                  <a:lnTo>
                    <a:pt x="61" y="235"/>
                  </a:lnTo>
                  <a:lnTo>
                    <a:pt x="62" y="233"/>
                  </a:lnTo>
                  <a:lnTo>
                    <a:pt x="64" y="231"/>
                  </a:lnTo>
                  <a:lnTo>
                    <a:pt x="66" y="226"/>
                  </a:lnTo>
                  <a:lnTo>
                    <a:pt x="67" y="220"/>
                  </a:lnTo>
                  <a:lnTo>
                    <a:pt x="69" y="217"/>
                  </a:lnTo>
                  <a:lnTo>
                    <a:pt x="71" y="212"/>
                  </a:lnTo>
                  <a:lnTo>
                    <a:pt x="74" y="208"/>
                  </a:lnTo>
                  <a:lnTo>
                    <a:pt x="76" y="205"/>
                  </a:lnTo>
                  <a:lnTo>
                    <a:pt x="76" y="203"/>
                  </a:lnTo>
                  <a:lnTo>
                    <a:pt x="77" y="199"/>
                  </a:lnTo>
                  <a:lnTo>
                    <a:pt x="78" y="194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9" y="189"/>
                  </a:lnTo>
                  <a:lnTo>
                    <a:pt x="79" y="187"/>
                  </a:lnTo>
                  <a:lnTo>
                    <a:pt x="78" y="185"/>
                  </a:lnTo>
                  <a:lnTo>
                    <a:pt x="78" y="184"/>
                  </a:lnTo>
                  <a:lnTo>
                    <a:pt x="77" y="182"/>
                  </a:lnTo>
                  <a:lnTo>
                    <a:pt x="75" y="180"/>
                  </a:lnTo>
                  <a:lnTo>
                    <a:pt x="72" y="177"/>
                  </a:lnTo>
                  <a:lnTo>
                    <a:pt x="71" y="175"/>
                  </a:lnTo>
                  <a:lnTo>
                    <a:pt x="69" y="172"/>
                  </a:lnTo>
                  <a:lnTo>
                    <a:pt x="66" y="165"/>
                  </a:lnTo>
                  <a:lnTo>
                    <a:pt x="64" y="160"/>
                  </a:lnTo>
                  <a:lnTo>
                    <a:pt x="62" y="156"/>
                  </a:lnTo>
                  <a:lnTo>
                    <a:pt x="59" y="148"/>
                  </a:lnTo>
                  <a:lnTo>
                    <a:pt x="59" y="145"/>
                  </a:lnTo>
                  <a:lnTo>
                    <a:pt x="59" y="144"/>
                  </a:lnTo>
                  <a:lnTo>
                    <a:pt x="60" y="143"/>
                  </a:lnTo>
                  <a:lnTo>
                    <a:pt x="63" y="133"/>
                  </a:lnTo>
                  <a:lnTo>
                    <a:pt x="65" y="129"/>
                  </a:lnTo>
                  <a:lnTo>
                    <a:pt x="66" y="125"/>
                  </a:lnTo>
                  <a:lnTo>
                    <a:pt x="67" y="122"/>
                  </a:lnTo>
                  <a:lnTo>
                    <a:pt x="69" y="120"/>
                  </a:lnTo>
                  <a:lnTo>
                    <a:pt x="75" y="111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6" y="107"/>
                  </a:lnTo>
                  <a:lnTo>
                    <a:pt x="75" y="106"/>
                  </a:lnTo>
                  <a:lnTo>
                    <a:pt x="73" y="100"/>
                  </a:lnTo>
                  <a:lnTo>
                    <a:pt x="70" y="96"/>
                  </a:lnTo>
                  <a:lnTo>
                    <a:pt x="68" y="90"/>
                  </a:lnTo>
                  <a:lnTo>
                    <a:pt x="67" y="88"/>
                  </a:lnTo>
                  <a:lnTo>
                    <a:pt x="67" y="85"/>
                  </a:lnTo>
                  <a:lnTo>
                    <a:pt x="66" y="79"/>
                  </a:lnTo>
                  <a:lnTo>
                    <a:pt x="65" y="76"/>
                  </a:lnTo>
                  <a:lnTo>
                    <a:pt x="65" y="74"/>
                  </a:lnTo>
                  <a:lnTo>
                    <a:pt x="65" y="65"/>
                  </a:lnTo>
                  <a:lnTo>
                    <a:pt x="64" y="63"/>
                  </a:lnTo>
                  <a:lnTo>
                    <a:pt x="64" y="59"/>
                  </a:lnTo>
                  <a:lnTo>
                    <a:pt x="63" y="55"/>
                  </a:lnTo>
                  <a:lnTo>
                    <a:pt x="62" y="53"/>
                  </a:lnTo>
                  <a:lnTo>
                    <a:pt x="62" y="52"/>
                  </a:lnTo>
                  <a:lnTo>
                    <a:pt x="61" y="51"/>
                  </a:lnTo>
                  <a:lnTo>
                    <a:pt x="58" y="48"/>
                  </a:lnTo>
                  <a:lnTo>
                    <a:pt x="57" y="46"/>
                  </a:lnTo>
                  <a:lnTo>
                    <a:pt x="56" y="44"/>
                  </a:lnTo>
                  <a:lnTo>
                    <a:pt x="56" y="43"/>
                  </a:lnTo>
                  <a:lnTo>
                    <a:pt x="55" y="42"/>
                  </a:lnTo>
                  <a:lnTo>
                    <a:pt x="55" y="41"/>
                  </a:lnTo>
                  <a:lnTo>
                    <a:pt x="55" y="40"/>
                  </a:lnTo>
                  <a:lnTo>
                    <a:pt x="55" y="38"/>
                  </a:lnTo>
                  <a:lnTo>
                    <a:pt x="56" y="35"/>
                  </a:lnTo>
                  <a:lnTo>
                    <a:pt x="59" y="25"/>
                  </a:lnTo>
                  <a:lnTo>
                    <a:pt x="60" y="22"/>
                  </a:lnTo>
                  <a:lnTo>
                    <a:pt x="61" y="20"/>
                  </a:lnTo>
                  <a:lnTo>
                    <a:pt x="62" y="20"/>
                  </a:lnTo>
                  <a:lnTo>
                    <a:pt x="63" y="17"/>
                  </a:lnTo>
                  <a:lnTo>
                    <a:pt x="64" y="16"/>
                  </a:lnTo>
                  <a:lnTo>
                    <a:pt x="65" y="15"/>
                  </a:lnTo>
                  <a:lnTo>
                    <a:pt x="66" y="15"/>
                  </a:lnTo>
                  <a:lnTo>
                    <a:pt x="67" y="16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71" y="18"/>
                  </a:lnTo>
                  <a:lnTo>
                    <a:pt x="74" y="19"/>
                  </a:lnTo>
                  <a:lnTo>
                    <a:pt x="77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80" y="19"/>
                  </a:lnTo>
                  <a:lnTo>
                    <a:pt x="81" y="18"/>
                  </a:lnTo>
                  <a:lnTo>
                    <a:pt x="84" y="15"/>
                  </a:lnTo>
                  <a:lnTo>
                    <a:pt x="86" y="12"/>
                  </a:lnTo>
                  <a:lnTo>
                    <a:pt x="87" y="11"/>
                  </a:lnTo>
                  <a:lnTo>
                    <a:pt x="88" y="11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3" y="11"/>
                  </a:lnTo>
                  <a:lnTo>
                    <a:pt x="97" y="11"/>
                  </a:lnTo>
                  <a:lnTo>
                    <a:pt x="98" y="11"/>
                  </a:lnTo>
                  <a:lnTo>
                    <a:pt x="99" y="11"/>
                  </a:lnTo>
                  <a:lnTo>
                    <a:pt x="101" y="10"/>
                  </a:lnTo>
                  <a:lnTo>
                    <a:pt x="101" y="9"/>
                  </a:lnTo>
                  <a:lnTo>
                    <a:pt x="102" y="8"/>
                  </a:lnTo>
                  <a:lnTo>
                    <a:pt x="103" y="7"/>
                  </a:lnTo>
                  <a:lnTo>
                    <a:pt x="105" y="5"/>
                  </a:lnTo>
                  <a:lnTo>
                    <a:pt x="106" y="3"/>
                  </a:lnTo>
                  <a:lnTo>
                    <a:pt x="109" y="1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1" name="Freeform 24">
              <a:extLst>
                <a:ext uri="{FF2B5EF4-FFF2-40B4-BE49-F238E27FC236}">
                  <a16:creationId xmlns:a16="http://schemas.microsoft.com/office/drawing/2014/main" id="{757BCC3B-D1D5-4180-91C2-CBBE24FE5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4" y="2684"/>
              <a:ext cx="415" cy="589"/>
            </a:xfrm>
            <a:custGeom>
              <a:avLst/>
              <a:gdLst>
                <a:gd name="T0" fmla="*/ 312 w 415"/>
                <a:gd name="T1" fmla="*/ 13 h 589"/>
                <a:gd name="T2" fmla="*/ 345 w 415"/>
                <a:gd name="T3" fmla="*/ 37 h 589"/>
                <a:gd name="T4" fmla="*/ 363 w 415"/>
                <a:gd name="T5" fmla="*/ 31 h 589"/>
                <a:gd name="T6" fmla="*/ 378 w 415"/>
                <a:gd name="T7" fmla="*/ 57 h 589"/>
                <a:gd name="T8" fmla="*/ 400 w 415"/>
                <a:gd name="T9" fmla="*/ 79 h 589"/>
                <a:gd name="T10" fmla="*/ 415 w 415"/>
                <a:gd name="T11" fmla="*/ 88 h 589"/>
                <a:gd name="T12" fmla="*/ 408 w 415"/>
                <a:gd name="T13" fmla="*/ 106 h 589"/>
                <a:gd name="T14" fmla="*/ 397 w 415"/>
                <a:gd name="T15" fmla="*/ 117 h 589"/>
                <a:gd name="T16" fmla="*/ 409 w 415"/>
                <a:gd name="T17" fmla="*/ 151 h 589"/>
                <a:gd name="T18" fmla="*/ 403 w 415"/>
                <a:gd name="T19" fmla="*/ 194 h 589"/>
                <a:gd name="T20" fmla="*/ 394 w 415"/>
                <a:gd name="T21" fmla="*/ 230 h 589"/>
                <a:gd name="T22" fmla="*/ 385 w 415"/>
                <a:gd name="T23" fmla="*/ 277 h 589"/>
                <a:gd name="T24" fmla="*/ 405 w 415"/>
                <a:gd name="T25" fmla="*/ 298 h 589"/>
                <a:gd name="T26" fmla="*/ 398 w 415"/>
                <a:gd name="T27" fmla="*/ 325 h 589"/>
                <a:gd name="T28" fmla="*/ 407 w 415"/>
                <a:gd name="T29" fmla="*/ 354 h 589"/>
                <a:gd name="T30" fmla="*/ 393 w 415"/>
                <a:gd name="T31" fmla="*/ 361 h 589"/>
                <a:gd name="T32" fmla="*/ 365 w 415"/>
                <a:gd name="T33" fmla="*/ 375 h 589"/>
                <a:gd name="T34" fmla="*/ 378 w 415"/>
                <a:gd name="T35" fmla="*/ 397 h 589"/>
                <a:gd name="T36" fmla="*/ 365 w 415"/>
                <a:gd name="T37" fmla="*/ 439 h 589"/>
                <a:gd name="T38" fmla="*/ 331 w 415"/>
                <a:gd name="T39" fmla="*/ 460 h 589"/>
                <a:gd name="T40" fmla="*/ 286 w 415"/>
                <a:gd name="T41" fmla="*/ 458 h 589"/>
                <a:gd name="T42" fmla="*/ 275 w 415"/>
                <a:gd name="T43" fmla="*/ 466 h 589"/>
                <a:gd name="T44" fmla="*/ 289 w 415"/>
                <a:gd name="T45" fmla="*/ 499 h 589"/>
                <a:gd name="T46" fmla="*/ 310 w 415"/>
                <a:gd name="T47" fmla="*/ 517 h 589"/>
                <a:gd name="T48" fmla="*/ 295 w 415"/>
                <a:gd name="T49" fmla="*/ 545 h 589"/>
                <a:gd name="T50" fmla="*/ 313 w 415"/>
                <a:gd name="T51" fmla="*/ 575 h 589"/>
                <a:gd name="T52" fmla="*/ 318 w 415"/>
                <a:gd name="T53" fmla="*/ 589 h 589"/>
                <a:gd name="T54" fmla="*/ 294 w 415"/>
                <a:gd name="T55" fmla="*/ 577 h 589"/>
                <a:gd name="T56" fmla="*/ 267 w 415"/>
                <a:gd name="T57" fmla="*/ 579 h 589"/>
                <a:gd name="T58" fmla="*/ 244 w 415"/>
                <a:gd name="T59" fmla="*/ 557 h 589"/>
                <a:gd name="T60" fmla="*/ 222 w 415"/>
                <a:gd name="T61" fmla="*/ 552 h 589"/>
                <a:gd name="T62" fmla="*/ 184 w 415"/>
                <a:gd name="T63" fmla="*/ 529 h 589"/>
                <a:gd name="T64" fmla="*/ 164 w 415"/>
                <a:gd name="T65" fmla="*/ 503 h 589"/>
                <a:gd name="T66" fmla="*/ 140 w 415"/>
                <a:gd name="T67" fmla="*/ 466 h 589"/>
                <a:gd name="T68" fmla="*/ 92 w 415"/>
                <a:gd name="T69" fmla="*/ 448 h 589"/>
                <a:gd name="T70" fmla="*/ 66 w 415"/>
                <a:gd name="T71" fmla="*/ 426 h 589"/>
                <a:gd name="T72" fmla="*/ 49 w 415"/>
                <a:gd name="T73" fmla="*/ 399 h 589"/>
                <a:gd name="T74" fmla="*/ 21 w 415"/>
                <a:gd name="T75" fmla="*/ 405 h 589"/>
                <a:gd name="T76" fmla="*/ 8 w 415"/>
                <a:gd name="T77" fmla="*/ 374 h 589"/>
                <a:gd name="T78" fmla="*/ 4 w 415"/>
                <a:gd name="T79" fmla="*/ 336 h 589"/>
                <a:gd name="T80" fmla="*/ 24 w 415"/>
                <a:gd name="T81" fmla="*/ 303 h 589"/>
                <a:gd name="T82" fmla="*/ 43 w 415"/>
                <a:gd name="T83" fmla="*/ 287 h 589"/>
                <a:gd name="T84" fmla="*/ 35 w 415"/>
                <a:gd name="T85" fmla="*/ 242 h 589"/>
                <a:gd name="T86" fmla="*/ 50 w 415"/>
                <a:gd name="T87" fmla="*/ 225 h 589"/>
                <a:gd name="T88" fmla="*/ 54 w 415"/>
                <a:gd name="T89" fmla="*/ 184 h 589"/>
                <a:gd name="T90" fmla="*/ 47 w 415"/>
                <a:gd name="T91" fmla="*/ 158 h 589"/>
                <a:gd name="T92" fmla="*/ 43 w 415"/>
                <a:gd name="T93" fmla="*/ 126 h 589"/>
                <a:gd name="T94" fmla="*/ 56 w 415"/>
                <a:gd name="T95" fmla="*/ 97 h 589"/>
                <a:gd name="T96" fmla="*/ 68 w 415"/>
                <a:gd name="T97" fmla="*/ 81 h 589"/>
                <a:gd name="T98" fmla="*/ 100 w 415"/>
                <a:gd name="T99" fmla="*/ 92 h 589"/>
                <a:gd name="T100" fmla="*/ 132 w 415"/>
                <a:gd name="T101" fmla="*/ 92 h 589"/>
                <a:gd name="T102" fmla="*/ 146 w 415"/>
                <a:gd name="T103" fmla="*/ 94 h 589"/>
                <a:gd name="T104" fmla="*/ 151 w 415"/>
                <a:gd name="T105" fmla="*/ 109 h 589"/>
                <a:gd name="T106" fmla="*/ 189 w 415"/>
                <a:gd name="T107" fmla="*/ 122 h 589"/>
                <a:gd name="T108" fmla="*/ 207 w 415"/>
                <a:gd name="T109" fmla="*/ 105 h 589"/>
                <a:gd name="T110" fmla="*/ 252 w 415"/>
                <a:gd name="T111" fmla="*/ 80 h 589"/>
                <a:gd name="T112" fmla="*/ 255 w 415"/>
                <a:gd name="T113" fmla="*/ 53 h 589"/>
                <a:gd name="T114" fmla="*/ 258 w 415"/>
                <a:gd name="T115" fmla="*/ 25 h 589"/>
                <a:gd name="T116" fmla="*/ 277 w 415"/>
                <a:gd name="T117" fmla="*/ 5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5" h="589">
                  <a:moveTo>
                    <a:pt x="289" y="0"/>
                  </a:moveTo>
                  <a:lnTo>
                    <a:pt x="289" y="0"/>
                  </a:lnTo>
                  <a:lnTo>
                    <a:pt x="290" y="1"/>
                  </a:lnTo>
                  <a:lnTo>
                    <a:pt x="291" y="1"/>
                  </a:lnTo>
                  <a:lnTo>
                    <a:pt x="292" y="1"/>
                  </a:lnTo>
                  <a:lnTo>
                    <a:pt x="292" y="2"/>
                  </a:lnTo>
                  <a:lnTo>
                    <a:pt x="292" y="3"/>
                  </a:lnTo>
                  <a:lnTo>
                    <a:pt x="293" y="3"/>
                  </a:lnTo>
                  <a:lnTo>
                    <a:pt x="295" y="5"/>
                  </a:lnTo>
                  <a:lnTo>
                    <a:pt x="299" y="7"/>
                  </a:lnTo>
                  <a:lnTo>
                    <a:pt x="312" y="13"/>
                  </a:lnTo>
                  <a:lnTo>
                    <a:pt x="315" y="14"/>
                  </a:lnTo>
                  <a:lnTo>
                    <a:pt x="318" y="17"/>
                  </a:lnTo>
                  <a:lnTo>
                    <a:pt x="322" y="19"/>
                  </a:lnTo>
                  <a:lnTo>
                    <a:pt x="324" y="22"/>
                  </a:lnTo>
                  <a:lnTo>
                    <a:pt x="327" y="24"/>
                  </a:lnTo>
                  <a:lnTo>
                    <a:pt x="333" y="29"/>
                  </a:lnTo>
                  <a:lnTo>
                    <a:pt x="336" y="32"/>
                  </a:lnTo>
                  <a:lnTo>
                    <a:pt x="338" y="34"/>
                  </a:lnTo>
                  <a:lnTo>
                    <a:pt x="340" y="35"/>
                  </a:lnTo>
                  <a:lnTo>
                    <a:pt x="343" y="36"/>
                  </a:lnTo>
                  <a:lnTo>
                    <a:pt x="345" y="37"/>
                  </a:lnTo>
                  <a:lnTo>
                    <a:pt x="346" y="37"/>
                  </a:lnTo>
                  <a:lnTo>
                    <a:pt x="347" y="38"/>
                  </a:lnTo>
                  <a:lnTo>
                    <a:pt x="348" y="38"/>
                  </a:lnTo>
                  <a:lnTo>
                    <a:pt x="349" y="37"/>
                  </a:lnTo>
                  <a:lnTo>
                    <a:pt x="351" y="37"/>
                  </a:lnTo>
                  <a:lnTo>
                    <a:pt x="354" y="35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61" y="31"/>
                  </a:lnTo>
                  <a:lnTo>
                    <a:pt x="362" y="31"/>
                  </a:lnTo>
                  <a:lnTo>
                    <a:pt x="363" y="31"/>
                  </a:lnTo>
                  <a:lnTo>
                    <a:pt x="364" y="31"/>
                  </a:lnTo>
                  <a:lnTo>
                    <a:pt x="366" y="32"/>
                  </a:lnTo>
                  <a:lnTo>
                    <a:pt x="366" y="33"/>
                  </a:lnTo>
                  <a:lnTo>
                    <a:pt x="367" y="33"/>
                  </a:lnTo>
                  <a:lnTo>
                    <a:pt x="368" y="34"/>
                  </a:lnTo>
                  <a:lnTo>
                    <a:pt x="368" y="35"/>
                  </a:lnTo>
                  <a:lnTo>
                    <a:pt x="368" y="37"/>
                  </a:lnTo>
                  <a:lnTo>
                    <a:pt x="370" y="42"/>
                  </a:lnTo>
                  <a:lnTo>
                    <a:pt x="372" y="45"/>
                  </a:lnTo>
                  <a:lnTo>
                    <a:pt x="375" y="49"/>
                  </a:lnTo>
                  <a:lnTo>
                    <a:pt x="378" y="57"/>
                  </a:lnTo>
                  <a:lnTo>
                    <a:pt x="381" y="63"/>
                  </a:lnTo>
                  <a:lnTo>
                    <a:pt x="385" y="69"/>
                  </a:lnTo>
                  <a:lnTo>
                    <a:pt x="386" y="71"/>
                  </a:lnTo>
                  <a:lnTo>
                    <a:pt x="388" y="73"/>
                  </a:lnTo>
                  <a:lnTo>
                    <a:pt x="389" y="74"/>
                  </a:lnTo>
                  <a:lnTo>
                    <a:pt x="391" y="75"/>
                  </a:lnTo>
                  <a:lnTo>
                    <a:pt x="393" y="77"/>
                  </a:lnTo>
                  <a:lnTo>
                    <a:pt x="395" y="77"/>
                  </a:lnTo>
                  <a:lnTo>
                    <a:pt x="396" y="78"/>
                  </a:lnTo>
                  <a:lnTo>
                    <a:pt x="399" y="79"/>
                  </a:lnTo>
                  <a:lnTo>
                    <a:pt x="400" y="79"/>
                  </a:lnTo>
                  <a:lnTo>
                    <a:pt x="402" y="79"/>
                  </a:lnTo>
                  <a:lnTo>
                    <a:pt x="403" y="79"/>
                  </a:lnTo>
                  <a:lnTo>
                    <a:pt x="405" y="79"/>
                  </a:lnTo>
                  <a:lnTo>
                    <a:pt x="407" y="78"/>
                  </a:lnTo>
                  <a:lnTo>
                    <a:pt x="409" y="78"/>
                  </a:lnTo>
                  <a:lnTo>
                    <a:pt x="410" y="78"/>
                  </a:lnTo>
                  <a:lnTo>
                    <a:pt x="414" y="76"/>
                  </a:lnTo>
                  <a:lnTo>
                    <a:pt x="413" y="76"/>
                  </a:lnTo>
                  <a:lnTo>
                    <a:pt x="413" y="77"/>
                  </a:lnTo>
                  <a:lnTo>
                    <a:pt x="414" y="78"/>
                  </a:lnTo>
                  <a:lnTo>
                    <a:pt x="415" y="88"/>
                  </a:lnTo>
                  <a:lnTo>
                    <a:pt x="415" y="91"/>
                  </a:lnTo>
                  <a:lnTo>
                    <a:pt x="415" y="93"/>
                  </a:lnTo>
                  <a:lnTo>
                    <a:pt x="415" y="95"/>
                  </a:lnTo>
                  <a:lnTo>
                    <a:pt x="415" y="97"/>
                  </a:lnTo>
                  <a:lnTo>
                    <a:pt x="415" y="98"/>
                  </a:lnTo>
                  <a:lnTo>
                    <a:pt x="414" y="100"/>
                  </a:lnTo>
                  <a:lnTo>
                    <a:pt x="414" y="102"/>
                  </a:lnTo>
                  <a:lnTo>
                    <a:pt x="413" y="103"/>
                  </a:lnTo>
                  <a:lnTo>
                    <a:pt x="412" y="104"/>
                  </a:lnTo>
                  <a:lnTo>
                    <a:pt x="410" y="105"/>
                  </a:lnTo>
                  <a:lnTo>
                    <a:pt x="408" y="106"/>
                  </a:lnTo>
                  <a:lnTo>
                    <a:pt x="405" y="107"/>
                  </a:lnTo>
                  <a:lnTo>
                    <a:pt x="403" y="108"/>
                  </a:lnTo>
                  <a:lnTo>
                    <a:pt x="401" y="109"/>
                  </a:lnTo>
                  <a:lnTo>
                    <a:pt x="399" y="110"/>
                  </a:lnTo>
                  <a:lnTo>
                    <a:pt x="398" y="111"/>
                  </a:lnTo>
                  <a:lnTo>
                    <a:pt x="398" y="112"/>
                  </a:lnTo>
                  <a:lnTo>
                    <a:pt x="397" y="113"/>
                  </a:lnTo>
                  <a:lnTo>
                    <a:pt x="397" y="115"/>
                  </a:lnTo>
                  <a:lnTo>
                    <a:pt x="397" y="115"/>
                  </a:lnTo>
                  <a:lnTo>
                    <a:pt x="397" y="116"/>
                  </a:lnTo>
                  <a:lnTo>
                    <a:pt x="397" y="117"/>
                  </a:lnTo>
                  <a:lnTo>
                    <a:pt x="398" y="119"/>
                  </a:lnTo>
                  <a:lnTo>
                    <a:pt x="399" y="121"/>
                  </a:lnTo>
                  <a:lnTo>
                    <a:pt x="403" y="129"/>
                  </a:lnTo>
                  <a:lnTo>
                    <a:pt x="404" y="131"/>
                  </a:lnTo>
                  <a:lnTo>
                    <a:pt x="405" y="134"/>
                  </a:lnTo>
                  <a:lnTo>
                    <a:pt x="406" y="136"/>
                  </a:lnTo>
                  <a:lnTo>
                    <a:pt x="407" y="138"/>
                  </a:lnTo>
                  <a:lnTo>
                    <a:pt x="408" y="141"/>
                  </a:lnTo>
                  <a:lnTo>
                    <a:pt x="408" y="144"/>
                  </a:lnTo>
                  <a:lnTo>
                    <a:pt x="409" y="148"/>
                  </a:lnTo>
                  <a:lnTo>
                    <a:pt x="409" y="151"/>
                  </a:lnTo>
                  <a:lnTo>
                    <a:pt x="409" y="154"/>
                  </a:lnTo>
                  <a:lnTo>
                    <a:pt x="408" y="161"/>
                  </a:lnTo>
                  <a:lnTo>
                    <a:pt x="407" y="164"/>
                  </a:lnTo>
                  <a:lnTo>
                    <a:pt x="407" y="167"/>
                  </a:lnTo>
                  <a:lnTo>
                    <a:pt x="408" y="173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6" y="183"/>
                  </a:lnTo>
                  <a:lnTo>
                    <a:pt x="406" y="186"/>
                  </a:lnTo>
                  <a:lnTo>
                    <a:pt x="404" y="190"/>
                  </a:lnTo>
                  <a:lnTo>
                    <a:pt x="403" y="194"/>
                  </a:lnTo>
                  <a:lnTo>
                    <a:pt x="400" y="202"/>
                  </a:lnTo>
                  <a:lnTo>
                    <a:pt x="397" y="210"/>
                  </a:lnTo>
                  <a:lnTo>
                    <a:pt x="394" y="217"/>
                  </a:lnTo>
                  <a:lnTo>
                    <a:pt x="393" y="219"/>
                  </a:lnTo>
                  <a:lnTo>
                    <a:pt x="393" y="220"/>
                  </a:lnTo>
                  <a:lnTo>
                    <a:pt x="393" y="222"/>
                  </a:lnTo>
                  <a:lnTo>
                    <a:pt x="393" y="223"/>
                  </a:lnTo>
                  <a:lnTo>
                    <a:pt x="394" y="226"/>
                  </a:lnTo>
                  <a:lnTo>
                    <a:pt x="394" y="227"/>
                  </a:lnTo>
                  <a:lnTo>
                    <a:pt x="394" y="228"/>
                  </a:lnTo>
                  <a:lnTo>
                    <a:pt x="394" y="230"/>
                  </a:lnTo>
                  <a:lnTo>
                    <a:pt x="391" y="239"/>
                  </a:lnTo>
                  <a:lnTo>
                    <a:pt x="391" y="245"/>
                  </a:lnTo>
                  <a:lnTo>
                    <a:pt x="390" y="249"/>
                  </a:lnTo>
                  <a:lnTo>
                    <a:pt x="388" y="253"/>
                  </a:lnTo>
                  <a:lnTo>
                    <a:pt x="386" y="260"/>
                  </a:lnTo>
                  <a:lnTo>
                    <a:pt x="385" y="262"/>
                  </a:lnTo>
                  <a:lnTo>
                    <a:pt x="384" y="266"/>
                  </a:lnTo>
                  <a:lnTo>
                    <a:pt x="384" y="270"/>
                  </a:lnTo>
                  <a:lnTo>
                    <a:pt x="384" y="273"/>
                  </a:lnTo>
                  <a:lnTo>
                    <a:pt x="384" y="275"/>
                  </a:lnTo>
                  <a:lnTo>
                    <a:pt x="385" y="277"/>
                  </a:lnTo>
                  <a:lnTo>
                    <a:pt x="385" y="278"/>
                  </a:lnTo>
                  <a:lnTo>
                    <a:pt x="386" y="279"/>
                  </a:lnTo>
                  <a:lnTo>
                    <a:pt x="386" y="281"/>
                  </a:lnTo>
                  <a:lnTo>
                    <a:pt x="387" y="282"/>
                  </a:lnTo>
                  <a:lnTo>
                    <a:pt x="389" y="284"/>
                  </a:lnTo>
                  <a:lnTo>
                    <a:pt x="391" y="286"/>
                  </a:lnTo>
                  <a:lnTo>
                    <a:pt x="394" y="289"/>
                  </a:lnTo>
                  <a:lnTo>
                    <a:pt x="400" y="293"/>
                  </a:lnTo>
                  <a:lnTo>
                    <a:pt x="402" y="295"/>
                  </a:lnTo>
                  <a:lnTo>
                    <a:pt x="403" y="296"/>
                  </a:lnTo>
                  <a:lnTo>
                    <a:pt x="405" y="298"/>
                  </a:lnTo>
                  <a:lnTo>
                    <a:pt x="406" y="301"/>
                  </a:lnTo>
                  <a:lnTo>
                    <a:pt x="409" y="305"/>
                  </a:lnTo>
                  <a:lnTo>
                    <a:pt x="409" y="306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09" y="308"/>
                  </a:lnTo>
                  <a:lnTo>
                    <a:pt x="409" y="309"/>
                  </a:lnTo>
                  <a:lnTo>
                    <a:pt x="402" y="319"/>
                  </a:lnTo>
                  <a:lnTo>
                    <a:pt x="400" y="321"/>
                  </a:lnTo>
                  <a:lnTo>
                    <a:pt x="399" y="323"/>
                  </a:lnTo>
                  <a:lnTo>
                    <a:pt x="398" y="325"/>
                  </a:lnTo>
                  <a:lnTo>
                    <a:pt x="397" y="327"/>
                  </a:lnTo>
                  <a:lnTo>
                    <a:pt x="397" y="329"/>
                  </a:lnTo>
                  <a:lnTo>
                    <a:pt x="397" y="330"/>
                  </a:lnTo>
                  <a:lnTo>
                    <a:pt x="397" y="331"/>
                  </a:lnTo>
                  <a:lnTo>
                    <a:pt x="397" y="333"/>
                  </a:lnTo>
                  <a:lnTo>
                    <a:pt x="398" y="335"/>
                  </a:lnTo>
                  <a:lnTo>
                    <a:pt x="399" y="338"/>
                  </a:lnTo>
                  <a:lnTo>
                    <a:pt x="401" y="341"/>
                  </a:lnTo>
                  <a:lnTo>
                    <a:pt x="405" y="351"/>
                  </a:lnTo>
                  <a:lnTo>
                    <a:pt x="406" y="353"/>
                  </a:lnTo>
                  <a:lnTo>
                    <a:pt x="407" y="354"/>
                  </a:lnTo>
                  <a:lnTo>
                    <a:pt x="407" y="355"/>
                  </a:lnTo>
                  <a:lnTo>
                    <a:pt x="407" y="357"/>
                  </a:lnTo>
                  <a:lnTo>
                    <a:pt x="407" y="358"/>
                  </a:lnTo>
                  <a:lnTo>
                    <a:pt x="405" y="359"/>
                  </a:lnTo>
                  <a:lnTo>
                    <a:pt x="404" y="360"/>
                  </a:lnTo>
                  <a:lnTo>
                    <a:pt x="403" y="360"/>
                  </a:lnTo>
                  <a:lnTo>
                    <a:pt x="402" y="360"/>
                  </a:lnTo>
                  <a:lnTo>
                    <a:pt x="399" y="360"/>
                  </a:lnTo>
                  <a:lnTo>
                    <a:pt x="397" y="360"/>
                  </a:lnTo>
                  <a:lnTo>
                    <a:pt x="396" y="360"/>
                  </a:lnTo>
                  <a:lnTo>
                    <a:pt x="393" y="361"/>
                  </a:lnTo>
                  <a:lnTo>
                    <a:pt x="391" y="362"/>
                  </a:lnTo>
                  <a:lnTo>
                    <a:pt x="380" y="364"/>
                  </a:lnTo>
                  <a:lnTo>
                    <a:pt x="376" y="365"/>
                  </a:lnTo>
                  <a:lnTo>
                    <a:pt x="373" y="366"/>
                  </a:lnTo>
                  <a:lnTo>
                    <a:pt x="370" y="367"/>
                  </a:lnTo>
                  <a:lnTo>
                    <a:pt x="368" y="369"/>
                  </a:lnTo>
                  <a:lnTo>
                    <a:pt x="367" y="371"/>
                  </a:lnTo>
                  <a:lnTo>
                    <a:pt x="366" y="372"/>
                  </a:lnTo>
                  <a:lnTo>
                    <a:pt x="365" y="372"/>
                  </a:lnTo>
                  <a:lnTo>
                    <a:pt x="365" y="374"/>
                  </a:lnTo>
                  <a:lnTo>
                    <a:pt x="365" y="375"/>
                  </a:lnTo>
                  <a:lnTo>
                    <a:pt x="366" y="376"/>
                  </a:lnTo>
                  <a:lnTo>
                    <a:pt x="367" y="379"/>
                  </a:lnTo>
                  <a:lnTo>
                    <a:pt x="368" y="381"/>
                  </a:lnTo>
                  <a:lnTo>
                    <a:pt x="368" y="382"/>
                  </a:lnTo>
                  <a:lnTo>
                    <a:pt x="373" y="387"/>
                  </a:lnTo>
                  <a:lnTo>
                    <a:pt x="376" y="390"/>
                  </a:lnTo>
                  <a:lnTo>
                    <a:pt x="377" y="392"/>
                  </a:lnTo>
                  <a:lnTo>
                    <a:pt x="377" y="393"/>
                  </a:lnTo>
                  <a:lnTo>
                    <a:pt x="378" y="394"/>
                  </a:lnTo>
                  <a:lnTo>
                    <a:pt x="378" y="396"/>
                  </a:lnTo>
                  <a:lnTo>
                    <a:pt x="378" y="397"/>
                  </a:lnTo>
                  <a:lnTo>
                    <a:pt x="378" y="398"/>
                  </a:lnTo>
                  <a:lnTo>
                    <a:pt x="378" y="399"/>
                  </a:lnTo>
                  <a:lnTo>
                    <a:pt x="376" y="403"/>
                  </a:lnTo>
                  <a:lnTo>
                    <a:pt x="375" y="406"/>
                  </a:lnTo>
                  <a:lnTo>
                    <a:pt x="371" y="413"/>
                  </a:lnTo>
                  <a:lnTo>
                    <a:pt x="370" y="416"/>
                  </a:lnTo>
                  <a:lnTo>
                    <a:pt x="368" y="421"/>
                  </a:lnTo>
                  <a:lnTo>
                    <a:pt x="368" y="422"/>
                  </a:lnTo>
                  <a:lnTo>
                    <a:pt x="367" y="428"/>
                  </a:lnTo>
                  <a:lnTo>
                    <a:pt x="366" y="436"/>
                  </a:lnTo>
                  <a:lnTo>
                    <a:pt x="365" y="439"/>
                  </a:lnTo>
                  <a:lnTo>
                    <a:pt x="364" y="441"/>
                  </a:lnTo>
                  <a:lnTo>
                    <a:pt x="363" y="443"/>
                  </a:lnTo>
                  <a:lnTo>
                    <a:pt x="362" y="443"/>
                  </a:lnTo>
                  <a:lnTo>
                    <a:pt x="361" y="444"/>
                  </a:lnTo>
                  <a:lnTo>
                    <a:pt x="359" y="446"/>
                  </a:lnTo>
                  <a:lnTo>
                    <a:pt x="353" y="449"/>
                  </a:lnTo>
                  <a:lnTo>
                    <a:pt x="346" y="454"/>
                  </a:lnTo>
                  <a:lnTo>
                    <a:pt x="344" y="455"/>
                  </a:lnTo>
                  <a:lnTo>
                    <a:pt x="337" y="458"/>
                  </a:lnTo>
                  <a:lnTo>
                    <a:pt x="334" y="459"/>
                  </a:lnTo>
                  <a:lnTo>
                    <a:pt x="331" y="460"/>
                  </a:lnTo>
                  <a:lnTo>
                    <a:pt x="318" y="464"/>
                  </a:lnTo>
                  <a:lnTo>
                    <a:pt x="315" y="465"/>
                  </a:lnTo>
                  <a:lnTo>
                    <a:pt x="312" y="465"/>
                  </a:lnTo>
                  <a:lnTo>
                    <a:pt x="309" y="464"/>
                  </a:lnTo>
                  <a:lnTo>
                    <a:pt x="305" y="464"/>
                  </a:lnTo>
                  <a:lnTo>
                    <a:pt x="302" y="463"/>
                  </a:lnTo>
                  <a:lnTo>
                    <a:pt x="298" y="462"/>
                  </a:lnTo>
                  <a:lnTo>
                    <a:pt x="295" y="461"/>
                  </a:lnTo>
                  <a:lnTo>
                    <a:pt x="289" y="459"/>
                  </a:lnTo>
                  <a:lnTo>
                    <a:pt x="288" y="458"/>
                  </a:lnTo>
                  <a:lnTo>
                    <a:pt x="286" y="458"/>
                  </a:lnTo>
                  <a:lnTo>
                    <a:pt x="284" y="457"/>
                  </a:lnTo>
                  <a:lnTo>
                    <a:pt x="283" y="457"/>
                  </a:lnTo>
                  <a:lnTo>
                    <a:pt x="281" y="458"/>
                  </a:lnTo>
                  <a:lnTo>
                    <a:pt x="280" y="458"/>
                  </a:lnTo>
                  <a:lnTo>
                    <a:pt x="278" y="459"/>
                  </a:lnTo>
                  <a:lnTo>
                    <a:pt x="277" y="460"/>
                  </a:lnTo>
                  <a:lnTo>
                    <a:pt x="277" y="461"/>
                  </a:lnTo>
                  <a:lnTo>
                    <a:pt x="276" y="462"/>
                  </a:lnTo>
                  <a:lnTo>
                    <a:pt x="276" y="463"/>
                  </a:lnTo>
                  <a:lnTo>
                    <a:pt x="275" y="465"/>
                  </a:lnTo>
                  <a:lnTo>
                    <a:pt x="275" y="466"/>
                  </a:lnTo>
                  <a:lnTo>
                    <a:pt x="275" y="466"/>
                  </a:lnTo>
                  <a:lnTo>
                    <a:pt x="275" y="468"/>
                  </a:lnTo>
                  <a:lnTo>
                    <a:pt x="276" y="472"/>
                  </a:lnTo>
                  <a:lnTo>
                    <a:pt x="277" y="479"/>
                  </a:lnTo>
                  <a:lnTo>
                    <a:pt x="278" y="482"/>
                  </a:lnTo>
                  <a:lnTo>
                    <a:pt x="280" y="487"/>
                  </a:lnTo>
                  <a:lnTo>
                    <a:pt x="283" y="490"/>
                  </a:lnTo>
                  <a:lnTo>
                    <a:pt x="285" y="494"/>
                  </a:lnTo>
                  <a:lnTo>
                    <a:pt x="287" y="496"/>
                  </a:lnTo>
                  <a:lnTo>
                    <a:pt x="288" y="498"/>
                  </a:lnTo>
                  <a:lnTo>
                    <a:pt x="289" y="499"/>
                  </a:lnTo>
                  <a:lnTo>
                    <a:pt x="290" y="500"/>
                  </a:lnTo>
                  <a:lnTo>
                    <a:pt x="292" y="501"/>
                  </a:lnTo>
                  <a:lnTo>
                    <a:pt x="297" y="504"/>
                  </a:lnTo>
                  <a:lnTo>
                    <a:pt x="299" y="505"/>
                  </a:lnTo>
                  <a:lnTo>
                    <a:pt x="302" y="508"/>
                  </a:lnTo>
                  <a:lnTo>
                    <a:pt x="306" y="510"/>
                  </a:lnTo>
                  <a:lnTo>
                    <a:pt x="307" y="511"/>
                  </a:lnTo>
                  <a:lnTo>
                    <a:pt x="308" y="512"/>
                  </a:lnTo>
                  <a:lnTo>
                    <a:pt x="309" y="513"/>
                  </a:lnTo>
                  <a:lnTo>
                    <a:pt x="310" y="515"/>
                  </a:lnTo>
                  <a:lnTo>
                    <a:pt x="310" y="517"/>
                  </a:lnTo>
                  <a:lnTo>
                    <a:pt x="310" y="519"/>
                  </a:lnTo>
                  <a:lnTo>
                    <a:pt x="310" y="521"/>
                  </a:lnTo>
                  <a:lnTo>
                    <a:pt x="309" y="523"/>
                  </a:lnTo>
                  <a:lnTo>
                    <a:pt x="309" y="524"/>
                  </a:lnTo>
                  <a:lnTo>
                    <a:pt x="307" y="526"/>
                  </a:lnTo>
                  <a:lnTo>
                    <a:pt x="300" y="534"/>
                  </a:lnTo>
                  <a:lnTo>
                    <a:pt x="299" y="536"/>
                  </a:lnTo>
                  <a:lnTo>
                    <a:pt x="297" y="539"/>
                  </a:lnTo>
                  <a:lnTo>
                    <a:pt x="296" y="541"/>
                  </a:lnTo>
                  <a:lnTo>
                    <a:pt x="295" y="543"/>
                  </a:lnTo>
                  <a:lnTo>
                    <a:pt x="295" y="545"/>
                  </a:lnTo>
                  <a:lnTo>
                    <a:pt x="295" y="547"/>
                  </a:lnTo>
                  <a:lnTo>
                    <a:pt x="295" y="549"/>
                  </a:lnTo>
                  <a:lnTo>
                    <a:pt x="296" y="551"/>
                  </a:lnTo>
                  <a:lnTo>
                    <a:pt x="297" y="554"/>
                  </a:lnTo>
                  <a:lnTo>
                    <a:pt x="298" y="556"/>
                  </a:lnTo>
                  <a:lnTo>
                    <a:pt x="299" y="557"/>
                  </a:lnTo>
                  <a:lnTo>
                    <a:pt x="300" y="559"/>
                  </a:lnTo>
                  <a:lnTo>
                    <a:pt x="302" y="563"/>
                  </a:lnTo>
                  <a:lnTo>
                    <a:pt x="306" y="568"/>
                  </a:lnTo>
                  <a:lnTo>
                    <a:pt x="308" y="569"/>
                  </a:lnTo>
                  <a:lnTo>
                    <a:pt x="313" y="575"/>
                  </a:lnTo>
                  <a:lnTo>
                    <a:pt x="319" y="579"/>
                  </a:lnTo>
                  <a:lnTo>
                    <a:pt x="320" y="580"/>
                  </a:lnTo>
                  <a:lnTo>
                    <a:pt x="321" y="582"/>
                  </a:lnTo>
                  <a:lnTo>
                    <a:pt x="322" y="583"/>
                  </a:lnTo>
                  <a:lnTo>
                    <a:pt x="323" y="585"/>
                  </a:lnTo>
                  <a:lnTo>
                    <a:pt x="323" y="586"/>
                  </a:lnTo>
                  <a:lnTo>
                    <a:pt x="322" y="587"/>
                  </a:lnTo>
                  <a:lnTo>
                    <a:pt x="322" y="588"/>
                  </a:lnTo>
                  <a:lnTo>
                    <a:pt x="321" y="588"/>
                  </a:lnTo>
                  <a:lnTo>
                    <a:pt x="320" y="589"/>
                  </a:lnTo>
                  <a:lnTo>
                    <a:pt x="318" y="589"/>
                  </a:lnTo>
                  <a:lnTo>
                    <a:pt x="316" y="588"/>
                  </a:lnTo>
                  <a:lnTo>
                    <a:pt x="315" y="587"/>
                  </a:lnTo>
                  <a:lnTo>
                    <a:pt x="313" y="587"/>
                  </a:lnTo>
                  <a:lnTo>
                    <a:pt x="307" y="582"/>
                  </a:lnTo>
                  <a:lnTo>
                    <a:pt x="306" y="581"/>
                  </a:lnTo>
                  <a:lnTo>
                    <a:pt x="303" y="579"/>
                  </a:lnTo>
                  <a:lnTo>
                    <a:pt x="302" y="579"/>
                  </a:lnTo>
                  <a:lnTo>
                    <a:pt x="300" y="579"/>
                  </a:lnTo>
                  <a:lnTo>
                    <a:pt x="298" y="578"/>
                  </a:lnTo>
                  <a:lnTo>
                    <a:pt x="296" y="578"/>
                  </a:lnTo>
                  <a:lnTo>
                    <a:pt x="294" y="577"/>
                  </a:lnTo>
                  <a:lnTo>
                    <a:pt x="292" y="577"/>
                  </a:lnTo>
                  <a:lnTo>
                    <a:pt x="290" y="577"/>
                  </a:lnTo>
                  <a:lnTo>
                    <a:pt x="288" y="578"/>
                  </a:lnTo>
                  <a:lnTo>
                    <a:pt x="285" y="578"/>
                  </a:lnTo>
                  <a:lnTo>
                    <a:pt x="279" y="579"/>
                  </a:lnTo>
                  <a:lnTo>
                    <a:pt x="277" y="580"/>
                  </a:lnTo>
                  <a:lnTo>
                    <a:pt x="276" y="580"/>
                  </a:lnTo>
                  <a:lnTo>
                    <a:pt x="274" y="580"/>
                  </a:lnTo>
                  <a:lnTo>
                    <a:pt x="271" y="580"/>
                  </a:lnTo>
                  <a:lnTo>
                    <a:pt x="269" y="580"/>
                  </a:lnTo>
                  <a:lnTo>
                    <a:pt x="267" y="579"/>
                  </a:lnTo>
                  <a:lnTo>
                    <a:pt x="266" y="579"/>
                  </a:lnTo>
                  <a:lnTo>
                    <a:pt x="265" y="578"/>
                  </a:lnTo>
                  <a:lnTo>
                    <a:pt x="263" y="577"/>
                  </a:lnTo>
                  <a:lnTo>
                    <a:pt x="262" y="576"/>
                  </a:lnTo>
                  <a:lnTo>
                    <a:pt x="260" y="574"/>
                  </a:lnTo>
                  <a:lnTo>
                    <a:pt x="258" y="572"/>
                  </a:lnTo>
                  <a:lnTo>
                    <a:pt x="254" y="565"/>
                  </a:lnTo>
                  <a:lnTo>
                    <a:pt x="251" y="562"/>
                  </a:lnTo>
                  <a:lnTo>
                    <a:pt x="249" y="560"/>
                  </a:lnTo>
                  <a:lnTo>
                    <a:pt x="247" y="558"/>
                  </a:lnTo>
                  <a:lnTo>
                    <a:pt x="244" y="557"/>
                  </a:lnTo>
                  <a:lnTo>
                    <a:pt x="243" y="555"/>
                  </a:lnTo>
                  <a:lnTo>
                    <a:pt x="241" y="554"/>
                  </a:lnTo>
                  <a:lnTo>
                    <a:pt x="238" y="553"/>
                  </a:lnTo>
                  <a:lnTo>
                    <a:pt x="236" y="552"/>
                  </a:lnTo>
                  <a:lnTo>
                    <a:pt x="233" y="552"/>
                  </a:lnTo>
                  <a:lnTo>
                    <a:pt x="232" y="551"/>
                  </a:lnTo>
                  <a:lnTo>
                    <a:pt x="230" y="552"/>
                  </a:lnTo>
                  <a:lnTo>
                    <a:pt x="228" y="552"/>
                  </a:lnTo>
                  <a:lnTo>
                    <a:pt x="224" y="553"/>
                  </a:lnTo>
                  <a:lnTo>
                    <a:pt x="222" y="553"/>
                  </a:lnTo>
                  <a:lnTo>
                    <a:pt x="222" y="552"/>
                  </a:lnTo>
                  <a:lnTo>
                    <a:pt x="221" y="551"/>
                  </a:lnTo>
                  <a:lnTo>
                    <a:pt x="214" y="548"/>
                  </a:lnTo>
                  <a:lnTo>
                    <a:pt x="209" y="546"/>
                  </a:lnTo>
                  <a:lnTo>
                    <a:pt x="204" y="544"/>
                  </a:lnTo>
                  <a:lnTo>
                    <a:pt x="200" y="542"/>
                  </a:lnTo>
                  <a:lnTo>
                    <a:pt x="197" y="540"/>
                  </a:lnTo>
                  <a:lnTo>
                    <a:pt x="194" y="537"/>
                  </a:lnTo>
                  <a:lnTo>
                    <a:pt x="191" y="535"/>
                  </a:lnTo>
                  <a:lnTo>
                    <a:pt x="187" y="531"/>
                  </a:lnTo>
                  <a:lnTo>
                    <a:pt x="186" y="530"/>
                  </a:lnTo>
                  <a:lnTo>
                    <a:pt x="184" y="529"/>
                  </a:lnTo>
                  <a:lnTo>
                    <a:pt x="180" y="526"/>
                  </a:lnTo>
                  <a:lnTo>
                    <a:pt x="178" y="525"/>
                  </a:lnTo>
                  <a:lnTo>
                    <a:pt x="177" y="524"/>
                  </a:lnTo>
                  <a:lnTo>
                    <a:pt x="175" y="523"/>
                  </a:lnTo>
                  <a:lnTo>
                    <a:pt x="171" y="517"/>
                  </a:lnTo>
                  <a:lnTo>
                    <a:pt x="169" y="516"/>
                  </a:lnTo>
                  <a:lnTo>
                    <a:pt x="168" y="514"/>
                  </a:lnTo>
                  <a:lnTo>
                    <a:pt x="167" y="512"/>
                  </a:lnTo>
                  <a:lnTo>
                    <a:pt x="164" y="506"/>
                  </a:lnTo>
                  <a:lnTo>
                    <a:pt x="164" y="505"/>
                  </a:lnTo>
                  <a:lnTo>
                    <a:pt x="164" y="503"/>
                  </a:lnTo>
                  <a:lnTo>
                    <a:pt x="162" y="501"/>
                  </a:lnTo>
                  <a:lnTo>
                    <a:pt x="156" y="497"/>
                  </a:lnTo>
                  <a:lnTo>
                    <a:pt x="151" y="489"/>
                  </a:lnTo>
                  <a:lnTo>
                    <a:pt x="149" y="488"/>
                  </a:lnTo>
                  <a:lnTo>
                    <a:pt x="148" y="486"/>
                  </a:lnTo>
                  <a:lnTo>
                    <a:pt x="146" y="484"/>
                  </a:lnTo>
                  <a:lnTo>
                    <a:pt x="145" y="481"/>
                  </a:lnTo>
                  <a:lnTo>
                    <a:pt x="144" y="478"/>
                  </a:lnTo>
                  <a:lnTo>
                    <a:pt x="142" y="472"/>
                  </a:lnTo>
                  <a:lnTo>
                    <a:pt x="141" y="468"/>
                  </a:lnTo>
                  <a:lnTo>
                    <a:pt x="140" y="466"/>
                  </a:lnTo>
                  <a:lnTo>
                    <a:pt x="139" y="465"/>
                  </a:lnTo>
                  <a:lnTo>
                    <a:pt x="138" y="464"/>
                  </a:lnTo>
                  <a:lnTo>
                    <a:pt x="137" y="463"/>
                  </a:lnTo>
                  <a:lnTo>
                    <a:pt x="136" y="462"/>
                  </a:lnTo>
                  <a:lnTo>
                    <a:pt x="134" y="461"/>
                  </a:lnTo>
                  <a:lnTo>
                    <a:pt x="131" y="460"/>
                  </a:lnTo>
                  <a:lnTo>
                    <a:pt x="129" y="459"/>
                  </a:lnTo>
                  <a:lnTo>
                    <a:pt x="120" y="456"/>
                  </a:lnTo>
                  <a:lnTo>
                    <a:pt x="105" y="452"/>
                  </a:lnTo>
                  <a:lnTo>
                    <a:pt x="100" y="450"/>
                  </a:lnTo>
                  <a:lnTo>
                    <a:pt x="92" y="448"/>
                  </a:lnTo>
                  <a:lnTo>
                    <a:pt x="89" y="448"/>
                  </a:lnTo>
                  <a:lnTo>
                    <a:pt x="87" y="447"/>
                  </a:lnTo>
                  <a:lnTo>
                    <a:pt x="85" y="446"/>
                  </a:lnTo>
                  <a:lnTo>
                    <a:pt x="84" y="445"/>
                  </a:lnTo>
                  <a:lnTo>
                    <a:pt x="82" y="444"/>
                  </a:lnTo>
                  <a:lnTo>
                    <a:pt x="80" y="443"/>
                  </a:lnTo>
                  <a:lnTo>
                    <a:pt x="78" y="441"/>
                  </a:lnTo>
                  <a:lnTo>
                    <a:pt x="76" y="439"/>
                  </a:lnTo>
                  <a:lnTo>
                    <a:pt x="73" y="436"/>
                  </a:lnTo>
                  <a:lnTo>
                    <a:pt x="72" y="434"/>
                  </a:lnTo>
                  <a:lnTo>
                    <a:pt x="66" y="426"/>
                  </a:lnTo>
                  <a:lnTo>
                    <a:pt x="64" y="424"/>
                  </a:lnTo>
                  <a:lnTo>
                    <a:pt x="63" y="421"/>
                  </a:lnTo>
                  <a:lnTo>
                    <a:pt x="61" y="417"/>
                  </a:lnTo>
                  <a:lnTo>
                    <a:pt x="61" y="414"/>
                  </a:lnTo>
                  <a:lnTo>
                    <a:pt x="59" y="410"/>
                  </a:lnTo>
                  <a:lnTo>
                    <a:pt x="58" y="409"/>
                  </a:lnTo>
                  <a:lnTo>
                    <a:pt x="56" y="406"/>
                  </a:lnTo>
                  <a:lnTo>
                    <a:pt x="54" y="404"/>
                  </a:lnTo>
                  <a:lnTo>
                    <a:pt x="52" y="402"/>
                  </a:lnTo>
                  <a:lnTo>
                    <a:pt x="50" y="400"/>
                  </a:lnTo>
                  <a:lnTo>
                    <a:pt x="49" y="399"/>
                  </a:lnTo>
                  <a:lnTo>
                    <a:pt x="47" y="398"/>
                  </a:lnTo>
                  <a:lnTo>
                    <a:pt x="45" y="398"/>
                  </a:lnTo>
                  <a:lnTo>
                    <a:pt x="42" y="398"/>
                  </a:lnTo>
                  <a:lnTo>
                    <a:pt x="39" y="398"/>
                  </a:lnTo>
                  <a:lnTo>
                    <a:pt x="36" y="398"/>
                  </a:lnTo>
                  <a:lnTo>
                    <a:pt x="33" y="400"/>
                  </a:lnTo>
                  <a:lnTo>
                    <a:pt x="30" y="401"/>
                  </a:lnTo>
                  <a:lnTo>
                    <a:pt x="26" y="404"/>
                  </a:lnTo>
                  <a:lnTo>
                    <a:pt x="24" y="405"/>
                  </a:lnTo>
                  <a:lnTo>
                    <a:pt x="22" y="405"/>
                  </a:lnTo>
                  <a:lnTo>
                    <a:pt x="21" y="405"/>
                  </a:lnTo>
                  <a:lnTo>
                    <a:pt x="20" y="404"/>
                  </a:lnTo>
                  <a:lnTo>
                    <a:pt x="19" y="404"/>
                  </a:lnTo>
                  <a:lnTo>
                    <a:pt x="18" y="403"/>
                  </a:lnTo>
                  <a:lnTo>
                    <a:pt x="17" y="402"/>
                  </a:lnTo>
                  <a:lnTo>
                    <a:pt x="17" y="400"/>
                  </a:lnTo>
                  <a:lnTo>
                    <a:pt x="16" y="398"/>
                  </a:lnTo>
                  <a:lnTo>
                    <a:pt x="16" y="397"/>
                  </a:lnTo>
                  <a:lnTo>
                    <a:pt x="15" y="390"/>
                  </a:lnTo>
                  <a:lnTo>
                    <a:pt x="14" y="386"/>
                  </a:lnTo>
                  <a:lnTo>
                    <a:pt x="11" y="380"/>
                  </a:lnTo>
                  <a:lnTo>
                    <a:pt x="8" y="374"/>
                  </a:lnTo>
                  <a:lnTo>
                    <a:pt x="7" y="369"/>
                  </a:lnTo>
                  <a:lnTo>
                    <a:pt x="5" y="366"/>
                  </a:lnTo>
                  <a:lnTo>
                    <a:pt x="4" y="357"/>
                  </a:lnTo>
                  <a:lnTo>
                    <a:pt x="2" y="352"/>
                  </a:lnTo>
                  <a:lnTo>
                    <a:pt x="1" y="347"/>
                  </a:lnTo>
                  <a:lnTo>
                    <a:pt x="0" y="341"/>
                  </a:lnTo>
                  <a:lnTo>
                    <a:pt x="0" y="339"/>
                  </a:lnTo>
                  <a:lnTo>
                    <a:pt x="0" y="338"/>
                  </a:lnTo>
                  <a:lnTo>
                    <a:pt x="1" y="338"/>
                  </a:lnTo>
                  <a:lnTo>
                    <a:pt x="2" y="337"/>
                  </a:lnTo>
                  <a:lnTo>
                    <a:pt x="4" y="336"/>
                  </a:lnTo>
                  <a:lnTo>
                    <a:pt x="5" y="335"/>
                  </a:lnTo>
                  <a:lnTo>
                    <a:pt x="7" y="332"/>
                  </a:lnTo>
                  <a:lnTo>
                    <a:pt x="10" y="329"/>
                  </a:lnTo>
                  <a:lnTo>
                    <a:pt x="16" y="323"/>
                  </a:lnTo>
                  <a:lnTo>
                    <a:pt x="18" y="319"/>
                  </a:lnTo>
                  <a:lnTo>
                    <a:pt x="20" y="317"/>
                  </a:lnTo>
                  <a:lnTo>
                    <a:pt x="20" y="315"/>
                  </a:lnTo>
                  <a:lnTo>
                    <a:pt x="21" y="312"/>
                  </a:lnTo>
                  <a:lnTo>
                    <a:pt x="22" y="307"/>
                  </a:lnTo>
                  <a:lnTo>
                    <a:pt x="23" y="305"/>
                  </a:lnTo>
                  <a:lnTo>
                    <a:pt x="24" y="303"/>
                  </a:lnTo>
                  <a:lnTo>
                    <a:pt x="25" y="301"/>
                  </a:lnTo>
                  <a:lnTo>
                    <a:pt x="26" y="300"/>
                  </a:lnTo>
                  <a:lnTo>
                    <a:pt x="27" y="299"/>
                  </a:lnTo>
                  <a:lnTo>
                    <a:pt x="28" y="298"/>
                  </a:lnTo>
                  <a:lnTo>
                    <a:pt x="30" y="297"/>
                  </a:lnTo>
                  <a:lnTo>
                    <a:pt x="33" y="296"/>
                  </a:lnTo>
                  <a:lnTo>
                    <a:pt x="38" y="295"/>
                  </a:lnTo>
                  <a:lnTo>
                    <a:pt x="39" y="294"/>
                  </a:lnTo>
                  <a:lnTo>
                    <a:pt x="40" y="292"/>
                  </a:lnTo>
                  <a:lnTo>
                    <a:pt x="42" y="289"/>
                  </a:lnTo>
                  <a:lnTo>
                    <a:pt x="43" y="287"/>
                  </a:lnTo>
                  <a:lnTo>
                    <a:pt x="44" y="285"/>
                  </a:lnTo>
                  <a:lnTo>
                    <a:pt x="44" y="282"/>
                  </a:lnTo>
                  <a:lnTo>
                    <a:pt x="44" y="278"/>
                  </a:lnTo>
                  <a:lnTo>
                    <a:pt x="44" y="273"/>
                  </a:lnTo>
                  <a:lnTo>
                    <a:pt x="44" y="271"/>
                  </a:lnTo>
                  <a:lnTo>
                    <a:pt x="43" y="266"/>
                  </a:lnTo>
                  <a:lnTo>
                    <a:pt x="40" y="259"/>
                  </a:lnTo>
                  <a:lnTo>
                    <a:pt x="39" y="255"/>
                  </a:lnTo>
                  <a:lnTo>
                    <a:pt x="36" y="246"/>
                  </a:lnTo>
                  <a:lnTo>
                    <a:pt x="36" y="244"/>
                  </a:lnTo>
                  <a:lnTo>
                    <a:pt x="35" y="242"/>
                  </a:lnTo>
                  <a:lnTo>
                    <a:pt x="36" y="241"/>
                  </a:lnTo>
                  <a:lnTo>
                    <a:pt x="36" y="240"/>
                  </a:lnTo>
                  <a:lnTo>
                    <a:pt x="37" y="240"/>
                  </a:lnTo>
                  <a:lnTo>
                    <a:pt x="42" y="237"/>
                  </a:lnTo>
                  <a:lnTo>
                    <a:pt x="44" y="236"/>
                  </a:lnTo>
                  <a:lnTo>
                    <a:pt x="45" y="234"/>
                  </a:lnTo>
                  <a:lnTo>
                    <a:pt x="46" y="233"/>
                  </a:lnTo>
                  <a:lnTo>
                    <a:pt x="48" y="231"/>
                  </a:lnTo>
                  <a:lnTo>
                    <a:pt x="49" y="229"/>
                  </a:lnTo>
                  <a:lnTo>
                    <a:pt x="50" y="228"/>
                  </a:lnTo>
                  <a:lnTo>
                    <a:pt x="50" y="225"/>
                  </a:lnTo>
                  <a:lnTo>
                    <a:pt x="50" y="222"/>
                  </a:lnTo>
                  <a:lnTo>
                    <a:pt x="51" y="218"/>
                  </a:lnTo>
                  <a:lnTo>
                    <a:pt x="51" y="212"/>
                  </a:lnTo>
                  <a:lnTo>
                    <a:pt x="51" y="208"/>
                  </a:lnTo>
                  <a:lnTo>
                    <a:pt x="51" y="206"/>
                  </a:lnTo>
                  <a:lnTo>
                    <a:pt x="53" y="203"/>
                  </a:lnTo>
                  <a:lnTo>
                    <a:pt x="54" y="197"/>
                  </a:lnTo>
                  <a:lnTo>
                    <a:pt x="54" y="195"/>
                  </a:lnTo>
                  <a:lnTo>
                    <a:pt x="55" y="193"/>
                  </a:lnTo>
                  <a:lnTo>
                    <a:pt x="54" y="186"/>
                  </a:lnTo>
                  <a:lnTo>
                    <a:pt x="54" y="184"/>
                  </a:lnTo>
                  <a:lnTo>
                    <a:pt x="55" y="182"/>
                  </a:lnTo>
                  <a:lnTo>
                    <a:pt x="56" y="178"/>
                  </a:lnTo>
                  <a:lnTo>
                    <a:pt x="56" y="177"/>
                  </a:lnTo>
                  <a:lnTo>
                    <a:pt x="56" y="175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5" y="169"/>
                  </a:lnTo>
                  <a:lnTo>
                    <a:pt x="53" y="167"/>
                  </a:lnTo>
                  <a:lnTo>
                    <a:pt x="50" y="162"/>
                  </a:lnTo>
                  <a:lnTo>
                    <a:pt x="48" y="160"/>
                  </a:lnTo>
                  <a:lnTo>
                    <a:pt x="47" y="158"/>
                  </a:lnTo>
                  <a:lnTo>
                    <a:pt x="46" y="156"/>
                  </a:lnTo>
                  <a:lnTo>
                    <a:pt x="45" y="154"/>
                  </a:lnTo>
                  <a:lnTo>
                    <a:pt x="45" y="152"/>
                  </a:lnTo>
                  <a:lnTo>
                    <a:pt x="44" y="149"/>
                  </a:lnTo>
                  <a:lnTo>
                    <a:pt x="45" y="142"/>
                  </a:lnTo>
                  <a:lnTo>
                    <a:pt x="45" y="138"/>
                  </a:lnTo>
                  <a:lnTo>
                    <a:pt x="44" y="137"/>
                  </a:lnTo>
                  <a:lnTo>
                    <a:pt x="43" y="130"/>
                  </a:lnTo>
                  <a:lnTo>
                    <a:pt x="43" y="129"/>
                  </a:lnTo>
                  <a:lnTo>
                    <a:pt x="42" y="127"/>
                  </a:lnTo>
                  <a:lnTo>
                    <a:pt x="43" y="126"/>
                  </a:lnTo>
                  <a:lnTo>
                    <a:pt x="43" y="124"/>
                  </a:lnTo>
                  <a:lnTo>
                    <a:pt x="43" y="122"/>
                  </a:lnTo>
                  <a:lnTo>
                    <a:pt x="44" y="120"/>
                  </a:lnTo>
                  <a:lnTo>
                    <a:pt x="45" y="118"/>
                  </a:lnTo>
                  <a:lnTo>
                    <a:pt x="48" y="115"/>
                  </a:lnTo>
                  <a:lnTo>
                    <a:pt x="50" y="111"/>
                  </a:lnTo>
                  <a:lnTo>
                    <a:pt x="53" y="105"/>
                  </a:lnTo>
                  <a:lnTo>
                    <a:pt x="54" y="103"/>
                  </a:lnTo>
                  <a:lnTo>
                    <a:pt x="55" y="101"/>
                  </a:lnTo>
                  <a:lnTo>
                    <a:pt x="56" y="98"/>
                  </a:lnTo>
                  <a:lnTo>
                    <a:pt x="56" y="97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6" y="92"/>
                  </a:lnTo>
                  <a:lnTo>
                    <a:pt x="57" y="91"/>
                  </a:lnTo>
                  <a:lnTo>
                    <a:pt x="60" y="87"/>
                  </a:lnTo>
                  <a:lnTo>
                    <a:pt x="62" y="85"/>
                  </a:lnTo>
                  <a:lnTo>
                    <a:pt x="63" y="83"/>
                  </a:lnTo>
                  <a:lnTo>
                    <a:pt x="64" y="82"/>
                  </a:lnTo>
                  <a:lnTo>
                    <a:pt x="66" y="81"/>
                  </a:lnTo>
                  <a:lnTo>
                    <a:pt x="68" y="81"/>
                  </a:lnTo>
                  <a:lnTo>
                    <a:pt x="69" y="81"/>
                  </a:lnTo>
                  <a:lnTo>
                    <a:pt x="72" y="81"/>
                  </a:lnTo>
                  <a:lnTo>
                    <a:pt x="77" y="82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6" y="84"/>
                  </a:lnTo>
                  <a:lnTo>
                    <a:pt x="87" y="84"/>
                  </a:lnTo>
                  <a:lnTo>
                    <a:pt x="91" y="88"/>
                  </a:lnTo>
                  <a:lnTo>
                    <a:pt x="94" y="90"/>
                  </a:lnTo>
                  <a:lnTo>
                    <a:pt x="96" y="91"/>
                  </a:lnTo>
                  <a:lnTo>
                    <a:pt x="100" y="92"/>
                  </a:lnTo>
                  <a:lnTo>
                    <a:pt x="103" y="92"/>
                  </a:lnTo>
                  <a:lnTo>
                    <a:pt x="107" y="92"/>
                  </a:lnTo>
                  <a:lnTo>
                    <a:pt x="108" y="92"/>
                  </a:lnTo>
                  <a:lnTo>
                    <a:pt x="117" y="93"/>
                  </a:lnTo>
                  <a:lnTo>
                    <a:pt x="120" y="94"/>
                  </a:lnTo>
                  <a:lnTo>
                    <a:pt x="123" y="94"/>
                  </a:lnTo>
                  <a:lnTo>
                    <a:pt x="125" y="94"/>
                  </a:lnTo>
                  <a:lnTo>
                    <a:pt x="126" y="94"/>
                  </a:lnTo>
                  <a:lnTo>
                    <a:pt x="128" y="93"/>
                  </a:lnTo>
                  <a:lnTo>
                    <a:pt x="131" y="92"/>
                  </a:lnTo>
                  <a:lnTo>
                    <a:pt x="132" y="92"/>
                  </a:lnTo>
                  <a:lnTo>
                    <a:pt x="135" y="92"/>
                  </a:lnTo>
                  <a:lnTo>
                    <a:pt x="136" y="92"/>
                  </a:lnTo>
                  <a:lnTo>
                    <a:pt x="137" y="91"/>
                  </a:lnTo>
                  <a:lnTo>
                    <a:pt x="142" y="88"/>
                  </a:lnTo>
                  <a:lnTo>
                    <a:pt x="144" y="86"/>
                  </a:lnTo>
                  <a:lnTo>
                    <a:pt x="147" y="84"/>
                  </a:lnTo>
                  <a:lnTo>
                    <a:pt x="150" y="81"/>
                  </a:lnTo>
                  <a:lnTo>
                    <a:pt x="149" y="84"/>
                  </a:lnTo>
                  <a:lnTo>
                    <a:pt x="149" y="86"/>
                  </a:lnTo>
                  <a:lnTo>
                    <a:pt x="147" y="91"/>
                  </a:lnTo>
                  <a:lnTo>
                    <a:pt x="146" y="94"/>
                  </a:lnTo>
                  <a:lnTo>
                    <a:pt x="145" y="97"/>
                  </a:lnTo>
                  <a:lnTo>
                    <a:pt x="144" y="99"/>
                  </a:lnTo>
                  <a:lnTo>
                    <a:pt x="144" y="101"/>
                  </a:lnTo>
                  <a:lnTo>
                    <a:pt x="145" y="103"/>
                  </a:lnTo>
                  <a:lnTo>
                    <a:pt x="145" y="103"/>
                  </a:lnTo>
                  <a:lnTo>
                    <a:pt x="145" y="104"/>
                  </a:lnTo>
                  <a:lnTo>
                    <a:pt x="146" y="105"/>
                  </a:lnTo>
                  <a:lnTo>
                    <a:pt x="147" y="106"/>
                  </a:lnTo>
                  <a:lnTo>
                    <a:pt x="149" y="107"/>
                  </a:lnTo>
                  <a:lnTo>
                    <a:pt x="150" y="108"/>
                  </a:lnTo>
                  <a:lnTo>
                    <a:pt x="151" y="109"/>
                  </a:lnTo>
                  <a:lnTo>
                    <a:pt x="152" y="109"/>
                  </a:lnTo>
                  <a:lnTo>
                    <a:pt x="154" y="109"/>
                  </a:lnTo>
                  <a:lnTo>
                    <a:pt x="162" y="110"/>
                  </a:lnTo>
                  <a:lnTo>
                    <a:pt x="164" y="111"/>
                  </a:lnTo>
                  <a:lnTo>
                    <a:pt x="168" y="112"/>
                  </a:lnTo>
                  <a:lnTo>
                    <a:pt x="173" y="113"/>
                  </a:lnTo>
                  <a:lnTo>
                    <a:pt x="176" y="115"/>
                  </a:lnTo>
                  <a:lnTo>
                    <a:pt x="180" y="115"/>
                  </a:lnTo>
                  <a:lnTo>
                    <a:pt x="183" y="117"/>
                  </a:lnTo>
                  <a:lnTo>
                    <a:pt x="187" y="121"/>
                  </a:lnTo>
                  <a:lnTo>
                    <a:pt x="189" y="122"/>
                  </a:lnTo>
                  <a:lnTo>
                    <a:pt x="190" y="122"/>
                  </a:lnTo>
                  <a:lnTo>
                    <a:pt x="192" y="122"/>
                  </a:lnTo>
                  <a:lnTo>
                    <a:pt x="193" y="122"/>
                  </a:lnTo>
                  <a:lnTo>
                    <a:pt x="194" y="122"/>
                  </a:lnTo>
                  <a:lnTo>
                    <a:pt x="196" y="121"/>
                  </a:lnTo>
                  <a:lnTo>
                    <a:pt x="197" y="119"/>
                  </a:lnTo>
                  <a:lnTo>
                    <a:pt x="198" y="117"/>
                  </a:lnTo>
                  <a:lnTo>
                    <a:pt x="200" y="114"/>
                  </a:lnTo>
                  <a:lnTo>
                    <a:pt x="201" y="112"/>
                  </a:lnTo>
                  <a:lnTo>
                    <a:pt x="204" y="108"/>
                  </a:lnTo>
                  <a:lnTo>
                    <a:pt x="207" y="105"/>
                  </a:lnTo>
                  <a:lnTo>
                    <a:pt x="209" y="103"/>
                  </a:lnTo>
                  <a:lnTo>
                    <a:pt x="211" y="102"/>
                  </a:lnTo>
                  <a:lnTo>
                    <a:pt x="219" y="95"/>
                  </a:lnTo>
                  <a:lnTo>
                    <a:pt x="224" y="92"/>
                  </a:lnTo>
                  <a:lnTo>
                    <a:pt x="229" y="88"/>
                  </a:lnTo>
                  <a:lnTo>
                    <a:pt x="232" y="86"/>
                  </a:lnTo>
                  <a:lnTo>
                    <a:pt x="233" y="85"/>
                  </a:lnTo>
                  <a:lnTo>
                    <a:pt x="235" y="85"/>
                  </a:lnTo>
                  <a:lnTo>
                    <a:pt x="243" y="82"/>
                  </a:lnTo>
                  <a:lnTo>
                    <a:pt x="248" y="81"/>
                  </a:lnTo>
                  <a:lnTo>
                    <a:pt x="252" y="80"/>
                  </a:lnTo>
                  <a:lnTo>
                    <a:pt x="255" y="78"/>
                  </a:lnTo>
                  <a:lnTo>
                    <a:pt x="256" y="76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9" y="72"/>
                  </a:lnTo>
                  <a:lnTo>
                    <a:pt x="259" y="71"/>
                  </a:lnTo>
                  <a:lnTo>
                    <a:pt x="259" y="69"/>
                  </a:lnTo>
                  <a:lnTo>
                    <a:pt x="258" y="67"/>
                  </a:lnTo>
                  <a:lnTo>
                    <a:pt x="257" y="61"/>
                  </a:lnTo>
                  <a:lnTo>
                    <a:pt x="255" y="57"/>
                  </a:lnTo>
                  <a:lnTo>
                    <a:pt x="255" y="53"/>
                  </a:lnTo>
                  <a:lnTo>
                    <a:pt x="255" y="50"/>
                  </a:lnTo>
                  <a:lnTo>
                    <a:pt x="254" y="48"/>
                  </a:lnTo>
                  <a:lnTo>
                    <a:pt x="255" y="46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7" y="32"/>
                  </a:lnTo>
                  <a:lnTo>
                    <a:pt x="257" y="29"/>
                  </a:lnTo>
                  <a:lnTo>
                    <a:pt x="257" y="27"/>
                  </a:lnTo>
                  <a:lnTo>
                    <a:pt x="258" y="25"/>
                  </a:lnTo>
                  <a:lnTo>
                    <a:pt x="258" y="24"/>
                  </a:lnTo>
                  <a:lnTo>
                    <a:pt x="259" y="23"/>
                  </a:lnTo>
                  <a:lnTo>
                    <a:pt x="261" y="21"/>
                  </a:lnTo>
                  <a:lnTo>
                    <a:pt x="262" y="21"/>
                  </a:lnTo>
                  <a:lnTo>
                    <a:pt x="265" y="18"/>
                  </a:lnTo>
                  <a:lnTo>
                    <a:pt x="266" y="17"/>
                  </a:lnTo>
                  <a:lnTo>
                    <a:pt x="266" y="15"/>
                  </a:lnTo>
                  <a:lnTo>
                    <a:pt x="269" y="13"/>
                  </a:lnTo>
                  <a:lnTo>
                    <a:pt x="271" y="10"/>
                  </a:lnTo>
                  <a:lnTo>
                    <a:pt x="274" y="8"/>
                  </a:lnTo>
                  <a:lnTo>
                    <a:pt x="277" y="5"/>
                  </a:lnTo>
                  <a:lnTo>
                    <a:pt x="280" y="3"/>
                  </a:lnTo>
                  <a:lnTo>
                    <a:pt x="284" y="1"/>
                  </a:lnTo>
                  <a:lnTo>
                    <a:pt x="287" y="1"/>
                  </a:lnTo>
                  <a:lnTo>
                    <a:pt x="288" y="0"/>
                  </a:lnTo>
                  <a:lnTo>
                    <a:pt x="28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2" name="Freeform 25">
              <a:extLst>
                <a:ext uri="{FF2B5EF4-FFF2-40B4-BE49-F238E27FC236}">
                  <a16:creationId xmlns:a16="http://schemas.microsoft.com/office/drawing/2014/main" id="{6886C579-8351-428D-A053-5442E421F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" y="2627"/>
              <a:ext cx="475" cy="425"/>
            </a:xfrm>
            <a:custGeom>
              <a:avLst/>
              <a:gdLst>
                <a:gd name="T0" fmla="*/ 149 w 475"/>
                <a:gd name="T1" fmla="*/ 23 h 425"/>
                <a:gd name="T2" fmla="*/ 174 w 475"/>
                <a:gd name="T3" fmla="*/ 24 h 425"/>
                <a:gd name="T4" fmla="*/ 207 w 475"/>
                <a:gd name="T5" fmla="*/ 20 h 425"/>
                <a:gd name="T6" fmla="*/ 226 w 475"/>
                <a:gd name="T7" fmla="*/ 24 h 425"/>
                <a:gd name="T8" fmla="*/ 244 w 475"/>
                <a:gd name="T9" fmla="*/ 31 h 425"/>
                <a:gd name="T10" fmla="*/ 253 w 475"/>
                <a:gd name="T11" fmla="*/ 17 h 425"/>
                <a:gd name="T12" fmla="*/ 264 w 475"/>
                <a:gd name="T13" fmla="*/ 3 h 425"/>
                <a:gd name="T14" fmla="*/ 288 w 475"/>
                <a:gd name="T15" fmla="*/ 1 h 425"/>
                <a:gd name="T16" fmla="*/ 326 w 475"/>
                <a:gd name="T17" fmla="*/ 2 h 425"/>
                <a:gd name="T18" fmla="*/ 343 w 475"/>
                <a:gd name="T19" fmla="*/ 13 h 425"/>
                <a:gd name="T20" fmla="*/ 344 w 475"/>
                <a:gd name="T21" fmla="*/ 27 h 425"/>
                <a:gd name="T22" fmla="*/ 345 w 475"/>
                <a:gd name="T23" fmla="*/ 47 h 425"/>
                <a:gd name="T24" fmla="*/ 364 w 475"/>
                <a:gd name="T25" fmla="*/ 32 h 425"/>
                <a:gd name="T26" fmla="*/ 386 w 475"/>
                <a:gd name="T27" fmla="*/ 23 h 425"/>
                <a:gd name="T28" fmla="*/ 412 w 475"/>
                <a:gd name="T29" fmla="*/ 24 h 425"/>
                <a:gd name="T30" fmla="*/ 437 w 475"/>
                <a:gd name="T31" fmla="*/ 47 h 425"/>
                <a:gd name="T32" fmla="*/ 455 w 475"/>
                <a:gd name="T33" fmla="*/ 78 h 425"/>
                <a:gd name="T34" fmla="*/ 458 w 475"/>
                <a:gd name="T35" fmla="*/ 91 h 425"/>
                <a:gd name="T36" fmla="*/ 448 w 475"/>
                <a:gd name="T37" fmla="*/ 103 h 425"/>
                <a:gd name="T38" fmla="*/ 438 w 475"/>
                <a:gd name="T39" fmla="*/ 114 h 425"/>
                <a:gd name="T40" fmla="*/ 440 w 475"/>
                <a:gd name="T41" fmla="*/ 132 h 425"/>
                <a:gd name="T42" fmla="*/ 474 w 475"/>
                <a:gd name="T43" fmla="*/ 160 h 425"/>
                <a:gd name="T44" fmla="*/ 455 w 475"/>
                <a:gd name="T45" fmla="*/ 197 h 425"/>
                <a:gd name="T46" fmla="*/ 448 w 475"/>
                <a:gd name="T47" fmla="*/ 217 h 425"/>
                <a:gd name="T48" fmla="*/ 427 w 475"/>
                <a:gd name="T49" fmla="*/ 240 h 425"/>
                <a:gd name="T50" fmla="*/ 410 w 475"/>
                <a:gd name="T51" fmla="*/ 258 h 425"/>
                <a:gd name="T52" fmla="*/ 416 w 475"/>
                <a:gd name="T53" fmla="*/ 270 h 425"/>
                <a:gd name="T54" fmla="*/ 430 w 475"/>
                <a:gd name="T55" fmla="*/ 292 h 425"/>
                <a:gd name="T56" fmla="*/ 426 w 475"/>
                <a:gd name="T57" fmla="*/ 308 h 425"/>
                <a:gd name="T58" fmla="*/ 434 w 475"/>
                <a:gd name="T59" fmla="*/ 321 h 425"/>
                <a:gd name="T60" fmla="*/ 444 w 475"/>
                <a:gd name="T61" fmla="*/ 342 h 425"/>
                <a:gd name="T62" fmla="*/ 443 w 475"/>
                <a:gd name="T63" fmla="*/ 381 h 425"/>
                <a:gd name="T64" fmla="*/ 433 w 475"/>
                <a:gd name="T65" fmla="*/ 389 h 425"/>
                <a:gd name="T66" fmla="*/ 405 w 475"/>
                <a:gd name="T67" fmla="*/ 394 h 425"/>
                <a:gd name="T68" fmla="*/ 378 w 475"/>
                <a:gd name="T69" fmla="*/ 391 h 425"/>
                <a:gd name="T70" fmla="*/ 363 w 475"/>
                <a:gd name="T71" fmla="*/ 391 h 425"/>
                <a:gd name="T72" fmla="*/ 355 w 475"/>
                <a:gd name="T73" fmla="*/ 403 h 425"/>
                <a:gd name="T74" fmla="*/ 349 w 475"/>
                <a:gd name="T75" fmla="*/ 423 h 425"/>
                <a:gd name="T76" fmla="*/ 342 w 475"/>
                <a:gd name="T77" fmla="*/ 407 h 425"/>
                <a:gd name="T78" fmla="*/ 293 w 475"/>
                <a:gd name="T79" fmla="*/ 360 h 425"/>
                <a:gd name="T80" fmla="*/ 252 w 475"/>
                <a:gd name="T81" fmla="*/ 349 h 425"/>
                <a:gd name="T82" fmla="*/ 238 w 475"/>
                <a:gd name="T83" fmla="*/ 357 h 425"/>
                <a:gd name="T84" fmla="*/ 225 w 475"/>
                <a:gd name="T85" fmla="*/ 361 h 425"/>
                <a:gd name="T86" fmla="*/ 185 w 475"/>
                <a:gd name="T87" fmla="*/ 353 h 425"/>
                <a:gd name="T88" fmla="*/ 164 w 475"/>
                <a:gd name="T89" fmla="*/ 344 h 425"/>
                <a:gd name="T90" fmla="*/ 146 w 475"/>
                <a:gd name="T91" fmla="*/ 312 h 425"/>
                <a:gd name="T92" fmla="*/ 130 w 475"/>
                <a:gd name="T93" fmla="*/ 280 h 425"/>
                <a:gd name="T94" fmla="*/ 85 w 475"/>
                <a:gd name="T95" fmla="*/ 249 h 425"/>
                <a:gd name="T96" fmla="*/ 69 w 475"/>
                <a:gd name="T97" fmla="*/ 233 h 425"/>
                <a:gd name="T98" fmla="*/ 55 w 475"/>
                <a:gd name="T99" fmla="*/ 191 h 425"/>
                <a:gd name="T100" fmla="*/ 58 w 475"/>
                <a:gd name="T101" fmla="*/ 152 h 425"/>
                <a:gd name="T102" fmla="*/ 50 w 475"/>
                <a:gd name="T103" fmla="*/ 131 h 425"/>
                <a:gd name="T104" fmla="*/ 24 w 475"/>
                <a:gd name="T105" fmla="*/ 115 h 425"/>
                <a:gd name="T106" fmla="*/ 8 w 475"/>
                <a:gd name="T107" fmla="*/ 81 h 425"/>
                <a:gd name="T108" fmla="*/ 2 w 475"/>
                <a:gd name="T109" fmla="*/ 33 h 425"/>
                <a:gd name="T110" fmla="*/ 41 w 475"/>
                <a:gd name="T111" fmla="*/ 47 h 425"/>
                <a:gd name="T112" fmla="*/ 60 w 475"/>
                <a:gd name="T113" fmla="*/ 55 h 425"/>
                <a:gd name="T114" fmla="*/ 76 w 475"/>
                <a:gd name="T115" fmla="*/ 55 h 425"/>
                <a:gd name="T116" fmla="*/ 103 w 475"/>
                <a:gd name="T117" fmla="*/ 37 h 425"/>
                <a:gd name="T118" fmla="*/ 129 w 475"/>
                <a:gd name="T119" fmla="*/ 29 h 425"/>
                <a:gd name="T120" fmla="*/ 140 w 475"/>
                <a:gd name="T121" fmla="*/ 13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5" h="425">
                  <a:moveTo>
                    <a:pt x="142" y="12"/>
                  </a:moveTo>
                  <a:lnTo>
                    <a:pt x="142" y="13"/>
                  </a:lnTo>
                  <a:lnTo>
                    <a:pt x="142" y="13"/>
                  </a:lnTo>
                  <a:lnTo>
                    <a:pt x="143" y="15"/>
                  </a:lnTo>
                  <a:lnTo>
                    <a:pt x="144" y="16"/>
                  </a:lnTo>
                  <a:lnTo>
                    <a:pt x="145" y="19"/>
                  </a:lnTo>
                  <a:lnTo>
                    <a:pt x="147" y="21"/>
                  </a:lnTo>
                  <a:lnTo>
                    <a:pt x="149" y="23"/>
                  </a:lnTo>
                  <a:lnTo>
                    <a:pt x="151" y="24"/>
                  </a:lnTo>
                  <a:lnTo>
                    <a:pt x="153" y="25"/>
                  </a:lnTo>
                  <a:lnTo>
                    <a:pt x="156" y="25"/>
                  </a:lnTo>
                  <a:lnTo>
                    <a:pt x="159" y="26"/>
                  </a:lnTo>
                  <a:lnTo>
                    <a:pt x="162" y="26"/>
                  </a:lnTo>
                  <a:lnTo>
                    <a:pt x="165" y="25"/>
                  </a:lnTo>
                  <a:lnTo>
                    <a:pt x="172" y="24"/>
                  </a:lnTo>
                  <a:lnTo>
                    <a:pt x="174" y="24"/>
                  </a:lnTo>
                  <a:lnTo>
                    <a:pt x="177" y="24"/>
                  </a:lnTo>
                  <a:lnTo>
                    <a:pt x="184" y="24"/>
                  </a:lnTo>
                  <a:lnTo>
                    <a:pt x="186" y="24"/>
                  </a:lnTo>
                  <a:lnTo>
                    <a:pt x="188" y="24"/>
                  </a:lnTo>
                  <a:lnTo>
                    <a:pt x="191" y="24"/>
                  </a:lnTo>
                  <a:lnTo>
                    <a:pt x="193" y="24"/>
                  </a:lnTo>
                  <a:lnTo>
                    <a:pt x="200" y="22"/>
                  </a:lnTo>
                  <a:lnTo>
                    <a:pt x="207" y="20"/>
                  </a:lnTo>
                  <a:lnTo>
                    <a:pt x="208" y="20"/>
                  </a:lnTo>
                  <a:lnTo>
                    <a:pt x="210" y="20"/>
                  </a:lnTo>
                  <a:lnTo>
                    <a:pt x="212" y="20"/>
                  </a:lnTo>
                  <a:lnTo>
                    <a:pt x="214" y="20"/>
                  </a:lnTo>
                  <a:lnTo>
                    <a:pt x="218" y="22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6" y="24"/>
                  </a:lnTo>
                  <a:lnTo>
                    <a:pt x="233" y="24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7" y="25"/>
                  </a:lnTo>
                  <a:lnTo>
                    <a:pt x="238" y="25"/>
                  </a:lnTo>
                  <a:lnTo>
                    <a:pt x="241" y="28"/>
                  </a:lnTo>
                  <a:lnTo>
                    <a:pt x="242" y="30"/>
                  </a:lnTo>
                  <a:lnTo>
                    <a:pt x="244" y="31"/>
                  </a:lnTo>
                  <a:lnTo>
                    <a:pt x="245" y="31"/>
                  </a:lnTo>
                  <a:lnTo>
                    <a:pt x="246" y="31"/>
                  </a:lnTo>
                  <a:lnTo>
                    <a:pt x="247" y="30"/>
                  </a:lnTo>
                  <a:lnTo>
                    <a:pt x="248" y="30"/>
                  </a:lnTo>
                  <a:lnTo>
                    <a:pt x="249" y="28"/>
                  </a:lnTo>
                  <a:lnTo>
                    <a:pt x="250" y="26"/>
                  </a:lnTo>
                  <a:lnTo>
                    <a:pt x="252" y="20"/>
                  </a:lnTo>
                  <a:lnTo>
                    <a:pt x="253" y="17"/>
                  </a:lnTo>
                  <a:lnTo>
                    <a:pt x="254" y="14"/>
                  </a:lnTo>
                  <a:lnTo>
                    <a:pt x="255" y="13"/>
                  </a:lnTo>
                  <a:lnTo>
                    <a:pt x="258" y="9"/>
                  </a:lnTo>
                  <a:lnTo>
                    <a:pt x="260" y="7"/>
                  </a:lnTo>
                  <a:lnTo>
                    <a:pt x="261" y="5"/>
                  </a:lnTo>
                  <a:lnTo>
                    <a:pt x="262" y="4"/>
                  </a:lnTo>
                  <a:lnTo>
                    <a:pt x="263" y="4"/>
                  </a:lnTo>
                  <a:lnTo>
                    <a:pt x="264" y="3"/>
                  </a:lnTo>
                  <a:lnTo>
                    <a:pt x="265" y="2"/>
                  </a:lnTo>
                  <a:lnTo>
                    <a:pt x="267" y="2"/>
                  </a:lnTo>
                  <a:lnTo>
                    <a:pt x="272" y="1"/>
                  </a:lnTo>
                  <a:lnTo>
                    <a:pt x="274" y="1"/>
                  </a:lnTo>
                  <a:lnTo>
                    <a:pt x="276" y="1"/>
                  </a:lnTo>
                  <a:lnTo>
                    <a:pt x="279" y="0"/>
                  </a:lnTo>
                  <a:lnTo>
                    <a:pt x="282" y="0"/>
                  </a:lnTo>
                  <a:lnTo>
                    <a:pt x="288" y="1"/>
                  </a:lnTo>
                  <a:lnTo>
                    <a:pt x="298" y="2"/>
                  </a:lnTo>
                  <a:lnTo>
                    <a:pt x="302" y="2"/>
                  </a:lnTo>
                  <a:lnTo>
                    <a:pt x="307" y="2"/>
                  </a:lnTo>
                  <a:lnTo>
                    <a:pt x="313" y="1"/>
                  </a:lnTo>
                  <a:lnTo>
                    <a:pt x="316" y="1"/>
                  </a:lnTo>
                  <a:lnTo>
                    <a:pt x="320" y="1"/>
                  </a:lnTo>
                  <a:lnTo>
                    <a:pt x="322" y="1"/>
                  </a:lnTo>
                  <a:lnTo>
                    <a:pt x="326" y="2"/>
                  </a:lnTo>
                  <a:lnTo>
                    <a:pt x="330" y="2"/>
                  </a:lnTo>
                  <a:lnTo>
                    <a:pt x="333" y="4"/>
                  </a:lnTo>
                  <a:lnTo>
                    <a:pt x="336" y="6"/>
                  </a:lnTo>
                  <a:lnTo>
                    <a:pt x="339" y="8"/>
                  </a:lnTo>
                  <a:lnTo>
                    <a:pt x="341" y="10"/>
                  </a:lnTo>
                  <a:lnTo>
                    <a:pt x="342" y="11"/>
                  </a:lnTo>
                  <a:lnTo>
                    <a:pt x="343" y="12"/>
                  </a:lnTo>
                  <a:lnTo>
                    <a:pt x="343" y="13"/>
                  </a:lnTo>
                  <a:lnTo>
                    <a:pt x="343" y="13"/>
                  </a:lnTo>
                  <a:lnTo>
                    <a:pt x="343" y="13"/>
                  </a:lnTo>
                  <a:lnTo>
                    <a:pt x="343" y="13"/>
                  </a:lnTo>
                  <a:lnTo>
                    <a:pt x="342" y="14"/>
                  </a:lnTo>
                  <a:lnTo>
                    <a:pt x="342" y="15"/>
                  </a:lnTo>
                  <a:lnTo>
                    <a:pt x="342" y="16"/>
                  </a:lnTo>
                  <a:lnTo>
                    <a:pt x="342" y="19"/>
                  </a:lnTo>
                  <a:lnTo>
                    <a:pt x="344" y="27"/>
                  </a:lnTo>
                  <a:lnTo>
                    <a:pt x="344" y="31"/>
                  </a:lnTo>
                  <a:lnTo>
                    <a:pt x="344" y="35"/>
                  </a:lnTo>
                  <a:lnTo>
                    <a:pt x="344" y="41"/>
                  </a:lnTo>
                  <a:lnTo>
                    <a:pt x="344" y="43"/>
                  </a:lnTo>
                  <a:lnTo>
                    <a:pt x="344" y="44"/>
                  </a:lnTo>
                  <a:lnTo>
                    <a:pt x="344" y="45"/>
                  </a:lnTo>
                  <a:lnTo>
                    <a:pt x="344" y="46"/>
                  </a:lnTo>
                  <a:lnTo>
                    <a:pt x="345" y="47"/>
                  </a:lnTo>
                  <a:lnTo>
                    <a:pt x="346" y="47"/>
                  </a:lnTo>
                  <a:lnTo>
                    <a:pt x="347" y="47"/>
                  </a:lnTo>
                  <a:lnTo>
                    <a:pt x="349" y="46"/>
                  </a:lnTo>
                  <a:lnTo>
                    <a:pt x="350" y="46"/>
                  </a:lnTo>
                  <a:lnTo>
                    <a:pt x="352" y="43"/>
                  </a:lnTo>
                  <a:lnTo>
                    <a:pt x="358" y="36"/>
                  </a:lnTo>
                  <a:lnTo>
                    <a:pt x="362" y="34"/>
                  </a:lnTo>
                  <a:lnTo>
                    <a:pt x="364" y="32"/>
                  </a:lnTo>
                  <a:lnTo>
                    <a:pt x="367" y="30"/>
                  </a:lnTo>
                  <a:lnTo>
                    <a:pt x="369" y="28"/>
                  </a:lnTo>
                  <a:lnTo>
                    <a:pt x="371" y="27"/>
                  </a:lnTo>
                  <a:lnTo>
                    <a:pt x="374" y="26"/>
                  </a:lnTo>
                  <a:lnTo>
                    <a:pt x="377" y="25"/>
                  </a:lnTo>
                  <a:lnTo>
                    <a:pt x="380" y="24"/>
                  </a:lnTo>
                  <a:lnTo>
                    <a:pt x="383" y="24"/>
                  </a:lnTo>
                  <a:lnTo>
                    <a:pt x="386" y="23"/>
                  </a:lnTo>
                  <a:lnTo>
                    <a:pt x="389" y="23"/>
                  </a:lnTo>
                  <a:lnTo>
                    <a:pt x="392" y="22"/>
                  </a:lnTo>
                  <a:lnTo>
                    <a:pt x="395" y="22"/>
                  </a:lnTo>
                  <a:lnTo>
                    <a:pt x="401" y="22"/>
                  </a:lnTo>
                  <a:lnTo>
                    <a:pt x="405" y="23"/>
                  </a:lnTo>
                  <a:lnTo>
                    <a:pt x="409" y="24"/>
                  </a:lnTo>
                  <a:lnTo>
                    <a:pt x="410" y="24"/>
                  </a:lnTo>
                  <a:lnTo>
                    <a:pt x="412" y="24"/>
                  </a:lnTo>
                  <a:lnTo>
                    <a:pt x="417" y="29"/>
                  </a:lnTo>
                  <a:lnTo>
                    <a:pt x="419" y="30"/>
                  </a:lnTo>
                  <a:lnTo>
                    <a:pt x="422" y="34"/>
                  </a:lnTo>
                  <a:lnTo>
                    <a:pt x="424" y="36"/>
                  </a:lnTo>
                  <a:lnTo>
                    <a:pt x="427" y="38"/>
                  </a:lnTo>
                  <a:lnTo>
                    <a:pt x="434" y="43"/>
                  </a:lnTo>
                  <a:lnTo>
                    <a:pt x="435" y="45"/>
                  </a:lnTo>
                  <a:lnTo>
                    <a:pt x="437" y="47"/>
                  </a:lnTo>
                  <a:lnTo>
                    <a:pt x="439" y="49"/>
                  </a:lnTo>
                  <a:lnTo>
                    <a:pt x="441" y="51"/>
                  </a:lnTo>
                  <a:lnTo>
                    <a:pt x="446" y="66"/>
                  </a:lnTo>
                  <a:lnTo>
                    <a:pt x="448" y="69"/>
                  </a:lnTo>
                  <a:lnTo>
                    <a:pt x="449" y="70"/>
                  </a:lnTo>
                  <a:lnTo>
                    <a:pt x="450" y="72"/>
                  </a:lnTo>
                  <a:lnTo>
                    <a:pt x="454" y="77"/>
                  </a:lnTo>
                  <a:lnTo>
                    <a:pt x="455" y="78"/>
                  </a:lnTo>
                  <a:lnTo>
                    <a:pt x="456" y="80"/>
                  </a:lnTo>
                  <a:lnTo>
                    <a:pt x="457" y="81"/>
                  </a:lnTo>
                  <a:lnTo>
                    <a:pt x="458" y="83"/>
                  </a:lnTo>
                  <a:lnTo>
                    <a:pt x="458" y="85"/>
                  </a:lnTo>
                  <a:lnTo>
                    <a:pt x="458" y="87"/>
                  </a:lnTo>
                  <a:lnTo>
                    <a:pt x="458" y="88"/>
                  </a:lnTo>
                  <a:lnTo>
                    <a:pt x="458" y="90"/>
                  </a:lnTo>
                  <a:lnTo>
                    <a:pt x="458" y="91"/>
                  </a:lnTo>
                  <a:lnTo>
                    <a:pt x="458" y="92"/>
                  </a:lnTo>
                  <a:lnTo>
                    <a:pt x="457" y="93"/>
                  </a:lnTo>
                  <a:lnTo>
                    <a:pt x="456" y="95"/>
                  </a:lnTo>
                  <a:lnTo>
                    <a:pt x="455" y="97"/>
                  </a:lnTo>
                  <a:lnTo>
                    <a:pt x="454" y="98"/>
                  </a:lnTo>
                  <a:lnTo>
                    <a:pt x="452" y="100"/>
                  </a:lnTo>
                  <a:lnTo>
                    <a:pt x="450" y="102"/>
                  </a:lnTo>
                  <a:lnTo>
                    <a:pt x="448" y="103"/>
                  </a:lnTo>
                  <a:lnTo>
                    <a:pt x="444" y="105"/>
                  </a:lnTo>
                  <a:lnTo>
                    <a:pt x="442" y="107"/>
                  </a:lnTo>
                  <a:lnTo>
                    <a:pt x="440" y="108"/>
                  </a:lnTo>
                  <a:lnTo>
                    <a:pt x="440" y="109"/>
                  </a:lnTo>
                  <a:lnTo>
                    <a:pt x="439" y="110"/>
                  </a:lnTo>
                  <a:lnTo>
                    <a:pt x="438" y="111"/>
                  </a:lnTo>
                  <a:lnTo>
                    <a:pt x="438" y="113"/>
                  </a:lnTo>
                  <a:lnTo>
                    <a:pt x="438" y="114"/>
                  </a:lnTo>
                  <a:lnTo>
                    <a:pt x="438" y="115"/>
                  </a:lnTo>
                  <a:lnTo>
                    <a:pt x="439" y="118"/>
                  </a:lnTo>
                  <a:lnTo>
                    <a:pt x="439" y="119"/>
                  </a:lnTo>
                  <a:lnTo>
                    <a:pt x="439" y="121"/>
                  </a:lnTo>
                  <a:lnTo>
                    <a:pt x="439" y="124"/>
                  </a:lnTo>
                  <a:lnTo>
                    <a:pt x="439" y="126"/>
                  </a:lnTo>
                  <a:lnTo>
                    <a:pt x="439" y="128"/>
                  </a:lnTo>
                  <a:lnTo>
                    <a:pt x="440" y="132"/>
                  </a:lnTo>
                  <a:lnTo>
                    <a:pt x="441" y="135"/>
                  </a:lnTo>
                  <a:lnTo>
                    <a:pt x="443" y="137"/>
                  </a:lnTo>
                  <a:lnTo>
                    <a:pt x="445" y="138"/>
                  </a:lnTo>
                  <a:lnTo>
                    <a:pt x="447" y="141"/>
                  </a:lnTo>
                  <a:lnTo>
                    <a:pt x="449" y="143"/>
                  </a:lnTo>
                  <a:lnTo>
                    <a:pt x="453" y="146"/>
                  </a:lnTo>
                  <a:lnTo>
                    <a:pt x="463" y="152"/>
                  </a:lnTo>
                  <a:lnTo>
                    <a:pt x="474" y="160"/>
                  </a:lnTo>
                  <a:lnTo>
                    <a:pt x="475" y="161"/>
                  </a:lnTo>
                  <a:lnTo>
                    <a:pt x="475" y="161"/>
                  </a:lnTo>
                  <a:lnTo>
                    <a:pt x="471" y="167"/>
                  </a:lnTo>
                  <a:lnTo>
                    <a:pt x="463" y="182"/>
                  </a:lnTo>
                  <a:lnTo>
                    <a:pt x="460" y="186"/>
                  </a:lnTo>
                  <a:lnTo>
                    <a:pt x="458" y="192"/>
                  </a:lnTo>
                  <a:lnTo>
                    <a:pt x="456" y="194"/>
                  </a:lnTo>
                  <a:lnTo>
                    <a:pt x="455" y="197"/>
                  </a:lnTo>
                  <a:lnTo>
                    <a:pt x="455" y="200"/>
                  </a:lnTo>
                  <a:lnTo>
                    <a:pt x="454" y="205"/>
                  </a:lnTo>
                  <a:lnTo>
                    <a:pt x="454" y="206"/>
                  </a:lnTo>
                  <a:lnTo>
                    <a:pt x="453" y="208"/>
                  </a:lnTo>
                  <a:lnTo>
                    <a:pt x="452" y="210"/>
                  </a:lnTo>
                  <a:lnTo>
                    <a:pt x="451" y="213"/>
                  </a:lnTo>
                  <a:lnTo>
                    <a:pt x="449" y="216"/>
                  </a:lnTo>
                  <a:lnTo>
                    <a:pt x="448" y="217"/>
                  </a:lnTo>
                  <a:lnTo>
                    <a:pt x="447" y="219"/>
                  </a:lnTo>
                  <a:lnTo>
                    <a:pt x="446" y="221"/>
                  </a:lnTo>
                  <a:lnTo>
                    <a:pt x="444" y="222"/>
                  </a:lnTo>
                  <a:lnTo>
                    <a:pt x="438" y="226"/>
                  </a:lnTo>
                  <a:lnTo>
                    <a:pt x="433" y="230"/>
                  </a:lnTo>
                  <a:lnTo>
                    <a:pt x="432" y="232"/>
                  </a:lnTo>
                  <a:lnTo>
                    <a:pt x="429" y="238"/>
                  </a:lnTo>
                  <a:lnTo>
                    <a:pt x="427" y="240"/>
                  </a:lnTo>
                  <a:lnTo>
                    <a:pt x="426" y="240"/>
                  </a:lnTo>
                  <a:lnTo>
                    <a:pt x="425" y="241"/>
                  </a:lnTo>
                  <a:lnTo>
                    <a:pt x="421" y="245"/>
                  </a:lnTo>
                  <a:lnTo>
                    <a:pt x="418" y="248"/>
                  </a:lnTo>
                  <a:lnTo>
                    <a:pt x="413" y="252"/>
                  </a:lnTo>
                  <a:lnTo>
                    <a:pt x="412" y="254"/>
                  </a:lnTo>
                  <a:lnTo>
                    <a:pt x="411" y="256"/>
                  </a:lnTo>
                  <a:lnTo>
                    <a:pt x="410" y="258"/>
                  </a:lnTo>
                  <a:lnTo>
                    <a:pt x="410" y="259"/>
                  </a:lnTo>
                  <a:lnTo>
                    <a:pt x="410" y="261"/>
                  </a:lnTo>
                  <a:lnTo>
                    <a:pt x="410" y="262"/>
                  </a:lnTo>
                  <a:lnTo>
                    <a:pt x="411" y="263"/>
                  </a:lnTo>
                  <a:lnTo>
                    <a:pt x="412" y="265"/>
                  </a:lnTo>
                  <a:lnTo>
                    <a:pt x="412" y="265"/>
                  </a:lnTo>
                  <a:lnTo>
                    <a:pt x="412" y="267"/>
                  </a:lnTo>
                  <a:lnTo>
                    <a:pt x="416" y="270"/>
                  </a:lnTo>
                  <a:lnTo>
                    <a:pt x="418" y="271"/>
                  </a:lnTo>
                  <a:lnTo>
                    <a:pt x="419" y="273"/>
                  </a:lnTo>
                  <a:lnTo>
                    <a:pt x="421" y="274"/>
                  </a:lnTo>
                  <a:lnTo>
                    <a:pt x="423" y="277"/>
                  </a:lnTo>
                  <a:lnTo>
                    <a:pt x="424" y="281"/>
                  </a:lnTo>
                  <a:lnTo>
                    <a:pt x="427" y="286"/>
                  </a:lnTo>
                  <a:lnTo>
                    <a:pt x="429" y="289"/>
                  </a:lnTo>
                  <a:lnTo>
                    <a:pt x="430" y="292"/>
                  </a:lnTo>
                  <a:lnTo>
                    <a:pt x="431" y="295"/>
                  </a:lnTo>
                  <a:lnTo>
                    <a:pt x="431" y="296"/>
                  </a:lnTo>
                  <a:lnTo>
                    <a:pt x="431" y="299"/>
                  </a:lnTo>
                  <a:lnTo>
                    <a:pt x="430" y="301"/>
                  </a:lnTo>
                  <a:lnTo>
                    <a:pt x="430" y="303"/>
                  </a:lnTo>
                  <a:lnTo>
                    <a:pt x="429" y="304"/>
                  </a:lnTo>
                  <a:lnTo>
                    <a:pt x="427" y="307"/>
                  </a:lnTo>
                  <a:lnTo>
                    <a:pt x="426" y="308"/>
                  </a:lnTo>
                  <a:lnTo>
                    <a:pt x="425" y="310"/>
                  </a:lnTo>
                  <a:lnTo>
                    <a:pt x="425" y="311"/>
                  </a:lnTo>
                  <a:lnTo>
                    <a:pt x="426" y="311"/>
                  </a:lnTo>
                  <a:lnTo>
                    <a:pt x="426" y="313"/>
                  </a:lnTo>
                  <a:lnTo>
                    <a:pt x="428" y="315"/>
                  </a:lnTo>
                  <a:lnTo>
                    <a:pt x="429" y="316"/>
                  </a:lnTo>
                  <a:lnTo>
                    <a:pt x="432" y="319"/>
                  </a:lnTo>
                  <a:lnTo>
                    <a:pt x="434" y="321"/>
                  </a:lnTo>
                  <a:lnTo>
                    <a:pt x="435" y="323"/>
                  </a:lnTo>
                  <a:lnTo>
                    <a:pt x="437" y="326"/>
                  </a:lnTo>
                  <a:lnTo>
                    <a:pt x="438" y="328"/>
                  </a:lnTo>
                  <a:lnTo>
                    <a:pt x="440" y="332"/>
                  </a:lnTo>
                  <a:lnTo>
                    <a:pt x="442" y="335"/>
                  </a:lnTo>
                  <a:lnTo>
                    <a:pt x="443" y="339"/>
                  </a:lnTo>
                  <a:lnTo>
                    <a:pt x="443" y="341"/>
                  </a:lnTo>
                  <a:lnTo>
                    <a:pt x="444" y="342"/>
                  </a:lnTo>
                  <a:lnTo>
                    <a:pt x="444" y="347"/>
                  </a:lnTo>
                  <a:lnTo>
                    <a:pt x="444" y="351"/>
                  </a:lnTo>
                  <a:lnTo>
                    <a:pt x="444" y="360"/>
                  </a:lnTo>
                  <a:lnTo>
                    <a:pt x="445" y="370"/>
                  </a:lnTo>
                  <a:lnTo>
                    <a:pt x="444" y="374"/>
                  </a:lnTo>
                  <a:lnTo>
                    <a:pt x="444" y="377"/>
                  </a:lnTo>
                  <a:lnTo>
                    <a:pt x="444" y="379"/>
                  </a:lnTo>
                  <a:lnTo>
                    <a:pt x="443" y="381"/>
                  </a:lnTo>
                  <a:lnTo>
                    <a:pt x="442" y="383"/>
                  </a:lnTo>
                  <a:lnTo>
                    <a:pt x="441" y="384"/>
                  </a:lnTo>
                  <a:lnTo>
                    <a:pt x="440" y="385"/>
                  </a:lnTo>
                  <a:lnTo>
                    <a:pt x="438" y="387"/>
                  </a:lnTo>
                  <a:lnTo>
                    <a:pt x="437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3" y="389"/>
                  </a:lnTo>
                  <a:lnTo>
                    <a:pt x="431" y="390"/>
                  </a:lnTo>
                  <a:lnTo>
                    <a:pt x="428" y="390"/>
                  </a:lnTo>
                  <a:lnTo>
                    <a:pt x="426" y="390"/>
                  </a:lnTo>
                  <a:lnTo>
                    <a:pt x="421" y="391"/>
                  </a:lnTo>
                  <a:lnTo>
                    <a:pt x="418" y="391"/>
                  </a:lnTo>
                  <a:lnTo>
                    <a:pt x="415" y="391"/>
                  </a:lnTo>
                  <a:lnTo>
                    <a:pt x="409" y="393"/>
                  </a:lnTo>
                  <a:lnTo>
                    <a:pt x="405" y="394"/>
                  </a:lnTo>
                  <a:lnTo>
                    <a:pt x="402" y="394"/>
                  </a:lnTo>
                  <a:lnTo>
                    <a:pt x="397" y="394"/>
                  </a:lnTo>
                  <a:lnTo>
                    <a:pt x="392" y="394"/>
                  </a:lnTo>
                  <a:lnTo>
                    <a:pt x="389" y="394"/>
                  </a:lnTo>
                  <a:lnTo>
                    <a:pt x="388" y="394"/>
                  </a:lnTo>
                  <a:lnTo>
                    <a:pt x="387" y="394"/>
                  </a:lnTo>
                  <a:lnTo>
                    <a:pt x="384" y="393"/>
                  </a:lnTo>
                  <a:lnTo>
                    <a:pt x="378" y="391"/>
                  </a:lnTo>
                  <a:lnTo>
                    <a:pt x="375" y="390"/>
                  </a:lnTo>
                  <a:lnTo>
                    <a:pt x="373" y="390"/>
                  </a:lnTo>
                  <a:lnTo>
                    <a:pt x="370" y="389"/>
                  </a:lnTo>
                  <a:lnTo>
                    <a:pt x="368" y="389"/>
                  </a:lnTo>
                  <a:lnTo>
                    <a:pt x="367" y="389"/>
                  </a:lnTo>
                  <a:lnTo>
                    <a:pt x="365" y="390"/>
                  </a:lnTo>
                  <a:lnTo>
                    <a:pt x="364" y="390"/>
                  </a:lnTo>
                  <a:lnTo>
                    <a:pt x="363" y="391"/>
                  </a:lnTo>
                  <a:lnTo>
                    <a:pt x="361" y="392"/>
                  </a:lnTo>
                  <a:lnTo>
                    <a:pt x="360" y="393"/>
                  </a:lnTo>
                  <a:lnTo>
                    <a:pt x="359" y="394"/>
                  </a:lnTo>
                  <a:lnTo>
                    <a:pt x="358" y="395"/>
                  </a:lnTo>
                  <a:lnTo>
                    <a:pt x="357" y="396"/>
                  </a:lnTo>
                  <a:lnTo>
                    <a:pt x="356" y="398"/>
                  </a:lnTo>
                  <a:lnTo>
                    <a:pt x="355" y="400"/>
                  </a:lnTo>
                  <a:lnTo>
                    <a:pt x="355" y="403"/>
                  </a:lnTo>
                  <a:lnTo>
                    <a:pt x="352" y="414"/>
                  </a:lnTo>
                  <a:lnTo>
                    <a:pt x="350" y="421"/>
                  </a:lnTo>
                  <a:lnTo>
                    <a:pt x="349" y="424"/>
                  </a:lnTo>
                  <a:lnTo>
                    <a:pt x="349" y="425"/>
                  </a:lnTo>
                  <a:lnTo>
                    <a:pt x="348" y="425"/>
                  </a:lnTo>
                  <a:lnTo>
                    <a:pt x="349" y="425"/>
                  </a:lnTo>
                  <a:lnTo>
                    <a:pt x="349" y="424"/>
                  </a:lnTo>
                  <a:lnTo>
                    <a:pt x="349" y="423"/>
                  </a:lnTo>
                  <a:lnTo>
                    <a:pt x="349" y="421"/>
                  </a:lnTo>
                  <a:lnTo>
                    <a:pt x="348" y="420"/>
                  </a:lnTo>
                  <a:lnTo>
                    <a:pt x="348" y="417"/>
                  </a:lnTo>
                  <a:lnTo>
                    <a:pt x="347" y="415"/>
                  </a:lnTo>
                  <a:lnTo>
                    <a:pt x="346" y="414"/>
                  </a:lnTo>
                  <a:lnTo>
                    <a:pt x="345" y="411"/>
                  </a:lnTo>
                  <a:lnTo>
                    <a:pt x="344" y="410"/>
                  </a:lnTo>
                  <a:lnTo>
                    <a:pt x="342" y="407"/>
                  </a:lnTo>
                  <a:lnTo>
                    <a:pt x="328" y="390"/>
                  </a:lnTo>
                  <a:lnTo>
                    <a:pt x="319" y="381"/>
                  </a:lnTo>
                  <a:lnTo>
                    <a:pt x="316" y="377"/>
                  </a:lnTo>
                  <a:lnTo>
                    <a:pt x="311" y="374"/>
                  </a:lnTo>
                  <a:lnTo>
                    <a:pt x="308" y="370"/>
                  </a:lnTo>
                  <a:lnTo>
                    <a:pt x="304" y="367"/>
                  </a:lnTo>
                  <a:lnTo>
                    <a:pt x="299" y="364"/>
                  </a:lnTo>
                  <a:lnTo>
                    <a:pt x="293" y="360"/>
                  </a:lnTo>
                  <a:lnTo>
                    <a:pt x="288" y="358"/>
                  </a:lnTo>
                  <a:lnTo>
                    <a:pt x="285" y="356"/>
                  </a:lnTo>
                  <a:lnTo>
                    <a:pt x="281" y="355"/>
                  </a:lnTo>
                  <a:lnTo>
                    <a:pt x="276" y="354"/>
                  </a:lnTo>
                  <a:lnTo>
                    <a:pt x="271" y="353"/>
                  </a:lnTo>
                  <a:lnTo>
                    <a:pt x="259" y="350"/>
                  </a:lnTo>
                  <a:lnTo>
                    <a:pt x="255" y="350"/>
                  </a:lnTo>
                  <a:lnTo>
                    <a:pt x="252" y="349"/>
                  </a:lnTo>
                  <a:lnTo>
                    <a:pt x="248" y="349"/>
                  </a:lnTo>
                  <a:lnTo>
                    <a:pt x="246" y="349"/>
                  </a:lnTo>
                  <a:lnTo>
                    <a:pt x="244" y="350"/>
                  </a:lnTo>
                  <a:lnTo>
                    <a:pt x="242" y="351"/>
                  </a:lnTo>
                  <a:lnTo>
                    <a:pt x="241" y="352"/>
                  </a:lnTo>
                  <a:lnTo>
                    <a:pt x="241" y="353"/>
                  </a:lnTo>
                  <a:lnTo>
                    <a:pt x="240" y="353"/>
                  </a:lnTo>
                  <a:lnTo>
                    <a:pt x="238" y="357"/>
                  </a:lnTo>
                  <a:lnTo>
                    <a:pt x="237" y="358"/>
                  </a:lnTo>
                  <a:lnTo>
                    <a:pt x="236" y="359"/>
                  </a:lnTo>
                  <a:lnTo>
                    <a:pt x="235" y="360"/>
                  </a:lnTo>
                  <a:lnTo>
                    <a:pt x="233" y="361"/>
                  </a:lnTo>
                  <a:lnTo>
                    <a:pt x="232" y="361"/>
                  </a:lnTo>
                  <a:lnTo>
                    <a:pt x="230" y="361"/>
                  </a:lnTo>
                  <a:lnTo>
                    <a:pt x="228" y="361"/>
                  </a:lnTo>
                  <a:lnTo>
                    <a:pt x="225" y="361"/>
                  </a:lnTo>
                  <a:lnTo>
                    <a:pt x="222" y="360"/>
                  </a:lnTo>
                  <a:lnTo>
                    <a:pt x="217" y="359"/>
                  </a:lnTo>
                  <a:lnTo>
                    <a:pt x="211" y="357"/>
                  </a:lnTo>
                  <a:lnTo>
                    <a:pt x="208" y="356"/>
                  </a:lnTo>
                  <a:lnTo>
                    <a:pt x="205" y="356"/>
                  </a:lnTo>
                  <a:lnTo>
                    <a:pt x="196" y="355"/>
                  </a:lnTo>
                  <a:lnTo>
                    <a:pt x="190" y="354"/>
                  </a:lnTo>
                  <a:lnTo>
                    <a:pt x="185" y="353"/>
                  </a:lnTo>
                  <a:lnTo>
                    <a:pt x="179" y="353"/>
                  </a:lnTo>
                  <a:lnTo>
                    <a:pt x="177" y="352"/>
                  </a:lnTo>
                  <a:lnTo>
                    <a:pt x="174" y="351"/>
                  </a:lnTo>
                  <a:lnTo>
                    <a:pt x="172" y="350"/>
                  </a:lnTo>
                  <a:lnTo>
                    <a:pt x="170" y="349"/>
                  </a:lnTo>
                  <a:lnTo>
                    <a:pt x="168" y="347"/>
                  </a:lnTo>
                  <a:lnTo>
                    <a:pt x="166" y="346"/>
                  </a:lnTo>
                  <a:lnTo>
                    <a:pt x="164" y="344"/>
                  </a:lnTo>
                  <a:lnTo>
                    <a:pt x="162" y="342"/>
                  </a:lnTo>
                  <a:lnTo>
                    <a:pt x="161" y="340"/>
                  </a:lnTo>
                  <a:lnTo>
                    <a:pt x="159" y="337"/>
                  </a:lnTo>
                  <a:lnTo>
                    <a:pt x="156" y="331"/>
                  </a:lnTo>
                  <a:lnTo>
                    <a:pt x="151" y="322"/>
                  </a:lnTo>
                  <a:lnTo>
                    <a:pt x="149" y="318"/>
                  </a:lnTo>
                  <a:lnTo>
                    <a:pt x="147" y="316"/>
                  </a:lnTo>
                  <a:lnTo>
                    <a:pt x="146" y="312"/>
                  </a:lnTo>
                  <a:lnTo>
                    <a:pt x="143" y="303"/>
                  </a:lnTo>
                  <a:lnTo>
                    <a:pt x="141" y="299"/>
                  </a:lnTo>
                  <a:lnTo>
                    <a:pt x="140" y="296"/>
                  </a:lnTo>
                  <a:lnTo>
                    <a:pt x="139" y="292"/>
                  </a:lnTo>
                  <a:lnTo>
                    <a:pt x="137" y="289"/>
                  </a:lnTo>
                  <a:lnTo>
                    <a:pt x="135" y="286"/>
                  </a:lnTo>
                  <a:lnTo>
                    <a:pt x="132" y="283"/>
                  </a:lnTo>
                  <a:lnTo>
                    <a:pt x="130" y="280"/>
                  </a:lnTo>
                  <a:lnTo>
                    <a:pt x="126" y="276"/>
                  </a:lnTo>
                  <a:lnTo>
                    <a:pt x="122" y="272"/>
                  </a:lnTo>
                  <a:lnTo>
                    <a:pt x="109" y="262"/>
                  </a:lnTo>
                  <a:lnTo>
                    <a:pt x="106" y="260"/>
                  </a:lnTo>
                  <a:lnTo>
                    <a:pt x="104" y="258"/>
                  </a:lnTo>
                  <a:lnTo>
                    <a:pt x="100" y="256"/>
                  </a:lnTo>
                  <a:lnTo>
                    <a:pt x="96" y="253"/>
                  </a:lnTo>
                  <a:lnTo>
                    <a:pt x="85" y="249"/>
                  </a:lnTo>
                  <a:lnTo>
                    <a:pt x="82" y="248"/>
                  </a:lnTo>
                  <a:lnTo>
                    <a:pt x="80" y="246"/>
                  </a:lnTo>
                  <a:lnTo>
                    <a:pt x="76" y="243"/>
                  </a:lnTo>
                  <a:lnTo>
                    <a:pt x="74" y="242"/>
                  </a:lnTo>
                  <a:lnTo>
                    <a:pt x="73" y="240"/>
                  </a:lnTo>
                  <a:lnTo>
                    <a:pt x="71" y="238"/>
                  </a:lnTo>
                  <a:lnTo>
                    <a:pt x="70" y="236"/>
                  </a:lnTo>
                  <a:lnTo>
                    <a:pt x="69" y="233"/>
                  </a:lnTo>
                  <a:lnTo>
                    <a:pt x="67" y="229"/>
                  </a:lnTo>
                  <a:lnTo>
                    <a:pt x="66" y="226"/>
                  </a:lnTo>
                  <a:lnTo>
                    <a:pt x="64" y="217"/>
                  </a:lnTo>
                  <a:lnTo>
                    <a:pt x="62" y="212"/>
                  </a:lnTo>
                  <a:lnTo>
                    <a:pt x="60" y="206"/>
                  </a:lnTo>
                  <a:lnTo>
                    <a:pt x="57" y="197"/>
                  </a:lnTo>
                  <a:lnTo>
                    <a:pt x="56" y="194"/>
                  </a:lnTo>
                  <a:lnTo>
                    <a:pt x="55" y="191"/>
                  </a:lnTo>
                  <a:lnTo>
                    <a:pt x="55" y="189"/>
                  </a:lnTo>
                  <a:lnTo>
                    <a:pt x="55" y="186"/>
                  </a:lnTo>
                  <a:lnTo>
                    <a:pt x="55" y="184"/>
                  </a:lnTo>
                  <a:lnTo>
                    <a:pt x="57" y="178"/>
                  </a:lnTo>
                  <a:lnTo>
                    <a:pt x="57" y="172"/>
                  </a:lnTo>
                  <a:lnTo>
                    <a:pt x="57" y="169"/>
                  </a:lnTo>
                  <a:lnTo>
                    <a:pt x="57" y="161"/>
                  </a:lnTo>
                  <a:lnTo>
                    <a:pt x="58" y="152"/>
                  </a:lnTo>
                  <a:lnTo>
                    <a:pt x="58" y="149"/>
                  </a:lnTo>
                  <a:lnTo>
                    <a:pt x="57" y="145"/>
                  </a:lnTo>
                  <a:lnTo>
                    <a:pt x="57" y="142"/>
                  </a:lnTo>
                  <a:lnTo>
                    <a:pt x="56" y="138"/>
                  </a:lnTo>
                  <a:lnTo>
                    <a:pt x="55" y="137"/>
                  </a:lnTo>
                  <a:lnTo>
                    <a:pt x="53" y="135"/>
                  </a:lnTo>
                  <a:lnTo>
                    <a:pt x="52" y="132"/>
                  </a:lnTo>
                  <a:lnTo>
                    <a:pt x="50" y="131"/>
                  </a:lnTo>
                  <a:lnTo>
                    <a:pt x="48" y="130"/>
                  </a:lnTo>
                  <a:lnTo>
                    <a:pt x="40" y="126"/>
                  </a:lnTo>
                  <a:lnTo>
                    <a:pt x="37" y="126"/>
                  </a:lnTo>
                  <a:lnTo>
                    <a:pt x="34" y="124"/>
                  </a:lnTo>
                  <a:lnTo>
                    <a:pt x="30" y="121"/>
                  </a:lnTo>
                  <a:lnTo>
                    <a:pt x="27" y="120"/>
                  </a:lnTo>
                  <a:lnTo>
                    <a:pt x="25" y="118"/>
                  </a:lnTo>
                  <a:lnTo>
                    <a:pt x="24" y="115"/>
                  </a:lnTo>
                  <a:lnTo>
                    <a:pt x="22" y="114"/>
                  </a:lnTo>
                  <a:lnTo>
                    <a:pt x="18" y="108"/>
                  </a:lnTo>
                  <a:lnTo>
                    <a:pt x="15" y="103"/>
                  </a:lnTo>
                  <a:lnTo>
                    <a:pt x="13" y="99"/>
                  </a:lnTo>
                  <a:lnTo>
                    <a:pt x="11" y="93"/>
                  </a:lnTo>
                  <a:lnTo>
                    <a:pt x="10" y="89"/>
                  </a:lnTo>
                  <a:lnTo>
                    <a:pt x="8" y="85"/>
                  </a:lnTo>
                  <a:lnTo>
                    <a:pt x="8" y="81"/>
                  </a:lnTo>
                  <a:lnTo>
                    <a:pt x="7" y="78"/>
                  </a:lnTo>
                  <a:lnTo>
                    <a:pt x="5" y="61"/>
                  </a:lnTo>
                  <a:lnTo>
                    <a:pt x="4" y="55"/>
                  </a:lnTo>
                  <a:lnTo>
                    <a:pt x="3" y="49"/>
                  </a:lnTo>
                  <a:lnTo>
                    <a:pt x="1" y="37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2" y="33"/>
                  </a:lnTo>
                  <a:lnTo>
                    <a:pt x="3" y="34"/>
                  </a:lnTo>
                  <a:lnTo>
                    <a:pt x="6" y="35"/>
                  </a:lnTo>
                  <a:lnTo>
                    <a:pt x="23" y="41"/>
                  </a:lnTo>
                  <a:lnTo>
                    <a:pt x="32" y="45"/>
                  </a:lnTo>
                  <a:lnTo>
                    <a:pt x="35" y="46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41" y="47"/>
                  </a:lnTo>
                  <a:lnTo>
                    <a:pt x="45" y="47"/>
                  </a:lnTo>
                  <a:lnTo>
                    <a:pt x="46" y="47"/>
                  </a:lnTo>
                  <a:lnTo>
                    <a:pt x="47" y="47"/>
                  </a:lnTo>
                  <a:lnTo>
                    <a:pt x="48" y="47"/>
                  </a:lnTo>
                  <a:lnTo>
                    <a:pt x="49" y="47"/>
                  </a:lnTo>
                  <a:lnTo>
                    <a:pt x="50" y="48"/>
                  </a:lnTo>
                  <a:lnTo>
                    <a:pt x="58" y="54"/>
                  </a:lnTo>
                  <a:lnTo>
                    <a:pt x="60" y="55"/>
                  </a:lnTo>
                  <a:lnTo>
                    <a:pt x="60" y="56"/>
                  </a:lnTo>
                  <a:lnTo>
                    <a:pt x="62" y="57"/>
                  </a:lnTo>
                  <a:lnTo>
                    <a:pt x="64" y="57"/>
                  </a:lnTo>
                  <a:lnTo>
                    <a:pt x="67" y="57"/>
                  </a:lnTo>
                  <a:lnTo>
                    <a:pt x="69" y="57"/>
                  </a:lnTo>
                  <a:lnTo>
                    <a:pt x="71" y="56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8" y="54"/>
                  </a:lnTo>
                  <a:lnTo>
                    <a:pt x="84" y="49"/>
                  </a:lnTo>
                  <a:lnTo>
                    <a:pt x="86" y="47"/>
                  </a:lnTo>
                  <a:lnTo>
                    <a:pt x="90" y="45"/>
                  </a:lnTo>
                  <a:lnTo>
                    <a:pt x="93" y="42"/>
                  </a:lnTo>
                  <a:lnTo>
                    <a:pt x="94" y="41"/>
                  </a:lnTo>
                  <a:lnTo>
                    <a:pt x="97" y="39"/>
                  </a:lnTo>
                  <a:lnTo>
                    <a:pt x="103" y="37"/>
                  </a:lnTo>
                  <a:lnTo>
                    <a:pt x="107" y="36"/>
                  </a:lnTo>
                  <a:lnTo>
                    <a:pt x="112" y="35"/>
                  </a:lnTo>
                  <a:lnTo>
                    <a:pt x="116" y="34"/>
                  </a:lnTo>
                  <a:lnTo>
                    <a:pt x="121" y="33"/>
                  </a:lnTo>
                  <a:lnTo>
                    <a:pt x="123" y="32"/>
                  </a:lnTo>
                  <a:lnTo>
                    <a:pt x="126" y="31"/>
                  </a:lnTo>
                  <a:lnTo>
                    <a:pt x="128" y="30"/>
                  </a:lnTo>
                  <a:lnTo>
                    <a:pt x="129" y="29"/>
                  </a:lnTo>
                  <a:lnTo>
                    <a:pt x="131" y="28"/>
                  </a:lnTo>
                  <a:lnTo>
                    <a:pt x="132" y="27"/>
                  </a:lnTo>
                  <a:lnTo>
                    <a:pt x="133" y="26"/>
                  </a:lnTo>
                  <a:lnTo>
                    <a:pt x="134" y="24"/>
                  </a:lnTo>
                  <a:lnTo>
                    <a:pt x="135" y="23"/>
                  </a:lnTo>
                  <a:lnTo>
                    <a:pt x="138" y="17"/>
                  </a:lnTo>
                  <a:lnTo>
                    <a:pt x="139" y="14"/>
                  </a:lnTo>
                  <a:lnTo>
                    <a:pt x="140" y="13"/>
                  </a:lnTo>
                  <a:lnTo>
                    <a:pt x="141" y="13"/>
                  </a:lnTo>
                  <a:lnTo>
                    <a:pt x="142" y="12"/>
                  </a:lnTo>
                  <a:lnTo>
                    <a:pt x="142" y="12"/>
                  </a:lnTo>
                  <a:lnTo>
                    <a:pt x="142" y="12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3" name="Freeform 26">
              <a:extLst>
                <a:ext uri="{FF2B5EF4-FFF2-40B4-BE49-F238E27FC236}">
                  <a16:creationId xmlns:a16="http://schemas.microsoft.com/office/drawing/2014/main" id="{F25B5697-83D3-4574-BCCD-E06A4EA4E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" y="2763"/>
              <a:ext cx="588" cy="698"/>
            </a:xfrm>
            <a:custGeom>
              <a:avLst/>
              <a:gdLst>
                <a:gd name="T0" fmla="*/ 211 w 588"/>
                <a:gd name="T1" fmla="*/ 17 h 698"/>
                <a:gd name="T2" fmla="*/ 226 w 588"/>
                <a:gd name="T3" fmla="*/ 24 h 698"/>
                <a:gd name="T4" fmla="*/ 247 w 588"/>
                <a:gd name="T5" fmla="*/ 40 h 698"/>
                <a:gd name="T6" fmla="*/ 264 w 588"/>
                <a:gd name="T7" fmla="*/ 66 h 698"/>
                <a:gd name="T8" fmla="*/ 281 w 588"/>
                <a:gd name="T9" fmla="*/ 58 h 698"/>
                <a:gd name="T10" fmla="*/ 293 w 588"/>
                <a:gd name="T11" fmla="*/ 41 h 698"/>
                <a:gd name="T12" fmla="*/ 327 w 588"/>
                <a:gd name="T13" fmla="*/ 47 h 698"/>
                <a:gd name="T14" fmla="*/ 343 w 588"/>
                <a:gd name="T15" fmla="*/ 70 h 698"/>
                <a:gd name="T16" fmla="*/ 337 w 588"/>
                <a:gd name="T17" fmla="*/ 89 h 698"/>
                <a:gd name="T18" fmla="*/ 352 w 588"/>
                <a:gd name="T19" fmla="*/ 115 h 698"/>
                <a:gd name="T20" fmla="*/ 393 w 588"/>
                <a:gd name="T21" fmla="*/ 119 h 698"/>
                <a:gd name="T22" fmla="*/ 428 w 588"/>
                <a:gd name="T23" fmla="*/ 121 h 698"/>
                <a:gd name="T24" fmla="*/ 447 w 588"/>
                <a:gd name="T25" fmla="*/ 123 h 698"/>
                <a:gd name="T26" fmla="*/ 482 w 588"/>
                <a:gd name="T27" fmla="*/ 138 h 698"/>
                <a:gd name="T28" fmla="*/ 523 w 588"/>
                <a:gd name="T29" fmla="*/ 147 h 698"/>
                <a:gd name="T30" fmla="*/ 566 w 588"/>
                <a:gd name="T31" fmla="*/ 160 h 698"/>
                <a:gd name="T32" fmla="*/ 584 w 588"/>
                <a:gd name="T33" fmla="*/ 196 h 698"/>
                <a:gd name="T34" fmla="*/ 585 w 588"/>
                <a:gd name="T35" fmla="*/ 221 h 698"/>
                <a:gd name="T36" fmla="*/ 560 w 588"/>
                <a:gd name="T37" fmla="*/ 259 h 698"/>
                <a:gd name="T38" fmla="*/ 541 w 588"/>
                <a:gd name="T39" fmla="*/ 286 h 698"/>
                <a:gd name="T40" fmla="*/ 536 w 588"/>
                <a:gd name="T41" fmla="*/ 306 h 698"/>
                <a:gd name="T42" fmla="*/ 525 w 588"/>
                <a:gd name="T43" fmla="*/ 319 h 698"/>
                <a:gd name="T44" fmla="*/ 537 w 588"/>
                <a:gd name="T45" fmla="*/ 336 h 698"/>
                <a:gd name="T46" fmla="*/ 527 w 588"/>
                <a:gd name="T47" fmla="*/ 351 h 698"/>
                <a:gd name="T48" fmla="*/ 514 w 588"/>
                <a:gd name="T49" fmla="*/ 374 h 698"/>
                <a:gd name="T50" fmla="*/ 528 w 588"/>
                <a:gd name="T51" fmla="*/ 402 h 698"/>
                <a:gd name="T52" fmla="*/ 515 w 588"/>
                <a:gd name="T53" fmla="*/ 422 h 698"/>
                <a:gd name="T54" fmla="*/ 506 w 588"/>
                <a:gd name="T55" fmla="*/ 445 h 698"/>
                <a:gd name="T56" fmla="*/ 472 w 588"/>
                <a:gd name="T57" fmla="*/ 465 h 698"/>
                <a:gd name="T58" fmla="*/ 442 w 588"/>
                <a:gd name="T59" fmla="*/ 466 h 698"/>
                <a:gd name="T60" fmla="*/ 433 w 588"/>
                <a:gd name="T61" fmla="*/ 498 h 698"/>
                <a:gd name="T62" fmla="*/ 435 w 588"/>
                <a:gd name="T63" fmla="*/ 537 h 698"/>
                <a:gd name="T64" fmla="*/ 434 w 588"/>
                <a:gd name="T65" fmla="*/ 571 h 698"/>
                <a:gd name="T66" fmla="*/ 410 w 588"/>
                <a:gd name="T67" fmla="*/ 588 h 698"/>
                <a:gd name="T68" fmla="*/ 392 w 588"/>
                <a:gd name="T69" fmla="*/ 630 h 698"/>
                <a:gd name="T70" fmla="*/ 396 w 588"/>
                <a:gd name="T71" fmla="*/ 671 h 698"/>
                <a:gd name="T72" fmla="*/ 380 w 588"/>
                <a:gd name="T73" fmla="*/ 674 h 698"/>
                <a:gd name="T74" fmla="*/ 360 w 588"/>
                <a:gd name="T75" fmla="*/ 696 h 698"/>
                <a:gd name="T76" fmla="*/ 334 w 588"/>
                <a:gd name="T77" fmla="*/ 688 h 698"/>
                <a:gd name="T78" fmla="*/ 287 w 588"/>
                <a:gd name="T79" fmla="*/ 645 h 698"/>
                <a:gd name="T80" fmla="*/ 277 w 588"/>
                <a:gd name="T81" fmla="*/ 579 h 698"/>
                <a:gd name="T82" fmla="*/ 234 w 588"/>
                <a:gd name="T83" fmla="*/ 523 h 698"/>
                <a:gd name="T84" fmla="*/ 189 w 588"/>
                <a:gd name="T85" fmla="*/ 493 h 698"/>
                <a:gd name="T86" fmla="*/ 141 w 588"/>
                <a:gd name="T87" fmla="*/ 487 h 698"/>
                <a:gd name="T88" fmla="*/ 111 w 588"/>
                <a:gd name="T89" fmla="*/ 459 h 698"/>
                <a:gd name="T90" fmla="*/ 94 w 588"/>
                <a:gd name="T91" fmla="*/ 416 h 698"/>
                <a:gd name="T92" fmla="*/ 48 w 588"/>
                <a:gd name="T93" fmla="*/ 356 h 698"/>
                <a:gd name="T94" fmla="*/ 17 w 588"/>
                <a:gd name="T95" fmla="*/ 318 h 698"/>
                <a:gd name="T96" fmla="*/ 0 w 588"/>
                <a:gd name="T97" fmla="*/ 289 h 698"/>
                <a:gd name="T98" fmla="*/ 12 w 588"/>
                <a:gd name="T99" fmla="*/ 257 h 698"/>
                <a:gd name="T100" fmla="*/ 36 w 588"/>
                <a:gd name="T101" fmla="*/ 257 h 698"/>
                <a:gd name="T102" fmla="*/ 73 w 588"/>
                <a:gd name="T103" fmla="*/ 255 h 698"/>
                <a:gd name="T104" fmla="*/ 94 w 588"/>
                <a:gd name="T105" fmla="*/ 247 h 698"/>
                <a:gd name="T106" fmla="*/ 95 w 588"/>
                <a:gd name="T107" fmla="*/ 203 h 698"/>
                <a:gd name="T108" fmla="*/ 78 w 588"/>
                <a:gd name="T109" fmla="*/ 175 h 698"/>
                <a:gd name="T110" fmla="*/ 82 w 588"/>
                <a:gd name="T111" fmla="*/ 156 h 698"/>
                <a:gd name="T112" fmla="*/ 63 w 588"/>
                <a:gd name="T113" fmla="*/ 127 h 698"/>
                <a:gd name="T114" fmla="*/ 78 w 588"/>
                <a:gd name="T115" fmla="*/ 104 h 698"/>
                <a:gd name="T116" fmla="*/ 103 w 588"/>
                <a:gd name="T117" fmla="*/ 77 h 698"/>
                <a:gd name="T118" fmla="*/ 123 w 588"/>
                <a:gd name="T119" fmla="*/ 31 h 698"/>
                <a:gd name="T120" fmla="*/ 147 w 588"/>
                <a:gd name="T121" fmla="*/ 19 h 698"/>
                <a:gd name="T122" fmla="*/ 165 w 588"/>
                <a:gd name="T123" fmla="*/ 5 h 698"/>
                <a:gd name="T124" fmla="*/ 195 w 588"/>
                <a:gd name="T12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88" h="698">
                  <a:moveTo>
                    <a:pt x="199" y="0"/>
                  </a:moveTo>
                  <a:lnTo>
                    <a:pt x="201" y="0"/>
                  </a:lnTo>
                  <a:lnTo>
                    <a:pt x="203" y="1"/>
                  </a:lnTo>
                  <a:lnTo>
                    <a:pt x="205" y="1"/>
                  </a:lnTo>
                  <a:lnTo>
                    <a:pt x="206" y="2"/>
                  </a:lnTo>
                  <a:lnTo>
                    <a:pt x="208" y="3"/>
                  </a:lnTo>
                  <a:lnTo>
                    <a:pt x="208" y="4"/>
                  </a:lnTo>
                  <a:lnTo>
                    <a:pt x="209" y="6"/>
                  </a:lnTo>
                  <a:lnTo>
                    <a:pt x="209" y="7"/>
                  </a:lnTo>
                  <a:lnTo>
                    <a:pt x="210" y="14"/>
                  </a:lnTo>
                  <a:lnTo>
                    <a:pt x="211" y="17"/>
                  </a:lnTo>
                  <a:lnTo>
                    <a:pt x="211" y="19"/>
                  </a:lnTo>
                  <a:lnTo>
                    <a:pt x="212" y="20"/>
                  </a:lnTo>
                  <a:lnTo>
                    <a:pt x="212" y="21"/>
                  </a:lnTo>
                  <a:lnTo>
                    <a:pt x="212" y="22"/>
                  </a:lnTo>
                  <a:lnTo>
                    <a:pt x="213" y="23"/>
                  </a:lnTo>
                  <a:lnTo>
                    <a:pt x="214" y="23"/>
                  </a:lnTo>
                  <a:lnTo>
                    <a:pt x="218" y="24"/>
                  </a:lnTo>
                  <a:lnTo>
                    <a:pt x="219" y="24"/>
                  </a:lnTo>
                  <a:lnTo>
                    <a:pt x="221" y="24"/>
                  </a:lnTo>
                  <a:lnTo>
                    <a:pt x="223" y="24"/>
                  </a:lnTo>
                  <a:lnTo>
                    <a:pt x="226" y="24"/>
                  </a:lnTo>
                  <a:lnTo>
                    <a:pt x="228" y="24"/>
                  </a:lnTo>
                  <a:lnTo>
                    <a:pt x="230" y="24"/>
                  </a:lnTo>
                  <a:lnTo>
                    <a:pt x="232" y="25"/>
                  </a:lnTo>
                  <a:lnTo>
                    <a:pt x="235" y="26"/>
                  </a:lnTo>
                  <a:lnTo>
                    <a:pt x="237" y="29"/>
                  </a:lnTo>
                  <a:lnTo>
                    <a:pt x="240" y="32"/>
                  </a:lnTo>
                  <a:lnTo>
                    <a:pt x="242" y="33"/>
                  </a:lnTo>
                  <a:lnTo>
                    <a:pt x="244" y="35"/>
                  </a:lnTo>
                  <a:lnTo>
                    <a:pt x="246" y="36"/>
                  </a:lnTo>
                  <a:lnTo>
                    <a:pt x="246" y="38"/>
                  </a:lnTo>
                  <a:lnTo>
                    <a:pt x="247" y="40"/>
                  </a:lnTo>
                  <a:lnTo>
                    <a:pt x="248" y="42"/>
                  </a:lnTo>
                  <a:lnTo>
                    <a:pt x="252" y="54"/>
                  </a:lnTo>
                  <a:lnTo>
                    <a:pt x="253" y="56"/>
                  </a:lnTo>
                  <a:lnTo>
                    <a:pt x="254" y="58"/>
                  </a:lnTo>
                  <a:lnTo>
                    <a:pt x="255" y="58"/>
                  </a:lnTo>
                  <a:lnTo>
                    <a:pt x="256" y="60"/>
                  </a:lnTo>
                  <a:lnTo>
                    <a:pt x="258" y="62"/>
                  </a:lnTo>
                  <a:lnTo>
                    <a:pt x="259" y="63"/>
                  </a:lnTo>
                  <a:lnTo>
                    <a:pt x="261" y="65"/>
                  </a:lnTo>
                  <a:lnTo>
                    <a:pt x="263" y="65"/>
                  </a:lnTo>
                  <a:lnTo>
                    <a:pt x="264" y="66"/>
                  </a:lnTo>
                  <a:lnTo>
                    <a:pt x="266" y="67"/>
                  </a:lnTo>
                  <a:lnTo>
                    <a:pt x="268" y="67"/>
                  </a:lnTo>
                  <a:lnTo>
                    <a:pt x="269" y="67"/>
                  </a:lnTo>
                  <a:lnTo>
                    <a:pt x="271" y="67"/>
                  </a:lnTo>
                  <a:lnTo>
                    <a:pt x="273" y="66"/>
                  </a:lnTo>
                  <a:lnTo>
                    <a:pt x="275" y="65"/>
                  </a:lnTo>
                  <a:lnTo>
                    <a:pt x="277" y="64"/>
                  </a:lnTo>
                  <a:lnTo>
                    <a:pt x="278" y="63"/>
                  </a:lnTo>
                  <a:lnTo>
                    <a:pt x="280" y="62"/>
                  </a:lnTo>
                  <a:lnTo>
                    <a:pt x="280" y="60"/>
                  </a:lnTo>
                  <a:lnTo>
                    <a:pt x="281" y="58"/>
                  </a:lnTo>
                  <a:lnTo>
                    <a:pt x="282" y="58"/>
                  </a:lnTo>
                  <a:lnTo>
                    <a:pt x="283" y="56"/>
                  </a:lnTo>
                  <a:lnTo>
                    <a:pt x="284" y="52"/>
                  </a:lnTo>
                  <a:lnTo>
                    <a:pt x="285" y="49"/>
                  </a:lnTo>
                  <a:lnTo>
                    <a:pt x="286" y="47"/>
                  </a:lnTo>
                  <a:lnTo>
                    <a:pt x="287" y="45"/>
                  </a:lnTo>
                  <a:lnTo>
                    <a:pt x="288" y="45"/>
                  </a:lnTo>
                  <a:lnTo>
                    <a:pt x="289" y="43"/>
                  </a:lnTo>
                  <a:lnTo>
                    <a:pt x="290" y="42"/>
                  </a:lnTo>
                  <a:lnTo>
                    <a:pt x="291" y="41"/>
                  </a:lnTo>
                  <a:lnTo>
                    <a:pt x="293" y="41"/>
                  </a:lnTo>
                  <a:lnTo>
                    <a:pt x="295" y="40"/>
                  </a:lnTo>
                  <a:lnTo>
                    <a:pt x="296" y="40"/>
                  </a:lnTo>
                  <a:lnTo>
                    <a:pt x="297" y="40"/>
                  </a:lnTo>
                  <a:lnTo>
                    <a:pt x="299" y="41"/>
                  </a:lnTo>
                  <a:lnTo>
                    <a:pt x="302" y="41"/>
                  </a:lnTo>
                  <a:lnTo>
                    <a:pt x="308" y="43"/>
                  </a:lnTo>
                  <a:lnTo>
                    <a:pt x="312" y="44"/>
                  </a:lnTo>
                  <a:lnTo>
                    <a:pt x="315" y="45"/>
                  </a:lnTo>
                  <a:lnTo>
                    <a:pt x="322" y="46"/>
                  </a:lnTo>
                  <a:lnTo>
                    <a:pt x="324" y="46"/>
                  </a:lnTo>
                  <a:lnTo>
                    <a:pt x="327" y="47"/>
                  </a:lnTo>
                  <a:lnTo>
                    <a:pt x="330" y="47"/>
                  </a:lnTo>
                  <a:lnTo>
                    <a:pt x="332" y="48"/>
                  </a:lnTo>
                  <a:lnTo>
                    <a:pt x="334" y="49"/>
                  </a:lnTo>
                  <a:lnTo>
                    <a:pt x="335" y="50"/>
                  </a:lnTo>
                  <a:lnTo>
                    <a:pt x="336" y="52"/>
                  </a:lnTo>
                  <a:lnTo>
                    <a:pt x="337" y="55"/>
                  </a:lnTo>
                  <a:lnTo>
                    <a:pt x="338" y="57"/>
                  </a:lnTo>
                  <a:lnTo>
                    <a:pt x="339" y="59"/>
                  </a:lnTo>
                  <a:lnTo>
                    <a:pt x="341" y="64"/>
                  </a:lnTo>
                  <a:lnTo>
                    <a:pt x="341" y="66"/>
                  </a:lnTo>
                  <a:lnTo>
                    <a:pt x="343" y="70"/>
                  </a:lnTo>
                  <a:lnTo>
                    <a:pt x="344" y="71"/>
                  </a:lnTo>
                  <a:lnTo>
                    <a:pt x="345" y="74"/>
                  </a:lnTo>
                  <a:lnTo>
                    <a:pt x="345" y="76"/>
                  </a:lnTo>
                  <a:lnTo>
                    <a:pt x="345" y="77"/>
                  </a:lnTo>
                  <a:lnTo>
                    <a:pt x="345" y="78"/>
                  </a:lnTo>
                  <a:lnTo>
                    <a:pt x="345" y="80"/>
                  </a:lnTo>
                  <a:lnTo>
                    <a:pt x="344" y="81"/>
                  </a:lnTo>
                  <a:lnTo>
                    <a:pt x="342" y="82"/>
                  </a:lnTo>
                  <a:lnTo>
                    <a:pt x="339" y="85"/>
                  </a:lnTo>
                  <a:lnTo>
                    <a:pt x="337" y="87"/>
                  </a:lnTo>
                  <a:lnTo>
                    <a:pt x="337" y="89"/>
                  </a:lnTo>
                  <a:lnTo>
                    <a:pt x="336" y="91"/>
                  </a:lnTo>
                  <a:lnTo>
                    <a:pt x="335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6" y="99"/>
                  </a:lnTo>
                  <a:lnTo>
                    <a:pt x="337" y="101"/>
                  </a:lnTo>
                  <a:lnTo>
                    <a:pt x="337" y="103"/>
                  </a:lnTo>
                  <a:lnTo>
                    <a:pt x="339" y="104"/>
                  </a:lnTo>
                  <a:lnTo>
                    <a:pt x="341" y="106"/>
                  </a:lnTo>
                  <a:lnTo>
                    <a:pt x="346" y="110"/>
                  </a:lnTo>
                  <a:lnTo>
                    <a:pt x="352" y="115"/>
                  </a:lnTo>
                  <a:lnTo>
                    <a:pt x="356" y="116"/>
                  </a:lnTo>
                  <a:lnTo>
                    <a:pt x="359" y="118"/>
                  </a:lnTo>
                  <a:lnTo>
                    <a:pt x="361" y="119"/>
                  </a:lnTo>
                  <a:lnTo>
                    <a:pt x="365" y="120"/>
                  </a:lnTo>
                  <a:lnTo>
                    <a:pt x="368" y="120"/>
                  </a:lnTo>
                  <a:lnTo>
                    <a:pt x="371" y="121"/>
                  </a:lnTo>
                  <a:lnTo>
                    <a:pt x="374" y="121"/>
                  </a:lnTo>
                  <a:lnTo>
                    <a:pt x="377" y="121"/>
                  </a:lnTo>
                  <a:lnTo>
                    <a:pt x="389" y="119"/>
                  </a:lnTo>
                  <a:lnTo>
                    <a:pt x="391" y="119"/>
                  </a:lnTo>
                  <a:lnTo>
                    <a:pt x="393" y="119"/>
                  </a:lnTo>
                  <a:lnTo>
                    <a:pt x="395" y="120"/>
                  </a:lnTo>
                  <a:lnTo>
                    <a:pt x="402" y="122"/>
                  </a:lnTo>
                  <a:lnTo>
                    <a:pt x="410" y="124"/>
                  </a:lnTo>
                  <a:lnTo>
                    <a:pt x="413" y="125"/>
                  </a:lnTo>
                  <a:lnTo>
                    <a:pt x="417" y="125"/>
                  </a:lnTo>
                  <a:lnTo>
                    <a:pt x="417" y="125"/>
                  </a:lnTo>
                  <a:lnTo>
                    <a:pt x="419" y="125"/>
                  </a:lnTo>
                  <a:lnTo>
                    <a:pt x="421" y="124"/>
                  </a:lnTo>
                  <a:lnTo>
                    <a:pt x="423" y="124"/>
                  </a:lnTo>
                  <a:lnTo>
                    <a:pt x="426" y="122"/>
                  </a:lnTo>
                  <a:lnTo>
                    <a:pt x="428" y="121"/>
                  </a:lnTo>
                  <a:lnTo>
                    <a:pt x="434" y="117"/>
                  </a:lnTo>
                  <a:lnTo>
                    <a:pt x="436" y="116"/>
                  </a:lnTo>
                  <a:lnTo>
                    <a:pt x="437" y="116"/>
                  </a:lnTo>
                  <a:lnTo>
                    <a:pt x="438" y="116"/>
                  </a:lnTo>
                  <a:lnTo>
                    <a:pt x="439" y="116"/>
                  </a:lnTo>
                  <a:lnTo>
                    <a:pt x="439" y="116"/>
                  </a:lnTo>
                  <a:lnTo>
                    <a:pt x="440" y="116"/>
                  </a:lnTo>
                  <a:lnTo>
                    <a:pt x="440" y="117"/>
                  </a:lnTo>
                  <a:lnTo>
                    <a:pt x="442" y="118"/>
                  </a:lnTo>
                  <a:lnTo>
                    <a:pt x="444" y="119"/>
                  </a:lnTo>
                  <a:lnTo>
                    <a:pt x="447" y="123"/>
                  </a:lnTo>
                  <a:lnTo>
                    <a:pt x="451" y="127"/>
                  </a:lnTo>
                  <a:lnTo>
                    <a:pt x="452" y="129"/>
                  </a:lnTo>
                  <a:lnTo>
                    <a:pt x="455" y="131"/>
                  </a:lnTo>
                  <a:lnTo>
                    <a:pt x="457" y="133"/>
                  </a:lnTo>
                  <a:lnTo>
                    <a:pt x="460" y="134"/>
                  </a:lnTo>
                  <a:lnTo>
                    <a:pt x="462" y="136"/>
                  </a:lnTo>
                  <a:lnTo>
                    <a:pt x="463" y="137"/>
                  </a:lnTo>
                  <a:lnTo>
                    <a:pt x="465" y="137"/>
                  </a:lnTo>
                  <a:lnTo>
                    <a:pt x="467" y="137"/>
                  </a:lnTo>
                  <a:lnTo>
                    <a:pt x="473" y="138"/>
                  </a:lnTo>
                  <a:lnTo>
                    <a:pt x="482" y="138"/>
                  </a:lnTo>
                  <a:lnTo>
                    <a:pt x="488" y="138"/>
                  </a:lnTo>
                  <a:lnTo>
                    <a:pt x="492" y="138"/>
                  </a:lnTo>
                  <a:lnTo>
                    <a:pt x="496" y="138"/>
                  </a:lnTo>
                  <a:lnTo>
                    <a:pt x="501" y="139"/>
                  </a:lnTo>
                  <a:lnTo>
                    <a:pt x="504" y="140"/>
                  </a:lnTo>
                  <a:lnTo>
                    <a:pt x="507" y="141"/>
                  </a:lnTo>
                  <a:lnTo>
                    <a:pt x="510" y="142"/>
                  </a:lnTo>
                  <a:lnTo>
                    <a:pt x="517" y="145"/>
                  </a:lnTo>
                  <a:lnTo>
                    <a:pt x="519" y="146"/>
                  </a:lnTo>
                  <a:lnTo>
                    <a:pt x="520" y="147"/>
                  </a:lnTo>
                  <a:lnTo>
                    <a:pt x="523" y="147"/>
                  </a:lnTo>
                  <a:lnTo>
                    <a:pt x="525" y="148"/>
                  </a:lnTo>
                  <a:lnTo>
                    <a:pt x="534" y="148"/>
                  </a:lnTo>
                  <a:lnTo>
                    <a:pt x="536" y="149"/>
                  </a:lnTo>
                  <a:lnTo>
                    <a:pt x="539" y="149"/>
                  </a:lnTo>
                  <a:lnTo>
                    <a:pt x="542" y="150"/>
                  </a:lnTo>
                  <a:lnTo>
                    <a:pt x="544" y="151"/>
                  </a:lnTo>
                  <a:lnTo>
                    <a:pt x="554" y="156"/>
                  </a:lnTo>
                  <a:lnTo>
                    <a:pt x="558" y="158"/>
                  </a:lnTo>
                  <a:lnTo>
                    <a:pt x="561" y="159"/>
                  </a:lnTo>
                  <a:lnTo>
                    <a:pt x="564" y="160"/>
                  </a:lnTo>
                  <a:lnTo>
                    <a:pt x="566" y="160"/>
                  </a:lnTo>
                  <a:lnTo>
                    <a:pt x="567" y="160"/>
                  </a:lnTo>
                  <a:lnTo>
                    <a:pt x="568" y="160"/>
                  </a:lnTo>
                  <a:lnTo>
                    <a:pt x="568" y="161"/>
                  </a:lnTo>
                  <a:lnTo>
                    <a:pt x="568" y="164"/>
                  </a:lnTo>
                  <a:lnTo>
                    <a:pt x="571" y="172"/>
                  </a:lnTo>
                  <a:lnTo>
                    <a:pt x="573" y="176"/>
                  </a:lnTo>
                  <a:lnTo>
                    <a:pt x="575" y="181"/>
                  </a:lnTo>
                  <a:lnTo>
                    <a:pt x="578" y="188"/>
                  </a:lnTo>
                  <a:lnTo>
                    <a:pt x="580" y="191"/>
                  </a:lnTo>
                  <a:lnTo>
                    <a:pt x="581" y="193"/>
                  </a:lnTo>
                  <a:lnTo>
                    <a:pt x="584" y="196"/>
                  </a:lnTo>
                  <a:lnTo>
                    <a:pt x="586" y="198"/>
                  </a:lnTo>
                  <a:lnTo>
                    <a:pt x="587" y="200"/>
                  </a:lnTo>
                  <a:lnTo>
                    <a:pt x="587" y="201"/>
                  </a:lnTo>
                  <a:lnTo>
                    <a:pt x="588" y="203"/>
                  </a:lnTo>
                  <a:lnTo>
                    <a:pt x="588" y="205"/>
                  </a:lnTo>
                  <a:lnTo>
                    <a:pt x="588" y="206"/>
                  </a:lnTo>
                  <a:lnTo>
                    <a:pt x="588" y="208"/>
                  </a:lnTo>
                  <a:lnTo>
                    <a:pt x="587" y="210"/>
                  </a:lnTo>
                  <a:lnTo>
                    <a:pt x="586" y="215"/>
                  </a:lnTo>
                  <a:lnTo>
                    <a:pt x="585" y="219"/>
                  </a:lnTo>
                  <a:lnTo>
                    <a:pt x="585" y="221"/>
                  </a:lnTo>
                  <a:lnTo>
                    <a:pt x="583" y="224"/>
                  </a:lnTo>
                  <a:lnTo>
                    <a:pt x="580" y="228"/>
                  </a:lnTo>
                  <a:lnTo>
                    <a:pt x="578" y="233"/>
                  </a:lnTo>
                  <a:lnTo>
                    <a:pt x="576" y="236"/>
                  </a:lnTo>
                  <a:lnTo>
                    <a:pt x="575" y="242"/>
                  </a:lnTo>
                  <a:lnTo>
                    <a:pt x="573" y="247"/>
                  </a:lnTo>
                  <a:lnTo>
                    <a:pt x="571" y="249"/>
                  </a:lnTo>
                  <a:lnTo>
                    <a:pt x="570" y="251"/>
                  </a:lnTo>
                  <a:lnTo>
                    <a:pt x="568" y="252"/>
                  </a:lnTo>
                  <a:lnTo>
                    <a:pt x="566" y="254"/>
                  </a:lnTo>
                  <a:lnTo>
                    <a:pt x="560" y="259"/>
                  </a:lnTo>
                  <a:lnTo>
                    <a:pt x="553" y="263"/>
                  </a:lnTo>
                  <a:lnTo>
                    <a:pt x="552" y="265"/>
                  </a:lnTo>
                  <a:lnTo>
                    <a:pt x="549" y="267"/>
                  </a:lnTo>
                  <a:lnTo>
                    <a:pt x="544" y="273"/>
                  </a:lnTo>
                  <a:lnTo>
                    <a:pt x="543" y="274"/>
                  </a:lnTo>
                  <a:lnTo>
                    <a:pt x="542" y="275"/>
                  </a:lnTo>
                  <a:lnTo>
                    <a:pt x="542" y="277"/>
                  </a:lnTo>
                  <a:lnTo>
                    <a:pt x="541" y="280"/>
                  </a:lnTo>
                  <a:lnTo>
                    <a:pt x="541" y="283"/>
                  </a:lnTo>
                  <a:lnTo>
                    <a:pt x="541" y="285"/>
                  </a:lnTo>
                  <a:lnTo>
                    <a:pt x="541" y="286"/>
                  </a:lnTo>
                  <a:lnTo>
                    <a:pt x="541" y="289"/>
                  </a:lnTo>
                  <a:lnTo>
                    <a:pt x="542" y="294"/>
                  </a:lnTo>
                  <a:lnTo>
                    <a:pt x="542" y="296"/>
                  </a:lnTo>
                  <a:lnTo>
                    <a:pt x="542" y="296"/>
                  </a:lnTo>
                  <a:lnTo>
                    <a:pt x="541" y="297"/>
                  </a:lnTo>
                  <a:lnTo>
                    <a:pt x="541" y="299"/>
                  </a:lnTo>
                  <a:lnTo>
                    <a:pt x="540" y="300"/>
                  </a:lnTo>
                  <a:lnTo>
                    <a:pt x="539" y="302"/>
                  </a:lnTo>
                  <a:lnTo>
                    <a:pt x="539" y="303"/>
                  </a:lnTo>
                  <a:lnTo>
                    <a:pt x="538" y="304"/>
                  </a:lnTo>
                  <a:lnTo>
                    <a:pt x="536" y="306"/>
                  </a:lnTo>
                  <a:lnTo>
                    <a:pt x="535" y="307"/>
                  </a:lnTo>
                  <a:lnTo>
                    <a:pt x="534" y="308"/>
                  </a:lnTo>
                  <a:lnTo>
                    <a:pt x="529" y="310"/>
                  </a:lnTo>
                  <a:lnTo>
                    <a:pt x="527" y="311"/>
                  </a:lnTo>
                  <a:lnTo>
                    <a:pt x="526" y="312"/>
                  </a:lnTo>
                  <a:lnTo>
                    <a:pt x="525" y="313"/>
                  </a:lnTo>
                  <a:lnTo>
                    <a:pt x="525" y="314"/>
                  </a:lnTo>
                  <a:lnTo>
                    <a:pt x="525" y="315"/>
                  </a:lnTo>
                  <a:lnTo>
                    <a:pt x="525" y="317"/>
                  </a:lnTo>
                  <a:lnTo>
                    <a:pt x="525" y="319"/>
                  </a:lnTo>
                  <a:lnTo>
                    <a:pt x="525" y="319"/>
                  </a:lnTo>
                  <a:lnTo>
                    <a:pt x="525" y="320"/>
                  </a:lnTo>
                  <a:lnTo>
                    <a:pt x="525" y="322"/>
                  </a:lnTo>
                  <a:lnTo>
                    <a:pt x="526" y="324"/>
                  </a:lnTo>
                  <a:lnTo>
                    <a:pt x="527" y="325"/>
                  </a:lnTo>
                  <a:lnTo>
                    <a:pt x="528" y="327"/>
                  </a:lnTo>
                  <a:lnTo>
                    <a:pt x="528" y="328"/>
                  </a:lnTo>
                  <a:lnTo>
                    <a:pt x="530" y="330"/>
                  </a:lnTo>
                  <a:lnTo>
                    <a:pt x="531" y="331"/>
                  </a:lnTo>
                  <a:lnTo>
                    <a:pt x="535" y="334"/>
                  </a:lnTo>
                  <a:lnTo>
                    <a:pt x="537" y="335"/>
                  </a:lnTo>
                  <a:lnTo>
                    <a:pt x="537" y="336"/>
                  </a:lnTo>
                  <a:lnTo>
                    <a:pt x="537" y="337"/>
                  </a:lnTo>
                  <a:lnTo>
                    <a:pt x="537" y="339"/>
                  </a:lnTo>
                  <a:lnTo>
                    <a:pt x="537" y="341"/>
                  </a:lnTo>
                  <a:lnTo>
                    <a:pt x="536" y="343"/>
                  </a:lnTo>
                  <a:lnTo>
                    <a:pt x="535" y="345"/>
                  </a:lnTo>
                  <a:lnTo>
                    <a:pt x="534" y="346"/>
                  </a:lnTo>
                  <a:lnTo>
                    <a:pt x="534" y="347"/>
                  </a:lnTo>
                  <a:lnTo>
                    <a:pt x="533" y="347"/>
                  </a:lnTo>
                  <a:lnTo>
                    <a:pt x="531" y="348"/>
                  </a:lnTo>
                  <a:lnTo>
                    <a:pt x="528" y="350"/>
                  </a:lnTo>
                  <a:lnTo>
                    <a:pt x="527" y="351"/>
                  </a:lnTo>
                  <a:lnTo>
                    <a:pt x="525" y="352"/>
                  </a:lnTo>
                  <a:lnTo>
                    <a:pt x="522" y="355"/>
                  </a:lnTo>
                  <a:lnTo>
                    <a:pt x="519" y="359"/>
                  </a:lnTo>
                  <a:lnTo>
                    <a:pt x="517" y="361"/>
                  </a:lnTo>
                  <a:lnTo>
                    <a:pt x="516" y="362"/>
                  </a:lnTo>
                  <a:lnTo>
                    <a:pt x="515" y="364"/>
                  </a:lnTo>
                  <a:lnTo>
                    <a:pt x="515" y="365"/>
                  </a:lnTo>
                  <a:lnTo>
                    <a:pt x="514" y="367"/>
                  </a:lnTo>
                  <a:lnTo>
                    <a:pt x="514" y="369"/>
                  </a:lnTo>
                  <a:lnTo>
                    <a:pt x="514" y="371"/>
                  </a:lnTo>
                  <a:lnTo>
                    <a:pt x="514" y="374"/>
                  </a:lnTo>
                  <a:lnTo>
                    <a:pt x="515" y="376"/>
                  </a:lnTo>
                  <a:lnTo>
                    <a:pt x="517" y="378"/>
                  </a:lnTo>
                  <a:lnTo>
                    <a:pt x="519" y="382"/>
                  </a:lnTo>
                  <a:lnTo>
                    <a:pt x="520" y="385"/>
                  </a:lnTo>
                  <a:lnTo>
                    <a:pt x="524" y="389"/>
                  </a:lnTo>
                  <a:lnTo>
                    <a:pt x="525" y="391"/>
                  </a:lnTo>
                  <a:lnTo>
                    <a:pt x="526" y="393"/>
                  </a:lnTo>
                  <a:lnTo>
                    <a:pt x="527" y="395"/>
                  </a:lnTo>
                  <a:lnTo>
                    <a:pt x="527" y="398"/>
                  </a:lnTo>
                  <a:lnTo>
                    <a:pt x="528" y="400"/>
                  </a:lnTo>
                  <a:lnTo>
                    <a:pt x="528" y="402"/>
                  </a:lnTo>
                  <a:lnTo>
                    <a:pt x="528" y="404"/>
                  </a:lnTo>
                  <a:lnTo>
                    <a:pt x="527" y="405"/>
                  </a:lnTo>
                  <a:lnTo>
                    <a:pt x="527" y="406"/>
                  </a:lnTo>
                  <a:lnTo>
                    <a:pt x="526" y="408"/>
                  </a:lnTo>
                  <a:lnTo>
                    <a:pt x="525" y="410"/>
                  </a:lnTo>
                  <a:lnTo>
                    <a:pt x="520" y="413"/>
                  </a:lnTo>
                  <a:lnTo>
                    <a:pt x="518" y="416"/>
                  </a:lnTo>
                  <a:lnTo>
                    <a:pt x="517" y="417"/>
                  </a:lnTo>
                  <a:lnTo>
                    <a:pt x="516" y="419"/>
                  </a:lnTo>
                  <a:lnTo>
                    <a:pt x="515" y="421"/>
                  </a:lnTo>
                  <a:lnTo>
                    <a:pt x="515" y="422"/>
                  </a:lnTo>
                  <a:lnTo>
                    <a:pt x="513" y="425"/>
                  </a:lnTo>
                  <a:lnTo>
                    <a:pt x="512" y="429"/>
                  </a:lnTo>
                  <a:lnTo>
                    <a:pt x="509" y="441"/>
                  </a:lnTo>
                  <a:lnTo>
                    <a:pt x="509" y="444"/>
                  </a:lnTo>
                  <a:lnTo>
                    <a:pt x="509" y="447"/>
                  </a:lnTo>
                  <a:lnTo>
                    <a:pt x="509" y="448"/>
                  </a:lnTo>
                  <a:lnTo>
                    <a:pt x="508" y="446"/>
                  </a:lnTo>
                  <a:lnTo>
                    <a:pt x="507" y="445"/>
                  </a:lnTo>
                  <a:lnTo>
                    <a:pt x="507" y="444"/>
                  </a:lnTo>
                  <a:lnTo>
                    <a:pt x="507" y="444"/>
                  </a:lnTo>
                  <a:lnTo>
                    <a:pt x="506" y="445"/>
                  </a:lnTo>
                  <a:lnTo>
                    <a:pt x="505" y="445"/>
                  </a:lnTo>
                  <a:lnTo>
                    <a:pt x="503" y="444"/>
                  </a:lnTo>
                  <a:lnTo>
                    <a:pt x="502" y="444"/>
                  </a:lnTo>
                  <a:lnTo>
                    <a:pt x="500" y="445"/>
                  </a:lnTo>
                  <a:lnTo>
                    <a:pt x="496" y="447"/>
                  </a:lnTo>
                  <a:lnTo>
                    <a:pt x="494" y="448"/>
                  </a:lnTo>
                  <a:lnTo>
                    <a:pt x="491" y="450"/>
                  </a:lnTo>
                  <a:lnTo>
                    <a:pt x="482" y="458"/>
                  </a:lnTo>
                  <a:lnTo>
                    <a:pt x="478" y="460"/>
                  </a:lnTo>
                  <a:lnTo>
                    <a:pt x="474" y="463"/>
                  </a:lnTo>
                  <a:lnTo>
                    <a:pt x="472" y="465"/>
                  </a:lnTo>
                  <a:lnTo>
                    <a:pt x="470" y="466"/>
                  </a:lnTo>
                  <a:lnTo>
                    <a:pt x="468" y="466"/>
                  </a:lnTo>
                  <a:lnTo>
                    <a:pt x="466" y="467"/>
                  </a:lnTo>
                  <a:lnTo>
                    <a:pt x="464" y="468"/>
                  </a:lnTo>
                  <a:lnTo>
                    <a:pt x="462" y="468"/>
                  </a:lnTo>
                  <a:lnTo>
                    <a:pt x="461" y="468"/>
                  </a:lnTo>
                  <a:lnTo>
                    <a:pt x="459" y="468"/>
                  </a:lnTo>
                  <a:lnTo>
                    <a:pt x="456" y="468"/>
                  </a:lnTo>
                  <a:lnTo>
                    <a:pt x="453" y="467"/>
                  </a:lnTo>
                  <a:lnTo>
                    <a:pt x="444" y="466"/>
                  </a:lnTo>
                  <a:lnTo>
                    <a:pt x="442" y="466"/>
                  </a:lnTo>
                  <a:lnTo>
                    <a:pt x="441" y="465"/>
                  </a:lnTo>
                  <a:lnTo>
                    <a:pt x="439" y="466"/>
                  </a:lnTo>
                  <a:lnTo>
                    <a:pt x="439" y="466"/>
                  </a:lnTo>
                  <a:lnTo>
                    <a:pt x="438" y="466"/>
                  </a:lnTo>
                  <a:lnTo>
                    <a:pt x="437" y="467"/>
                  </a:lnTo>
                  <a:lnTo>
                    <a:pt x="436" y="469"/>
                  </a:lnTo>
                  <a:lnTo>
                    <a:pt x="436" y="473"/>
                  </a:lnTo>
                  <a:lnTo>
                    <a:pt x="434" y="478"/>
                  </a:lnTo>
                  <a:lnTo>
                    <a:pt x="433" y="485"/>
                  </a:lnTo>
                  <a:lnTo>
                    <a:pt x="433" y="489"/>
                  </a:lnTo>
                  <a:lnTo>
                    <a:pt x="433" y="498"/>
                  </a:lnTo>
                  <a:lnTo>
                    <a:pt x="432" y="502"/>
                  </a:lnTo>
                  <a:lnTo>
                    <a:pt x="431" y="506"/>
                  </a:lnTo>
                  <a:lnTo>
                    <a:pt x="429" y="512"/>
                  </a:lnTo>
                  <a:lnTo>
                    <a:pt x="429" y="514"/>
                  </a:lnTo>
                  <a:lnTo>
                    <a:pt x="429" y="516"/>
                  </a:lnTo>
                  <a:lnTo>
                    <a:pt x="429" y="519"/>
                  </a:lnTo>
                  <a:lnTo>
                    <a:pt x="430" y="522"/>
                  </a:lnTo>
                  <a:lnTo>
                    <a:pt x="430" y="524"/>
                  </a:lnTo>
                  <a:lnTo>
                    <a:pt x="433" y="531"/>
                  </a:lnTo>
                  <a:lnTo>
                    <a:pt x="434" y="534"/>
                  </a:lnTo>
                  <a:lnTo>
                    <a:pt x="435" y="537"/>
                  </a:lnTo>
                  <a:lnTo>
                    <a:pt x="438" y="548"/>
                  </a:lnTo>
                  <a:lnTo>
                    <a:pt x="439" y="552"/>
                  </a:lnTo>
                  <a:lnTo>
                    <a:pt x="439" y="555"/>
                  </a:lnTo>
                  <a:lnTo>
                    <a:pt x="439" y="558"/>
                  </a:lnTo>
                  <a:lnTo>
                    <a:pt x="439" y="561"/>
                  </a:lnTo>
                  <a:lnTo>
                    <a:pt x="438" y="563"/>
                  </a:lnTo>
                  <a:lnTo>
                    <a:pt x="437" y="565"/>
                  </a:lnTo>
                  <a:lnTo>
                    <a:pt x="437" y="567"/>
                  </a:lnTo>
                  <a:lnTo>
                    <a:pt x="436" y="568"/>
                  </a:lnTo>
                  <a:lnTo>
                    <a:pt x="435" y="570"/>
                  </a:lnTo>
                  <a:lnTo>
                    <a:pt x="434" y="571"/>
                  </a:lnTo>
                  <a:lnTo>
                    <a:pt x="432" y="573"/>
                  </a:lnTo>
                  <a:lnTo>
                    <a:pt x="430" y="575"/>
                  </a:lnTo>
                  <a:lnTo>
                    <a:pt x="428" y="577"/>
                  </a:lnTo>
                  <a:lnTo>
                    <a:pt x="426" y="579"/>
                  </a:lnTo>
                  <a:lnTo>
                    <a:pt x="424" y="580"/>
                  </a:lnTo>
                  <a:lnTo>
                    <a:pt x="418" y="581"/>
                  </a:lnTo>
                  <a:lnTo>
                    <a:pt x="417" y="582"/>
                  </a:lnTo>
                  <a:lnTo>
                    <a:pt x="416" y="583"/>
                  </a:lnTo>
                  <a:lnTo>
                    <a:pt x="414" y="585"/>
                  </a:lnTo>
                  <a:lnTo>
                    <a:pt x="412" y="586"/>
                  </a:lnTo>
                  <a:lnTo>
                    <a:pt x="410" y="588"/>
                  </a:lnTo>
                  <a:lnTo>
                    <a:pt x="408" y="590"/>
                  </a:lnTo>
                  <a:lnTo>
                    <a:pt x="406" y="591"/>
                  </a:lnTo>
                  <a:lnTo>
                    <a:pt x="405" y="594"/>
                  </a:lnTo>
                  <a:lnTo>
                    <a:pt x="402" y="601"/>
                  </a:lnTo>
                  <a:lnTo>
                    <a:pt x="398" y="606"/>
                  </a:lnTo>
                  <a:lnTo>
                    <a:pt x="397" y="609"/>
                  </a:lnTo>
                  <a:lnTo>
                    <a:pt x="396" y="612"/>
                  </a:lnTo>
                  <a:lnTo>
                    <a:pt x="395" y="615"/>
                  </a:lnTo>
                  <a:lnTo>
                    <a:pt x="394" y="620"/>
                  </a:lnTo>
                  <a:lnTo>
                    <a:pt x="393" y="625"/>
                  </a:lnTo>
                  <a:lnTo>
                    <a:pt x="392" y="630"/>
                  </a:lnTo>
                  <a:lnTo>
                    <a:pt x="391" y="634"/>
                  </a:lnTo>
                  <a:lnTo>
                    <a:pt x="391" y="638"/>
                  </a:lnTo>
                  <a:lnTo>
                    <a:pt x="391" y="642"/>
                  </a:lnTo>
                  <a:lnTo>
                    <a:pt x="391" y="645"/>
                  </a:lnTo>
                  <a:lnTo>
                    <a:pt x="391" y="648"/>
                  </a:lnTo>
                  <a:lnTo>
                    <a:pt x="391" y="651"/>
                  </a:lnTo>
                  <a:lnTo>
                    <a:pt x="392" y="654"/>
                  </a:lnTo>
                  <a:lnTo>
                    <a:pt x="392" y="657"/>
                  </a:lnTo>
                  <a:lnTo>
                    <a:pt x="393" y="659"/>
                  </a:lnTo>
                  <a:lnTo>
                    <a:pt x="394" y="661"/>
                  </a:lnTo>
                  <a:lnTo>
                    <a:pt x="396" y="671"/>
                  </a:lnTo>
                  <a:lnTo>
                    <a:pt x="397" y="673"/>
                  </a:lnTo>
                  <a:lnTo>
                    <a:pt x="397" y="674"/>
                  </a:lnTo>
                  <a:lnTo>
                    <a:pt x="397" y="673"/>
                  </a:lnTo>
                  <a:lnTo>
                    <a:pt x="396" y="673"/>
                  </a:lnTo>
                  <a:lnTo>
                    <a:pt x="394" y="672"/>
                  </a:lnTo>
                  <a:lnTo>
                    <a:pt x="392" y="672"/>
                  </a:lnTo>
                  <a:lnTo>
                    <a:pt x="390" y="672"/>
                  </a:lnTo>
                  <a:lnTo>
                    <a:pt x="387" y="672"/>
                  </a:lnTo>
                  <a:lnTo>
                    <a:pt x="384" y="672"/>
                  </a:lnTo>
                  <a:lnTo>
                    <a:pt x="382" y="673"/>
                  </a:lnTo>
                  <a:lnTo>
                    <a:pt x="380" y="674"/>
                  </a:lnTo>
                  <a:lnTo>
                    <a:pt x="377" y="675"/>
                  </a:lnTo>
                  <a:lnTo>
                    <a:pt x="374" y="676"/>
                  </a:lnTo>
                  <a:lnTo>
                    <a:pt x="372" y="678"/>
                  </a:lnTo>
                  <a:lnTo>
                    <a:pt x="371" y="680"/>
                  </a:lnTo>
                  <a:lnTo>
                    <a:pt x="369" y="681"/>
                  </a:lnTo>
                  <a:lnTo>
                    <a:pt x="367" y="682"/>
                  </a:lnTo>
                  <a:lnTo>
                    <a:pt x="366" y="684"/>
                  </a:lnTo>
                  <a:lnTo>
                    <a:pt x="365" y="686"/>
                  </a:lnTo>
                  <a:lnTo>
                    <a:pt x="361" y="693"/>
                  </a:lnTo>
                  <a:lnTo>
                    <a:pt x="360" y="695"/>
                  </a:lnTo>
                  <a:lnTo>
                    <a:pt x="360" y="696"/>
                  </a:lnTo>
                  <a:lnTo>
                    <a:pt x="359" y="696"/>
                  </a:lnTo>
                  <a:lnTo>
                    <a:pt x="358" y="697"/>
                  </a:lnTo>
                  <a:lnTo>
                    <a:pt x="357" y="698"/>
                  </a:lnTo>
                  <a:lnTo>
                    <a:pt x="355" y="698"/>
                  </a:lnTo>
                  <a:lnTo>
                    <a:pt x="353" y="698"/>
                  </a:lnTo>
                  <a:lnTo>
                    <a:pt x="351" y="698"/>
                  </a:lnTo>
                  <a:lnTo>
                    <a:pt x="350" y="697"/>
                  </a:lnTo>
                  <a:lnTo>
                    <a:pt x="348" y="697"/>
                  </a:lnTo>
                  <a:lnTo>
                    <a:pt x="347" y="696"/>
                  </a:lnTo>
                  <a:lnTo>
                    <a:pt x="341" y="693"/>
                  </a:lnTo>
                  <a:lnTo>
                    <a:pt x="334" y="688"/>
                  </a:lnTo>
                  <a:lnTo>
                    <a:pt x="312" y="673"/>
                  </a:lnTo>
                  <a:lnTo>
                    <a:pt x="305" y="668"/>
                  </a:lnTo>
                  <a:lnTo>
                    <a:pt x="303" y="666"/>
                  </a:lnTo>
                  <a:lnTo>
                    <a:pt x="301" y="664"/>
                  </a:lnTo>
                  <a:lnTo>
                    <a:pt x="296" y="659"/>
                  </a:lnTo>
                  <a:lnTo>
                    <a:pt x="294" y="657"/>
                  </a:lnTo>
                  <a:lnTo>
                    <a:pt x="291" y="654"/>
                  </a:lnTo>
                  <a:lnTo>
                    <a:pt x="290" y="651"/>
                  </a:lnTo>
                  <a:lnTo>
                    <a:pt x="289" y="649"/>
                  </a:lnTo>
                  <a:lnTo>
                    <a:pt x="288" y="647"/>
                  </a:lnTo>
                  <a:lnTo>
                    <a:pt x="287" y="645"/>
                  </a:lnTo>
                  <a:lnTo>
                    <a:pt x="286" y="641"/>
                  </a:lnTo>
                  <a:lnTo>
                    <a:pt x="286" y="638"/>
                  </a:lnTo>
                  <a:lnTo>
                    <a:pt x="284" y="627"/>
                  </a:lnTo>
                  <a:lnTo>
                    <a:pt x="283" y="616"/>
                  </a:lnTo>
                  <a:lnTo>
                    <a:pt x="282" y="606"/>
                  </a:lnTo>
                  <a:lnTo>
                    <a:pt x="282" y="603"/>
                  </a:lnTo>
                  <a:lnTo>
                    <a:pt x="281" y="598"/>
                  </a:lnTo>
                  <a:lnTo>
                    <a:pt x="280" y="593"/>
                  </a:lnTo>
                  <a:lnTo>
                    <a:pt x="280" y="590"/>
                  </a:lnTo>
                  <a:lnTo>
                    <a:pt x="278" y="580"/>
                  </a:lnTo>
                  <a:lnTo>
                    <a:pt x="277" y="579"/>
                  </a:lnTo>
                  <a:lnTo>
                    <a:pt x="276" y="577"/>
                  </a:lnTo>
                  <a:lnTo>
                    <a:pt x="275" y="575"/>
                  </a:lnTo>
                  <a:lnTo>
                    <a:pt x="274" y="573"/>
                  </a:lnTo>
                  <a:lnTo>
                    <a:pt x="272" y="570"/>
                  </a:lnTo>
                  <a:lnTo>
                    <a:pt x="269" y="568"/>
                  </a:lnTo>
                  <a:lnTo>
                    <a:pt x="265" y="561"/>
                  </a:lnTo>
                  <a:lnTo>
                    <a:pt x="258" y="554"/>
                  </a:lnTo>
                  <a:lnTo>
                    <a:pt x="251" y="545"/>
                  </a:lnTo>
                  <a:lnTo>
                    <a:pt x="239" y="530"/>
                  </a:lnTo>
                  <a:lnTo>
                    <a:pt x="236" y="526"/>
                  </a:lnTo>
                  <a:lnTo>
                    <a:pt x="234" y="523"/>
                  </a:lnTo>
                  <a:lnTo>
                    <a:pt x="230" y="520"/>
                  </a:lnTo>
                  <a:lnTo>
                    <a:pt x="225" y="516"/>
                  </a:lnTo>
                  <a:lnTo>
                    <a:pt x="223" y="513"/>
                  </a:lnTo>
                  <a:lnTo>
                    <a:pt x="219" y="511"/>
                  </a:lnTo>
                  <a:lnTo>
                    <a:pt x="212" y="505"/>
                  </a:lnTo>
                  <a:lnTo>
                    <a:pt x="209" y="502"/>
                  </a:lnTo>
                  <a:lnTo>
                    <a:pt x="205" y="500"/>
                  </a:lnTo>
                  <a:lnTo>
                    <a:pt x="200" y="497"/>
                  </a:lnTo>
                  <a:lnTo>
                    <a:pt x="196" y="495"/>
                  </a:lnTo>
                  <a:lnTo>
                    <a:pt x="193" y="494"/>
                  </a:lnTo>
                  <a:lnTo>
                    <a:pt x="189" y="493"/>
                  </a:lnTo>
                  <a:lnTo>
                    <a:pt x="185" y="492"/>
                  </a:lnTo>
                  <a:lnTo>
                    <a:pt x="180" y="492"/>
                  </a:lnTo>
                  <a:lnTo>
                    <a:pt x="175" y="492"/>
                  </a:lnTo>
                  <a:lnTo>
                    <a:pt x="165" y="492"/>
                  </a:lnTo>
                  <a:lnTo>
                    <a:pt x="159" y="492"/>
                  </a:lnTo>
                  <a:lnTo>
                    <a:pt x="156" y="491"/>
                  </a:lnTo>
                  <a:lnTo>
                    <a:pt x="154" y="491"/>
                  </a:lnTo>
                  <a:lnTo>
                    <a:pt x="151" y="490"/>
                  </a:lnTo>
                  <a:lnTo>
                    <a:pt x="147" y="489"/>
                  </a:lnTo>
                  <a:lnTo>
                    <a:pt x="144" y="489"/>
                  </a:lnTo>
                  <a:lnTo>
                    <a:pt x="141" y="487"/>
                  </a:lnTo>
                  <a:lnTo>
                    <a:pt x="137" y="485"/>
                  </a:lnTo>
                  <a:lnTo>
                    <a:pt x="133" y="483"/>
                  </a:lnTo>
                  <a:lnTo>
                    <a:pt x="131" y="481"/>
                  </a:lnTo>
                  <a:lnTo>
                    <a:pt x="127" y="478"/>
                  </a:lnTo>
                  <a:lnTo>
                    <a:pt x="124" y="476"/>
                  </a:lnTo>
                  <a:lnTo>
                    <a:pt x="121" y="473"/>
                  </a:lnTo>
                  <a:lnTo>
                    <a:pt x="119" y="470"/>
                  </a:lnTo>
                  <a:lnTo>
                    <a:pt x="116" y="466"/>
                  </a:lnTo>
                  <a:lnTo>
                    <a:pt x="114" y="463"/>
                  </a:lnTo>
                  <a:lnTo>
                    <a:pt x="112" y="461"/>
                  </a:lnTo>
                  <a:lnTo>
                    <a:pt x="111" y="459"/>
                  </a:lnTo>
                  <a:lnTo>
                    <a:pt x="110" y="456"/>
                  </a:lnTo>
                  <a:lnTo>
                    <a:pt x="110" y="453"/>
                  </a:lnTo>
                  <a:lnTo>
                    <a:pt x="108" y="441"/>
                  </a:lnTo>
                  <a:lnTo>
                    <a:pt x="107" y="437"/>
                  </a:lnTo>
                  <a:lnTo>
                    <a:pt x="106" y="434"/>
                  </a:lnTo>
                  <a:lnTo>
                    <a:pt x="105" y="432"/>
                  </a:lnTo>
                  <a:lnTo>
                    <a:pt x="104" y="429"/>
                  </a:lnTo>
                  <a:lnTo>
                    <a:pt x="102" y="427"/>
                  </a:lnTo>
                  <a:lnTo>
                    <a:pt x="101" y="425"/>
                  </a:lnTo>
                  <a:lnTo>
                    <a:pt x="98" y="422"/>
                  </a:lnTo>
                  <a:lnTo>
                    <a:pt x="94" y="416"/>
                  </a:lnTo>
                  <a:lnTo>
                    <a:pt x="84" y="406"/>
                  </a:lnTo>
                  <a:lnTo>
                    <a:pt x="72" y="393"/>
                  </a:lnTo>
                  <a:lnTo>
                    <a:pt x="70" y="390"/>
                  </a:lnTo>
                  <a:lnTo>
                    <a:pt x="68" y="388"/>
                  </a:lnTo>
                  <a:lnTo>
                    <a:pt x="66" y="386"/>
                  </a:lnTo>
                  <a:lnTo>
                    <a:pt x="65" y="384"/>
                  </a:lnTo>
                  <a:lnTo>
                    <a:pt x="61" y="375"/>
                  </a:lnTo>
                  <a:lnTo>
                    <a:pt x="59" y="371"/>
                  </a:lnTo>
                  <a:lnTo>
                    <a:pt x="56" y="367"/>
                  </a:lnTo>
                  <a:lnTo>
                    <a:pt x="51" y="360"/>
                  </a:lnTo>
                  <a:lnTo>
                    <a:pt x="48" y="356"/>
                  </a:lnTo>
                  <a:lnTo>
                    <a:pt x="47" y="354"/>
                  </a:lnTo>
                  <a:lnTo>
                    <a:pt x="42" y="346"/>
                  </a:lnTo>
                  <a:lnTo>
                    <a:pt x="41" y="343"/>
                  </a:lnTo>
                  <a:lnTo>
                    <a:pt x="39" y="341"/>
                  </a:lnTo>
                  <a:lnTo>
                    <a:pt x="38" y="340"/>
                  </a:lnTo>
                  <a:lnTo>
                    <a:pt x="36" y="338"/>
                  </a:lnTo>
                  <a:lnTo>
                    <a:pt x="28" y="330"/>
                  </a:lnTo>
                  <a:lnTo>
                    <a:pt x="25" y="328"/>
                  </a:lnTo>
                  <a:lnTo>
                    <a:pt x="23" y="325"/>
                  </a:lnTo>
                  <a:lnTo>
                    <a:pt x="19" y="319"/>
                  </a:lnTo>
                  <a:lnTo>
                    <a:pt x="17" y="318"/>
                  </a:lnTo>
                  <a:lnTo>
                    <a:pt x="15" y="315"/>
                  </a:lnTo>
                  <a:lnTo>
                    <a:pt x="9" y="309"/>
                  </a:lnTo>
                  <a:lnTo>
                    <a:pt x="6" y="305"/>
                  </a:lnTo>
                  <a:lnTo>
                    <a:pt x="4" y="302"/>
                  </a:lnTo>
                  <a:lnTo>
                    <a:pt x="3" y="300"/>
                  </a:lnTo>
                  <a:lnTo>
                    <a:pt x="2" y="298"/>
                  </a:lnTo>
                  <a:lnTo>
                    <a:pt x="1" y="296"/>
                  </a:lnTo>
                  <a:lnTo>
                    <a:pt x="0" y="294"/>
                  </a:lnTo>
                  <a:lnTo>
                    <a:pt x="0" y="291"/>
                  </a:lnTo>
                  <a:lnTo>
                    <a:pt x="0" y="290"/>
                  </a:lnTo>
                  <a:lnTo>
                    <a:pt x="0" y="289"/>
                  </a:lnTo>
                  <a:lnTo>
                    <a:pt x="1" y="289"/>
                  </a:lnTo>
                  <a:lnTo>
                    <a:pt x="1" y="288"/>
                  </a:lnTo>
                  <a:lnTo>
                    <a:pt x="2" y="285"/>
                  </a:lnTo>
                  <a:lnTo>
                    <a:pt x="4" y="278"/>
                  </a:lnTo>
                  <a:lnTo>
                    <a:pt x="7" y="267"/>
                  </a:lnTo>
                  <a:lnTo>
                    <a:pt x="7" y="264"/>
                  </a:lnTo>
                  <a:lnTo>
                    <a:pt x="8" y="262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8"/>
                  </a:lnTo>
                  <a:lnTo>
                    <a:pt x="12" y="257"/>
                  </a:lnTo>
                  <a:lnTo>
                    <a:pt x="13" y="256"/>
                  </a:lnTo>
                  <a:lnTo>
                    <a:pt x="15" y="255"/>
                  </a:lnTo>
                  <a:lnTo>
                    <a:pt x="16" y="254"/>
                  </a:lnTo>
                  <a:lnTo>
                    <a:pt x="17" y="254"/>
                  </a:lnTo>
                  <a:lnTo>
                    <a:pt x="19" y="253"/>
                  </a:lnTo>
                  <a:lnTo>
                    <a:pt x="20" y="253"/>
                  </a:lnTo>
                  <a:lnTo>
                    <a:pt x="22" y="253"/>
                  </a:lnTo>
                  <a:lnTo>
                    <a:pt x="25" y="254"/>
                  </a:lnTo>
                  <a:lnTo>
                    <a:pt x="27" y="254"/>
                  </a:lnTo>
                  <a:lnTo>
                    <a:pt x="30" y="255"/>
                  </a:lnTo>
                  <a:lnTo>
                    <a:pt x="36" y="257"/>
                  </a:lnTo>
                  <a:lnTo>
                    <a:pt x="39" y="258"/>
                  </a:lnTo>
                  <a:lnTo>
                    <a:pt x="40" y="258"/>
                  </a:lnTo>
                  <a:lnTo>
                    <a:pt x="41" y="258"/>
                  </a:lnTo>
                  <a:lnTo>
                    <a:pt x="44" y="258"/>
                  </a:lnTo>
                  <a:lnTo>
                    <a:pt x="49" y="258"/>
                  </a:lnTo>
                  <a:lnTo>
                    <a:pt x="54" y="258"/>
                  </a:lnTo>
                  <a:lnTo>
                    <a:pt x="57" y="258"/>
                  </a:lnTo>
                  <a:lnTo>
                    <a:pt x="61" y="257"/>
                  </a:lnTo>
                  <a:lnTo>
                    <a:pt x="67" y="255"/>
                  </a:lnTo>
                  <a:lnTo>
                    <a:pt x="70" y="255"/>
                  </a:lnTo>
                  <a:lnTo>
                    <a:pt x="73" y="255"/>
                  </a:lnTo>
                  <a:lnTo>
                    <a:pt x="78" y="254"/>
                  </a:lnTo>
                  <a:lnTo>
                    <a:pt x="80" y="254"/>
                  </a:lnTo>
                  <a:lnTo>
                    <a:pt x="83" y="254"/>
                  </a:lnTo>
                  <a:lnTo>
                    <a:pt x="85" y="253"/>
                  </a:lnTo>
                  <a:lnTo>
                    <a:pt x="87" y="253"/>
                  </a:lnTo>
                  <a:lnTo>
                    <a:pt x="87" y="252"/>
                  </a:lnTo>
                  <a:lnTo>
                    <a:pt x="89" y="251"/>
                  </a:lnTo>
                  <a:lnTo>
                    <a:pt x="90" y="251"/>
                  </a:lnTo>
                  <a:lnTo>
                    <a:pt x="92" y="249"/>
                  </a:lnTo>
                  <a:lnTo>
                    <a:pt x="93" y="248"/>
                  </a:lnTo>
                  <a:lnTo>
                    <a:pt x="94" y="247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6" y="241"/>
                  </a:lnTo>
                  <a:lnTo>
                    <a:pt x="96" y="238"/>
                  </a:lnTo>
                  <a:lnTo>
                    <a:pt x="97" y="234"/>
                  </a:lnTo>
                  <a:lnTo>
                    <a:pt x="96" y="224"/>
                  </a:lnTo>
                  <a:lnTo>
                    <a:pt x="96" y="215"/>
                  </a:lnTo>
                  <a:lnTo>
                    <a:pt x="96" y="211"/>
                  </a:lnTo>
                  <a:lnTo>
                    <a:pt x="96" y="206"/>
                  </a:lnTo>
                  <a:lnTo>
                    <a:pt x="95" y="205"/>
                  </a:lnTo>
                  <a:lnTo>
                    <a:pt x="95" y="203"/>
                  </a:lnTo>
                  <a:lnTo>
                    <a:pt x="94" y="199"/>
                  </a:lnTo>
                  <a:lnTo>
                    <a:pt x="92" y="196"/>
                  </a:lnTo>
                  <a:lnTo>
                    <a:pt x="90" y="192"/>
                  </a:lnTo>
                  <a:lnTo>
                    <a:pt x="89" y="190"/>
                  </a:lnTo>
                  <a:lnTo>
                    <a:pt x="87" y="187"/>
                  </a:lnTo>
                  <a:lnTo>
                    <a:pt x="86" y="185"/>
                  </a:lnTo>
                  <a:lnTo>
                    <a:pt x="84" y="183"/>
                  </a:lnTo>
                  <a:lnTo>
                    <a:pt x="81" y="180"/>
                  </a:lnTo>
                  <a:lnTo>
                    <a:pt x="80" y="179"/>
                  </a:lnTo>
                  <a:lnTo>
                    <a:pt x="78" y="177"/>
                  </a:lnTo>
                  <a:lnTo>
                    <a:pt x="78" y="175"/>
                  </a:lnTo>
                  <a:lnTo>
                    <a:pt x="77" y="175"/>
                  </a:lnTo>
                  <a:lnTo>
                    <a:pt x="77" y="174"/>
                  </a:lnTo>
                  <a:lnTo>
                    <a:pt x="78" y="172"/>
                  </a:lnTo>
                  <a:lnTo>
                    <a:pt x="79" y="171"/>
                  </a:lnTo>
                  <a:lnTo>
                    <a:pt x="81" y="168"/>
                  </a:lnTo>
                  <a:lnTo>
                    <a:pt x="82" y="167"/>
                  </a:lnTo>
                  <a:lnTo>
                    <a:pt x="82" y="165"/>
                  </a:lnTo>
                  <a:lnTo>
                    <a:pt x="83" y="163"/>
                  </a:lnTo>
                  <a:lnTo>
                    <a:pt x="83" y="160"/>
                  </a:lnTo>
                  <a:lnTo>
                    <a:pt x="83" y="159"/>
                  </a:lnTo>
                  <a:lnTo>
                    <a:pt x="82" y="156"/>
                  </a:lnTo>
                  <a:lnTo>
                    <a:pt x="81" y="153"/>
                  </a:lnTo>
                  <a:lnTo>
                    <a:pt x="79" y="150"/>
                  </a:lnTo>
                  <a:lnTo>
                    <a:pt x="76" y="145"/>
                  </a:lnTo>
                  <a:lnTo>
                    <a:pt x="75" y="141"/>
                  </a:lnTo>
                  <a:lnTo>
                    <a:pt x="73" y="138"/>
                  </a:lnTo>
                  <a:lnTo>
                    <a:pt x="71" y="137"/>
                  </a:lnTo>
                  <a:lnTo>
                    <a:pt x="70" y="135"/>
                  </a:lnTo>
                  <a:lnTo>
                    <a:pt x="68" y="134"/>
                  </a:lnTo>
                  <a:lnTo>
                    <a:pt x="64" y="131"/>
                  </a:lnTo>
                  <a:lnTo>
                    <a:pt x="64" y="129"/>
                  </a:lnTo>
                  <a:lnTo>
                    <a:pt x="63" y="127"/>
                  </a:lnTo>
                  <a:lnTo>
                    <a:pt x="62" y="126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2"/>
                  </a:lnTo>
                  <a:lnTo>
                    <a:pt x="63" y="120"/>
                  </a:lnTo>
                  <a:lnTo>
                    <a:pt x="64" y="118"/>
                  </a:lnTo>
                  <a:lnTo>
                    <a:pt x="65" y="116"/>
                  </a:lnTo>
                  <a:lnTo>
                    <a:pt x="70" y="112"/>
                  </a:lnTo>
                  <a:lnTo>
                    <a:pt x="73" y="109"/>
                  </a:lnTo>
                  <a:lnTo>
                    <a:pt x="77" y="105"/>
                  </a:lnTo>
                  <a:lnTo>
                    <a:pt x="78" y="104"/>
                  </a:lnTo>
                  <a:lnTo>
                    <a:pt x="79" y="104"/>
                  </a:lnTo>
                  <a:lnTo>
                    <a:pt x="81" y="102"/>
                  </a:lnTo>
                  <a:lnTo>
                    <a:pt x="84" y="96"/>
                  </a:lnTo>
                  <a:lnTo>
                    <a:pt x="85" y="94"/>
                  </a:lnTo>
                  <a:lnTo>
                    <a:pt x="90" y="90"/>
                  </a:lnTo>
                  <a:lnTo>
                    <a:pt x="96" y="86"/>
                  </a:lnTo>
                  <a:lnTo>
                    <a:pt x="98" y="85"/>
                  </a:lnTo>
                  <a:lnTo>
                    <a:pt x="99" y="83"/>
                  </a:lnTo>
                  <a:lnTo>
                    <a:pt x="100" y="81"/>
                  </a:lnTo>
                  <a:lnTo>
                    <a:pt x="101" y="80"/>
                  </a:lnTo>
                  <a:lnTo>
                    <a:pt x="103" y="77"/>
                  </a:lnTo>
                  <a:lnTo>
                    <a:pt x="104" y="74"/>
                  </a:lnTo>
                  <a:lnTo>
                    <a:pt x="105" y="72"/>
                  </a:lnTo>
                  <a:lnTo>
                    <a:pt x="106" y="70"/>
                  </a:lnTo>
                  <a:lnTo>
                    <a:pt x="106" y="69"/>
                  </a:lnTo>
                  <a:lnTo>
                    <a:pt x="107" y="64"/>
                  </a:lnTo>
                  <a:lnTo>
                    <a:pt x="107" y="61"/>
                  </a:lnTo>
                  <a:lnTo>
                    <a:pt x="108" y="58"/>
                  </a:lnTo>
                  <a:lnTo>
                    <a:pt x="110" y="56"/>
                  </a:lnTo>
                  <a:lnTo>
                    <a:pt x="112" y="50"/>
                  </a:lnTo>
                  <a:lnTo>
                    <a:pt x="115" y="46"/>
                  </a:lnTo>
                  <a:lnTo>
                    <a:pt x="123" y="31"/>
                  </a:lnTo>
                  <a:lnTo>
                    <a:pt x="127" y="25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35" y="25"/>
                  </a:lnTo>
                  <a:lnTo>
                    <a:pt x="137" y="25"/>
                  </a:lnTo>
                  <a:lnTo>
                    <a:pt x="140" y="25"/>
                  </a:lnTo>
                  <a:lnTo>
                    <a:pt x="141" y="24"/>
                  </a:lnTo>
                  <a:lnTo>
                    <a:pt x="143" y="24"/>
                  </a:lnTo>
                  <a:lnTo>
                    <a:pt x="144" y="23"/>
                  </a:lnTo>
                  <a:lnTo>
                    <a:pt x="145" y="21"/>
                  </a:lnTo>
                  <a:lnTo>
                    <a:pt x="147" y="19"/>
                  </a:lnTo>
                  <a:lnTo>
                    <a:pt x="148" y="17"/>
                  </a:lnTo>
                  <a:lnTo>
                    <a:pt x="150" y="13"/>
                  </a:lnTo>
                  <a:lnTo>
                    <a:pt x="151" y="12"/>
                  </a:lnTo>
                  <a:lnTo>
                    <a:pt x="152" y="11"/>
                  </a:lnTo>
                  <a:lnTo>
                    <a:pt x="153" y="11"/>
                  </a:lnTo>
                  <a:lnTo>
                    <a:pt x="154" y="10"/>
                  </a:lnTo>
                  <a:lnTo>
                    <a:pt x="157" y="8"/>
                  </a:lnTo>
                  <a:lnTo>
                    <a:pt x="161" y="6"/>
                  </a:lnTo>
                  <a:lnTo>
                    <a:pt x="163" y="5"/>
                  </a:lnTo>
                  <a:lnTo>
                    <a:pt x="164" y="5"/>
                  </a:lnTo>
                  <a:lnTo>
                    <a:pt x="165" y="5"/>
                  </a:lnTo>
                  <a:lnTo>
                    <a:pt x="166" y="5"/>
                  </a:lnTo>
                  <a:lnTo>
                    <a:pt x="168" y="6"/>
                  </a:lnTo>
                  <a:lnTo>
                    <a:pt x="170" y="6"/>
                  </a:lnTo>
                  <a:lnTo>
                    <a:pt x="172" y="6"/>
                  </a:lnTo>
                  <a:lnTo>
                    <a:pt x="174" y="6"/>
                  </a:lnTo>
                  <a:lnTo>
                    <a:pt x="178" y="5"/>
                  </a:lnTo>
                  <a:lnTo>
                    <a:pt x="181" y="4"/>
                  </a:lnTo>
                  <a:lnTo>
                    <a:pt x="185" y="3"/>
                  </a:lnTo>
                  <a:lnTo>
                    <a:pt x="190" y="1"/>
                  </a:lnTo>
                  <a:lnTo>
                    <a:pt x="193" y="1"/>
                  </a:lnTo>
                  <a:lnTo>
                    <a:pt x="195" y="0"/>
                  </a:lnTo>
                  <a:lnTo>
                    <a:pt x="197" y="0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4" name="Freeform 27">
              <a:extLst>
                <a:ext uri="{FF2B5EF4-FFF2-40B4-BE49-F238E27FC236}">
                  <a16:creationId xmlns:a16="http://schemas.microsoft.com/office/drawing/2014/main" id="{5AFA3B9A-AB89-455E-AE27-BC401AE6C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" y="2438"/>
              <a:ext cx="227" cy="225"/>
            </a:xfrm>
            <a:custGeom>
              <a:avLst/>
              <a:gdLst>
                <a:gd name="T0" fmla="*/ 88 w 227"/>
                <a:gd name="T1" fmla="*/ 7 h 225"/>
                <a:gd name="T2" fmla="*/ 96 w 227"/>
                <a:gd name="T3" fmla="*/ 11 h 225"/>
                <a:gd name="T4" fmla="*/ 102 w 227"/>
                <a:gd name="T5" fmla="*/ 22 h 225"/>
                <a:gd name="T6" fmla="*/ 108 w 227"/>
                <a:gd name="T7" fmla="*/ 33 h 225"/>
                <a:gd name="T8" fmla="*/ 115 w 227"/>
                <a:gd name="T9" fmla="*/ 33 h 225"/>
                <a:gd name="T10" fmla="*/ 119 w 227"/>
                <a:gd name="T11" fmla="*/ 36 h 225"/>
                <a:gd name="T12" fmla="*/ 123 w 227"/>
                <a:gd name="T13" fmla="*/ 41 h 225"/>
                <a:gd name="T14" fmla="*/ 128 w 227"/>
                <a:gd name="T15" fmla="*/ 40 h 225"/>
                <a:gd name="T16" fmla="*/ 144 w 227"/>
                <a:gd name="T17" fmla="*/ 20 h 225"/>
                <a:gd name="T18" fmla="*/ 166 w 227"/>
                <a:gd name="T19" fmla="*/ 5 h 225"/>
                <a:gd name="T20" fmla="*/ 172 w 227"/>
                <a:gd name="T21" fmla="*/ 0 h 225"/>
                <a:gd name="T22" fmla="*/ 175 w 227"/>
                <a:gd name="T23" fmla="*/ 6 h 225"/>
                <a:gd name="T24" fmla="*/ 180 w 227"/>
                <a:gd name="T25" fmla="*/ 25 h 225"/>
                <a:gd name="T26" fmla="*/ 193 w 227"/>
                <a:gd name="T27" fmla="*/ 39 h 225"/>
                <a:gd name="T28" fmla="*/ 195 w 227"/>
                <a:gd name="T29" fmla="*/ 48 h 225"/>
                <a:gd name="T30" fmla="*/ 185 w 227"/>
                <a:gd name="T31" fmla="*/ 63 h 225"/>
                <a:gd name="T32" fmla="*/ 174 w 227"/>
                <a:gd name="T33" fmla="*/ 77 h 225"/>
                <a:gd name="T34" fmla="*/ 173 w 227"/>
                <a:gd name="T35" fmla="*/ 85 h 225"/>
                <a:gd name="T36" fmla="*/ 182 w 227"/>
                <a:gd name="T37" fmla="*/ 94 h 225"/>
                <a:gd name="T38" fmla="*/ 204 w 227"/>
                <a:gd name="T39" fmla="*/ 113 h 225"/>
                <a:gd name="T40" fmla="*/ 203 w 227"/>
                <a:gd name="T41" fmla="*/ 119 h 225"/>
                <a:gd name="T42" fmla="*/ 200 w 227"/>
                <a:gd name="T43" fmla="*/ 127 h 225"/>
                <a:gd name="T44" fmla="*/ 205 w 227"/>
                <a:gd name="T45" fmla="*/ 135 h 225"/>
                <a:gd name="T46" fmla="*/ 221 w 227"/>
                <a:gd name="T47" fmla="*/ 144 h 225"/>
                <a:gd name="T48" fmla="*/ 224 w 227"/>
                <a:gd name="T49" fmla="*/ 151 h 225"/>
                <a:gd name="T50" fmla="*/ 212 w 227"/>
                <a:gd name="T51" fmla="*/ 173 h 225"/>
                <a:gd name="T52" fmla="*/ 210 w 227"/>
                <a:gd name="T53" fmla="*/ 188 h 225"/>
                <a:gd name="T54" fmla="*/ 199 w 227"/>
                <a:gd name="T55" fmla="*/ 202 h 225"/>
                <a:gd name="T56" fmla="*/ 177 w 227"/>
                <a:gd name="T57" fmla="*/ 218 h 225"/>
                <a:gd name="T58" fmla="*/ 161 w 227"/>
                <a:gd name="T59" fmla="*/ 225 h 225"/>
                <a:gd name="T60" fmla="*/ 152 w 227"/>
                <a:gd name="T61" fmla="*/ 225 h 225"/>
                <a:gd name="T62" fmla="*/ 140 w 227"/>
                <a:gd name="T63" fmla="*/ 218 h 225"/>
                <a:gd name="T64" fmla="*/ 122 w 227"/>
                <a:gd name="T65" fmla="*/ 202 h 225"/>
                <a:gd name="T66" fmla="*/ 104 w 227"/>
                <a:gd name="T67" fmla="*/ 196 h 225"/>
                <a:gd name="T68" fmla="*/ 99 w 227"/>
                <a:gd name="T69" fmla="*/ 190 h 225"/>
                <a:gd name="T70" fmla="*/ 103 w 227"/>
                <a:gd name="T71" fmla="*/ 180 h 225"/>
                <a:gd name="T72" fmla="*/ 108 w 227"/>
                <a:gd name="T73" fmla="*/ 172 h 225"/>
                <a:gd name="T74" fmla="*/ 108 w 227"/>
                <a:gd name="T75" fmla="*/ 160 h 225"/>
                <a:gd name="T76" fmla="*/ 102 w 227"/>
                <a:gd name="T77" fmla="*/ 154 h 225"/>
                <a:gd name="T78" fmla="*/ 87 w 227"/>
                <a:gd name="T79" fmla="*/ 145 h 225"/>
                <a:gd name="T80" fmla="*/ 69 w 227"/>
                <a:gd name="T81" fmla="*/ 147 h 225"/>
                <a:gd name="T82" fmla="*/ 42 w 227"/>
                <a:gd name="T83" fmla="*/ 150 h 225"/>
                <a:gd name="T84" fmla="*/ 28 w 227"/>
                <a:gd name="T85" fmla="*/ 145 h 225"/>
                <a:gd name="T86" fmla="*/ 21 w 227"/>
                <a:gd name="T87" fmla="*/ 139 h 225"/>
                <a:gd name="T88" fmla="*/ 18 w 227"/>
                <a:gd name="T89" fmla="*/ 131 h 225"/>
                <a:gd name="T90" fmla="*/ 18 w 227"/>
                <a:gd name="T91" fmla="*/ 120 h 225"/>
                <a:gd name="T92" fmla="*/ 17 w 227"/>
                <a:gd name="T93" fmla="*/ 91 h 225"/>
                <a:gd name="T94" fmla="*/ 12 w 227"/>
                <a:gd name="T95" fmla="*/ 83 h 225"/>
                <a:gd name="T96" fmla="*/ 8 w 227"/>
                <a:gd name="T97" fmla="*/ 71 h 225"/>
                <a:gd name="T98" fmla="*/ 6 w 227"/>
                <a:gd name="T99" fmla="*/ 52 h 225"/>
                <a:gd name="T100" fmla="*/ 0 w 227"/>
                <a:gd name="T101" fmla="*/ 39 h 225"/>
                <a:gd name="T102" fmla="*/ 1 w 227"/>
                <a:gd name="T103" fmla="*/ 32 h 225"/>
                <a:gd name="T104" fmla="*/ 7 w 227"/>
                <a:gd name="T105" fmla="*/ 23 h 225"/>
                <a:gd name="T106" fmla="*/ 15 w 227"/>
                <a:gd name="T107" fmla="*/ 22 h 225"/>
                <a:gd name="T108" fmla="*/ 35 w 227"/>
                <a:gd name="T109" fmla="*/ 32 h 225"/>
                <a:gd name="T110" fmla="*/ 51 w 227"/>
                <a:gd name="T111" fmla="*/ 34 h 225"/>
                <a:gd name="T112" fmla="*/ 59 w 227"/>
                <a:gd name="T113" fmla="*/ 31 h 225"/>
                <a:gd name="T114" fmla="*/ 68 w 227"/>
                <a:gd name="T115" fmla="*/ 16 h 225"/>
                <a:gd name="T116" fmla="*/ 77 w 227"/>
                <a:gd name="T117" fmla="*/ 8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7" h="225">
                  <a:moveTo>
                    <a:pt x="83" y="6"/>
                  </a:moveTo>
                  <a:lnTo>
                    <a:pt x="83" y="6"/>
                  </a:lnTo>
                  <a:lnTo>
                    <a:pt x="84" y="6"/>
                  </a:lnTo>
                  <a:lnTo>
                    <a:pt x="86" y="6"/>
                  </a:lnTo>
                  <a:lnTo>
                    <a:pt x="88" y="7"/>
                  </a:lnTo>
                  <a:lnTo>
                    <a:pt x="90" y="8"/>
                  </a:lnTo>
                  <a:lnTo>
                    <a:pt x="92" y="8"/>
                  </a:lnTo>
                  <a:lnTo>
                    <a:pt x="93" y="9"/>
                  </a:lnTo>
                  <a:lnTo>
                    <a:pt x="95" y="10"/>
                  </a:lnTo>
                  <a:lnTo>
                    <a:pt x="96" y="11"/>
                  </a:lnTo>
                  <a:lnTo>
                    <a:pt x="98" y="14"/>
                  </a:lnTo>
                  <a:lnTo>
                    <a:pt x="98" y="15"/>
                  </a:lnTo>
                  <a:lnTo>
                    <a:pt x="99" y="17"/>
                  </a:lnTo>
                  <a:lnTo>
                    <a:pt x="100" y="20"/>
                  </a:lnTo>
                  <a:lnTo>
                    <a:pt x="102" y="22"/>
                  </a:lnTo>
                  <a:lnTo>
                    <a:pt x="104" y="28"/>
                  </a:lnTo>
                  <a:lnTo>
                    <a:pt x="104" y="30"/>
                  </a:lnTo>
                  <a:lnTo>
                    <a:pt x="105" y="32"/>
                  </a:lnTo>
                  <a:lnTo>
                    <a:pt x="107" y="32"/>
                  </a:lnTo>
                  <a:lnTo>
                    <a:pt x="108" y="33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10" y="34"/>
                  </a:lnTo>
                  <a:lnTo>
                    <a:pt x="113" y="33"/>
                  </a:lnTo>
                  <a:lnTo>
                    <a:pt x="115" y="33"/>
                  </a:lnTo>
                  <a:lnTo>
                    <a:pt x="116" y="33"/>
                  </a:lnTo>
                  <a:lnTo>
                    <a:pt x="117" y="33"/>
                  </a:lnTo>
                  <a:lnTo>
                    <a:pt x="118" y="34"/>
                  </a:lnTo>
                  <a:lnTo>
                    <a:pt x="119" y="34"/>
                  </a:lnTo>
                  <a:lnTo>
                    <a:pt x="119" y="36"/>
                  </a:lnTo>
                  <a:lnTo>
                    <a:pt x="121" y="38"/>
                  </a:lnTo>
                  <a:lnTo>
                    <a:pt x="121" y="39"/>
                  </a:lnTo>
                  <a:lnTo>
                    <a:pt x="121" y="40"/>
                  </a:lnTo>
                  <a:lnTo>
                    <a:pt x="122" y="40"/>
                  </a:lnTo>
                  <a:lnTo>
                    <a:pt x="123" y="41"/>
                  </a:lnTo>
                  <a:lnTo>
                    <a:pt x="125" y="41"/>
                  </a:lnTo>
                  <a:lnTo>
                    <a:pt x="126" y="41"/>
                  </a:lnTo>
                  <a:lnTo>
                    <a:pt x="127" y="41"/>
                  </a:lnTo>
                  <a:lnTo>
                    <a:pt x="128" y="41"/>
                  </a:lnTo>
                  <a:lnTo>
                    <a:pt x="128" y="40"/>
                  </a:lnTo>
                  <a:lnTo>
                    <a:pt x="129" y="39"/>
                  </a:lnTo>
                  <a:lnTo>
                    <a:pt x="140" y="24"/>
                  </a:lnTo>
                  <a:lnTo>
                    <a:pt x="142" y="22"/>
                  </a:lnTo>
                  <a:lnTo>
                    <a:pt x="143" y="21"/>
                  </a:lnTo>
                  <a:lnTo>
                    <a:pt x="144" y="20"/>
                  </a:lnTo>
                  <a:lnTo>
                    <a:pt x="146" y="19"/>
                  </a:lnTo>
                  <a:lnTo>
                    <a:pt x="154" y="14"/>
                  </a:lnTo>
                  <a:lnTo>
                    <a:pt x="157" y="11"/>
                  </a:lnTo>
                  <a:lnTo>
                    <a:pt x="161" y="9"/>
                  </a:lnTo>
                  <a:lnTo>
                    <a:pt x="166" y="5"/>
                  </a:lnTo>
                  <a:lnTo>
                    <a:pt x="167" y="3"/>
                  </a:lnTo>
                  <a:lnTo>
                    <a:pt x="170" y="1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3" y="1"/>
                  </a:lnTo>
                  <a:lnTo>
                    <a:pt x="174" y="2"/>
                  </a:lnTo>
                  <a:lnTo>
                    <a:pt x="174" y="3"/>
                  </a:lnTo>
                  <a:lnTo>
                    <a:pt x="175" y="6"/>
                  </a:lnTo>
                  <a:lnTo>
                    <a:pt x="176" y="12"/>
                  </a:lnTo>
                  <a:lnTo>
                    <a:pt x="177" y="16"/>
                  </a:lnTo>
                  <a:lnTo>
                    <a:pt x="177" y="18"/>
                  </a:lnTo>
                  <a:lnTo>
                    <a:pt x="177" y="21"/>
                  </a:lnTo>
                  <a:lnTo>
                    <a:pt x="180" y="25"/>
                  </a:lnTo>
                  <a:lnTo>
                    <a:pt x="181" y="27"/>
                  </a:lnTo>
                  <a:lnTo>
                    <a:pt x="182" y="28"/>
                  </a:lnTo>
                  <a:lnTo>
                    <a:pt x="188" y="33"/>
                  </a:lnTo>
                  <a:lnTo>
                    <a:pt x="190" y="37"/>
                  </a:lnTo>
                  <a:lnTo>
                    <a:pt x="193" y="39"/>
                  </a:lnTo>
                  <a:lnTo>
                    <a:pt x="194" y="41"/>
                  </a:lnTo>
                  <a:lnTo>
                    <a:pt x="195" y="43"/>
                  </a:lnTo>
                  <a:lnTo>
                    <a:pt x="195" y="44"/>
                  </a:lnTo>
                  <a:lnTo>
                    <a:pt x="196" y="46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3" y="53"/>
                  </a:lnTo>
                  <a:lnTo>
                    <a:pt x="192" y="55"/>
                  </a:lnTo>
                  <a:lnTo>
                    <a:pt x="190" y="57"/>
                  </a:lnTo>
                  <a:lnTo>
                    <a:pt x="185" y="63"/>
                  </a:lnTo>
                  <a:lnTo>
                    <a:pt x="179" y="67"/>
                  </a:lnTo>
                  <a:lnTo>
                    <a:pt x="177" y="70"/>
                  </a:lnTo>
                  <a:lnTo>
                    <a:pt x="176" y="73"/>
                  </a:lnTo>
                  <a:lnTo>
                    <a:pt x="175" y="75"/>
                  </a:lnTo>
                  <a:lnTo>
                    <a:pt x="174" y="77"/>
                  </a:lnTo>
                  <a:lnTo>
                    <a:pt x="173" y="78"/>
                  </a:lnTo>
                  <a:lnTo>
                    <a:pt x="173" y="80"/>
                  </a:lnTo>
                  <a:lnTo>
                    <a:pt x="173" y="82"/>
                  </a:lnTo>
                  <a:lnTo>
                    <a:pt x="173" y="84"/>
                  </a:lnTo>
                  <a:lnTo>
                    <a:pt x="173" y="85"/>
                  </a:lnTo>
                  <a:lnTo>
                    <a:pt x="173" y="87"/>
                  </a:lnTo>
                  <a:lnTo>
                    <a:pt x="174" y="89"/>
                  </a:lnTo>
                  <a:lnTo>
                    <a:pt x="175" y="89"/>
                  </a:lnTo>
                  <a:lnTo>
                    <a:pt x="177" y="91"/>
                  </a:lnTo>
                  <a:lnTo>
                    <a:pt x="182" y="94"/>
                  </a:lnTo>
                  <a:lnTo>
                    <a:pt x="188" y="99"/>
                  </a:lnTo>
                  <a:lnTo>
                    <a:pt x="193" y="104"/>
                  </a:lnTo>
                  <a:lnTo>
                    <a:pt x="197" y="107"/>
                  </a:lnTo>
                  <a:lnTo>
                    <a:pt x="203" y="112"/>
                  </a:lnTo>
                  <a:lnTo>
                    <a:pt x="204" y="113"/>
                  </a:lnTo>
                  <a:lnTo>
                    <a:pt x="204" y="114"/>
                  </a:lnTo>
                  <a:lnTo>
                    <a:pt x="205" y="115"/>
                  </a:lnTo>
                  <a:lnTo>
                    <a:pt x="205" y="116"/>
                  </a:lnTo>
                  <a:lnTo>
                    <a:pt x="204" y="117"/>
                  </a:lnTo>
                  <a:lnTo>
                    <a:pt x="203" y="119"/>
                  </a:lnTo>
                  <a:lnTo>
                    <a:pt x="201" y="122"/>
                  </a:lnTo>
                  <a:lnTo>
                    <a:pt x="200" y="123"/>
                  </a:lnTo>
                  <a:lnTo>
                    <a:pt x="200" y="124"/>
                  </a:lnTo>
                  <a:lnTo>
                    <a:pt x="200" y="126"/>
                  </a:lnTo>
                  <a:lnTo>
                    <a:pt x="200" y="127"/>
                  </a:lnTo>
                  <a:lnTo>
                    <a:pt x="200" y="128"/>
                  </a:lnTo>
                  <a:lnTo>
                    <a:pt x="200" y="130"/>
                  </a:lnTo>
                  <a:lnTo>
                    <a:pt x="201" y="132"/>
                  </a:lnTo>
                  <a:lnTo>
                    <a:pt x="203" y="134"/>
                  </a:lnTo>
                  <a:lnTo>
                    <a:pt x="205" y="135"/>
                  </a:lnTo>
                  <a:lnTo>
                    <a:pt x="207" y="137"/>
                  </a:lnTo>
                  <a:lnTo>
                    <a:pt x="210" y="138"/>
                  </a:lnTo>
                  <a:lnTo>
                    <a:pt x="216" y="141"/>
                  </a:lnTo>
                  <a:lnTo>
                    <a:pt x="219" y="143"/>
                  </a:lnTo>
                  <a:lnTo>
                    <a:pt x="221" y="144"/>
                  </a:lnTo>
                  <a:lnTo>
                    <a:pt x="225" y="146"/>
                  </a:lnTo>
                  <a:lnTo>
                    <a:pt x="226" y="147"/>
                  </a:lnTo>
                  <a:lnTo>
                    <a:pt x="227" y="147"/>
                  </a:lnTo>
                  <a:lnTo>
                    <a:pt x="226" y="148"/>
                  </a:lnTo>
                  <a:lnTo>
                    <a:pt x="224" y="151"/>
                  </a:lnTo>
                  <a:lnTo>
                    <a:pt x="221" y="157"/>
                  </a:lnTo>
                  <a:lnTo>
                    <a:pt x="218" y="161"/>
                  </a:lnTo>
                  <a:lnTo>
                    <a:pt x="216" y="165"/>
                  </a:lnTo>
                  <a:lnTo>
                    <a:pt x="213" y="170"/>
                  </a:lnTo>
                  <a:lnTo>
                    <a:pt x="212" y="173"/>
                  </a:lnTo>
                  <a:lnTo>
                    <a:pt x="212" y="176"/>
                  </a:lnTo>
                  <a:lnTo>
                    <a:pt x="211" y="179"/>
                  </a:lnTo>
                  <a:lnTo>
                    <a:pt x="210" y="185"/>
                  </a:lnTo>
                  <a:lnTo>
                    <a:pt x="210" y="186"/>
                  </a:lnTo>
                  <a:lnTo>
                    <a:pt x="210" y="188"/>
                  </a:lnTo>
                  <a:lnTo>
                    <a:pt x="208" y="191"/>
                  </a:lnTo>
                  <a:lnTo>
                    <a:pt x="207" y="193"/>
                  </a:lnTo>
                  <a:lnTo>
                    <a:pt x="204" y="196"/>
                  </a:lnTo>
                  <a:lnTo>
                    <a:pt x="202" y="199"/>
                  </a:lnTo>
                  <a:lnTo>
                    <a:pt x="199" y="202"/>
                  </a:lnTo>
                  <a:lnTo>
                    <a:pt x="194" y="206"/>
                  </a:lnTo>
                  <a:lnTo>
                    <a:pt x="190" y="208"/>
                  </a:lnTo>
                  <a:lnTo>
                    <a:pt x="184" y="213"/>
                  </a:lnTo>
                  <a:lnTo>
                    <a:pt x="182" y="213"/>
                  </a:lnTo>
                  <a:lnTo>
                    <a:pt x="177" y="218"/>
                  </a:lnTo>
                  <a:lnTo>
                    <a:pt x="176" y="219"/>
                  </a:lnTo>
                  <a:lnTo>
                    <a:pt x="175" y="219"/>
                  </a:lnTo>
                  <a:lnTo>
                    <a:pt x="172" y="220"/>
                  </a:lnTo>
                  <a:lnTo>
                    <a:pt x="166" y="222"/>
                  </a:lnTo>
                  <a:lnTo>
                    <a:pt x="161" y="225"/>
                  </a:lnTo>
                  <a:lnTo>
                    <a:pt x="159" y="225"/>
                  </a:lnTo>
                  <a:lnTo>
                    <a:pt x="157" y="225"/>
                  </a:lnTo>
                  <a:lnTo>
                    <a:pt x="155" y="225"/>
                  </a:lnTo>
                  <a:lnTo>
                    <a:pt x="153" y="225"/>
                  </a:lnTo>
                  <a:lnTo>
                    <a:pt x="152" y="225"/>
                  </a:lnTo>
                  <a:lnTo>
                    <a:pt x="150" y="225"/>
                  </a:lnTo>
                  <a:lnTo>
                    <a:pt x="148" y="225"/>
                  </a:lnTo>
                  <a:lnTo>
                    <a:pt x="145" y="223"/>
                  </a:lnTo>
                  <a:lnTo>
                    <a:pt x="143" y="222"/>
                  </a:lnTo>
                  <a:lnTo>
                    <a:pt x="140" y="218"/>
                  </a:lnTo>
                  <a:lnTo>
                    <a:pt x="133" y="212"/>
                  </a:lnTo>
                  <a:lnTo>
                    <a:pt x="131" y="209"/>
                  </a:lnTo>
                  <a:lnTo>
                    <a:pt x="128" y="206"/>
                  </a:lnTo>
                  <a:lnTo>
                    <a:pt x="125" y="204"/>
                  </a:lnTo>
                  <a:lnTo>
                    <a:pt x="122" y="202"/>
                  </a:lnTo>
                  <a:lnTo>
                    <a:pt x="120" y="202"/>
                  </a:lnTo>
                  <a:lnTo>
                    <a:pt x="116" y="201"/>
                  </a:lnTo>
                  <a:lnTo>
                    <a:pt x="109" y="198"/>
                  </a:lnTo>
                  <a:lnTo>
                    <a:pt x="106" y="197"/>
                  </a:lnTo>
                  <a:lnTo>
                    <a:pt x="104" y="196"/>
                  </a:lnTo>
                  <a:lnTo>
                    <a:pt x="103" y="195"/>
                  </a:lnTo>
                  <a:lnTo>
                    <a:pt x="101" y="194"/>
                  </a:lnTo>
                  <a:lnTo>
                    <a:pt x="100" y="192"/>
                  </a:lnTo>
                  <a:lnTo>
                    <a:pt x="99" y="191"/>
                  </a:lnTo>
                  <a:lnTo>
                    <a:pt x="99" y="190"/>
                  </a:lnTo>
                  <a:lnTo>
                    <a:pt x="99" y="188"/>
                  </a:lnTo>
                  <a:lnTo>
                    <a:pt x="99" y="186"/>
                  </a:lnTo>
                  <a:lnTo>
                    <a:pt x="99" y="185"/>
                  </a:lnTo>
                  <a:lnTo>
                    <a:pt x="100" y="184"/>
                  </a:lnTo>
                  <a:lnTo>
                    <a:pt x="103" y="180"/>
                  </a:lnTo>
                  <a:lnTo>
                    <a:pt x="105" y="179"/>
                  </a:lnTo>
                  <a:lnTo>
                    <a:pt x="106" y="178"/>
                  </a:lnTo>
                  <a:lnTo>
                    <a:pt x="107" y="176"/>
                  </a:lnTo>
                  <a:lnTo>
                    <a:pt x="107" y="174"/>
                  </a:lnTo>
                  <a:lnTo>
                    <a:pt x="108" y="172"/>
                  </a:lnTo>
                  <a:lnTo>
                    <a:pt x="108" y="169"/>
                  </a:lnTo>
                  <a:lnTo>
                    <a:pt x="109" y="168"/>
                  </a:lnTo>
                  <a:lnTo>
                    <a:pt x="109" y="165"/>
                  </a:lnTo>
                  <a:lnTo>
                    <a:pt x="108" y="163"/>
                  </a:lnTo>
                  <a:lnTo>
                    <a:pt x="108" y="160"/>
                  </a:lnTo>
                  <a:lnTo>
                    <a:pt x="107" y="159"/>
                  </a:lnTo>
                  <a:lnTo>
                    <a:pt x="106" y="157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2" y="154"/>
                  </a:lnTo>
                  <a:lnTo>
                    <a:pt x="95" y="149"/>
                  </a:lnTo>
                  <a:lnTo>
                    <a:pt x="92" y="147"/>
                  </a:lnTo>
                  <a:lnTo>
                    <a:pt x="91" y="146"/>
                  </a:lnTo>
                  <a:lnTo>
                    <a:pt x="89" y="146"/>
                  </a:lnTo>
                  <a:lnTo>
                    <a:pt x="87" y="145"/>
                  </a:lnTo>
                  <a:lnTo>
                    <a:pt x="85" y="145"/>
                  </a:lnTo>
                  <a:lnTo>
                    <a:pt x="82" y="145"/>
                  </a:lnTo>
                  <a:lnTo>
                    <a:pt x="78" y="145"/>
                  </a:lnTo>
                  <a:lnTo>
                    <a:pt x="76" y="146"/>
                  </a:lnTo>
                  <a:lnTo>
                    <a:pt x="69" y="147"/>
                  </a:lnTo>
                  <a:lnTo>
                    <a:pt x="64" y="148"/>
                  </a:lnTo>
                  <a:lnTo>
                    <a:pt x="60" y="149"/>
                  </a:lnTo>
                  <a:lnTo>
                    <a:pt x="52" y="150"/>
                  </a:lnTo>
                  <a:lnTo>
                    <a:pt x="45" y="150"/>
                  </a:lnTo>
                  <a:lnTo>
                    <a:pt x="42" y="150"/>
                  </a:lnTo>
                  <a:lnTo>
                    <a:pt x="38" y="149"/>
                  </a:lnTo>
                  <a:lnTo>
                    <a:pt x="34" y="148"/>
                  </a:lnTo>
                  <a:lnTo>
                    <a:pt x="30" y="146"/>
                  </a:lnTo>
                  <a:lnTo>
                    <a:pt x="29" y="146"/>
                  </a:lnTo>
                  <a:lnTo>
                    <a:pt x="28" y="145"/>
                  </a:lnTo>
                  <a:lnTo>
                    <a:pt x="26" y="145"/>
                  </a:lnTo>
                  <a:lnTo>
                    <a:pt x="25" y="144"/>
                  </a:lnTo>
                  <a:lnTo>
                    <a:pt x="23" y="142"/>
                  </a:lnTo>
                  <a:lnTo>
                    <a:pt x="22" y="141"/>
                  </a:lnTo>
                  <a:lnTo>
                    <a:pt x="21" y="139"/>
                  </a:lnTo>
                  <a:lnTo>
                    <a:pt x="20" y="137"/>
                  </a:lnTo>
                  <a:lnTo>
                    <a:pt x="19" y="136"/>
                  </a:lnTo>
                  <a:lnTo>
                    <a:pt x="19" y="134"/>
                  </a:lnTo>
                  <a:lnTo>
                    <a:pt x="18" y="133"/>
                  </a:lnTo>
                  <a:lnTo>
                    <a:pt x="18" y="131"/>
                  </a:lnTo>
                  <a:lnTo>
                    <a:pt x="18" y="129"/>
                  </a:lnTo>
                  <a:lnTo>
                    <a:pt x="18" y="127"/>
                  </a:lnTo>
                  <a:lnTo>
                    <a:pt x="18" y="127"/>
                  </a:lnTo>
                  <a:lnTo>
                    <a:pt x="18" y="125"/>
                  </a:lnTo>
                  <a:lnTo>
                    <a:pt x="18" y="120"/>
                  </a:lnTo>
                  <a:lnTo>
                    <a:pt x="18" y="116"/>
                  </a:lnTo>
                  <a:lnTo>
                    <a:pt x="18" y="107"/>
                  </a:lnTo>
                  <a:lnTo>
                    <a:pt x="18" y="103"/>
                  </a:lnTo>
                  <a:lnTo>
                    <a:pt x="18" y="97"/>
                  </a:lnTo>
                  <a:lnTo>
                    <a:pt x="17" y="91"/>
                  </a:lnTo>
                  <a:lnTo>
                    <a:pt x="17" y="89"/>
                  </a:lnTo>
                  <a:lnTo>
                    <a:pt x="16" y="89"/>
                  </a:lnTo>
                  <a:lnTo>
                    <a:pt x="16" y="88"/>
                  </a:lnTo>
                  <a:lnTo>
                    <a:pt x="13" y="85"/>
                  </a:lnTo>
                  <a:lnTo>
                    <a:pt x="12" y="83"/>
                  </a:lnTo>
                  <a:lnTo>
                    <a:pt x="11" y="81"/>
                  </a:lnTo>
                  <a:lnTo>
                    <a:pt x="10" y="79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8" y="71"/>
                  </a:lnTo>
                  <a:lnTo>
                    <a:pt x="8" y="62"/>
                  </a:lnTo>
                  <a:lnTo>
                    <a:pt x="7" y="57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6" y="52"/>
                  </a:lnTo>
                  <a:lnTo>
                    <a:pt x="5" y="49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1" y="32"/>
                  </a:lnTo>
                  <a:lnTo>
                    <a:pt x="2" y="29"/>
                  </a:lnTo>
                  <a:lnTo>
                    <a:pt x="4" y="27"/>
                  </a:lnTo>
                  <a:lnTo>
                    <a:pt x="5" y="26"/>
                  </a:lnTo>
                  <a:lnTo>
                    <a:pt x="6" y="24"/>
                  </a:lnTo>
                  <a:lnTo>
                    <a:pt x="7" y="23"/>
                  </a:lnTo>
                  <a:lnTo>
                    <a:pt x="8" y="22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9" y="24"/>
                  </a:lnTo>
                  <a:lnTo>
                    <a:pt x="21" y="25"/>
                  </a:lnTo>
                  <a:lnTo>
                    <a:pt x="29" y="29"/>
                  </a:lnTo>
                  <a:lnTo>
                    <a:pt x="35" y="32"/>
                  </a:lnTo>
                  <a:lnTo>
                    <a:pt x="38" y="32"/>
                  </a:lnTo>
                  <a:lnTo>
                    <a:pt x="40" y="33"/>
                  </a:lnTo>
                  <a:lnTo>
                    <a:pt x="42" y="34"/>
                  </a:lnTo>
                  <a:lnTo>
                    <a:pt x="47" y="34"/>
                  </a:lnTo>
                  <a:lnTo>
                    <a:pt x="51" y="34"/>
                  </a:lnTo>
                  <a:lnTo>
                    <a:pt x="52" y="34"/>
                  </a:lnTo>
                  <a:lnTo>
                    <a:pt x="53" y="34"/>
                  </a:lnTo>
                  <a:lnTo>
                    <a:pt x="55" y="33"/>
                  </a:lnTo>
                  <a:lnTo>
                    <a:pt x="57" y="32"/>
                  </a:lnTo>
                  <a:lnTo>
                    <a:pt x="59" y="31"/>
                  </a:lnTo>
                  <a:lnTo>
                    <a:pt x="61" y="29"/>
                  </a:lnTo>
                  <a:lnTo>
                    <a:pt x="62" y="27"/>
                  </a:lnTo>
                  <a:lnTo>
                    <a:pt x="64" y="25"/>
                  </a:lnTo>
                  <a:lnTo>
                    <a:pt x="66" y="19"/>
                  </a:lnTo>
                  <a:lnTo>
                    <a:pt x="68" y="16"/>
                  </a:lnTo>
                  <a:lnTo>
                    <a:pt x="69" y="14"/>
                  </a:lnTo>
                  <a:lnTo>
                    <a:pt x="71" y="12"/>
                  </a:lnTo>
                  <a:lnTo>
                    <a:pt x="74" y="10"/>
                  </a:lnTo>
                  <a:lnTo>
                    <a:pt x="75" y="9"/>
                  </a:lnTo>
                  <a:lnTo>
                    <a:pt x="77" y="8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2" y="6"/>
                  </a:lnTo>
                  <a:lnTo>
                    <a:pt x="83" y="6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5" name="Freeform 28">
              <a:extLst>
                <a:ext uri="{FF2B5EF4-FFF2-40B4-BE49-F238E27FC236}">
                  <a16:creationId xmlns:a16="http://schemas.microsoft.com/office/drawing/2014/main" id="{EFC2180F-8146-406D-9E81-F480C3973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" y="2565"/>
              <a:ext cx="591" cy="358"/>
            </a:xfrm>
            <a:custGeom>
              <a:avLst/>
              <a:gdLst>
                <a:gd name="T0" fmla="*/ 130 w 591"/>
                <a:gd name="T1" fmla="*/ 11 h 358"/>
                <a:gd name="T2" fmla="*/ 150 w 591"/>
                <a:gd name="T3" fmla="*/ 24 h 358"/>
                <a:gd name="T4" fmla="*/ 172 w 591"/>
                <a:gd name="T5" fmla="*/ 36 h 358"/>
                <a:gd name="T6" fmla="*/ 199 w 591"/>
                <a:gd name="T7" fmla="*/ 30 h 358"/>
                <a:gd name="T8" fmla="*/ 229 w 591"/>
                <a:gd name="T9" fmla="*/ 6 h 358"/>
                <a:gd name="T10" fmla="*/ 241 w 591"/>
                <a:gd name="T11" fmla="*/ 19 h 358"/>
                <a:gd name="T12" fmla="*/ 293 w 591"/>
                <a:gd name="T13" fmla="*/ 18 h 358"/>
                <a:gd name="T14" fmla="*/ 318 w 591"/>
                <a:gd name="T15" fmla="*/ 32 h 358"/>
                <a:gd name="T16" fmla="*/ 314 w 591"/>
                <a:gd name="T17" fmla="*/ 53 h 358"/>
                <a:gd name="T18" fmla="*/ 317 w 591"/>
                <a:gd name="T19" fmla="*/ 70 h 358"/>
                <a:gd name="T20" fmla="*/ 356 w 591"/>
                <a:gd name="T21" fmla="*/ 96 h 358"/>
                <a:gd name="T22" fmla="*/ 386 w 591"/>
                <a:gd name="T23" fmla="*/ 92 h 358"/>
                <a:gd name="T24" fmla="*/ 419 w 591"/>
                <a:gd name="T25" fmla="*/ 64 h 358"/>
                <a:gd name="T26" fmla="*/ 435 w 591"/>
                <a:gd name="T27" fmla="*/ 24 h 358"/>
                <a:gd name="T28" fmla="*/ 446 w 591"/>
                <a:gd name="T29" fmla="*/ 21 h 358"/>
                <a:gd name="T30" fmla="*/ 443 w 591"/>
                <a:gd name="T31" fmla="*/ 54 h 358"/>
                <a:gd name="T32" fmla="*/ 457 w 591"/>
                <a:gd name="T33" fmla="*/ 66 h 358"/>
                <a:gd name="T34" fmla="*/ 485 w 591"/>
                <a:gd name="T35" fmla="*/ 75 h 358"/>
                <a:gd name="T36" fmla="*/ 501 w 591"/>
                <a:gd name="T37" fmla="*/ 67 h 358"/>
                <a:gd name="T38" fmla="*/ 536 w 591"/>
                <a:gd name="T39" fmla="*/ 87 h 358"/>
                <a:gd name="T40" fmla="*/ 548 w 591"/>
                <a:gd name="T41" fmla="*/ 97 h 358"/>
                <a:gd name="T42" fmla="*/ 569 w 591"/>
                <a:gd name="T43" fmla="*/ 107 h 358"/>
                <a:gd name="T44" fmla="*/ 565 w 591"/>
                <a:gd name="T45" fmla="*/ 153 h 358"/>
                <a:gd name="T46" fmla="*/ 570 w 591"/>
                <a:gd name="T47" fmla="*/ 188 h 358"/>
                <a:gd name="T48" fmla="*/ 582 w 591"/>
                <a:gd name="T49" fmla="*/ 214 h 358"/>
                <a:gd name="T50" fmla="*/ 575 w 591"/>
                <a:gd name="T51" fmla="*/ 236 h 358"/>
                <a:gd name="T52" fmla="*/ 576 w 591"/>
                <a:gd name="T53" fmla="*/ 265 h 358"/>
                <a:gd name="T54" fmla="*/ 582 w 591"/>
                <a:gd name="T55" fmla="*/ 302 h 358"/>
                <a:gd name="T56" fmla="*/ 581 w 591"/>
                <a:gd name="T57" fmla="*/ 339 h 358"/>
                <a:gd name="T58" fmla="*/ 550 w 591"/>
                <a:gd name="T59" fmla="*/ 349 h 358"/>
                <a:gd name="T60" fmla="*/ 513 w 591"/>
                <a:gd name="T61" fmla="*/ 339 h 358"/>
                <a:gd name="T62" fmla="*/ 468 w 591"/>
                <a:gd name="T63" fmla="*/ 334 h 358"/>
                <a:gd name="T64" fmla="*/ 445 w 591"/>
                <a:gd name="T65" fmla="*/ 314 h 358"/>
                <a:gd name="T66" fmla="*/ 423 w 591"/>
                <a:gd name="T67" fmla="*/ 323 h 358"/>
                <a:gd name="T68" fmla="*/ 377 w 591"/>
                <a:gd name="T69" fmla="*/ 319 h 358"/>
                <a:gd name="T70" fmla="*/ 343 w 591"/>
                <a:gd name="T71" fmla="*/ 299 h 358"/>
                <a:gd name="T72" fmla="*/ 351 w 591"/>
                <a:gd name="T73" fmla="*/ 278 h 358"/>
                <a:gd name="T74" fmla="*/ 343 w 591"/>
                <a:gd name="T75" fmla="*/ 253 h 358"/>
                <a:gd name="T76" fmla="*/ 314 w 591"/>
                <a:gd name="T77" fmla="*/ 241 h 358"/>
                <a:gd name="T78" fmla="*/ 293 w 591"/>
                <a:gd name="T79" fmla="*/ 243 h 358"/>
                <a:gd name="T80" fmla="*/ 281 w 591"/>
                <a:gd name="T81" fmla="*/ 263 h 358"/>
                <a:gd name="T82" fmla="*/ 262 w 591"/>
                <a:gd name="T83" fmla="*/ 258 h 358"/>
                <a:gd name="T84" fmla="*/ 246 w 591"/>
                <a:gd name="T85" fmla="*/ 230 h 358"/>
                <a:gd name="T86" fmla="*/ 220 w 591"/>
                <a:gd name="T87" fmla="*/ 221 h 358"/>
                <a:gd name="T88" fmla="*/ 214 w 591"/>
                <a:gd name="T89" fmla="*/ 201 h 358"/>
                <a:gd name="T90" fmla="*/ 187 w 591"/>
                <a:gd name="T91" fmla="*/ 202 h 358"/>
                <a:gd name="T92" fmla="*/ 163 w 591"/>
                <a:gd name="T93" fmla="*/ 206 h 358"/>
                <a:gd name="T94" fmla="*/ 147 w 591"/>
                <a:gd name="T95" fmla="*/ 222 h 358"/>
                <a:gd name="T96" fmla="*/ 105 w 591"/>
                <a:gd name="T97" fmla="*/ 203 h 358"/>
                <a:gd name="T98" fmla="*/ 96 w 591"/>
                <a:gd name="T99" fmla="*/ 177 h 358"/>
                <a:gd name="T100" fmla="*/ 110 w 591"/>
                <a:gd name="T101" fmla="*/ 162 h 358"/>
                <a:gd name="T102" fmla="*/ 116 w 591"/>
                <a:gd name="T103" fmla="*/ 145 h 358"/>
                <a:gd name="T104" fmla="*/ 95 w 591"/>
                <a:gd name="T105" fmla="*/ 109 h 358"/>
                <a:gd name="T106" fmla="*/ 63 w 591"/>
                <a:gd name="T107" fmla="*/ 85 h 358"/>
                <a:gd name="T108" fmla="*/ 27 w 591"/>
                <a:gd name="T109" fmla="*/ 90 h 358"/>
                <a:gd name="T110" fmla="*/ 2 w 591"/>
                <a:gd name="T111" fmla="*/ 108 h 358"/>
                <a:gd name="T112" fmla="*/ 0 w 591"/>
                <a:gd name="T113" fmla="*/ 76 h 358"/>
                <a:gd name="T114" fmla="*/ 13 w 591"/>
                <a:gd name="T115" fmla="*/ 64 h 358"/>
                <a:gd name="T116" fmla="*/ 29 w 591"/>
                <a:gd name="T117" fmla="*/ 53 h 358"/>
                <a:gd name="T118" fmla="*/ 39 w 591"/>
                <a:gd name="T119" fmla="*/ 36 h 358"/>
                <a:gd name="T120" fmla="*/ 62 w 591"/>
                <a:gd name="T121" fmla="*/ 44 h 358"/>
                <a:gd name="T122" fmla="*/ 80 w 591"/>
                <a:gd name="T123" fmla="*/ 30 h 358"/>
                <a:gd name="T124" fmla="*/ 102 w 591"/>
                <a:gd name="T125" fmla="*/ 13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1" h="358">
                  <a:moveTo>
                    <a:pt x="108" y="8"/>
                  </a:moveTo>
                  <a:lnTo>
                    <a:pt x="109" y="9"/>
                  </a:lnTo>
                  <a:lnTo>
                    <a:pt x="113" y="11"/>
                  </a:lnTo>
                  <a:lnTo>
                    <a:pt x="115" y="12"/>
                  </a:lnTo>
                  <a:lnTo>
                    <a:pt x="117" y="13"/>
                  </a:lnTo>
                  <a:lnTo>
                    <a:pt x="119" y="14"/>
                  </a:lnTo>
                  <a:lnTo>
                    <a:pt x="121" y="14"/>
                  </a:lnTo>
                  <a:lnTo>
                    <a:pt x="123" y="14"/>
                  </a:lnTo>
                  <a:lnTo>
                    <a:pt x="125" y="13"/>
                  </a:lnTo>
                  <a:lnTo>
                    <a:pt x="129" y="11"/>
                  </a:lnTo>
                  <a:lnTo>
                    <a:pt x="130" y="11"/>
                  </a:lnTo>
                  <a:lnTo>
                    <a:pt x="132" y="11"/>
                  </a:lnTo>
                  <a:lnTo>
                    <a:pt x="134" y="11"/>
                  </a:lnTo>
                  <a:lnTo>
                    <a:pt x="135" y="11"/>
                  </a:lnTo>
                  <a:lnTo>
                    <a:pt x="137" y="12"/>
                  </a:lnTo>
                  <a:lnTo>
                    <a:pt x="138" y="13"/>
                  </a:lnTo>
                  <a:lnTo>
                    <a:pt x="139" y="14"/>
                  </a:lnTo>
                  <a:lnTo>
                    <a:pt x="144" y="17"/>
                  </a:lnTo>
                  <a:lnTo>
                    <a:pt x="146" y="18"/>
                  </a:lnTo>
                  <a:lnTo>
                    <a:pt x="148" y="20"/>
                  </a:lnTo>
                  <a:lnTo>
                    <a:pt x="150" y="22"/>
                  </a:lnTo>
                  <a:lnTo>
                    <a:pt x="150" y="24"/>
                  </a:lnTo>
                  <a:lnTo>
                    <a:pt x="152" y="27"/>
                  </a:lnTo>
                  <a:lnTo>
                    <a:pt x="154" y="30"/>
                  </a:lnTo>
                  <a:lnTo>
                    <a:pt x="155" y="30"/>
                  </a:lnTo>
                  <a:lnTo>
                    <a:pt x="157" y="32"/>
                  </a:lnTo>
                  <a:lnTo>
                    <a:pt x="158" y="32"/>
                  </a:lnTo>
                  <a:lnTo>
                    <a:pt x="159" y="33"/>
                  </a:lnTo>
                  <a:lnTo>
                    <a:pt x="160" y="34"/>
                  </a:lnTo>
                  <a:lnTo>
                    <a:pt x="162" y="35"/>
                  </a:lnTo>
                  <a:lnTo>
                    <a:pt x="166" y="36"/>
                  </a:lnTo>
                  <a:lnTo>
                    <a:pt x="169" y="36"/>
                  </a:lnTo>
                  <a:lnTo>
                    <a:pt x="172" y="36"/>
                  </a:lnTo>
                  <a:lnTo>
                    <a:pt x="175" y="36"/>
                  </a:lnTo>
                  <a:lnTo>
                    <a:pt x="178" y="36"/>
                  </a:lnTo>
                  <a:lnTo>
                    <a:pt x="182" y="36"/>
                  </a:lnTo>
                  <a:lnTo>
                    <a:pt x="184" y="36"/>
                  </a:lnTo>
                  <a:lnTo>
                    <a:pt x="185" y="36"/>
                  </a:lnTo>
                  <a:lnTo>
                    <a:pt x="192" y="34"/>
                  </a:lnTo>
                  <a:lnTo>
                    <a:pt x="194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1"/>
                  </a:lnTo>
                  <a:lnTo>
                    <a:pt x="199" y="30"/>
                  </a:lnTo>
                  <a:lnTo>
                    <a:pt x="200" y="30"/>
                  </a:lnTo>
                  <a:lnTo>
                    <a:pt x="206" y="22"/>
                  </a:lnTo>
                  <a:lnTo>
                    <a:pt x="213" y="15"/>
                  </a:lnTo>
                  <a:lnTo>
                    <a:pt x="221" y="7"/>
                  </a:lnTo>
                  <a:lnTo>
                    <a:pt x="227" y="2"/>
                  </a:lnTo>
                  <a:lnTo>
                    <a:pt x="229" y="1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2"/>
                  </a:lnTo>
                  <a:lnTo>
                    <a:pt x="229" y="4"/>
                  </a:lnTo>
                  <a:lnTo>
                    <a:pt x="229" y="6"/>
                  </a:lnTo>
                  <a:lnTo>
                    <a:pt x="230" y="7"/>
                  </a:lnTo>
                  <a:lnTo>
                    <a:pt x="230" y="9"/>
                  </a:lnTo>
                  <a:lnTo>
                    <a:pt x="231" y="10"/>
                  </a:lnTo>
                  <a:lnTo>
                    <a:pt x="232" y="12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6" y="17"/>
                  </a:lnTo>
                  <a:lnTo>
                    <a:pt x="237" y="18"/>
                  </a:lnTo>
                  <a:lnTo>
                    <a:pt x="239" y="18"/>
                  </a:lnTo>
                  <a:lnTo>
                    <a:pt x="240" y="19"/>
                  </a:lnTo>
                  <a:lnTo>
                    <a:pt x="241" y="19"/>
                  </a:lnTo>
                  <a:lnTo>
                    <a:pt x="245" y="21"/>
                  </a:lnTo>
                  <a:lnTo>
                    <a:pt x="249" y="22"/>
                  </a:lnTo>
                  <a:lnTo>
                    <a:pt x="253" y="23"/>
                  </a:lnTo>
                  <a:lnTo>
                    <a:pt x="256" y="23"/>
                  </a:lnTo>
                  <a:lnTo>
                    <a:pt x="263" y="23"/>
                  </a:lnTo>
                  <a:lnTo>
                    <a:pt x="271" y="22"/>
                  </a:lnTo>
                  <a:lnTo>
                    <a:pt x="275" y="21"/>
                  </a:lnTo>
                  <a:lnTo>
                    <a:pt x="280" y="20"/>
                  </a:lnTo>
                  <a:lnTo>
                    <a:pt x="287" y="19"/>
                  </a:lnTo>
                  <a:lnTo>
                    <a:pt x="289" y="18"/>
                  </a:lnTo>
                  <a:lnTo>
                    <a:pt x="293" y="18"/>
                  </a:lnTo>
                  <a:lnTo>
                    <a:pt x="296" y="18"/>
                  </a:lnTo>
                  <a:lnTo>
                    <a:pt x="298" y="18"/>
                  </a:lnTo>
                  <a:lnTo>
                    <a:pt x="300" y="19"/>
                  </a:lnTo>
                  <a:lnTo>
                    <a:pt x="302" y="19"/>
                  </a:lnTo>
                  <a:lnTo>
                    <a:pt x="303" y="20"/>
                  </a:lnTo>
                  <a:lnTo>
                    <a:pt x="306" y="22"/>
                  </a:lnTo>
                  <a:lnTo>
                    <a:pt x="313" y="27"/>
                  </a:lnTo>
                  <a:lnTo>
                    <a:pt x="315" y="28"/>
                  </a:lnTo>
                  <a:lnTo>
                    <a:pt x="316" y="30"/>
                  </a:lnTo>
                  <a:lnTo>
                    <a:pt x="317" y="30"/>
                  </a:lnTo>
                  <a:lnTo>
                    <a:pt x="318" y="32"/>
                  </a:lnTo>
                  <a:lnTo>
                    <a:pt x="319" y="33"/>
                  </a:lnTo>
                  <a:lnTo>
                    <a:pt x="319" y="36"/>
                  </a:lnTo>
                  <a:lnTo>
                    <a:pt x="320" y="38"/>
                  </a:lnTo>
                  <a:lnTo>
                    <a:pt x="320" y="41"/>
                  </a:lnTo>
                  <a:lnTo>
                    <a:pt x="319" y="42"/>
                  </a:lnTo>
                  <a:lnTo>
                    <a:pt x="319" y="45"/>
                  </a:lnTo>
                  <a:lnTo>
                    <a:pt x="318" y="47"/>
                  </a:lnTo>
                  <a:lnTo>
                    <a:pt x="318" y="49"/>
                  </a:lnTo>
                  <a:lnTo>
                    <a:pt x="317" y="51"/>
                  </a:lnTo>
                  <a:lnTo>
                    <a:pt x="316" y="52"/>
                  </a:lnTo>
                  <a:lnTo>
                    <a:pt x="314" y="53"/>
                  </a:lnTo>
                  <a:lnTo>
                    <a:pt x="311" y="57"/>
                  </a:lnTo>
                  <a:lnTo>
                    <a:pt x="310" y="58"/>
                  </a:lnTo>
                  <a:lnTo>
                    <a:pt x="310" y="59"/>
                  </a:lnTo>
                  <a:lnTo>
                    <a:pt x="310" y="61"/>
                  </a:lnTo>
                  <a:lnTo>
                    <a:pt x="310" y="63"/>
                  </a:lnTo>
                  <a:lnTo>
                    <a:pt x="310" y="64"/>
                  </a:lnTo>
                  <a:lnTo>
                    <a:pt x="311" y="65"/>
                  </a:lnTo>
                  <a:lnTo>
                    <a:pt x="312" y="67"/>
                  </a:lnTo>
                  <a:lnTo>
                    <a:pt x="314" y="68"/>
                  </a:lnTo>
                  <a:lnTo>
                    <a:pt x="315" y="69"/>
                  </a:lnTo>
                  <a:lnTo>
                    <a:pt x="317" y="70"/>
                  </a:lnTo>
                  <a:lnTo>
                    <a:pt x="320" y="71"/>
                  </a:lnTo>
                  <a:lnTo>
                    <a:pt x="327" y="74"/>
                  </a:lnTo>
                  <a:lnTo>
                    <a:pt x="331" y="75"/>
                  </a:lnTo>
                  <a:lnTo>
                    <a:pt x="333" y="75"/>
                  </a:lnTo>
                  <a:lnTo>
                    <a:pt x="336" y="77"/>
                  </a:lnTo>
                  <a:lnTo>
                    <a:pt x="339" y="79"/>
                  </a:lnTo>
                  <a:lnTo>
                    <a:pt x="342" y="82"/>
                  </a:lnTo>
                  <a:lnTo>
                    <a:pt x="344" y="85"/>
                  </a:lnTo>
                  <a:lnTo>
                    <a:pt x="351" y="91"/>
                  </a:lnTo>
                  <a:lnTo>
                    <a:pt x="354" y="95"/>
                  </a:lnTo>
                  <a:lnTo>
                    <a:pt x="356" y="96"/>
                  </a:lnTo>
                  <a:lnTo>
                    <a:pt x="359" y="98"/>
                  </a:lnTo>
                  <a:lnTo>
                    <a:pt x="361" y="98"/>
                  </a:lnTo>
                  <a:lnTo>
                    <a:pt x="363" y="98"/>
                  </a:lnTo>
                  <a:lnTo>
                    <a:pt x="364" y="98"/>
                  </a:lnTo>
                  <a:lnTo>
                    <a:pt x="366" y="98"/>
                  </a:lnTo>
                  <a:lnTo>
                    <a:pt x="368" y="98"/>
                  </a:lnTo>
                  <a:lnTo>
                    <a:pt x="370" y="98"/>
                  </a:lnTo>
                  <a:lnTo>
                    <a:pt x="372" y="98"/>
                  </a:lnTo>
                  <a:lnTo>
                    <a:pt x="377" y="95"/>
                  </a:lnTo>
                  <a:lnTo>
                    <a:pt x="383" y="93"/>
                  </a:lnTo>
                  <a:lnTo>
                    <a:pt x="386" y="92"/>
                  </a:lnTo>
                  <a:lnTo>
                    <a:pt x="387" y="92"/>
                  </a:lnTo>
                  <a:lnTo>
                    <a:pt x="388" y="91"/>
                  </a:lnTo>
                  <a:lnTo>
                    <a:pt x="393" y="86"/>
                  </a:lnTo>
                  <a:lnTo>
                    <a:pt x="395" y="86"/>
                  </a:lnTo>
                  <a:lnTo>
                    <a:pt x="401" y="81"/>
                  </a:lnTo>
                  <a:lnTo>
                    <a:pt x="405" y="79"/>
                  </a:lnTo>
                  <a:lnTo>
                    <a:pt x="410" y="75"/>
                  </a:lnTo>
                  <a:lnTo>
                    <a:pt x="413" y="72"/>
                  </a:lnTo>
                  <a:lnTo>
                    <a:pt x="415" y="69"/>
                  </a:lnTo>
                  <a:lnTo>
                    <a:pt x="418" y="66"/>
                  </a:lnTo>
                  <a:lnTo>
                    <a:pt x="419" y="64"/>
                  </a:lnTo>
                  <a:lnTo>
                    <a:pt x="421" y="61"/>
                  </a:lnTo>
                  <a:lnTo>
                    <a:pt x="421" y="59"/>
                  </a:lnTo>
                  <a:lnTo>
                    <a:pt x="421" y="58"/>
                  </a:lnTo>
                  <a:lnTo>
                    <a:pt x="422" y="52"/>
                  </a:lnTo>
                  <a:lnTo>
                    <a:pt x="423" y="49"/>
                  </a:lnTo>
                  <a:lnTo>
                    <a:pt x="423" y="46"/>
                  </a:lnTo>
                  <a:lnTo>
                    <a:pt x="424" y="43"/>
                  </a:lnTo>
                  <a:lnTo>
                    <a:pt x="427" y="38"/>
                  </a:lnTo>
                  <a:lnTo>
                    <a:pt x="429" y="34"/>
                  </a:lnTo>
                  <a:lnTo>
                    <a:pt x="432" y="30"/>
                  </a:lnTo>
                  <a:lnTo>
                    <a:pt x="435" y="24"/>
                  </a:lnTo>
                  <a:lnTo>
                    <a:pt x="437" y="21"/>
                  </a:lnTo>
                  <a:lnTo>
                    <a:pt x="438" y="20"/>
                  </a:lnTo>
                  <a:lnTo>
                    <a:pt x="438" y="19"/>
                  </a:lnTo>
                  <a:lnTo>
                    <a:pt x="439" y="19"/>
                  </a:lnTo>
                  <a:lnTo>
                    <a:pt x="440" y="19"/>
                  </a:lnTo>
                  <a:lnTo>
                    <a:pt x="441" y="19"/>
                  </a:lnTo>
                  <a:lnTo>
                    <a:pt x="442" y="19"/>
                  </a:lnTo>
                  <a:lnTo>
                    <a:pt x="443" y="19"/>
                  </a:lnTo>
                  <a:lnTo>
                    <a:pt x="444" y="19"/>
                  </a:lnTo>
                  <a:lnTo>
                    <a:pt x="445" y="20"/>
                  </a:lnTo>
                  <a:lnTo>
                    <a:pt x="446" y="21"/>
                  </a:lnTo>
                  <a:lnTo>
                    <a:pt x="447" y="23"/>
                  </a:lnTo>
                  <a:lnTo>
                    <a:pt x="448" y="26"/>
                  </a:lnTo>
                  <a:lnTo>
                    <a:pt x="449" y="28"/>
                  </a:lnTo>
                  <a:lnTo>
                    <a:pt x="449" y="30"/>
                  </a:lnTo>
                  <a:lnTo>
                    <a:pt x="449" y="32"/>
                  </a:lnTo>
                  <a:lnTo>
                    <a:pt x="448" y="36"/>
                  </a:lnTo>
                  <a:lnTo>
                    <a:pt x="448" y="39"/>
                  </a:lnTo>
                  <a:lnTo>
                    <a:pt x="446" y="45"/>
                  </a:lnTo>
                  <a:lnTo>
                    <a:pt x="445" y="48"/>
                  </a:lnTo>
                  <a:lnTo>
                    <a:pt x="444" y="52"/>
                  </a:lnTo>
                  <a:lnTo>
                    <a:pt x="443" y="54"/>
                  </a:lnTo>
                  <a:lnTo>
                    <a:pt x="443" y="55"/>
                  </a:lnTo>
                  <a:lnTo>
                    <a:pt x="443" y="57"/>
                  </a:lnTo>
                  <a:lnTo>
                    <a:pt x="443" y="58"/>
                  </a:lnTo>
                  <a:lnTo>
                    <a:pt x="443" y="59"/>
                  </a:lnTo>
                  <a:lnTo>
                    <a:pt x="443" y="60"/>
                  </a:lnTo>
                  <a:lnTo>
                    <a:pt x="444" y="61"/>
                  </a:lnTo>
                  <a:lnTo>
                    <a:pt x="444" y="62"/>
                  </a:lnTo>
                  <a:lnTo>
                    <a:pt x="445" y="63"/>
                  </a:lnTo>
                  <a:lnTo>
                    <a:pt x="447" y="64"/>
                  </a:lnTo>
                  <a:lnTo>
                    <a:pt x="449" y="64"/>
                  </a:lnTo>
                  <a:lnTo>
                    <a:pt x="457" y="66"/>
                  </a:lnTo>
                  <a:lnTo>
                    <a:pt x="465" y="70"/>
                  </a:lnTo>
                  <a:lnTo>
                    <a:pt x="471" y="71"/>
                  </a:lnTo>
                  <a:lnTo>
                    <a:pt x="473" y="72"/>
                  </a:lnTo>
                  <a:lnTo>
                    <a:pt x="476" y="73"/>
                  </a:lnTo>
                  <a:lnTo>
                    <a:pt x="479" y="75"/>
                  </a:lnTo>
                  <a:lnTo>
                    <a:pt x="480" y="76"/>
                  </a:lnTo>
                  <a:lnTo>
                    <a:pt x="481" y="76"/>
                  </a:lnTo>
                  <a:lnTo>
                    <a:pt x="482" y="76"/>
                  </a:lnTo>
                  <a:lnTo>
                    <a:pt x="483" y="76"/>
                  </a:lnTo>
                  <a:lnTo>
                    <a:pt x="484" y="75"/>
                  </a:lnTo>
                  <a:lnTo>
                    <a:pt x="485" y="75"/>
                  </a:lnTo>
                  <a:lnTo>
                    <a:pt x="486" y="74"/>
                  </a:lnTo>
                  <a:lnTo>
                    <a:pt x="487" y="72"/>
                  </a:lnTo>
                  <a:lnTo>
                    <a:pt x="489" y="70"/>
                  </a:lnTo>
                  <a:lnTo>
                    <a:pt x="490" y="68"/>
                  </a:lnTo>
                  <a:lnTo>
                    <a:pt x="491" y="67"/>
                  </a:lnTo>
                  <a:lnTo>
                    <a:pt x="491" y="66"/>
                  </a:lnTo>
                  <a:lnTo>
                    <a:pt x="492" y="66"/>
                  </a:lnTo>
                  <a:lnTo>
                    <a:pt x="493" y="66"/>
                  </a:lnTo>
                  <a:lnTo>
                    <a:pt x="494" y="66"/>
                  </a:lnTo>
                  <a:lnTo>
                    <a:pt x="496" y="66"/>
                  </a:lnTo>
                  <a:lnTo>
                    <a:pt x="501" y="67"/>
                  </a:lnTo>
                  <a:lnTo>
                    <a:pt x="505" y="68"/>
                  </a:lnTo>
                  <a:lnTo>
                    <a:pt x="514" y="72"/>
                  </a:lnTo>
                  <a:lnTo>
                    <a:pt x="515" y="73"/>
                  </a:lnTo>
                  <a:lnTo>
                    <a:pt x="517" y="74"/>
                  </a:lnTo>
                  <a:lnTo>
                    <a:pt x="526" y="79"/>
                  </a:lnTo>
                  <a:lnTo>
                    <a:pt x="530" y="82"/>
                  </a:lnTo>
                  <a:lnTo>
                    <a:pt x="533" y="83"/>
                  </a:lnTo>
                  <a:lnTo>
                    <a:pt x="534" y="85"/>
                  </a:lnTo>
                  <a:lnTo>
                    <a:pt x="535" y="86"/>
                  </a:lnTo>
                  <a:lnTo>
                    <a:pt x="536" y="86"/>
                  </a:lnTo>
                  <a:lnTo>
                    <a:pt x="536" y="87"/>
                  </a:lnTo>
                  <a:lnTo>
                    <a:pt x="536" y="88"/>
                  </a:lnTo>
                  <a:lnTo>
                    <a:pt x="536" y="90"/>
                  </a:lnTo>
                  <a:lnTo>
                    <a:pt x="535" y="92"/>
                  </a:lnTo>
                  <a:lnTo>
                    <a:pt x="535" y="93"/>
                  </a:lnTo>
                  <a:lnTo>
                    <a:pt x="535" y="94"/>
                  </a:lnTo>
                  <a:lnTo>
                    <a:pt x="536" y="95"/>
                  </a:lnTo>
                  <a:lnTo>
                    <a:pt x="536" y="96"/>
                  </a:lnTo>
                  <a:lnTo>
                    <a:pt x="538" y="97"/>
                  </a:lnTo>
                  <a:lnTo>
                    <a:pt x="540" y="97"/>
                  </a:lnTo>
                  <a:lnTo>
                    <a:pt x="543" y="97"/>
                  </a:lnTo>
                  <a:lnTo>
                    <a:pt x="548" y="97"/>
                  </a:lnTo>
                  <a:lnTo>
                    <a:pt x="551" y="97"/>
                  </a:lnTo>
                  <a:lnTo>
                    <a:pt x="553" y="97"/>
                  </a:lnTo>
                  <a:lnTo>
                    <a:pt x="556" y="98"/>
                  </a:lnTo>
                  <a:lnTo>
                    <a:pt x="558" y="98"/>
                  </a:lnTo>
                  <a:lnTo>
                    <a:pt x="561" y="99"/>
                  </a:lnTo>
                  <a:lnTo>
                    <a:pt x="563" y="101"/>
                  </a:lnTo>
                  <a:lnTo>
                    <a:pt x="565" y="102"/>
                  </a:lnTo>
                  <a:lnTo>
                    <a:pt x="566" y="103"/>
                  </a:lnTo>
                  <a:lnTo>
                    <a:pt x="567" y="105"/>
                  </a:lnTo>
                  <a:lnTo>
                    <a:pt x="568" y="106"/>
                  </a:lnTo>
                  <a:lnTo>
                    <a:pt x="569" y="107"/>
                  </a:lnTo>
                  <a:lnTo>
                    <a:pt x="570" y="109"/>
                  </a:lnTo>
                  <a:lnTo>
                    <a:pt x="570" y="110"/>
                  </a:lnTo>
                  <a:lnTo>
                    <a:pt x="570" y="112"/>
                  </a:lnTo>
                  <a:lnTo>
                    <a:pt x="570" y="118"/>
                  </a:lnTo>
                  <a:lnTo>
                    <a:pt x="570" y="123"/>
                  </a:lnTo>
                  <a:lnTo>
                    <a:pt x="570" y="127"/>
                  </a:lnTo>
                  <a:lnTo>
                    <a:pt x="569" y="131"/>
                  </a:lnTo>
                  <a:lnTo>
                    <a:pt x="568" y="134"/>
                  </a:lnTo>
                  <a:lnTo>
                    <a:pt x="566" y="144"/>
                  </a:lnTo>
                  <a:lnTo>
                    <a:pt x="565" y="148"/>
                  </a:lnTo>
                  <a:lnTo>
                    <a:pt x="565" y="153"/>
                  </a:lnTo>
                  <a:lnTo>
                    <a:pt x="564" y="162"/>
                  </a:lnTo>
                  <a:lnTo>
                    <a:pt x="563" y="168"/>
                  </a:lnTo>
                  <a:lnTo>
                    <a:pt x="563" y="170"/>
                  </a:lnTo>
                  <a:lnTo>
                    <a:pt x="564" y="180"/>
                  </a:lnTo>
                  <a:lnTo>
                    <a:pt x="564" y="183"/>
                  </a:lnTo>
                  <a:lnTo>
                    <a:pt x="564" y="184"/>
                  </a:lnTo>
                  <a:lnTo>
                    <a:pt x="564" y="185"/>
                  </a:lnTo>
                  <a:lnTo>
                    <a:pt x="565" y="186"/>
                  </a:lnTo>
                  <a:lnTo>
                    <a:pt x="565" y="187"/>
                  </a:lnTo>
                  <a:lnTo>
                    <a:pt x="566" y="187"/>
                  </a:lnTo>
                  <a:lnTo>
                    <a:pt x="570" y="188"/>
                  </a:lnTo>
                  <a:lnTo>
                    <a:pt x="571" y="190"/>
                  </a:lnTo>
                  <a:lnTo>
                    <a:pt x="574" y="192"/>
                  </a:lnTo>
                  <a:lnTo>
                    <a:pt x="575" y="193"/>
                  </a:lnTo>
                  <a:lnTo>
                    <a:pt x="576" y="195"/>
                  </a:lnTo>
                  <a:lnTo>
                    <a:pt x="578" y="197"/>
                  </a:lnTo>
                  <a:lnTo>
                    <a:pt x="579" y="200"/>
                  </a:lnTo>
                  <a:lnTo>
                    <a:pt x="580" y="202"/>
                  </a:lnTo>
                  <a:lnTo>
                    <a:pt x="581" y="206"/>
                  </a:lnTo>
                  <a:lnTo>
                    <a:pt x="582" y="209"/>
                  </a:lnTo>
                  <a:lnTo>
                    <a:pt x="582" y="211"/>
                  </a:lnTo>
                  <a:lnTo>
                    <a:pt x="582" y="214"/>
                  </a:lnTo>
                  <a:lnTo>
                    <a:pt x="582" y="219"/>
                  </a:lnTo>
                  <a:lnTo>
                    <a:pt x="582" y="222"/>
                  </a:lnTo>
                  <a:lnTo>
                    <a:pt x="582" y="226"/>
                  </a:lnTo>
                  <a:lnTo>
                    <a:pt x="582" y="228"/>
                  </a:lnTo>
                  <a:lnTo>
                    <a:pt x="581" y="229"/>
                  </a:lnTo>
                  <a:lnTo>
                    <a:pt x="580" y="229"/>
                  </a:lnTo>
                  <a:lnTo>
                    <a:pt x="579" y="230"/>
                  </a:lnTo>
                  <a:lnTo>
                    <a:pt x="578" y="231"/>
                  </a:lnTo>
                  <a:lnTo>
                    <a:pt x="577" y="234"/>
                  </a:lnTo>
                  <a:lnTo>
                    <a:pt x="576" y="234"/>
                  </a:lnTo>
                  <a:lnTo>
                    <a:pt x="575" y="236"/>
                  </a:lnTo>
                  <a:lnTo>
                    <a:pt x="574" y="239"/>
                  </a:lnTo>
                  <a:lnTo>
                    <a:pt x="571" y="249"/>
                  </a:lnTo>
                  <a:lnTo>
                    <a:pt x="570" y="252"/>
                  </a:lnTo>
                  <a:lnTo>
                    <a:pt x="570" y="254"/>
                  </a:lnTo>
                  <a:lnTo>
                    <a:pt x="570" y="255"/>
                  </a:lnTo>
                  <a:lnTo>
                    <a:pt x="570" y="256"/>
                  </a:lnTo>
                  <a:lnTo>
                    <a:pt x="571" y="257"/>
                  </a:lnTo>
                  <a:lnTo>
                    <a:pt x="571" y="258"/>
                  </a:lnTo>
                  <a:lnTo>
                    <a:pt x="572" y="260"/>
                  </a:lnTo>
                  <a:lnTo>
                    <a:pt x="573" y="262"/>
                  </a:lnTo>
                  <a:lnTo>
                    <a:pt x="576" y="265"/>
                  </a:lnTo>
                  <a:lnTo>
                    <a:pt x="577" y="266"/>
                  </a:lnTo>
                  <a:lnTo>
                    <a:pt x="577" y="267"/>
                  </a:lnTo>
                  <a:lnTo>
                    <a:pt x="578" y="269"/>
                  </a:lnTo>
                  <a:lnTo>
                    <a:pt x="579" y="273"/>
                  </a:lnTo>
                  <a:lnTo>
                    <a:pt x="579" y="277"/>
                  </a:lnTo>
                  <a:lnTo>
                    <a:pt x="580" y="279"/>
                  </a:lnTo>
                  <a:lnTo>
                    <a:pt x="580" y="288"/>
                  </a:lnTo>
                  <a:lnTo>
                    <a:pt x="580" y="290"/>
                  </a:lnTo>
                  <a:lnTo>
                    <a:pt x="581" y="293"/>
                  </a:lnTo>
                  <a:lnTo>
                    <a:pt x="582" y="299"/>
                  </a:lnTo>
                  <a:lnTo>
                    <a:pt x="582" y="302"/>
                  </a:lnTo>
                  <a:lnTo>
                    <a:pt x="583" y="304"/>
                  </a:lnTo>
                  <a:lnTo>
                    <a:pt x="585" y="310"/>
                  </a:lnTo>
                  <a:lnTo>
                    <a:pt x="588" y="314"/>
                  </a:lnTo>
                  <a:lnTo>
                    <a:pt x="590" y="320"/>
                  </a:lnTo>
                  <a:lnTo>
                    <a:pt x="591" y="321"/>
                  </a:lnTo>
                  <a:lnTo>
                    <a:pt x="591" y="323"/>
                  </a:lnTo>
                  <a:lnTo>
                    <a:pt x="591" y="324"/>
                  </a:lnTo>
                  <a:lnTo>
                    <a:pt x="590" y="325"/>
                  </a:lnTo>
                  <a:lnTo>
                    <a:pt x="584" y="334"/>
                  </a:lnTo>
                  <a:lnTo>
                    <a:pt x="582" y="336"/>
                  </a:lnTo>
                  <a:lnTo>
                    <a:pt x="581" y="339"/>
                  </a:lnTo>
                  <a:lnTo>
                    <a:pt x="580" y="343"/>
                  </a:lnTo>
                  <a:lnTo>
                    <a:pt x="578" y="347"/>
                  </a:lnTo>
                  <a:lnTo>
                    <a:pt x="575" y="357"/>
                  </a:lnTo>
                  <a:lnTo>
                    <a:pt x="574" y="358"/>
                  </a:lnTo>
                  <a:lnTo>
                    <a:pt x="573" y="358"/>
                  </a:lnTo>
                  <a:lnTo>
                    <a:pt x="572" y="358"/>
                  </a:lnTo>
                  <a:lnTo>
                    <a:pt x="570" y="358"/>
                  </a:lnTo>
                  <a:lnTo>
                    <a:pt x="567" y="357"/>
                  </a:lnTo>
                  <a:lnTo>
                    <a:pt x="564" y="356"/>
                  </a:lnTo>
                  <a:lnTo>
                    <a:pt x="560" y="354"/>
                  </a:lnTo>
                  <a:lnTo>
                    <a:pt x="550" y="349"/>
                  </a:lnTo>
                  <a:lnTo>
                    <a:pt x="548" y="348"/>
                  </a:lnTo>
                  <a:lnTo>
                    <a:pt x="545" y="347"/>
                  </a:lnTo>
                  <a:lnTo>
                    <a:pt x="542" y="347"/>
                  </a:lnTo>
                  <a:lnTo>
                    <a:pt x="540" y="346"/>
                  </a:lnTo>
                  <a:lnTo>
                    <a:pt x="531" y="346"/>
                  </a:lnTo>
                  <a:lnTo>
                    <a:pt x="529" y="345"/>
                  </a:lnTo>
                  <a:lnTo>
                    <a:pt x="526" y="345"/>
                  </a:lnTo>
                  <a:lnTo>
                    <a:pt x="525" y="344"/>
                  </a:lnTo>
                  <a:lnTo>
                    <a:pt x="523" y="343"/>
                  </a:lnTo>
                  <a:lnTo>
                    <a:pt x="516" y="340"/>
                  </a:lnTo>
                  <a:lnTo>
                    <a:pt x="513" y="339"/>
                  </a:lnTo>
                  <a:lnTo>
                    <a:pt x="510" y="338"/>
                  </a:lnTo>
                  <a:lnTo>
                    <a:pt x="507" y="337"/>
                  </a:lnTo>
                  <a:lnTo>
                    <a:pt x="502" y="336"/>
                  </a:lnTo>
                  <a:lnTo>
                    <a:pt x="498" y="336"/>
                  </a:lnTo>
                  <a:lnTo>
                    <a:pt x="494" y="336"/>
                  </a:lnTo>
                  <a:lnTo>
                    <a:pt x="488" y="336"/>
                  </a:lnTo>
                  <a:lnTo>
                    <a:pt x="479" y="336"/>
                  </a:lnTo>
                  <a:lnTo>
                    <a:pt x="473" y="335"/>
                  </a:lnTo>
                  <a:lnTo>
                    <a:pt x="471" y="335"/>
                  </a:lnTo>
                  <a:lnTo>
                    <a:pt x="469" y="335"/>
                  </a:lnTo>
                  <a:lnTo>
                    <a:pt x="468" y="334"/>
                  </a:lnTo>
                  <a:lnTo>
                    <a:pt x="466" y="332"/>
                  </a:lnTo>
                  <a:lnTo>
                    <a:pt x="463" y="331"/>
                  </a:lnTo>
                  <a:lnTo>
                    <a:pt x="461" y="329"/>
                  </a:lnTo>
                  <a:lnTo>
                    <a:pt x="458" y="327"/>
                  </a:lnTo>
                  <a:lnTo>
                    <a:pt x="457" y="325"/>
                  </a:lnTo>
                  <a:lnTo>
                    <a:pt x="453" y="321"/>
                  </a:lnTo>
                  <a:lnTo>
                    <a:pt x="450" y="317"/>
                  </a:lnTo>
                  <a:lnTo>
                    <a:pt x="448" y="316"/>
                  </a:lnTo>
                  <a:lnTo>
                    <a:pt x="446" y="315"/>
                  </a:lnTo>
                  <a:lnTo>
                    <a:pt x="446" y="314"/>
                  </a:lnTo>
                  <a:lnTo>
                    <a:pt x="445" y="314"/>
                  </a:lnTo>
                  <a:lnTo>
                    <a:pt x="445" y="314"/>
                  </a:lnTo>
                  <a:lnTo>
                    <a:pt x="444" y="314"/>
                  </a:lnTo>
                  <a:lnTo>
                    <a:pt x="443" y="314"/>
                  </a:lnTo>
                  <a:lnTo>
                    <a:pt x="442" y="314"/>
                  </a:lnTo>
                  <a:lnTo>
                    <a:pt x="440" y="315"/>
                  </a:lnTo>
                  <a:lnTo>
                    <a:pt x="434" y="319"/>
                  </a:lnTo>
                  <a:lnTo>
                    <a:pt x="432" y="320"/>
                  </a:lnTo>
                  <a:lnTo>
                    <a:pt x="429" y="322"/>
                  </a:lnTo>
                  <a:lnTo>
                    <a:pt x="427" y="322"/>
                  </a:lnTo>
                  <a:lnTo>
                    <a:pt x="425" y="323"/>
                  </a:lnTo>
                  <a:lnTo>
                    <a:pt x="423" y="323"/>
                  </a:lnTo>
                  <a:lnTo>
                    <a:pt x="423" y="323"/>
                  </a:lnTo>
                  <a:lnTo>
                    <a:pt x="419" y="323"/>
                  </a:lnTo>
                  <a:lnTo>
                    <a:pt x="416" y="322"/>
                  </a:lnTo>
                  <a:lnTo>
                    <a:pt x="408" y="320"/>
                  </a:lnTo>
                  <a:lnTo>
                    <a:pt x="401" y="318"/>
                  </a:lnTo>
                  <a:lnTo>
                    <a:pt x="399" y="317"/>
                  </a:lnTo>
                  <a:lnTo>
                    <a:pt x="397" y="317"/>
                  </a:lnTo>
                  <a:lnTo>
                    <a:pt x="395" y="317"/>
                  </a:lnTo>
                  <a:lnTo>
                    <a:pt x="383" y="319"/>
                  </a:lnTo>
                  <a:lnTo>
                    <a:pt x="380" y="319"/>
                  </a:lnTo>
                  <a:lnTo>
                    <a:pt x="377" y="319"/>
                  </a:lnTo>
                  <a:lnTo>
                    <a:pt x="374" y="318"/>
                  </a:lnTo>
                  <a:lnTo>
                    <a:pt x="371" y="318"/>
                  </a:lnTo>
                  <a:lnTo>
                    <a:pt x="367" y="317"/>
                  </a:lnTo>
                  <a:lnTo>
                    <a:pt x="365" y="316"/>
                  </a:lnTo>
                  <a:lnTo>
                    <a:pt x="362" y="314"/>
                  </a:lnTo>
                  <a:lnTo>
                    <a:pt x="358" y="313"/>
                  </a:lnTo>
                  <a:lnTo>
                    <a:pt x="352" y="308"/>
                  </a:lnTo>
                  <a:lnTo>
                    <a:pt x="347" y="304"/>
                  </a:lnTo>
                  <a:lnTo>
                    <a:pt x="345" y="302"/>
                  </a:lnTo>
                  <a:lnTo>
                    <a:pt x="343" y="301"/>
                  </a:lnTo>
                  <a:lnTo>
                    <a:pt x="343" y="299"/>
                  </a:lnTo>
                  <a:lnTo>
                    <a:pt x="342" y="297"/>
                  </a:lnTo>
                  <a:lnTo>
                    <a:pt x="341" y="294"/>
                  </a:lnTo>
                  <a:lnTo>
                    <a:pt x="341" y="292"/>
                  </a:lnTo>
                  <a:lnTo>
                    <a:pt x="341" y="290"/>
                  </a:lnTo>
                  <a:lnTo>
                    <a:pt x="342" y="289"/>
                  </a:lnTo>
                  <a:lnTo>
                    <a:pt x="343" y="287"/>
                  </a:lnTo>
                  <a:lnTo>
                    <a:pt x="343" y="285"/>
                  </a:lnTo>
                  <a:lnTo>
                    <a:pt x="345" y="283"/>
                  </a:lnTo>
                  <a:lnTo>
                    <a:pt x="348" y="280"/>
                  </a:lnTo>
                  <a:lnTo>
                    <a:pt x="350" y="279"/>
                  </a:lnTo>
                  <a:lnTo>
                    <a:pt x="351" y="278"/>
                  </a:lnTo>
                  <a:lnTo>
                    <a:pt x="351" y="276"/>
                  </a:lnTo>
                  <a:lnTo>
                    <a:pt x="351" y="275"/>
                  </a:lnTo>
                  <a:lnTo>
                    <a:pt x="351" y="274"/>
                  </a:lnTo>
                  <a:lnTo>
                    <a:pt x="351" y="272"/>
                  </a:lnTo>
                  <a:lnTo>
                    <a:pt x="350" y="269"/>
                  </a:lnTo>
                  <a:lnTo>
                    <a:pt x="349" y="268"/>
                  </a:lnTo>
                  <a:lnTo>
                    <a:pt x="347" y="264"/>
                  </a:lnTo>
                  <a:lnTo>
                    <a:pt x="347" y="262"/>
                  </a:lnTo>
                  <a:lnTo>
                    <a:pt x="345" y="257"/>
                  </a:lnTo>
                  <a:lnTo>
                    <a:pt x="344" y="255"/>
                  </a:lnTo>
                  <a:lnTo>
                    <a:pt x="343" y="253"/>
                  </a:lnTo>
                  <a:lnTo>
                    <a:pt x="342" y="250"/>
                  </a:lnTo>
                  <a:lnTo>
                    <a:pt x="341" y="248"/>
                  </a:lnTo>
                  <a:lnTo>
                    <a:pt x="340" y="247"/>
                  </a:lnTo>
                  <a:lnTo>
                    <a:pt x="338" y="246"/>
                  </a:lnTo>
                  <a:lnTo>
                    <a:pt x="336" y="245"/>
                  </a:lnTo>
                  <a:lnTo>
                    <a:pt x="333" y="245"/>
                  </a:lnTo>
                  <a:lnTo>
                    <a:pt x="330" y="244"/>
                  </a:lnTo>
                  <a:lnTo>
                    <a:pt x="328" y="244"/>
                  </a:lnTo>
                  <a:lnTo>
                    <a:pt x="321" y="243"/>
                  </a:lnTo>
                  <a:lnTo>
                    <a:pt x="318" y="242"/>
                  </a:lnTo>
                  <a:lnTo>
                    <a:pt x="314" y="241"/>
                  </a:lnTo>
                  <a:lnTo>
                    <a:pt x="308" y="239"/>
                  </a:lnTo>
                  <a:lnTo>
                    <a:pt x="305" y="239"/>
                  </a:lnTo>
                  <a:lnTo>
                    <a:pt x="303" y="238"/>
                  </a:lnTo>
                  <a:lnTo>
                    <a:pt x="302" y="238"/>
                  </a:lnTo>
                  <a:lnTo>
                    <a:pt x="301" y="238"/>
                  </a:lnTo>
                  <a:lnTo>
                    <a:pt x="299" y="239"/>
                  </a:lnTo>
                  <a:lnTo>
                    <a:pt x="297" y="239"/>
                  </a:lnTo>
                  <a:lnTo>
                    <a:pt x="296" y="240"/>
                  </a:lnTo>
                  <a:lnTo>
                    <a:pt x="295" y="241"/>
                  </a:lnTo>
                  <a:lnTo>
                    <a:pt x="294" y="243"/>
                  </a:lnTo>
                  <a:lnTo>
                    <a:pt x="293" y="243"/>
                  </a:lnTo>
                  <a:lnTo>
                    <a:pt x="292" y="245"/>
                  </a:lnTo>
                  <a:lnTo>
                    <a:pt x="291" y="247"/>
                  </a:lnTo>
                  <a:lnTo>
                    <a:pt x="290" y="250"/>
                  </a:lnTo>
                  <a:lnTo>
                    <a:pt x="289" y="254"/>
                  </a:lnTo>
                  <a:lnTo>
                    <a:pt x="288" y="256"/>
                  </a:lnTo>
                  <a:lnTo>
                    <a:pt x="287" y="256"/>
                  </a:lnTo>
                  <a:lnTo>
                    <a:pt x="286" y="258"/>
                  </a:lnTo>
                  <a:lnTo>
                    <a:pt x="286" y="260"/>
                  </a:lnTo>
                  <a:lnTo>
                    <a:pt x="284" y="261"/>
                  </a:lnTo>
                  <a:lnTo>
                    <a:pt x="283" y="262"/>
                  </a:lnTo>
                  <a:lnTo>
                    <a:pt x="281" y="263"/>
                  </a:lnTo>
                  <a:lnTo>
                    <a:pt x="279" y="264"/>
                  </a:lnTo>
                  <a:lnTo>
                    <a:pt x="277" y="265"/>
                  </a:lnTo>
                  <a:lnTo>
                    <a:pt x="275" y="265"/>
                  </a:lnTo>
                  <a:lnTo>
                    <a:pt x="274" y="265"/>
                  </a:lnTo>
                  <a:lnTo>
                    <a:pt x="272" y="265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3"/>
                  </a:lnTo>
                  <a:lnTo>
                    <a:pt x="265" y="261"/>
                  </a:lnTo>
                  <a:lnTo>
                    <a:pt x="264" y="260"/>
                  </a:lnTo>
                  <a:lnTo>
                    <a:pt x="262" y="258"/>
                  </a:lnTo>
                  <a:lnTo>
                    <a:pt x="261" y="256"/>
                  </a:lnTo>
                  <a:lnTo>
                    <a:pt x="260" y="256"/>
                  </a:lnTo>
                  <a:lnTo>
                    <a:pt x="259" y="254"/>
                  </a:lnTo>
                  <a:lnTo>
                    <a:pt x="258" y="252"/>
                  </a:lnTo>
                  <a:lnTo>
                    <a:pt x="254" y="240"/>
                  </a:lnTo>
                  <a:lnTo>
                    <a:pt x="253" y="238"/>
                  </a:lnTo>
                  <a:lnTo>
                    <a:pt x="252" y="236"/>
                  </a:lnTo>
                  <a:lnTo>
                    <a:pt x="252" y="234"/>
                  </a:lnTo>
                  <a:lnTo>
                    <a:pt x="250" y="233"/>
                  </a:lnTo>
                  <a:lnTo>
                    <a:pt x="248" y="231"/>
                  </a:lnTo>
                  <a:lnTo>
                    <a:pt x="246" y="230"/>
                  </a:lnTo>
                  <a:lnTo>
                    <a:pt x="243" y="227"/>
                  </a:lnTo>
                  <a:lnTo>
                    <a:pt x="241" y="224"/>
                  </a:lnTo>
                  <a:lnTo>
                    <a:pt x="238" y="223"/>
                  </a:lnTo>
                  <a:lnTo>
                    <a:pt x="236" y="222"/>
                  </a:lnTo>
                  <a:lnTo>
                    <a:pt x="234" y="222"/>
                  </a:lnTo>
                  <a:lnTo>
                    <a:pt x="232" y="222"/>
                  </a:lnTo>
                  <a:lnTo>
                    <a:pt x="229" y="222"/>
                  </a:lnTo>
                  <a:lnTo>
                    <a:pt x="227" y="222"/>
                  </a:lnTo>
                  <a:lnTo>
                    <a:pt x="225" y="222"/>
                  </a:lnTo>
                  <a:lnTo>
                    <a:pt x="224" y="222"/>
                  </a:lnTo>
                  <a:lnTo>
                    <a:pt x="220" y="221"/>
                  </a:lnTo>
                  <a:lnTo>
                    <a:pt x="219" y="221"/>
                  </a:lnTo>
                  <a:lnTo>
                    <a:pt x="218" y="220"/>
                  </a:lnTo>
                  <a:lnTo>
                    <a:pt x="218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5"/>
                  </a:lnTo>
                  <a:lnTo>
                    <a:pt x="216" y="212"/>
                  </a:lnTo>
                  <a:lnTo>
                    <a:pt x="215" y="205"/>
                  </a:lnTo>
                  <a:lnTo>
                    <a:pt x="215" y="204"/>
                  </a:lnTo>
                  <a:lnTo>
                    <a:pt x="214" y="202"/>
                  </a:lnTo>
                  <a:lnTo>
                    <a:pt x="214" y="201"/>
                  </a:lnTo>
                  <a:lnTo>
                    <a:pt x="212" y="200"/>
                  </a:lnTo>
                  <a:lnTo>
                    <a:pt x="211" y="199"/>
                  </a:lnTo>
                  <a:lnTo>
                    <a:pt x="209" y="199"/>
                  </a:lnTo>
                  <a:lnTo>
                    <a:pt x="207" y="198"/>
                  </a:lnTo>
                  <a:lnTo>
                    <a:pt x="205" y="198"/>
                  </a:lnTo>
                  <a:lnTo>
                    <a:pt x="203" y="198"/>
                  </a:lnTo>
                  <a:lnTo>
                    <a:pt x="201" y="198"/>
                  </a:lnTo>
                  <a:lnTo>
                    <a:pt x="199" y="199"/>
                  </a:lnTo>
                  <a:lnTo>
                    <a:pt x="196" y="199"/>
                  </a:lnTo>
                  <a:lnTo>
                    <a:pt x="191" y="201"/>
                  </a:lnTo>
                  <a:lnTo>
                    <a:pt x="187" y="202"/>
                  </a:lnTo>
                  <a:lnTo>
                    <a:pt x="184" y="203"/>
                  </a:lnTo>
                  <a:lnTo>
                    <a:pt x="180" y="204"/>
                  </a:lnTo>
                  <a:lnTo>
                    <a:pt x="178" y="204"/>
                  </a:lnTo>
                  <a:lnTo>
                    <a:pt x="176" y="204"/>
                  </a:lnTo>
                  <a:lnTo>
                    <a:pt x="174" y="204"/>
                  </a:lnTo>
                  <a:lnTo>
                    <a:pt x="172" y="203"/>
                  </a:lnTo>
                  <a:lnTo>
                    <a:pt x="171" y="203"/>
                  </a:lnTo>
                  <a:lnTo>
                    <a:pt x="170" y="203"/>
                  </a:lnTo>
                  <a:lnTo>
                    <a:pt x="169" y="203"/>
                  </a:lnTo>
                  <a:lnTo>
                    <a:pt x="167" y="204"/>
                  </a:lnTo>
                  <a:lnTo>
                    <a:pt x="163" y="206"/>
                  </a:lnTo>
                  <a:lnTo>
                    <a:pt x="160" y="208"/>
                  </a:lnTo>
                  <a:lnTo>
                    <a:pt x="159" y="209"/>
                  </a:lnTo>
                  <a:lnTo>
                    <a:pt x="158" y="209"/>
                  </a:lnTo>
                  <a:lnTo>
                    <a:pt x="157" y="210"/>
                  </a:lnTo>
                  <a:lnTo>
                    <a:pt x="156" y="211"/>
                  </a:lnTo>
                  <a:lnTo>
                    <a:pt x="154" y="215"/>
                  </a:lnTo>
                  <a:lnTo>
                    <a:pt x="153" y="217"/>
                  </a:lnTo>
                  <a:lnTo>
                    <a:pt x="151" y="219"/>
                  </a:lnTo>
                  <a:lnTo>
                    <a:pt x="150" y="221"/>
                  </a:lnTo>
                  <a:lnTo>
                    <a:pt x="149" y="222"/>
                  </a:lnTo>
                  <a:lnTo>
                    <a:pt x="147" y="222"/>
                  </a:lnTo>
                  <a:lnTo>
                    <a:pt x="146" y="223"/>
                  </a:lnTo>
                  <a:lnTo>
                    <a:pt x="143" y="223"/>
                  </a:lnTo>
                  <a:lnTo>
                    <a:pt x="141" y="223"/>
                  </a:lnTo>
                  <a:lnTo>
                    <a:pt x="136" y="223"/>
                  </a:lnTo>
                  <a:lnTo>
                    <a:pt x="134" y="223"/>
                  </a:lnTo>
                  <a:lnTo>
                    <a:pt x="133" y="223"/>
                  </a:lnTo>
                  <a:lnTo>
                    <a:pt x="132" y="222"/>
                  </a:lnTo>
                  <a:lnTo>
                    <a:pt x="121" y="214"/>
                  </a:lnTo>
                  <a:lnTo>
                    <a:pt x="111" y="208"/>
                  </a:lnTo>
                  <a:lnTo>
                    <a:pt x="107" y="205"/>
                  </a:lnTo>
                  <a:lnTo>
                    <a:pt x="105" y="203"/>
                  </a:lnTo>
                  <a:lnTo>
                    <a:pt x="103" y="200"/>
                  </a:lnTo>
                  <a:lnTo>
                    <a:pt x="101" y="199"/>
                  </a:lnTo>
                  <a:lnTo>
                    <a:pt x="99" y="197"/>
                  </a:lnTo>
                  <a:lnTo>
                    <a:pt x="98" y="194"/>
                  </a:lnTo>
                  <a:lnTo>
                    <a:pt x="97" y="190"/>
                  </a:lnTo>
                  <a:lnTo>
                    <a:pt x="97" y="188"/>
                  </a:lnTo>
                  <a:lnTo>
                    <a:pt x="97" y="186"/>
                  </a:lnTo>
                  <a:lnTo>
                    <a:pt x="97" y="183"/>
                  </a:lnTo>
                  <a:lnTo>
                    <a:pt x="97" y="181"/>
                  </a:lnTo>
                  <a:lnTo>
                    <a:pt x="97" y="180"/>
                  </a:lnTo>
                  <a:lnTo>
                    <a:pt x="96" y="177"/>
                  </a:lnTo>
                  <a:lnTo>
                    <a:pt x="96" y="176"/>
                  </a:lnTo>
                  <a:lnTo>
                    <a:pt x="96" y="175"/>
                  </a:lnTo>
                  <a:lnTo>
                    <a:pt x="96" y="173"/>
                  </a:lnTo>
                  <a:lnTo>
                    <a:pt x="97" y="172"/>
                  </a:lnTo>
                  <a:lnTo>
                    <a:pt x="98" y="171"/>
                  </a:lnTo>
                  <a:lnTo>
                    <a:pt x="98" y="170"/>
                  </a:lnTo>
                  <a:lnTo>
                    <a:pt x="100" y="169"/>
                  </a:lnTo>
                  <a:lnTo>
                    <a:pt x="102" y="167"/>
                  </a:lnTo>
                  <a:lnTo>
                    <a:pt x="106" y="165"/>
                  </a:lnTo>
                  <a:lnTo>
                    <a:pt x="108" y="164"/>
                  </a:lnTo>
                  <a:lnTo>
                    <a:pt x="110" y="162"/>
                  </a:lnTo>
                  <a:lnTo>
                    <a:pt x="112" y="160"/>
                  </a:lnTo>
                  <a:lnTo>
                    <a:pt x="113" y="159"/>
                  </a:lnTo>
                  <a:lnTo>
                    <a:pt x="114" y="157"/>
                  </a:lnTo>
                  <a:lnTo>
                    <a:pt x="115" y="155"/>
                  </a:lnTo>
                  <a:lnTo>
                    <a:pt x="116" y="154"/>
                  </a:lnTo>
                  <a:lnTo>
                    <a:pt x="116" y="153"/>
                  </a:lnTo>
                  <a:lnTo>
                    <a:pt x="116" y="152"/>
                  </a:lnTo>
                  <a:lnTo>
                    <a:pt x="116" y="150"/>
                  </a:lnTo>
                  <a:lnTo>
                    <a:pt x="116" y="149"/>
                  </a:lnTo>
                  <a:lnTo>
                    <a:pt x="116" y="147"/>
                  </a:lnTo>
                  <a:lnTo>
                    <a:pt x="116" y="145"/>
                  </a:lnTo>
                  <a:lnTo>
                    <a:pt x="115" y="143"/>
                  </a:lnTo>
                  <a:lnTo>
                    <a:pt x="114" y="142"/>
                  </a:lnTo>
                  <a:lnTo>
                    <a:pt x="113" y="140"/>
                  </a:lnTo>
                  <a:lnTo>
                    <a:pt x="112" y="139"/>
                  </a:lnTo>
                  <a:lnTo>
                    <a:pt x="108" y="134"/>
                  </a:lnTo>
                  <a:lnTo>
                    <a:pt x="107" y="132"/>
                  </a:lnTo>
                  <a:lnTo>
                    <a:pt x="106" y="131"/>
                  </a:lnTo>
                  <a:lnTo>
                    <a:pt x="104" y="128"/>
                  </a:lnTo>
                  <a:lnTo>
                    <a:pt x="99" y="113"/>
                  </a:lnTo>
                  <a:lnTo>
                    <a:pt x="97" y="111"/>
                  </a:lnTo>
                  <a:lnTo>
                    <a:pt x="95" y="109"/>
                  </a:lnTo>
                  <a:lnTo>
                    <a:pt x="93" y="107"/>
                  </a:lnTo>
                  <a:lnTo>
                    <a:pt x="92" y="105"/>
                  </a:lnTo>
                  <a:lnTo>
                    <a:pt x="85" y="100"/>
                  </a:lnTo>
                  <a:lnTo>
                    <a:pt x="82" y="98"/>
                  </a:lnTo>
                  <a:lnTo>
                    <a:pt x="80" y="96"/>
                  </a:lnTo>
                  <a:lnTo>
                    <a:pt x="77" y="92"/>
                  </a:lnTo>
                  <a:lnTo>
                    <a:pt x="75" y="91"/>
                  </a:lnTo>
                  <a:lnTo>
                    <a:pt x="70" y="86"/>
                  </a:lnTo>
                  <a:lnTo>
                    <a:pt x="68" y="86"/>
                  </a:lnTo>
                  <a:lnTo>
                    <a:pt x="67" y="86"/>
                  </a:lnTo>
                  <a:lnTo>
                    <a:pt x="63" y="85"/>
                  </a:lnTo>
                  <a:lnTo>
                    <a:pt x="59" y="84"/>
                  </a:lnTo>
                  <a:lnTo>
                    <a:pt x="53" y="84"/>
                  </a:lnTo>
                  <a:lnTo>
                    <a:pt x="50" y="84"/>
                  </a:lnTo>
                  <a:lnTo>
                    <a:pt x="47" y="85"/>
                  </a:lnTo>
                  <a:lnTo>
                    <a:pt x="44" y="85"/>
                  </a:lnTo>
                  <a:lnTo>
                    <a:pt x="41" y="86"/>
                  </a:lnTo>
                  <a:lnTo>
                    <a:pt x="38" y="86"/>
                  </a:lnTo>
                  <a:lnTo>
                    <a:pt x="35" y="87"/>
                  </a:lnTo>
                  <a:lnTo>
                    <a:pt x="32" y="88"/>
                  </a:lnTo>
                  <a:lnTo>
                    <a:pt x="29" y="89"/>
                  </a:lnTo>
                  <a:lnTo>
                    <a:pt x="27" y="90"/>
                  </a:lnTo>
                  <a:lnTo>
                    <a:pt x="25" y="92"/>
                  </a:lnTo>
                  <a:lnTo>
                    <a:pt x="22" y="94"/>
                  </a:lnTo>
                  <a:lnTo>
                    <a:pt x="20" y="96"/>
                  </a:lnTo>
                  <a:lnTo>
                    <a:pt x="16" y="98"/>
                  </a:lnTo>
                  <a:lnTo>
                    <a:pt x="10" y="105"/>
                  </a:lnTo>
                  <a:lnTo>
                    <a:pt x="8" y="108"/>
                  </a:lnTo>
                  <a:lnTo>
                    <a:pt x="7" y="108"/>
                  </a:lnTo>
                  <a:lnTo>
                    <a:pt x="5" y="109"/>
                  </a:lnTo>
                  <a:lnTo>
                    <a:pt x="4" y="109"/>
                  </a:lnTo>
                  <a:lnTo>
                    <a:pt x="3" y="109"/>
                  </a:lnTo>
                  <a:lnTo>
                    <a:pt x="2" y="108"/>
                  </a:lnTo>
                  <a:lnTo>
                    <a:pt x="2" y="107"/>
                  </a:lnTo>
                  <a:lnTo>
                    <a:pt x="2" y="106"/>
                  </a:lnTo>
                  <a:lnTo>
                    <a:pt x="2" y="105"/>
                  </a:lnTo>
                  <a:lnTo>
                    <a:pt x="2" y="103"/>
                  </a:lnTo>
                  <a:lnTo>
                    <a:pt x="2" y="97"/>
                  </a:lnTo>
                  <a:lnTo>
                    <a:pt x="2" y="93"/>
                  </a:lnTo>
                  <a:lnTo>
                    <a:pt x="2" y="89"/>
                  </a:lnTo>
                  <a:lnTo>
                    <a:pt x="0" y="81"/>
                  </a:lnTo>
                  <a:lnTo>
                    <a:pt x="0" y="78"/>
                  </a:lnTo>
                  <a:lnTo>
                    <a:pt x="0" y="77"/>
                  </a:lnTo>
                  <a:lnTo>
                    <a:pt x="0" y="76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2" y="72"/>
                  </a:lnTo>
                  <a:lnTo>
                    <a:pt x="3" y="70"/>
                  </a:lnTo>
                  <a:lnTo>
                    <a:pt x="5" y="69"/>
                  </a:lnTo>
                  <a:lnTo>
                    <a:pt x="6" y="68"/>
                  </a:lnTo>
                  <a:lnTo>
                    <a:pt x="8" y="67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4" y="64"/>
                  </a:lnTo>
                  <a:lnTo>
                    <a:pt x="17" y="64"/>
                  </a:lnTo>
                  <a:lnTo>
                    <a:pt x="20" y="64"/>
                  </a:lnTo>
                  <a:lnTo>
                    <a:pt x="22" y="64"/>
                  </a:lnTo>
                  <a:lnTo>
                    <a:pt x="23" y="64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6" y="58"/>
                  </a:lnTo>
                  <a:lnTo>
                    <a:pt x="28" y="55"/>
                  </a:lnTo>
                  <a:lnTo>
                    <a:pt x="29" y="53"/>
                  </a:lnTo>
                  <a:lnTo>
                    <a:pt x="33" y="50"/>
                  </a:lnTo>
                  <a:lnTo>
                    <a:pt x="33" y="49"/>
                  </a:lnTo>
                  <a:lnTo>
                    <a:pt x="34" y="48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5" y="41"/>
                  </a:lnTo>
                  <a:lnTo>
                    <a:pt x="36" y="40"/>
                  </a:lnTo>
                  <a:lnTo>
                    <a:pt x="36" y="39"/>
                  </a:lnTo>
                  <a:lnTo>
                    <a:pt x="37" y="38"/>
                  </a:lnTo>
                  <a:lnTo>
                    <a:pt x="38" y="36"/>
                  </a:lnTo>
                  <a:lnTo>
                    <a:pt x="39" y="36"/>
                  </a:lnTo>
                  <a:lnTo>
                    <a:pt x="40" y="37"/>
                  </a:lnTo>
                  <a:lnTo>
                    <a:pt x="41" y="37"/>
                  </a:lnTo>
                  <a:lnTo>
                    <a:pt x="42" y="38"/>
                  </a:lnTo>
                  <a:lnTo>
                    <a:pt x="45" y="39"/>
                  </a:lnTo>
                  <a:lnTo>
                    <a:pt x="49" y="40"/>
                  </a:lnTo>
                  <a:lnTo>
                    <a:pt x="52" y="41"/>
                  </a:lnTo>
                  <a:lnTo>
                    <a:pt x="54" y="41"/>
                  </a:lnTo>
                  <a:lnTo>
                    <a:pt x="59" y="43"/>
                  </a:lnTo>
                  <a:lnTo>
                    <a:pt x="59" y="44"/>
                  </a:lnTo>
                  <a:lnTo>
                    <a:pt x="61" y="44"/>
                  </a:lnTo>
                  <a:lnTo>
                    <a:pt x="62" y="44"/>
                  </a:lnTo>
                  <a:lnTo>
                    <a:pt x="63" y="44"/>
                  </a:lnTo>
                  <a:lnTo>
                    <a:pt x="64" y="43"/>
                  </a:lnTo>
                  <a:lnTo>
                    <a:pt x="65" y="42"/>
                  </a:lnTo>
                  <a:lnTo>
                    <a:pt x="66" y="41"/>
                  </a:lnTo>
                  <a:lnTo>
                    <a:pt x="67" y="40"/>
                  </a:lnTo>
                  <a:lnTo>
                    <a:pt x="68" y="38"/>
                  </a:lnTo>
                  <a:lnTo>
                    <a:pt x="70" y="37"/>
                  </a:lnTo>
                  <a:lnTo>
                    <a:pt x="71" y="35"/>
                  </a:lnTo>
                  <a:lnTo>
                    <a:pt x="78" y="32"/>
                  </a:lnTo>
                  <a:lnTo>
                    <a:pt x="79" y="30"/>
                  </a:lnTo>
                  <a:lnTo>
                    <a:pt x="80" y="30"/>
                  </a:lnTo>
                  <a:lnTo>
                    <a:pt x="81" y="29"/>
                  </a:lnTo>
                  <a:lnTo>
                    <a:pt x="81" y="28"/>
                  </a:lnTo>
                  <a:lnTo>
                    <a:pt x="82" y="24"/>
                  </a:lnTo>
                  <a:lnTo>
                    <a:pt x="83" y="22"/>
                  </a:lnTo>
                  <a:lnTo>
                    <a:pt x="84" y="21"/>
                  </a:lnTo>
                  <a:lnTo>
                    <a:pt x="86" y="19"/>
                  </a:lnTo>
                  <a:lnTo>
                    <a:pt x="88" y="18"/>
                  </a:lnTo>
                  <a:lnTo>
                    <a:pt x="92" y="17"/>
                  </a:lnTo>
                  <a:lnTo>
                    <a:pt x="98" y="15"/>
                  </a:lnTo>
                  <a:lnTo>
                    <a:pt x="100" y="14"/>
                  </a:lnTo>
                  <a:lnTo>
                    <a:pt x="102" y="13"/>
                  </a:lnTo>
                  <a:lnTo>
                    <a:pt x="106" y="10"/>
                  </a:lnTo>
                  <a:lnTo>
                    <a:pt x="107" y="9"/>
                  </a:lnTo>
                  <a:lnTo>
                    <a:pt x="108" y="8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6" name="Freeform 29">
              <a:extLst>
                <a:ext uri="{FF2B5EF4-FFF2-40B4-BE49-F238E27FC236}">
                  <a16:creationId xmlns:a16="http://schemas.microsoft.com/office/drawing/2014/main" id="{45BE17A9-9931-4AB0-9BDF-1E7253C05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" y="2091"/>
              <a:ext cx="566" cy="518"/>
            </a:xfrm>
            <a:custGeom>
              <a:avLst/>
              <a:gdLst>
                <a:gd name="T0" fmla="*/ 291 w 566"/>
                <a:gd name="T1" fmla="*/ 14 h 518"/>
                <a:gd name="T2" fmla="*/ 313 w 566"/>
                <a:gd name="T3" fmla="*/ 15 h 518"/>
                <a:gd name="T4" fmla="*/ 335 w 566"/>
                <a:gd name="T5" fmla="*/ 27 h 518"/>
                <a:gd name="T6" fmla="*/ 357 w 566"/>
                <a:gd name="T7" fmla="*/ 35 h 518"/>
                <a:gd name="T8" fmla="*/ 344 w 566"/>
                <a:gd name="T9" fmla="*/ 69 h 518"/>
                <a:gd name="T10" fmla="*/ 357 w 566"/>
                <a:gd name="T11" fmla="*/ 85 h 518"/>
                <a:gd name="T12" fmla="*/ 397 w 566"/>
                <a:gd name="T13" fmla="*/ 79 h 518"/>
                <a:gd name="T14" fmla="*/ 436 w 566"/>
                <a:gd name="T15" fmla="*/ 85 h 518"/>
                <a:gd name="T16" fmla="*/ 426 w 566"/>
                <a:gd name="T17" fmla="*/ 98 h 518"/>
                <a:gd name="T18" fmla="*/ 471 w 566"/>
                <a:gd name="T19" fmla="*/ 129 h 518"/>
                <a:gd name="T20" fmla="*/ 508 w 566"/>
                <a:gd name="T21" fmla="*/ 131 h 518"/>
                <a:gd name="T22" fmla="*/ 541 w 566"/>
                <a:gd name="T23" fmla="*/ 135 h 518"/>
                <a:gd name="T24" fmla="*/ 565 w 566"/>
                <a:gd name="T25" fmla="*/ 172 h 518"/>
                <a:gd name="T26" fmla="*/ 526 w 566"/>
                <a:gd name="T27" fmla="*/ 198 h 518"/>
                <a:gd name="T28" fmla="*/ 498 w 566"/>
                <a:gd name="T29" fmla="*/ 194 h 518"/>
                <a:gd name="T30" fmla="*/ 488 w 566"/>
                <a:gd name="T31" fmla="*/ 209 h 518"/>
                <a:gd name="T32" fmla="*/ 465 w 566"/>
                <a:gd name="T33" fmla="*/ 215 h 518"/>
                <a:gd name="T34" fmla="*/ 443 w 566"/>
                <a:gd name="T35" fmla="*/ 227 h 518"/>
                <a:gd name="T36" fmla="*/ 433 w 566"/>
                <a:gd name="T37" fmla="*/ 255 h 518"/>
                <a:gd name="T38" fmla="*/ 427 w 566"/>
                <a:gd name="T39" fmla="*/ 325 h 518"/>
                <a:gd name="T40" fmla="*/ 410 w 566"/>
                <a:gd name="T41" fmla="*/ 346 h 518"/>
                <a:gd name="T42" fmla="*/ 378 w 566"/>
                <a:gd name="T43" fmla="*/ 371 h 518"/>
                <a:gd name="T44" fmla="*/ 357 w 566"/>
                <a:gd name="T45" fmla="*/ 381 h 518"/>
                <a:gd name="T46" fmla="*/ 342 w 566"/>
                <a:gd name="T47" fmla="*/ 375 h 518"/>
                <a:gd name="T48" fmla="*/ 322 w 566"/>
                <a:gd name="T49" fmla="*/ 353 h 518"/>
                <a:gd name="T50" fmla="*/ 300 w 566"/>
                <a:gd name="T51" fmla="*/ 374 h 518"/>
                <a:gd name="T52" fmla="*/ 267 w 566"/>
                <a:gd name="T53" fmla="*/ 376 h 518"/>
                <a:gd name="T54" fmla="*/ 240 w 566"/>
                <a:gd name="T55" fmla="*/ 376 h 518"/>
                <a:gd name="T56" fmla="*/ 245 w 566"/>
                <a:gd name="T57" fmla="*/ 402 h 518"/>
                <a:gd name="T58" fmla="*/ 255 w 566"/>
                <a:gd name="T59" fmla="*/ 438 h 518"/>
                <a:gd name="T60" fmla="*/ 240 w 566"/>
                <a:gd name="T61" fmla="*/ 489 h 518"/>
                <a:gd name="T62" fmla="*/ 202 w 566"/>
                <a:gd name="T63" fmla="*/ 510 h 518"/>
                <a:gd name="T64" fmla="*/ 177 w 566"/>
                <a:gd name="T65" fmla="*/ 496 h 518"/>
                <a:gd name="T66" fmla="*/ 150 w 566"/>
                <a:gd name="T67" fmla="*/ 488 h 518"/>
                <a:gd name="T68" fmla="*/ 119 w 566"/>
                <a:gd name="T69" fmla="*/ 491 h 518"/>
                <a:gd name="T70" fmla="*/ 95 w 566"/>
                <a:gd name="T71" fmla="*/ 512 h 518"/>
                <a:gd name="T72" fmla="*/ 72 w 566"/>
                <a:gd name="T73" fmla="*/ 513 h 518"/>
                <a:gd name="T74" fmla="*/ 70 w 566"/>
                <a:gd name="T75" fmla="*/ 494 h 518"/>
                <a:gd name="T76" fmla="*/ 77 w 566"/>
                <a:gd name="T77" fmla="*/ 465 h 518"/>
                <a:gd name="T78" fmla="*/ 79 w 566"/>
                <a:gd name="T79" fmla="*/ 436 h 518"/>
                <a:gd name="T80" fmla="*/ 106 w 566"/>
                <a:gd name="T81" fmla="*/ 416 h 518"/>
                <a:gd name="T82" fmla="*/ 83 w 566"/>
                <a:gd name="T83" fmla="*/ 385 h 518"/>
                <a:gd name="T84" fmla="*/ 96 w 566"/>
                <a:gd name="T85" fmla="*/ 350 h 518"/>
                <a:gd name="T86" fmla="*/ 69 w 566"/>
                <a:gd name="T87" fmla="*/ 313 h 518"/>
                <a:gd name="T88" fmla="*/ 53 w 566"/>
                <a:gd name="T89" fmla="*/ 293 h 518"/>
                <a:gd name="T90" fmla="*/ 55 w 566"/>
                <a:gd name="T91" fmla="*/ 258 h 518"/>
                <a:gd name="T92" fmla="*/ 16 w 566"/>
                <a:gd name="T93" fmla="*/ 198 h 518"/>
                <a:gd name="T94" fmla="*/ 5 w 566"/>
                <a:gd name="T95" fmla="*/ 177 h 518"/>
                <a:gd name="T96" fmla="*/ 7 w 566"/>
                <a:gd name="T97" fmla="*/ 161 h 518"/>
                <a:gd name="T98" fmla="*/ 27 w 566"/>
                <a:gd name="T99" fmla="*/ 139 h 518"/>
                <a:gd name="T100" fmla="*/ 74 w 566"/>
                <a:gd name="T101" fmla="*/ 108 h 518"/>
                <a:gd name="T102" fmla="*/ 111 w 566"/>
                <a:gd name="T103" fmla="*/ 84 h 518"/>
                <a:gd name="T104" fmla="*/ 166 w 566"/>
                <a:gd name="T105" fmla="*/ 98 h 518"/>
                <a:gd name="T106" fmla="*/ 203 w 566"/>
                <a:gd name="T107" fmla="*/ 119 h 518"/>
                <a:gd name="T108" fmla="*/ 214 w 566"/>
                <a:gd name="T109" fmla="*/ 72 h 518"/>
                <a:gd name="T110" fmla="*/ 245 w 566"/>
                <a:gd name="T111" fmla="*/ 55 h 518"/>
                <a:gd name="T112" fmla="*/ 257 w 566"/>
                <a:gd name="T113" fmla="*/ 35 h 518"/>
                <a:gd name="T114" fmla="*/ 259 w 566"/>
                <a:gd name="T115" fmla="*/ 7 h 518"/>
                <a:gd name="T116" fmla="*/ 281 w 566"/>
                <a:gd name="T117" fmla="*/ 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6" h="518">
                  <a:moveTo>
                    <a:pt x="283" y="0"/>
                  </a:moveTo>
                  <a:lnTo>
                    <a:pt x="283" y="1"/>
                  </a:lnTo>
                  <a:lnTo>
                    <a:pt x="283" y="2"/>
                  </a:lnTo>
                  <a:lnTo>
                    <a:pt x="283" y="4"/>
                  </a:lnTo>
                  <a:lnTo>
                    <a:pt x="284" y="7"/>
                  </a:lnTo>
                  <a:lnTo>
                    <a:pt x="284" y="9"/>
                  </a:lnTo>
                  <a:lnTo>
                    <a:pt x="285" y="11"/>
                  </a:lnTo>
                  <a:lnTo>
                    <a:pt x="286" y="12"/>
                  </a:lnTo>
                  <a:lnTo>
                    <a:pt x="287" y="13"/>
                  </a:lnTo>
                  <a:lnTo>
                    <a:pt x="288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1" y="14"/>
                  </a:lnTo>
                  <a:lnTo>
                    <a:pt x="292" y="13"/>
                  </a:lnTo>
                  <a:lnTo>
                    <a:pt x="293" y="13"/>
                  </a:lnTo>
                  <a:lnTo>
                    <a:pt x="295" y="11"/>
                  </a:lnTo>
                  <a:lnTo>
                    <a:pt x="298" y="6"/>
                  </a:lnTo>
                  <a:lnTo>
                    <a:pt x="300" y="5"/>
                  </a:lnTo>
                  <a:lnTo>
                    <a:pt x="301" y="5"/>
                  </a:lnTo>
                  <a:lnTo>
                    <a:pt x="302" y="3"/>
                  </a:lnTo>
                  <a:lnTo>
                    <a:pt x="304" y="3"/>
                  </a:lnTo>
                  <a:lnTo>
                    <a:pt x="305" y="2"/>
                  </a:lnTo>
                  <a:lnTo>
                    <a:pt x="306" y="3"/>
                  </a:lnTo>
                  <a:lnTo>
                    <a:pt x="308" y="5"/>
                  </a:lnTo>
                  <a:lnTo>
                    <a:pt x="310" y="10"/>
                  </a:lnTo>
                  <a:lnTo>
                    <a:pt x="313" y="15"/>
                  </a:lnTo>
                  <a:lnTo>
                    <a:pt x="315" y="17"/>
                  </a:lnTo>
                  <a:lnTo>
                    <a:pt x="316" y="19"/>
                  </a:lnTo>
                  <a:lnTo>
                    <a:pt x="318" y="24"/>
                  </a:lnTo>
                  <a:lnTo>
                    <a:pt x="319" y="26"/>
                  </a:lnTo>
                  <a:lnTo>
                    <a:pt x="320" y="27"/>
                  </a:lnTo>
                  <a:lnTo>
                    <a:pt x="321" y="28"/>
                  </a:lnTo>
                  <a:lnTo>
                    <a:pt x="322" y="28"/>
                  </a:lnTo>
                  <a:lnTo>
                    <a:pt x="323" y="28"/>
                  </a:lnTo>
                  <a:lnTo>
                    <a:pt x="324" y="28"/>
                  </a:lnTo>
                  <a:lnTo>
                    <a:pt x="324" y="28"/>
                  </a:lnTo>
                  <a:lnTo>
                    <a:pt x="327" y="28"/>
                  </a:lnTo>
                  <a:lnTo>
                    <a:pt x="334" y="28"/>
                  </a:lnTo>
                  <a:lnTo>
                    <a:pt x="335" y="27"/>
                  </a:lnTo>
                  <a:lnTo>
                    <a:pt x="336" y="26"/>
                  </a:lnTo>
                  <a:lnTo>
                    <a:pt x="339" y="24"/>
                  </a:lnTo>
                  <a:lnTo>
                    <a:pt x="342" y="22"/>
                  </a:lnTo>
                  <a:lnTo>
                    <a:pt x="343" y="21"/>
                  </a:lnTo>
                  <a:lnTo>
                    <a:pt x="344" y="20"/>
                  </a:lnTo>
                  <a:lnTo>
                    <a:pt x="346" y="17"/>
                  </a:lnTo>
                  <a:lnTo>
                    <a:pt x="347" y="18"/>
                  </a:lnTo>
                  <a:lnTo>
                    <a:pt x="347" y="20"/>
                  </a:lnTo>
                  <a:lnTo>
                    <a:pt x="351" y="25"/>
                  </a:lnTo>
                  <a:lnTo>
                    <a:pt x="352" y="27"/>
                  </a:lnTo>
                  <a:lnTo>
                    <a:pt x="354" y="30"/>
                  </a:lnTo>
                  <a:lnTo>
                    <a:pt x="356" y="33"/>
                  </a:lnTo>
                  <a:lnTo>
                    <a:pt x="357" y="35"/>
                  </a:lnTo>
                  <a:lnTo>
                    <a:pt x="358" y="38"/>
                  </a:lnTo>
                  <a:lnTo>
                    <a:pt x="358" y="40"/>
                  </a:lnTo>
                  <a:lnTo>
                    <a:pt x="358" y="42"/>
                  </a:lnTo>
                  <a:lnTo>
                    <a:pt x="358" y="44"/>
                  </a:lnTo>
                  <a:lnTo>
                    <a:pt x="358" y="46"/>
                  </a:lnTo>
                  <a:lnTo>
                    <a:pt x="358" y="47"/>
                  </a:lnTo>
                  <a:lnTo>
                    <a:pt x="357" y="49"/>
                  </a:lnTo>
                  <a:lnTo>
                    <a:pt x="356" y="51"/>
                  </a:lnTo>
                  <a:lnTo>
                    <a:pt x="351" y="55"/>
                  </a:lnTo>
                  <a:lnTo>
                    <a:pt x="349" y="59"/>
                  </a:lnTo>
                  <a:lnTo>
                    <a:pt x="347" y="62"/>
                  </a:lnTo>
                  <a:lnTo>
                    <a:pt x="345" y="67"/>
                  </a:lnTo>
                  <a:lnTo>
                    <a:pt x="344" y="69"/>
                  </a:lnTo>
                  <a:lnTo>
                    <a:pt x="343" y="71"/>
                  </a:lnTo>
                  <a:lnTo>
                    <a:pt x="342" y="73"/>
                  </a:lnTo>
                  <a:lnTo>
                    <a:pt x="342" y="74"/>
                  </a:lnTo>
                  <a:lnTo>
                    <a:pt x="342" y="76"/>
                  </a:lnTo>
                  <a:lnTo>
                    <a:pt x="342" y="78"/>
                  </a:lnTo>
                  <a:lnTo>
                    <a:pt x="342" y="79"/>
                  </a:lnTo>
                  <a:lnTo>
                    <a:pt x="343" y="80"/>
                  </a:lnTo>
                  <a:lnTo>
                    <a:pt x="343" y="81"/>
                  </a:lnTo>
                  <a:lnTo>
                    <a:pt x="344" y="82"/>
                  </a:lnTo>
                  <a:lnTo>
                    <a:pt x="345" y="82"/>
                  </a:lnTo>
                  <a:lnTo>
                    <a:pt x="346" y="83"/>
                  </a:lnTo>
                  <a:lnTo>
                    <a:pt x="348" y="84"/>
                  </a:lnTo>
                  <a:lnTo>
                    <a:pt x="357" y="85"/>
                  </a:lnTo>
                  <a:lnTo>
                    <a:pt x="359" y="85"/>
                  </a:lnTo>
                  <a:lnTo>
                    <a:pt x="359" y="85"/>
                  </a:lnTo>
                  <a:lnTo>
                    <a:pt x="361" y="85"/>
                  </a:lnTo>
                  <a:lnTo>
                    <a:pt x="362" y="85"/>
                  </a:lnTo>
                  <a:lnTo>
                    <a:pt x="365" y="85"/>
                  </a:lnTo>
                  <a:lnTo>
                    <a:pt x="368" y="84"/>
                  </a:lnTo>
                  <a:lnTo>
                    <a:pt x="374" y="81"/>
                  </a:lnTo>
                  <a:lnTo>
                    <a:pt x="377" y="80"/>
                  </a:lnTo>
                  <a:lnTo>
                    <a:pt x="381" y="79"/>
                  </a:lnTo>
                  <a:lnTo>
                    <a:pt x="386" y="78"/>
                  </a:lnTo>
                  <a:lnTo>
                    <a:pt x="390" y="78"/>
                  </a:lnTo>
                  <a:lnTo>
                    <a:pt x="393" y="78"/>
                  </a:lnTo>
                  <a:lnTo>
                    <a:pt x="397" y="79"/>
                  </a:lnTo>
                  <a:lnTo>
                    <a:pt x="404" y="80"/>
                  </a:lnTo>
                  <a:lnTo>
                    <a:pt x="406" y="81"/>
                  </a:lnTo>
                  <a:lnTo>
                    <a:pt x="410" y="81"/>
                  </a:lnTo>
                  <a:lnTo>
                    <a:pt x="417" y="80"/>
                  </a:lnTo>
                  <a:lnTo>
                    <a:pt x="421" y="80"/>
                  </a:lnTo>
                  <a:lnTo>
                    <a:pt x="423" y="80"/>
                  </a:lnTo>
                  <a:lnTo>
                    <a:pt x="425" y="80"/>
                  </a:lnTo>
                  <a:lnTo>
                    <a:pt x="427" y="81"/>
                  </a:lnTo>
                  <a:lnTo>
                    <a:pt x="428" y="81"/>
                  </a:lnTo>
                  <a:lnTo>
                    <a:pt x="431" y="83"/>
                  </a:lnTo>
                  <a:lnTo>
                    <a:pt x="434" y="85"/>
                  </a:lnTo>
                  <a:lnTo>
                    <a:pt x="435" y="85"/>
                  </a:lnTo>
                  <a:lnTo>
                    <a:pt x="436" y="85"/>
                  </a:lnTo>
                  <a:lnTo>
                    <a:pt x="436" y="86"/>
                  </a:lnTo>
                  <a:lnTo>
                    <a:pt x="436" y="87"/>
                  </a:lnTo>
                  <a:lnTo>
                    <a:pt x="435" y="88"/>
                  </a:lnTo>
                  <a:lnTo>
                    <a:pt x="430" y="90"/>
                  </a:lnTo>
                  <a:lnTo>
                    <a:pt x="428" y="91"/>
                  </a:lnTo>
                  <a:lnTo>
                    <a:pt x="427" y="92"/>
                  </a:lnTo>
                  <a:lnTo>
                    <a:pt x="426" y="93"/>
                  </a:lnTo>
                  <a:lnTo>
                    <a:pt x="426" y="94"/>
                  </a:lnTo>
                  <a:lnTo>
                    <a:pt x="425" y="95"/>
                  </a:lnTo>
                  <a:lnTo>
                    <a:pt x="425" y="96"/>
                  </a:lnTo>
                  <a:lnTo>
                    <a:pt x="425" y="96"/>
                  </a:lnTo>
                  <a:lnTo>
                    <a:pt x="425" y="97"/>
                  </a:lnTo>
                  <a:lnTo>
                    <a:pt x="426" y="98"/>
                  </a:lnTo>
                  <a:lnTo>
                    <a:pt x="427" y="99"/>
                  </a:lnTo>
                  <a:lnTo>
                    <a:pt x="427" y="101"/>
                  </a:lnTo>
                  <a:lnTo>
                    <a:pt x="430" y="103"/>
                  </a:lnTo>
                  <a:lnTo>
                    <a:pt x="432" y="105"/>
                  </a:lnTo>
                  <a:lnTo>
                    <a:pt x="433" y="106"/>
                  </a:lnTo>
                  <a:lnTo>
                    <a:pt x="437" y="107"/>
                  </a:lnTo>
                  <a:lnTo>
                    <a:pt x="444" y="111"/>
                  </a:lnTo>
                  <a:lnTo>
                    <a:pt x="449" y="114"/>
                  </a:lnTo>
                  <a:lnTo>
                    <a:pt x="453" y="117"/>
                  </a:lnTo>
                  <a:lnTo>
                    <a:pt x="460" y="122"/>
                  </a:lnTo>
                  <a:lnTo>
                    <a:pt x="463" y="125"/>
                  </a:lnTo>
                  <a:lnTo>
                    <a:pt x="467" y="128"/>
                  </a:lnTo>
                  <a:lnTo>
                    <a:pt x="471" y="129"/>
                  </a:lnTo>
                  <a:lnTo>
                    <a:pt x="472" y="130"/>
                  </a:lnTo>
                  <a:lnTo>
                    <a:pt x="474" y="130"/>
                  </a:lnTo>
                  <a:lnTo>
                    <a:pt x="477" y="131"/>
                  </a:lnTo>
                  <a:lnTo>
                    <a:pt x="480" y="131"/>
                  </a:lnTo>
                  <a:lnTo>
                    <a:pt x="483" y="132"/>
                  </a:lnTo>
                  <a:lnTo>
                    <a:pt x="485" y="132"/>
                  </a:lnTo>
                  <a:lnTo>
                    <a:pt x="491" y="133"/>
                  </a:lnTo>
                  <a:lnTo>
                    <a:pt x="494" y="133"/>
                  </a:lnTo>
                  <a:lnTo>
                    <a:pt x="497" y="133"/>
                  </a:lnTo>
                  <a:lnTo>
                    <a:pt x="500" y="133"/>
                  </a:lnTo>
                  <a:lnTo>
                    <a:pt x="503" y="132"/>
                  </a:lnTo>
                  <a:lnTo>
                    <a:pt x="506" y="132"/>
                  </a:lnTo>
                  <a:lnTo>
                    <a:pt x="508" y="131"/>
                  </a:lnTo>
                  <a:lnTo>
                    <a:pt x="518" y="129"/>
                  </a:lnTo>
                  <a:lnTo>
                    <a:pt x="521" y="129"/>
                  </a:lnTo>
                  <a:lnTo>
                    <a:pt x="525" y="128"/>
                  </a:lnTo>
                  <a:lnTo>
                    <a:pt x="527" y="129"/>
                  </a:lnTo>
                  <a:lnTo>
                    <a:pt x="529" y="129"/>
                  </a:lnTo>
                  <a:lnTo>
                    <a:pt x="529" y="129"/>
                  </a:lnTo>
                  <a:lnTo>
                    <a:pt x="531" y="129"/>
                  </a:lnTo>
                  <a:lnTo>
                    <a:pt x="533" y="130"/>
                  </a:lnTo>
                  <a:lnTo>
                    <a:pt x="534" y="130"/>
                  </a:lnTo>
                  <a:lnTo>
                    <a:pt x="537" y="131"/>
                  </a:lnTo>
                  <a:lnTo>
                    <a:pt x="539" y="133"/>
                  </a:lnTo>
                  <a:lnTo>
                    <a:pt x="540" y="134"/>
                  </a:lnTo>
                  <a:lnTo>
                    <a:pt x="541" y="135"/>
                  </a:lnTo>
                  <a:lnTo>
                    <a:pt x="542" y="137"/>
                  </a:lnTo>
                  <a:lnTo>
                    <a:pt x="552" y="148"/>
                  </a:lnTo>
                  <a:lnTo>
                    <a:pt x="559" y="158"/>
                  </a:lnTo>
                  <a:lnTo>
                    <a:pt x="561" y="161"/>
                  </a:lnTo>
                  <a:lnTo>
                    <a:pt x="563" y="164"/>
                  </a:lnTo>
                  <a:lnTo>
                    <a:pt x="564" y="165"/>
                  </a:lnTo>
                  <a:lnTo>
                    <a:pt x="565" y="167"/>
                  </a:lnTo>
                  <a:lnTo>
                    <a:pt x="565" y="169"/>
                  </a:lnTo>
                  <a:lnTo>
                    <a:pt x="566" y="171"/>
                  </a:lnTo>
                  <a:lnTo>
                    <a:pt x="566" y="172"/>
                  </a:lnTo>
                  <a:lnTo>
                    <a:pt x="566" y="173"/>
                  </a:lnTo>
                  <a:lnTo>
                    <a:pt x="566" y="172"/>
                  </a:lnTo>
                  <a:lnTo>
                    <a:pt x="565" y="172"/>
                  </a:lnTo>
                  <a:lnTo>
                    <a:pt x="563" y="173"/>
                  </a:lnTo>
                  <a:lnTo>
                    <a:pt x="561" y="173"/>
                  </a:lnTo>
                  <a:lnTo>
                    <a:pt x="558" y="174"/>
                  </a:lnTo>
                  <a:lnTo>
                    <a:pt x="556" y="175"/>
                  </a:lnTo>
                  <a:lnTo>
                    <a:pt x="553" y="175"/>
                  </a:lnTo>
                  <a:lnTo>
                    <a:pt x="552" y="177"/>
                  </a:lnTo>
                  <a:lnTo>
                    <a:pt x="549" y="178"/>
                  </a:lnTo>
                  <a:lnTo>
                    <a:pt x="545" y="181"/>
                  </a:lnTo>
                  <a:lnTo>
                    <a:pt x="541" y="184"/>
                  </a:lnTo>
                  <a:lnTo>
                    <a:pt x="538" y="187"/>
                  </a:lnTo>
                  <a:lnTo>
                    <a:pt x="531" y="194"/>
                  </a:lnTo>
                  <a:lnTo>
                    <a:pt x="528" y="197"/>
                  </a:lnTo>
                  <a:lnTo>
                    <a:pt x="526" y="198"/>
                  </a:lnTo>
                  <a:lnTo>
                    <a:pt x="525" y="198"/>
                  </a:lnTo>
                  <a:lnTo>
                    <a:pt x="523" y="199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18" y="200"/>
                  </a:lnTo>
                  <a:lnTo>
                    <a:pt x="517" y="200"/>
                  </a:lnTo>
                  <a:lnTo>
                    <a:pt x="515" y="200"/>
                  </a:lnTo>
                  <a:lnTo>
                    <a:pt x="512" y="199"/>
                  </a:lnTo>
                  <a:lnTo>
                    <a:pt x="510" y="199"/>
                  </a:lnTo>
                  <a:lnTo>
                    <a:pt x="507" y="198"/>
                  </a:lnTo>
                  <a:lnTo>
                    <a:pt x="502" y="196"/>
                  </a:lnTo>
                  <a:lnTo>
                    <a:pt x="499" y="195"/>
                  </a:lnTo>
                  <a:lnTo>
                    <a:pt x="498" y="194"/>
                  </a:lnTo>
                  <a:lnTo>
                    <a:pt x="495" y="194"/>
                  </a:lnTo>
                  <a:lnTo>
                    <a:pt x="494" y="194"/>
                  </a:lnTo>
                  <a:lnTo>
                    <a:pt x="492" y="194"/>
                  </a:lnTo>
                  <a:lnTo>
                    <a:pt x="491" y="194"/>
                  </a:lnTo>
                  <a:lnTo>
                    <a:pt x="489" y="195"/>
                  </a:lnTo>
                  <a:lnTo>
                    <a:pt x="488" y="196"/>
                  </a:lnTo>
                  <a:lnTo>
                    <a:pt x="487" y="198"/>
                  </a:lnTo>
                  <a:lnTo>
                    <a:pt x="487" y="199"/>
                  </a:lnTo>
                  <a:lnTo>
                    <a:pt x="486" y="200"/>
                  </a:lnTo>
                  <a:lnTo>
                    <a:pt x="487" y="203"/>
                  </a:lnTo>
                  <a:lnTo>
                    <a:pt x="487" y="205"/>
                  </a:lnTo>
                  <a:lnTo>
                    <a:pt x="488" y="209"/>
                  </a:lnTo>
                  <a:lnTo>
                    <a:pt x="488" y="209"/>
                  </a:lnTo>
                  <a:lnTo>
                    <a:pt x="488" y="210"/>
                  </a:lnTo>
                  <a:lnTo>
                    <a:pt x="488" y="212"/>
                  </a:lnTo>
                  <a:lnTo>
                    <a:pt x="488" y="214"/>
                  </a:lnTo>
                  <a:lnTo>
                    <a:pt x="487" y="215"/>
                  </a:lnTo>
                  <a:lnTo>
                    <a:pt x="486" y="216"/>
                  </a:lnTo>
                  <a:lnTo>
                    <a:pt x="485" y="216"/>
                  </a:lnTo>
                  <a:lnTo>
                    <a:pt x="484" y="217"/>
                  </a:lnTo>
                  <a:lnTo>
                    <a:pt x="482" y="217"/>
                  </a:lnTo>
                  <a:lnTo>
                    <a:pt x="480" y="217"/>
                  </a:lnTo>
                  <a:lnTo>
                    <a:pt x="478" y="217"/>
                  </a:lnTo>
                  <a:lnTo>
                    <a:pt x="476" y="217"/>
                  </a:lnTo>
                  <a:lnTo>
                    <a:pt x="470" y="216"/>
                  </a:lnTo>
                  <a:lnTo>
                    <a:pt x="465" y="215"/>
                  </a:lnTo>
                  <a:lnTo>
                    <a:pt x="463" y="215"/>
                  </a:lnTo>
                  <a:lnTo>
                    <a:pt x="461" y="215"/>
                  </a:lnTo>
                  <a:lnTo>
                    <a:pt x="461" y="216"/>
                  </a:lnTo>
                  <a:lnTo>
                    <a:pt x="459" y="216"/>
                  </a:lnTo>
                  <a:lnTo>
                    <a:pt x="457" y="217"/>
                  </a:lnTo>
                  <a:lnTo>
                    <a:pt x="456" y="217"/>
                  </a:lnTo>
                  <a:lnTo>
                    <a:pt x="453" y="218"/>
                  </a:lnTo>
                  <a:lnTo>
                    <a:pt x="448" y="221"/>
                  </a:lnTo>
                  <a:lnTo>
                    <a:pt x="446" y="222"/>
                  </a:lnTo>
                  <a:lnTo>
                    <a:pt x="445" y="224"/>
                  </a:lnTo>
                  <a:lnTo>
                    <a:pt x="444" y="225"/>
                  </a:lnTo>
                  <a:lnTo>
                    <a:pt x="443" y="226"/>
                  </a:lnTo>
                  <a:lnTo>
                    <a:pt x="443" y="227"/>
                  </a:lnTo>
                  <a:lnTo>
                    <a:pt x="443" y="228"/>
                  </a:lnTo>
                  <a:lnTo>
                    <a:pt x="442" y="229"/>
                  </a:lnTo>
                  <a:lnTo>
                    <a:pt x="443" y="230"/>
                  </a:lnTo>
                  <a:lnTo>
                    <a:pt x="443" y="233"/>
                  </a:lnTo>
                  <a:lnTo>
                    <a:pt x="443" y="235"/>
                  </a:lnTo>
                  <a:lnTo>
                    <a:pt x="443" y="237"/>
                  </a:lnTo>
                  <a:lnTo>
                    <a:pt x="443" y="240"/>
                  </a:lnTo>
                  <a:lnTo>
                    <a:pt x="441" y="242"/>
                  </a:lnTo>
                  <a:lnTo>
                    <a:pt x="440" y="244"/>
                  </a:lnTo>
                  <a:lnTo>
                    <a:pt x="439" y="246"/>
                  </a:lnTo>
                  <a:lnTo>
                    <a:pt x="436" y="251"/>
                  </a:lnTo>
                  <a:lnTo>
                    <a:pt x="434" y="254"/>
                  </a:lnTo>
                  <a:lnTo>
                    <a:pt x="433" y="255"/>
                  </a:lnTo>
                  <a:lnTo>
                    <a:pt x="433" y="256"/>
                  </a:lnTo>
                  <a:lnTo>
                    <a:pt x="432" y="258"/>
                  </a:lnTo>
                  <a:lnTo>
                    <a:pt x="432" y="260"/>
                  </a:lnTo>
                  <a:lnTo>
                    <a:pt x="431" y="264"/>
                  </a:lnTo>
                  <a:lnTo>
                    <a:pt x="431" y="273"/>
                  </a:lnTo>
                  <a:lnTo>
                    <a:pt x="431" y="277"/>
                  </a:lnTo>
                  <a:lnTo>
                    <a:pt x="429" y="288"/>
                  </a:lnTo>
                  <a:lnTo>
                    <a:pt x="427" y="305"/>
                  </a:lnTo>
                  <a:lnTo>
                    <a:pt x="426" y="315"/>
                  </a:lnTo>
                  <a:lnTo>
                    <a:pt x="426" y="318"/>
                  </a:lnTo>
                  <a:lnTo>
                    <a:pt x="426" y="321"/>
                  </a:lnTo>
                  <a:lnTo>
                    <a:pt x="426" y="323"/>
                  </a:lnTo>
                  <a:lnTo>
                    <a:pt x="427" y="325"/>
                  </a:lnTo>
                  <a:lnTo>
                    <a:pt x="427" y="329"/>
                  </a:lnTo>
                  <a:lnTo>
                    <a:pt x="427" y="331"/>
                  </a:lnTo>
                  <a:lnTo>
                    <a:pt x="427" y="334"/>
                  </a:lnTo>
                  <a:lnTo>
                    <a:pt x="427" y="336"/>
                  </a:lnTo>
                  <a:lnTo>
                    <a:pt x="426" y="338"/>
                  </a:lnTo>
                  <a:lnTo>
                    <a:pt x="425" y="340"/>
                  </a:lnTo>
                  <a:lnTo>
                    <a:pt x="423" y="342"/>
                  </a:lnTo>
                  <a:lnTo>
                    <a:pt x="422" y="343"/>
                  </a:lnTo>
                  <a:lnTo>
                    <a:pt x="420" y="344"/>
                  </a:lnTo>
                  <a:lnTo>
                    <a:pt x="418" y="345"/>
                  </a:lnTo>
                  <a:lnTo>
                    <a:pt x="416" y="345"/>
                  </a:lnTo>
                  <a:lnTo>
                    <a:pt x="411" y="346"/>
                  </a:lnTo>
                  <a:lnTo>
                    <a:pt x="410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5" y="350"/>
                  </a:lnTo>
                  <a:lnTo>
                    <a:pt x="404" y="352"/>
                  </a:lnTo>
                  <a:lnTo>
                    <a:pt x="399" y="356"/>
                  </a:lnTo>
                  <a:lnTo>
                    <a:pt x="395" y="358"/>
                  </a:lnTo>
                  <a:lnTo>
                    <a:pt x="392" y="361"/>
                  </a:lnTo>
                  <a:lnTo>
                    <a:pt x="384" y="366"/>
                  </a:lnTo>
                  <a:lnTo>
                    <a:pt x="382" y="367"/>
                  </a:lnTo>
                  <a:lnTo>
                    <a:pt x="381" y="368"/>
                  </a:lnTo>
                  <a:lnTo>
                    <a:pt x="380" y="369"/>
                  </a:lnTo>
                  <a:lnTo>
                    <a:pt x="378" y="371"/>
                  </a:lnTo>
                  <a:lnTo>
                    <a:pt x="367" y="386"/>
                  </a:lnTo>
                  <a:lnTo>
                    <a:pt x="366" y="387"/>
                  </a:lnTo>
                  <a:lnTo>
                    <a:pt x="366" y="388"/>
                  </a:lnTo>
                  <a:lnTo>
                    <a:pt x="365" y="388"/>
                  </a:lnTo>
                  <a:lnTo>
                    <a:pt x="364" y="388"/>
                  </a:lnTo>
                  <a:lnTo>
                    <a:pt x="363" y="388"/>
                  </a:lnTo>
                  <a:lnTo>
                    <a:pt x="361" y="388"/>
                  </a:lnTo>
                  <a:lnTo>
                    <a:pt x="360" y="387"/>
                  </a:lnTo>
                  <a:lnTo>
                    <a:pt x="359" y="387"/>
                  </a:lnTo>
                  <a:lnTo>
                    <a:pt x="359" y="386"/>
                  </a:lnTo>
                  <a:lnTo>
                    <a:pt x="359" y="385"/>
                  </a:lnTo>
                  <a:lnTo>
                    <a:pt x="357" y="383"/>
                  </a:lnTo>
                  <a:lnTo>
                    <a:pt x="357" y="381"/>
                  </a:lnTo>
                  <a:lnTo>
                    <a:pt x="356" y="381"/>
                  </a:lnTo>
                  <a:lnTo>
                    <a:pt x="355" y="380"/>
                  </a:lnTo>
                  <a:lnTo>
                    <a:pt x="354" y="380"/>
                  </a:lnTo>
                  <a:lnTo>
                    <a:pt x="353" y="380"/>
                  </a:lnTo>
                  <a:lnTo>
                    <a:pt x="351" y="380"/>
                  </a:lnTo>
                  <a:lnTo>
                    <a:pt x="348" y="381"/>
                  </a:lnTo>
                  <a:lnTo>
                    <a:pt x="347" y="381"/>
                  </a:lnTo>
                  <a:lnTo>
                    <a:pt x="347" y="381"/>
                  </a:lnTo>
                  <a:lnTo>
                    <a:pt x="346" y="380"/>
                  </a:lnTo>
                  <a:lnTo>
                    <a:pt x="345" y="379"/>
                  </a:lnTo>
                  <a:lnTo>
                    <a:pt x="343" y="379"/>
                  </a:lnTo>
                  <a:lnTo>
                    <a:pt x="342" y="377"/>
                  </a:lnTo>
                  <a:lnTo>
                    <a:pt x="342" y="375"/>
                  </a:lnTo>
                  <a:lnTo>
                    <a:pt x="340" y="369"/>
                  </a:lnTo>
                  <a:lnTo>
                    <a:pt x="338" y="367"/>
                  </a:lnTo>
                  <a:lnTo>
                    <a:pt x="337" y="364"/>
                  </a:lnTo>
                  <a:lnTo>
                    <a:pt x="336" y="362"/>
                  </a:lnTo>
                  <a:lnTo>
                    <a:pt x="336" y="361"/>
                  </a:lnTo>
                  <a:lnTo>
                    <a:pt x="334" y="358"/>
                  </a:lnTo>
                  <a:lnTo>
                    <a:pt x="333" y="357"/>
                  </a:lnTo>
                  <a:lnTo>
                    <a:pt x="331" y="356"/>
                  </a:lnTo>
                  <a:lnTo>
                    <a:pt x="330" y="355"/>
                  </a:lnTo>
                  <a:lnTo>
                    <a:pt x="328" y="355"/>
                  </a:lnTo>
                  <a:lnTo>
                    <a:pt x="326" y="354"/>
                  </a:lnTo>
                  <a:lnTo>
                    <a:pt x="324" y="353"/>
                  </a:lnTo>
                  <a:lnTo>
                    <a:pt x="322" y="353"/>
                  </a:lnTo>
                  <a:lnTo>
                    <a:pt x="321" y="353"/>
                  </a:lnTo>
                  <a:lnTo>
                    <a:pt x="320" y="353"/>
                  </a:lnTo>
                  <a:lnTo>
                    <a:pt x="319" y="354"/>
                  </a:lnTo>
                  <a:lnTo>
                    <a:pt x="317" y="354"/>
                  </a:lnTo>
                  <a:lnTo>
                    <a:pt x="315" y="355"/>
                  </a:lnTo>
                  <a:lnTo>
                    <a:pt x="313" y="356"/>
                  </a:lnTo>
                  <a:lnTo>
                    <a:pt x="312" y="357"/>
                  </a:lnTo>
                  <a:lnTo>
                    <a:pt x="309" y="359"/>
                  </a:lnTo>
                  <a:lnTo>
                    <a:pt x="307" y="361"/>
                  </a:lnTo>
                  <a:lnTo>
                    <a:pt x="306" y="363"/>
                  </a:lnTo>
                  <a:lnTo>
                    <a:pt x="304" y="366"/>
                  </a:lnTo>
                  <a:lnTo>
                    <a:pt x="302" y="372"/>
                  </a:lnTo>
                  <a:lnTo>
                    <a:pt x="300" y="374"/>
                  </a:lnTo>
                  <a:lnTo>
                    <a:pt x="299" y="376"/>
                  </a:lnTo>
                  <a:lnTo>
                    <a:pt x="297" y="378"/>
                  </a:lnTo>
                  <a:lnTo>
                    <a:pt x="295" y="379"/>
                  </a:lnTo>
                  <a:lnTo>
                    <a:pt x="293" y="380"/>
                  </a:lnTo>
                  <a:lnTo>
                    <a:pt x="291" y="381"/>
                  </a:lnTo>
                  <a:lnTo>
                    <a:pt x="290" y="381"/>
                  </a:lnTo>
                  <a:lnTo>
                    <a:pt x="289" y="381"/>
                  </a:lnTo>
                  <a:lnTo>
                    <a:pt x="285" y="381"/>
                  </a:lnTo>
                  <a:lnTo>
                    <a:pt x="280" y="381"/>
                  </a:lnTo>
                  <a:lnTo>
                    <a:pt x="278" y="380"/>
                  </a:lnTo>
                  <a:lnTo>
                    <a:pt x="276" y="379"/>
                  </a:lnTo>
                  <a:lnTo>
                    <a:pt x="273" y="379"/>
                  </a:lnTo>
                  <a:lnTo>
                    <a:pt x="267" y="376"/>
                  </a:lnTo>
                  <a:lnTo>
                    <a:pt x="259" y="372"/>
                  </a:lnTo>
                  <a:lnTo>
                    <a:pt x="257" y="371"/>
                  </a:lnTo>
                  <a:lnTo>
                    <a:pt x="254" y="369"/>
                  </a:lnTo>
                  <a:lnTo>
                    <a:pt x="253" y="369"/>
                  </a:lnTo>
                  <a:lnTo>
                    <a:pt x="252" y="369"/>
                  </a:lnTo>
                  <a:lnTo>
                    <a:pt x="250" y="369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5" y="370"/>
                  </a:lnTo>
                  <a:lnTo>
                    <a:pt x="244" y="371"/>
                  </a:lnTo>
                  <a:lnTo>
                    <a:pt x="243" y="373"/>
                  </a:lnTo>
                  <a:lnTo>
                    <a:pt x="242" y="374"/>
                  </a:lnTo>
                  <a:lnTo>
                    <a:pt x="240" y="376"/>
                  </a:lnTo>
                  <a:lnTo>
                    <a:pt x="239" y="379"/>
                  </a:lnTo>
                  <a:lnTo>
                    <a:pt x="238" y="380"/>
                  </a:lnTo>
                  <a:lnTo>
                    <a:pt x="238" y="382"/>
                  </a:lnTo>
                  <a:lnTo>
                    <a:pt x="238" y="383"/>
                  </a:lnTo>
                  <a:lnTo>
                    <a:pt x="238" y="385"/>
                  </a:lnTo>
                  <a:lnTo>
                    <a:pt x="238" y="386"/>
                  </a:lnTo>
                  <a:lnTo>
                    <a:pt x="238" y="387"/>
                  </a:lnTo>
                  <a:lnTo>
                    <a:pt x="239" y="389"/>
                  </a:lnTo>
                  <a:lnTo>
                    <a:pt x="239" y="391"/>
                  </a:lnTo>
                  <a:lnTo>
                    <a:pt x="243" y="396"/>
                  </a:lnTo>
                  <a:lnTo>
                    <a:pt x="244" y="399"/>
                  </a:lnTo>
                  <a:lnTo>
                    <a:pt x="245" y="401"/>
                  </a:lnTo>
                  <a:lnTo>
                    <a:pt x="245" y="402"/>
                  </a:lnTo>
                  <a:lnTo>
                    <a:pt x="245" y="404"/>
                  </a:lnTo>
                  <a:lnTo>
                    <a:pt x="246" y="409"/>
                  </a:lnTo>
                  <a:lnTo>
                    <a:pt x="246" y="418"/>
                  </a:lnTo>
                  <a:lnTo>
                    <a:pt x="247" y="422"/>
                  </a:lnTo>
                  <a:lnTo>
                    <a:pt x="247" y="424"/>
                  </a:lnTo>
                  <a:lnTo>
                    <a:pt x="248" y="426"/>
                  </a:lnTo>
                  <a:lnTo>
                    <a:pt x="249" y="428"/>
                  </a:lnTo>
                  <a:lnTo>
                    <a:pt x="250" y="430"/>
                  </a:lnTo>
                  <a:lnTo>
                    <a:pt x="251" y="432"/>
                  </a:lnTo>
                  <a:lnTo>
                    <a:pt x="254" y="435"/>
                  </a:lnTo>
                  <a:lnTo>
                    <a:pt x="254" y="436"/>
                  </a:lnTo>
                  <a:lnTo>
                    <a:pt x="255" y="436"/>
                  </a:lnTo>
                  <a:lnTo>
                    <a:pt x="255" y="438"/>
                  </a:lnTo>
                  <a:lnTo>
                    <a:pt x="256" y="444"/>
                  </a:lnTo>
                  <a:lnTo>
                    <a:pt x="256" y="450"/>
                  </a:lnTo>
                  <a:lnTo>
                    <a:pt x="256" y="454"/>
                  </a:lnTo>
                  <a:lnTo>
                    <a:pt x="256" y="463"/>
                  </a:lnTo>
                  <a:lnTo>
                    <a:pt x="256" y="467"/>
                  </a:lnTo>
                  <a:lnTo>
                    <a:pt x="256" y="472"/>
                  </a:lnTo>
                  <a:lnTo>
                    <a:pt x="256" y="474"/>
                  </a:lnTo>
                  <a:lnTo>
                    <a:pt x="256" y="474"/>
                  </a:lnTo>
                  <a:lnTo>
                    <a:pt x="256" y="474"/>
                  </a:lnTo>
                  <a:lnTo>
                    <a:pt x="256" y="475"/>
                  </a:lnTo>
                  <a:lnTo>
                    <a:pt x="254" y="476"/>
                  </a:lnTo>
                  <a:lnTo>
                    <a:pt x="248" y="481"/>
                  </a:lnTo>
                  <a:lnTo>
                    <a:pt x="240" y="489"/>
                  </a:lnTo>
                  <a:lnTo>
                    <a:pt x="233" y="496"/>
                  </a:lnTo>
                  <a:lnTo>
                    <a:pt x="227" y="504"/>
                  </a:lnTo>
                  <a:lnTo>
                    <a:pt x="226" y="504"/>
                  </a:lnTo>
                  <a:lnTo>
                    <a:pt x="224" y="505"/>
                  </a:lnTo>
                  <a:lnTo>
                    <a:pt x="223" y="506"/>
                  </a:lnTo>
                  <a:lnTo>
                    <a:pt x="222" y="507"/>
                  </a:lnTo>
                  <a:lnTo>
                    <a:pt x="221" y="508"/>
                  </a:lnTo>
                  <a:lnTo>
                    <a:pt x="219" y="508"/>
                  </a:lnTo>
                  <a:lnTo>
                    <a:pt x="212" y="510"/>
                  </a:lnTo>
                  <a:lnTo>
                    <a:pt x="211" y="510"/>
                  </a:lnTo>
                  <a:lnTo>
                    <a:pt x="209" y="510"/>
                  </a:lnTo>
                  <a:lnTo>
                    <a:pt x="205" y="510"/>
                  </a:lnTo>
                  <a:lnTo>
                    <a:pt x="202" y="510"/>
                  </a:lnTo>
                  <a:lnTo>
                    <a:pt x="199" y="510"/>
                  </a:lnTo>
                  <a:lnTo>
                    <a:pt x="196" y="510"/>
                  </a:lnTo>
                  <a:lnTo>
                    <a:pt x="193" y="510"/>
                  </a:lnTo>
                  <a:lnTo>
                    <a:pt x="189" y="509"/>
                  </a:lnTo>
                  <a:lnTo>
                    <a:pt x="187" y="508"/>
                  </a:lnTo>
                  <a:lnTo>
                    <a:pt x="186" y="507"/>
                  </a:lnTo>
                  <a:lnTo>
                    <a:pt x="185" y="506"/>
                  </a:lnTo>
                  <a:lnTo>
                    <a:pt x="184" y="506"/>
                  </a:lnTo>
                  <a:lnTo>
                    <a:pt x="182" y="504"/>
                  </a:lnTo>
                  <a:lnTo>
                    <a:pt x="181" y="504"/>
                  </a:lnTo>
                  <a:lnTo>
                    <a:pt x="179" y="501"/>
                  </a:lnTo>
                  <a:lnTo>
                    <a:pt x="177" y="498"/>
                  </a:lnTo>
                  <a:lnTo>
                    <a:pt x="177" y="496"/>
                  </a:lnTo>
                  <a:lnTo>
                    <a:pt x="175" y="494"/>
                  </a:lnTo>
                  <a:lnTo>
                    <a:pt x="173" y="492"/>
                  </a:lnTo>
                  <a:lnTo>
                    <a:pt x="171" y="491"/>
                  </a:lnTo>
                  <a:lnTo>
                    <a:pt x="166" y="488"/>
                  </a:lnTo>
                  <a:lnTo>
                    <a:pt x="165" y="487"/>
                  </a:lnTo>
                  <a:lnTo>
                    <a:pt x="164" y="486"/>
                  </a:lnTo>
                  <a:lnTo>
                    <a:pt x="162" y="485"/>
                  </a:lnTo>
                  <a:lnTo>
                    <a:pt x="161" y="485"/>
                  </a:lnTo>
                  <a:lnTo>
                    <a:pt x="159" y="485"/>
                  </a:lnTo>
                  <a:lnTo>
                    <a:pt x="157" y="485"/>
                  </a:lnTo>
                  <a:lnTo>
                    <a:pt x="156" y="485"/>
                  </a:lnTo>
                  <a:lnTo>
                    <a:pt x="152" y="487"/>
                  </a:lnTo>
                  <a:lnTo>
                    <a:pt x="150" y="488"/>
                  </a:lnTo>
                  <a:lnTo>
                    <a:pt x="148" y="488"/>
                  </a:lnTo>
                  <a:lnTo>
                    <a:pt x="146" y="488"/>
                  </a:lnTo>
                  <a:lnTo>
                    <a:pt x="144" y="487"/>
                  </a:lnTo>
                  <a:lnTo>
                    <a:pt x="142" y="486"/>
                  </a:lnTo>
                  <a:lnTo>
                    <a:pt x="140" y="485"/>
                  </a:lnTo>
                  <a:lnTo>
                    <a:pt x="136" y="483"/>
                  </a:lnTo>
                  <a:lnTo>
                    <a:pt x="135" y="482"/>
                  </a:lnTo>
                  <a:lnTo>
                    <a:pt x="134" y="483"/>
                  </a:lnTo>
                  <a:lnTo>
                    <a:pt x="133" y="484"/>
                  </a:lnTo>
                  <a:lnTo>
                    <a:pt x="129" y="487"/>
                  </a:lnTo>
                  <a:lnTo>
                    <a:pt x="127" y="488"/>
                  </a:lnTo>
                  <a:lnTo>
                    <a:pt x="125" y="489"/>
                  </a:lnTo>
                  <a:lnTo>
                    <a:pt x="119" y="491"/>
                  </a:lnTo>
                  <a:lnTo>
                    <a:pt x="115" y="492"/>
                  </a:lnTo>
                  <a:lnTo>
                    <a:pt x="113" y="493"/>
                  </a:lnTo>
                  <a:lnTo>
                    <a:pt x="111" y="495"/>
                  </a:lnTo>
                  <a:lnTo>
                    <a:pt x="110" y="496"/>
                  </a:lnTo>
                  <a:lnTo>
                    <a:pt x="109" y="498"/>
                  </a:lnTo>
                  <a:lnTo>
                    <a:pt x="108" y="502"/>
                  </a:lnTo>
                  <a:lnTo>
                    <a:pt x="108" y="503"/>
                  </a:lnTo>
                  <a:lnTo>
                    <a:pt x="107" y="504"/>
                  </a:lnTo>
                  <a:lnTo>
                    <a:pt x="106" y="504"/>
                  </a:lnTo>
                  <a:lnTo>
                    <a:pt x="105" y="506"/>
                  </a:lnTo>
                  <a:lnTo>
                    <a:pt x="98" y="509"/>
                  </a:lnTo>
                  <a:lnTo>
                    <a:pt x="97" y="511"/>
                  </a:lnTo>
                  <a:lnTo>
                    <a:pt x="95" y="512"/>
                  </a:lnTo>
                  <a:lnTo>
                    <a:pt x="94" y="514"/>
                  </a:lnTo>
                  <a:lnTo>
                    <a:pt x="93" y="515"/>
                  </a:lnTo>
                  <a:lnTo>
                    <a:pt x="92" y="516"/>
                  </a:lnTo>
                  <a:lnTo>
                    <a:pt x="91" y="517"/>
                  </a:lnTo>
                  <a:lnTo>
                    <a:pt x="90" y="518"/>
                  </a:lnTo>
                  <a:lnTo>
                    <a:pt x="89" y="518"/>
                  </a:lnTo>
                  <a:lnTo>
                    <a:pt x="88" y="518"/>
                  </a:lnTo>
                  <a:lnTo>
                    <a:pt x="86" y="518"/>
                  </a:lnTo>
                  <a:lnTo>
                    <a:pt x="86" y="517"/>
                  </a:lnTo>
                  <a:lnTo>
                    <a:pt x="81" y="515"/>
                  </a:lnTo>
                  <a:lnTo>
                    <a:pt x="79" y="515"/>
                  </a:lnTo>
                  <a:lnTo>
                    <a:pt x="76" y="514"/>
                  </a:lnTo>
                  <a:lnTo>
                    <a:pt x="72" y="513"/>
                  </a:lnTo>
                  <a:lnTo>
                    <a:pt x="69" y="512"/>
                  </a:lnTo>
                  <a:lnTo>
                    <a:pt x="68" y="511"/>
                  </a:lnTo>
                  <a:lnTo>
                    <a:pt x="67" y="511"/>
                  </a:lnTo>
                  <a:lnTo>
                    <a:pt x="66" y="510"/>
                  </a:lnTo>
                  <a:lnTo>
                    <a:pt x="66" y="509"/>
                  </a:lnTo>
                  <a:lnTo>
                    <a:pt x="65" y="509"/>
                  </a:lnTo>
                  <a:lnTo>
                    <a:pt x="65" y="506"/>
                  </a:lnTo>
                  <a:lnTo>
                    <a:pt x="65" y="505"/>
                  </a:lnTo>
                  <a:lnTo>
                    <a:pt x="65" y="504"/>
                  </a:lnTo>
                  <a:lnTo>
                    <a:pt x="65" y="503"/>
                  </a:lnTo>
                  <a:lnTo>
                    <a:pt x="66" y="501"/>
                  </a:lnTo>
                  <a:lnTo>
                    <a:pt x="67" y="500"/>
                  </a:lnTo>
                  <a:lnTo>
                    <a:pt x="70" y="494"/>
                  </a:lnTo>
                  <a:lnTo>
                    <a:pt x="71" y="492"/>
                  </a:lnTo>
                  <a:lnTo>
                    <a:pt x="72" y="490"/>
                  </a:lnTo>
                  <a:lnTo>
                    <a:pt x="73" y="483"/>
                  </a:lnTo>
                  <a:lnTo>
                    <a:pt x="74" y="481"/>
                  </a:lnTo>
                  <a:lnTo>
                    <a:pt x="74" y="479"/>
                  </a:lnTo>
                  <a:lnTo>
                    <a:pt x="74" y="478"/>
                  </a:lnTo>
                  <a:lnTo>
                    <a:pt x="78" y="471"/>
                  </a:lnTo>
                  <a:lnTo>
                    <a:pt x="78" y="470"/>
                  </a:lnTo>
                  <a:lnTo>
                    <a:pt x="78" y="470"/>
                  </a:lnTo>
                  <a:lnTo>
                    <a:pt x="78" y="468"/>
                  </a:lnTo>
                  <a:lnTo>
                    <a:pt x="78" y="467"/>
                  </a:lnTo>
                  <a:lnTo>
                    <a:pt x="78" y="466"/>
                  </a:lnTo>
                  <a:lnTo>
                    <a:pt x="77" y="465"/>
                  </a:lnTo>
                  <a:lnTo>
                    <a:pt x="75" y="462"/>
                  </a:lnTo>
                  <a:lnTo>
                    <a:pt x="72" y="458"/>
                  </a:lnTo>
                  <a:lnTo>
                    <a:pt x="71" y="456"/>
                  </a:lnTo>
                  <a:lnTo>
                    <a:pt x="70" y="455"/>
                  </a:lnTo>
                  <a:lnTo>
                    <a:pt x="70" y="453"/>
                  </a:lnTo>
                  <a:lnTo>
                    <a:pt x="70" y="451"/>
                  </a:lnTo>
                  <a:lnTo>
                    <a:pt x="70" y="450"/>
                  </a:lnTo>
                  <a:lnTo>
                    <a:pt x="70" y="448"/>
                  </a:lnTo>
                  <a:lnTo>
                    <a:pt x="71" y="447"/>
                  </a:lnTo>
                  <a:lnTo>
                    <a:pt x="72" y="446"/>
                  </a:lnTo>
                  <a:lnTo>
                    <a:pt x="74" y="443"/>
                  </a:lnTo>
                  <a:lnTo>
                    <a:pt x="74" y="441"/>
                  </a:lnTo>
                  <a:lnTo>
                    <a:pt x="79" y="436"/>
                  </a:lnTo>
                  <a:lnTo>
                    <a:pt x="81" y="435"/>
                  </a:lnTo>
                  <a:lnTo>
                    <a:pt x="83" y="433"/>
                  </a:lnTo>
                  <a:lnTo>
                    <a:pt x="85" y="431"/>
                  </a:lnTo>
                  <a:lnTo>
                    <a:pt x="87" y="429"/>
                  </a:lnTo>
                  <a:lnTo>
                    <a:pt x="91" y="427"/>
                  </a:lnTo>
                  <a:lnTo>
                    <a:pt x="95" y="425"/>
                  </a:lnTo>
                  <a:lnTo>
                    <a:pt x="101" y="422"/>
                  </a:lnTo>
                  <a:lnTo>
                    <a:pt x="103" y="421"/>
                  </a:lnTo>
                  <a:lnTo>
                    <a:pt x="105" y="420"/>
                  </a:lnTo>
                  <a:lnTo>
                    <a:pt x="105" y="419"/>
                  </a:lnTo>
                  <a:lnTo>
                    <a:pt x="106" y="418"/>
                  </a:lnTo>
                  <a:lnTo>
                    <a:pt x="106" y="417"/>
                  </a:lnTo>
                  <a:lnTo>
                    <a:pt x="106" y="416"/>
                  </a:lnTo>
                  <a:lnTo>
                    <a:pt x="106" y="415"/>
                  </a:lnTo>
                  <a:lnTo>
                    <a:pt x="105" y="414"/>
                  </a:lnTo>
                  <a:lnTo>
                    <a:pt x="104" y="413"/>
                  </a:lnTo>
                  <a:lnTo>
                    <a:pt x="102" y="410"/>
                  </a:lnTo>
                  <a:lnTo>
                    <a:pt x="97" y="405"/>
                  </a:lnTo>
                  <a:lnTo>
                    <a:pt x="96" y="402"/>
                  </a:lnTo>
                  <a:lnTo>
                    <a:pt x="94" y="401"/>
                  </a:lnTo>
                  <a:lnTo>
                    <a:pt x="90" y="396"/>
                  </a:lnTo>
                  <a:lnTo>
                    <a:pt x="86" y="391"/>
                  </a:lnTo>
                  <a:lnTo>
                    <a:pt x="86" y="390"/>
                  </a:lnTo>
                  <a:lnTo>
                    <a:pt x="85" y="388"/>
                  </a:lnTo>
                  <a:lnTo>
                    <a:pt x="84" y="387"/>
                  </a:lnTo>
                  <a:lnTo>
                    <a:pt x="83" y="385"/>
                  </a:lnTo>
                  <a:lnTo>
                    <a:pt x="83" y="384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78"/>
                  </a:lnTo>
                  <a:lnTo>
                    <a:pt x="84" y="375"/>
                  </a:lnTo>
                  <a:lnTo>
                    <a:pt x="85" y="373"/>
                  </a:lnTo>
                  <a:lnTo>
                    <a:pt x="86" y="369"/>
                  </a:lnTo>
                  <a:lnTo>
                    <a:pt x="90" y="363"/>
                  </a:lnTo>
                  <a:lnTo>
                    <a:pt x="94" y="357"/>
                  </a:lnTo>
                  <a:lnTo>
                    <a:pt x="95" y="356"/>
                  </a:lnTo>
                  <a:lnTo>
                    <a:pt x="96" y="354"/>
                  </a:lnTo>
                  <a:lnTo>
                    <a:pt x="96" y="352"/>
                  </a:lnTo>
                  <a:lnTo>
                    <a:pt x="96" y="350"/>
                  </a:lnTo>
                  <a:lnTo>
                    <a:pt x="96" y="347"/>
                  </a:lnTo>
                  <a:lnTo>
                    <a:pt x="95" y="345"/>
                  </a:lnTo>
                  <a:lnTo>
                    <a:pt x="94" y="341"/>
                  </a:lnTo>
                  <a:lnTo>
                    <a:pt x="92" y="338"/>
                  </a:lnTo>
                  <a:lnTo>
                    <a:pt x="89" y="334"/>
                  </a:lnTo>
                  <a:lnTo>
                    <a:pt x="86" y="329"/>
                  </a:lnTo>
                  <a:lnTo>
                    <a:pt x="84" y="325"/>
                  </a:lnTo>
                  <a:lnTo>
                    <a:pt x="80" y="321"/>
                  </a:lnTo>
                  <a:lnTo>
                    <a:pt x="78" y="318"/>
                  </a:lnTo>
                  <a:lnTo>
                    <a:pt x="76" y="317"/>
                  </a:lnTo>
                  <a:lnTo>
                    <a:pt x="74" y="316"/>
                  </a:lnTo>
                  <a:lnTo>
                    <a:pt x="73" y="314"/>
                  </a:lnTo>
                  <a:lnTo>
                    <a:pt x="69" y="313"/>
                  </a:lnTo>
                  <a:lnTo>
                    <a:pt x="64" y="311"/>
                  </a:lnTo>
                  <a:lnTo>
                    <a:pt x="58" y="309"/>
                  </a:lnTo>
                  <a:lnTo>
                    <a:pt x="56" y="307"/>
                  </a:lnTo>
                  <a:lnTo>
                    <a:pt x="55" y="307"/>
                  </a:lnTo>
                  <a:lnTo>
                    <a:pt x="54" y="306"/>
                  </a:lnTo>
                  <a:lnTo>
                    <a:pt x="53" y="305"/>
                  </a:lnTo>
                  <a:lnTo>
                    <a:pt x="52" y="304"/>
                  </a:lnTo>
                  <a:lnTo>
                    <a:pt x="52" y="303"/>
                  </a:lnTo>
                  <a:lnTo>
                    <a:pt x="52" y="301"/>
                  </a:lnTo>
                  <a:lnTo>
                    <a:pt x="52" y="300"/>
                  </a:lnTo>
                  <a:lnTo>
                    <a:pt x="52" y="297"/>
                  </a:lnTo>
                  <a:lnTo>
                    <a:pt x="52" y="295"/>
                  </a:lnTo>
                  <a:lnTo>
                    <a:pt x="53" y="293"/>
                  </a:lnTo>
                  <a:lnTo>
                    <a:pt x="56" y="287"/>
                  </a:lnTo>
                  <a:lnTo>
                    <a:pt x="57" y="284"/>
                  </a:lnTo>
                  <a:lnTo>
                    <a:pt x="58" y="280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8" y="267"/>
                  </a:lnTo>
                  <a:lnTo>
                    <a:pt x="58" y="266"/>
                  </a:lnTo>
                  <a:lnTo>
                    <a:pt x="57" y="264"/>
                  </a:lnTo>
                  <a:lnTo>
                    <a:pt x="57" y="261"/>
                  </a:lnTo>
                  <a:lnTo>
                    <a:pt x="56" y="259"/>
                  </a:lnTo>
                  <a:lnTo>
                    <a:pt x="55" y="258"/>
                  </a:lnTo>
                  <a:lnTo>
                    <a:pt x="54" y="257"/>
                  </a:lnTo>
                  <a:lnTo>
                    <a:pt x="51" y="251"/>
                  </a:lnTo>
                  <a:lnTo>
                    <a:pt x="49" y="248"/>
                  </a:lnTo>
                  <a:lnTo>
                    <a:pt x="46" y="243"/>
                  </a:lnTo>
                  <a:lnTo>
                    <a:pt x="42" y="234"/>
                  </a:lnTo>
                  <a:lnTo>
                    <a:pt x="40" y="231"/>
                  </a:lnTo>
                  <a:lnTo>
                    <a:pt x="37" y="223"/>
                  </a:lnTo>
                  <a:lnTo>
                    <a:pt x="36" y="221"/>
                  </a:lnTo>
                  <a:lnTo>
                    <a:pt x="34" y="219"/>
                  </a:lnTo>
                  <a:lnTo>
                    <a:pt x="31" y="216"/>
                  </a:lnTo>
                  <a:lnTo>
                    <a:pt x="29" y="214"/>
                  </a:lnTo>
                  <a:lnTo>
                    <a:pt x="22" y="207"/>
                  </a:lnTo>
                  <a:lnTo>
                    <a:pt x="16" y="198"/>
                  </a:lnTo>
                  <a:lnTo>
                    <a:pt x="10" y="193"/>
                  </a:lnTo>
                  <a:lnTo>
                    <a:pt x="7" y="191"/>
                  </a:lnTo>
                  <a:lnTo>
                    <a:pt x="5" y="189"/>
                  </a:lnTo>
                  <a:lnTo>
                    <a:pt x="2" y="187"/>
                  </a:lnTo>
                  <a:lnTo>
                    <a:pt x="1" y="187"/>
                  </a:lnTo>
                  <a:lnTo>
                    <a:pt x="0" y="187"/>
                  </a:lnTo>
                  <a:lnTo>
                    <a:pt x="2" y="185"/>
                  </a:lnTo>
                  <a:lnTo>
                    <a:pt x="4" y="183"/>
                  </a:lnTo>
                  <a:lnTo>
                    <a:pt x="4" y="181"/>
                  </a:lnTo>
                  <a:lnTo>
                    <a:pt x="5" y="180"/>
                  </a:lnTo>
                  <a:lnTo>
                    <a:pt x="5" y="179"/>
                  </a:lnTo>
                  <a:lnTo>
                    <a:pt x="5" y="178"/>
                  </a:lnTo>
                  <a:lnTo>
                    <a:pt x="5" y="177"/>
                  </a:lnTo>
                  <a:lnTo>
                    <a:pt x="4" y="175"/>
                  </a:lnTo>
                  <a:lnTo>
                    <a:pt x="3" y="175"/>
                  </a:lnTo>
                  <a:lnTo>
                    <a:pt x="3" y="174"/>
                  </a:lnTo>
                  <a:lnTo>
                    <a:pt x="3" y="172"/>
                  </a:lnTo>
                  <a:lnTo>
                    <a:pt x="3" y="171"/>
                  </a:lnTo>
                  <a:lnTo>
                    <a:pt x="4" y="171"/>
                  </a:lnTo>
                  <a:lnTo>
                    <a:pt x="4" y="170"/>
                  </a:lnTo>
                  <a:lnTo>
                    <a:pt x="6" y="169"/>
                  </a:lnTo>
                  <a:lnTo>
                    <a:pt x="7" y="168"/>
                  </a:lnTo>
                  <a:lnTo>
                    <a:pt x="7" y="167"/>
                  </a:lnTo>
                  <a:lnTo>
                    <a:pt x="8" y="164"/>
                  </a:lnTo>
                  <a:lnTo>
                    <a:pt x="7" y="164"/>
                  </a:lnTo>
                  <a:lnTo>
                    <a:pt x="7" y="161"/>
                  </a:lnTo>
                  <a:lnTo>
                    <a:pt x="6" y="159"/>
                  </a:lnTo>
                  <a:lnTo>
                    <a:pt x="3" y="154"/>
                  </a:lnTo>
                  <a:lnTo>
                    <a:pt x="2" y="153"/>
                  </a:lnTo>
                  <a:lnTo>
                    <a:pt x="1" y="152"/>
                  </a:lnTo>
                  <a:lnTo>
                    <a:pt x="1" y="151"/>
                  </a:lnTo>
                  <a:lnTo>
                    <a:pt x="0" y="149"/>
                  </a:lnTo>
                  <a:lnTo>
                    <a:pt x="0" y="147"/>
                  </a:lnTo>
                  <a:lnTo>
                    <a:pt x="0" y="146"/>
                  </a:lnTo>
                  <a:lnTo>
                    <a:pt x="1" y="146"/>
                  </a:lnTo>
                  <a:lnTo>
                    <a:pt x="3" y="145"/>
                  </a:lnTo>
                  <a:lnTo>
                    <a:pt x="13" y="143"/>
                  </a:lnTo>
                  <a:lnTo>
                    <a:pt x="18" y="141"/>
                  </a:lnTo>
                  <a:lnTo>
                    <a:pt x="27" y="139"/>
                  </a:lnTo>
                  <a:lnTo>
                    <a:pt x="29" y="138"/>
                  </a:lnTo>
                  <a:lnTo>
                    <a:pt x="30" y="137"/>
                  </a:lnTo>
                  <a:lnTo>
                    <a:pt x="32" y="136"/>
                  </a:lnTo>
                  <a:lnTo>
                    <a:pt x="36" y="132"/>
                  </a:lnTo>
                  <a:lnTo>
                    <a:pt x="38" y="131"/>
                  </a:lnTo>
                  <a:lnTo>
                    <a:pt x="40" y="130"/>
                  </a:lnTo>
                  <a:lnTo>
                    <a:pt x="46" y="128"/>
                  </a:lnTo>
                  <a:lnTo>
                    <a:pt x="48" y="127"/>
                  </a:lnTo>
                  <a:lnTo>
                    <a:pt x="54" y="122"/>
                  </a:lnTo>
                  <a:lnTo>
                    <a:pt x="61" y="119"/>
                  </a:lnTo>
                  <a:lnTo>
                    <a:pt x="65" y="115"/>
                  </a:lnTo>
                  <a:lnTo>
                    <a:pt x="70" y="112"/>
                  </a:lnTo>
                  <a:lnTo>
                    <a:pt x="74" y="108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90" y="96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100" y="86"/>
                  </a:lnTo>
                  <a:lnTo>
                    <a:pt x="102" y="85"/>
                  </a:lnTo>
                  <a:lnTo>
                    <a:pt x="104" y="85"/>
                  </a:lnTo>
                  <a:lnTo>
                    <a:pt x="106" y="84"/>
                  </a:lnTo>
                  <a:lnTo>
                    <a:pt x="108" y="83"/>
                  </a:lnTo>
                  <a:lnTo>
                    <a:pt x="109" y="83"/>
                  </a:lnTo>
                  <a:lnTo>
                    <a:pt x="111" y="84"/>
                  </a:lnTo>
                  <a:lnTo>
                    <a:pt x="118" y="85"/>
                  </a:lnTo>
                  <a:lnTo>
                    <a:pt x="123" y="86"/>
                  </a:lnTo>
                  <a:lnTo>
                    <a:pt x="126" y="86"/>
                  </a:lnTo>
                  <a:lnTo>
                    <a:pt x="133" y="87"/>
                  </a:lnTo>
                  <a:lnTo>
                    <a:pt x="143" y="88"/>
                  </a:lnTo>
                  <a:lnTo>
                    <a:pt x="145" y="88"/>
                  </a:lnTo>
                  <a:lnTo>
                    <a:pt x="148" y="89"/>
                  </a:lnTo>
                  <a:lnTo>
                    <a:pt x="154" y="91"/>
                  </a:lnTo>
                  <a:lnTo>
                    <a:pt x="155" y="92"/>
                  </a:lnTo>
                  <a:lnTo>
                    <a:pt x="157" y="93"/>
                  </a:lnTo>
                  <a:lnTo>
                    <a:pt x="159" y="94"/>
                  </a:lnTo>
                  <a:lnTo>
                    <a:pt x="163" y="96"/>
                  </a:lnTo>
                  <a:lnTo>
                    <a:pt x="166" y="98"/>
                  </a:lnTo>
                  <a:lnTo>
                    <a:pt x="171" y="103"/>
                  </a:lnTo>
                  <a:lnTo>
                    <a:pt x="172" y="104"/>
                  </a:lnTo>
                  <a:lnTo>
                    <a:pt x="176" y="106"/>
                  </a:lnTo>
                  <a:lnTo>
                    <a:pt x="183" y="111"/>
                  </a:lnTo>
                  <a:lnTo>
                    <a:pt x="187" y="114"/>
                  </a:lnTo>
                  <a:lnTo>
                    <a:pt x="189" y="116"/>
                  </a:lnTo>
                  <a:lnTo>
                    <a:pt x="192" y="117"/>
                  </a:lnTo>
                  <a:lnTo>
                    <a:pt x="194" y="118"/>
                  </a:lnTo>
                  <a:lnTo>
                    <a:pt x="197" y="119"/>
                  </a:lnTo>
                  <a:lnTo>
                    <a:pt x="199" y="119"/>
                  </a:lnTo>
                  <a:lnTo>
                    <a:pt x="200" y="119"/>
                  </a:lnTo>
                  <a:lnTo>
                    <a:pt x="202" y="119"/>
                  </a:lnTo>
                  <a:lnTo>
                    <a:pt x="203" y="119"/>
                  </a:lnTo>
                  <a:lnTo>
                    <a:pt x="205" y="118"/>
                  </a:lnTo>
                  <a:lnTo>
                    <a:pt x="206" y="118"/>
                  </a:lnTo>
                  <a:lnTo>
                    <a:pt x="207" y="116"/>
                  </a:lnTo>
                  <a:lnTo>
                    <a:pt x="208" y="115"/>
                  </a:lnTo>
                  <a:lnTo>
                    <a:pt x="209" y="113"/>
                  </a:lnTo>
                  <a:lnTo>
                    <a:pt x="210" y="111"/>
                  </a:lnTo>
                  <a:lnTo>
                    <a:pt x="211" y="108"/>
                  </a:lnTo>
                  <a:lnTo>
                    <a:pt x="214" y="93"/>
                  </a:lnTo>
                  <a:lnTo>
                    <a:pt x="215" y="89"/>
                  </a:lnTo>
                  <a:lnTo>
                    <a:pt x="215" y="85"/>
                  </a:lnTo>
                  <a:lnTo>
                    <a:pt x="215" y="79"/>
                  </a:lnTo>
                  <a:lnTo>
                    <a:pt x="214" y="73"/>
                  </a:lnTo>
                  <a:lnTo>
                    <a:pt x="214" y="72"/>
                  </a:lnTo>
                  <a:lnTo>
                    <a:pt x="215" y="70"/>
                  </a:lnTo>
                  <a:lnTo>
                    <a:pt x="215" y="68"/>
                  </a:lnTo>
                  <a:lnTo>
                    <a:pt x="216" y="67"/>
                  </a:lnTo>
                  <a:lnTo>
                    <a:pt x="217" y="66"/>
                  </a:lnTo>
                  <a:lnTo>
                    <a:pt x="218" y="65"/>
                  </a:lnTo>
                  <a:lnTo>
                    <a:pt x="219" y="65"/>
                  </a:lnTo>
                  <a:lnTo>
                    <a:pt x="222" y="63"/>
                  </a:lnTo>
                  <a:lnTo>
                    <a:pt x="226" y="62"/>
                  </a:lnTo>
                  <a:lnTo>
                    <a:pt x="228" y="62"/>
                  </a:lnTo>
                  <a:lnTo>
                    <a:pt x="233" y="61"/>
                  </a:lnTo>
                  <a:lnTo>
                    <a:pt x="240" y="58"/>
                  </a:lnTo>
                  <a:lnTo>
                    <a:pt x="243" y="56"/>
                  </a:lnTo>
                  <a:lnTo>
                    <a:pt x="245" y="55"/>
                  </a:lnTo>
                  <a:lnTo>
                    <a:pt x="248" y="52"/>
                  </a:lnTo>
                  <a:lnTo>
                    <a:pt x="251" y="51"/>
                  </a:lnTo>
                  <a:lnTo>
                    <a:pt x="253" y="50"/>
                  </a:lnTo>
                  <a:lnTo>
                    <a:pt x="255" y="49"/>
                  </a:lnTo>
                  <a:lnTo>
                    <a:pt x="256" y="47"/>
                  </a:lnTo>
                  <a:lnTo>
                    <a:pt x="256" y="45"/>
                  </a:lnTo>
                  <a:lnTo>
                    <a:pt x="257" y="44"/>
                  </a:lnTo>
                  <a:lnTo>
                    <a:pt x="258" y="42"/>
                  </a:lnTo>
                  <a:lnTo>
                    <a:pt x="258" y="40"/>
                  </a:lnTo>
                  <a:lnTo>
                    <a:pt x="258" y="39"/>
                  </a:lnTo>
                  <a:lnTo>
                    <a:pt x="258" y="39"/>
                  </a:lnTo>
                  <a:lnTo>
                    <a:pt x="258" y="36"/>
                  </a:lnTo>
                  <a:lnTo>
                    <a:pt x="257" y="35"/>
                  </a:lnTo>
                  <a:lnTo>
                    <a:pt x="256" y="33"/>
                  </a:lnTo>
                  <a:lnTo>
                    <a:pt x="254" y="30"/>
                  </a:lnTo>
                  <a:lnTo>
                    <a:pt x="254" y="28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4"/>
                  </a:lnTo>
                  <a:lnTo>
                    <a:pt x="253" y="22"/>
                  </a:lnTo>
                  <a:lnTo>
                    <a:pt x="253" y="20"/>
                  </a:lnTo>
                  <a:lnTo>
                    <a:pt x="254" y="17"/>
                  </a:lnTo>
                  <a:lnTo>
                    <a:pt x="256" y="14"/>
                  </a:lnTo>
                  <a:lnTo>
                    <a:pt x="257" y="10"/>
                  </a:lnTo>
                  <a:lnTo>
                    <a:pt x="258" y="8"/>
                  </a:lnTo>
                  <a:lnTo>
                    <a:pt x="259" y="7"/>
                  </a:lnTo>
                  <a:lnTo>
                    <a:pt x="260" y="6"/>
                  </a:lnTo>
                  <a:lnTo>
                    <a:pt x="262" y="5"/>
                  </a:lnTo>
                  <a:lnTo>
                    <a:pt x="264" y="5"/>
                  </a:lnTo>
                  <a:lnTo>
                    <a:pt x="267" y="4"/>
                  </a:lnTo>
                  <a:lnTo>
                    <a:pt x="268" y="3"/>
                  </a:lnTo>
                  <a:lnTo>
                    <a:pt x="268" y="3"/>
                  </a:lnTo>
                  <a:lnTo>
                    <a:pt x="269" y="3"/>
                  </a:lnTo>
                  <a:lnTo>
                    <a:pt x="270" y="3"/>
                  </a:lnTo>
                  <a:lnTo>
                    <a:pt x="271" y="3"/>
                  </a:lnTo>
                  <a:lnTo>
                    <a:pt x="275" y="3"/>
                  </a:lnTo>
                  <a:lnTo>
                    <a:pt x="280" y="2"/>
                  </a:lnTo>
                  <a:lnTo>
                    <a:pt x="281" y="2"/>
                  </a:lnTo>
                  <a:lnTo>
                    <a:pt x="281" y="1"/>
                  </a:lnTo>
                  <a:lnTo>
                    <a:pt x="282" y="0"/>
                  </a:lnTo>
                  <a:lnTo>
                    <a:pt x="283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7" name="Freeform 30">
              <a:extLst>
                <a:ext uri="{FF2B5EF4-FFF2-40B4-BE49-F238E27FC236}">
                  <a16:creationId xmlns:a16="http://schemas.microsoft.com/office/drawing/2014/main" id="{D330CA58-8D24-4F82-87D6-17361A0C8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" y="2257"/>
              <a:ext cx="254" cy="384"/>
            </a:xfrm>
            <a:custGeom>
              <a:avLst/>
              <a:gdLst>
                <a:gd name="T0" fmla="*/ 194 w 254"/>
                <a:gd name="T1" fmla="*/ 7 h 384"/>
                <a:gd name="T2" fmla="*/ 194 w 254"/>
                <a:gd name="T3" fmla="*/ 26 h 384"/>
                <a:gd name="T4" fmla="*/ 193 w 254"/>
                <a:gd name="T5" fmla="*/ 32 h 384"/>
                <a:gd name="T6" fmla="*/ 205 w 254"/>
                <a:gd name="T7" fmla="*/ 31 h 384"/>
                <a:gd name="T8" fmla="*/ 238 w 254"/>
                <a:gd name="T9" fmla="*/ 47 h 384"/>
                <a:gd name="T10" fmla="*/ 247 w 254"/>
                <a:gd name="T11" fmla="*/ 51 h 384"/>
                <a:gd name="T12" fmla="*/ 253 w 254"/>
                <a:gd name="T13" fmla="*/ 98 h 384"/>
                <a:gd name="T14" fmla="*/ 252 w 254"/>
                <a:gd name="T15" fmla="*/ 116 h 384"/>
                <a:gd name="T16" fmla="*/ 241 w 254"/>
                <a:gd name="T17" fmla="*/ 127 h 384"/>
                <a:gd name="T18" fmla="*/ 233 w 254"/>
                <a:gd name="T19" fmla="*/ 161 h 384"/>
                <a:gd name="T20" fmla="*/ 233 w 254"/>
                <a:gd name="T21" fmla="*/ 185 h 384"/>
                <a:gd name="T22" fmla="*/ 226 w 254"/>
                <a:gd name="T23" fmla="*/ 209 h 384"/>
                <a:gd name="T24" fmla="*/ 223 w 254"/>
                <a:gd name="T25" fmla="*/ 238 h 384"/>
                <a:gd name="T26" fmla="*/ 236 w 254"/>
                <a:gd name="T27" fmla="*/ 247 h 384"/>
                <a:gd name="T28" fmla="*/ 230 w 254"/>
                <a:gd name="T29" fmla="*/ 261 h 384"/>
                <a:gd name="T30" fmla="*/ 208 w 254"/>
                <a:gd name="T31" fmla="*/ 283 h 384"/>
                <a:gd name="T32" fmla="*/ 199 w 254"/>
                <a:gd name="T33" fmla="*/ 289 h 384"/>
                <a:gd name="T34" fmla="*/ 181 w 254"/>
                <a:gd name="T35" fmla="*/ 281 h 384"/>
                <a:gd name="T36" fmla="*/ 158 w 254"/>
                <a:gd name="T37" fmla="*/ 292 h 384"/>
                <a:gd name="T38" fmla="*/ 135 w 254"/>
                <a:gd name="T39" fmla="*/ 319 h 384"/>
                <a:gd name="T40" fmla="*/ 133 w 254"/>
                <a:gd name="T41" fmla="*/ 332 h 384"/>
                <a:gd name="T42" fmla="*/ 141 w 254"/>
                <a:gd name="T43" fmla="*/ 338 h 384"/>
                <a:gd name="T44" fmla="*/ 161 w 254"/>
                <a:gd name="T45" fmla="*/ 338 h 384"/>
                <a:gd name="T46" fmla="*/ 165 w 254"/>
                <a:gd name="T47" fmla="*/ 343 h 384"/>
                <a:gd name="T48" fmla="*/ 147 w 254"/>
                <a:gd name="T49" fmla="*/ 353 h 384"/>
                <a:gd name="T50" fmla="*/ 147 w 254"/>
                <a:gd name="T51" fmla="*/ 361 h 384"/>
                <a:gd name="T52" fmla="*/ 157 w 254"/>
                <a:gd name="T53" fmla="*/ 374 h 384"/>
                <a:gd name="T54" fmla="*/ 154 w 254"/>
                <a:gd name="T55" fmla="*/ 381 h 384"/>
                <a:gd name="T56" fmla="*/ 133 w 254"/>
                <a:gd name="T57" fmla="*/ 380 h 384"/>
                <a:gd name="T58" fmla="*/ 110 w 254"/>
                <a:gd name="T59" fmla="*/ 374 h 384"/>
                <a:gd name="T60" fmla="*/ 104 w 254"/>
                <a:gd name="T61" fmla="*/ 382 h 384"/>
                <a:gd name="T62" fmla="*/ 97 w 254"/>
                <a:gd name="T63" fmla="*/ 383 h 384"/>
                <a:gd name="T64" fmla="*/ 65 w 254"/>
                <a:gd name="T65" fmla="*/ 372 h 384"/>
                <a:gd name="T66" fmla="*/ 61 w 254"/>
                <a:gd name="T67" fmla="*/ 365 h 384"/>
                <a:gd name="T68" fmla="*/ 66 w 254"/>
                <a:gd name="T69" fmla="*/ 344 h 384"/>
                <a:gd name="T70" fmla="*/ 63 w 254"/>
                <a:gd name="T71" fmla="*/ 328 h 384"/>
                <a:gd name="T72" fmla="*/ 56 w 254"/>
                <a:gd name="T73" fmla="*/ 327 h 384"/>
                <a:gd name="T74" fmla="*/ 39 w 254"/>
                <a:gd name="T75" fmla="*/ 319 h 384"/>
                <a:gd name="T76" fmla="*/ 29 w 254"/>
                <a:gd name="T77" fmla="*/ 308 h 384"/>
                <a:gd name="T78" fmla="*/ 34 w 254"/>
                <a:gd name="T79" fmla="*/ 297 h 384"/>
                <a:gd name="T80" fmla="*/ 17 w 254"/>
                <a:gd name="T81" fmla="*/ 280 h 384"/>
                <a:gd name="T82" fmla="*/ 2 w 254"/>
                <a:gd name="T83" fmla="*/ 265 h 384"/>
                <a:gd name="T84" fmla="*/ 6 w 254"/>
                <a:gd name="T85" fmla="*/ 251 h 384"/>
                <a:gd name="T86" fmla="*/ 24 w 254"/>
                <a:gd name="T87" fmla="*/ 229 h 384"/>
                <a:gd name="T88" fmla="*/ 17 w 254"/>
                <a:gd name="T89" fmla="*/ 214 h 384"/>
                <a:gd name="T90" fmla="*/ 5 w 254"/>
                <a:gd name="T91" fmla="*/ 193 h 384"/>
                <a:gd name="T92" fmla="*/ 0 w 254"/>
                <a:gd name="T93" fmla="*/ 181 h 384"/>
                <a:gd name="T94" fmla="*/ 13 w 254"/>
                <a:gd name="T95" fmla="*/ 177 h 384"/>
                <a:gd name="T96" fmla="*/ 18 w 254"/>
                <a:gd name="T97" fmla="*/ 163 h 384"/>
                <a:gd name="T98" fmla="*/ 20 w 254"/>
                <a:gd name="T99" fmla="*/ 122 h 384"/>
                <a:gd name="T100" fmla="*/ 24 w 254"/>
                <a:gd name="T101" fmla="*/ 89 h 384"/>
                <a:gd name="T102" fmla="*/ 34 w 254"/>
                <a:gd name="T103" fmla="*/ 71 h 384"/>
                <a:gd name="T104" fmla="*/ 34 w 254"/>
                <a:gd name="T105" fmla="*/ 60 h 384"/>
                <a:gd name="T106" fmla="*/ 48 w 254"/>
                <a:gd name="T107" fmla="*/ 51 h 384"/>
                <a:gd name="T108" fmla="*/ 67 w 254"/>
                <a:gd name="T109" fmla="*/ 51 h 384"/>
                <a:gd name="T110" fmla="*/ 78 w 254"/>
                <a:gd name="T111" fmla="*/ 49 h 384"/>
                <a:gd name="T112" fmla="*/ 78 w 254"/>
                <a:gd name="T113" fmla="*/ 37 h 384"/>
                <a:gd name="T114" fmla="*/ 83 w 254"/>
                <a:gd name="T115" fmla="*/ 28 h 384"/>
                <a:gd name="T116" fmla="*/ 101 w 254"/>
                <a:gd name="T117" fmla="*/ 33 h 384"/>
                <a:gd name="T118" fmla="*/ 114 w 254"/>
                <a:gd name="T119" fmla="*/ 33 h 384"/>
                <a:gd name="T120" fmla="*/ 136 w 254"/>
                <a:gd name="T121" fmla="*/ 15 h 384"/>
                <a:gd name="T122" fmla="*/ 154 w 254"/>
                <a:gd name="T123" fmla="*/ 7 h 384"/>
                <a:gd name="T124" fmla="*/ 165 w 254"/>
                <a:gd name="T125" fmla="*/ 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384">
                  <a:moveTo>
                    <a:pt x="176" y="0"/>
                  </a:moveTo>
                  <a:lnTo>
                    <a:pt x="177" y="0"/>
                  </a:lnTo>
                  <a:lnTo>
                    <a:pt x="188" y="3"/>
                  </a:lnTo>
                  <a:lnTo>
                    <a:pt x="190" y="4"/>
                  </a:lnTo>
                  <a:lnTo>
                    <a:pt x="191" y="5"/>
                  </a:lnTo>
                  <a:lnTo>
                    <a:pt x="193" y="6"/>
                  </a:lnTo>
                  <a:lnTo>
                    <a:pt x="194" y="7"/>
                  </a:lnTo>
                  <a:lnTo>
                    <a:pt x="195" y="8"/>
                  </a:lnTo>
                  <a:lnTo>
                    <a:pt x="195" y="9"/>
                  </a:lnTo>
                  <a:lnTo>
                    <a:pt x="196" y="11"/>
                  </a:lnTo>
                  <a:lnTo>
                    <a:pt x="196" y="13"/>
                  </a:lnTo>
                  <a:lnTo>
                    <a:pt x="196" y="16"/>
                  </a:lnTo>
                  <a:lnTo>
                    <a:pt x="195" y="21"/>
                  </a:lnTo>
                  <a:lnTo>
                    <a:pt x="194" y="26"/>
                  </a:lnTo>
                  <a:lnTo>
                    <a:pt x="194" y="27"/>
                  </a:lnTo>
                  <a:lnTo>
                    <a:pt x="193" y="28"/>
                  </a:lnTo>
                  <a:lnTo>
                    <a:pt x="192" y="30"/>
                  </a:lnTo>
                  <a:lnTo>
                    <a:pt x="192" y="30"/>
                  </a:lnTo>
                  <a:lnTo>
                    <a:pt x="192" y="31"/>
                  </a:lnTo>
                  <a:lnTo>
                    <a:pt x="192" y="31"/>
                  </a:lnTo>
                  <a:lnTo>
                    <a:pt x="193" y="32"/>
                  </a:lnTo>
                  <a:lnTo>
                    <a:pt x="194" y="32"/>
                  </a:lnTo>
                  <a:lnTo>
                    <a:pt x="195" y="32"/>
                  </a:lnTo>
                  <a:lnTo>
                    <a:pt x="196" y="32"/>
                  </a:lnTo>
                  <a:lnTo>
                    <a:pt x="198" y="32"/>
                  </a:lnTo>
                  <a:lnTo>
                    <a:pt x="201" y="31"/>
                  </a:lnTo>
                  <a:lnTo>
                    <a:pt x="203" y="31"/>
                  </a:lnTo>
                  <a:lnTo>
                    <a:pt x="205" y="31"/>
                  </a:lnTo>
                  <a:lnTo>
                    <a:pt x="210" y="32"/>
                  </a:lnTo>
                  <a:lnTo>
                    <a:pt x="218" y="33"/>
                  </a:lnTo>
                  <a:lnTo>
                    <a:pt x="221" y="34"/>
                  </a:lnTo>
                  <a:lnTo>
                    <a:pt x="222" y="35"/>
                  </a:lnTo>
                  <a:lnTo>
                    <a:pt x="225" y="37"/>
                  </a:lnTo>
                  <a:lnTo>
                    <a:pt x="232" y="43"/>
                  </a:lnTo>
                  <a:lnTo>
                    <a:pt x="238" y="47"/>
                  </a:lnTo>
                  <a:lnTo>
                    <a:pt x="240" y="49"/>
                  </a:lnTo>
                  <a:lnTo>
                    <a:pt x="241" y="49"/>
                  </a:lnTo>
                  <a:lnTo>
                    <a:pt x="243" y="49"/>
                  </a:lnTo>
                  <a:lnTo>
                    <a:pt x="244" y="49"/>
                  </a:lnTo>
                  <a:lnTo>
                    <a:pt x="245" y="50"/>
                  </a:lnTo>
                  <a:lnTo>
                    <a:pt x="246" y="50"/>
                  </a:lnTo>
                  <a:lnTo>
                    <a:pt x="247" y="51"/>
                  </a:lnTo>
                  <a:lnTo>
                    <a:pt x="247" y="53"/>
                  </a:lnTo>
                  <a:lnTo>
                    <a:pt x="248" y="54"/>
                  </a:lnTo>
                  <a:lnTo>
                    <a:pt x="249" y="61"/>
                  </a:lnTo>
                  <a:lnTo>
                    <a:pt x="250" y="71"/>
                  </a:lnTo>
                  <a:lnTo>
                    <a:pt x="252" y="81"/>
                  </a:lnTo>
                  <a:lnTo>
                    <a:pt x="253" y="93"/>
                  </a:lnTo>
                  <a:lnTo>
                    <a:pt x="253" y="98"/>
                  </a:lnTo>
                  <a:lnTo>
                    <a:pt x="254" y="103"/>
                  </a:lnTo>
                  <a:lnTo>
                    <a:pt x="254" y="107"/>
                  </a:lnTo>
                  <a:lnTo>
                    <a:pt x="254" y="110"/>
                  </a:lnTo>
                  <a:lnTo>
                    <a:pt x="253" y="112"/>
                  </a:lnTo>
                  <a:lnTo>
                    <a:pt x="253" y="113"/>
                  </a:lnTo>
                  <a:lnTo>
                    <a:pt x="252" y="115"/>
                  </a:lnTo>
                  <a:lnTo>
                    <a:pt x="252" y="116"/>
                  </a:lnTo>
                  <a:lnTo>
                    <a:pt x="251" y="117"/>
                  </a:lnTo>
                  <a:lnTo>
                    <a:pt x="250" y="118"/>
                  </a:lnTo>
                  <a:lnTo>
                    <a:pt x="245" y="122"/>
                  </a:lnTo>
                  <a:lnTo>
                    <a:pt x="245" y="123"/>
                  </a:lnTo>
                  <a:lnTo>
                    <a:pt x="243" y="124"/>
                  </a:lnTo>
                  <a:lnTo>
                    <a:pt x="242" y="126"/>
                  </a:lnTo>
                  <a:lnTo>
                    <a:pt x="241" y="127"/>
                  </a:lnTo>
                  <a:lnTo>
                    <a:pt x="240" y="131"/>
                  </a:lnTo>
                  <a:lnTo>
                    <a:pt x="238" y="136"/>
                  </a:lnTo>
                  <a:lnTo>
                    <a:pt x="235" y="144"/>
                  </a:lnTo>
                  <a:lnTo>
                    <a:pt x="234" y="146"/>
                  </a:lnTo>
                  <a:lnTo>
                    <a:pt x="234" y="148"/>
                  </a:lnTo>
                  <a:lnTo>
                    <a:pt x="234" y="150"/>
                  </a:lnTo>
                  <a:lnTo>
                    <a:pt x="233" y="161"/>
                  </a:lnTo>
                  <a:lnTo>
                    <a:pt x="233" y="164"/>
                  </a:lnTo>
                  <a:lnTo>
                    <a:pt x="233" y="168"/>
                  </a:lnTo>
                  <a:lnTo>
                    <a:pt x="234" y="175"/>
                  </a:lnTo>
                  <a:lnTo>
                    <a:pt x="234" y="177"/>
                  </a:lnTo>
                  <a:lnTo>
                    <a:pt x="234" y="180"/>
                  </a:lnTo>
                  <a:lnTo>
                    <a:pt x="234" y="183"/>
                  </a:lnTo>
                  <a:lnTo>
                    <a:pt x="233" y="185"/>
                  </a:lnTo>
                  <a:lnTo>
                    <a:pt x="232" y="189"/>
                  </a:lnTo>
                  <a:lnTo>
                    <a:pt x="231" y="193"/>
                  </a:lnTo>
                  <a:lnTo>
                    <a:pt x="228" y="200"/>
                  </a:lnTo>
                  <a:lnTo>
                    <a:pt x="227" y="201"/>
                  </a:lnTo>
                  <a:lnTo>
                    <a:pt x="227" y="203"/>
                  </a:lnTo>
                  <a:lnTo>
                    <a:pt x="227" y="206"/>
                  </a:lnTo>
                  <a:lnTo>
                    <a:pt x="226" y="209"/>
                  </a:lnTo>
                  <a:lnTo>
                    <a:pt x="226" y="217"/>
                  </a:lnTo>
                  <a:lnTo>
                    <a:pt x="226" y="222"/>
                  </a:lnTo>
                  <a:lnTo>
                    <a:pt x="226" y="225"/>
                  </a:lnTo>
                  <a:lnTo>
                    <a:pt x="225" y="227"/>
                  </a:lnTo>
                  <a:lnTo>
                    <a:pt x="223" y="236"/>
                  </a:lnTo>
                  <a:lnTo>
                    <a:pt x="223" y="236"/>
                  </a:lnTo>
                  <a:lnTo>
                    <a:pt x="223" y="238"/>
                  </a:lnTo>
                  <a:lnTo>
                    <a:pt x="223" y="239"/>
                  </a:lnTo>
                  <a:lnTo>
                    <a:pt x="224" y="242"/>
                  </a:lnTo>
                  <a:lnTo>
                    <a:pt x="225" y="243"/>
                  </a:lnTo>
                  <a:lnTo>
                    <a:pt x="226" y="244"/>
                  </a:lnTo>
                  <a:lnTo>
                    <a:pt x="227" y="244"/>
                  </a:lnTo>
                  <a:lnTo>
                    <a:pt x="229" y="245"/>
                  </a:lnTo>
                  <a:lnTo>
                    <a:pt x="236" y="247"/>
                  </a:lnTo>
                  <a:lnTo>
                    <a:pt x="240" y="249"/>
                  </a:lnTo>
                  <a:lnTo>
                    <a:pt x="242" y="250"/>
                  </a:lnTo>
                  <a:lnTo>
                    <a:pt x="243" y="251"/>
                  </a:lnTo>
                  <a:lnTo>
                    <a:pt x="243" y="252"/>
                  </a:lnTo>
                  <a:lnTo>
                    <a:pt x="242" y="252"/>
                  </a:lnTo>
                  <a:lnTo>
                    <a:pt x="240" y="254"/>
                  </a:lnTo>
                  <a:lnTo>
                    <a:pt x="230" y="261"/>
                  </a:lnTo>
                  <a:lnTo>
                    <a:pt x="224" y="265"/>
                  </a:lnTo>
                  <a:lnTo>
                    <a:pt x="222" y="268"/>
                  </a:lnTo>
                  <a:lnTo>
                    <a:pt x="219" y="270"/>
                  </a:lnTo>
                  <a:lnTo>
                    <a:pt x="216" y="272"/>
                  </a:lnTo>
                  <a:lnTo>
                    <a:pt x="212" y="276"/>
                  </a:lnTo>
                  <a:lnTo>
                    <a:pt x="211" y="279"/>
                  </a:lnTo>
                  <a:lnTo>
                    <a:pt x="208" y="283"/>
                  </a:lnTo>
                  <a:lnTo>
                    <a:pt x="206" y="285"/>
                  </a:lnTo>
                  <a:lnTo>
                    <a:pt x="204" y="287"/>
                  </a:lnTo>
                  <a:lnTo>
                    <a:pt x="203" y="288"/>
                  </a:lnTo>
                  <a:lnTo>
                    <a:pt x="202" y="289"/>
                  </a:lnTo>
                  <a:lnTo>
                    <a:pt x="200" y="289"/>
                  </a:lnTo>
                  <a:lnTo>
                    <a:pt x="200" y="289"/>
                  </a:lnTo>
                  <a:lnTo>
                    <a:pt x="199" y="289"/>
                  </a:lnTo>
                  <a:lnTo>
                    <a:pt x="197" y="289"/>
                  </a:lnTo>
                  <a:lnTo>
                    <a:pt x="195" y="288"/>
                  </a:lnTo>
                  <a:lnTo>
                    <a:pt x="193" y="287"/>
                  </a:lnTo>
                  <a:lnTo>
                    <a:pt x="186" y="282"/>
                  </a:lnTo>
                  <a:lnTo>
                    <a:pt x="184" y="281"/>
                  </a:lnTo>
                  <a:lnTo>
                    <a:pt x="183" y="281"/>
                  </a:lnTo>
                  <a:lnTo>
                    <a:pt x="181" y="281"/>
                  </a:lnTo>
                  <a:lnTo>
                    <a:pt x="179" y="281"/>
                  </a:lnTo>
                  <a:lnTo>
                    <a:pt x="177" y="281"/>
                  </a:lnTo>
                  <a:lnTo>
                    <a:pt x="174" y="282"/>
                  </a:lnTo>
                  <a:lnTo>
                    <a:pt x="170" y="284"/>
                  </a:lnTo>
                  <a:lnTo>
                    <a:pt x="166" y="286"/>
                  </a:lnTo>
                  <a:lnTo>
                    <a:pt x="161" y="289"/>
                  </a:lnTo>
                  <a:lnTo>
                    <a:pt x="158" y="292"/>
                  </a:lnTo>
                  <a:lnTo>
                    <a:pt x="154" y="293"/>
                  </a:lnTo>
                  <a:lnTo>
                    <a:pt x="152" y="296"/>
                  </a:lnTo>
                  <a:lnTo>
                    <a:pt x="149" y="300"/>
                  </a:lnTo>
                  <a:lnTo>
                    <a:pt x="144" y="305"/>
                  </a:lnTo>
                  <a:lnTo>
                    <a:pt x="139" y="313"/>
                  </a:lnTo>
                  <a:lnTo>
                    <a:pt x="136" y="316"/>
                  </a:lnTo>
                  <a:lnTo>
                    <a:pt x="135" y="319"/>
                  </a:lnTo>
                  <a:lnTo>
                    <a:pt x="134" y="321"/>
                  </a:lnTo>
                  <a:lnTo>
                    <a:pt x="133" y="323"/>
                  </a:lnTo>
                  <a:lnTo>
                    <a:pt x="133" y="325"/>
                  </a:lnTo>
                  <a:lnTo>
                    <a:pt x="133" y="326"/>
                  </a:lnTo>
                  <a:lnTo>
                    <a:pt x="133" y="328"/>
                  </a:lnTo>
                  <a:lnTo>
                    <a:pt x="133" y="330"/>
                  </a:lnTo>
                  <a:lnTo>
                    <a:pt x="133" y="332"/>
                  </a:lnTo>
                  <a:lnTo>
                    <a:pt x="133" y="334"/>
                  </a:lnTo>
                  <a:lnTo>
                    <a:pt x="134" y="335"/>
                  </a:lnTo>
                  <a:lnTo>
                    <a:pt x="135" y="337"/>
                  </a:lnTo>
                  <a:lnTo>
                    <a:pt x="136" y="338"/>
                  </a:lnTo>
                  <a:lnTo>
                    <a:pt x="138" y="338"/>
                  </a:lnTo>
                  <a:lnTo>
                    <a:pt x="139" y="338"/>
                  </a:lnTo>
                  <a:lnTo>
                    <a:pt x="141" y="338"/>
                  </a:lnTo>
                  <a:lnTo>
                    <a:pt x="146" y="337"/>
                  </a:lnTo>
                  <a:lnTo>
                    <a:pt x="152" y="336"/>
                  </a:lnTo>
                  <a:lnTo>
                    <a:pt x="153" y="336"/>
                  </a:lnTo>
                  <a:lnTo>
                    <a:pt x="154" y="337"/>
                  </a:lnTo>
                  <a:lnTo>
                    <a:pt x="159" y="338"/>
                  </a:lnTo>
                  <a:lnTo>
                    <a:pt x="160" y="338"/>
                  </a:lnTo>
                  <a:lnTo>
                    <a:pt x="161" y="338"/>
                  </a:lnTo>
                  <a:lnTo>
                    <a:pt x="163" y="338"/>
                  </a:lnTo>
                  <a:lnTo>
                    <a:pt x="164" y="339"/>
                  </a:lnTo>
                  <a:lnTo>
                    <a:pt x="165" y="340"/>
                  </a:lnTo>
                  <a:lnTo>
                    <a:pt x="165" y="341"/>
                  </a:lnTo>
                  <a:lnTo>
                    <a:pt x="165" y="342"/>
                  </a:lnTo>
                  <a:lnTo>
                    <a:pt x="165" y="343"/>
                  </a:lnTo>
                  <a:lnTo>
                    <a:pt x="165" y="343"/>
                  </a:lnTo>
                  <a:lnTo>
                    <a:pt x="164" y="344"/>
                  </a:lnTo>
                  <a:lnTo>
                    <a:pt x="164" y="345"/>
                  </a:lnTo>
                  <a:lnTo>
                    <a:pt x="163" y="346"/>
                  </a:lnTo>
                  <a:lnTo>
                    <a:pt x="160" y="347"/>
                  </a:lnTo>
                  <a:lnTo>
                    <a:pt x="156" y="349"/>
                  </a:lnTo>
                  <a:lnTo>
                    <a:pt x="148" y="352"/>
                  </a:lnTo>
                  <a:lnTo>
                    <a:pt x="147" y="353"/>
                  </a:lnTo>
                  <a:lnTo>
                    <a:pt x="147" y="354"/>
                  </a:lnTo>
                  <a:lnTo>
                    <a:pt x="146" y="354"/>
                  </a:lnTo>
                  <a:lnTo>
                    <a:pt x="146" y="355"/>
                  </a:lnTo>
                  <a:lnTo>
                    <a:pt x="146" y="357"/>
                  </a:lnTo>
                  <a:lnTo>
                    <a:pt x="146" y="359"/>
                  </a:lnTo>
                  <a:lnTo>
                    <a:pt x="146" y="360"/>
                  </a:lnTo>
                  <a:lnTo>
                    <a:pt x="147" y="361"/>
                  </a:lnTo>
                  <a:lnTo>
                    <a:pt x="148" y="362"/>
                  </a:lnTo>
                  <a:lnTo>
                    <a:pt x="149" y="363"/>
                  </a:lnTo>
                  <a:lnTo>
                    <a:pt x="153" y="368"/>
                  </a:lnTo>
                  <a:lnTo>
                    <a:pt x="154" y="369"/>
                  </a:lnTo>
                  <a:lnTo>
                    <a:pt x="155" y="371"/>
                  </a:lnTo>
                  <a:lnTo>
                    <a:pt x="156" y="372"/>
                  </a:lnTo>
                  <a:lnTo>
                    <a:pt x="157" y="374"/>
                  </a:lnTo>
                  <a:lnTo>
                    <a:pt x="157" y="376"/>
                  </a:lnTo>
                  <a:lnTo>
                    <a:pt x="157" y="377"/>
                  </a:lnTo>
                  <a:lnTo>
                    <a:pt x="156" y="378"/>
                  </a:lnTo>
                  <a:lnTo>
                    <a:pt x="156" y="379"/>
                  </a:lnTo>
                  <a:lnTo>
                    <a:pt x="155" y="379"/>
                  </a:lnTo>
                  <a:lnTo>
                    <a:pt x="154" y="380"/>
                  </a:lnTo>
                  <a:lnTo>
                    <a:pt x="154" y="381"/>
                  </a:lnTo>
                  <a:lnTo>
                    <a:pt x="153" y="381"/>
                  </a:lnTo>
                  <a:lnTo>
                    <a:pt x="150" y="382"/>
                  </a:lnTo>
                  <a:lnTo>
                    <a:pt x="146" y="382"/>
                  </a:lnTo>
                  <a:lnTo>
                    <a:pt x="143" y="382"/>
                  </a:lnTo>
                  <a:lnTo>
                    <a:pt x="140" y="382"/>
                  </a:lnTo>
                  <a:lnTo>
                    <a:pt x="135" y="381"/>
                  </a:lnTo>
                  <a:lnTo>
                    <a:pt x="133" y="380"/>
                  </a:lnTo>
                  <a:lnTo>
                    <a:pt x="132" y="380"/>
                  </a:lnTo>
                  <a:lnTo>
                    <a:pt x="123" y="376"/>
                  </a:lnTo>
                  <a:lnTo>
                    <a:pt x="119" y="375"/>
                  </a:lnTo>
                  <a:lnTo>
                    <a:pt x="114" y="374"/>
                  </a:lnTo>
                  <a:lnTo>
                    <a:pt x="112" y="374"/>
                  </a:lnTo>
                  <a:lnTo>
                    <a:pt x="111" y="374"/>
                  </a:lnTo>
                  <a:lnTo>
                    <a:pt x="110" y="374"/>
                  </a:lnTo>
                  <a:lnTo>
                    <a:pt x="109" y="374"/>
                  </a:lnTo>
                  <a:lnTo>
                    <a:pt x="109" y="375"/>
                  </a:lnTo>
                  <a:lnTo>
                    <a:pt x="109" y="375"/>
                  </a:lnTo>
                  <a:lnTo>
                    <a:pt x="108" y="376"/>
                  </a:lnTo>
                  <a:lnTo>
                    <a:pt x="107" y="378"/>
                  </a:lnTo>
                  <a:lnTo>
                    <a:pt x="105" y="380"/>
                  </a:lnTo>
                  <a:lnTo>
                    <a:pt x="104" y="382"/>
                  </a:lnTo>
                  <a:lnTo>
                    <a:pt x="103" y="383"/>
                  </a:lnTo>
                  <a:lnTo>
                    <a:pt x="102" y="383"/>
                  </a:lnTo>
                  <a:lnTo>
                    <a:pt x="101" y="384"/>
                  </a:lnTo>
                  <a:lnTo>
                    <a:pt x="100" y="384"/>
                  </a:lnTo>
                  <a:lnTo>
                    <a:pt x="99" y="384"/>
                  </a:lnTo>
                  <a:lnTo>
                    <a:pt x="98" y="384"/>
                  </a:lnTo>
                  <a:lnTo>
                    <a:pt x="97" y="383"/>
                  </a:lnTo>
                  <a:lnTo>
                    <a:pt x="94" y="381"/>
                  </a:lnTo>
                  <a:lnTo>
                    <a:pt x="91" y="380"/>
                  </a:lnTo>
                  <a:lnTo>
                    <a:pt x="89" y="379"/>
                  </a:lnTo>
                  <a:lnTo>
                    <a:pt x="83" y="378"/>
                  </a:lnTo>
                  <a:lnTo>
                    <a:pt x="75" y="374"/>
                  </a:lnTo>
                  <a:lnTo>
                    <a:pt x="67" y="372"/>
                  </a:lnTo>
                  <a:lnTo>
                    <a:pt x="65" y="372"/>
                  </a:lnTo>
                  <a:lnTo>
                    <a:pt x="63" y="371"/>
                  </a:lnTo>
                  <a:lnTo>
                    <a:pt x="62" y="370"/>
                  </a:lnTo>
                  <a:lnTo>
                    <a:pt x="62" y="369"/>
                  </a:lnTo>
                  <a:lnTo>
                    <a:pt x="61" y="368"/>
                  </a:lnTo>
                  <a:lnTo>
                    <a:pt x="61" y="367"/>
                  </a:lnTo>
                  <a:lnTo>
                    <a:pt x="61" y="366"/>
                  </a:lnTo>
                  <a:lnTo>
                    <a:pt x="61" y="365"/>
                  </a:lnTo>
                  <a:lnTo>
                    <a:pt x="61" y="363"/>
                  </a:lnTo>
                  <a:lnTo>
                    <a:pt x="61" y="362"/>
                  </a:lnTo>
                  <a:lnTo>
                    <a:pt x="62" y="360"/>
                  </a:lnTo>
                  <a:lnTo>
                    <a:pt x="63" y="356"/>
                  </a:lnTo>
                  <a:lnTo>
                    <a:pt x="64" y="353"/>
                  </a:lnTo>
                  <a:lnTo>
                    <a:pt x="66" y="347"/>
                  </a:lnTo>
                  <a:lnTo>
                    <a:pt x="66" y="344"/>
                  </a:lnTo>
                  <a:lnTo>
                    <a:pt x="67" y="340"/>
                  </a:lnTo>
                  <a:lnTo>
                    <a:pt x="67" y="338"/>
                  </a:lnTo>
                  <a:lnTo>
                    <a:pt x="67" y="336"/>
                  </a:lnTo>
                  <a:lnTo>
                    <a:pt x="66" y="334"/>
                  </a:lnTo>
                  <a:lnTo>
                    <a:pt x="65" y="331"/>
                  </a:lnTo>
                  <a:lnTo>
                    <a:pt x="64" y="329"/>
                  </a:lnTo>
                  <a:lnTo>
                    <a:pt x="63" y="328"/>
                  </a:lnTo>
                  <a:lnTo>
                    <a:pt x="62" y="327"/>
                  </a:lnTo>
                  <a:lnTo>
                    <a:pt x="61" y="327"/>
                  </a:lnTo>
                  <a:lnTo>
                    <a:pt x="60" y="327"/>
                  </a:lnTo>
                  <a:lnTo>
                    <a:pt x="59" y="327"/>
                  </a:lnTo>
                  <a:lnTo>
                    <a:pt x="58" y="327"/>
                  </a:lnTo>
                  <a:lnTo>
                    <a:pt x="57" y="327"/>
                  </a:lnTo>
                  <a:lnTo>
                    <a:pt x="56" y="327"/>
                  </a:lnTo>
                  <a:lnTo>
                    <a:pt x="56" y="328"/>
                  </a:lnTo>
                  <a:lnTo>
                    <a:pt x="55" y="328"/>
                  </a:lnTo>
                  <a:lnTo>
                    <a:pt x="54" y="327"/>
                  </a:lnTo>
                  <a:lnTo>
                    <a:pt x="50" y="325"/>
                  </a:lnTo>
                  <a:lnTo>
                    <a:pt x="48" y="324"/>
                  </a:lnTo>
                  <a:lnTo>
                    <a:pt x="45" y="322"/>
                  </a:lnTo>
                  <a:lnTo>
                    <a:pt x="39" y="319"/>
                  </a:lnTo>
                  <a:lnTo>
                    <a:pt x="36" y="318"/>
                  </a:lnTo>
                  <a:lnTo>
                    <a:pt x="34" y="316"/>
                  </a:lnTo>
                  <a:lnTo>
                    <a:pt x="32" y="315"/>
                  </a:lnTo>
                  <a:lnTo>
                    <a:pt x="30" y="313"/>
                  </a:lnTo>
                  <a:lnTo>
                    <a:pt x="29" y="311"/>
                  </a:lnTo>
                  <a:lnTo>
                    <a:pt x="29" y="309"/>
                  </a:lnTo>
                  <a:lnTo>
                    <a:pt x="29" y="308"/>
                  </a:lnTo>
                  <a:lnTo>
                    <a:pt x="29" y="307"/>
                  </a:lnTo>
                  <a:lnTo>
                    <a:pt x="29" y="305"/>
                  </a:lnTo>
                  <a:lnTo>
                    <a:pt x="29" y="304"/>
                  </a:lnTo>
                  <a:lnTo>
                    <a:pt x="30" y="303"/>
                  </a:lnTo>
                  <a:lnTo>
                    <a:pt x="32" y="300"/>
                  </a:lnTo>
                  <a:lnTo>
                    <a:pt x="33" y="298"/>
                  </a:lnTo>
                  <a:lnTo>
                    <a:pt x="34" y="297"/>
                  </a:lnTo>
                  <a:lnTo>
                    <a:pt x="34" y="296"/>
                  </a:lnTo>
                  <a:lnTo>
                    <a:pt x="33" y="295"/>
                  </a:lnTo>
                  <a:lnTo>
                    <a:pt x="33" y="294"/>
                  </a:lnTo>
                  <a:lnTo>
                    <a:pt x="32" y="293"/>
                  </a:lnTo>
                  <a:lnTo>
                    <a:pt x="26" y="288"/>
                  </a:lnTo>
                  <a:lnTo>
                    <a:pt x="22" y="285"/>
                  </a:lnTo>
                  <a:lnTo>
                    <a:pt x="17" y="280"/>
                  </a:lnTo>
                  <a:lnTo>
                    <a:pt x="11" y="275"/>
                  </a:lnTo>
                  <a:lnTo>
                    <a:pt x="6" y="272"/>
                  </a:lnTo>
                  <a:lnTo>
                    <a:pt x="4" y="270"/>
                  </a:lnTo>
                  <a:lnTo>
                    <a:pt x="3" y="270"/>
                  </a:lnTo>
                  <a:lnTo>
                    <a:pt x="2" y="268"/>
                  </a:lnTo>
                  <a:lnTo>
                    <a:pt x="2" y="266"/>
                  </a:lnTo>
                  <a:lnTo>
                    <a:pt x="2" y="265"/>
                  </a:lnTo>
                  <a:lnTo>
                    <a:pt x="2" y="263"/>
                  </a:lnTo>
                  <a:lnTo>
                    <a:pt x="2" y="261"/>
                  </a:lnTo>
                  <a:lnTo>
                    <a:pt x="2" y="259"/>
                  </a:lnTo>
                  <a:lnTo>
                    <a:pt x="3" y="258"/>
                  </a:lnTo>
                  <a:lnTo>
                    <a:pt x="4" y="256"/>
                  </a:lnTo>
                  <a:lnTo>
                    <a:pt x="5" y="254"/>
                  </a:lnTo>
                  <a:lnTo>
                    <a:pt x="6" y="251"/>
                  </a:lnTo>
                  <a:lnTo>
                    <a:pt x="8" y="248"/>
                  </a:lnTo>
                  <a:lnTo>
                    <a:pt x="14" y="244"/>
                  </a:lnTo>
                  <a:lnTo>
                    <a:pt x="19" y="238"/>
                  </a:lnTo>
                  <a:lnTo>
                    <a:pt x="21" y="236"/>
                  </a:lnTo>
                  <a:lnTo>
                    <a:pt x="22" y="234"/>
                  </a:lnTo>
                  <a:lnTo>
                    <a:pt x="24" y="232"/>
                  </a:lnTo>
                  <a:lnTo>
                    <a:pt x="24" y="229"/>
                  </a:lnTo>
                  <a:lnTo>
                    <a:pt x="25" y="227"/>
                  </a:lnTo>
                  <a:lnTo>
                    <a:pt x="24" y="225"/>
                  </a:lnTo>
                  <a:lnTo>
                    <a:pt x="24" y="224"/>
                  </a:lnTo>
                  <a:lnTo>
                    <a:pt x="23" y="222"/>
                  </a:lnTo>
                  <a:lnTo>
                    <a:pt x="22" y="220"/>
                  </a:lnTo>
                  <a:lnTo>
                    <a:pt x="19" y="218"/>
                  </a:lnTo>
                  <a:lnTo>
                    <a:pt x="17" y="214"/>
                  </a:lnTo>
                  <a:lnTo>
                    <a:pt x="11" y="209"/>
                  </a:lnTo>
                  <a:lnTo>
                    <a:pt x="10" y="208"/>
                  </a:lnTo>
                  <a:lnTo>
                    <a:pt x="9" y="206"/>
                  </a:lnTo>
                  <a:lnTo>
                    <a:pt x="6" y="202"/>
                  </a:lnTo>
                  <a:lnTo>
                    <a:pt x="6" y="199"/>
                  </a:lnTo>
                  <a:lnTo>
                    <a:pt x="6" y="197"/>
                  </a:lnTo>
                  <a:lnTo>
                    <a:pt x="5" y="193"/>
                  </a:lnTo>
                  <a:lnTo>
                    <a:pt x="4" y="187"/>
                  </a:lnTo>
                  <a:lnTo>
                    <a:pt x="3" y="184"/>
                  </a:lnTo>
                  <a:lnTo>
                    <a:pt x="3" y="183"/>
                  </a:lnTo>
                  <a:lnTo>
                    <a:pt x="2" y="182"/>
                  </a:lnTo>
                  <a:lnTo>
                    <a:pt x="1" y="181"/>
                  </a:lnTo>
                  <a:lnTo>
                    <a:pt x="1" y="181"/>
                  </a:lnTo>
                  <a:lnTo>
                    <a:pt x="0" y="181"/>
                  </a:lnTo>
                  <a:lnTo>
                    <a:pt x="1" y="181"/>
                  </a:lnTo>
                  <a:lnTo>
                    <a:pt x="1" y="180"/>
                  </a:lnTo>
                  <a:lnTo>
                    <a:pt x="2" y="180"/>
                  </a:lnTo>
                  <a:lnTo>
                    <a:pt x="7" y="179"/>
                  </a:lnTo>
                  <a:lnTo>
                    <a:pt x="9" y="179"/>
                  </a:lnTo>
                  <a:lnTo>
                    <a:pt x="11" y="178"/>
                  </a:lnTo>
                  <a:lnTo>
                    <a:pt x="13" y="177"/>
                  </a:lnTo>
                  <a:lnTo>
                    <a:pt x="14" y="176"/>
                  </a:lnTo>
                  <a:lnTo>
                    <a:pt x="16" y="174"/>
                  </a:lnTo>
                  <a:lnTo>
                    <a:pt x="17" y="172"/>
                  </a:lnTo>
                  <a:lnTo>
                    <a:pt x="18" y="170"/>
                  </a:lnTo>
                  <a:lnTo>
                    <a:pt x="18" y="168"/>
                  </a:lnTo>
                  <a:lnTo>
                    <a:pt x="18" y="165"/>
                  </a:lnTo>
                  <a:lnTo>
                    <a:pt x="18" y="163"/>
                  </a:lnTo>
                  <a:lnTo>
                    <a:pt x="18" y="159"/>
                  </a:lnTo>
                  <a:lnTo>
                    <a:pt x="17" y="157"/>
                  </a:lnTo>
                  <a:lnTo>
                    <a:pt x="17" y="155"/>
                  </a:lnTo>
                  <a:lnTo>
                    <a:pt x="17" y="152"/>
                  </a:lnTo>
                  <a:lnTo>
                    <a:pt x="17" y="149"/>
                  </a:lnTo>
                  <a:lnTo>
                    <a:pt x="18" y="139"/>
                  </a:lnTo>
                  <a:lnTo>
                    <a:pt x="20" y="122"/>
                  </a:lnTo>
                  <a:lnTo>
                    <a:pt x="22" y="111"/>
                  </a:lnTo>
                  <a:lnTo>
                    <a:pt x="22" y="107"/>
                  </a:lnTo>
                  <a:lnTo>
                    <a:pt x="22" y="98"/>
                  </a:lnTo>
                  <a:lnTo>
                    <a:pt x="23" y="94"/>
                  </a:lnTo>
                  <a:lnTo>
                    <a:pt x="23" y="92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5" y="88"/>
                  </a:lnTo>
                  <a:lnTo>
                    <a:pt x="27" y="85"/>
                  </a:lnTo>
                  <a:lnTo>
                    <a:pt x="30" y="80"/>
                  </a:lnTo>
                  <a:lnTo>
                    <a:pt x="31" y="78"/>
                  </a:lnTo>
                  <a:lnTo>
                    <a:pt x="32" y="76"/>
                  </a:lnTo>
                  <a:lnTo>
                    <a:pt x="34" y="74"/>
                  </a:lnTo>
                  <a:lnTo>
                    <a:pt x="34" y="71"/>
                  </a:lnTo>
                  <a:lnTo>
                    <a:pt x="34" y="69"/>
                  </a:lnTo>
                  <a:lnTo>
                    <a:pt x="34" y="67"/>
                  </a:lnTo>
                  <a:lnTo>
                    <a:pt x="34" y="64"/>
                  </a:lnTo>
                  <a:lnTo>
                    <a:pt x="33" y="63"/>
                  </a:lnTo>
                  <a:lnTo>
                    <a:pt x="34" y="62"/>
                  </a:lnTo>
                  <a:lnTo>
                    <a:pt x="34" y="61"/>
                  </a:lnTo>
                  <a:lnTo>
                    <a:pt x="34" y="60"/>
                  </a:lnTo>
                  <a:lnTo>
                    <a:pt x="35" y="59"/>
                  </a:lnTo>
                  <a:lnTo>
                    <a:pt x="36" y="58"/>
                  </a:lnTo>
                  <a:lnTo>
                    <a:pt x="37" y="56"/>
                  </a:lnTo>
                  <a:lnTo>
                    <a:pt x="39" y="55"/>
                  </a:lnTo>
                  <a:lnTo>
                    <a:pt x="44" y="52"/>
                  </a:lnTo>
                  <a:lnTo>
                    <a:pt x="47" y="51"/>
                  </a:lnTo>
                  <a:lnTo>
                    <a:pt x="48" y="51"/>
                  </a:lnTo>
                  <a:lnTo>
                    <a:pt x="50" y="50"/>
                  </a:lnTo>
                  <a:lnTo>
                    <a:pt x="52" y="50"/>
                  </a:lnTo>
                  <a:lnTo>
                    <a:pt x="52" y="49"/>
                  </a:lnTo>
                  <a:lnTo>
                    <a:pt x="54" y="49"/>
                  </a:lnTo>
                  <a:lnTo>
                    <a:pt x="56" y="49"/>
                  </a:lnTo>
                  <a:lnTo>
                    <a:pt x="61" y="50"/>
                  </a:lnTo>
                  <a:lnTo>
                    <a:pt x="67" y="51"/>
                  </a:lnTo>
                  <a:lnTo>
                    <a:pt x="69" y="51"/>
                  </a:lnTo>
                  <a:lnTo>
                    <a:pt x="71" y="51"/>
                  </a:lnTo>
                  <a:lnTo>
                    <a:pt x="73" y="51"/>
                  </a:lnTo>
                  <a:lnTo>
                    <a:pt x="75" y="51"/>
                  </a:lnTo>
                  <a:lnTo>
                    <a:pt x="76" y="50"/>
                  </a:lnTo>
                  <a:lnTo>
                    <a:pt x="77" y="50"/>
                  </a:lnTo>
                  <a:lnTo>
                    <a:pt x="78" y="49"/>
                  </a:lnTo>
                  <a:lnTo>
                    <a:pt x="79" y="48"/>
                  </a:lnTo>
                  <a:lnTo>
                    <a:pt x="79" y="46"/>
                  </a:lnTo>
                  <a:lnTo>
                    <a:pt x="79" y="44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8" y="39"/>
                  </a:lnTo>
                  <a:lnTo>
                    <a:pt x="78" y="37"/>
                  </a:lnTo>
                  <a:lnTo>
                    <a:pt x="77" y="34"/>
                  </a:lnTo>
                  <a:lnTo>
                    <a:pt x="78" y="33"/>
                  </a:lnTo>
                  <a:lnTo>
                    <a:pt x="78" y="32"/>
                  </a:lnTo>
                  <a:lnTo>
                    <a:pt x="79" y="30"/>
                  </a:lnTo>
                  <a:lnTo>
                    <a:pt x="80" y="29"/>
                  </a:lnTo>
                  <a:lnTo>
                    <a:pt x="82" y="28"/>
                  </a:lnTo>
                  <a:lnTo>
                    <a:pt x="83" y="28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9" y="28"/>
                  </a:lnTo>
                  <a:lnTo>
                    <a:pt x="90" y="29"/>
                  </a:lnTo>
                  <a:lnTo>
                    <a:pt x="93" y="30"/>
                  </a:lnTo>
                  <a:lnTo>
                    <a:pt x="98" y="32"/>
                  </a:lnTo>
                  <a:lnTo>
                    <a:pt x="101" y="33"/>
                  </a:lnTo>
                  <a:lnTo>
                    <a:pt x="103" y="33"/>
                  </a:lnTo>
                  <a:lnTo>
                    <a:pt x="106" y="34"/>
                  </a:lnTo>
                  <a:lnTo>
                    <a:pt x="108" y="34"/>
                  </a:lnTo>
                  <a:lnTo>
                    <a:pt x="109" y="34"/>
                  </a:lnTo>
                  <a:lnTo>
                    <a:pt x="111" y="34"/>
                  </a:lnTo>
                  <a:lnTo>
                    <a:pt x="113" y="34"/>
                  </a:lnTo>
                  <a:lnTo>
                    <a:pt x="114" y="33"/>
                  </a:lnTo>
                  <a:lnTo>
                    <a:pt x="116" y="32"/>
                  </a:lnTo>
                  <a:lnTo>
                    <a:pt x="117" y="32"/>
                  </a:lnTo>
                  <a:lnTo>
                    <a:pt x="119" y="31"/>
                  </a:lnTo>
                  <a:lnTo>
                    <a:pt x="122" y="28"/>
                  </a:lnTo>
                  <a:lnTo>
                    <a:pt x="129" y="21"/>
                  </a:lnTo>
                  <a:lnTo>
                    <a:pt x="132" y="18"/>
                  </a:lnTo>
                  <a:lnTo>
                    <a:pt x="136" y="15"/>
                  </a:lnTo>
                  <a:lnTo>
                    <a:pt x="140" y="12"/>
                  </a:lnTo>
                  <a:lnTo>
                    <a:pt x="143" y="11"/>
                  </a:lnTo>
                  <a:lnTo>
                    <a:pt x="144" y="9"/>
                  </a:lnTo>
                  <a:lnTo>
                    <a:pt x="147" y="9"/>
                  </a:lnTo>
                  <a:lnTo>
                    <a:pt x="149" y="8"/>
                  </a:lnTo>
                  <a:lnTo>
                    <a:pt x="152" y="7"/>
                  </a:lnTo>
                  <a:lnTo>
                    <a:pt x="154" y="7"/>
                  </a:lnTo>
                  <a:lnTo>
                    <a:pt x="156" y="6"/>
                  </a:lnTo>
                  <a:lnTo>
                    <a:pt x="157" y="6"/>
                  </a:lnTo>
                  <a:lnTo>
                    <a:pt x="157" y="7"/>
                  </a:lnTo>
                  <a:lnTo>
                    <a:pt x="159" y="6"/>
                  </a:lnTo>
                  <a:lnTo>
                    <a:pt x="160" y="6"/>
                  </a:lnTo>
                  <a:lnTo>
                    <a:pt x="161" y="5"/>
                  </a:lnTo>
                  <a:lnTo>
                    <a:pt x="165" y="2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8" y="2"/>
                  </a:lnTo>
                  <a:lnTo>
                    <a:pt x="172" y="1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8" name="Freeform 31">
              <a:extLst>
                <a:ext uri="{FF2B5EF4-FFF2-40B4-BE49-F238E27FC236}">
                  <a16:creationId xmlns:a16="http://schemas.microsoft.com/office/drawing/2014/main" id="{161E9086-B69B-4485-993D-4AA3989A2C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" y="2273"/>
              <a:ext cx="535" cy="411"/>
            </a:xfrm>
            <a:custGeom>
              <a:avLst/>
              <a:gdLst>
                <a:gd name="T0" fmla="*/ 336 w 535"/>
                <a:gd name="T1" fmla="*/ 11 h 411"/>
                <a:gd name="T2" fmla="*/ 365 w 535"/>
                <a:gd name="T3" fmla="*/ 16 h 411"/>
                <a:gd name="T4" fmla="*/ 386 w 535"/>
                <a:gd name="T5" fmla="*/ 15 h 411"/>
                <a:gd name="T6" fmla="*/ 408 w 535"/>
                <a:gd name="T7" fmla="*/ 20 h 411"/>
                <a:gd name="T8" fmla="*/ 434 w 535"/>
                <a:gd name="T9" fmla="*/ 7 h 411"/>
                <a:gd name="T10" fmla="*/ 466 w 535"/>
                <a:gd name="T11" fmla="*/ 41 h 411"/>
                <a:gd name="T12" fmla="*/ 486 w 535"/>
                <a:gd name="T13" fmla="*/ 79 h 411"/>
                <a:gd name="T14" fmla="*/ 486 w 535"/>
                <a:gd name="T15" fmla="*/ 102 h 411"/>
                <a:gd name="T16" fmla="*/ 482 w 535"/>
                <a:gd name="T17" fmla="*/ 123 h 411"/>
                <a:gd name="T18" fmla="*/ 505 w 535"/>
                <a:gd name="T19" fmla="*/ 135 h 411"/>
                <a:gd name="T20" fmla="*/ 525 w 535"/>
                <a:gd name="T21" fmla="*/ 165 h 411"/>
                <a:gd name="T22" fmla="*/ 513 w 535"/>
                <a:gd name="T23" fmla="*/ 193 h 411"/>
                <a:gd name="T24" fmla="*/ 515 w 535"/>
                <a:gd name="T25" fmla="*/ 209 h 411"/>
                <a:gd name="T26" fmla="*/ 535 w 535"/>
                <a:gd name="T27" fmla="*/ 234 h 411"/>
                <a:gd name="T28" fmla="*/ 516 w 535"/>
                <a:gd name="T29" fmla="*/ 247 h 411"/>
                <a:gd name="T30" fmla="*/ 499 w 535"/>
                <a:gd name="T31" fmla="*/ 266 h 411"/>
                <a:gd name="T32" fmla="*/ 507 w 535"/>
                <a:gd name="T33" fmla="*/ 284 h 411"/>
                <a:gd name="T34" fmla="*/ 502 w 535"/>
                <a:gd name="T35" fmla="*/ 301 h 411"/>
                <a:gd name="T36" fmla="*/ 494 w 535"/>
                <a:gd name="T37" fmla="*/ 324 h 411"/>
                <a:gd name="T38" fmla="*/ 490 w 535"/>
                <a:gd name="T39" fmla="*/ 335 h 411"/>
                <a:gd name="T40" fmla="*/ 481 w 535"/>
                <a:gd name="T41" fmla="*/ 356 h 411"/>
                <a:gd name="T42" fmla="*/ 464 w 535"/>
                <a:gd name="T43" fmla="*/ 359 h 411"/>
                <a:gd name="T44" fmla="*/ 456 w 535"/>
                <a:gd name="T45" fmla="*/ 365 h 411"/>
                <a:gd name="T46" fmla="*/ 430 w 535"/>
                <a:gd name="T47" fmla="*/ 355 h 411"/>
                <a:gd name="T48" fmla="*/ 388 w 535"/>
                <a:gd name="T49" fmla="*/ 355 h 411"/>
                <a:gd name="T50" fmla="*/ 372 w 535"/>
                <a:gd name="T51" fmla="*/ 363 h 411"/>
                <a:gd name="T52" fmla="*/ 360 w 535"/>
                <a:gd name="T53" fmla="*/ 385 h 411"/>
                <a:gd name="T54" fmla="*/ 347 w 535"/>
                <a:gd name="T55" fmla="*/ 378 h 411"/>
                <a:gd name="T56" fmla="*/ 321 w 535"/>
                <a:gd name="T57" fmla="*/ 374 h 411"/>
                <a:gd name="T58" fmla="*/ 286 w 535"/>
                <a:gd name="T59" fmla="*/ 378 h 411"/>
                <a:gd name="T60" fmla="*/ 259 w 535"/>
                <a:gd name="T61" fmla="*/ 373 h 411"/>
                <a:gd name="T62" fmla="*/ 252 w 535"/>
                <a:gd name="T63" fmla="*/ 371 h 411"/>
                <a:gd name="T64" fmla="*/ 237 w 535"/>
                <a:gd name="T65" fmla="*/ 386 h 411"/>
                <a:gd name="T66" fmla="*/ 204 w 535"/>
                <a:gd name="T67" fmla="*/ 399 h 411"/>
                <a:gd name="T68" fmla="*/ 178 w 535"/>
                <a:gd name="T69" fmla="*/ 411 h 411"/>
                <a:gd name="T70" fmla="*/ 160 w 535"/>
                <a:gd name="T71" fmla="*/ 401 h 411"/>
                <a:gd name="T72" fmla="*/ 117 w 535"/>
                <a:gd name="T73" fmla="*/ 388 h 411"/>
                <a:gd name="T74" fmla="*/ 105 w 535"/>
                <a:gd name="T75" fmla="*/ 378 h 411"/>
                <a:gd name="T76" fmla="*/ 86 w 535"/>
                <a:gd name="T77" fmla="*/ 359 h 411"/>
                <a:gd name="T78" fmla="*/ 86 w 535"/>
                <a:gd name="T79" fmla="*/ 332 h 411"/>
                <a:gd name="T80" fmla="*/ 86 w 535"/>
                <a:gd name="T81" fmla="*/ 304 h 411"/>
                <a:gd name="T82" fmla="*/ 67 w 535"/>
                <a:gd name="T83" fmla="*/ 291 h 411"/>
                <a:gd name="T84" fmla="*/ 26 w 535"/>
                <a:gd name="T85" fmla="*/ 266 h 411"/>
                <a:gd name="T86" fmla="*/ 3 w 535"/>
                <a:gd name="T87" fmla="*/ 228 h 411"/>
                <a:gd name="T88" fmla="*/ 1 w 535"/>
                <a:gd name="T89" fmla="*/ 209 h 411"/>
                <a:gd name="T90" fmla="*/ 21 w 535"/>
                <a:gd name="T91" fmla="*/ 189 h 411"/>
                <a:gd name="T92" fmla="*/ 48 w 535"/>
                <a:gd name="T93" fmla="*/ 168 h 411"/>
                <a:gd name="T94" fmla="*/ 60 w 535"/>
                <a:gd name="T95" fmla="*/ 117 h 411"/>
                <a:gd name="T96" fmla="*/ 83 w 535"/>
                <a:gd name="T97" fmla="*/ 87 h 411"/>
                <a:gd name="T98" fmla="*/ 115 w 535"/>
                <a:gd name="T99" fmla="*/ 39 h 411"/>
                <a:gd name="T100" fmla="*/ 152 w 535"/>
                <a:gd name="T101" fmla="*/ 43 h 411"/>
                <a:gd name="T102" fmla="*/ 176 w 535"/>
                <a:gd name="T103" fmla="*/ 30 h 411"/>
                <a:gd name="T104" fmla="*/ 199 w 535"/>
                <a:gd name="T105" fmla="*/ 35 h 411"/>
                <a:gd name="T106" fmla="*/ 213 w 535"/>
                <a:gd name="T107" fmla="*/ 48 h 411"/>
                <a:gd name="T108" fmla="*/ 223 w 535"/>
                <a:gd name="T109" fmla="*/ 34 h 411"/>
                <a:gd name="T110" fmla="*/ 242 w 535"/>
                <a:gd name="T111" fmla="*/ 19 h 411"/>
                <a:gd name="T112" fmla="*/ 277 w 535"/>
                <a:gd name="T113" fmla="*/ 9 h 411"/>
                <a:gd name="T114" fmla="*/ 305 w 535"/>
                <a:gd name="T115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5" h="411">
                  <a:moveTo>
                    <a:pt x="305" y="0"/>
                  </a:moveTo>
                  <a:lnTo>
                    <a:pt x="310" y="2"/>
                  </a:lnTo>
                  <a:lnTo>
                    <a:pt x="312" y="3"/>
                  </a:lnTo>
                  <a:lnTo>
                    <a:pt x="314" y="4"/>
                  </a:lnTo>
                  <a:lnTo>
                    <a:pt x="319" y="6"/>
                  </a:lnTo>
                  <a:lnTo>
                    <a:pt x="322" y="8"/>
                  </a:lnTo>
                  <a:lnTo>
                    <a:pt x="325" y="8"/>
                  </a:lnTo>
                  <a:lnTo>
                    <a:pt x="334" y="10"/>
                  </a:lnTo>
                  <a:lnTo>
                    <a:pt x="336" y="11"/>
                  </a:lnTo>
                  <a:lnTo>
                    <a:pt x="340" y="13"/>
                  </a:lnTo>
                  <a:lnTo>
                    <a:pt x="347" y="16"/>
                  </a:lnTo>
                  <a:lnTo>
                    <a:pt x="348" y="16"/>
                  </a:lnTo>
                  <a:lnTo>
                    <a:pt x="350" y="16"/>
                  </a:lnTo>
                  <a:lnTo>
                    <a:pt x="352" y="17"/>
                  </a:lnTo>
                  <a:lnTo>
                    <a:pt x="355" y="17"/>
                  </a:lnTo>
                  <a:lnTo>
                    <a:pt x="359" y="17"/>
                  </a:lnTo>
                  <a:lnTo>
                    <a:pt x="363" y="16"/>
                  </a:lnTo>
                  <a:lnTo>
                    <a:pt x="365" y="16"/>
                  </a:lnTo>
                  <a:lnTo>
                    <a:pt x="367" y="16"/>
                  </a:lnTo>
                  <a:lnTo>
                    <a:pt x="372" y="14"/>
                  </a:lnTo>
                  <a:lnTo>
                    <a:pt x="375" y="14"/>
                  </a:lnTo>
                  <a:lnTo>
                    <a:pt x="378" y="13"/>
                  </a:lnTo>
                  <a:lnTo>
                    <a:pt x="380" y="13"/>
                  </a:lnTo>
                  <a:lnTo>
                    <a:pt x="381" y="13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86" y="15"/>
                  </a:lnTo>
                  <a:lnTo>
                    <a:pt x="389" y="16"/>
                  </a:lnTo>
                  <a:lnTo>
                    <a:pt x="394" y="18"/>
                  </a:lnTo>
                  <a:lnTo>
                    <a:pt x="398" y="20"/>
                  </a:lnTo>
                  <a:lnTo>
                    <a:pt x="400" y="21"/>
                  </a:lnTo>
                  <a:lnTo>
                    <a:pt x="401" y="21"/>
                  </a:lnTo>
                  <a:lnTo>
                    <a:pt x="402" y="22"/>
                  </a:lnTo>
                  <a:lnTo>
                    <a:pt x="403" y="21"/>
                  </a:lnTo>
                  <a:lnTo>
                    <a:pt x="404" y="21"/>
                  </a:lnTo>
                  <a:lnTo>
                    <a:pt x="408" y="20"/>
                  </a:lnTo>
                  <a:lnTo>
                    <a:pt x="410" y="19"/>
                  </a:lnTo>
                  <a:lnTo>
                    <a:pt x="412" y="18"/>
                  </a:lnTo>
                  <a:lnTo>
                    <a:pt x="415" y="16"/>
                  </a:lnTo>
                  <a:lnTo>
                    <a:pt x="418" y="14"/>
                  </a:lnTo>
                  <a:lnTo>
                    <a:pt x="427" y="5"/>
                  </a:lnTo>
                  <a:lnTo>
                    <a:pt x="429" y="5"/>
                  </a:lnTo>
                  <a:lnTo>
                    <a:pt x="430" y="5"/>
                  </a:lnTo>
                  <a:lnTo>
                    <a:pt x="431" y="5"/>
                  </a:lnTo>
                  <a:lnTo>
                    <a:pt x="434" y="7"/>
                  </a:lnTo>
                  <a:lnTo>
                    <a:pt x="436" y="9"/>
                  </a:lnTo>
                  <a:lnTo>
                    <a:pt x="439" y="11"/>
                  </a:lnTo>
                  <a:lnTo>
                    <a:pt x="445" y="16"/>
                  </a:lnTo>
                  <a:lnTo>
                    <a:pt x="451" y="25"/>
                  </a:lnTo>
                  <a:lnTo>
                    <a:pt x="458" y="32"/>
                  </a:lnTo>
                  <a:lnTo>
                    <a:pt x="460" y="34"/>
                  </a:lnTo>
                  <a:lnTo>
                    <a:pt x="463" y="37"/>
                  </a:lnTo>
                  <a:lnTo>
                    <a:pt x="465" y="39"/>
                  </a:lnTo>
                  <a:lnTo>
                    <a:pt x="466" y="41"/>
                  </a:lnTo>
                  <a:lnTo>
                    <a:pt x="469" y="49"/>
                  </a:lnTo>
                  <a:lnTo>
                    <a:pt x="471" y="52"/>
                  </a:lnTo>
                  <a:lnTo>
                    <a:pt x="475" y="61"/>
                  </a:lnTo>
                  <a:lnTo>
                    <a:pt x="478" y="66"/>
                  </a:lnTo>
                  <a:lnTo>
                    <a:pt x="480" y="69"/>
                  </a:lnTo>
                  <a:lnTo>
                    <a:pt x="483" y="75"/>
                  </a:lnTo>
                  <a:lnTo>
                    <a:pt x="484" y="76"/>
                  </a:lnTo>
                  <a:lnTo>
                    <a:pt x="485" y="77"/>
                  </a:lnTo>
                  <a:lnTo>
                    <a:pt x="486" y="79"/>
                  </a:lnTo>
                  <a:lnTo>
                    <a:pt x="486" y="82"/>
                  </a:lnTo>
                  <a:lnTo>
                    <a:pt x="487" y="84"/>
                  </a:lnTo>
                  <a:lnTo>
                    <a:pt x="487" y="85"/>
                  </a:lnTo>
                  <a:lnTo>
                    <a:pt x="488" y="87"/>
                  </a:lnTo>
                  <a:lnTo>
                    <a:pt x="488" y="90"/>
                  </a:lnTo>
                  <a:lnTo>
                    <a:pt x="488" y="93"/>
                  </a:lnTo>
                  <a:lnTo>
                    <a:pt x="488" y="95"/>
                  </a:lnTo>
                  <a:lnTo>
                    <a:pt x="487" y="98"/>
                  </a:lnTo>
                  <a:lnTo>
                    <a:pt x="486" y="102"/>
                  </a:lnTo>
                  <a:lnTo>
                    <a:pt x="485" y="105"/>
                  </a:lnTo>
                  <a:lnTo>
                    <a:pt x="482" y="111"/>
                  </a:lnTo>
                  <a:lnTo>
                    <a:pt x="481" y="113"/>
                  </a:lnTo>
                  <a:lnTo>
                    <a:pt x="481" y="115"/>
                  </a:lnTo>
                  <a:lnTo>
                    <a:pt x="481" y="118"/>
                  </a:lnTo>
                  <a:lnTo>
                    <a:pt x="481" y="119"/>
                  </a:lnTo>
                  <a:lnTo>
                    <a:pt x="481" y="121"/>
                  </a:lnTo>
                  <a:lnTo>
                    <a:pt x="481" y="122"/>
                  </a:lnTo>
                  <a:lnTo>
                    <a:pt x="482" y="123"/>
                  </a:lnTo>
                  <a:lnTo>
                    <a:pt x="483" y="124"/>
                  </a:lnTo>
                  <a:lnTo>
                    <a:pt x="484" y="125"/>
                  </a:lnTo>
                  <a:lnTo>
                    <a:pt x="485" y="125"/>
                  </a:lnTo>
                  <a:lnTo>
                    <a:pt x="487" y="127"/>
                  </a:lnTo>
                  <a:lnTo>
                    <a:pt x="493" y="129"/>
                  </a:lnTo>
                  <a:lnTo>
                    <a:pt x="498" y="131"/>
                  </a:lnTo>
                  <a:lnTo>
                    <a:pt x="502" y="132"/>
                  </a:lnTo>
                  <a:lnTo>
                    <a:pt x="503" y="134"/>
                  </a:lnTo>
                  <a:lnTo>
                    <a:pt x="505" y="135"/>
                  </a:lnTo>
                  <a:lnTo>
                    <a:pt x="507" y="136"/>
                  </a:lnTo>
                  <a:lnTo>
                    <a:pt x="509" y="139"/>
                  </a:lnTo>
                  <a:lnTo>
                    <a:pt x="513" y="143"/>
                  </a:lnTo>
                  <a:lnTo>
                    <a:pt x="515" y="147"/>
                  </a:lnTo>
                  <a:lnTo>
                    <a:pt x="518" y="152"/>
                  </a:lnTo>
                  <a:lnTo>
                    <a:pt x="521" y="156"/>
                  </a:lnTo>
                  <a:lnTo>
                    <a:pt x="523" y="159"/>
                  </a:lnTo>
                  <a:lnTo>
                    <a:pt x="524" y="163"/>
                  </a:lnTo>
                  <a:lnTo>
                    <a:pt x="525" y="165"/>
                  </a:lnTo>
                  <a:lnTo>
                    <a:pt x="525" y="168"/>
                  </a:lnTo>
                  <a:lnTo>
                    <a:pt x="525" y="170"/>
                  </a:lnTo>
                  <a:lnTo>
                    <a:pt x="525" y="172"/>
                  </a:lnTo>
                  <a:lnTo>
                    <a:pt x="524" y="174"/>
                  </a:lnTo>
                  <a:lnTo>
                    <a:pt x="523" y="175"/>
                  </a:lnTo>
                  <a:lnTo>
                    <a:pt x="519" y="181"/>
                  </a:lnTo>
                  <a:lnTo>
                    <a:pt x="515" y="187"/>
                  </a:lnTo>
                  <a:lnTo>
                    <a:pt x="514" y="191"/>
                  </a:lnTo>
                  <a:lnTo>
                    <a:pt x="513" y="193"/>
                  </a:lnTo>
                  <a:lnTo>
                    <a:pt x="512" y="196"/>
                  </a:lnTo>
                  <a:lnTo>
                    <a:pt x="512" y="197"/>
                  </a:lnTo>
                  <a:lnTo>
                    <a:pt x="512" y="199"/>
                  </a:lnTo>
                  <a:lnTo>
                    <a:pt x="512" y="202"/>
                  </a:lnTo>
                  <a:lnTo>
                    <a:pt x="512" y="203"/>
                  </a:lnTo>
                  <a:lnTo>
                    <a:pt x="513" y="205"/>
                  </a:lnTo>
                  <a:lnTo>
                    <a:pt x="514" y="206"/>
                  </a:lnTo>
                  <a:lnTo>
                    <a:pt x="515" y="208"/>
                  </a:lnTo>
                  <a:lnTo>
                    <a:pt x="515" y="209"/>
                  </a:lnTo>
                  <a:lnTo>
                    <a:pt x="519" y="214"/>
                  </a:lnTo>
                  <a:lnTo>
                    <a:pt x="523" y="219"/>
                  </a:lnTo>
                  <a:lnTo>
                    <a:pt x="525" y="220"/>
                  </a:lnTo>
                  <a:lnTo>
                    <a:pt x="526" y="223"/>
                  </a:lnTo>
                  <a:lnTo>
                    <a:pt x="531" y="228"/>
                  </a:lnTo>
                  <a:lnTo>
                    <a:pt x="533" y="231"/>
                  </a:lnTo>
                  <a:lnTo>
                    <a:pt x="534" y="232"/>
                  </a:lnTo>
                  <a:lnTo>
                    <a:pt x="535" y="233"/>
                  </a:lnTo>
                  <a:lnTo>
                    <a:pt x="535" y="234"/>
                  </a:lnTo>
                  <a:lnTo>
                    <a:pt x="535" y="235"/>
                  </a:lnTo>
                  <a:lnTo>
                    <a:pt x="535" y="236"/>
                  </a:lnTo>
                  <a:lnTo>
                    <a:pt x="534" y="237"/>
                  </a:lnTo>
                  <a:lnTo>
                    <a:pt x="534" y="238"/>
                  </a:lnTo>
                  <a:lnTo>
                    <a:pt x="532" y="239"/>
                  </a:lnTo>
                  <a:lnTo>
                    <a:pt x="530" y="240"/>
                  </a:lnTo>
                  <a:lnTo>
                    <a:pt x="524" y="243"/>
                  </a:lnTo>
                  <a:lnTo>
                    <a:pt x="520" y="245"/>
                  </a:lnTo>
                  <a:lnTo>
                    <a:pt x="516" y="247"/>
                  </a:lnTo>
                  <a:lnTo>
                    <a:pt x="514" y="249"/>
                  </a:lnTo>
                  <a:lnTo>
                    <a:pt x="512" y="251"/>
                  </a:lnTo>
                  <a:lnTo>
                    <a:pt x="510" y="253"/>
                  </a:lnTo>
                  <a:lnTo>
                    <a:pt x="508" y="254"/>
                  </a:lnTo>
                  <a:lnTo>
                    <a:pt x="503" y="259"/>
                  </a:lnTo>
                  <a:lnTo>
                    <a:pt x="503" y="261"/>
                  </a:lnTo>
                  <a:lnTo>
                    <a:pt x="501" y="264"/>
                  </a:lnTo>
                  <a:lnTo>
                    <a:pt x="500" y="265"/>
                  </a:lnTo>
                  <a:lnTo>
                    <a:pt x="499" y="266"/>
                  </a:lnTo>
                  <a:lnTo>
                    <a:pt x="499" y="268"/>
                  </a:lnTo>
                  <a:lnTo>
                    <a:pt x="499" y="269"/>
                  </a:lnTo>
                  <a:lnTo>
                    <a:pt x="499" y="271"/>
                  </a:lnTo>
                  <a:lnTo>
                    <a:pt x="499" y="273"/>
                  </a:lnTo>
                  <a:lnTo>
                    <a:pt x="500" y="274"/>
                  </a:lnTo>
                  <a:lnTo>
                    <a:pt x="501" y="276"/>
                  </a:lnTo>
                  <a:lnTo>
                    <a:pt x="504" y="280"/>
                  </a:lnTo>
                  <a:lnTo>
                    <a:pt x="506" y="283"/>
                  </a:lnTo>
                  <a:lnTo>
                    <a:pt x="507" y="284"/>
                  </a:lnTo>
                  <a:lnTo>
                    <a:pt x="507" y="285"/>
                  </a:lnTo>
                  <a:lnTo>
                    <a:pt x="507" y="286"/>
                  </a:lnTo>
                  <a:lnTo>
                    <a:pt x="507" y="288"/>
                  </a:lnTo>
                  <a:lnTo>
                    <a:pt x="507" y="288"/>
                  </a:lnTo>
                  <a:lnTo>
                    <a:pt x="507" y="289"/>
                  </a:lnTo>
                  <a:lnTo>
                    <a:pt x="503" y="296"/>
                  </a:lnTo>
                  <a:lnTo>
                    <a:pt x="503" y="297"/>
                  </a:lnTo>
                  <a:lnTo>
                    <a:pt x="503" y="299"/>
                  </a:lnTo>
                  <a:lnTo>
                    <a:pt x="502" y="301"/>
                  </a:lnTo>
                  <a:lnTo>
                    <a:pt x="501" y="308"/>
                  </a:lnTo>
                  <a:lnTo>
                    <a:pt x="500" y="310"/>
                  </a:lnTo>
                  <a:lnTo>
                    <a:pt x="499" y="312"/>
                  </a:lnTo>
                  <a:lnTo>
                    <a:pt x="496" y="318"/>
                  </a:lnTo>
                  <a:lnTo>
                    <a:pt x="495" y="319"/>
                  </a:lnTo>
                  <a:lnTo>
                    <a:pt x="494" y="321"/>
                  </a:lnTo>
                  <a:lnTo>
                    <a:pt x="494" y="322"/>
                  </a:lnTo>
                  <a:lnTo>
                    <a:pt x="494" y="323"/>
                  </a:lnTo>
                  <a:lnTo>
                    <a:pt x="494" y="324"/>
                  </a:lnTo>
                  <a:lnTo>
                    <a:pt x="494" y="327"/>
                  </a:lnTo>
                  <a:lnTo>
                    <a:pt x="495" y="327"/>
                  </a:lnTo>
                  <a:lnTo>
                    <a:pt x="495" y="328"/>
                  </a:lnTo>
                  <a:lnTo>
                    <a:pt x="494" y="328"/>
                  </a:lnTo>
                  <a:lnTo>
                    <a:pt x="493" y="330"/>
                  </a:lnTo>
                  <a:lnTo>
                    <a:pt x="492" y="331"/>
                  </a:lnTo>
                  <a:lnTo>
                    <a:pt x="492" y="332"/>
                  </a:lnTo>
                  <a:lnTo>
                    <a:pt x="491" y="333"/>
                  </a:lnTo>
                  <a:lnTo>
                    <a:pt x="490" y="335"/>
                  </a:lnTo>
                  <a:lnTo>
                    <a:pt x="490" y="336"/>
                  </a:lnTo>
                  <a:lnTo>
                    <a:pt x="490" y="340"/>
                  </a:lnTo>
                  <a:lnTo>
                    <a:pt x="489" y="341"/>
                  </a:lnTo>
                  <a:lnTo>
                    <a:pt x="489" y="342"/>
                  </a:lnTo>
                  <a:lnTo>
                    <a:pt x="485" y="345"/>
                  </a:lnTo>
                  <a:lnTo>
                    <a:pt x="484" y="347"/>
                  </a:lnTo>
                  <a:lnTo>
                    <a:pt x="482" y="350"/>
                  </a:lnTo>
                  <a:lnTo>
                    <a:pt x="481" y="354"/>
                  </a:lnTo>
                  <a:lnTo>
                    <a:pt x="481" y="356"/>
                  </a:lnTo>
                  <a:lnTo>
                    <a:pt x="480" y="356"/>
                  </a:lnTo>
                  <a:lnTo>
                    <a:pt x="479" y="356"/>
                  </a:lnTo>
                  <a:lnTo>
                    <a:pt x="478" y="356"/>
                  </a:lnTo>
                  <a:lnTo>
                    <a:pt x="476" y="356"/>
                  </a:lnTo>
                  <a:lnTo>
                    <a:pt x="473" y="356"/>
                  </a:lnTo>
                  <a:lnTo>
                    <a:pt x="470" y="356"/>
                  </a:lnTo>
                  <a:lnTo>
                    <a:pt x="469" y="356"/>
                  </a:lnTo>
                  <a:lnTo>
                    <a:pt x="469" y="357"/>
                  </a:lnTo>
                  <a:lnTo>
                    <a:pt x="464" y="359"/>
                  </a:lnTo>
                  <a:lnTo>
                    <a:pt x="462" y="360"/>
                  </a:lnTo>
                  <a:lnTo>
                    <a:pt x="461" y="361"/>
                  </a:lnTo>
                  <a:lnTo>
                    <a:pt x="459" y="362"/>
                  </a:lnTo>
                  <a:lnTo>
                    <a:pt x="458" y="364"/>
                  </a:lnTo>
                  <a:lnTo>
                    <a:pt x="457" y="367"/>
                  </a:lnTo>
                  <a:lnTo>
                    <a:pt x="457" y="367"/>
                  </a:lnTo>
                  <a:lnTo>
                    <a:pt x="457" y="367"/>
                  </a:lnTo>
                  <a:lnTo>
                    <a:pt x="457" y="366"/>
                  </a:lnTo>
                  <a:lnTo>
                    <a:pt x="456" y="365"/>
                  </a:lnTo>
                  <a:lnTo>
                    <a:pt x="455" y="364"/>
                  </a:lnTo>
                  <a:lnTo>
                    <a:pt x="453" y="362"/>
                  </a:lnTo>
                  <a:lnTo>
                    <a:pt x="450" y="360"/>
                  </a:lnTo>
                  <a:lnTo>
                    <a:pt x="447" y="358"/>
                  </a:lnTo>
                  <a:lnTo>
                    <a:pt x="444" y="356"/>
                  </a:lnTo>
                  <a:lnTo>
                    <a:pt x="440" y="356"/>
                  </a:lnTo>
                  <a:lnTo>
                    <a:pt x="436" y="355"/>
                  </a:lnTo>
                  <a:lnTo>
                    <a:pt x="434" y="355"/>
                  </a:lnTo>
                  <a:lnTo>
                    <a:pt x="430" y="355"/>
                  </a:lnTo>
                  <a:lnTo>
                    <a:pt x="427" y="355"/>
                  </a:lnTo>
                  <a:lnTo>
                    <a:pt x="421" y="356"/>
                  </a:lnTo>
                  <a:lnTo>
                    <a:pt x="416" y="356"/>
                  </a:lnTo>
                  <a:lnTo>
                    <a:pt x="412" y="356"/>
                  </a:lnTo>
                  <a:lnTo>
                    <a:pt x="402" y="355"/>
                  </a:lnTo>
                  <a:lnTo>
                    <a:pt x="396" y="354"/>
                  </a:lnTo>
                  <a:lnTo>
                    <a:pt x="393" y="354"/>
                  </a:lnTo>
                  <a:lnTo>
                    <a:pt x="390" y="355"/>
                  </a:lnTo>
                  <a:lnTo>
                    <a:pt x="388" y="355"/>
                  </a:lnTo>
                  <a:lnTo>
                    <a:pt x="386" y="355"/>
                  </a:lnTo>
                  <a:lnTo>
                    <a:pt x="381" y="356"/>
                  </a:lnTo>
                  <a:lnTo>
                    <a:pt x="379" y="356"/>
                  </a:lnTo>
                  <a:lnTo>
                    <a:pt x="378" y="357"/>
                  </a:lnTo>
                  <a:lnTo>
                    <a:pt x="377" y="358"/>
                  </a:lnTo>
                  <a:lnTo>
                    <a:pt x="376" y="358"/>
                  </a:lnTo>
                  <a:lnTo>
                    <a:pt x="375" y="359"/>
                  </a:lnTo>
                  <a:lnTo>
                    <a:pt x="374" y="361"/>
                  </a:lnTo>
                  <a:lnTo>
                    <a:pt x="372" y="363"/>
                  </a:lnTo>
                  <a:lnTo>
                    <a:pt x="369" y="367"/>
                  </a:lnTo>
                  <a:lnTo>
                    <a:pt x="368" y="368"/>
                  </a:lnTo>
                  <a:lnTo>
                    <a:pt x="367" y="371"/>
                  </a:lnTo>
                  <a:lnTo>
                    <a:pt x="366" y="374"/>
                  </a:lnTo>
                  <a:lnTo>
                    <a:pt x="364" y="380"/>
                  </a:lnTo>
                  <a:lnTo>
                    <a:pt x="363" y="382"/>
                  </a:lnTo>
                  <a:lnTo>
                    <a:pt x="362" y="384"/>
                  </a:lnTo>
                  <a:lnTo>
                    <a:pt x="361" y="384"/>
                  </a:lnTo>
                  <a:lnTo>
                    <a:pt x="360" y="385"/>
                  </a:lnTo>
                  <a:lnTo>
                    <a:pt x="359" y="385"/>
                  </a:lnTo>
                  <a:lnTo>
                    <a:pt x="358" y="385"/>
                  </a:lnTo>
                  <a:lnTo>
                    <a:pt x="356" y="384"/>
                  </a:lnTo>
                  <a:lnTo>
                    <a:pt x="355" y="382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0" y="378"/>
                  </a:lnTo>
                  <a:lnTo>
                    <a:pt x="338" y="378"/>
                  </a:lnTo>
                  <a:lnTo>
                    <a:pt x="336" y="377"/>
                  </a:lnTo>
                  <a:lnTo>
                    <a:pt x="332" y="376"/>
                  </a:lnTo>
                  <a:lnTo>
                    <a:pt x="328" y="374"/>
                  </a:lnTo>
                  <a:lnTo>
                    <a:pt x="326" y="374"/>
                  </a:lnTo>
                  <a:lnTo>
                    <a:pt x="324" y="374"/>
                  </a:lnTo>
                  <a:lnTo>
                    <a:pt x="322" y="374"/>
                  </a:lnTo>
                  <a:lnTo>
                    <a:pt x="321" y="374"/>
                  </a:lnTo>
                  <a:lnTo>
                    <a:pt x="314" y="376"/>
                  </a:lnTo>
                  <a:lnTo>
                    <a:pt x="307" y="378"/>
                  </a:lnTo>
                  <a:lnTo>
                    <a:pt x="305" y="378"/>
                  </a:lnTo>
                  <a:lnTo>
                    <a:pt x="302" y="378"/>
                  </a:lnTo>
                  <a:lnTo>
                    <a:pt x="300" y="378"/>
                  </a:lnTo>
                  <a:lnTo>
                    <a:pt x="298" y="378"/>
                  </a:lnTo>
                  <a:lnTo>
                    <a:pt x="291" y="378"/>
                  </a:lnTo>
                  <a:lnTo>
                    <a:pt x="288" y="378"/>
                  </a:lnTo>
                  <a:lnTo>
                    <a:pt x="286" y="378"/>
                  </a:lnTo>
                  <a:lnTo>
                    <a:pt x="279" y="379"/>
                  </a:lnTo>
                  <a:lnTo>
                    <a:pt x="276" y="380"/>
                  </a:lnTo>
                  <a:lnTo>
                    <a:pt x="273" y="380"/>
                  </a:lnTo>
                  <a:lnTo>
                    <a:pt x="270" y="379"/>
                  </a:lnTo>
                  <a:lnTo>
                    <a:pt x="267" y="379"/>
                  </a:lnTo>
                  <a:lnTo>
                    <a:pt x="265" y="378"/>
                  </a:lnTo>
                  <a:lnTo>
                    <a:pt x="263" y="377"/>
                  </a:lnTo>
                  <a:lnTo>
                    <a:pt x="261" y="375"/>
                  </a:lnTo>
                  <a:lnTo>
                    <a:pt x="259" y="373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7"/>
                  </a:lnTo>
                  <a:lnTo>
                    <a:pt x="256" y="367"/>
                  </a:lnTo>
                  <a:lnTo>
                    <a:pt x="256" y="366"/>
                  </a:lnTo>
                  <a:lnTo>
                    <a:pt x="255" y="367"/>
                  </a:lnTo>
                  <a:lnTo>
                    <a:pt x="254" y="367"/>
                  </a:lnTo>
                  <a:lnTo>
                    <a:pt x="253" y="368"/>
                  </a:lnTo>
                  <a:lnTo>
                    <a:pt x="252" y="371"/>
                  </a:lnTo>
                  <a:lnTo>
                    <a:pt x="249" y="377"/>
                  </a:lnTo>
                  <a:lnTo>
                    <a:pt x="248" y="378"/>
                  </a:lnTo>
                  <a:lnTo>
                    <a:pt x="247" y="380"/>
                  </a:lnTo>
                  <a:lnTo>
                    <a:pt x="246" y="381"/>
                  </a:lnTo>
                  <a:lnTo>
                    <a:pt x="245" y="382"/>
                  </a:lnTo>
                  <a:lnTo>
                    <a:pt x="243" y="383"/>
                  </a:lnTo>
                  <a:lnTo>
                    <a:pt x="242" y="384"/>
                  </a:lnTo>
                  <a:lnTo>
                    <a:pt x="240" y="385"/>
                  </a:lnTo>
                  <a:lnTo>
                    <a:pt x="237" y="386"/>
                  </a:lnTo>
                  <a:lnTo>
                    <a:pt x="235" y="387"/>
                  </a:lnTo>
                  <a:lnTo>
                    <a:pt x="230" y="388"/>
                  </a:lnTo>
                  <a:lnTo>
                    <a:pt x="226" y="389"/>
                  </a:lnTo>
                  <a:lnTo>
                    <a:pt x="221" y="390"/>
                  </a:lnTo>
                  <a:lnTo>
                    <a:pt x="217" y="391"/>
                  </a:lnTo>
                  <a:lnTo>
                    <a:pt x="211" y="393"/>
                  </a:lnTo>
                  <a:lnTo>
                    <a:pt x="208" y="395"/>
                  </a:lnTo>
                  <a:lnTo>
                    <a:pt x="207" y="396"/>
                  </a:lnTo>
                  <a:lnTo>
                    <a:pt x="204" y="399"/>
                  </a:lnTo>
                  <a:lnTo>
                    <a:pt x="200" y="401"/>
                  </a:lnTo>
                  <a:lnTo>
                    <a:pt x="198" y="403"/>
                  </a:lnTo>
                  <a:lnTo>
                    <a:pt x="192" y="408"/>
                  </a:lnTo>
                  <a:lnTo>
                    <a:pt x="190" y="409"/>
                  </a:lnTo>
                  <a:lnTo>
                    <a:pt x="188" y="409"/>
                  </a:lnTo>
                  <a:lnTo>
                    <a:pt x="185" y="410"/>
                  </a:lnTo>
                  <a:lnTo>
                    <a:pt x="183" y="411"/>
                  </a:lnTo>
                  <a:lnTo>
                    <a:pt x="181" y="411"/>
                  </a:lnTo>
                  <a:lnTo>
                    <a:pt x="178" y="411"/>
                  </a:lnTo>
                  <a:lnTo>
                    <a:pt x="176" y="411"/>
                  </a:lnTo>
                  <a:lnTo>
                    <a:pt x="174" y="410"/>
                  </a:lnTo>
                  <a:lnTo>
                    <a:pt x="174" y="409"/>
                  </a:lnTo>
                  <a:lnTo>
                    <a:pt x="172" y="408"/>
                  </a:lnTo>
                  <a:lnTo>
                    <a:pt x="164" y="402"/>
                  </a:lnTo>
                  <a:lnTo>
                    <a:pt x="163" y="401"/>
                  </a:lnTo>
                  <a:lnTo>
                    <a:pt x="162" y="401"/>
                  </a:lnTo>
                  <a:lnTo>
                    <a:pt x="161" y="401"/>
                  </a:lnTo>
                  <a:lnTo>
                    <a:pt x="160" y="401"/>
                  </a:lnTo>
                  <a:lnTo>
                    <a:pt x="159" y="401"/>
                  </a:lnTo>
                  <a:lnTo>
                    <a:pt x="155" y="401"/>
                  </a:lnTo>
                  <a:lnTo>
                    <a:pt x="152" y="401"/>
                  </a:lnTo>
                  <a:lnTo>
                    <a:pt x="151" y="401"/>
                  </a:lnTo>
                  <a:lnTo>
                    <a:pt x="149" y="400"/>
                  </a:lnTo>
                  <a:lnTo>
                    <a:pt x="146" y="399"/>
                  </a:lnTo>
                  <a:lnTo>
                    <a:pt x="137" y="395"/>
                  </a:lnTo>
                  <a:lnTo>
                    <a:pt x="120" y="389"/>
                  </a:lnTo>
                  <a:lnTo>
                    <a:pt x="117" y="388"/>
                  </a:lnTo>
                  <a:lnTo>
                    <a:pt x="116" y="387"/>
                  </a:lnTo>
                  <a:lnTo>
                    <a:pt x="115" y="386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3" y="383"/>
                  </a:lnTo>
                  <a:lnTo>
                    <a:pt x="111" y="381"/>
                  </a:lnTo>
                  <a:lnTo>
                    <a:pt x="109" y="380"/>
                  </a:lnTo>
                  <a:lnTo>
                    <a:pt x="107" y="378"/>
                  </a:lnTo>
                  <a:lnTo>
                    <a:pt x="105" y="378"/>
                  </a:lnTo>
                  <a:lnTo>
                    <a:pt x="99" y="374"/>
                  </a:lnTo>
                  <a:lnTo>
                    <a:pt x="96" y="373"/>
                  </a:lnTo>
                  <a:lnTo>
                    <a:pt x="94" y="372"/>
                  </a:lnTo>
                  <a:lnTo>
                    <a:pt x="94" y="370"/>
                  </a:lnTo>
                  <a:lnTo>
                    <a:pt x="92" y="369"/>
                  </a:lnTo>
                  <a:lnTo>
                    <a:pt x="90" y="367"/>
                  </a:lnTo>
                  <a:lnTo>
                    <a:pt x="88" y="363"/>
                  </a:lnTo>
                  <a:lnTo>
                    <a:pt x="87" y="361"/>
                  </a:lnTo>
                  <a:lnTo>
                    <a:pt x="86" y="359"/>
                  </a:lnTo>
                  <a:lnTo>
                    <a:pt x="86" y="357"/>
                  </a:lnTo>
                  <a:lnTo>
                    <a:pt x="86" y="356"/>
                  </a:lnTo>
                  <a:lnTo>
                    <a:pt x="86" y="350"/>
                  </a:lnTo>
                  <a:lnTo>
                    <a:pt x="85" y="348"/>
                  </a:lnTo>
                  <a:lnTo>
                    <a:pt x="85" y="344"/>
                  </a:lnTo>
                  <a:lnTo>
                    <a:pt x="84" y="343"/>
                  </a:lnTo>
                  <a:lnTo>
                    <a:pt x="84" y="341"/>
                  </a:lnTo>
                  <a:lnTo>
                    <a:pt x="85" y="338"/>
                  </a:lnTo>
                  <a:lnTo>
                    <a:pt x="86" y="332"/>
                  </a:lnTo>
                  <a:lnTo>
                    <a:pt x="87" y="325"/>
                  </a:lnTo>
                  <a:lnTo>
                    <a:pt x="88" y="320"/>
                  </a:lnTo>
                  <a:lnTo>
                    <a:pt x="89" y="317"/>
                  </a:lnTo>
                  <a:lnTo>
                    <a:pt x="89" y="315"/>
                  </a:lnTo>
                  <a:lnTo>
                    <a:pt x="89" y="313"/>
                  </a:lnTo>
                  <a:lnTo>
                    <a:pt x="88" y="311"/>
                  </a:lnTo>
                  <a:lnTo>
                    <a:pt x="87" y="308"/>
                  </a:lnTo>
                  <a:lnTo>
                    <a:pt x="86" y="306"/>
                  </a:lnTo>
                  <a:lnTo>
                    <a:pt x="86" y="304"/>
                  </a:lnTo>
                  <a:lnTo>
                    <a:pt x="85" y="302"/>
                  </a:lnTo>
                  <a:lnTo>
                    <a:pt x="84" y="300"/>
                  </a:lnTo>
                  <a:lnTo>
                    <a:pt x="83" y="299"/>
                  </a:lnTo>
                  <a:lnTo>
                    <a:pt x="82" y="298"/>
                  </a:lnTo>
                  <a:lnTo>
                    <a:pt x="81" y="297"/>
                  </a:lnTo>
                  <a:lnTo>
                    <a:pt x="79" y="296"/>
                  </a:lnTo>
                  <a:lnTo>
                    <a:pt x="78" y="295"/>
                  </a:lnTo>
                  <a:lnTo>
                    <a:pt x="76" y="294"/>
                  </a:lnTo>
                  <a:lnTo>
                    <a:pt x="67" y="291"/>
                  </a:lnTo>
                  <a:lnTo>
                    <a:pt x="65" y="290"/>
                  </a:lnTo>
                  <a:lnTo>
                    <a:pt x="62" y="288"/>
                  </a:lnTo>
                  <a:lnTo>
                    <a:pt x="60" y="288"/>
                  </a:lnTo>
                  <a:lnTo>
                    <a:pt x="52" y="283"/>
                  </a:lnTo>
                  <a:lnTo>
                    <a:pt x="39" y="276"/>
                  </a:lnTo>
                  <a:lnTo>
                    <a:pt x="35" y="273"/>
                  </a:lnTo>
                  <a:lnTo>
                    <a:pt x="32" y="271"/>
                  </a:lnTo>
                  <a:lnTo>
                    <a:pt x="29" y="268"/>
                  </a:lnTo>
                  <a:lnTo>
                    <a:pt x="26" y="266"/>
                  </a:lnTo>
                  <a:lnTo>
                    <a:pt x="25" y="264"/>
                  </a:lnTo>
                  <a:lnTo>
                    <a:pt x="23" y="262"/>
                  </a:lnTo>
                  <a:lnTo>
                    <a:pt x="20" y="257"/>
                  </a:lnTo>
                  <a:lnTo>
                    <a:pt x="16" y="252"/>
                  </a:lnTo>
                  <a:lnTo>
                    <a:pt x="11" y="243"/>
                  </a:lnTo>
                  <a:lnTo>
                    <a:pt x="6" y="236"/>
                  </a:lnTo>
                  <a:lnTo>
                    <a:pt x="4" y="232"/>
                  </a:lnTo>
                  <a:lnTo>
                    <a:pt x="3" y="231"/>
                  </a:lnTo>
                  <a:lnTo>
                    <a:pt x="3" y="228"/>
                  </a:lnTo>
                  <a:lnTo>
                    <a:pt x="2" y="226"/>
                  </a:lnTo>
                  <a:lnTo>
                    <a:pt x="1" y="224"/>
                  </a:lnTo>
                  <a:lnTo>
                    <a:pt x="1" y="222"/>
                  </a:lnTo>
                  <a:lnTo>
                    <a:pt x="1" y="220"/>
                  </a:lnTo>
                  <a:lnTo>
                    <a:pt x="0" y="218"/>
                  </a:lnTo>
                  <a:lnTo>
                    <a:pt x="0" y="216"/>
                  </a:lnTo>
                  <a:lnTo>
                    <a:pt x="0" y="213"/>
                  </a:lnTo>
                  <a:lnTo>
                    <a:pt x="1" y="211"/>
                  </a:lnTo>
                  <a:lnTo>
                    <a:pt x="1" y="209"/>
                  </a:lnTo>
                  <a:lnTo>
                    <a:pt x="2" y="207"/>
                  </a:lnTo>
                  <a:lnTo>
                    <a:pt x="3" y="205"/>
                  </a:lnTo>
                  <a:lnTo>
                    <a:pt x="3" y="203"/>
                  </a:lnTo>
                  <a:lnTo>
                    <a:pt x="5" y="201"/>
                  </a:lnTo>
                  <a:lnTo>
                    <a:pt x="7" y="199"/>
                  </a:lnTo>
                  <a:lnTo>
                    <a:pt x="9" y="198"/>
                  </a:lnTo>
                  <a:lnTo>
                    <a:pt x="11" y="196"/>
                  </a:lnTo>
                  <a:lnTo>
                    <a:pt x="15" y="193"/>
                  </a:lnTo>
                  <a:lnTo>
                    <a:pt x="21" y="189"/>
                  </a:lnTo>
                  <a:lnTo>
                    <a:pt x="34" y="181"/>
                  </a:lnTo>
                  <a:lnTo>
                    <a:pt x="37" y="179"/>
                  </a:lnTo>
                  <a:lnTo>
                    <a:pt x="39" y="177"/>
                  </a:lnTo>
                  <a:lnTo>
                    <a:pt x="41" y="175"/>
                  </a:lnTo>
                  <a:lnTo>
                    <a:pt x="43" y="174"/>
                  </a:lnTo>
                  <a:lnTo>
                    <a:pt x="45" y="172"/>
                  </a:lnTo>
                  <a:lnTo>
                    <a:pt x="46" y="171"/>
                  </a:lnTo>
                  <a:lnTo>
                    <a:pt x="47" y="169"/>
                  </a:lnTo>
                  <a:lnTo>
                    <a:pt x="48" y="168"/>
                  </a:lnTo>
                  <a:lnTo>
                    <a:pt x="48" y="166"/>
                  </a:lnTo>
                  <a:lnTo>
                    <a:pt x="49" y="164"/>
                  </a:lnTo>
                  <a:lnTo>
                    <a:pt x="49" y="157"/>
                  </a:lnTo>
                  <a:lnTo>
                    <a:pt x="51" y="148"/>
                  </a:lnTo>
                  <a:lnTo>
                    <a:pt x="52" y="143"/>
                  </a:lnTo>
                  <a:lnTo>
                    <a:pt x="57" y="126"/>
                  </a:lnTo>
                  <a:lnTo>
                    <a:pt x="58" y="123"/>
                  </a:lnTo>
                  <a:lnTo>
                    <a:pt x="59" y="119"/>
                  </a:lnTo>
                  <a:lnTo>
                    <a:pt x="60" y="117"/>
                  </a:lnTo>
                  <a:lnTo>
                    <a:pt x="62" y="115"/>
                  </a:lnTo>
                  <a:lnTo>
                    <a:pt x="64" y="113"/>
                  </a:lnTo>
                  <a:lnTo>
                    <a:pt x="69" y="109"/>
                  </a:lnTo>
                  <a:lnTo>
                    <a:pt x="71" y="107"/>
                  </a:lnTo>
                  <a:lnTo>
                    <a:pt x="71" y="107"/>
                  </a:lnTo>
                  <a:lnTo>
                    <a:pt x="73" y="103"/>
                  </a:lnTo>
                  <a:lnTo>
                    <a:pt x="77" y="95"/>
                  </a:lnTo>
                  <a:lnTo>
                    <a:pt x="79" y="93"/>
                  </a:lnTo>
                  <a:lnTo>
                    <a:pt x="83" y="87"/>
                  </a:lnTo>
                  <a:lnTo>
                    <a:pt x="85" y="84"/>
                  </a:lnTo>
                  <a:lnTo>
                    <a:pt x="87" y="80"/>
                  </a:lnTo>
                  <a:lnTo>
                    <a:pt x="94" y="68"/>
                  </a:lnTo>
                  <a:lnTo>
                    <a:pt x="97" y="62"/>
                  </a:lnTo>
                  <a:lnTo>
                    <a:pt x="99" y="59"/>
                  </a:lnTo>
                  <a:lnTo>
                    <a:pt x="103" y="54"/>
                  </a:lnTo>
                  <a:lnTo>
                    <a:pt x="105" y="50"/>
                  </a:lnTo>
                  <a:lnTo>
                    <a:pt x="112" y="42"/>
                  </a:lnTo>
                  <a:lnTo>
                    <a:pt x="115" y="39"/>
                  </a:lnTo>
                  <a:lnTo>
                    <a:pt x="117" y="37"/>
                  </a:lnTo>
                  <a:lnTo>
                    <a:pt x="117" y="36"/>
                  </a:lnTo>
                  <a:lnTo>
                    <a:pt x="121" y="37"/>
                  </a:lnTo>
                  <a:lnTo>
                    <a:pt x="131" y="39"/>
                  </a:lnTo>
                  <a:lnTo>
                    <a:pt x="143" y="43"/>
                  </a:lnTo>
                  <a:lnTo>
                    <a:pt x="147" y="44"/>
                  </a:lnTo>
                  <a:lnTo>
                    <a:pt x="149" y="44"/>
                  </a:lnTo>
                  <a:lnTo>
                    <a:pt x="150" y="44"/>
                  </a:lnTo>
                  <a:lnTo>
                    <a:pt x="152" y="43"/>
                  </a:lnTo>
                  <a:lnTo>
                    <a:pt x="154" y="43"/>
                  </a:lnTo>
                  <a:lnTo>
                    <a:pt x="156" y="42"/>
                  </a:lnTo>
                  <a:lnTo>
                    <a:pt x="158" y="41"/>
                  </a:lnTo>
                  <a:lnTo>
                    <a:pt x="161" y="39"/>
                  </a:lnTo>
                  <a:lnTo>
                    <a:pt x="164" y="36"/>
                  </a:lnTo>
                  <a:lnTo>
                    <a:pt x="167" y="34"/>
                  </a:lnTo>
                  <a:lnTo>
                    <a:pt x="170" y="33"/>
                  </a:lnTo>
                  <a:lnTo>
                    <a:pt x="173" y="31"/>
                  </a:lnTo>
                  <a:lnTo>
                    <a:pt x="176" y="30"/>
                  </a:lnTo>
                  <a:lnTo>
                    <a:pt x="179" y="29"/>
                  </a:lnTo>
                  <a:lnTo>
                    <a:pt x="183" y="29"/>
                  </a:lnTo>
                  <a:lnTo>
                    <a:pt x="185" y="29"/>
                  </a:lnTo>
                  <a:lnTo>
                    <a:pt x="187" y="29"/>
                  </a:lnTo>
                  <a:lnTo>
                    <a:pt x="190" y="30"/>
                  </a:lnTo>
                  <a:lnTo>
                    <a:pt x="193" y="31"/>
                  </a:lnTo>
                  <a:lnTo>
                    <a:pt x="196" y="32"/>
                  </a:lnTo>
                  <a:lnTo>
                    <a:pt x="197" y="33"/>
                  </a:lnTo>
                  <a:lnTo>
                    <a:pt x="199" y="35"/>
                  </a:lnTo>
                  <a:lnTo>
                    <a:pt x="202" y="38"/>
                  </a:lnTo>
                  <a:lnTo>
                    <a:pt x="204" y="39"/>
                  </a:lnTo>
                  <a:lnTo>
                    <a:pt x="208" y="45"/>
                  </a:lnTo>
                  <a:lnTo>
                    <a:pt x="209" y="46"/>
                  </a:lnTo>
                  <a:lnTo>
                    <a:pt x="210" y="47"/>
                  </a:lnTo>
                  <a:lnTo>
                    <a:pt x="210" y="48"/>
                  </a:lnTo>
                  <a:lnTo>
                    <a:pt x="211" y="48"/>
                  </a:lnTo>
                  <a:lnTo>
                    <a:pt x="212" y="48"/>
                  </a:lnTo>
                  <a:lnTo>
                    <a:pt x="213" y="48"/>
                  </a:lnTo>
                  <a:lnTo>
                    <a:pt x="213" y="47"/>
                  </a:lnTo>
                  <a:lnTo>
                    <a:pt x="214" y="46"/>
                  </a:lnTo>
                  <a:lnTo>
                    <a:pt x="215" y="45"/>
                  </a:lnTo>
                  <a:lnTo>
                    <a:pt x="216" y="41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9" y="37"/>
                  </a:lnTo>
                  <a:lnTo>
                    <a:pt x="220" y="36"/>
                  </a:lnTo>
                  <a:lnTo>
                    <a:pt x="223" y="34"/>
                  </a:lnTo>
                  <a:lnTo>
                    <a:pt x="225" y="33"/>
                  </a:lnTo>
                  <a:lnTo>
                    <a:pt x="230" y="29"/>
                  </a:lnTo>
                  <a:lnTo>
                    <a:pt x="233" y="28"/>
                  </a:lnTo>
                  <a:lnTo>
                    <a:pt x="234" y="27"/>
                  </a:lnTo>
                  <a:lnTo>
                    <a:pt x="235" y="26"/>
                  </a:lnTo>
                  <a:lnTo>
                    <a:pt x="238" y="22"/>
                  </a:lnTo>
                  <a:lnTo>
                    <a:pt x="239" y="21"/>
                  </a:lnTo>
                  <a:lnTo>
                    <a:pt x="240" y="20"/>
                  </a:lnTo>
                  <a:lnTo>
                    <a:pt x="242" y="19"/>
                  </a:lnTo>
                  <a:lnTo>
                    <a:pt x="242" y="18"/>
                  </a:lnTo>
                  <a:lnTo>
                    <a:pt x="244" y="18"/>
                  </a:lnTo>
                  <a:lnTo>
                    <a:pt x="250" y="16"/>
                  </a:lnTo>
                  <a:lnTo>
                    <a:pt x="253" y="16"/>
                  </a:lnTo>
                  <a:lnTo>
                    <a:pt x="256" y="15"/>
                  </a:lnTo>
                  <a:lnTo>
                    <a:pt x="263" y="12"/>
                  </a:lnTo>
                  <a:lnTo>
                    <a:pt x="265" y="11"/>
                  </a:lnTo>
                  <a:lnTo>
                    <a:pt x="269" y="10"/>
                  </a:lnTo>
                  <a:lnTo>
                    <a:pt x="277" y="9"/>
                  </a:lnTo>
                  <a:lnTo>
                    <a:pt x="287" y="8"/>
                  </a:lnTo>
                  <a:lnTo>
                    <a:pt x="288" y="7"/>
                  </a:lnTo>
                  <a:lnTo>
                    <a:pt x="290" y="7"/>
                  </a:lnTo>
                  <a:lnTo>
                    <a:pt x="293" y="6"/>
                  </a:lnTo>
                  <a:lnTo>
                    <a:pt x="298" y="4"/>
                  </a:lnTo>
                  <a:lnTo>
                    <a:pt x="300" y="2"/>
                  </a:lnTo>
                  <a:lnTo>
                    <a:pt x="303" y="0"/>
                  </a:lnTo>
                  <a:lnTo>
                    <a:pt x="304" y="0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9" name="Freeform 32">
              <a:extLst>
                <a:ext uri="{FF2B5EF4-FFF2-40B4-BE49-F238E27FC236}">
                  <a16:creationId xmlns:a16="http://schemas.microsoft.com/office/drawing/2014/main" id="{4A5F1EAD-C747-4AA2-A4FF-D15D5DAAF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" y="1803"/>
              <a:ext cx="649" cy="518"/>
            </a:xfrm>
            <a:custGeom>
              <a:avLst/>
              <a:gdLst>
                <a:gd name="T0" fmla="*/ 47 w 649"/>
                <a:gd name="T1" fmla="*/ 2 h 518"/>
                <a:gd name="T2" fmla="*/ 72 w 649"/>
                <a:gd name="T3" fmla="*/ 17 h 518"/>
                <a:gd name="T4" fmla="*/ 86 w 649"/>
                <a:gd name="T5" fmla="*/ 58 h 518"/>
                <a:gd name="T6" fmla="*/ 119 w 649"/>
                <a:gd name="T7" fmla="*/ 77 h 518"/>
                <a:gd name="T8" fmla="*/ 113 w 649"/>
                <a:gd name="T9" fmla="*/ 91 h 518"/>
                <a:gd name="T10" fmla="*/ 135 w 649"/>
                <a:gd name="T11" fmla="*/ 119 h 518"/>
                <a:gd name="T12" fmla="*/ 136 w 649"/>
                <a:gd name="T13" fmla="*/ 157 h 518"/>
                <a:gd name="T14" fmla="*/ 151 w 649"/>
                <a:gd name="T15" fmla="*/ 180 h 518"/>
                <a:gd name="T16" fmla="*/ 173 w 649"/>
                <a:gd name="T17" fmla="*/ 165 h 518"/>
                <a:gd name="T18" fmla="*/ 176 w 649"/>
                <a:gd name="T19" fmla="*/ 112 h 518"/>
                <a:gd name="T20" fmla="*/ 190 w 649"/>
                <a:gd name="T21" fmla="*/ 101 h 518"/>
                <a:gd name="T22" fmla="*/ 201 w 649"/>
                <a:gd name="T23" fmla="*/ 67 h 518"/>
                <a:gd name="T24" fmla="*/ 239 w 649"/>
                <a:gd name="T25" fmla="*/ 67 h 518"/>
                <a:gd name="T26" fmla="*/ 275 w 649"/>
                <a:gd name="T27" fmla="*/ 86 h 518"/>
                <a:gd name="T28" fmla="*/ 302 w 649"/>
                <a:gd name="T29" fmla="*/ 154 h 518"/>
                <a:gd name="T30" fmla="*/ 301 w 649"/>
                <a:gd name="T31" fmla="*/ 183 h 518"/>
                <a:gd name="T32" fmla="*/ 300 w 649"/>
                <a:gd name="T33" fmla="*/ 204 h 518"/>
                <a:gd name="T34" fmla="*/ 288 w 649"/>
                <a:gd name="T35" fmla="*/ 247 h 518"/>
                <a:gd name="T36" fmla="*/ 313 w 649"/>
                <a:gd name="T37" fmla="*/ 266 h 518"/>
                <a:gd name="T38" fmla="*/ 346 w 649"/>
                <a:gd name="T39" fmla="*/ 297 h 518"/>
                <a:gd name="T40" fmla="*/ 359 w 649"/>
                <a:gd name="T41" fmla="*/ 320 h 518"/>
                <a:gd name="T42" fmla="*/ 390 w 649"/>
                <a:gd name="T43" fmla="*/ 330 h 518"/>
                <a:gd name="T44" fmla="*/ 410 w 649"/>
                <a:gd name="T45" fmla="*/ 313 h 518"/>
                <a:gd name="T46" fmla="*/ 430 w 649"/>
                <a:gd name="T47" fmla="*/ 323 h 518"/>
                <a:gd name="T48" fmla="*/ 459 w 649"/>
                <a:gd name="T49" fmla="*/ 310 h 518"/>
                <a:gd name="T50" fmla="*/ 502 w 649"/>
                <a:gd name="T51" fmla="*/ 334 h 518"/>
                <a:gd name="T52" fmla="*/ 539 w 649"/>
                <a:gd name="T53" fmla="*/ 352 h 518"/>
                <a:gd name="T54" fmla="*/ 575 w 649"/>
                <a:gd name="T55" fmla="*/ 380 h 518"/>
                <a:gd name="T56" fmla="*/ 618 w 649"/>
                <a:gd name="T57" fmla="*/ 389 h 518"/>
                <a:gd name="T58" fmla="*/ 629 w 649"/>
                <a:gd name="T59" fmla="*/ 411 h 518"/>
                <a:gd name="T60" fmla="*/ 617 w 649"/>
                <a:gd name="T61" fmla="*/ 432 h 518"/>
                <a:gd name="T62" fmla="*/ 638 w 649"/>
                <a:gd name="T63" fmla="*/ 435 h 518"/>
                <a:gd name="T64" fmla="*/ 648 w 649"/>
                <a:gd name="T65" fmla="*/ 456 h 518"/>
                <a:gd name="T66" fmla="*/ 646 w 649"/>
                <a:gd name="T67" fmla="*/ 468 h 518"/>
                <a:gd name="T68" fmla="*/ 615 w 649"/>
                <a:gd name="T69" fmla="*/ 491 h 518"/>
                <a:gd name="T70" fmla="*/ 590 w 649"/>
                <a:gd name="T71" fmla="*/ 483 h 518"/>
                <a:gd name="T72" fmla="*/ 552 w 649"/>
                <a:gd name="T73" fmla="*/ 483 h 518"/>
                <a:gd name="T74" fmla="*/ 512 w 649"/>
                <a:gd name="T75" fmla="*/ 472 h 518"/>
                <a:gd name="T76" fmla="*/ 462 w 649"/>
                <a:gd name="T77" fmla="*/ 486 h 518"/>
                <a:gd name="T78" fmla="*/ 435 w 649"/>
                <a:gd name="T79" fmla="*/ 504 h 518"/>
                <a:gd name="T80" fmla="*/ 422 w 649"/>
                <a:gd name="T81" fmla="*/ 518 h 518"/>
                <a:gd name="T82" fmla="*/ 397 w 649"/>
                <a:gd name="T83" fmla="*/ 499 h 518"/>
                <a:gd name="T84" fmla="*/ 364 w 649"/>
                <a:gd name="T85" fmla="*/ 513 h 518"/>
                <a:gd name="T86" fmla="*/ 326 w 649"/>
                <a:gd name="T87" fmla="*/ 497 h 518"/>
                <a:gd name="T88" fmla="*/ 279 w 649"/>
                <a:gd name="T89" fmla="*/ 463 h 518"/>
                <a:gd name="T90" fmla="*/ 282 w 649"/>
                <a:gd name="T91" fmla="*/ 439 h 518"/>
                <a:gd name="T92" fmla="*/ 281 w 649"/>
                <a:gd name="T93" fmla="*/ 416 h 518"/>
                <a:gd name="T94" fmla="*/ 247 w 649"/>
                <a:gd name="T95" fmla="*/ 402 h 518"/>
                <a:gd name="T96" fmla="*/ 216 w 649"/>
                <a:gd name="T97" fmla="*/ 376 h 518"/>
                <a:gd name="T98" fmla="*/ 174 w 649"/>
                <a:gd name="T99" fmla="*/ 347 h 518"/>
                <a:gd name="T100" fmla="*/ 146 w 649"/>
                <a:gd name="T101" fmla="*/ 323 h 518"/>
                <a:gd name="T102" fmla="*/ 119 w 649"/>
                <a:gd name="T103" fmla="*/ 307 h 518"/>
                <a:gd name="T104" fmla="*/ 103 w 649"/>
                <a:gd name="T105" fmla="*/ 275 h 518"/>
                <a:gd name="T106" fmla="*/ 75 w 649"/>
                <a:gd name="T107" fmla="*/ 254 h 518"/>
                <a:gd name="T108" fmla="*/ 74 w 649"/>
                <a:gd name="T109" fmla="*/ 204 h 518"/>
                <a:gd name="T110" fmla="*/ 70 w 649"/>
                <a:gd name="T111" fmla="*/ 156 h 518"/>
                <a:gd name="T112" fmla="*/ 41 w 649"/>
                <a:gd name="T113" fmla="*/ 117 h 518"/>
                <a:gd name="T114" fmla="*/ 10 w 649"/>
                <a:gd name="T115" fmla="*/ 98 h 518"/>
                <a:gd name="T116" fmla="*/ 1 w 649"/>
                <a:gd name="T117" fmla="*/ 78 h 518"/>
                <a:gd name="T118" fmla="*/ 25 w 649"/>
                <a:gd name="T119" fmla="*/ 53 h 518"/>
                <a:gd name="T120" fmla="*/ 14 w 649"/>
                <a:gd name="T121" fmla="*/ 1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49" h="518">
                  <a:moveTo>
                    <a:pt x="10" y="1"/>
                  </a:moveTo>
                  <a:lnTo>
                    <a:pt x="10" y="2"/>
                  </a:lnTo>
                  <a:lnTo>
                    <a:pt x="11" y="2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8" y="4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37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7" y="2"/>
                  </a:lnTo>
                  <a:lnTo>
                    <a:pt x="51" y="2"/>
                  </a:lnTo>
                  <a:lnTo>
                    <a:pt x="54" y="3"/>
                  </a:lnTo>
                  <a:lnTo>
                    <a:pt x="56" y="3"/>
                  </a:lnTo>
                  <a:lnTo>
                    <a:pt x="57" y="4"/>
                  </a:lnTo>
                  <a:lnTo>
                    <a:pt x="59" y="5"/>
                  </a:lnTo>
                  <a:lnTo>
                    <a:pt x="61" y="6"/>
                  </a:lnTo>
                  <a:lnTo>
                    <a:pt x="63" y="7"/>
                  </a:lnTo>
                  <a:lnTo>
                    <a:pt x="64" y="8"/>
                  </a:lnTo>
                  <a:lnTo>
                    <a:pt x="66" y="9"/>
                  </a:lnTo>
                  <a:lnTo>
                    <a:pt x="67" y="11"/>
                  </a:lnTo>
                  <a:lnTo>
                    <a:pt x="70" y="14"/>
                  </a:lnTo>
                  <a:lnTo>
                    <a:pt x="72" y="17"/>
                  </a:lnTo>
                  <a:lnTo>
                    <a:pt x="73" y="20"/>
                  </a:lnTo>
                  <a:lnTo>
                    <a:pt x="75" y="22"/>
                  </a:lnTo>
                  <a:lnTo>
                    <a:pt x="75" y="24"/>
                  </a:lnTo>
                  <a:lnTo>
                    <a:pt x="76" y="26"/>
                  </a:lnTo>
                  <a:lnTo>
                    <a:pt x="77" y="35"/>
                  </a:lnTo>
                  <a:lnTo>
                    <a:pt x="78" y="38"/>
                  </a:lnTo>
                  <a:lnTo>
                    <a:pt x="79" y="45"/>
                  </a:lnTo>
                  <a:lnTo>
                    <a:pt x="80" y="49"/>
                  </a:lnTo>
                  <a:lnTo>
                    <a:pt x="81" y="52"/>
                  </a:lnTo>
                  <a:lnTo>
                    <a:pt x="83" y="55"/>
                  </a:lnTo>
                  <a:lnTo>
                    <a:pt x="84" y="56"/>
                  </a:lnTo>
                  <a:lnTo>
                    <a:pt x="86" y="58"/>
                  </a:lnTo>
                  <a:lnTo>
                    <a:pt x="88" y="59"/>
                  </a:lnTo>
                  <a:lnTo>
                    <a:pt x="90" y="61"/>
                  </a:lnTo>
                  <a:lnTo>
                    <a:pt x="92" y="62"/>
                  </a:lnTo>
                  <a:lnTo>
                    <a:pt x="94" y="63"/>
                  </a:lnTo>
                  <a:lnTo>
                    <a:pt x="96" y="64"/>
                  </a:lnTo>
                  <a:lnTo>
                    <a:pt x="110" y="68"/>
                  </a:lnTo>
                  <a:lnTo>
                    <a:pt x="112" y="69"/>
                  </a:lnTo>
                  <a:lnTo>
                    <a:pt x="113" y="70"/>
                  </a:lnTo>
                  <a:lnTo>
                    <a:pt x="115" y="71"/>
                  </a:lnTo>
                  <a:lnTo>
                    <a:pt x="116" y="73"/>
                  </a:lnTo>
                  <a:lnTo>
                    <a:pt x="118" y="74"/>
                  </a:lnTo>
                  <a:lnTo>
                    <a:pt x="119" y="77"/>
                  </a:lnTo>
                  <a:lnTo>
                    <a:pt x="120" y="78"/>
                  </a:lnTo>
                  <a:lnTo>
                    <a:pt x="121" y="79"/>
                  </a:lnTo>
                  <a:lnTo>
                    <a:pt x="121" y="81"/>
                  </a:lnTo>
                  <a:lnTo>
                    <a:pt x="121" y="83"/>
                  </a:lnTo>
                  <a:lnTo>
                    <a:pt x="120" y="84"/>
                  </a:lnTo>
                  <a:lnTo>
                    <a:pt x="119" y="85"/>
                  </a:lnTo>
                  <a:lnTo>
                    <a:pt x="118" y="85"/>
                  </a:lnTo>
                  <a:lnTo>
                    <a:pt x="116" y="87"/>
                  </a:lnTo>
                  <a:lnTo>
                    <a:pt x="115" y="88"/>
                  </a:lnTo>
                  <a:lnTo>
                    <a:pt x="114" y="89"/>
                  </a:lnTo>
                  <a:lnTo>
                    <a:pt x="113" y="89"/>
                  </a:lnTo>
                  <a:lnTo>
                    <a:pt x="113" y="91"/>
                  </a:lnTo>
                  <a:lnTo>
                    <a:pt x="113" y="92"/>
                  </a:lnTo>
                  <a:lnTo>
                    <a:pt x="113" y="94"/>
                  </a:lnTo>
                  <a:lnTo>
                    <a:pt x="114" y="96"/>
                  </a:lnTo>
                  <a:lnTo>
                    <a:pt x="115" y="98"/>
                  </a:lnTo>
                  <a:lnTo>
                    <a:pt x="117" y="101"/>
                  </a:lnTo>
                  <a:lnTo>
                    <a:pt x="119" y="103"/>
                  </a:lnTo>
                  <a:lnTo>
                    <a:pt x="121" y="105"/>
                  </a:lnTo>
                  <a:lnTo>
                    <a:pt x="124" y="108"/>
                  </a:lnTo>
                  <a:lnTo>
                    <a:pt x="131" y="113"/>
                  </a:lnTo>
                  <a:lnTo>
                    <a:pt x="133" y="115"/>
                  </a:lnTo>
                  <a:lnTo>
                    <a:pt x="134" y="117"/>
                  </a:lnTo>
                  <a:lnTo>
                    <a:pt x="135" y="119"/>
                  </a:lnTo>
                  <a:lnTo>
                    <a:pt x="138" y="123"/>
                  </a:lnTo>
                  <a:lnTo>
                    <a:pt x="139" y="124"/>
                  </a:lnTo>
                  <a:lnTo>
                    <a:pt x="139" y="125"/>
                  </a:lnTo>
                  <a:lnTo>
                    <a:pt x="140" y="127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39" y="135"/>
                  </a:lnTo>
                  <a:lnTo>
                    <a:pt x="138" y="143"/>
                  </a:lnTo>
                  <a:lnTo>
                    <a:pt x="137" y="146"/>
                  </a:lnTo>
                  <a:lnTo>
                    <a:pt x="136" y="152"/>
                  </a:lnTo>
                  <a:lnTo>
                    <a:pt x="136" y="155"/>
                  </a:lnTo>
                  <a:lnTo>
                    <a:pt x="136" y="157"/>
                  </a:lnTo>
                  <a:lnTo>
                    <a:pt x="136" y="158"/>
                  </a:lnTo>
                  <a:lnTo>
                    <a:pt x="136" y="160"/>
                  </a:lnTo>
                  <a:lnTo>
                    <a:pt x="137" y="162"/>
                  </a:lnTo>
                  <a:lnTo>
                    <a:pt x="139" y="166"/>
                  </a:lnTo>
                  <a:lnTo>
                    <a:pt x="142" y="170"/>
                  </a:lnTo>
                  <a:lnTo>
                    <a:pt x="144" y="173"/>
                  </a:lnTo>
                  <a:lnTo>
                    <a:pt x="145" y="175"/>
                  </a:lnTo>
                  <a:lnTo>
                    <a:pt x="147" y="176"/>
                  </a:lnTo>
                  <a:lnTo>
                    <a:pt x="147" y="177"/>
                  </a:lnTo>
                  <a:lnTo>
                    <a:pt x="148" y="178"/>
                  </a:lnTo>
                  <a:lnTo>
                    <a:pt x="150" y="179"/>
                  </a:lnTo>
                  <a:lnTo>
                    <a:pt x="151" y="180"/>
                  </a:lnTo>
                  <a:lnTo>
                    <a:pt x="156" y="181"/>
                  </a:lnTo>
                  <a:lnTo>
                    <a:pt x="159" y="182"/>
                  </a:lnTo>
                  <a:lnTo>
                    <a:pt x="161" y="182"/>
                  </a:lnTo>
                  <a:lnTo>
                    <a:pt x="163" y="182"/>
                  </a:lnTo>
                  <a:lnTo>
                    <a:pt x="166" y="182"/>
                  </a:lnTo>
                  <a:lnTo>
                    <a:pt x="168" y="182"/>
                  </a:lnTo>
                  <a:lnTo>
                    <a:pt x="169" y="182"/>
                  </a:lnTo>
                  <a:lnTo>
                    <a:pt x="170" y="181"/>
                  </a:lnTo>
                  <a:lnTo>
                    <a:pt x="170" y="180"/>
                  </a:lnTo>
                  <a:lnTo>
                    <a:pt x="170" y="180"/>
                  </a:lnTo>
                  <a:lnTo>
                    <a:pt x="171" y="172"/>
                  </a:lnTo>
                  <a:lnTo>
                    <a:pt x="173" y="165"/>
                  </a:lnTo>
                  <a:lnTo>
                    <a:pt x="173" y="160"/>
                  </a:lnTo>
                  <a:lnTo>
                    <a:pt x="173" y="158"/>
                  </a:lnTo>
                  <a:lnTo>
                    <a:pt x="173" y="156"/>
                  </a:lnTo>
                  <a:lnTo>
                    <a:pt x="172" y="147"/>
                  </a:lnTo>
                  <a:lnTo>
                    <a:pt x="172" y="145"/>
                  </a:lnTo>
                  <a:lnTo>
                    <a:pt x="172" y="141"/>
                  </a:lnTo>
                  <a:lnTo>
                    <a:pt x="172" y="136"/>
                  </a:lnTo>
                  <a:lnTo>
                    <a:pt x="172" y="133"/>
                  </a:lnTo>
                  <a:lnTo>
                    <a:pt x="174" y="126"/>
                  </a:lnTo>
                  <a:lnTo>
                    <a:pt x="174" y="121"/>
                  </a:lnTo>
                  <a:lnTo>
                    <a:pt x="175" y="117"/>
                  </a:lnTo>
                  <a:lnTo>
                    <a:pt x="176" y="112"/>
                  </a:lnTo>
                  <a:lnTo>
                    <a:pt x="177" y="111"/>
                  </a:lnTo>
                  <a:lnTo>
                    <a:pt x="178" y="109"/>
                  </a:lnTo>
                  <a:lnTo>
                    <a:pt x="178" y="108"/>
                  </a:lnTo>
                  <a:lnTo>
                    <a:pt x="179" y="107"/>
                  </a:lnTo>
                  <a:lnTo>
                    <a:pt x="180" y="106"/>
                  </a:lnTo>
                  <a:lnTo>
                    <a:pt x="181" y="106"/>
                  </a:lnTo>
                  <a:lnTo>
                    <a:pt x="181" y="105"/>
                  </a:lnTo>
                  <a:lnTo>
                    <a:pt x="186" y="104"/>
                  </a:lnTo>
                  <a:lnTo>
                    <a:pt x="188" y="103"/>
                  </a:lnTo>
                  <a:lnTo>
                    <a:pt x="189" y="103"/>
                  </a:lnTo>
                  <a:lnTo>
                    <a:pt x="189" y="102"/>
                  </a:lnTo>
                  <a:lnTo>
                    <a:pt x="190" y="101"/>
                  </a:lnTo>
                  <a:lnTo>
                    <a:pt x="191" y="101"/>
                  </a:lnTo>
                  <a:lnTo>
                    <a:pt x="192" y="99"/>
                  </a:lnTo>
                  <a:lnTo>
                    <a:pt x="192" y="97"/>
                  </a:lnTo>
                  <a:lnTo>
                    <a:pt x="192" y="94"/>
                  </a:lnTo>
                  <a:lnTo>
                    <a:pt x="193" y="88"/>
                  </a:lnTo>
                  <a:lnTo>
                    <a:pt x="193" y="86"/>
                  </a:lnTo>
                  <a:lnTo>
                    <a:pt x="194" y="83"/>
                  </a:lnTo>
                  <a:lnTo>
                    <a:pt x="194" y="81"/>
                  </a:lnTo>
                  <a:lnTo>
                    <a:pt x="195" y="78"/>
                  </a:lnTo>
                  <a:lnTo>
                    <a:pt x="197" y="76"/>
                  </a:lnTo>
                  <a:lnTo>
                    <a:pt x="198" y="72"/>
                  </a:lnTo>
                  <a:lnTo>
                    <a:pt x="201" y="67"/>
                  </a:lnTo>
                  <a:lnTo>
                    <a:pt x="204" y="63"/>
                  </a:lnTo>
                  <a:lnTo>
                    <a:pt x="205" y="59"/>
                  </a:lnTo>
                  <a:lnTo>
                    <a:pt x="207" y="55"/>
                  </a:lnTo>
                  <a:lnTo>
                    <a:pt x="210" y="53"/>
                  </a:lnTo>
                  <a:lnTo>
                    <a:pt x="213" y="50"/>
                  </a:lnTo>
                  <a:lnTo>
                    <a:pt x="215" y="48"/>
                  </a:lnTo>
                  <a:lnTo>
                    <a:pt x="215" y="47"/>
                  </a:lnTo>
                  <a:lnTo>
                    <a:pt x="221" y="53"/>
                  </a:lnTo>
                  <a:lnTo>
                    <a:pt x="227" y="57"/>
                  </a:lnTo>
                  <a:lnTo>
                    <a:pt x="234" y="63"/>
                  </a:lnTo>
                  <a:lnTo>
                    <a:pt x="238" y="66"/>
                  </a:lnTo>
                  <a:lnTo>
                    <a:pt x="239" y="67"/>
                  </a:lnTo>
                  <a:lnTo>
                    <a:pt x="241" y="67"/>
                  </a:lnTo>
                  <a:lnTo>
                    <a:pt x="243" y="67"/>
                  </a:lnTo>
                  <a:lnTo>
                    <a:pt x="247" y="67"/>
                  </a:lnTo>
                  <a:lnTo>
                    <a:pt x="248" y="67"/>
                  </a:lnTo>
                  <a:lnTo>
                    <a:pt x="249" y="68"/>
                  </a:lnTo>
                  <a:lnTo>
                    <a:pt x="253" y="70"/>
                  </a:lnTo>
                  <a:lnTo>
                    <a:pt x="257" y="72"/>
                  </a:lnTo>
                  <a:lnTo>
                    <a:pt x="262" y="76"/>
                  </a:lnTo>
                  <a:lnTo>
                    <a:pt x="270" y="81"/>
                  </a:lnTo>
                  <a:lnTo>
                    <a:pt x="272" y="82"/>
                  </a:lnTo>
                  <a:lnTo>
                    <a:pt x="273" y="84"/>
                  </a:lnTo>
                  <a:lnTo>
                    <a:pt x="275" y="86"/>
                  </a:lnTo>
                  <a:lnTo>
                    <a:pt x="276" y="88"/>
                  </a:lnTo>
                  <a:lnTo>
                    <a:pt x="277" y="89"/>
                  </a:lnTo>
                  <a:lnTo>
                    <a:pt x="283" y="99"/>
                  </a:lnTo>
                  <a:lnTo>
                    <a:pt x="296" y="123"/>
                  </a:lnTo>
                  <a:lnTo>
                    <a:pt x="298" y="126"/>
                  </a:lnTo>
                  <a:lnTo>
                    <a:pt x="299" y="129"/>
                  </a:lnTo>
                  <a:lnTo>
                    <a:pt x="300" y="132"/>
                  </a:lnTo>
                  <a:lnTo>
                    <a:pt x="300" y="134"/>
                  </a:lnTo>
                  <a:lnTo>
                    <a:pt x="301" y="135"/>
                  </a:lnTo>
                  <a:lnTo>
                    <a:pt x="301" y="138"/>
                  </a:lnTo>
                  <a:lnTo>
                    <a:pt x="301" y="147"/>
                  </a:lnTo>
                  <a:lnTo>
                    <a:pt x="302" y="154"/>
                  </a:lnTo>
                  <a:lnTo>
                    <a:pt x="302" y="157"/>
                  </a:lnTo>
                  <a:lnTo>
                    <a:pt x="302" y="159"/>
                  </a:lnTo>
                  <a:lnTo>
                    <a:pt x="301" y="162"/>
                  </a:lnTo>
                  <a:lnTo>
                    <a:pt x="300" y="165"/>
                  </a:lnTo>
                  <a:lnTo>
                    <a:pt x="298" y="169"/>
                  </a:lnTo>
                  <a:lnTo>
                    <a:pt x="298" y="171"/>
                  </a:lnTo>
                  <a:lnTo>
                    <a:pt x="297" y="173"/>
                  </a:lnTo>
                  <a:lnTo>
                    <a:pt x="297" y="175"/>
                  </a:lnTo>
                  <a:lnTo>
                    <a:pt x="297" y="176"/>
                  </a:lnTo>
                  <a:lnTo>
                    <a:pt x="298" y="178"/>
                  </a:lnTo>
                  <a:lnTo>
                    <a:pt x="299" y="180"/>
                  </a:lnTo>
                  <a:lnTo>
                    <a:pt x="301" y="183"/>
                  </a:lnTo>
                  <a:lnTo>
                    <a:pt x="302" y="184"/>
                  </a:lnTo>
                  <a:lnTo>
                    <a:pt x="303" y="186"/>
                  </a:lnTo>
                  <a:lnTo>
                    <a:pt x="303" y="188"/>
                  </a:lnTo>
                  <a:lnTo>
                    <a:pt x="304" y="191"/>
                  </a:lnTo>
                  <a:lnTo>
                    <a:pt x="304" y="192"/>
                  </a:lnTo>
                  <a:lnTo>
                    <a:pt x="304" y="194"/>
                  </a:lnTo>
                  <a:lnTo>
                    <a:pt x="304" y="196"/>
                  </a:lnTo>
                  <a:lnTo>
                    <a:pt x="303" y="198"/>
                  </a:lnTo>
                  <a:lnTo>
                    <a:pt x="303" y="199"/>
                  </a:lnTo>
                  <a:lnTo>
                    <a:pt x="302" y="201"/>
                  </a:lnTo>
                  <a:lnTo>
                    <a:pt x="301" y="203"/>
                  </a:lnTo>
                  <a:lnTo>
                    <a:pt x="300" y="204"/>
                  </a:lnTo>
                  <a:lnTo>
                    <a:pt x="296" y="210"/>
                  </a:lnTo>
                  <a:lnTo>
                    <a:pt x="294" y="213"/>
                  </a:lnTo>
                  <a:lnTo>
                    <a:pt x="294" y="214"/>
                  </a:lnTo>
                  <a:lnTo>
                    <a:pt x="293" y="216"/>
                  </a:lnTo>
                  <a:lnTo>
                    <a:pt x="291" y="220"/>
                  </a:lnTo>
                  <a:lnTo>
                    <a:pt x="290" y="224"/>
                  </a:lnTo>
                  <a:lnTo>
                    <a:pt x="290" y="227"/>
                  </a:lnTo>
                  <a:lnTo>
                    <a:pt x="289" y="232"/>
                  </a:lnTo>
                  <a:lnTo>
                    <a:pt x="288" y="237"/>
                  </a:lnTo>
                  <a:lnTo>
                    <a:pt x="288" y="240"/>
                  </a:lnTo>
                  <a:lnTo>
                    <a:pt x="288" y="243"/>
                  </a:lnTo>
                  <a:lnTo>
                    <a:pt x="288" y="247"/>
                  </a:lnTo>
                  <a:lnTo>
                    <a:pt x="289" y="248"/>
                  </a:lnTo>
                  <a:lnTo>
                    <a:pt x="289" y="249"/>
                  </a:lnTo>
                  <a:lnTo>
                    <a:pt x="290" y="250"/>
                  </a:lnTo>
                  <a:lnTo>
                    <a:pt x="291" y="251"/>
                  </a:lnTo>
                  <a:lnTo>
                    <a:pt x="292" y="252"/>
                  </a:lnTo>
                  <a:lnTo>
                    <a:pt x="294" y="253"/>
                  </a:lnTo>
                  <a:lnTo>
                    <a:pt x="300" y="257"/>
                  </a:lnTo>
                  <a:lnTo>
                    <a:pt x="306" y="260"/>
                  </a:lnTo>
                  <a:lnTo>
                    <a:pt x="308" y="261"/>
                  </a:lnTo>
                  <a:lnTo>
                    <a:pt x="311" y="263"/>
                  </a:lnTo>
                  <a:lnTo>
                    <a:pt x="312" y="265"/>
                  </a:lnTo>
                  <a:lnTo>
                    <a:pt x="313" y="266"/>
                  </a:lnTo>
                  <a:lnTo>
                    <a:pt x="316" y="271"/>
                  </a:lnTo>
                  <a:lnTo>
                    <a:pt x="317" y="273"/>
                  </a:lnTo>
                  <a:lnTo>
                    <a:pt x="320" y="279"/>
                  </a:lnTo>
                  <a:lnTo>
                    <a:pt x="322" y="282"/>
                  </a:lnTo>
                  <a:lnTo>
                    <a:pt x="323" y="283"/>
                  </a:lnTo>
                  <a:lnTo>
                    <a:pt x="325" y="285"/>
                  </a:lnTo>
                  <a:lnTo>
                    <a:pt x="328" y="288"/>
                  </a:lnTo>
                  <a:lnTo>
                    <a:pt x="330" y="290"/>
                  </a:lnTo>
                  <a:lnTo>
                    <a:pt x="333" y="292"/>
                  </a:lnTo>
                  <a:lnTo>
                    <a:pt x="336" y="293"/>
                  </a:lnTo>
                  <a:lnTo>
                    <a:pt x="342" y="295"/>
                  </a:lnTo>
                  <a:lnTo>
                    <a:pt x="346" y="297"/>
                  </a:lnTo>
                  <a:lnTo>
                    <a:pt x="350" y="299"/>
                  </a:lnTo>
                  <a:lnTo>
                    <a:pt x="351" y="300"/>
                  </a:lnTo>
                  <a:lnTo>
                    <a:pt x="351" y="301"/>
                  </a:lnTo>
                  <a:lnTo>
                    <a:pt x="352" y="302"/>
                  </a:lnTo>
                  <a:lnTo>
                    <a:pt x="353" y="304"/>
                  </a:lnTo>
                  <a:lnTo>
                    <a:pt x="353" y="305"/>
                  </a:lnTo>
                  <a:lnTo>
                    <a:pt x="354" y="305"/>
                  </a:lnTo>
                  <a:lnTo>
                    <a:pt x="355" y="308"/>
                  </a:lnTo>
                  <a:lnTo>
                    <a:pt x="356" y="315"/>
                  </a:lnTo>
                  <a:lnTo>
                    <a:pt x="358" y="317"/>
                  </a:lnTo>
                  <a:lnTo>
                    <a:pt x="358" y="319"/>
                  </a:lnTo>
                  <a:lnTo>
                    <a:pt x="359" y="320"/>
                  </a:lnTo>
                  <a:lnTo>
                    <a:pt x="360" y="321"/>
                  </a:lnTo>
                  <a:lnTo>
                    <a:pt x="361" y="322"/>
                  </a:lnTo>
                  <a:lnTo>
                    <a:pt x="363" y="324"/>
                  </a:lnTo>
                  <a:lnTo>
                    <a:pt x="365" y="326"/>
                  </a:lnTo>
                  <a:lnTo>
                    <a:pt x="377" y="331"/>
                  </a:lnTo>
                  <a:lnTo>
                    <a:pt x="379" y="331"/>
                  </a:lnTo>
                  <a:lnTo>
                    <a:pt x="381" y="332"/>
                  </a:lnTo>
                  <a:lnTo>
                    <a:pt x="382" y="332"/>
                  </a:lnTo>
                  <a:lnTo>
                    <a:pt x="385" y="332"/>
                  </a:lnTo>
                  <a:lnTo>
                    <a:pt x="386" y="331"/>
                  </a:lnTo>
                  <a:lnTo>
                    <a:pt x="387" y="331"/>
                  </a:lnTo>
                  <a:lnTo>
                    <a:pt x="390" y="330"/>
                  </a:lnTo>
                  <a:lnTo>
                    <a:pt x="393" y="328"/>
                  </a:lnTo>
                  <a:lnTo>
                    <a:pt x="395" y="327"/>
                  </a:lnTo>
                  <a:lnTo>
                    <a:pt x="397" y="326"/>
                  </a:lnTo>
                  <a:lnTo>
                    <a:pt x="398" y="325"/>
                  </a:lnTo>
                  <a:lnTo>
                    <a:pt x="400" y="322"/>
                  </a:lnTo>
                  <a:lnTo>
                    <a:pt x="402" y="319"/>
                  </a:lnTo>
                  <a:lnTo>
                    <a:pt x="405" y="316"/>
                  </a:lnTo>
                  <a:lnTo>
                    <a:pt x="406" y="315"/>
                  </a:lnTo>
                  <a:lnTo>
                    <a:pt x="408" y="313"/>
                  </a:lnTo>
                  <a:lnTo>
                    <a:pt x="408" y="313"/>
                  </a:lnTo>
                  <a:lnTo>
                    <a:pt x="409" y="313"/>
                  </a:lnTo>
                  <a:lnTo>
                    <a:pt x="410" y="313"/>
                  </a:lnTo>
                  <a:lnTo>
                    <a:pt x="410" y="314"/>
                  </a:lnTo>
                  <a:lnTo>
                    <a:pt x="412" y="315"/>
                  </a:lnTo>
                  <a:lnTo>
                    <a:pt x="415" y="317"/>
                  </a:lnTo>
                  <a:lnTo>
                    <a:pt x="416" y="319"/>
                  </a:lnTo>
                  <a:lnTo>
                    <a:pt x="418" y="320"/>
                  </a:lnTo>
                  <a:lnTo>
                    <a:pt x="420" y="321"/>
                  </a:lnTo>
                  <a:lnTo>
                    <a:pt x="421" y="322"/>
                  </a:lnTo>
                  <a:lnTo>
                    <a:pt x="423" y="323"/>
                  </a:lnTo>
                  <a:lnTo>
                    <a:pt x="425" y="323"/>
                  </a:lnTo>
                  <a:lnTo>
                    <a:pt x="427" y="323"/>
                  </a:lnTo>
                  <a:lnTo>
                    <a:pt x="428" y="323"/>
                  </a:lnTo>
                  <a:lnTo>
                    <a:pt x="430" y="323"/>
                  </a:lnTo>
                  <a:lnTo>
                    <a:pt x="431" y="322"/>
                  </a:lnTo>
                  <a:lnTo>
                    <a:pt x="432" y="321"/>
                  </a:lnTo>
                  <a:lnTo>
                    <a:pt x="434" y="320"/>
                  </a:lnTo>
                  <a:lnTo>
                    <a:pt x="439" y="316"/>
                  </a:lnTo>
                  <a:lnTo>
                    <a:pt x="441" y="315"/>
                  </a:lnTo>
                  <a:lnTo>
                    <a:pt x="443" y="314"/>
                  </a:lnTo>
                  <a:lnTo>
                    <a:pt x="446" y="313"/>
                  </a:lnTo>
                  <a:lnTo>
                    <a:pt x="451" y="311"/>
                  </a:lnTo>
                  <a:lnTo>
                    <a:pt x="453" y="311"/>
                  </a:lnTo>
                  <a:lnTo>
                    <a:pt x="455" y="310"/>
                  </a:lnTo>
                  <a:lnTo>
                    <a:pt x="457" y="310"/>
                  </a:lnTo>
                  <a:lnTo>
                    <a:pt x="459" y="310"/>
                  </a:lnTo>
                  <a:lnTo>
                    <a:pt x="461" y="310"/>
                  </a:lnTo>
                  <a:lnTo>
                    <a:pt x="463" y="310"/>
                  </a:lnTo>
                  <a:lnTo>
                    <a:pt x="465" y="311"/>
                  </a:lnTo>
                  <a:lnTo>
                    <a:pt x="468" y="312"/>
                  </a:lnTo>
                  <a:lnTo>
                    <a:pt x="474" y="315"/>
                  </a:lnTo>
                  <a:lnTo>
                    <a:pt x="481" y="318"/>
                  </a:lnTo>
                  <a:lnTo>
                    <a:pt x="485" y="320"/>
                  </a:lnTo>
                  <a:lnTo>
                    <a:pt x="488" y="322"/>
                  </a:lnTo>
                  <a:lnTo>
                    <a:pt x="489" y="324"/>
                  </a:lnTo>
                  <a:lnTo>
                    <a:pt x="497" y="329"/>
                  </a:lnTo>
                  <a:lnTo>
                    <a:pt x="499" y="332"/>
                  </a:lnTo>
                  <a:lnTo>
                    <a:pt x="502" y="334"/>
                  </a:lnTo>
                  <a:lnTo>
                    <a:pt x="505" y="335"/>
                  </a:lnTo>
                  <a:lnTo>
                    <a:pt x="506" y="336"/>
                  </a:lnTo>
                  <a:lnTo>
                    <a:pt x="508" y="337"/>
                  </a:lnTo>
                  <a:lnTo>
                    <a:pt x="510" y="338"/>
                  </a:lnTo>
                  <a:lnTo>
                    <a:pt x="514" y="339"/>
                  </a:lnTo>
                  <a:lnTo>
                    <a:pt x="516" y="339"/>
                  </a:lnTo>
                  <a:lnTo>
                    <a:pt x="517" y="339"/>
                  </a:lnTo>
                  <a:lnTo>
                    <a:pt x="520" y="340"/>
                  </a:lnTo>
                  <a:lnTo>
                    <a:pt x="522" y="342"/>
                  </a:lnTo>
                  <a:lnTo>
                    <a:pt x="530" y="347"/>
                  </a:lnTo>
                  <a:lnTo>
                    <a:pt x="536" y="350"/>
                  </a:lnTo>
                  <a:lnTo>
                    <a:pt x="539" y="352"/>
                  </a:lnTo>
                  <a:lnTo>
                    <a:pt x="542" y="353"/>
                  </a:lnTo>
                  <a:lnTo>
                    <a:pt x="544" y="354"/>
                  </a:lnTo>
                  <a:lnTo>
                    <a:pt x="545" y="354"/>
                  </a:lnTo>
                  <a:lnTo>
                    <a:pt x="545" y="355"/>
                  </a:lnTo>
                  <a:lnTo>
                    <a:pt x="545" y="355"/>
                  </a:lnTo>
                  <a:lnTo>
                    <a:pt x="547" y="357"/>
                  </a:lnTo>
                  <a:lnTo>
                    <a:pt x="560" y="366"/>
                  </a:lnTo>
                  <a:lnTo>
                    <a:pt x="563" y="369"/>
                  </a:lnTo>
                  <a:lnTo>
                    <a:pt x="567" y="372"/>
                  </a:lnTo>
                  <a:lnTo>
                    <a:pt x="569" y="374"/>
                  </a:lnTo>
                  <a:lnTo>
                    <a:pt x="572" y="377"/>
                  </a:lnTo>
                  <a:lnTo>
                    <a:pt x="575" y="380"/>
                  </a:lnTo>
                  <a:lnTo>
                    <a:pt x="578" y="384"/>
                  </a:lnTo>
                  <a:lnTo>
                    <a:pt x="579" y="385"/>
                  </a:lnTo>
                  <a:lnTo>
                    <a:pt x="581" y="387"/>
                  </a:lnTo>
                  <a:lnTo>
                    <a:pt x="583" y="388"/>
                  </a:lnTo>
                  <a:lnTo>
                    <a:pt x="584" y="389"/>
                  </a:lnTo>
                  <a:lnTo>
                    <a:pt x="586" y="389"/>
                  </a:lnTo>
                  <a:lnTo>
                    <a:pt x="587" y="389"/>
                  </a:lnTo>
                  <a:lnTo>
                    <a:pt x="589" y="390"/>
                  </a:lnTo>
                  <a:lnTo>
                    <a:pt x="603" y="389"/>
                  </a:lnTo>
                  <a:lnTo>
                    <a:pt x="612" y="388"/>
                  </a:lnTo>
                  <a:lnTo>
                    <a:pt x="615" y="388"/>
                  </a:lnTo>
                  <a:lnTo>
                    <a:pt x="618" y="389"/>
                  </a:lnTo>
                  <a:lnTo>
                    <a:pt x="620" y="389"/>
                  </a:lnTo>
                  <a:lnTo>
                    <a:pt x="621" y="390"/>
                  </a:lnTo>
                  <a:lnTo>
                    <a:pt x="623" y="391"/>
                  </a:lnTo>
                  <a:lnTo>
                    <a:pt x="624" y="393"/>
                  </a:lnTo>
                  <a:lnTo>
                    <a:pt x="625" y="395"/>
                  </a:lnTo>
                  <a:lnTo>
                    <a:pt x="627" y="397"/>
                  </a:lnTo>
                  <a:lnTo>
                    <a:pt x="628" y="400"/>
                  </a:lnTo>
                  <a:lnTo>
                    <a:pt x="629" y="402"/>
                  </a:lnTo>
                  <a:lnTo>
                    <a:pt x="629" y="404"/>
                  </a:lnTo>
                  <a:lnTo>
                    <a:pt x="629" y="407"/>
                  </a:lnTo>
                  <a:lnTo>
                    <a:pt x="629" y="408"/>
                  </a:lnTo>
                  <a:lnTo>
                    <a:pt x="629" y="411"/>
                  </a:lnTo>
                  <a:lnTo>
                    <a:pt x="628" y="413"/>
                  </a:lnTo>
                  <a:lnTo>
                    <a:pt x="627" y="415"/>
                  </a:lnTo>
                  <a:lnTo>
                    <a:pt x="626" y="417"/>
                  </a:lnTo>
                  <a:lnTo>
                    <a:pt x="625" y="418"/>
                  </a:lnTo>
                  <a:lnTo>
                    <a:pt x="624" y="418"/>
                  </a:lnTo>
                  <a:lnTo>
                    <a:pt x="618" y="424"/>
                  </a:lnTo>
                  <a:lnTo>
                    <a:pt x="617" y="425"/>
                  </a:lnTo>
                  <a:lnTo>
                    <a:pt x="617" y="426"/>
                  </a:lnTo>
                  <a:lnTo>
                    <a:pt x="616" y="427"/>
                  </a:lnTo>
                  <a:lnTo>
                    <a:pt x="616" y="429"/>
                  </a:lnTo>
                  <a:lnTo>
                    <a:pt x="617" y="430"/>
                  </a:lnTo>
                  <a:lnTo>
                    <a:pt x="617" y="432"/>
                  </a:lnTo>
                  <a:lnTo>
                    <a:pt x="618" y="433"/>
                  </a:lnTo>
                  <a:lnTo>
                    <a:pt x="619" y="434"/>
                  </a:lnTo>
                  <a:lnTo>
                    <a:pt x="620" y="435"/>
                  </a:lnTo>
                  <a:lnTo>
                    <a:pt x="620" y="436"/>
                  </a:lnTo>
                  <a:lnTo>
                    <a:pt x="621" y="437"/>
                  </a:lnTo>
                  <a:lnTo>
                    <a:pt x="622" y="437"/>
                  </a:lnTo>
                  <a:lnTo>
                    <a:pt x="624" y="437"/>
                  </a:lnTo>
                  <a:lnTo>
                    <a:pt x="624" y="438"/>
                  </a:lnTo>
                  <a:lnTo>
                    <a:pt x="626" y="438"/>
                  </a:lnTo>
                  <a:lnTo>
                    <a:pt x="628" y="438"/>
                  </a:lnTo>
                  <a:lnTo>
                    <a:pt x="630" y="437"/>
                  </a:lnTo>
                  <a:lnTo>
                    <a:pt x="638" y="435"/>
                  </a:lnTo>
                  <a:lnTo>
                    <a:pt x="641" y="435"/>
                  </a:lnTo>
                  <a:lnTo>
                    <a:pt x="641" y="437"/>
                  </a:lnTo>
                  <a:lnTo>
                    <a:pt x="642" y="439"/>
                  </a:lnTo>
                  <a:lnTo>
                    <a:pt x="642" y="440"/>
                  </a:lnTo>
                  <a:lnTo>
                    <a:pt x="643" y="441"/>
                  </a:lnTo>
                  <a:lnTo>
                    <a:pt x="644" y="442"/>
                  </a:lnTo>
                  <a:lnTo>
                    <a:pt x="647" y="447"/>
                  </a:lnTo>
                  <a:lnTo>
                    <a:pt x="648" y="449"/>
                  </a:lnTo>
                  <a:lnTo>
                    <a:pt x="648" y="452"/>
                  </a:lnTo>
                  <a:lnTo>
                    <a:pt x="649" y="452"/>
                  </a:lnTo>
                  <a:lnTo>
                    <a:pt x="648" y="455"/>
                  </a:lnTo>
                  <a:lnTo>
                    <a:pt x="648" y="456"/>
                  </a:lnTo>
                  <a:lnTo>
                    <a:pt x="647" y="457"/>
                  </a:lnTo>
                  <a:lnTo>
                    <a:pt x="645" y="458"/>
                  </a:lnTo>
                  <a:lnTo>
                    <a:pt x="645" y="459"/>
                  </a:lnTo>
                  <a:lnTo>
                    <a:pt x="644" y="459"/>
                  </a:lnTo>
                  <a:lnTo>
                    <a:pt x="644" y="460"/>
                  </a:lnTo>
                  <a:lnTo>
                    <a:pt x="644" y="462"/>
                  </a:lnTo>
                  <a:lnTo>
                    <a:pt x="644" y="463"/>
                  </a:lnTo>
                  <a:lnTo>
                    <a:pt x="645" y="463"/>
                  </a:lnTo>
                  <a:lnTo>
                    <a:pt x="646" y="465"/>
                  </a:lnTo>
                  <a:lnTo>
                    <a:pt x="646" y="466"/>
                  </a:lnTo>
                  <a:lnTo>
                    <a:pt x="646" y="467"/>
                  </a:lnTo>
                  <a:lnTo>
                    <a:pt x="646" y="468"/>
                  </a:lnTo>
                  <a:lnTo>
                    <a:pt x="645" y="469"/>
                  </a:lnTo>
                  <a:lnTo>
                    <a:pt x="645" y="471"/>
                  </a:lnTo>
                  <a:lnTo>
                    <a:pt x="643" y="473"/>
                  </a:lnTo>
                  <a:lnTo>
                    <a:pt x="641" y="475"/>
                  </a:lnTo>
                  <a:lnTo>
                    <a:pt x="639" y="475"/>
                  </a:lnTo>
                  <a:lnTo>
                    <a:pt x="630" y="484"/>
                  </a:lnTo>
                  <a:lnTo>
                    <a:pt x="627" y="486"/>
                  </a:lnTo>
                  <a:lnTo>
                    <a:pt x="624" y="488"/>
                  </a:lnTo>
                  <a:lnTo>
                    <a:pt x="622" y="489"/>
                  </a:lnTo>
                  <a:lnTo>
                    <a:pt x="620" y="490"/>
                  </a:lnTo>
                  <a:lnTo>
                    <a:pt x="616" y="491"/>
                  </a:lnTo>
                  <a:lnTo>
                    <a:pt x="615" y="491"/>
                  </a:lnTo>
                  <a:lnTo>
                    <a:pt x="614" y="492"/>
                  </a:lnTo>
                  <a:lnTo>
                    <a:pt x="613" y="491"/>
                  </a:lnTo>
                  <a:lnTo>
                    <a:pt x="612" y="491"/>
                  </a:lnTo>
                  <a:lnTo>
                    <a:pt x="610" y="490"/>
                  </a:lnTo>
                  <a:lnTo>
                    <a:pt x="606" y="488"/>
                  </a:lnTo>
                  <a:lnTo>
                    <a:pt x="601" y="486"/>
                  </a:lnTo>
                  <a:lnTo>
                    <a:pt x="598" y="485"/>
                  </a:lnTo>
                  <a:lnTo>
                    <a:pt x="597" y="484"/>
                  </a:lnTo>
                  <a:lnTo>
                    <a:pt x="595" y="484"/>
                  </a:lnTo>
                  <a:lnTo>
                    <a:pt x="593" y="483"/>
                  </a:lnTo>
                  <a:lnTo>
                    <a:pt x="592" y="483"/>
                  </a:lnTo>
                  <a:lnTo>
                    <a:pt x="590" y="483"/>
                  </a:lnTo>
                  <a:lnTo>
                    <a:pt x="587" y="484"/>
                  </a:lnTo>
                  <a:lnTo>
                    <a:pt x="584" y="484"/>
                  </a:lnTo>
                  <a:lnTo>
                    <a:pt x="579" y="486"/>
                  </a:lnTo>
                  <a:lnTo>
                    <a:pt x="577" y="486"/>
                  </a:lnTo>
                  <a:lnTo>
                    <a:pt x="575" y="486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4" y="487"/>
                  </a:lnTo>
                  <a:lnTo>
                    <a:pt x="562" y="486"/>
                  </a:lnTo>
                  <a:lnTo>
                    <a:pt x="560" y="486"/>
                  </a:lnTo>
                  <a:lnTo>
                    <a:pt x="559" y="486"/>
                  </a:lnTo>
                  <a:lnTo>
                    <a:pt x="552" y="483"/>
                  </a:lnTo>
                  <a:lnTo>
                    <a:pt x="548" y="481"/>
                  </a:lnTo>
                  <a:lnTo>
                    <a:pt x="546" y="480"/>
                  </a:lnTo>
                  <a:lnTo>
                    <a:pt x="537" y="478"/>
                  </a:lnTo>
                  <a:lnTo>
                    <a:pt x="534" y="478"/>
                  </a:lnTo>
                  <a:lnTo>
                    <a:pt x="531" y="476"/>
                  </a:lnTo>
                  <a:lnTo>
                    <a:pt x="526" y="474"/>
                  </a:lnTo>
                  <a:lnTo>
                    <a:pt x="524" y="473"/>
                  </a:lnTo>
                  <a:lnTo>
                    <a:pt x="522" y="472"/>
                  </a:lnTo>
                  <a:lnTo>
                    <a:pt x="517" y="470"/>
                  </a:lnTo>
                  <a:lnTo>
                    <a:pt x="516" y="470"/>
                  </a:lnTo>
                  <a:lnTo>
                    <a:pt x="515" y="470"/>
                  </a:lnTo>
                  <a:lnTo>
                    <a:pt x="512" y="472"/>
                  </a:lnTo>
                  <a:lnTo>
                    <a:pt x="510" y="474"/>
                  </a:lnTo>
                  <a:lnTo>
                    <a:pt x="505" y="476"/>
                  </a:lnTo>
                  <a:lnTo>
                    <a:pt x="502" y="477"/>
                  </a:lnTo>
                  <a:lnTo>
                    <a:pt x="500" y="477"/>
                  </a:lnTo>
                  <a:lnTo>
                    <a:pt x="499" y="478"/>
                  </a:lnTo>
                  <a:lnTo>
                    <a:pt x="489" y="479"/>
                  </a:lnTo>
                  <a:lnTo>
                    <a:pt x="481" y="480"/>
                  </a:lnTo>
                  <a:lnTo>
                    <a:pt x="477" y="481"/>
                  </a:lnTo>
                  <a:lnTo>
                    <a:pt x="475" y="482"/>
                  </a:lnTo>
                  <a:lnTo>
                    <a:pt x="468" y="485"/>
                  </a:lnTo>
                  <a:lnTo>
                    <a:pt x="465" y="486"/>
                  </a:lnTo>
                  <a:lnTo>
                    <a:pt x="462" y="486"/>
                  </a:lnTo>
                  <a:lnTo>
                    <a:pt x="456" y="488"/>
                  </a:lnTo>
                  <a:lnTo>
                    <a:pt x="454" y="488"/>
                  </a:lnTo>
                  <a:lnTo>
                    <a:pt x="454" y="489"/>
                  </a:lnTo>
                  <a:lnTo>
                    <a:pt x="452" y="490"/>
                  </a:lnTo>
                  <a:lnTo>
                    <a:pt x="451" y="491"/>
                  </a:lnTo>
                  <a:lnTo>
                    <a:pt x="450" y="492"/>
                  </a:lnTo>
                  <a:lnTo>
                    <a:pt x="447" y="496"/>
                  </a:lnTo>
                  <a:lnTo>
                    <a:pt x="446" y="497"/>
                  </a:lnTo>
                  <a:lnTo>
                    <a:pt x="445" y="498"/>
                  </a:lnTo>
                  <a:lnTo>
                    <a:pt x="442" y="499"/>
                  </a:lnTo>
                  <a:lnTo>
                    <a:pt x="437" y="503"/>
                  </a:lnTo>
                  <a:lnTo>
                    <a:pt x="435" y="504"/>
                  </a:lnTo>
                  <a:lnTo>
                    <a:pt x="432" y="506"/>
                  </a:lnTo>
                  <a:lnTo>
                    <a:pt x="431" y="507"/>
                  </a:lnTo>
                  <a:lnTo>
                    <a:pt x="430" y="509"/>
                  </a:lnTo>
                  <a:lnTo>
                    <a:pt x="430" y="509"/>
                  </a:lnTo>
                  <a:lnTo>
                    <a:pt x="428" y="511"/>
                  </a:lnTo>
                  <a:lnTo>
                    <a:pt x="427" y="515"/>
                  </a:lnTo>
                  <a:lnTo>
                    <a:pt x="426" y="516"/>
                  </a:lnTo>
                  <a:lnTo>
                    <a:pt x="425" y="517"/>
                  </a:lnTo>
                  <a:lnTo>
                    <a:pt x="425" y="518"/>
                  </a:lnTo>
                  <a:lnTo>
                    <a:pt x="424" y="518"/>
                  </a:lnTo>
                  <a:lnTo>
                    <a:pt x="423" y="518"/>
                  </a:lnTo>
                  <a:lnTo>
                    <a:pt x="422" y="518"/>
                  </a:lnTo>
                  <a:lnTo>
                    <a:pt x="422" y="517"/>
                  </a:lnTo>
                  <a:lnTo>
                    <a:pt x="421" y="516"/>
                  </a:lnTo>
                  <a:lnTo>
                    <a:pt x="420" y="515"/>
                  </a:lnTo>
                  <a:lnTo>
                    <a:pt x="416" y="509"/>
                  </a:lnTo>
                  <a:lnTo>
                    <a:pt x="414" y="508"/>
                  </a:lnTo>
                  <a:lnTo>
                    <a:pt x="411" y="505"/>
                  </a:lnTo>
                  <a:lnTo>
                    <a:pt x="409" y="503"/>
                  </a:lnTo>
                  <a:lnTo>
                    <a:pt x="408" y="502"/>
                  </a:lnTo>
                  <a:lnTo>
                    <a:pt x="405" y="501"/>
                  </a:lnTo>
                  <a:lnTo>
                    <a:pt x="402" y="500"/>
                  </a:lnTo>
                  <a:lnTo>
                    <a:pt x="399" y="499"/>
                  </a:lnTo>
                  <a:lnTo>
                    <a:pt x="397" y="499"/>
                  </a:lnTo>
                  <a:lnTo>
                    <a:pt x="395" y="499"/>
                  </a:lnTo>
                  <a:lnTo>
                    <a:pt x="391" y="499"/>
                  </a:lnTo>
                  <a:lnTo>
                    <a:pt x="388" y="500"/>
                  </a:lnTo>
                  <a:lnTo>
                    <a:pt x="385" y="501"/>
                  </a:lnTo>
                  <a:lnTo>
                    <a:pt x="382" y="503"/>
                  </a:lnTo>
                  <a:lnTo>
                    <a:pt x="379" y="504"/>
                  </a:lnTo>
                  <a:lnTo>
                    <a:pt x="376" y="506"/>
                  </a:lnTo>
                  <a:lnTo>
                    <a:pt x="373" y="509"/>
                  </a:lnTo>
                  <a:lnTo>
                    <a:pt x="370" y="511"/>
                  </a:lnTo>
                  <a:lnTo>
                    <a:pt x="368" y="512"/>
                  </a:lnTo>
                  <a:lnTo>
                    <a:pt x="366" y="513"/>
                  </a:lnTo>
                  <a:lnTo>
                    <a:pt x="364" y="513"/>
                  </a:lnTo>
                  <a:lnTo>
                    <a:pt x="362" y="514"/>
                  </a:lnTo>
                  <a:lnTo>
                    <a:pt x="361" y="514"/>
                  </a:lnTo>
                  <a:lnTo>
                    <a:pt x="359" y="514"/>
                  </a:lnTo>
                  <a:lnTo>
                    <a:pt x="355" y="513"/>
                  </a:lnTo>
                  <a:lnTo>
                    <a:pt x="343" y="509"/>
                  </a:lnTo>
                  <a:lnTo>
                    <a:pt x="333" y="507"/>
                  </a:lnTo>
                  <a:lnTo>
                    <a:pt x="329" y="506"/>
                  </a:lnTo>
                  <a:lnTo>
                    <a:pt x="329" y="505"/>
                  </a:lnTo>
                  <a:lnTo>
                    <a:pt x="329" y="503"/>
                  </a:lnTo>
                  <a:lnTo>
                    <a:pt x="328" y="501"/>
                  </a:lnTo>
                  <a:lnTo>
                    <a:pt x="327" y="498"/>
                  </a:lnTo>
                  <a:lnTo>
                    <a:pt x="326" y="497"/>
                  </a:lnTo>
                  <a:lnTo>
                    <a:pt x="324" y="495"/>
                  </a:lnTo>
                  <a:lnTo>
                    <a:pt x="321" y="492"/>
                  </a:lnTo>
                  <a:lnTo>
                    <a:pt x="319" y="490"/>
                  </a:lnTo>
                  <a:lnTo>
                    <a:pt x="317" y="488"/>
                  </a:lnTo>
                  <a:lnTo>
                    <a:pt x="315" y="486"/>
                  </a:lnTo>
                  <a:lnTo>
                    <a:pt x="309" y="483"/>
                  </a:lnTo>
                  <a:lnTo>
                    <a:pt x="306" y="481"/>
                  </a:lnTo>
                  <a:lnTo>
                    <a:pt x="292" y="474"/>
                  </a:lnTo>
                  <a:lnTo>
                    <a:pt x="287" y="471"/>
                  </a:lnTo>
                  <a:lnTo>
                    <a:pt x="283" y="467"/>
                  </a:lnTo>
                  <a:lnTo>
                    <a:pt x="281" y="465"/>
                  </a:lnTo>
                  <a:lnTo>
                    <a:pt x="279" y="463"/>
                  </a:lnTo>
                  <a:lnTo>
                    <a:pt x="278" y="463"/>
                  </a:lnTo>
                  <a:lnTo>
                    <a:pt x="277" y="462"/>
                  </a:lnTo>
                  <a:lnTo>
                    <a:pt x="276" y="459"/>
                  </a:lnTo>
                  <a:lnTo>
                    <a:pt x="275" y="458"/>
                  </a:lnTo>
                  <a:lnTo>
                    <a:pt x="275" y="456"/>
                  </a:lnTo>
                  <a:lnTo>
                    <a:pt x="275" y="454"/>
                  </a:lnTo>
                  <a:lnTo>
                    <a:pt x="275" y="452"/>
                  </a:lnTo>
                  <a:lnTo>
                    <a:pt x="275" y="451"/>
                  </a:lnTo>
                  <a:lnTo>
                    <a:pt x="276" y="448"/>
                  </a:lnTo>
                  <a:lnTo>
                    <a:pt x="277" y="446"/>
                  </a:lnTo>
                  <a:lnTo>
                    <a:pt x="279" y="443"/>
                  </a:lnTo>
                  <a:lnTo>
                    <a:pt x="282" y="439"/>
                  </a:lnTo>
                  <a:lnTo>
                    <a:pt x="283" y="435"/>
                  </a:lnTo>
                  <a:lnTo>
                    <a:pt x="283" y="433"/>
                  </a:lnTo>
                  <a:lnTo>
                    <a:pt x="283" y="431"/>
                  </a:lnTo>
                  <a:lnTo>
                    <a:pt x="284" y="429"/>
                  </a:lnTo>
                  <a:lnTo>
                    <a:pt x="284" y="427"/>
                  </a:lnTo>
                  <a:lnTo>
                    <a:pt x="284" y="425"/>
                  </a:lnTo>
                  <a:lnTo>
                    <a:pt x="284" y="424"/>
                  </a:lnTo>
                  <a:lnTo>
                    <a:pt x="283" y="422"/>
                  </a:lnTo>
                  <a:lnTo>
                    <a:pt x="283" y="420"/>
                  </a:lnTo>
                  <a:lnTo>
                    <a:pt x="283" y="418"/>
                  </a:lnTo>
                  <a:lnTo>
                    <a:pt x="282" y="418"/>
                  </a:lnTo>
                  <a:lnTo>
                    <a:pt x="281" y="416"/>
                  </a:lnTo>
                  <a:lnTo>
                    <a:pt x="279" y="415"/>
                  </a:lnTo>
                  <a:lnTo>
                    <a:pt x="274" y="410"/>
                  </a:lnTo>
                  <a:lnTo>
                    <a:pt x="271" y="407"/>
                  </a:lnTo>
                  <a:lnTo>
                    <a:pt x="268" y="406"/>
                  </a:lnTo>
                  <a:lnTo>
                    <a:pt x="267" y="405"/>
                  </a:lnTo>
                  <a:lnTo>
                    <a:pt x="265" y="404"/>
                  </a:lnTo>
                  <a:lnTo>
                    <a:pt x="262" y="403"/>
                  </a:lnTo>
                  <a:lnTo>
                    <a:pt x="260" y="403"/>
                  </a:lnTo>
                  <a:lnTo>
                    <a:pt x="257" y="403"/>
                  </a:lnTo>
                  <a:lnTo>
                    <a:pt x="251" y="403"/>
                  </a:lnTo>
                  <a:lnTo>
                    <a:pt x="249" y="402"/>
                  </a:lnTo>
                  <a:lnTo>
                    <a:pt x="247" y="402"/>
                  </a:lnTo>
                  <a:lnTo>
                    <a:pt x="245" y="401"/>
                  </a:lnTo>
                  <a:lnTo>
                    <a:pt x="243" y="400"/>
                  </a:lnTo>
                  <a:lnTo>
                    <a:pt x="242" y="399"/>
                  </a:lnTo>
                  <a:lnTo>
                    <a:pt x="241" y="398"/>
                  </a:lnTo>
                  <a:lnTo>
                    <a:pt x="239" y="395"/>
                  </a:lnTo>
                  <a:lnTo>
                    <a:pt x="238" y="393"/>
                  </a:lnTo>
                  <a:lnTo>
                    <a:pt x="237" y="391"/>
                  </a:lnTo>
                  <a:lnTo>
                    <a:pt x="235" y="390"/>
                  </a:lnTo>
                  <a:lnTo>
                    <a:pt x="230" y="387"/>
                  </a:lnTo>
                  <a:lnTo>
                    <a:pt x="223" y="382"/>
                  </a:lnTo>
                  <a:lnTo>
                    <a:pt x="219" y="380"/>
                  </a:lnTo>
                  <a:lnTo>
                    <a:pt x="216" y="376"/>
                  </a:lnTo>
                  <a:lnTo>
                    <a:pt x="215" y="375"/>
                  </a:lnTo>
                  <a:lnTo>
                    <a:pt x="213" y="374"/>
                  </a:lnTo>
                  <a:lnTo>
                    <a:pt x="207" y="372"/>
                  </a:lnTo>
                  <a:lnTo>
                    <a:pt x="205" y="371"/>
                  </a:lnTo>
                  <a:lnTo>
                    <a:pt x="203" y="369"/>
                  </a:lnTo>
                  <a:lnTo>
                    <a:pt x="196" y="365"/>
                  </a:lnTo>
                  <a:lnTo>
                    <a:pt x="193" y="363"/>
                  </a:lnTo>
                  <a:lnTo>
                    <a:pt x="189" y="360"/>
                  </a:lnTo>
                  <a:lnTo>
                    <a:pt x="180" y="350"/>
                  </a:lnTo>
                  <a:lnTo>
                    <a:pt x="178" y="350"/>
                  </a:lnTo>
                  <a:lnTo>
                    <a:pt x="176" y="348"/>
                  </a:lnTo>
                  <a:lnTo>
                    <a:pt x="174" y="347"/>
                  </a:lnTo>
                  <a:lnTo>
                    <a:pt x="172" y="346"/>
                  </a:lnTo>
                  <a:lnTo>
                    <a:pt x="167" y="343"/>
                  </a:lnTo>
                  <a:lnTo>
                    <a:pt x="165" y="343"/>
                  </a:lnTo>
                  <a:lnTo>
                    <a:pt x="164" y="342"/>
                  </a:lnTo>
                  <a:lnTo>
                    <a:pt x="162" y="340"/>
                  </a:lnTo>
                  <a:lnTo>
                    <a:pt x="160" y="338"/>
                  </a:lnTo>
                  <a:lnTo>
                    <a:pt x="158" y="335"/>
                  </a:lnTo>
                  <a:lnTo>
                    <a:pt x="154" y="330"/>
                  </a:lnTo>
                  <a:lnTo>
                    <a:pt x="153" y="328"/>
                  </a:lnTo>
                  <a:lnTo>
                    <a:pt x="151" y="327"/>
                  </a:lnTo>
                  <a:lnTo>
                    <a:pt x="149" y="326"/>
                  </a:lnTo>
                  <a:lnTo>
                    <a:pt x="146" y="323"/>
                  </a:lnTo>
                  <a:lnTo>
                    <a:pt x="142" y="322"/>
                  </a:lnTo>
                  <a:lnTo>
                    <a:pt x="139" y="320"/>
                  </a:lnTo>
                  <a:lnTo>
                    <a:pt x="131" y="318"/>
                  </a:lnTo>
                  <a:lnTo>
                    <a:pt x="128" y="317"/>
                  </a:lnTo>
                  <a:lnTo>
                    <a:pt x="124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2"/>
                  </a:lnTo>
                  <a:lnTo>
                    <a:pt x="120" y="311"/>
                  </a:lnTo>
                  <a:lnTo>
                    <a:pt x="119" y="310"/>
                  </a:lnTo>
                  <a:lnTo>
                    <a:pt x="119" y="308"/>
                  </a:lnTo>
                  <a:lnTo>
                    <a:pt x="119" y="307"/>
                  </a:lnTo>
                  <a:lnTo>
                    <a:pt x="118" y="306"/>
                  </a:lnTo>
                  <a:lnTo>
                    <a:pt x="119" y="301"/>
                  </a:lnTo>
                  <a:lnTo>
                    <a:pt x="119" y="299"/>
                  </a:lnTo>
                  <a:lnTo>
                    <a:pt x="118" y="296"/>
                  </a:lnTo>
                  <a:lnTo>
                    <a:pt x="118" y="294"/>
                  </a:lnTo>
                  <a:lnTo>
                    <a:pt x="117" y="293"/>
                  </a:lnTo>
                  <a:lnTo>
                    <a:pt x="114" y="289"/>
                  </a:lnTo>
                  <a:lnTo>
                    <a:pt x="113" y="285"/>
                  </a:lnTo>
                  <a:lnTo>
                    <a:pt x="109" y="281"/>
                  </a:lnTo>
                  <a:lnTo>
                    <a:pt x="107" y="279"/>
                  </a:lnTo>
                  <a:lnTo>
                    <a:pt x="104" y="276"/>
                  </a:lnTo>
                  <a:lnTo>
                    <a:pt x="103" y="275"/>
                  </a:lnTo>
                  <a:lnTo>
                    <a:pt x="101" y="273"/>
                  </a:lnTo>
                  <a:lnTo>
                    <a:pt x="100" y="272"/>
                  </a:lnTo>
                  <a:lnTo>
                    <a:pt x="95" y="271"/>
                  </a:lnTo>
                  <a:lnTo>
                    <a:pt x="92" y="269"/>
                  </a:lnTo>
                  <a:lnTo>
                    <a:pt x="91" y="268"/>
                  </a:lnTo>
                  <a:lnTo>
                    <a:pt x="87" y="265"/>
                  </a:lnTo>
                  <a:lnTo>
                    <a:pt x="82" y="262"/>
                  </a:lnTo>
                  <a:lnTo>
                    <a:pt x="80" y="260"/>
                  </a:lnTo>
                  <a:lnTo>
                    <a:pt x="79" y="259"/>
                  </a:lnTo>
                  <a:lnTo>
                    <a:pt x="78" y="258"/>
                  </a:lnTo>
                  <a:lnTo>
                    <a:pt x="76" y="256"/>
                  </a:lnTo>
                  <a:lnTo>
                    <a:pt x="75" y="254"/>
                  </a:lnTo>
                  <a:lnTo>
                    <a:pt x="73" y="252"/>
                  </a:lnTo>
                  <a:lnTo>
                    <a:pt x="72" y="249"/>
                  </a:lnTo>
                  <a:lnTo>
                    <a:pt x="71" y="246"/>
                  </a:lnTo>
                  <a:lnTo>
                    <a:pt x="70" y="241"/>
                  </a:lnTo>
                  <a:lnTo>
                    <a:pt x="69" y="238"/>
                  </a:lnTo>
                  <a:lnTo>
                    <a:pt x="69" y="235"/>
                  </a:lnTo>
                  <a:lnTo>
                    <a:pt x="69" y="230"/>
                  </a:lnTo>
                  <a:lnTo>
                    <a:pt x="69" y="226"/>
                  </a:lnTo>
                  <a:lnTo>
                    <a:pt x="69" y="222"/>
                  </a:lnTo>
                  <a:lnTo>
                    <a:pt x="70" y="219"/>
                  </a:lnTo>
                  <a:lnTo>
                    <a:pt x="71" y="216"/>
                  </a:lnTo>
                  <a:lnTo>
                    <a:pt x="74" y="204"/>
                  </a:lnTo>
                  <a:lnTo>
                    <a:pt x="77" y="196"/>
                  </a:lnTo>
                  <a:lnTo>
                    <a:pt x="78" y="193"/>
                  </a:lnTo>
                  <a:lnTo>
                    <a:pt x="79" y="190"/>
                  </a:lnTo>
                  <a:lnTo>
                    <a:pt x="79" y="188"/>
                  </a:lnTo>
                  <a:lnTo>
                    <a:pt x="79" y="185"/>
                  </a:lnTo>
                  <a:lnTo>
                    <a:pt x="78" y="181"/>
                  </a:lnTo>
                  <a:lnTo>
                    <a:pt x="78" y="178"/>
                  </a:lnTo>
                  <a:lnTo>
                    <a:pt x="77" y="173"/>
                  </a:lnTo>
                  <a:lnTo>
                    <a:pt x="75" y="169"/>
                  </a:lnTo>
                  <a:lnTo>
                    <a:pt x="74" y="166"/>
                  </a:lnTo>
                  <a:lnTo>
                    <a:pt x="73" y="163"/>
                  </a:lnTo>
                  <a:lnTo>
                    <a:pt x="70" y="156"/>
                  </a:lnTo>
                  <a:lnTo>
                    <a:pt x="68" y="151"/>
                  </a:lnTo>
                  <a:lnTo>
                    <a:pt x="67" y="150"/>
                  </a:lnTo>
                  <a:lnTo>
                    <a:pt x="67" y="148"/>
                  </a:lnTo>
                  <a:lnTo>
                    <a:pt x="63" y="145"/>
                  </a:lnTo>
                  <a:lnTo>
                    <a:pt x="60" y="141"/>
                  </a:lnTo>
                  <a:lnTo>
                    <a:pt x="56" y="136"/>
                  </a:lnTo>
                  <a:lnTo>
                    <a:pt x="54" y="135"/>
                  </a:lnTo>
                  <a:lnTo>
                    <a:pt x="50" y="131"/>
                  </a:lnTo>
                  <a:lnTo>
                    <a:pt x="48" y="129"/>
                  </a:lnTo>
                  <a:lnTo>
                    <a:pt x="46" y="127"/>
                  </a:lnTo>
                  <a:lnTo>
                    <a:pt x="44" y="120"/>
                  </a:lnTo>
                  <a:lnTo>
                    <a:pt x="41" y="117"/>
                  </a:lnTo>
                  <a:lnTo>
                    <a:pt x="39" y="114"/>
                  </a:lnTo>
                  <a:lnTo>
                    <a:pt x="36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24" y="106"/>
                  </a:lnTo>
                  <a:lnTo>
                    <a:pt x="21" y="104"/>
                  </a:lnTo>
                  <a:lnTo>
                    <a:pt x="18" y="103"/>
                  </a:lnTo>
                  <a:lnTo>
                    <a:pt x="16" y="102"/>
                  </a:lnTo>
                  <a:lnTo>
                    <a:pt x="14" y="101"/>
                  </a:lnTo>
                  <a:lnTo>
                    <a:pt x="12" y="100"/>
                  </a:lnTo>
                  <a:lnTo>
                    <a:pt x="10" y="98"/>
                  </a:lnTo>
                  <a:lnTo>
                    <a:pt x="9" y="97"/>
                  </a:lnTo>
                  <a:lnTo>
                    <a:pt x="7" y="94"/>
                  </a:lnTo>
                  <a:lnTo>
                    <a:pt x="4" y="92"/>
                  </a:lnTo>
                  <a:lnTo>
                    <a:pt x="3" y="90"/>
                  </a:lnTo>
                  <a:lnTo>
                    <a:pt x="2" y="89"/>
                  </a:lnTo>
                  <a:lnTo>
                    <a:pt x="1" y="87"/>
                  </a:lnTo>
                  <a:lnTo>
                    <a:pt x="0" y="86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1" y="78"/>
                  </a:lnTo>
                  <a:lnTo>
                    <a:pt x="2" y="77"/>
                  </a:lnTo>
                  <a:lnTo>
                    <a:pt x="3" y="75"/>
                  </a:lnTo>
                  <a:lnTo>
                    <a:pt x="4" y="74"/>
                  </a:lnTo>
                  <a:lnTo>
                    <a:pt x="6" y="71"/>
                  </a:lnTo>
                  <a:lnTo>
                    <a:pt x="9" y="69"/>
                  </a:lnTo>
                  <a:lnTo>
                    <a:pt x="10" y="67"/>
                  </a:lnTo>
                  <a:lnTo>
                    <a:pt x="17" y="62"/>
                  </a:lnTo>
                  <a:lnTo>
                    <a:pt x="20" y="60"/>
                  </a:lnTo>
                  <a:lnTo>
                    <a:pt x="22" y="59"/>
                  </a:lnTo>
                  <a:lnTo>
                    <a:pt x="22" y="56"/>
                  </a:lnTo>
                  <a:lnTo>
                    <a:pt x="24" y="55"/>
                  </a:lnTo>
                  <a:lnTo>
                    <a:pt x="25" y="53"/>
                  </a:lnTo>
                  <a:lnTo>
                    <a:pt x="25" y="50"/>
                  </a:lnTo>
                  <a:lnTo>
                    <a:pt x="25" y="48"/>
                  </a:lnTo>
                  <a:lnTo>
                    <a:pt x="25" y="45"/>
                  </a:lnTo>
                  <a:lnTo>
                    <a:pt x="24" y="43"/>
                  </a:lnTo>
                  <a:lnTo>
                    <a:pt x="22" y="36"/>
                  </a:lnTo>
                  <a:lnTo>
                    <a:pt x="22" y="33"/>
                  </a:lnTo>
                  <a:lnTo>
                    <a:pt x="21" y="29"/>
                  </a:lnTo>
                  <a:lnTo>
                    <a:pt x="20" y="23"/>
                  </a:lnTo>
                  <a:lnTo>
                    <a:pt x="19" y="20"/>
                  </a:lnTo>
                  <a:lnTo>
                    <a:pt x="17" y="17"/>
                  </a:lnTo>
                  <a:lnTo>
                    <a:pt x="16" y="13"/>
                  </a:lnTo>
                  <a:lnTo>
                    <a:pt x="14" y="10"/>
                  </a:lnTo>
                  <a:lnTo>
                    <a:pt x="10" y="5"/>
                  </a:lnTo>
                  <a:lnTo>
                    <a:pt x="9" y="4"/>
                  </a:lnTo>
                  <a:lnTo>
                    <a:pt x="9" y="2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0" name="Freeform 33">
              <a:extLst>
                <a:ext uri="{FF2B5EF4-FFF2-40B4-BE49-F238E27FC236}">
                  <a16:creationId xmlns:a16="http://schemas.microsoft.com/office/drawing/2014/main" id="{944A8CE7-3E9B-4AB2-8E77-732B4BF9A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" y="1660"/>
              <a:ext cx="494" cy="581"/>
            </a:xfrm>
            <a:custGeom>
              <a:avLst/>
              <a:gdLst>
                <a:gd name="T0" fmla="*/ 199 w 494"/>
                <a:gd name="T1" fmla="*/ 40 h 581"/>
                <a:gd name="T2" fmla="*/ 232 w 494"/>
                <a:gd name="T3" fmla="*/ 66 h 581"/>
                <a:gd name="T4" fmla="*/ 275 w 494"/>
                <a:gd name="T5" fmla="*/ 83 h 581"/>
                <a:gd name="T6" fmla="*/ 325 w 494"/>
                <a:gd name="T7" fmla="*/ 92 h 581"/>
                <a:gd name="T8" fmla="*/ 347 w 494"/>
                <a:gd name="T9" fmla="*/ 108 h 581"/>
                <a:gd name="T10" fmla="*/ 353 w 494"/>
                <a:gd name="T11" fmla="*/ 129 h 581"/>
                <a:gd name="T12" fmla="*/ 373 w 494"/>
                <a:gd name="T13" fmla="*/ 129 h 581"/>
                <a:gd name="T14" fmla="*/ 425 w 494"/>
                <a:gd name="T15" fmla="*/ 130 h 581"/>
                <a:gd name="T16" fmla="*/ 442 w 494"/>
                <a:gd name="T17" fmla="*/ 143 h 581"/>
                <a:gd name="T18" fmla="*/ 443 w 494"/>
                <a:gd name="T19" fmla="*/ 181 h 581"/>
                <a:gd name="T20" fmla="*/ 438 w 494"/>
                <a:gd name="T21" fmla="*/ 222 h 581"/>
                <a:gd name="T22" fmla="*/ 444 w 494"/>
                <a:gd name="T23" fmla="*/ 256 h 581"/>
                <a:gd name="T24" fmla="*/ 457 w 494"/>
                <a:gd name="T25" fmla="*/ 285 h 581"/>
                <a:gd name="T26" fmla="*/ 457 w 494"/>
                <a:gd name="T27" fmla="*/ 298 h 581"/>
                <a:gd name="T28" fmla="*/ 478 w 494"/>
                <a:gd name="T29" fmla="*/ 349 h 581"/>
                <a:gd name="T30" fmla="*/ 474 w 494"/>
                <a:gd name="T31" fmla="*/ 369 h 581"/>
                <a:gd name="T32" fmla="*/ 467 w 494"/>
                <a:gd name="T33" fmla="*/ 384 h 581"/>
                <a:gd name="T34" fmla="*/ 447 w 494"/>
                <a:gd name="T35" fmla="*/ 390 h 581"/>
                <a:gd name="T36" fmla="*/ 464 w 494"/>
                <a:gd name="T37" fmla="*/ 402 h 581"/>
                <a:gd name="T38" fmla="*/ 489 w 494"/>
                <a:gd name="T39" fmla="*/ 425 h 581"/>
                <a:gd name="T40" fmla="*/ 483 w 494"/>
                <a:gd name="T41" fmla="*/ 445 h 581"/>
                <a:gd name="T42" fmla="*/ 485 w 494"/>
                <a:gd name="T43" fmla="*/ 467 h 581"/>
                <a:gd name="T44" fmla="*/ 475 w 494"/>
                <a:gd name="T45" fmla="*/ 483 h 581"/>
                <a:gd name="T46" fmla="*/ 443 w 494"/>
                <a:gd name="T47" fmla="*/ 498 h 581"/>
                <a:gd name="T48" fmla="*/ 436 w 494"/>
                <a:gd name="T49" fmla="*/ 544 h 581"/>
                <a:gd name="T50" fmla="*/ 419 w 494"/>
                <a:gd name="T51" fmla="*/ 548 h 581"/>
                <a:gd name="T52" fmla="*/ 382 w 494"/>
                <a:gd name="T53" fmla="*/ 523 h 581"/>
                <a:gd name="T54" fmla="*/ 335 w 494"/>
                <a:gd name="T55" fmla="*/ 514 h 581"/>
                <a:gd name="T56" fmla="*/ 301 w 494"/>
                <a:gd name="T57" fmla="*/ 539 h 581"/>
                <a:gd name="T58" fmla="*/ 257 w 494"/>
                <a:gd name="T59" fmla="*/ 568 h 581"/>
                <a:gd name="T60" fmla="*/ 214 w 494"/>
                <a:gd name="T61" fmla="*/ 581 h 581"/>
                <a:gd name="T62" fmla="*/ 203 w 494"/>
                <a:gd name="T63" fmla="*/ 573 h 581"/>
                <a:gd name="T64" fmla="*/ 215 w 494"/>
                <a:gd name="T65" fmla="*/ 554 h 581"/>
                <a:gd name="T66" fmla="*/ 206 w 494"/>
                <a:gd name="T67" fmla="*/ 532 h 581"/>
                <a:gd name="T68" fmla="*/ 165 w 494"/>
                <a:gd name="T69" fmla="*/ 528 h 581"/>
                <a:gd name="T70" fmla="*/ 131 w 494"/>
                <a:gd name="T71" fmla="*/ 497 h 581"/>
                <a:gd name="T72" fmla="*/ 122 w 494"/>
                <a:gd name="T73" fmla="*/ 453 h 581"/>
                <a:gd name="T74" fmla="*/ 139 w 494"/>
                <a:gd name="T75" fmla="*/ 430 h 581"/>
                <a:gd name="T76" fmla="*/ 151 w 494"/>
                <a:gd name="T77" fmla="*/ 406 h 581"/>
                <a:gd name="T78" fmla="*/ 143 w 494"/>
                <a:gd name="T79" fmla="*/ 394 h 581"/>
                <a:gd name="T80" fmla="*/ 158 w 494"/>
                <a:gd name="T81" fmla="*/ 384 h 581"/>
                <a:gd name="T82" fmla="*/ 146 w 494"/>
                <a:gd name="T83" fmla="*/ 347 h 581"/>
                <a:gd name="T84" fmla="*/ 134 w 494"/>
                <a:gd name="T85" fmla="*/ 338 h 581"/>
                <a:gd name="T86" fmla="*/ 135 w 494"/>
                <a:gd name="T87" fmla="*/ 321 h 581"/>
                <a:gd name="T88" fmla="*/ 108 w 494"/>
                <a:gd name="T89" fmla="*/ 314 h 581"/>
                <a:gd name="T90" fmla="*/ 92 w 494"/>
                <a:gd name="T91" fmla="*/ 295 h 581"/>
                <a:gd name="T92" fmla="*/ 87 w 494"/>
                <a:gd name="T93" fmla="*/ 246 h 581"/>
                <a:gd name="T94" fmla="*/ 69 w 494"/>
                <a:gd name="T95" fmla="*/ 219 h 581"/>
                <a:gd name="T96" fmla="*/ 43 w 494"/>
                <a:gd name="T97" fmla="*/ 195 h 581"/>
                <a:gd name="T98" fmla="*/ 29 w 494"/>
                <a:gd name="T99" fmla="*/ 174 h 581"/>
                <a:gd name="T100" fmla="*/ 17 w 494"/>
                <a:gd name="T101" fmla="*/ 163 h 581"/>
                <a:gd name="T102" fmla="*/ 13 w 494"/>
                <a:gd name="T103" fmla="*/ 118 h 581"/>
                <a:gd name="T104" fmla="*/ 18 w 494"/>
                <a:gd name="T105" fmla="*/ 76 h 581"/>
                <a:gd name="T106" fmla="*/ 17 w 494"/>
                <a:gd name="T107" fmla="*/ 51 h 581"/>
                <a:gd name="T108" fmla="*/ 48 w 494"/>
                <a:gd name="T109" fmla="*/ 63 h 581"/>
                <a:gd name="T110" fmla="*/ 85 w 494"/>
                <a:gd name="T111" fmla="*/ 27 h 581"/>
                <a:gd name="T112" fmla="*/ 119 w 494"/>
                <a:gd name="T113" fmla="*/ 17 h 581"/>
                <a:gd name="T114" fmla="*/ 138 w 494"/>
                <a:gd name="T115" fmla="*/ 6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4" h="581">
                  <a:moveTo>
                    <a:pt x="141" y="0"/>
                  </a:moveTo>
                  <a:lnTo>
                    <a:pt x="142" y="1"/>
                  </a:lnTo>
                  <a:lnTo>
                    <a:pt x="145" y="3"/>
                  </a:lnTo>
                  <a:lnTo>
                    <a:pt x="150" y="6"/>
                  </a:lnTo>
                  <a:lnTo>
                    <a:pt x="153" y="7"/>
                  </a:lnTo>
                  <a:lnTo>
                    <a:pt x="165" y="17"/>
                  </a:lnTo>
                  <a:lnTo>
                    <a:pt x="177" y="25"/>
                  </a:lnTo>
                  <a:lnTo>
                    <a:pt x="184" y="29"/>
                  </a:lnTo>
                  <a:lnTo>
                    <a:pt x="188" y="31"/>
                  </a:lnTo>
                  <a:lnTo>
                    <a:pt x="194" y="37"/>
                  </a:lnTo>
                  <a:lnTo>
                    <a:pt x="199" y="40"/>
                  </a:lnTo>
                  <a:lnTo>
                    <a:pt x="200" y="42"/>
                  </a:lnTo>
                  <a:lnTo>
                    <a:pt x="202" y="43"/>
                  </a:lnTo>
                  <a:lnTo>
                    <a:pt x="208" y="46"/>
                  </a:lnTo>
                  <a:lnTo>
                    <a:pt x="209" y="46"/>
                  </a:lnTo>
                  <a:lnTo>
                    <a:pt x="212" y="48"/>
                  </a:lnTo>
                  <a:lnTo>
                    <a:pt x="216" y="51"/>
                  </a:lnTo>
                  <a:lnTo>
                    <a:pt x="222" y="57"/>
                  </a:lnTo>
                  <a:lnTo>
                    <a:pt x="225" y="60"/>
                  </a:lnTo>
                  <a:lnTo>
                    <a:pt x="229" y="63"/>
                  </a:lnTo>
                  <a:lnTo>
                    <a:pt x="231" y="65"/>
                  </a:lnTo>
                  <a:lnTo>
                    <a:pt x="232" y="66"/>
                  </a:lnTo>
                  <a:lnTo>
                    <a:pt x="233" y="67"/>
                  </a:lnTo>
                  <a:lnTo>
                    <a:pt x="233" y="67"/>
                  </a:lnTo>
                  <a:lnTo>
                    <a:pt x="234" y="67"/>
                  </a:lnTo>
                  <a:lnTo>
                    <a:pt x="244" y="74"/>
                  </a:lnTo>
                  <a:lnTo>
                    <a:pt x="248" y="75"/>
                  </a:lnTo>
                  <a:lnTo>
                    <a:pt x="251" y="77"/>
                  </a:lnTo>
                  <a:lnTo>
                    <a:pt x="254" y="78"/>
                  </a:lnTo>
                  <a:lnTo>
                    <a:pt x="258" y="79"/>
                  </a:lnTo>
                  <a:lnTo>
                    <a:pt x="265" y="81"/>
                  </a:lnTo>
                  <a:lnTo>
                    <a:pt x="270" y="82"/>
                  </a:lnTo>
                  <a:lnTo>
                    <a:pt x="275" y="83"/>
                  </a:lnTo>
                  <a:lnTo>
                    <a:pt x="283" y="83"/>
                  </a:lnTo>
                  <a:lnTo>
                    <a:pt x="287" y="84"/>
                  </a:lnTo>
                  <a:lnTo>
                    <a:pt x="290" y="85"/>
                  </a:lnTo>
                  <a:lnTo>
                    <a:pt x="298" y="86"/>
                  </a:lnTo>
                  <a:lnTo>
                    <a:pt x="303" y="88"/>
                  </a:lnTo>
                  <a:lnTo>
                    <a:pt x="306" y="88"/>
                  </a:lnTo>
                  <a:lnTo>
                    <a:pt x="312" y="89"/>
                  </a:lnTo>
                  <a:lnTo>
                    <a:pt x="315" y="89"/>
                  </a:lnTo>
                  <a:lnTo>
                    <a:pt x="320" y="90"/>
                  </a:lnTo>
                  <a:lnTo>
                    <a:pt x="324" y="91"/>
                  </a:lnTo>
                  <a:lnTo>
                    <a:pt x="325" y="92"/>
                  </a:lnTo>
                  <a:lnTo>
                    <a:pt x="327" y="92"/>
                  </a:lnTo>
                  <a:lnTo>
                    <a:pt x="331" y="94"/>
                  </a:lnTo>
                  <a:lnTo>
                    <a:pt x="338" y="98"/>
                  </a:lnTo>
                  <a:lnTo>
                    <a:pt x="341" y="99"/>
                  </a:lnTo>
                  <a:lnTo>
                    <a:pt x="342" y="101"/>
                  </a:lnTo>
                  <a:lnTo>
                    <a:pt x="344" y="102"/>
                  </a:lnTo>
                  <a:lnTo>
                    <a:pt x="345" y="103"/>
                  </a:lnTo>
                  <a:lnTo>
                    <a:pt x="346" y="104"/>
                  </a:lnTo>
                  <a:lnTo>
                    <a:pt x="347" y="106"/>
                  </a:lnTo>
                  <a:lnTo>
                    <a:pt x="347" y="107"/>
                  </a:lnTo>
                  <a:lnTo>
                    <a:pt x="347" y="108"/>
                  </a:lnTo>
                  <a:lnTo>
                    <a:pt x="347" y="110"/>
                  </a:lnTo>
                  <a:lnTo>
                    <a:pt x="348" y="112"/>
                  </a:lnTo>
                  <a:lnTo>
                    <a:pt x="348" y="119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48" y="124"/>
                  </a:lnTo>
                  <a:lnTo>
                    <a:pt x="349" y="125"/>
                  </a:lnTo>
                  <a:lnTo>
                    <a:pt x="350" y="126"/>
                  </a:lnTo>
                  <a:lnTo>
                    <a:pt x="351" y="127"/>
                  </a:lnTo>
                  <a:lnTo>
                    <a:pt x="352" y="128"/>
                  </a:lnTo>
                  <a:lnTo>
                    <a:pt x="353" y="129"/>
                  </a:lnTo>
                  <a:lnTo>
                    <a:pt x="354" y="130"/>
                  </a:lnTo>
                  <a:lnTo>
                    <a:pt x="356" y="130"/>
                  </a:lnTo>
                  <a:lnTo>
                    <a:pt x="357" y="130"/>
                  </a:lnTo>
                  <a:lnTo>
                    <a:pt x="358" y="131"/>
                  </a:lnTo>
                  <a:lnTo>
                    <a:pt x="359" y="131"/>
                  </a:lnTo>
                  <a:lnTo>
                    <a:pt x="360" y="131"/>
                  </a:lnTo>
                  <a:lnTo>
                    <a:pt x="361" y="131"/>
                  </a:lnTo>
                  <a:lnTo>
                    <a:pt x="364" y="130"/>
                  </a:lnTo>
                  <a:lnTo>
                    <a:pt x="369" y="130"/>
                  </a:lnTo>
                  <a:lnTo>
                    <a:pt x="371" y="129"/>
                  </a:lnTo>
                  <a:lnTo>
                    <a:pt x="373" y="129"/>
                  </a:lnTo>
                  <a:lnTo>
                    <a:pt x="376" y="129"/>
                  </a:lnTo>
                  <a:lnTo>
                    <a:pt x="379" y="129"/>
                  </a:lnTo>
                  <a:lnTo>
                    <a:pt x="382" y="129"/>
                  </a:lnTo>
                  <a:lnTo>
                    <a:pt x="392" y="130"/>
                  </a:lnTo>
                  <a:lnTo>
                    <a:pt x="397" y="130"/>
                  </a:lnTo>
                  <a:lnTo>
                    <a:pt x="402" y="131"/>
                  </a:lnTo>
                  <a:lnTo>
                    <a:pt x="409" y="131"/>
                  </a:lnTo>
                  <a:lnTo>
                    <a:pt x="411" y="131"/>
                  </a:lnTo>
                  <a:lnTo>
                    <a:pt x="413" y="131"/>
                  </a:lnTo>
                  <a:lnTo>
                    <a:pt x="423" y="130"/>
                  </a:lnTo>
                  <a:lnTo>
                    <a:pt x="425" y="130"/>
                  </a:lnTo>
                  <a:lnTo>
                    <a:pt x="426" y="130"/>
                  </a:lnTo>
                  <a:lnTo>
                    <a:pt x="427" y="130"/>
                  </a:lnTo>
                  <a:lnTo>
                    <a:pt x="428" y="130"/>
                  </a:lnTo>
                  <a:lnTo>
                    <a:pt x="430" y="130"/>
                  </a:lnTo>
                  <a:lnTo>
                    <a:pt x="431" y="130"/>
                  </a:lnTo>
                  <a:lnTo>
                    <a:pt x="432" y="131"/>
                  </a:lnTo>
                  <a:lnTo>
                    <a:pt x="434" y="133"/>
                  </a:lnTo>
                  <a:lnTo>
                    <a:pt x="437" y="136"/>
                  </a:lnTo>
                  <a:lnTo>
                    <a:pt x="438" y="138"/>
                  </a:lnTo>
                  <a:lnTo>
                    <a:pt x="440" y="141"/>
                  </a:lnTo>
                  <a:lnTo>
                    <a:pt x="442" y="143"/>
                  </a:lnTo>
                  <a:lnTo>
                    <a:pt x="444" y="148"/>
                  </a:lnTo>
                  <a:lnTo>
                    <a:pt x="446" y="152"/>
                  </a:lnTo>
                  <a:lnTo>
                    <a:pt x="447" y="154"/>
                  </a:lnTo>
                  <a:lnTo>
                    <a:pt x="447" y="156"/>
                  </a:lnTo>
                  <a:lnTo>
                    <a:pt x="447" y="160"/>
                  </a:lnTo>
                  <a:lnTo>
                    <a:pt x="447" y="164"/>
                  </a:lnTo>
                  <a:lnTo>
                    <a:pt x="447" y="167"/>
                  </a:lnTo>
                  <a:lnTo>
                    <a:pt x="446" y="170"/>
                  </a:lnTo>
                  <a:lnTo>
                    <a:pt x="444" y="177"/>
                  </a:lnTo>
                  <a:lnTo>
                    <a:pt x="443" y="179"/>
                  </a:lnTo>
                  <a:lnTo>
                    <a:pt x="443" y="181"/>
                  </a:lnTo>
                  <a:lnTo>
                    <a:pt x="443" y="184"/>
                  </a:lnTo>
                  <a:lnTo>
                    <a:pt x="443" y="186"/>
                  </a:lnTo>
                  <a:lnTo>
                    <a:pt x="443" y="194"/>
                  </a:lnTo>
                  <a:lnTo>
                    <a:pt x="443" y="196"/>
                  </a:lnTo>
                  <a:lnTo>
                    <a:pt x="443" y="198"/>
                  </a:lnTo>
                  <a:lnTo>
                    <a:pt x="442" y="199"/>
                  </a:lnTo>
                  <a:lnTo>
                    <a:pt x="441" y="205"/>
                  </a:lnTo>
                  <a:lnTo>
                    <a:pt x="438" y="213"/>
                  </a:lnTo>
                  <a:lnTo>
                    <a:pt x="438" y="217"/>
                  </a:lnTo>
                  <a:lnTo>
                    <a:pt x="438" y="221"/>
                  </a:lnTo>
                  <a:lnTo>
                    <a:pt x="438" y="222"/>
                  </a:lnTo>
                  <a:lnTo>
                    <a:pt x="438" y="225"/>
                  </a:lnTo>
                  <a:lnTo>
                    <a:pt x="438" y="227"/>
                  </a:lnTo>
                  <a:lnTo>
                    <a:pt x="441" y="232"/>
                  </a:lnTo>
                  <a:lnTo>
                    <a:pt x="442" y="233"/>
                  </a:lnTo>
                  <a:lnTo>
                    <a:pt x="442" y="236"/>
                  </a:lnTo>
                  <a:lnTo>
                    <a:pt x="443" y="241"/>
                  </a:lnTo>
                  <a:lnTo>
                    <a:pt x="444" y="243"/>
                  </a:lnTo>
                  <a:lnTo>
                    <a:pt x="444" y="245"/>
                  </a:lnTo>
                  <a:lnTo>
                    <a:pt x="445" y="250"/>
                  </a:lnTo>
                  <a:lnTo>
                    <a:pt x="444" y="254"/>
                  </a:lnTo>
                  <a:lnTo>
                    <a:pt x="444" y="256"/>
                  </a:lnTo>
                  <a:lnTo>
                    <a:pt x="443" y="262"/>
                  </a:lnTo>
                  <a:lnTo>
                    <a:pt x="442" y="264"/>
                  </a:lnTo>
                  <a:lnTo>
                    <a:pt x="442" y="266"/>
                  </a:lnTo>
                  <a:lnTo>
                    <a:pt x="443" y="267"/>
                  </a:lnTo>
                  <a:lnTo>
                    <a:pt x="443" y="269"/>
                  </a:lnTo>
                  <a:lnTo>
                    <a:pt x="444" y="271"/>
                  </a:lnTo>
                  <a:lnTo>
                    <a:pt x="445" y="273"/>
                  </a:lnTo>
                  <a:lnTo>
                    <a:pt x="447" y="275"/>
                  </a:lnTo>
                  <a:lnTo>
                    <a:pt x="448" y="276"/>
                  </a:lnTo>
                  <a:lnTo>
                    <a:pt x="454" y="281"/>
                  </a:lnTo>
                  <a:lnTo>
                    <a:pt x="457" y="285"/>
                  </a:lnTo>
                  <a:lnTo>
                    <a:pt x="458" y="286"/>
                  </a:lnTo>
                  <a:lnTo>
                    <a:pt x="458" y="288"/>
                  </a:lnTo>
                  <a:lnTo>
                    <a:pt x="459" y="289"/>
                  </a:lnTo>
                  <a:lnTo>
                    <a:pt x="458" y="289"/>
                  </a:lnTo>
                  <a:lnTo>
                    <a:pt x="458" y="289"/>
                  </a:lnTo>
                  <a:lnTo>
                    <a:pt x="457" y="290"/>
                  </a:lnTo>
                  <a:lnTo>
                    <a:pt x="457" y="292"/>
                  </a:lnTo>
                  <a:lnTo>
                    <a:pt x="456" y="294"/>
                  </a:lnTo>
                  <a:lnTo>
                    <a:pt x="456" y="296"/>
                  </a:lnTo>
                  <a:lnTo>
                    <a:pt x="456" y="297"/>
                  </a:lnTo>
                  <a:lnTo>
                    <a:pt x="457" y="298"/>
                  </a:lnTo>
                  <a:lnTo>
                    <a:pt x="457" y="300"/>
                  </a:lnTo>
                  <a:lnTo>
                    <a:pt x="458" y="301"/>
                  </a:lnTo>
                  <a:lnTo>
                    <a:pt x="459" y="303"/>
                  </a:lnTo>
                  <a:lnTo>
                    <a:pt x="462" y="310"/>
                  </a:lnTo>
                  <a:lnTo>
                    <a:pt x="464" y="312"/>
                  </a:lnTo>
                  <a:lnTo>
                    <a:pt x="468" y="320"/>
                  </a:lnTo>
                  <a:lnTo>
                    <a:pt x="470" y="323"/>
                  </a:lnTo>
                  <a:lnTo>
                    <a:pt x="474" y="334"/>
                  </a:lnTo>
                  <a:lnTo>
                    <a:pt x="475" y="338"/>
                  </a:lnTo>
                  <a:lnTo>
                    <a:pt x="477" y="343"/>
                  </a:lnTo>
                  <a:lnTo>
                    <a:pt x="478" y="349"/>
                  </a:lnTo>
                  <a:lnTo>
                    <a:pt x="479" y="354"/>
                  </a:lnTo>
                  <a:lnTo>
                    <a:pt x="479" y="356"/>
                  </a:lnTo>
                  <a:lnTo>
                    <a:pt x="479" y="357"/>
                  </a:lnTo>
                  <a:lnTo>
                    <a:pt x="479" y="359"/>
                  </a:lnTo>
                  <a:lnTo>
                    <a:pt x="479" y="361"/>
                  </a:lnTo>
                  <a:lnTo>
                    <a:pt x="478" y="362"/>
                  </a:lnTo>
                  <a:lnTo>
                    <a:pt x="478" y="363"/>
                  </a:lnTo>
                  <a:lnTo>
                    <a:pt x="475" y="366"/>
                  </a:lnTo>
                  <a:lnTo>
                    <a:pt x="475" y="368"/>
                  </a:lnTo>
                  <a:lnTo>
                    <a:pt x="474" y="368"/>
                  </a:lnTo>
                  <a:lnTo>
                    <a:pt x="474" y="369"/>
                  </a:lnTo>
                  <a:lnTo>
                    <a:pt x="474" y="371"/>
                  </a:lnTo>
                  <a:lnTo>
                    <a:pt x="474" y="372"/>
                  </a:lnTo>
                  <a:lnTo>
                    <a:pt x="476" y="378"/>
                  </a:lnTo>
                  <a:lnTo>
                    <a:pt x="476" y="380"/>
                  </a:lnTo>
                  <a:lnTo>
                    <a:pt x="476" y="381"/>
                  </a:lnTo>
                  <a:lnTo>
                    <a:pt x="476" y="383"/>
                  </a:lnTo>
                  <a:lnTo>
                    <a:pt x="475" y="384"/>
                  </a:lnTo>
                  <a:lnTo>
                    <a:pt x="473" y="385"/>
                  </a:lnTo>
                  <a:lnTo>
                    <a:pt x="472" y="385"/>
                  </a:lnTo>
                  <a:lnTo>
                    <a:pt x="472" y="385"/>
                  </a:lnTo>
                  <a:lnTo>
                    <a:pt x="467" y="384"/>
                  </a:lnTo>
                  <a:lnTo>
                    <a:pt x="464" y="384"/>
                  </a:lnTo>
                  <a:lnTo>
                    <a:pt x="460" y="383"/>
                  </a:lnTo>
                  <a:lnTo>
                    <a:pt x="458" y="383"/>
                  </a:lnTo>
                  <a:lnTo>
                    <a:pt x="457" y="384"/>
                  </a:lnTo>
                  <a:lnTo>
                    <a:pt x="455" y="384"/>
                  </a:lnTo>
                  <a:lnTo>
                    <a:pt x="453" y="385"/>
                  </a:lnTo>
                  <a:lnTo>
                    <a:pt x="451" y="386"/>
                  </a:lnTo>
                  <a:lnTo>
                    <a:pt x="450" y="386"/>
                  </a:lnTo>
                  <a:lnTo>
                    <a:pt x="449" y="387"/>
                  </a:lnTo>
                  <a:lnTo>
                    <a:pt x="448" y="388"/>
                  </a:lnTo>
                  <a:lnTo>
                    <a:pt x="447" y="390"/>
                  </a:lnTo>
                  <a:lnTo>
                    <a:pt x="446" y="391"/>
                  </a:lnTo>
                  <a:lnTo>
                    <a:pt x="445" y="392"/>
                  </a:lnTo>
                  <a:lnTo>
                    <a:pt x="445" y="394"/>
                  </a:lnTo>
                  <a:lnTo>
                    <a:pt x="446" y="394"/>
                  </a:lnTo>
                  <a:lnTo>
                    <a:pt x="446" y="395"/>
                  </a:lnTo>
                  <a:lnTo>
                    <a:pt x="448" y="397"/>
                  </a:lnTo>
                  <a:lnTo>
                    <a:pt x="449" y="399"/>
                  </a:lnTo>
                  <a:lnTo>
                    <a:pt x="451" y="400"/>
                  </a:lnTo>
                  <a:lnTo>
                    <a:pt x="453" y="401"/>
                  </a:lnTo>
                  <a:lnTo>
                    <a:pt x="454" y="401"/>
                  </a:lnTo>
                  <a:lnTo>
                    <a:pt x="464" y="402"/>
                  </a:lnTo>
                  <a:lnTo>
                    <a:pt x="466" y="403"/>
                  </a:lnTo>
                  <a:lnTo>
                    <a:pt x="468" y="404"/>
                  </a:lnTo>
                  <a:lnTo>
                    <a:pt x="471" y="405"/>
                  </a:lnTo>
                  <a:lnTo>
                    <a:pt x="472" y="406"/>
                  </a:lnTo>
                  <a:lnTo>
                    <a:pt x="474" y="407"/>
                  </a:lnTo>
                  <a:lnTo>
                    <a:pt x="477" y="409"/>
                  </a:lnTo>
                  <a:lnTo>
                    <a:pt x="479" y="411"/>
                  </a:lnTo>
                  <a:lnTo>
                    <a:pt x="480" y="413"/>
                  </a:lnTo>
                  <a:lnTo>
                    <a:pt x="485" y="420"/>
                  </a:lnTo>
                  <a:lnTo>
                    <a:pt x="487" y="423"/>
                  </a:lnTo>
                  <a:lnTo>
                    <a:pt x="489" y="425"/>
                  </a:lnTo>
                  <a:lnTo>
                    <a:pt x="490" y="427"/>
                  </a:lnTo>
                  <a:lnTo>
                    <a:pt x="492" y="430"/>
                  </a:lnTo>
                  <a:lnTo>
                    <a:pt x="493" y="435"/>
                  </a:lnTo>
                  <a:lnTo>
                    <a:pt x="494" y="435"/>
                  </a:lnTo>
                  <a:lnTo>
                    <a:pt x="491" y="436"/>
                  </a:lnTo>
                  <a:lnTo>
                    <a:pt x="489" y="436"/>
                  </a:lnTo>
                  <a:lnTo>
                    <a:pt x="487" y="437"/>
                  </a:lnTo>
                  <a:lnTo>
                    <a:pt x="486" y="438"/>
                  </a:lnTo>
                  <a:lnTo>
                    <a:pt x="485" y="439"/>
                  </a:lnTo>
                  <a:lnTo>
                    <a:pt x="484" y="441"/>
                  </a:lnTo>
                  <a:lnTo>
                    <a:pt x="483" y="445"/>
                  </a:lnTo>
                  <a:lnTo>
                    <a:pt x="481" y="448"/>
                  </a:lnTo>
                  <a:lnTo>
                    <a:pt x="480" y="451"/>
                  </a:lnTo>
                  <a:lnTo>
                    <a:pt x="480" y="453"/>
                  </a:lnTo>
                  <a:lnTo>
                    <a:pt x="480" y="455"/>
                  </a:lnTo>
                  <a:lnTo>
                    <a:pt x="480" y="457"/>
                  </a:lnTo>
                  <a:lnTo>
                    <a:pt x="480" y="459"/>
                  </a:lnTo>
                  <a:lnTo>
                    <a:pt x="481" y="459"/>
                  </a:lnTo>
                  <a:lnTo>
                    <a:pt x="481" y="461"/>
                  </a:lnTo>
                  <a:lnTo>
                    <a:pt x="483" y="464"/>
                  </a:lnTo>
                  <a:lnTo>
                    <a:pt x="484" y="466"/>
                  </a:lnTo>
                  <a:lnTo>
                    <a:pt x="485" y="467"/>
                  </a:lnTo>
                  <a:lnTo>
                    <a:pt x="485" y="470"/>
                  </a:lnTo>
                  <a:lnTo>
                    <a:pt x="485" y="470"/>
                  </a:lnTo>
                  <a:lnTo>
                    <a:pt x="485" y="471"/>
                  </a:lnTo>
                  <a:lnTo>
                    <a:pt x="485" y="473"/>
                  </a:lnTo>
                  <a:lnTo>
                    <a:pt x="484" y="475"/>
                  </a:lnTo>
                  <a:lnTo>
                    <a:pt x="483" y="476"/>
                  </a:lnTo>
                  <a:lnTo>
                    <a:pt x="483" y="478"/>
                  </a:lnTo>
                  <a:lnTo>
                    <a:pt x="482" y="480"/>
                  </a:lnTo>
                  <a:lnTo>
                    <a:pt x="480" y="481"/>
                  </a:lnTo>
                  <a:lnTo>
                    <a:pt x="478" y="482"/>
                  </a:lnTo>
                  <a:lnTo>
                    <a:pt x="475" y="483"/>
                  </a:lnTo>
                  <a:lnTo>
                    <a:pt x="472" y="486"/>
                  </a:lnTo>
                  <a:lnTo>
                    <a:pt x="470" y="487"/>
                  </a:lnTo>
                  <a:lnTo>
                    <a:pt x="467" y="489"/>
                  </a:lnTo>
                  <a:lnTo>
                    <a:pt x="460" y="492"/>
                  </a:lnTo>
                  <a:lnTo>
                    <a:pt x="455" y="493"/>
                  </a:lnTo>
                  <a:lnTo>
                    <a:pt x="453" y="493"/>
                  </a:lnTo>
                  <a:lnTo>
                    <a:pt x="449" y="494"/>
                  </a:lnTo>
                  <a:lnTo>
                    <a:pt x="446" y="496"/>
                  </a:lnTo>
                  <a:lnTo>
                    <a:pt x="445" y="496"/>
                  </a:lnTo>
                  <a:lnTo>
                    <a:pt x="444" y="497"/>
                  </a:lnTo>
                  <a:lnTo>
                    <a:pt x="443" y="498"/>
                  </a:lnTo>
                  <a:lnTo>
                    <a:pt x="442" y="499"/>
                  </a:lnTo>
                  <a:lnTo>
                    <a:pt x="442" y="501"/>
                  </a:lnTo>
                  <a:lnTo>
                    <a:pt x="441" y="503"/>
                  </a:lnTo>
                  <a:lnTo>
                    <a:pt x="441" y="504"/>
                  </a:lnTo>
                  <a:lnTo>
                    <a:pt x="442" y="510"/>
                  </a:lnTo>
                  <a:lnTo>
                    <a:pt x="442" y="516"/>
                  </a:lnTo>
                  <a:lnTo>
                    <a:pt x="442" y="520"/>
                  </a:lnTo>
                  <a:lnTo>
                    <a:pt x="441" y="524"/>
                  </a:lnTo>
                  <a:lnTo>
                    <a:pt x="438" y="539"/>
                  </a:lnTo>
                  <a:lnTo>
                    <a:pt x="437" y="542"/>
                  </a:lnTo>
                  <a:lnTo>
                    <a:pt x="436" y="544"/>
                  </a:lnTo>
                  <a:lnTo>
                    <a:pt x="435" y="546"/>
                  </a:lnTo>
                  <a:lnTo>
                    <a:pt x="434" y="547"/>
                  </a:lnTo>
                  <a:lnTo>
                    <a:pt x="433" y="549"/>
                  </a:lnTo>
                  <a:lnTo>
                    <a:pt x="432" y="549"/>
                  </a:lnTo>
                  <a:lnTo>
                    <a:pt x="430" y="550"/>
                  </a:lnTo>
                  <a:lnTo>
                    <a:pt x="429" y="550"/>
                  </a:lnTo>
                  <a:lnTo>
                    <a:pt x="427" y="550"/>
                  </a:lnTo>
                  <a:lnTo>
                    <a:pt x="426" y="550"/>
                  </a:lnTo>
                  <a:lnTo>
                    <a:pt x="424" y="550"/>
                  </a:lnTo>
                  <a:lnTo>
                    <a:pt x="421" y="549"/>
                  </a:lnTo>
                  <a:lnTo>
                    <a:pt x="419" y="548"/>
                  </a:lnTo>
                  <a:lnTo>
                    <a:pt x="416" y="547"/>
                  </a:lnTo>
                  <a:lnTo>
                    <a:pt x="414" y="545"/>
                  </a:lnTo>
                  <a:lnTo>
                    <a:pt x="410" y="542"/>
                  </a:lnTo>
                  <a:lnTo>
                    <a:pt x="403" y="537"/>
                  </a:lnTo>
                  <a:lnTo>
                    <a:pt x="399" y="535"/>
                  </a:lnTo>
                  <a:lnTo>
                    <a:pt x="398" y="534"/>
                  </a:lnTo>
                  <a:lnTo>
                    <a:pt x="393" y="529"/>
                  </a:lnTo>
                  <a:lnTo>
                    <a:pt x="390" y="527"/>
                  </a:lnTo>
                  <a:lnTo>
                    <a:pt x="386" y="525"/>
                  </a:lnTo>
                  <a:lnTo>
                    <a:pt x="384" y="524"/>
                  </a:lnTo>
                  <a:lnTo>
                    <a:pt x="382" y="523"/>
                  </a:lnTo>
                  <a:lnTo>
                    <a:pt x="381" y="522"/>
                  </a:lnTo>
                  <a:lnTo>
                    <a:pt x="375" y="520"/>
                  </a:lnTo>
                  <a:lnTo>
                    <a:pt x="372" y="519"/>
                  </a:lnTo>
                  <a:lnTo>
                    <a:pt x="370" y="519"/>
                  </a:lnTo>
                  <a:lnTo>
                    <a:pt x="360" y="518"/>
                  </a:lnTo>
                  <a:lnTo>
                    <a:pt x="353" y="517"/>
                  </a:lnTo>
                  <a:lnTo>
                    <a:pt x="350" y="517"/>
                  </a:lnTo>
                  <a:lnTo>
                    <a:pt x="345" y="516"/>
                  </a:lnTo>
                  <a:lnTo>
                    <a:pt x="338" y="515"/>
                  </a:lnTo>
                  <a:lnTo>
                    <a:pt x="336" y="514"/>
                  </a:lnTo>
                  <a:lnTo>
                    <a:pt x="335" y="514"/>
                  </a:lnTo>
                  <a:lnTo>
                    <a:pt x="333" y="515"/>
                  </a:lnTo>
                  <a:lnTo>
                    <a:pt x="331" y="516"/>
                  </a:lnTo>
                  <a:lnTo>
                    <a:pt x="329" y="516"/>
                  </a:lnTo>
                  <a:lnTo>
                    <a:pt x="327" y="517"/>
                  </a:lnTo>
                  <a:lnTo>
                    <a:pt x="326" y="519"/>
                  </a:lnTo>
                  <a:lnTo>
                    <a:pt x="323" y="523"/>
                  </a:lnTo>
                  <a:lnTo>
                    <a:pt x="317" y="527"/>
                  </a:lnTo>
                  <a:lnTo>
                    <a:pt x="313" y="532"/>
                  </a:lnTo>
                  <a:lnTo>
                    <a:pt x="311" y="534"/>
                  </a:lnTo>
                  <a:lnTo>
                    <a:pt x="309" y="535"/>
                  </a:lnTo>
                  <a:lnTo>
                    <a:pt x="301" y="539"/>
                  </a:lnTo>
                  <a:lnTo>
                    <a:pt x="297" y="543"/>
                  </a:lnTo>
                  <a:lnTo>
                    <a:pt x="292" y="546"/>
                  </a:lnTo>
                  <a:lnTo>
                    <a:pt x="288" y="550"/>
                  </a:lnTo>
                  <a:lnTo>
                    <a:pt x="281" y="553"/>
                  </a:lnTo>
                  <a:lnTo>
                    <a:pt x="275" y="558"/>
                  </a:lnTo>
                  <a:lnTo>
                    <a:pt x="273" y="559"/>
                  </a:lnTo>
                  <a:lnTo>
                    <a:pt x="267" y="561"/>
                  </a:lnTo>
                  <a:lnTo>
                    <a:pt x="265" y="562"/>
                  </a:lnTo>
                  <a:lnTo>
                    <a:pt x="263" y="563"/>
                  </a:lnTo>
                  <a:lnTo>
                    <a:pt x="259" y="567"/>
                  </a:lnTo>
                  <a:lnTo>
                    <a:pt x="257" y="568"/>
                  </a:lnTo>
                  <a:lnTo>
                    <a:pt x="256" y="569"/>
                  </a:lnTo>
                  <a:lnTo>
                    <a:pt x="254" y="570"/>
                  </a:lnTo>
                  <a:lnTo>
                    <a:pt x="245" y="572"/>
                  </a:lnTo>
                  <a:lnTo>
                    <a:pt x="240" y="574"/>
                  </a:lnTo>
                  <a:lnTo>
                    <a:pt x="230" y="576"/>
                  </a:lnTo>
                  <a:lnTo>
                    <a:pt x="228" y="577"/>
                  </a:lnTo>
                  <a:lnTo>
                    <a:pt x="227" y="577"/>
                  </a:lnTo>
                  <a:lnTo>
                    <a:pt x="227" y="578"/>
                  </a:lnTo>
                  <a:lnTo>
                    <a:pt x="224" y="578"/>
                  </a:lnTo>
                  <a:lnTo>
                    <a:pt x="216" y="580"/>
                  </a:lnTo>
                  <a:lnTo>
                    <a:pt x="214" y="581"/>
                  </a:lnTo>
                  <a:lnTo>
                    <a:pt x="212" y="581"/>
                  </a:lnTo>
                  <a:lnTo>
                    <a:pt x="210" y="581"/>
                  </a:lnTo>
                  <a:lnTo>
                    <a:pt x="210" y="580"/>
                  </a:lnTo>
                  <a:lnTo>
                    <a:pt x="208" y="580"/>
                  </a:lnTo>
                  <a:lnTo>
                    <a:pt x="207" y="580"/>
                  </a:lnTo>
                  <a:lnTo>
                    <a:pt x="206" y="579"/>
                  </a:lnTo>
                  <a:lnTo>
                    <a:pt x="206" y="578"/>
                  </a:lnTo>
                  <a:lnTo>
                    <a:pt x="205" y="577"/>
                  </a:lnTo>
                  <a:lnTo>
                    <a:pt x="204" y="576"/>
                  </a:lnTo>
                  <a:lnTo>
                    <a:pt x="203" y="575"/>
                  </a:lnTo>
                  <a:lnTo>
                    <a:pt x="203" y="573"/>
                  </a:lnTo>
                  <a:lnTo>
                    <a:pt x="202" y="572"/>
                  </a:lnTo>
                  <a:lnTo>
                    <a:pt x="202" y="570"/>
                  </a:lnTo>
                  <a:lnTo>
                    <a:pt x="203" y="569"/>
                  </a:lnTo>
                  <a:lnTo>
                    <a:pt x="203" y="568"/>
                  </a:lnTo>
                  <a:lnTo>
                    <a:pt x="204" y="567"/>
                  </a:lnTo>
                  <a:lnTo>
                    <a:pt x="210" y="561"/>
                  </a:lnTo>
                  <a:lnTo>
                    <a:pt x="211" y="561"/>
                  </a:lnTo>
                  <a:lnTo>
                    <a:pt x="212" y="560"/>
                  </a:lnTo>
                  <a:lnTo>
                    <a:pt x="213" y="558"/>
                  </a:lnTo>
                  <a:lnTo>
                    <a:pt x="214" y="556"/>
                  </a:lnTo>
                  <a:lnTo>
                    <a:pt x="215" y="554"/>
                  </a:lnTo>
                  <a:lnTo>
                    <a:pt x="215" y="551"/>
                  </a:lnTo>
                  <a:lnTo>
                    <a:pt x="215" y="550"/>
                  </a:lnTo>
                  <a:lnTo>
                    <a:pt x="215" y="547"/>
                  </a:lnTo>
                  <a:lnTo>
                    <a:pt x="215" y="545"/>
                  </a:lnTo>
                  <a:lnTo>
                    <a:pt x="214" y="543"/>
                  </a:lnTo>
                  <a:lnTo>
                    <a:pt x="213" y="540"/>
                  </a:lnTo>
                  <a:lnTo>
                    <a:pt x="211" y="538"/>
                  </a:lnTo>
                  <a:lnTo>
                    <a:pt x="210" y="536"/>
                  </a:lnTo>
                  <a:lnTo>
                    <a:pt x="209" y="534"/>
                  </a:lnTo>
                  <a:lnTo>
                    <a:pt x="207" y="533"/>
                  </a:lnTo>
                  <a:lnTo>
                    <a:pt x="206" y="532"/>
                  </a:lnTo>
                  <a:lnTo>
                    <a:pt x="204" y="532"/>
                  </a:lnTo>
                  <a:lnTo>
                    <a:pt x="201" y="531"/>
                  </a:lnTo>
                  <a:lnTo>
                    <a:pt x="198" y="531"/>
                  </a:lnTo>
                  <a:lnTo>
                    <a:pt x="189" y="532"/>
                  </a:lnTo>
                  <a:lnTo>
                    <a:pt x="175" y="533"/>
                  </a:lnTo>
                  <a:lnTo>
                    <a:pt x="173" y="532"/>
                  </a:lnTo>
                  <a:lnTo>
                    <a:pt x="172" y="532"/>
                  </a:lnTo>
                  <a:lnTo>
                    <a:pt x="170" y="532"/>
                  </a:lnTo>
                  <a:lnTo>
                    <a:pt x="169" y="531"/>
                  </a:lnTo>
                  <a:lnTo>
                    <a:pt x="167" y="530"/>
                  </a:lnTo>
                  <a:lnTo>
                    <a:pt x="165" y="528"/>
                  </a:lnTo>
                  <a:lnTo>
                    <a:pt x="164" y="527"/>
                  </a:lnTo>
                  <a:lnTo>
                    <a:pt x="161" y="523"/>
                  </a:lnTo>
                  <a:lnTo>
                    <a:pt x="158" y="520"/>
                  </a:lnTo>
                  <a:lnTo>
                    <a:pt x="155" y="517"/>
                  </a:lnTo>
                  <a:lnTo>
                    <a:pt x="153" y="515"/>
                  </a:lnTo>
                  <a:lnTo>
                    <a:pt x="149" y="512"/>
                  </a:lnTo>
                  <a:lnTo>
                    <a:pt x="146" y="509"/>
                  </a:lnTo>
                  <a:lnTo>
                    <a:pt x="133" y="500"/>
                  </a:lnTo>
                  <a:lnTo>
                    <a:pt x="131" y="498"/>
                  </a:lnTo>
                  <a:lnTo>
                    <a:pt x="131" y="498"/>
                  </a:lnTo>
                  <a:lnTo>
                    <a:pt x="131" y="497"/>
                  </a:lnTo>
                  <a:lnTo>
                    <a:pt x="131" y="496"/>
                  </a:lnTo>
                  <a:lnTo>
                    <a:pt x="130" y="493"/>
                  </a:lnTo>
                  <a:lnTo>
                    <a:pt x="130" y="486"/>
                  </a:lnTo>
                  <a:lnTo>
                    <a:pt x="131" y="479"/>
                  </a:lnTo>
                  <a:lnTo>
                    <a:pt x="131" y="476"/>
                  </a:lnTo>
                  <a:lnTo>
                    <a:pt x="130" y="473"/>
                  </a:lnTo>
                  <a:lnTo>
                    <a:pt x="129" y="469"/>
                  </a:lnTo>
                  <a:lnTo>
                    <a:pt x="128" y="465"/>
                  </a:lnTo>
                  <a:lnTo>
                    <a:pt x="126" y="460"/>
                  </a:lnTo>
                  <a:lnTo>
                    <a:pt x="123" y="455"/>
                  </a:lnTo>
                  <a:lnTo>
                    <a:pt x="122" y="453"/>
                  </a:lnTo>
                  <a:lnTo>
                    <a:pt x="122" y="452"/>
                  </a:lnTo>
                  <a:lnTo>
                    <a:pt x="122" y="450"/>
                  </a:lnTo>
                  <a:lnTo>
                    <a:pt x="122" y="449"/>
                  </a:lnTo>
                  <a:lnTo>
                    <a:pt x="122" y="448"/>
                  </a:lnTo>
                  <a:lnTo>
                    <a:pt x="123" y="447"/>
                  </a:lnTo>
                  <a:lnTo>
                    <a:pt x="124" y="445"/>
                  </a:lnTo>
                  <a:lnTo>
                    <a:pt x="125" y="443"/>
                  </a:lnTo>
                  <a:lnTo>
                    <a:pt x="127" y="441"/>
                  </a:lnTo>
                  <a:lnTo>
                    <a:pt x="130" y="438"/>
                  </a:lnTo>
                  <a:lnTo>
                    <a:pt x="136" y="433"/>
                  </a:lnTo>
                  <a:lnTo>
                    <a:pt x="139" y="430"/>
                  </a:lnTo>
                  <a:lnTo>
                    <a:pt x="143" y="425"/>
                  </a:lnTo>
                  <a:lnTo>
                    <a:pt x="149" y="419"/>
                  </a:lnTo>
                  <a:lnTo>
                    <a:pt x="153" y="414"/>
                  </a:lnTo>
                  <a:lnTo>
                    <a:pt x="154" y="413"/>
                  </a:lnTo>
                  <a:lnTo>
                    <a:pt x="154" y="411"/>
                  </a:lnTo>
                  <a:lnTo>
                    <a:pt x="155" y="410"/>
                  </a:lnTo>
                  <a:lnTo>
                    <a:pt x="154" y="409"/>
                  </a:lnTo>
                  <a:lnTo>
                    <a:pt x="154" y="408"/>
                  </a:lnTo>
                  <a:lnTo>
                    <a:pt x="153" y="407"/>
                  </a:lnTo>
                  <a:lnTo>
                    <a:pt x="153" y="406"/>
                  </a:lnTo>
                  <a:lnTo>
                    <a:pt x="151" y="406"/>
                  </a:lnTo>
                  <a:lnTo>
                    <a:pt x="149" y="406"/>
                  </a:lnTo>
                  <a:lnTo>
                    <a:pt x="147" y="405"/>
                  </a:lnTo>
                  <a:lnTo>
                    <a:pt x="145" y="404"/>
                  </a:lnTo>
                  <a:lnTo>
                    <a:pt x="143" y="403"/>
                  </a:lnTo>
                  <a:lnTo>
                    <a:pt x="142" y="402"/>
                  </a:lnTo>
                  <a:lnTo>
                    <a:pt x="142" y="401"/>
                  </a:lnTo>
                  <a:lnTo>
                    <a:pt x="141" y="400"/>
                  </a:lnTo>
                  <a:lnTo>
                    <a:pt x="141" y="398"/>
                  </a:lnTo>
                  <a:lnTo>
                    <a:pt x="142" y="397"/>
                  </a:lnTo>
                  <a:lnTo>
                    <a:pt x="142" y="396"/>
                  </a:lnTo>
                  <a:lnTo>
                    <a:pt x="143" y="394"/>
                  </a:lnTo>
                  <a:lnTo>
                    <a:pt x="144" y="393"/>
                  </a:lnTo>
                  <a:lnTo>
                    <a:pt x="148" y="391"/>
                  </a:lnTo>
                  <a:lnTo>
                    <a:pt x="150" y="391"/>
                  </a:lnTo>
                  <a:lnTo>
                    <a:pt x="151" y="390"/>
                  </a:lnTo>
                  <a:lnTo>
                    <a:pt x="153" y="389"/>
                  </a:lnTo>
                  <a:lnTo>
                    <a:pt x="157" y="388"/>
                  </a:lnTo>
                  <a:lnTo>
                    <a:pt x="158" y="388"/>
                  </a:lnTo>
                  <a:lnTo>
                    <a:pt x="158" y="387"/>
                  </a:lnTo>
                  <a:lnTo>
                    <a:pt x="158" y="386"/>
                  </a:lnTo>
                  <a:lnTo>
                    <a:pt x="158" y="385"/>
                  </a:lnTo>
                  <a:lnTo>
                    <a:pt x="158" y="384"/>
                  </a:lnTo>
                  <a:lnTo>
                    <a:pt x="157" y="382"/>
                  </a:lnTo>
                  <a:lnTo>
                    <a:pt x="153" y="377"/>
                  </a:lnTo>
                  <a:lnTo>
                    <a:pt x="151" y="375"/>
                  </a:lnTo>
                  <a:lnTo>
                    <a:pt x="149" y="372"/>
                  </a:lnTo>
                  <a:lnTo>
                    <a:pt x="148" y="369"/>
                  </a:lnTo>
                  <a:lnTo>
                    <a:pt x="148" y="367"/>
                  </a:lnTo>
                  <a:lnTo>
                    <a:pt x="147" y="364"/>
                  </a:lnTo>
                  <a:lnTo>
                    <a:pt x="147" y="352"/>
                  </a:lnTo>
                  <a:lnTo>
                    <a:pt x="147" y="350"/>
                  </a:lnTo>
                  <a:lnTo>
                    <a:pt x="147" y="349"/>
                  </a:lnTo>
                  <a:lnTo>
                    <a:pt x="146" y="347"/>
                  </a:lnTo>
                  <a:lnTo>
                    <a:pt x="145" y="345"/>
                  </a:lnTo>
                  <a:lnTo>
                    <a:pt x="145" y="344"/>
                  </a:lnTo>
                  <a:lnTo>
                    <a:pt x="144" y="343"/>
                  </a:lnTo>
                  <a:lnTo>
                    <a:pt x="143" y="342"/>
                  </a:lnTo>
                  <a:lnTo>
                    <a:pt x="142" y="341"/>
                  </a:lnTo>
                  <a:lnTo>
                    <a:pt x="141" y="341"/>
                  </a:lnTo>
                  <a:lnTo>
                    <a:pt x="140" y="340"/>
                  </a:lnTo>
                  <a:lnTo>
                    <a:pt x="137" y="340"/>
                  </a:lnTo>
                  <a:lnTo>
                    <a:pt x="136" y="339"/>
                  </a:lnTo>
                  <a:lnTo>
                    <a:pt x="135" y="339"/>
                  </a:lnTo>
                  <a:lnTo>
                    <a:pt x="134" y="338"/>
                  </a:lnTo>
                  <a:lnTo>
                    <a:pt x="134" y="336"/>
                  </a:lnTo>
                  <a:lnTo>
                    <a:pt x="134" y="335"/>
                  </a:lnTo>
                  <a:lnTo>
                    <a:pt x="135" y="334"/>
                  </a:lnTo>
                  <a:lnTo>
                    <a:pt x="137" y="330"/>
                  </a:lnTo>
                  <a:lnTo>
                    <a:pt x="137" y="328"/>
                  </a:lnTo>
                  <a:lnTo>
                    <a:pt x="138" y="327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7" y="323"/>
                  </a:lnTo>
                  <a:lnTo>
                    <a:pt x="136" y="322"/>
                  </a:lnTo>
                  <a:lnTo>
                    <a:pt x="135" y="321"/>
                  </a:lnTo>
                  <a:lnTo>
                    <a:pt x="134" y="320"/>
                  </a:lnTo>
                  <a:lnTo>
                    <a:pt x="132" y="318"/>
                  </a:lnTo>
                  <a:lnTo>
                    <a:pt x="130" y="317"/>
                  </a:lnTo>
                  <a:lnTo>
                    <a:pt x="127" y="316"/>
                  </a:lnTo>
                  <a:lnTo>
                    <a:pt x="123" y="315"/>
                  </a:lnTo>
                  <a:lnTo>
                    <a:pt x="119" y="315"/>
                  </a:lnTo>
                  <a:lnTo>
                    <a:pt x="117" y="315"/>
                  </a:lnTo>
                  <a:lnTo>
                    <a:pt x="112" y="315"/>
                  </a:lnTo>
                  <a:lnTo>
                    <a:pt x="110" y="315"/>
                  </a:lnTo>
                  <a:lnTo>
                    <a:pt x="108" y="315"/>
                  </a:lnTo>
                  <a:lnTo>
                    <a:pt x="108" y="314"/>
                  </a:lnTo>
                  <a:lnTo>
                    <a:pt x="106" y="313"/>
                  </a:lnTo>
                  <a:lnTo>
                    <a:pt x="103" y="312"/>
                  </a:lnTo>
                  <a:lnTo>
                    <a:pt x="100" y="310"/>
                  </a:lnTo>
                  <a:lnTo>
                    <a:pt x="98" y="308"/>
                  </a:lnTo>
                  <a:lnTo>
                    <a:pt x="97" y="306"/>
                  </a:lnTo>
                  <a:lnTo>
                    <a:pt x="96" y="304"/>
                  </a:lnTo>
                  <a:lnTo>
                    <a:pt x="94" y="303"/>
                  </a:lnTo>
                  <a:lnTo>
                    <a:pt x="93" y="301"/>
                  </a:lnTo>
                  <a:lnTo>
                    <a:pt x="92" y="300"/>
                  </a:lnTo>
                  <a:lnTo>
                    <a:pt x="92" y="298"/>
                  </a:lnTo>
                  <a:lnTo>
                    <a:pt x="92" y="295"/>
                  </a:lnTo>
                  <a:lnTo>
                    <a:pt x="91" y="288"/>
                  </a:lnTo>
                  <a:lnTo>
                    <a:pt x="91" y="284"/>
                  </a:lnTo>
                  <a:lnTo>
                    <a:pt x="90" y="281"/>
                  </a:lnTo>
                  <a:lnTo>
                    <a:pt x="89" y="274"/>
                  </a:lnTo>
                  <a:lnTo>
                    <a:pt x="88" y="269"/>
                  </a:lnTo>
                  <a:lnTo>
                    <a:pt x="87" y="266"/>
                  </a:lnTo>
                  <a:lnTo>
                    <a:pt x="87" y="264"/>
                  </a:lnTo>
                  <a:lnTo>
                    <a:pt x="87" y="261"/>
                  </a:lnTo>
                  <a:lnTo>
                    <a:pt x="87" y="250"/>
                  </a:lnTo>
                  <a:lnTo>
                    <a:pt x="87" y="248"/>
                  </a:lnTo>
                  <a:lnTo>
                    <a:pt x="87" y="246"/>
                  </a:lnTo>
                  <a:lnTo>
                    <a:pt x="86" y="244"/>
                  </a:lnTo>
                  <a:lnTo>
                    <a:pt x="85" y="242"/>
                  </a:lnTo>
                  <a:lnTo>
                    <a:pt x="82" y="235"/>
                  </a:lnTo>
                  <a:lnTo>
                    <a:pt x="78" y="228"/>
                  </a:lnTo>
                  <a:lnTo>
                    <a:pt x="76" y="225"/>
                  </a:lnTo>
                  <a:lnTo>
                    <a:pt x="75" y="223"/>
                  </a:lnTo>
                  <a:lnTo>
                    <a:pt x="74" y="222"/>
                  </a:lnTo>
                  <a:lnTo>
                    <a:pt x="73" y="221"/>
                  </a:lnTo>
                  <a:lnTo>
                    <a:pt x="72" y="221"/>
                  </a:lnTo>
                  <a:lnTo>
                    <a:pt x="71" y="220"/>
                  </a:lnTo>
                  <a:lnTo>
                    <a:pt x="69" y="219"/>
                  </a:lnTo>
                  <a:lnTo>
                    <a:pt x="63" y="217"/>
                  </a:lnTo>
                  <a:lnTo>
                    <a:pt x="61" y="216"/>
                  </a:lnTo>
                  <a:lnTo>
                    <a:pt x="60" y="215"/>
                  </a:lnTo>
                  <a:lnTo>
                    <a:pt x="58" y="213"/>
                  </a:lnTo>
                  <a:lnTo>
                    <a:pt x="55" y="210"/>
                  </a:lnTo>
                  <a:lnTo>
                    <a:pt x="51" y="206"/>
                  </a:lnTo>
                  <a:lnTo>
                    <a:pt x="50" y="204"/>
                  </a:lnTo>
                  <a:lnTo>
                    <a:pt x="48" y="202"/>
                  </a:lnTo>
                  <a:lnTo>
                    <a:pt x="46" y="199"/>
                  </a:lnTo>
                  <a:lnTo>
                    <a:pt x="44" y="198"/>
                  </a:lnTo>
                  <a:lnTo>
                    <a:pt x="43" y="195"/>
                  </a:lnTo>
                  <a:lnTo>
                    <a:pt x="42" y="192"/>
                  </a:lnTo>
                  <a:lnTo>
                    <a:pt x="41" y="190"/>
                  </a:lnTo>
                  <a:lnTo>
                    <a:pt x="40" y="185"/>
                  </a:lnTo>
                  <a:lnTo>
                    <a:pt x="40" y="183"/>
                  </a:lnTo>
                  <a:lnTo>
                    <a:pt x="40" y="182"/>
                  </a:lnTo>
                  <a:lnTo>
                    <a:pt x="39" y="181"/>
                  </a:lnTo>
                  <a:lnTo>
                    <a:pt x="38" y="180"/>
                  </a:lnTo>
                  <a:lnTo>
                    <a:pt x="37" y="179"/>
                  </a:lnTo>
                  <a:lnTo>
                    <a:pt x="35" y="177"/>
                  </a:lnTo>
                  <a:lnTo>
                    <a:pt x="30" y="175"/>
                  </a:lnTo>
                  <a:lnTo>
                    <a:pt x="29" y="174"/>
                  </a:lnTo>
                  <a:lnTo>
                    <a:pt x="27" y="172"/>
                  </a:lnTo>
                  <a:lnTo>
                    <a:pt x="26" y="172"/>
                  </a:lnTo>
                  <a:lnTo>
                    <a:pt x="24" y="171"/>
                  </a:lnTo>
                  <a:lnTo>
                    <a:pt x="21" y="171"/>
                  </a:lnTo>
                  <a:lnTo>
                    <a:pt x="20" y="171"/>
                  </a:lnTo>
                  <a:lnTo>
                    <a:pt x="19" y="170"/>
                  </a:lnTo>
                  <a:lnTo>
                    <a:pt x="18" y="169"/>
                  </a:lnTo>
                  <a:lnTo>
                    <a:pt x="18" y="168"/>
                  </a:lnTo>
                  <a:lnTo>
                    <a:pt x="17" y="166"/>
                  </a:lnTo>
                  <a:lnTo>
                    <a:pt x="17" y="164"/>
                  </a:lnTo>
                  <a:lnTo>
                    <a:pt x="17" y="163"/>
                  </a:lnTo>
                  <a:lnTo>
                    <a:pt x="17" y="161"/>
                  </a:lnTo>
                  <a:lnTo>
                    <a:pt x="17" y="156"/>
                  </a:lnTo>
                  <a:lnTo>
                    <a:pt x="17" y="149"/>
                  </a:lnTo>
                  <a:lnTo>
                    <a:pt x="17" y="145"/>
                  </a:lnTo>
                  <a:lnTo>
                    <a:pt x="17" y="142"/>
                  </a:lnTo>
                  <a:lnTo>
                    <a:pt x="17" y="138"/>
                  </a:lnTo>
                  <a:lnTo>
                    <a:pt x="17" y="134"/>
                  </a:lnTo>
                  <a:lnTo>
                    <a:pt x="17" y="131"/>
                  </a:lnTo>
                  <a:lnTo>
                    <a:pt x="16" y="127"/>
                  </a:lnTo>
                  <a:lnTo>
                    <a:pt x="14" y="121"/>
                  </a:lnTo>
                  <a:lnTo>
                    <a:pt x="13" y="118"/>
                  </a:lnTo>
                  <a:lnTo>
                    <a:pt x="13" y="114"/>
                  </a:lnTo>
                  <a:lnTo>
                    <a:pt x="12" y="111"/>
                  </a:lnTo>
                  <a:lnTo>
                    <a:pt x="13" y="108"/>
                  </a:lnTo>
                  <a:lnTo>
                    <a:pt x="13" y="105"/>
                  </a:lnTo>
                  <a:lnTo>
                    <a:pt x="14" y="103"/>
                  </a:lnTo>
                  <a:lnTo>
                    <a:pt x="16" y="97"/>
                  </a:lnTo>
                  <a:lnTo>
                    <a:pt x="19" y="85"/>
                  </a:lnTo>
                  <a:lnTo>
                    <a:pt x="19" y="81"/>
                  </a:lnTo>
                  <a:lnTo>
                    <a:pt x="19" y="80"/>
                  </a:lnTo>
                  <a:lnTo>
                    <a:pt x="19" y="79"/>
                  </a:lnTo>
                  <a:lnTo>
                    <a:pt x="18" y="76"/>
                  </a:lnTo>
                  <a:lnTo>
                    <a:pt x="17" y="74"/>
                  </a:lnTo>
                  <a:lnTo>
                    <a:pt x="16" y="70"/>
                  </a:lnTo>
                  <a:lnTo>
                    <a:pt x="14" y="66"/>
                  </a:lnTo>
                  <a:lnTo>
                    <a:pt x="12" y="64"/>
                  </a:lnTo>
                  <a:lnTo>
                    <a:pt x="10" y="62"/>
                  </a:lnTo>
                  <a:lnTo>
                    <a:pt x="3" y="54"/>
                  </a:lnTo>
                  <a:lnTo>
                    <a:pt x="1" y="51"/>
                  </a:lnTo>
                  <a:lnTo>
                    <a:pt x="0" y="51"/>
                  </a:lnTo>
                  <a:lnTo>
                    <a:pt x="3" y="51"/>
                  </a:lnTo>
                  <a:lnTo>
                    <a:pt x="13" y="51"/>
                  </a:lnTo>
                  <a:lnTo>
                    <a:pt x="17" y="51"/>
                  </a:lnTo>
                  <a:lnTo>
                    <a:pt x="20" y="52"/>
                  </a:lnTo>
                  <a:lnTo>
                    <a:pt x="23" y="53"/>
                  </a:lnTo>
                  <a:lnTo>
                    <a:pt x="27" y="54"/>
                  </a:lnTo>
                  <a:lnTo>
                    <a:pt x="29" y="55"/>
                  </a:lnTo>
                  <a:lnTo>
                    <a:pt x="31" y="56"/>
                  </a:lnTo>
                  <a:lnTo>
                    <a:pt x="36" y="59"/>
                  </a:lnTo>
                  <a:lnTo>
                    <a:pt x="41" y="62"/>
                  </a:lnTo>
                  <a:lnTo>
                    <a:pt x="44" y="63"/>
                  </a:lnTo>
                  <a:lnTo>
                    <a:pt x="45" y="63"/>
                  </a:lnTo>
                  <a:lnTo>
                    <a:pt x="46" y="63"/>
                  </a:lnTo>
                  <a:lnTo>
                    <a:pt x="48" y="63"/>
                  </a:lnTo>
                  <a:lnTo>
                    <a:pt x="49" y="63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7" y="55"/>
                  </a:lnTo>
                  <a:lnTo>
                    <a:pt x="60" y="51"/>
                  </a:lnTo>
                  <a:lnTo>
                    <a:pt x="68" y="41"/>
                  </a:lnTo>
                  <a:lnTo>
                    <a:pt x="73" y="37"/>
                  </a:lnTo>
                  <a:lnTo>
                    <a:pt x="75" y="33"/>
                  </a:lnTo>
                  <a:lnTo>
                    <a:pt x="78" y="30"/>
                  </a:lnTo>
                  <a:lnTo>
                    <a:pt x="81" y="28"/>
                  </a:lnTo>
                  <a:lnTo>
                    <a:pt x="85" y="27"/>
                  </a:lnTo>
                  <a:lnTo>
                    <a:pt x="89" y="24"/>
                  </a:lnTo>
                  <a:lnTo>
                    <a:pt x="93" y="23"/>
                  </a:lnTo>
                  <a:lnTo>
                    <a:pt x="96" y="21"/>
                  </a:lnTo>
                  <a:lnTo>
                    <a:pt x="102" y="19"/>
                  </a:lnTo>
                  <a:lnTo>
                    <a:pt x="108" y="17"/>
                  </a:lnTo>
                  <a:lnTo>
                    <a:pt x="111" y="17"/>
                  </a:lnTo>
                  <a:lnTo>
                    <a:pt x="113" y="17"/>
                  </a:lnTo>
                  <a:lnTo>
                    <a:pt x="116" y="17"/>
                  </a:lnTo>
                  <a:lnTo>
                    <a:pt x="117" y="17"/>
                  </a:lnTo>
                  <a:lnTo>
                    <a:pt x="118" y="17"/>
                  </a:lnTo>
                  <a:lnTo>
                    <a:pt x="119" y="17"/>
                  </a:lnTo>
                  <a:lnTo>
                    <a:pt x="121" y="18"/>
                  </a:lnTo>
                  <a:lnTo>
                    <a:pt x="122" y="19"/>
                  </a:lnTo>
                  <a:lnTo>
                    <a:pt x="127" y="22"/>
                  </a:lnTo>
                  <a:lnTo>
                    <a:pt x="128" y="23"/>
                  </a:lnTo>
                  <a:lnTo>
                    <a:pt x="129" y="24"/>
                  </a:lnTo>
                  <a:lnTo>
                    <a:pt x="130" y="24"/>
                  </a:lnTo>
                  <a:lnTo>
                    <a:pt x="131" y="23"/>
                  </a:lnTo>
                  <a:lnTo>
                    <a:pt x="131" y="22"/>
                  </a:lnTo>
                  <a:lnTo>
                    <a:pt x="131" y="21"/>
                  </a:lnTo>
                  <a:lnTo>
                    <a:pt x="134" y="15"/>
                  </a:lnTo>
                  <a:lnTo>
                    <a:pt x="138" y="6"/>
                  </a:lnTo>
                  <a:lnTo>
                    <a:pt x="140" y="1"/>
                  </a:lnTo>
                  <a:lnTo>
                    <a:pt x="141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1" name="Freeform 34">
              <a:extLst>
                <a:ext uri="{FF2B5EF4-FFF2-40B4-BE49-F238E27FC236}">
                  <a16:creationId xmlns:a16="http://schemas.microsoft.com/office/drawing/2014/main" id="{729592D5-7B52-4ACD-A570-F4EF80EAE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" y="1710"/>
              <a:ext cx="357" cy="447"/>
            </a:xfrm>
            <a:custGeom>
              <a:avLst/>
              <a:gdLst>
                <a:gd name="T0" fmla="*/ 209 w 357"/>
                <a:gd name="T1" fmla="*/ 12 h 447"/>
                <a:gd name="T2" fmla="*/ 218 w 357"/>
                <a:gd name="T3" fmla="*/ 31 h 447"/>
                <a:gd name="T4" fmla="*/ 212 w 357"/>
                <a:gd name="T5" fmla="*/ 68 h 447"/>
                <a:gd name="T6" fmla="*/ 216 w 357"/>
                <a:gd name="T7" fmla="*/ 99 h 447"/>
                <a:gd name="T8" fmla="*/ 218 w 357"/>
                <a:gd name="T9" fmla="*/ 120 h 447"/>
                <a:gd name="T10" fmla="*/ 229 w 357"/>
                <a:gd name="T11" fmla="*/ 125 h 447"/>
                <a:gd name="T12" fmla="*/ 240 w 357"/>
                <a:gd name="T13" fmla="*/ 140 h 447"/>
                <a:gd name="T14" fmla="*/ 254 w 357"/>
                <a:gd name="T15" fmla="*/ 160 h 447"/>
                <a:gd name="T16" fmla="*/ 272 w 357"/>
                <a:gd name="T17" fmla="*/ 171 h 447"/>
                <a:gd name="T18" fmla="*/ 286 w 357"/>
                <a:gd name="T19" fmla="*/ 196 h 447"/>
                <a:gd name="T20" fmla="*/ 289 w 357"/>
                <a:gd name="T21" fmla="*/ 231 h 447"/>
                <a:gd name="T22" fmla="*/ 295 w 357"/>
                <a:gd name="T23" fmla="*/ 254 h 447"/>
                <a:gd name="T24" fmla="*/ 309 w 357"/>
                <a:gd name="T25" fmla="*/ 265 h 447"/>
                <a:gd name="T26" fmla="*/ 333 w 357"/>
                <a:gd name="T27" fmla="*/ 270 h 447"/>
                <a:gd name="T28" fmla="*/ 336 w 357"/>
                <a:gd name="T29" fmla="*/ 280 h 447"/>
                <a:gd name="T30" fmla="*/ 336 w 357"/>
                <a:gd name="T31" fmla="*/ 290 h 447"/>
                <a:gd name="T32" fmla="*/ 345 w 357"/>
                <a:gd name="T33" fmla="*/ 297 h 447"/>
                <a:gd name="T34" fmla="*/ 350 w 357"/>
                <a:gd name="T35" fmla="*/ 325 h 447"/>
                <a:gd name="T36" fmla="*/ 357 w 357"/>
                <a:gd name="T37" fmla="*/ 338 h 447"/>
                <a:gd name="T38" fmla="*/ 341 w 357"/>
                <a:gd name="T39" fmla="*/ 346 h 447"/>
                <a:gd name="T40" fmla="*/ 344 w 357"/>
                <a:gd name="T41" fmla="*/ 354 h 447"/>
                <a:gd name="T42" fmla="*/ 354 w 357"/>
                <a:gd name="T43" fmla="*/ 360 h 447"/>
                <a:gd name="T44" fmla="*/ 329 w 357"/>
                <a:gd name="T45" fmla="*/ 388 h 447"/>
                <a:gd name="T46" fmla="*/ 321 w 357"/>
                <a:gd name="T47" fmla="*/ 402 h 447"/>
                <a:gd name="T48" fmla="*/ 330 w 357"/>
                <a:gd name="T49" fmla="*/ 429 h 447"/>
                <a:gd name="T50" fmla="*/ 327 w 357"/>
                <a:gd name="T51" fmla="*/ 446 h 447"/>
                <a:gd name="T52" fmla="*/ 299 w 357"/>
                <a:gd name="T53" fmla="*/ 432 h 447"/>
                <a:gd name="T54" fmla="*/ 274 w 357"/>
                <a:gd name="T55" fmla="*/ 417 h 447"/>
                <a:gd name="T56" fmla="*/ 246 w 357"/>
                <a:gd name="T57" fmla="*/ 403 h 447"/>
                <a:gd name="T58" fmla="*/ 226 w 357"/>
                <a:gd name="T59" fmla="*/ 408 h 447"/>
                <a:gd name="T60" fmla="*/ 210 w 357"/>
                <a:gd name="T61" fmla="*/ 416 h 447"/>
                <a:gd name="T62" fmla="*/ 195 w 357"/>
                <a:gd name="T63" fmla="*/ 407 h 447"/>
                <a:gd name="T64" fmla="*/ 187 w 357"/>
                <a:gd name="T65" fmla="*/ 412 h 447"/>
                <a:gd name="T66" fmla="*/ 171 w 357"/>
                <a:gd name="T67" fmla="*/ 424 h 447"/>
                <a:gd name="T68" fmla="*/ 146 w 357"/>
                <a:gd name="T69" fmla="*/ 415 h 447"/>
                <a:gd name="T70" fmla="*/ 138 w 357"/>
                <a:gd name="T71" fmla="*/ 398 h 447"/>
                <a:gd name="T72" fmla="*/ 121 w 357"/>
                <a:gd name="T73" fmla="*/ 386 h 447"/>
                <a:gd name="T74" fmla="*/ 102 w 357"/>
                <a:gd name="T75" fmla="*/ 366 h 447"/>
                <a:gd name="T76" fmla="*/ 79 w 357"/>
                <a:gd name="T77" fmla="*/ 346 h 447"/>
                <a:gd name="T78" fmla="*/ 73 w 357"/>
                <a:gd name="T79" fmla="*/ 333 h 447"/>
                <a:gd name="T80" fmla="*/ 79 w 357"/>
                <a:gd name="T81" fmla="*/ 306 h 447"/>
                <a:gd name="T82" fmla="*/ 89 w 357"/>
                <a:gd name="T83" fmla="*/ 287 h 447"/>
                <a:gd name="T84" fmla="*/ 83 w 357"/>
                <a:gd name="T85" fmla="*/ 271 h 447"/>
                <a:gd name="T86" fmla="*/ 87 w 357"/>
                <a:gd name="T87" fmla="*/ 252 h 447"/>
                <a:gd name="T88" fmla="*/ 84 w 357"/>
                <a:gd name="T89" fmla="*/ 222 h 447"/>
                <a:gd name="T90" fmla="*/ 57 w 357"/>
                <a:gd name="T91" fmla="*/ 175 h 447"/>
                <a:gd name="T92" fmla="*/ 28 w 357"/>
                <a:gd name="T93" fmla="*/ 160 h 447"/>
                <a:gd name="T94" fmla="*/ 1 w 357"/>
                <a:gd name="T95" fmla="*/ 140 h 447"/>
                <a:gd name="T96" fmla="*/ 13 w 357"/>
                <a:gd name="T97" fmla="*/ 118 h 447"/>
                <a:gd name="T98" fmla="*/ 27 w 357"/>
                <a:gd name="T99" fmla="*/ 102 h 447"/>
                <a:gd name="T100" fmla="*/ 50 w 357"/>
                <a:gd name="T101" fmla="*/ 81 h 447"/>
                <a:gd name="T102" fmla="*/ 76 w 357"/>
                <a:gd name="T103" fmla="*/ 68 h 447"/>
                <a:gd name="T104" fmla="*/ 87 w 357"/>
                <a:gd name="T105" fmla="*/ 46 h 447"/>
                <a:gd name="T106" fmla="*/ 100 w 357"/>
                <a:gd name="T107" fmla="*/ 26 h 447"/>
                <a:gd name="T108" fmla="*/ 128 w 357"/>
                <a:gd name="T109" fmla="*/ 13 h 447"/>
                <a:gd name="T110" fmla="*/ 193 w 357"/>
                <a:gd name="T111" fmla="*/ 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7" h="447">
                  <a:moveTo>
                    <a:pt x="195" y="0"/>
                  </a:moveTo>
                  <a:lnTo>
                    <a:pt x="197" y="0"/>
                  </a:lnTo>
                  <a:lnTo>
                    <a:pt x="198" y="1"/>
                  </a:lnTo>
                  <a:lnTo>
                    <a:pt x="199" y="1"/>
                  </a:lnTo>
                  <a:lnTo>
                    <a:pt x="199" y="1"/>
                  </a:lnTo>
                  <a:lnTo>
                    <a:pt x="200" y="1"/>
                  </a:lnTo>
                  <a:lnTo>
                    <a:pt x="202" y="4"/>
                  </a:lnTo>
                  <a:lnTo>
                    <a:pt x="209" y="12"/>
                  </a:lnTo>
                  <a:lnTo>
                    <a:pt x="211" y="14"/>
                  </a:lnTo>
                  <a:lnTo>
                    <a:pt x="213" y="16"/>
                  </a:lnTo>
                  <a:lnTo>
                    <a:pt x="215" y="20"/>
                  </a:lnTo>
                  <a:lnTo>
                    <a:pt x="216" y="24"/>
                  </a:lnTo>
                  <a:lnTo>
                    <a:pt x="217" y="26"/>
                  </a:lnTo>
                  <a:lnTo>
                    <a:pt x="218" y="29"/>
                  </a:lnTo>
                  <a:lnTo>
                    <a:pt x="218" y="30"/>
                  </a:lnTo>
                  <a:lnTo>
                    <a:pt x="218" y="31"/>
                  </a:lnTo>
                  <a:lnTo>
                    <a:pt x="218" y="35"/>
                  </a:lnTo>
                  <a:lnTo>
                    <a:pt x="215" y="47"/>
                  </a:lnTo>
                  <a:lnTo>
                    <a:pt x="213" y="53"/>
                  </a:lnTo>
                  <a:lnTo>
                    <a:pt x="212" y="55"/>
                  </a:lnTo>
                  <a:lnTo>
                    <a:pt x="212" y="58"/>
                  </a:lnTo>
                  <a:lnTo>
                    <a:pt x="211" y="61"/>
                  </a:lnTo>
                  <a:lnTo>
                    <a:pt x="212" y="64"/>
                  </a:lnTo>
                  <a:lnTo>
                    <a:pt x="212" y="68"/>
                  </a:lnTo>
                  <a:lnTo>
                    <a:pt x="213" y="71"/>
                  </a:lnTo>
                  <a:lnTo>
                    <a:pt x="215" y="77"/>
                  </a:lnTo>
                  <a:lnTo>
                    <a:pt x="216" y="81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92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6" y="106"/>
                  </a:lnTo>
                  <a:lnTo>
                    <a:pt x="216" y="111"/>
                  </a:lnTo>
                  <a:lnTo>
                    <a:pt x="216" y="113"/>
                  </a:lnTo>
                  <a:lnTo>
                    <a:pt x="216" y="114"/>
                  </a:lnTo>
                  <a:lnTo>
                    <a:pt x="216" y="116"/>
                  </a:lnTo>
                  <a:lnTo>
                    <a:pt x="217" y="118"/>
                  </a:lnTo>
                  <a:lnTo>
                    <a:pt x="217" y="119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19" y="121"/>
                  </a:lnTo>
                  <a:lnTo>
                    <a:pt x="220" y="121"/>
                  </a:lnTo>
                  <a:lnTo>
                    <a:pt x="223" y="121"/>
                  </a:lnTo>
                  <a:lnTo>
                    <a:pt x="225" y="122"/>
                  </a:lnTo>
                  <a:lnTo>
                    <a:pt x="226" y="122"/>
                  </a:lnTo>
                  <a:lnTo>
                    <a:pt x="228" y="124"/>
                  </a:lnTo>
                  <a:lnTo>
                    <a:pt x="229" y="125"/>
                  </a:lnTo>
                  <a:lnTo>
                    <a:pt x="234" y="127"/>
                  </a:lnTo>
                  <a:lnTo>
                    <a:pt x="236" y="129"/>
                  </a:lnTo>
                  <a:lnTo>
                    <a:pt x="237" y="130"/>
                  </a:lnTo>
                  <a:lnTo>
                    <a:pt x="238" y="131"/>
                  </a:lnTo>
                  <a:lnTo>
                    <a:pt x="239" y="132"/>
                  </a:lnTo>
                  <a:lnTo>
                    <a:pt x="239" y="133"/>
                  </a:lnTo>
                  <a:lnTo>
                    <a:pt x="239" y="135"/>
                  </a:lnTo>
                  <a:lnTo>
                    <a:pt x="240" y="140"/>
                  </a:lnTo>
                  <a:lnTo>
                    <a:pt x="241" y="142"/>
                  </a:lnTo>
                  <a:lnTo>
                    <a:pt x="242" y="145"/>
                  </a:lnTo>
                  <a:lnTo>
                    <a:pt x="243" y="148"/>
                  </a:lnTo>
                  <a:lnTo>
                    <a:pt x="245" y="149"/>
                  </a:lnTo>
                  <a:lnTo>
                    <a:pt x="247" y="152"/>
                  </a:lnTo>
                  <a:lnTo>
                    <a:pt x="249" y="154"/>
                  </a:lnTo>
                  <a:lnTo>
                    <a:pt x="250" y="156"/>
                  </a:lnTo>
                  <a:lnTo>
                    <a:pt x="254" y="160"/>
                  </a:lnTo>
                  <a:lnTo>
                    <a:pt x="257" y="163"/>
                  </a:lnTo>
                  <a:lnTo>
                    <a:pt x="259" y="165"/>
                  </a:lnTo>
                  <a:lnTo>
                    <a:pt x="260" y="166"/>
                  </a:lnTo>
                  <a:lnTo>
                    <a:pt x="262" y="167"/>
                  </a:lnTo>
                  <a:lnTo>
                    <a:pt x="268" y="169"/>
                  </a:lnTo>
                  <a:lnTo>
                    <a:pt x="270" y="170"/>
                  </a:lnTo>
                  <a:lnTo>
                    <a:pt x="271" y="171"/>
                  </a:lnTo>
                  <a:lnTo>
                    <a:pt x="272" y="171"/>
                  </a:lnTo>
                  <a:lnTo>
                    <a:pt x="273" y="172"/>
                  </a:lnTo>
                  <a:lnTo>
                    <a:pt x="274" y="173"/>
                  </a:lnTo>
                  <a:lnTo>
                    <a:pt x="275" y="175"/>
                  </a:lnTo>
                  <a:lnTo>
                    <a:pt x="277" y="178"/>
                  </a:lnTo>
                  <a:lnTo>
                    <a:pt x="281" y="185"/>
                  </a:lnTo>
                  <a:lnTo>
                    <a:pt x="284" y="192"/>
                  </a:lnTo>
                  <a:lnTo>
                    <a:pt x="285" y="194"/>
                  </a:lnTo>
                  <a:lnTo>
                    <a:pt x="286" y="196"/>
                  </a:lnTo>
                  <a:lnTo>
                    <a:pt x="286" y="198"/>
                  </a:lnTo>
                  <a:lnTo>
                    <a:pt x="286" y="200"/>
                  </a:lnTo>
                  <a:lnTo>
                    <a:pt x="286" y="211"/>
                  </a:lnTo>
                  <a:lnTo>
                    <a:pt x="286" y="214"/>
                  </a:lnTo>
                  <a:lnTo>
                    <a:pt x="286" y="216"/>
                  </a:lnTo>
                  <a:lnTo>
                    <a:pt x="287" y="219"/>
                  </a:lnTo>
                  <a:lnTo>
                    <a:pt x="288" y="224"/>
                  </a:lnTo>
                  <a:lnTo>
                    <a:pt x="289" y="231"/>
                  </a:lnTo>
                  <a:lnTo>
                    <a:pt x="290" y="234"/>
                  </a:lnTo>
                  <a:lnTo>
                    <a:pt x="290" y="238"/>
                  </a:lnTo>
                  <a:lnTo>
                    <a:pt x="291" y="245"/>
                  </a:lnTo>
                  <a:lnTo>
                    <a:pt x="291" y="248"/>
                  </a:lnTo>
                  <a:lnTo>
                    <a:pt x="291" y="250"/>
                  </a:lnTo>
                  <a:lnTo>
                    <a:pt x="292" y="251"/>
                  </a:lnTo>
                  <a:lnTo>
                    <a:pt x="293" y="253"/>
                  </a:lnTo>
                  <a:lnTo>
                    <a:pt x="295" y="254"/>
                  </a:lnTo>
                  <a:lnTo>
                    <a:pt x="296" y="256"/>
                  </a:lnTo>
                  <a:lnTo>
                    <a:pt x="297" y="258"/>
                  </a:lnTo>
                  <a:lnTo>
                    <a:pt x="299" y="260"/>
                  </a:lnTo>
                  <a:lnTo>
                    <a:pt x="302" y="262"/>
                  </a:lnTo>
                  <a:lnTo>
                    <a:pt x="305" y="263"/>
                  </a:lnTo>
                  <a:lnTo>
                    <a:pt x="307" y="264"/>
                  </a:lnTo>
                  <a:lnTo>
                    <a:pt x="307" y="265"/>
                  </a:lnTo>
                  <a:lnTo>
                    <a:pt x="309" y="265"/>
                  </a:lnTo>
                  <a:lnTo>
                    <a:pt x="311" y="265"/>
                  </a:lnTo>
                  <a:lnTo>
                    <a:pt x="316" y="265"/>
                  </a:lnTo>
                  <a:lnTo>
                    <a:pt x="318" y="265"/>
                  </a:lnTo>
                  <a:lnTo>
                    <a:pt x="322" y="265"/>
                  </a:lnTo>
                  <a:lnTo>
                    <a:pt x="326" y="266"/>
                  </a:lnTo>
                  <a:lnTo>
                    <a:pt x="329" y="267"/>
                  </a:lnTo>
                  <a:lnTo>
                    <a:pt x="331" y="268"/>
                  </a:lnTo>
                  <a:lnTo>
                    <a:pt x="333" y="270"/>
                  </a:lnTo>
                  <a:lnTo>
                    <a:pt x="334" y="271"/>
                  </a:lnTo>
                  <a:lnTo>
                    <a:pt x="335" y="272"/>
                  </a:lnTo>
                  <a:lnTo>
                    <a:pt x="336" y="273"/>
                  </a:lnTo>
                  <a:lnTo>
                    <a:pt x="336" y="274"/>
                  </a:lnTo>
                  <a:lnTo>
                    <a:pt x="337" y="275"/>
                  </a:lnTo>
                  <a:lnTo>
                    <a:pt x="337" y="277"/>
                  </a:lnTo>
                  <a:lnTo>
                    <a:pt x="336" y="278"/>
                  </a:lnTo>
                  <a:lnTo>
                    <a:pt x="336" y="280"/>
                  </a:lnTo>
                  <a:lnTo>
                    <a:pt x="334" y="284"/>
                  </a:lnTo>
                  <a:lnTo>
                    <a:pt x="333" y="285"/>
                  </a:lnTo>
                  <a:lnTo>
                    <a:pt x="333" y="286"/>
                  </a:lnTo>
                  <a:lnTo>
                    <a:pt x="333" y="288"/>
                  </a:lnTo>
                  <a:lnTo>
                    <a:pt x="333" y="288"/>
                  </a:lnTo>
                  <a:lnTo>
                    <a:pt x="334" y="289"/>
                  </a:lnTo>
                  <a:lnTo>
                    <a:pt x="335" y="289"/>
                  </a:lnTo>
                  <a:lnTo>
                    <a:pt x="336" y="290"/>
                  </a:lnTo>
                  <a:lnTo>
                    <a:pt x="339" y="290"/>
                  </a:lnTo>
                  <a:lnTo>
                    <a:pt x="340" y="291"/>
                  </a:lnTo>
                  <a:lnTo>
                    <a:pt x="341" y="291"/>
                  </a:lnTo>
                  <a:lnTo>
                    <a:pt x="342" y="292"/>
                  </a:lnTo>
                  <a:lnTo>
                    <a:pt x="343" y="293"/>
                  </a:lnTo>
                  <a:lnTo>
                    <a:pt x="344" y="294"/>
                  </a:lnTo>
                  <a:lnTo>
                    <a:pt x="344" y="295"/>
                  </a:lnTo>
                  <a:lnTo>
                    <a:pt x="345" y="297"/>
                  </a:lnTo>
                  <a:lnTo>
                    <a:pt x="346" y="299"/>
                  </a:lnTo>
                  <a:lnTo>
                    <a:pt x="346" y="300"/>
                  </a:lnTo>
                  <a:lnTo>
                    <a:pt x="346" y="302"/>
                  </a:lnTo>
                  <a:lnTo>
                    <a:pt x="346" y="314"/>
                  </a:lnTo>
                  <a:lnTo>
                    <a:pt x="347" y="317"/>
                  </a:lnTo>
                  <a:lnTo>
                    <a:pt x="347" y="319"/>
                  </a:lnTo>
                  <a:lnTo>
                    <a:pt x="348" y="322"/>
                  </a:lnTo>
                  <a:lnTo>
                    <a:pt x="350" y="325"/>
                  </a:lnTo>
                  <a:lnTo>
                    <a:pt x="352" y="327"/>
                  </a:lnTo>
                  <a:lnTo>
                    <a:pt x="356" y="332"/>
                  </a:lnTo>
                  <a:lnTo>
                    <a:pt x="357" y="334"/>
                  </a:lnTo>
                  <a:lnTo>
                    <a:pt x="357" y="335"/>
                  </a:lnTo>
                  <a:lnTo>
                    <a:pt x="357" y="336"/>
                  </a:lnTo>
                  <a:lnTo>
                    <a:pt x="357" y="337"/>
                  </a:lnTo>
                  <a:lnTo>
                    <a:pt x="357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2" y="339"/>
                  </a:lnTo>
                  <a:lnTo>
                    <a:pt x="350" y="340"/>
                  </a:lnTo>
                  <a:lnTo>
                    <a:pt x="349" y="341"/>
                  </a:lnTo>
                  <a:lnTo>
                    <a:pt x="347" y="341"/>
                  </a:lnTo>
                  <a:lnTo>
                    <a:pt x="343" y="343"/>
                  </a:lnTo>
                  <a:lnTo>
                    <a:pt x="342" y="344"/>
                  </a:lnTo>
                  <a:lnTo>
                    <a:pt x="341" y="346"/>
                  </a:lnTo>
                  <a:lnTo>
                    <a:pt x="341" y="347"/>
                  </a:lnTo>
                  <a:lnTo>
                    <a:pt x="340" y="348"/>
                  </a:lnTo>
                  <a:lnTo>
                    <a:pt x="340" y="350"/>
                  </a:lnTo>
                  <a:lnTo>
                    <a:pt x="341" y="351"/>
                  </a:lnTo>
                  <a:lnTo>
                    <a:pt x="341" y="351"/>
                  </a:lnTo>
                  <a:lnTo>
                    <a:pt x="341" y="352"/>
                  </a:lnTo>
                  <a:lnTo>
                    <a:pt x="342" y="353"/>
                  </a:lnTo>
                  <a:lnTo>
                    <a:pt x="344" y="354"/>
                  </a:lnTo>
                  <a:lnTo>
                    <a:pt x="346" y="355"/>
                  </a:lnTo>
                  <a:lnTo>
                    <a:pt x="348" y="356"/>
                  </a:lnTo>
                  <a:lnTo>
                    <a:pt x="350" y="356"/>
                  </a:lnTo>
                  <a:lnTo>
                    <a:pt x="352" y="356"/>
                  </a:lnTo>
                  <a:lnTo>
                    <a:pt x="352" y="357"/>
                  </a:lnTo>
                  <a:lnTo>
                    <a:pt x="353" y="358"/>
                  </a:lnTo>
                  <a:lnTo>
                    <a:pt x="353" y="359"/>
                  </a:lnTo>
                  <a:lnTo>
                    <a:pt x="354" y="360"/>
                  </a:lnTo>
                  <a:lnTo>
                    <a:pt x="353" y="361"/>
                  </a:lnTo>
                  <a:lnTo>
                    <a:pt x="353" y="363"/>
                  </a:lnTo>
                  <a:lnTo>
                    <a:pt x="352" y="364"/>
                  </a:lnTo>
                  <a:lnTo>
                    <a:pt x="348" y="369"/>
                  </a:lnTo>
                  <a:lnTo>
                    <a:pt x="342" y="375"/>
                  </a:lnTo>
                  <a:lnTo>
                    <a:pt x="338" y="380"/>
                  </a:lnTo>
                  <a:lnTo>
                    <a:pt x="335" y="383"/>
                  </a:lnTo>
                  <a:lnTo>
                    <a:pt x="329" y="388"/>
                  </a:lnTo>
                  <a:lnTo>
                    <a:pt x="326" y="391"/>
                  </a:lnTo>
                  <a:lnTo>
                    <a:pt x="324" y="393"/>
                  </a:lnTo>
                  <a:lnTo>
                    <a:pt x="323" y="395"/>
                  </a:lnTo>
                  <a:lnTo>
                    <a:pt x="322" y="397"/>
                  </a:lnTo>
                  <a:lnTo>
                    <a:pt x="321" y="398"/>
                  </a:lnTo>
                  <a:lnTo>
                    <a:pt x="321" y="399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1" y="403"/>
                  </a:lnTo>
                  <a:lnTo>
                    <a:pt x="322" y="405"/>
                  </a:lnTo>
                  <a:lnTo>
                    <a:pt x="325" y="410"/>
                  </a:lnTo>
                  <a:lnTo>
                    <a:pt x="327" y="415"/>
                  </a:lnTo>
                  <a:lnTo>
                    <a:pt x="328" y="419"/>
                  </a:lnTo>
                  <a:lnTo>
                    <a:pt x="329" y="423"/>
                  </a:lnTo>
                  <a:lnTo>
                    <a:pt x="330" y="426"/>
                  </a:lnTo>
                  <a:lnTo>
                    <a:pt x="330" y="429"/>
                  </a:lnTo>
                  <a:lnTo>
                    <a:pt x="329" y="436"/>
                  </a:lnTo>
                  <a:lnTo>
                    <a:pt x="329" y="443"/>
                  </a:lnTo>
                  <a:lnTo>
                    <a:pt x="330" y="446"/>
                  </a:lnTo>
                  <a:lnTo>
                    <a:pt x="330" y="447"/>
                  </a:lnTo>
                  <a:lnTo>
                    <a:pt x="330" y="447"/>
                  </a:lnTo>
                  <a:lnTo>
                    <a:pt x="330" y="447"/>
                  </a:lnTo>
                  <a:lnTo>
                    <a:pt x="329" y="447"/>
                  </a:lnTo>
                  <a:lnTo>
                    <a:pt x="327" y="446"/>
                  </a:lnTo>
                  <a:lnTo>
                    <a:pt x="324" y="445"/>
                  </a:lnTo>
                  <a:lnTo>
                    <a:pt x="321" y="443"/>
                  </a:lnTo>
                  <a:lnTo>
                    <a:pt x="315" y="440"/>
                  </a:lnTo>
                  <a:lnTo>
                    <a:pt x="307" y="435"/>
                  </a:lnTo>
                  <a:lnTo>
                    <a:pt x="305" y="433"/>
                  </a:lnTo>
                  <a:lnTo>
                    <a:pt x="302" y="432"/>
                  </a:lnTo>
                  <a:lnTo>
                    <a:pt x="301" y="432"/>
                  </a:lnTo>
                  <a:lnTo>
                    <a:pt x="299" y="432"/>
                  </a:lnTo>
                  <a:lnTo>
                    <a:pt x="295" y="431"/>
                  </a:lnTo>
                  <a:lnTo>
                    <a:pt x="293" y="430"/>
                  </a:lnTo>
                  <a:lnTo>
                    <a:pt x="291" y="429"/>
                  </a:lnTo>
                  <a:lnTo>
                    <a:pt x="290" y="428"/>
                  </a:lnTo>
                  <a:lnTo>
                    <a:pt x="287" y="427"/>
                  </a:lnTo>
                  <a:lnTo>
                    <a:pt x="284" y="425"/>
                  </a:lnTo>
                  <a:lnTo>
                    <a:pt x="282" y="422"/>
                  </a:lnTo>
                  <a:lnTo>
                    <a:pt x="274" y="417"/>
                  </a:lnTo>
                  <a:lnTo>
                    <a:pt x="273" y="415"/>
                  </a:lnTo>
                  <a:lnTo>
                    <a:pt x="270" y="413"/>
                  </a:lnTo>
                  <a:lnTo>
                    <a:pt x="266" y="411"/>
                  </a:lnTo>
                  <a:lnTo>
                    <a:pt x="259" y="408"/>
                  </a:lnTo>
                  <a:lnTo>
                    <a:pt x="253" y="405"/>
                  </a:lnTo>
                  <a:lnTo>
                    <a:pt x="250" y="404"/>
                  </a:lnTo>
                  <a:lnTo>
                    <a:pt x="248" y="403"/>
                  </a:lnTo>
                  <a:lnTo>
                    <a:pt x="246" y="403"/>
                  </a:lnTo>
                  <a:lnTo>
                    <a:pt x="244" y="403"/>
                  </a:lnTo>
                  <a:lnTo>
                    <a:pt x="242" y="403"/>
                  </a:lnTo>
                  <a:lnTo>
                    <a:pt x="240" y="403"/>
                  </a:lnTo>
                  <a:lnTo>
                    <a:pt x="238" y="404"/>
                  </a:lnTo>
                  <a:lnTo>
                    <a:pt x="236" y="404"/>
                  </a:lnTo>
                  <a:lnTo>
                    <a:pt x="231" y="406"/>
                  </a:lnTo>
                  <a:lnTo>
                    <a:pt x="228" y="407"/>
                  </a:lnTo>
                  <a:lnTo>
                    <a:pt x="226" y="408"/>
                  </a:lnTo>
                  <a:lnTo>
                    <a:pt x="224" y="409"/>
                  </a:lnTo>
                  <a:lnTo>
                    <a:pt x="219" y="413"/>
                  </a:lnTo>
                  <a:lnTo>
                    <a:pt x="217" y="414"/>
                  </a:lnTo>
                  <a:lnTo>
                    <a:pt x="216" y="415"/>
                  </a:lnTo>
                  <a:lnTo>
                    <a:pt x="215" y="416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0" y="416"/>
                  </a:lnTo>
                  <a:lnTo>
                    <a:pt x="208" y="416"/>
                  </a:lnTo>
                  <a:lnTo>
                    <a:pt x="206" y="415"/>
                  </a:lnTo>
                  <a:lnTo>
                    <a:pt x="205" y="414"/>
                  </a:lnTo>
                  <a:lnTo>
                    <a:pt x="203" y="413"/>
                  </a:lnTo>
                  <a:lnTo>
                    <a:pt x="201" y="412"/>
                  </a:lnTo>
                  <a:lnTo>
                    <a:pt x="200" y="410"/>
                  </a:lnTo>
                  <a:lnTo>
                    <a:pt x="197" y="408"/>
                  </a:lnTo>
                  <a:lnTo>
                    <a:pt x="195" y="407"/>
                  </a:lnTo>
                  <a:lnTo>
                    <a:pt x="195" y="406"/>
                  </a:lnTo>
                  <a:lnTo>
                    <a:pt x="194" y="406"/>
                  </a:lnTo>
                  <a:lnTo>
                    <a:pt x="193" y="406"/>
                  </a:lnTo>
                  <a:lnTo>
                    <a:pt x="193" y="406"/>
                  </a:lnTo>
                  <a:lnTo>
                    <a:pt x="193" y="406"/>
                  </a:lnTo>
                  <a:lnTo>
                    <a:pt x="191" y="408"/>
                  </a:lnTo>
                  <a:lnTo>
                    <a:pt x="190" y="409"/>
                  </a:lnTo>
                  <a:lnTo>
                    <a:pt x="187" y="412"/>
                  </a:lnTo>
                  <a:lnTo>
                    <a:pt x="185" y="415"/>
                  </a:lnTo>
                  <a:lnTo>
                    <a:pt x="183" y="418"/>
                  </a:lnTo>
                  <a:lnTo>
                    <a:pt x="182" y="419"/>
                  </a:lnTo>
                  <a:lnTo>
                    <a:pt x="180" y="420"/>
                  </a:lnTo>
                  <a:lnTo>
                    <a:pt x="178" y="421"/>
                  </a:lnTo>
                  <a:lnTo>
                    <a:pt x="175" y="423"/>
                  </a:lnTo>
                  <a:lnTo>
                    <a:pt x="172" y="424"/>
                  </a:lnTo>
                  <a:lnTo>
                    <a:pt x="171" y="424"/>
                  </a:lnTo>
                  <a:lnTo>
                    <a:pt x="170" y="425"/>
                  </a:lnTo>
                  <a:lnTo>
                    <a:pt x="167" y="425"/>
                  </a:lnTo>
                  <a:lnTo>
                    <a:pt x="166" y="425"/>
                  </a:lnTo>
                  <a:lnTo>
                    <a:pt x="164" y="424"/>
                  </a:lnTo>
                  <a:lnTo>
                    <a:pt x="162" y="424"/>
                  </a:lnTo>
                  <a:lnTo>
                    <a:pt x="150" y="419"/>
                  </a:lnTo>
                  <a:lnTo>
                    <a:pt x="148" y="417"/>
                  </a:lnTo>
                  <a:lnTo>
                    <a:pt x="146" y="415"/>
                  </a:lnTo>
                  <a:lnTo>
                    <a:pt x="145" y="414"/>
                  </a:lnTo>
                  <a:lnTo>
                    <a:pt x="144" y="413"/>
                  </a:lnTo>
                  <a:lnTo>
                    <a:pt x="143" y="412"/>
                  </a:lnTo>
                  <a:lnTo>
                    <a:pt x="143" y="410"/>
                  </a:lnTo>
                  <a:lnTo>
                    <a:pt x="141" y="408"/>
                  </a:lnTo>
                  <a:lnTo>
                    <a:pt x="140" y="401"/>
                  </a:lnTo>
                  <a:lnTo>
                    <a:pt x="139" y="398"/>
                  </a:lnTo>
                  <a:lnTo>
                    <a:pt x="138" y="398"/>
                  </a:lnTo>
                  <a:lnTo>
                    <a:pt x="138" y="397"/>
                  </a:lnTo>
                  <a:lnTo>
                    <a:pt x="137" y="395"/>
                  </a:lnTo>
                  <a:lnTo>
                    <a:pt x="136" y="394"/>
                  </a:lnTo>
                  <a:lnTo>
                    <a:pt x="136" y="393"/>
                  </a:lnTo>
                  <a:lnTo>
                    <a:pt x="135" y="392"/>
                  </a:lnTo>
                  <a:lnTo>
                    <a:pt x="131" y="390"/>
                  </a:lnTo>
                  <a:lnTo>
                    <a:pt x="127" y="388"/>
                  </a:lnTo>
                  <a:lnTo>
                    <a:pt x="121" y="386"/>
                  </a:lnTo>
                  <a:lnTo>
                    <a:pt x="118" y="385"/>
                  </a:lnTo>
                  <a:lnTo>
                    <a:pt x="115" y="383"/>
                  </a:lnTo>
                  <a:lnTo>
                    <a:pt x="113" y="381"/>
                  </a:lnTo>
                  <a:lnTo>
                    <a:pt x="110" y="378"/>
                  </a:lnTo>
                  <a:lnTo>
                    <a:pt x="108" y="376"/>
                  </a:lnTo>
                  <a:lnTo>
                    <a:pt x="107" y="375"/>
                  </a:lnTo>
                  <a:lnTo>
                    <a:pt x="105" y="372"/>
                  </a:lnTo>
                  <a:lnTo>
                    <a:pt x="102" y="366"/>
                  </a:lnTo>
                  <a:lnTo>
                    <a:pt x="101" y="364"/>
                  </a:lnTo>
                  <a:lnTo>
                    <a:pt x="98" y="359"/>
                  </a:lnTo>
                  <a:lnTo>
                    <a:pt x="97" y="358"/>
                  </a:lnTo>
                  <a:lnTo>
                    <a:pt x="96" y="356"/>
                  </a:lnTo>
                  <a:lnTo>
                    <a:pt x="93" y="354"/>
                  </a:lnTo>
                  <a:lnTo>
                    <a:pt x="91" y="353"/>
                  </a:lnTo>
                  <a:lnTo>
                    <a:pt x="85" y="350"/>
                  </a:lnTo>
                  <a:lnTo>
                    <a:pt x="79" y="346"/>
                  </a:lnTo>
                  <a:lnTo>
                    <a:pt x="77" y="345"/>
                  </a:lnTo>
                  <a:lnTo>
                    <a:pt x="76" y="344"/>
                  </a:lnTo>
                  <a:lnTo>
                    <a:pt x="75" y="343"/>
                  </a:lnTo>
                  <a:lnTo>
                    <a:pt x="74" y="342"/>
                  </a:lnTo>
                  <a:lnTo>
                    <a:pt x="74" y="341"/>
                  </a:lnTo>
                  <a:lnTo>
                    <a:pt x="73" y="340"/>
                  </a:lnTo>
                  <a:lnTo>
                    <a:pt x="73" y="336"/>
                  </a:lnTo>
                  <a:lnTo>
                    <a:pt x="73" y="333"/>
                  </a:lnTo>
                  <a:lnTo>
                    <a:pt x="73" y="330"/>
                  </a:lnTo>
                  <a:lnTo>
                    <a:pt x="74" y="325"/>
                  </a:lnTo>
                  <a:lnTo>
                    <a:pt x="75" y="320"/>
                  </a:lnTo>
                  <a:lnTo>
                    <a:pt x="75" y="317"/>
                  </a:lnTo>
                  <a:lnTo>
                    <a:pt x="76" y="313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81" y="303"/>
                  </a:lnTo>
                  <a:lnTo>
                    <a:pt x="85" y="297"/>
                  </a:lnTo>
                  <a:lnTo>
                    <a:pt x="86" y="296"/>
                  </a:lnTo>
                  <a:lnTo>
                    <a:pt x="87" y="294"/>
                  </a:lnTo>
                  <a:lnTo>
                    <a:pt x="88" y="292"/>
                  </a:lnTo>
                  <a:lnTo>
                    <a:pt x="88" y="291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89" y="285"/>
                  </a:lnTo>
                  <a:lnTo>
                    <a:pt x="89" y="284"/>
                  </a:lnTo>
                  <a:lnTo>
                    <a:pt x="88" y="281"/>
                  </a:lnTo>
                  <a:lnTo>
                    <a:pt x="88" y="279"/>
                  </a:lnTo>
                  <a:lnTo>
                    <a:pt x="87" y="277"/>
                  </a:lnTo>
                  <a:lnTo>
                    <a:pt x="86" y="276"/>
                  </a:lnTo>
                  <a:lnTo>
                    <a:pt x="84" y="273"/>
                  </a:lnTo>
                  <a:lnTo>
                    <a:pt x="83" y="271"/>
                  </a:lnTo>
                  <a:lnTo>
                    <a:pt x="82" y="269"/>
                  </a:lnTo>
                  <a:lnTo>
                    <a:pt x="82" y="268"/>
                  </a:lnTo>
                  <a:lnTo>
                    <a:pt x="82" y="266"/>
                  </a:lnTo>
                  <a:lnTo>
                    <a:pt x="83" y="264"/>
                  </a:lnTo>
                  <a:lnTo>
                    <a:pt x="83" y="262"/>
                  </a:lnTo>
                  <a:lnTo>
                    <a:pt x="85" y="258"/>
                  </a:lnTo>
                  <a:lnTo>
                    <a:pt x="86" y="255"/>
                  </a:lnTo>
                  <a:lnTo>
                    <a:pt x="87" y="252"/>
                  </a:lnTo>
                  <a:lnTo>
                    <a:pt x="87" y="250"/>
                  </a:lnTo>
                  <a:lnTo>
                    <a:pt x="87" y="247"/>
                  </a:lnTo>
                  <a:lnTo>
                    <a:pt x="86" y="240"/>
                  </a:lnTo>
                  <a:lnTo>
                    <a:pt x="86" y="231"/>
                  </a:lnTo>
                  <a:lnTo>
                    <a:pt x="86" y="228"/>
                  </a:lnTo>
                  <a:lnTo>
                    <a:pt x="85" y="227"/>
                  </a:lnTo>
                  <a:lnTo>
                    <a:pt x="85" y="225"/>
                  </a:lnTo>
                  <a:lnTo>
                    <a:pt x="84" y="222"/>
                  </a:lnTo>
                  <a:lnTo>
                    <a:pt x="83" y="219"/>
                  </a:lnTo>
                  <a:lnTo>
                    <a:pt x="81" y="216"/>
                  </a:lnTo>
                  <a:lnTo>
                    <a:pt x="68" y="192"/>
                  </a:lnTo>
                  <a:lnTo>
                    <a:pt x="62" y="182"/>
                  </a:lnTo>
                  <a:lnTo>
                    <a:pt x="61" y="181"/>
                  </a:lnTo>
                  <a:lnTo>
                    <a:pt x="60" y="179"/>
                  </a:lnTo>
                  <a:lnTo>
                    <a:pt x="58" y="177"/>
                  </a:lnTo>
                  <a:lnTo>
                    <a:pt x="57" y="175"/>
                  </a:lnTo>
                  <a:lnTo>
                    <a:pt x="55" y="174"/>
                  </a:lnTo>
                  <a:lnTo>
                    <a:pt x="47" y="169"/>
                  </a:lnTo>
                  <a:lnTo>
                    <a:pt x="42" y="165"/>
                  </a:lnTo>
                  <a:lnTo>
                    <a:pt x="38" y="163"/>
                  </a:lnTo>
                  <a:lnTo>
                    <a:pt x="34" y="161"/>
                  </a:lnTo>
                  <a:lnTo>
                    <a:pt x="33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6" y="160"/>
                  </a:lnTo>
                  <a:lnTo>
                    <a:pt x="24" y="160"/>
                  </a:lnTo>
                  <a:lnTo>
                    <a:pt x="23" y="159"/>
                  </a:lnTo>
                  <a:lnTo>
                    <a:pt x="19" y="156"/>
                  </a:lnTo>
                  <a:lnTo>
                    <a:pt x="12" y="150"/>
                  </a:lnTo>
                  <a:lnTo>
                    <a:pt x="6" y="146"/>
                  </a:lnTo>
                  <a:lnTo>
                    <a:pt x="0" y="140"/>
                  </a:lnTo>
                  <a:lnTo>
                    <a:pt x="1" y="140"/>
                  </a:lnTo>
                  <a:lnTo>
                    <a:pt x="2" y="140"/>
                  </a:lnTo>
                  <a:lnTo>
                    <a:pt x="2" y="140"/>
                  </a:lnTo>
                  <a:lnTo>
                    <a:pt x="3" y="139"/>
                  </a:lnTo>
                  <a:lnTo>
                    <a:pt x="5" y="137"/>
                  </a:lnTo>
                  <a:lnTo>
                    <a:pt x="7" y="135"/>
                  </a:lnTo>
                  <a:lnTo>
                    <a:pt x="9" y="132"/>
                  </a:lnTo>
                  <a:lnTo>
                    <a:pt x="10" y="129"/>
                  </a:lnTo>
                  <a:lnTo>
                    <a:pt x="13" y="118"/>
                  </a:lnTo>
                  <a:lnTo>
                    <a:pt x="16" y="113"/>
                  </a:lnTo>
                  <a:lnTo>
                    <a:pt x="17" y="110"/>
                  </a:lnTo>
                  <a:lnTo>
                    <a:pt x="19" y="108"/>
                  </a:lnTo>
                  <a:lnTo>
                    <a:pt x="20" y="106"/>
                  </a:lnTo>
                  <a:lnTo>
                    <a:pt x="22" y="105"/>
                  </a:lnTo>
                  <a:lnTo>
                    <a:pt x="23" y="103"/>
                  </a:lnTo>
                  <a:lnTo>
                    <a:pt x="24" y="103"/>
                  </a:lnTo>
                  <a:lnTo>
                    <a:pt x="27" y="102"/>
                  </a:lnTo>
                  <a:lnTo>
                    <a:pt x="31" y="99"/>
                  </a:lnTo>
                  <a:lnTo>
                    <a:pt x="34" y="98"/>
                  </a:lnTo>
                  <a:lnTo>
                    <a:pt x="36" y="96"/>
                  </a:lnTo>
                  <a:lnTo>
                    <a:pt x="38" y="95"/>
                  </a:lnTo>
                  <a:lnTo>
                    <a:pt x="39" y="93"/>
                  </a:lnTo>
                  <a:lnTo>
                    <a:pt x="41" y="92"/>
                  </a:lnTo>
                  <a:lnTo>
                    <a:pt x="46" y="85"/>
                  </a:lnTo>
                  <a:lnTo>
                    <a:pt x="50" y="81"/>
                  </a:lnTo>
                  <a:lnTo>
                    <a:pt x="54" y="79"/>
                  </a:lnTo>
                  <a:lnTo>
                    <a:pt x="57" y="76"/>
                  </a:lnTo>
                  <a:lnTo>
                    <a:pt x="62" y="73"/>
                  </a:lnTo>
                  <a:lnTo>
                    <a:pt x="64" y="72"/>
                  </a:lnTo>
                  <a:lnTo>
                    <a:pt x="66" y="71"/>
                  </a:lnTo>
                  <a:lnTo>
                    <a:pt x="68" y="70"/>
                  </a:lnTo>
                  <a:lnTo>
                    <a:pt x="74" y="69"/>
                  </a:lnTo>
                  <a:lnTo>
                    <a:pt x="76" y="68"/>
                  </a:lnTo>
                  <a:lnTo>
                    <a:pt x="78" y="67"/>
                  </a:lnTo>
                  <a:lnTo>
                    <a:pt x="79" y="66"/>
                  </a:lnTo>
                  <a:lnTo>
                    <a:pt x="80" y="65"/>
                  </a:lnTo>
                  <a:lnTo>
                    <a:pt x="81" y="63"/>
                  </a:lnTo>
                  <a:lnTo>
                    <a:pt x="82" y="60"/>
                  </a:lnTo>
                  <a:lnTo>
                    <a:pt x="83" y="58"/>
                  </a:lnTo>
                  <a:lnTo>
                    <a:pt x="86" y="50"/>
                  </a:lnTo>
                  <a:lnTo>
                    <a:pt x="87" y="46"/>
                  </a:lnTo>
                  <a:lnTo>
                    <a:pt x="88" y="45"/>
                  </a:lnTo>
                  <a:lnTo>
                    <a:pt x="89" y="42"/>
                  </a:lnTo>
                  <a:lnTo>
                    <a:pt x="91" y="38"/>
                  </a:lnTo>
                  <a:lnTo>
                    <a:pt x="92" y="35"/>
                  </a:lnTo>
                  <a:lnTo>
                    <a:pt x="94" y="33"/>
                  </a:lnTo>
                  <a:lnTo>
                    <a:pt x="96" y="30"/>
                  </a:lnTo>
                  <a:lnTo>
                    <a:pt x="98" y="28"/>
                  </a:lnTo>
                  <a:lnTo>
                    <a:pt x="100" y="26"/>
                  </a:lnTo>
                  <a:lnTo>
                    <a:pt x="102" y="24"/>
                  </a:lnTo>
                  <a:lnTo>
                    <a:pt x="103" y="23"/>
                  </a:lnTo>
                  <a:lnTo>
                    <a:pt x="106" y="21"/>
                  </a:lnTo>
                  <a:lnTo>
                    <a:pt x="109" y="19"/>
                  </a:lnTo>
                  <a:lnTo>
                    <a:pt x="113" y="17"/>
                  </a:lnTo>
                  <a:lnTo>
                    <a:pt x="118" y="15"/>
                  </a:lnTo>
                  <a:lnTo>
                    <a:pt x="123" y="14"/>
                  </a:lnTo>
                  <a:lnTo>
                    <a:pt x="128" y="13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7" y="10"/>
                  </a:lnTo>
                  <a:lnTo>
                    <a:pt x="157" y="7"/>
                  </a:lnTo>
                  <a:lnTo>
                    <a:pt x="172" y="4"/>
                  </a:lnTo>
                  <a:lnTo>
                    <a:pt x="184" y="1"/>
                  </a:lnTo>
                  <a:lnTo>
                    <a:pt x="189" y="1"/>
                  </a:lnTo>
                  <a:lnTo>
                    <a:pt x="193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2" name="Freeform 35">
              <a:extLst>
                <a:ext uri="{FF2B5EF4-FFF2-40B4-BE49-F238E27FC236}">
                  <a16:creationId xmlns:a16="http://schemas.microsoft.com/office/drawing/2014/main" id="{A935C8F6-389E-4A78-94EA-FB5F0CD7C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5" y="976"/>
              <a:ext cx="452" cy="486"/>
            </a:xfrm>
            <a:custGeom>
              <a:avLst/>
              <a:gdLst>
                <a:gd name="T0" fmla="*/ 225 w 452"/>
                <a:gd name="T1" fmla="*/ 15 h 486"/>
                <a:gd name="T2" fmla="*/ 260 w 452"/>
                <a:gd name="T3" fmla="*/ 33 h 486"/>
                <a:gd name="T4" fmla="*/ 285 w 452"/>
                <a:gd name="T5" fmla="*/ 38 h 486"/>
                <a:gd name="T6" fmla="*/ 318 w 452"/>
                <a:gd name="T7" fmla="*/ 31 h 486"/>
                <a:gd name="T8" fmla="*/ 335 w 452"/>
                <a:gd name="T9" fmla="*/ 27 h 486"/>
                <a:gd name="T10" fmla="*/ 344 w 452"/>
                <a:gd name="T11" fmla="*/ 23 h 486"/>
                <a:gd name="T12" fmla="*/ 352 w 452"/>
                <a:gd name="T13" fmla="*/ 41 h 486"/>
                <a:gd name="T14" fmla="*/ 385 w 452"/>
                <a:gd name="T15" fmla="*/ 60 h 486"/>
                <a:gd name="T16" fmla="*/ 408 w 452"/>
                <a:gd name="T17" fmla="*/ 81 h 486"/>
                <a:gd name="T18" fmla="*/ 408 w 452"/>
                <a:gd name="T19" fmla="*/ 116 h 486"/>
                <a:gd name="T20" fmla="*/ 393 w 452"/>
                <a:gd name="T21" fmla="*/ 153 h 486"/>
                <a:gd name="T22" fmla="*/ 400 w 452"/>
                <a:gd name="T23" fmla="*/ 163 h 486"/>
                <a:gd name="T24" fmla="*/ 434 w 452"/>
                <a:gd name="T25" fmla="*/ 157 h 486"/>
                <a:gd name="T26" fmla="*/ 450 w 452"/>
                <a:gd name="T27" fmla="*/ 159 h 486"/>
                <a:gd name="T28" fmla="*/ 447 w 452"/>
                <a:gd name="T29" fmla="*/ 189 h 486"/>
                <a:gd name="T30" fmla="*/ 426 w 452"/>
                <a:gd name="T31" fmla="*/ 240 h 486"/>
                <a:gd name="T32" fmla="*/ 396 w 452"/>
                <a:gd name="T33" fmla="*/ 263 h 486"/>
                <a:gd name="T34" fmla="*/ 383 w 452"/>
                <a:gd name="T35" fmla="*/ 296 h 486"/>
                <a:gd name="T36" fmla="*/ 371 w 452"/>
                <a:gd name="T37" fmla="*/ 306 h 486"/>
                <a:gd name="T38" fmla="*/ 347 w 452"/>
                <a:gd name="T39" fmla="*/ 301 h 486"/>
                <a:gd name="T40" fmla="*/ 315 w 452"/>
                <a:gd name="T41" fmla="*/ 288 h 486"/>
                <a:gd name="T42" fmla="*/ 303 w 452"/>
                <a:gd name="T43" fmla="*/ 293 h 486"/>
                <a:gd name="T44" fmla="*/ 301 w 452"/>
                <a:gd name="T45" fmla="*/ 328 h 486"/>
                <a:gd name="T46" fmla="*/ 284 w 452"/>
                <a:gd name="T47" fmla="*/ 355 h 486"/>
                <a:gd name="T48" fmla="*/ 280 w 452"/>
                <a:gd name="T49" fmla="*/ 376 h 486"/>
                <a:gd name="T50" fmla="*/ 254 w 452"/>
                <a:gd name="T51" fmla="*/ 396 h 486"/>
                <a:gd name="T52" fmla="*/ 242 w 452"/>
                <a:gd name="T53" fmla="*/ 418 h 486"/>
                <a:gd name="T54" fmla="*/ 228 w 452"/>
                <a:gd name="T55" fmla="*/ 457 h 486"/>
                <a:gd name="T56" fmla="*/ 227 w 452"/>
                <a:gd name="T57" fmla="*/ 473 h 486"/>
                <a:gd name="T58" fmla="*/ 210 w 452"/>
                <a:gd name="T59" fmla="*/ 485 h 486"/>
                <a:gd name="T60" fmla="*/ 192 w 452"/>
                <a:gd name="T61" fmla="*/ 477 h 486"/>
                <a:gd name="T62" fmla="*/ 168 w 452"/>
                <a:gd name="T63" fmla="*/ 476 h 486"/>
                <a:gd name="T64" fmla="*/ 143 w 452"/>
                <a:gd name="T65" fmla="*/ 466 h 486"/>
                <a:gd name="T66" fmla="*/ 126 w 452"/>
                <a:gd name="T67" fmla="*/ 451 h 486"/>
                <a:gd name="T68" fmla="*/ 102 w 452"/>
                <a:gd name="T69" fmla="*/ 428 h 486"/>
                <a:gd name="T70" fmla="*/ 72 w 452"/>
                <a:gd name="T71" fmla="*/ 399 h 486"/>
                <a:gd name="T72" fmla="*/ 48 w 452"/>
                <a:gd name="T73" fmla="*/ 384 h 486"/>
                <a:gd name="T74" fmla="*/ 19 w 452"/>
                <a:gd name="T75" fmla="*/ 353 h 486"/>
                <a:gd name="T76" fmla="*/ 17 w 452"/>
                <a:gd name="T77" fmla="*/ 329 h 486"/>
                <a:gd name="T78" fmla="*/ 1 w 452"/>
                <a:gd name="T79" fmla="*/ 316 h 486"/>
                <a:gd name="T80" fmla="*/ 2 w 452"/>
                <a:gd name="T81" fmla="*/ 288 h 486"/>
                <a:gd name="T82" fmla="*/ 34 w 452"/>
                <a:gd name="T83" fmla="*/ 272 h 486"/>
                <a:gd name="T84" fmla="*/ 114 w 452"/>
                <a:gd name="T85" fmla="*/ 238 h 486"/>
                <a:gd name="T86" fmla="*/ 144 w 452"/>
                <a:gd name="T87" fmla="*/ 208 h 486"/>
                <a:gd name="T88" fmla="*/ 166 w 452"/>
                <a:gd name="T89" fmla="*/ 195 h 486"/>
                <a:gd name="T90" fmla="*/ 198 w 452"/>
                <a:gd name="T91" fmla="*/ 198 h 486"/>
                <a:gd name="T92" fmla="*/ 242 w 452"/>
                <a:gd name="T93" fmla="*/ 187 h 486"/>
                <a:gd name="T94" fmla="*/ 259 w 452"/>
                <a:gd name="T95" fmla="*/ 168 h 486"/>
                <a:gd name="T96" fmla="*/ 262 w 452"/>
                <a:gd name="T97" fmla="*/ 146 h 486"/>
                <a:gd name="T98" fmla="*/ 236 w 452"/>
                <a:gd name="T99" fmla="*/ 133 h 486"/>
                <a:gd name="T100" fmla="*/ 206 w 452"/>
                <a:gd name="T101" fmla="*/ 118 h 486"/>
                <a:gd name="T102" fmla="*/ 202 w 452"/>
                <a:gd name="T103" fmla="*/ 103 h 486"/>
                <a:gd name="T104" fmla="*/ 204 w 452"/>
                <a:gd name="T105" fmla="*/ 89 h 486"/>
                <a:gd name="T106" fmla="*/ 181 w 452"/>
                <a:gd name="T107" fmla="*/ 87 h 486"/>
                <a:gd name="T108" fmla="*/ 166 w 452"/>
                <a:gd name="T109" fmla="*/ 76 h 486"/>
                <a:gd name="T110" fmla="*/ 172 w 452"/>
                <a:gd name="T111" fmla="*/ 49 h 486"/>
                <a:gd name="T112" fmla="*/ 181 w 452"/>
                <a:gd name="T113" fmla="*/ 2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52" h="486">
                  <a:moveTo>
                    <a:pt x="197" y="1"/>
                  </a:moveTo>
                  <a:lnTo>
                    <a:pt x="198" y="1"/>
                  </a:lnTo>
                  <a:lnTo>
                    <a:pt x="199" y="2"/>
                  </a:lnTo>
                  <a:lnTo>
                    <a:pt x="203" y="4"/>
                  </a:lnTo>
                  <a:lnTo>
                    <a:pt x="212" y="10"/>
                  </a:lnTo>
                  <a:lnTo>
                    <a:pt x="216" y="11"/>
                  </a:lnTo>
                  <a:lnTo>
                    <a:pt x="219" y="13"/>
                  </a:lnTo>
                  <a:lnTo>
                    <a:pt x="221" y="14"/>
                  </a:lnTo>
                  <a:lnTo>
                    <a:pt x="225" y="15"/>
                  </a:lnTo>
                  <a:lnTo>
                    <a:pt x="234" y="17"/>
                  </a:lnTo>
                  <a:lnTo>
                    <a:pt x="237" y="18"/>
                  </a:lnTo>
                  <a:lnTo>
                    <a:pt x="240" y="19"/>
                  </a:lnTo>
                  <a:lnTo>
                    <a:pt x="242" y="21"/>
                  </a:lnTo>
                  <a:lnTo>
                    <a:pt x="245" y="22"/>
                  </a:lnTo>
                  <a:lnTo>
                    <a:pt x="250" y="24"/>
                  </a:lnTo>
                  <a:lnTo>
                    <a:pt x="252" y="26"/>
                  </a:lnTo>
                  <a:lnTo>
                    <a:pt x="258" y="32"/>
                  </a:lnTo>
                  <a:lnTo>
                    <a:pt x="260" y="33"/>
                  </a:lnTo>
                  <a:lnTo>
                    <a:pt x="262" y="35"/>
                  </a:lnTo>
                  <a:lnTo>
                    <a:pt x="265" y="36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39"/>
                  </a:lnTo>
                  <a:lnTo>
                    <a:pt x="276" y="39"/>
                  </a:lnTo>
                  <a:lnTo>
                    <a:pt x="279" y="39"/>
                  </a:lnTo>
                  <a:lnTo>
                    <a:pt x="282" y="39"/>
                  </a:lnTo>
                  <a:lnTo>
                    <a:pt x="285" y="38"/>
                  </a:lnTo>
                  <a:lnTo>
                    <a:pt x="288" y="38"/>
                  </a:lnTo>
                  <a:lnTo>
                    <a:pt x="289" y="37"/>
                  </a:lnTo>
                  <a:lnTo>
                    <a:pt x="299" y="33"/>
                  </a:lnTo>
                  <a:lnTo>
                    <a:pt x="302" y="32"/>
                  </a:lnTo>
                  <a:lnTo>
                    <a:pt x="305" y="31"/>
                  </a:lnTo>
                  <a:lnTo>
                    <a:pt x="309" y="31"/>
                  </a:lnTo>
                  <a:lnTo>
                    <a:pt x="311" y="30"/>
                  </a:lnTo>
                  <a:lnTo>
                    <a:pt x="314" y="31"/>
                  </a:lnTo>
                  <a:lnTo>
                    <a:pt x="318" y="31"/>
                  </a:lnTo>
                  <a:lnTo>
                    <a:pt x="323" y="32"/>
                  </a:lnTo>
                  <a:lnTo>
                    <a:pt x="325" y="32"/>
                  </a:lnTo>
                  <a:lnTo>
                    <a:pt x="327" y="32"/>
                  </a:lnTo>
                  <a:lnTo>
                    <a:pt x="330" y="32"/>
                  </a:lnTo>
                  <a:lnTo>
                    <a:pt x="331" y="32"/>
                  </a:lnTo>
                  <a:lnTo>
                    <a:pt x="332" y="31"/>
                  </a:lnTo>
                  <a:lnTo>
                    <a:pt x="333" y="30"/>
                  </a:lnTo>
                  <a:lnTo>
                    <a:pt x="333" y="29"/>
                  </a:lnTo>
                  <a:lnTo>
                    <a:pt x="335" y="27"/>
                  </a:lnTo>
                  <a:lnTo>
                    <a:pt x="338" y="23"/>
                  </a:lnTo>
                  <a:lnTo>
                    <a:pt x="339" y="21"/>
                  </a:lnTo>
                  <a:lnTo>
                    <a:pt x="340" y="21"/>
                  </a:lnTo>
                  <a:lnTo>
                    <a:pt x="341" y="21"/>
                  </a:lnTo>
                  <a:lnTo>
                    <a:pt x="342" y="21"/>
                  </a:lnTo>
                  <a:lnTo>
                    <a:pt x="342" y="21"/>
                  </a:lnTo>
                  <a:lnTo>
                    <a:pt x="343" y="21"/>
                  </a:lnTo>
                  <a:lnTo>
                    <a:pt x="343" y="22"/>
                  </a:lnTo>
                  <a:lnTo>
                    <a:pt x="344" y="23"/>
                  </a:lnTo>
                  <a:lnTo>
                    <a:pt x="344" y="25"/>
                  </a:lnTo>
                  <a:lnTo>
                    <a:pt x="345" y="29"/>
                  </a:lnTo>
                  <a:lnTo>
                    <a:pt x="345" y="32"/>
                  </a:lnTo>
                  <a:lnTo>
                    <a:pt x="346" y="33"/>
                  </a:lnTo>
                  <a:lnTo>
                    <a:pt x="347" y="35"/>
                  </a:lnTo>
                  <a:lnTo>
                    <a:pt x="348" y="37"/>
                  </a:lnTo>
                  <a:lnTo>
                    <a:pt x="349" y="38"/>
                  </a:lnTo>
                  <a:lnTo>
                    <a:pt x="350" y="40"/>
                  </a:lnTo>
                  <a:lnTo>
                    <a:pt x="352" y="41"/>
                  </a:lnTo>
                  <a:lnTo>
                    <a:pt x="355" y="43"/>
                  </a:lnTo>
                  <a:lnTo>
                    <a:pt x="362" y="48"/>
                  </a:lnTo>
                  <a:lnTo>
                    <a:pt x="365" y="51"/>
                  </a:lnTo>
                  <a:lnTo>
                    <a:pt x="369" y="55"/>
                  </a:lnTo>
                  <a:lnTo>
                    <a:pt x="371" y="56"/>
                  </a:lnTo>
                  <a:lnTo>
                    <a:pt x="373" y="57"/>
                  </a:lnTo>
                  <a:lnTo>
                    <a:pt x="376" y="58"/>
                  </a:lnTo>
                  <a:lnTo>
                    <a:pt x="378" y="58"/>
                  </a:lnTo>
                  <a:lnTo>
                    <a:pt x="385" y="60"/>
                  </a:lnTo>
                  <a:lnTo>
                    <a:pt x="387" y="61"/>
                  </a:lnTo>
                  <a:lnTo>
                    <a:pt x="389" y="62"/>
                  </a:lnTo>
                  <a:lnTo>
                    <a:pt x="391" y="63"/>
                  </a:lnTo>
                  <a:lnTo>
                    <a:pt x="393" y="65"/>
                  </a:lnTo>
                  <a:lnTo>
                    <a:pt x="396" y="67"/>
                  </a:lnTo>
                  <a:lnTo>
                    <a:pt x="399" y="68"/>
                  </a:lnTo>
                  <a:lnTo>
                    <a:pt x="401" y="72"/>
                  </a:lnTo>
                  <a:lnTo>
                    <a:pt x="405" y="78"/>
                  </a:lnTo>
                  <a:lnTo>
                    <a:pt x="408" y="81"/>
                  </a:lnTo>
                  <a:lnTo>
                    <a:pt x="410" y="84"/>
                  </a:lnTo>
                  <a:lnTo>
                    <a:pt x="411" y="87"/>
                  </a:lnTo>
                  <a:lnTo>
                    <a:pt x="412" y="90"/>
                  </a:lnTo>
                  <a:lnTo>
                    <a:pt x="412" y="94"/>
                  </a:lnTo>
                  <a:lnTo>
                    <a:pt x="412" y="98"/>
                  </a:lnTo>
                  <a:lnTo>
                    <a:pt x="412" y="101"/>
                  </a:lnTo>
                  <a:lnTo>
                    <a:pt x="411" y="106"/>
                  </a:lnTo>
                  <a:lnTo>
                    <a:pt x="410" y="112"/>
                  </a:lnTo>
                  <a:lnTo>
                    <a:pt x="408" y="116"/>
                  </a:lnTo>
                  <a:lnTo>
                    <a:pt x="406" y="121"/>
                  </a:lnTo>
                  <a:lnTo>
                    <a:pt x="403" y="129"/>
                  </a:lnTo>
                  <a:lnTo>
                    <a:pt x="401" y="134"/>
                  </a:lnTo>
                  <a:lnTo>
                    <a:pt x="397" y="141"/>
                  </a:lnTo>
                  <a:lnTo>
                    <a:pt x="396" y="144"/>
                  </a:lnTo>
                  <a:lnTo>
                    <a:pt x="395" y="146"/>
                  </a:lnTo>
                  <a:lnTo>
                    <a:pt x="394" y="148"/>
                  </a:lnTo>
                  <a:lnTo>
                    <a:pt x="393" y="152"/>
                  </a:lnTo>
                  <a:lnTo>
                    <a:pt x="393" y="153"/>
                  </a:lnTo>
                  <a:lnTo>
                    <a:pt x="393" y="154"/>
                  </a:lnTo>
                  <a:lnTo>
                    <a:pt x="393" y="156"/>
                  </a:lnTo>
                  <a:lnTo>
                    <a:pt x="393" y="157"/>
                  </a:lnTo>
                  <a:lnTo>
                    <a:pt x="394" y="157"/>
                  </a:lnTo>
                  <a:lnTo>
                    <a:pt x="394" y="158"/>
                  </a:lnTo>
                  <a:lnTo>
                    <a:pt x="395" y="160"/>
                  </a:lnTo>
                  <a:lnTo>
                    <a:pt x="396" y="161"/>
                  </a:lnTo>
                  <a:lnTo>
                    <a:pt x="398" y="162"/>
                  </a:lnTo>
                  <a:lnTo>
                    <a:pt x="400" y="163"/>
                  </a:lnTo>
                  <a:lnTo>
                    <a:pt x="401" y="163"/>
                  </a:lnTo>
                  <a:lnTo>
                    <a:pt x="402" y="164"/>
                  </a:lnTo>
                  <a:lnTo>
                    <a:pt x="404" y="164"/>
                  </a:lnTo>
                  <a:lnTo>
                    <a:pt x="406" y="164"/>
                  </a:lnTo>
                  <a:lnTo>
                    <a:pt x="410" y="163"/>
                  </a:lnTo>
                  <a:lnTo>
                    <a:pt x="413" y="163"/>
                  </a:lnTo>
                  <a:lnTo>
                    <a:pt x="418" y="161"/>
                  </a:lnTo>
                  <a:lnTo>
                    <a:pt x="428" y="157"/>
                  </a:lnTo>
                  <a:lnTo>
                    <a:pt x="434" y="157"/>
                  </a:lnTo>
                  <a:lnTo>
                    <a:pt x="437" y="156"/>
                  </a:lnTo>
                  <a:lnTo>
                    <a:pt x="440" y="156"/>
                  </a:lnTo>
                  <a:lnTo>
                    <a:pt x="442" y="156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7" y="157"/>
                  </a:lnTo>
                  <a:lnTo>
                    <a:pt x="448" y="157"/>
                  </a:lnTo>
                  <a:lnTo>
                    <a:pt x="449" y="157"/>
                  </a:lnTo>
                  <a:lnTo>
                    <a:pt x="450" y="159"/>
                  </a:lnTo>
                  <a:lnTo>
                    <a:pt x="451" y="160"/>
                  </a:lnTo>
                  <a:lnTo>
                    <a:pt x="452" y="162"/>
                  </a:lnTo>
                  <a:lnTo>
                    <a:pt x="452" y="164"/>
                  </a:lnTo>
                  <a:lnTo>
                    <a:pt x="452" y="168"/>
                  </a:lnTo>
                  <a:lnTo>
                    <a:pt x="452" y="170"/>
                  </a:lnTo>
                  <a:lnTo>
                    <a:pt x="452" y="174"/>
                  </a:lnTo>
                  <a:lnTo>
                    <a:pt x="451" y="178"/>
                  </a:lnTo>
                  <a:lnTo>
                    <a:pt x="450" y="180"/>
                  </a:lnTo>
                  <a:lnTo>
                    <a:pt x="447" y="189"/>
                  </a:lnTo>
                  <a:lnTo>
                    <a:pt x="444" y="194"/>
                  </a:lnTo>
                  <a:lnTo>
                    <a:pt x="436" y="216"/>
                  </a:lnTo>
                  <a:lnTo>
                    <a:pt x="430" y="232"/>
                  </a:lnTo>
                  <a:lnTo>
                    <a:pt x="429" y="235"/>
                  </a:lnTo>
                  <a:lnTo>
                    <a:pt x="429" y="236"/>
                  </a:lnTo>
                  <a:lnTo>
                    <a:pt x="429" y="236"/>
                  </a:lnTo>
                  <a:lnTo>
                    <a:pt x="429" y="237"/>
                  </a:lnTo>
                  <a:lnTo>
                    <a:pt x="428" y="238"/>
                  </a:lnTo>
                  <a:lnTo>
                    <a:pt x="426" y="240"/>
                  </a:lnTo>
                  <a:lnTo>
                    <a:pt x="424" y="243"/>
                  </a:lnTo>
                  <a:lnTo>
                    <a:pt x="421" y="246"/>
                  </a:lnTo>
                  <a:lnTo>
                    <a:pt x="417" y="248"/>
                  </a:lnTo>
                  <a:lnTo>
                    <a:pt x="413" y="251"/>
                  </a:lnTo>
                  <a:lnTo>
                    <a:pt x="410" y="253"/>
                  </a:lnTo>
                  <a:lnTo>
                    <a:pt x="402" y="258"/>
                  </a:lnTo>
                  <a:lnTo>
                    <a:pt x="400" y="259"/>
                  </a:lnTo>
                  <a:lnTo>
                    <a:pt x="397" y="262"/>
                  </a:lnTo>
                  <a:lnTo>
                    <a:pt x="396" y="263"/>
                  </a:lnTo>
                  <a:lnTo>
                    <a:pt x="395" y="264"/>
                  </a:lnTo>
                  <a:lnTo>
                    <a:pt x="394" y="266"/>
                  </a:lnTo>
                  <a:lnTo>
                    <a:pt x="393" y="268"/>
                  </a:lnTo>
                  <a:lnTo>
                    <a:pt x="392" y="270"/>
                  </a:lnTo>
                  <a:lnTo>
                    <a:pt x="390" y="274"/>
                  </a:lnTo>
                  <a:lnTo>
                    <a:pt x="389" y="278"/>
                  </a:lnTo>
                  <a:lnTo>
                    <a:pt x="385" y="292"/>
                  </a:lnTo>
                  <a:lnTo>
                    <a:pt x="384" y="294"/>
                  </a:lnTo>
                  <a:lnTo>
                    <a:pt x="383" y="296"/>
                  </a:lnTo>
                  <a:lnTo>
                    <a:pt x="382" y="298"/>
                  </a:lnTo>
                  <a:lnTo>
                    <a:pt x="381" y="299"/>
                  </a:lnTo>
                  <a:lnTo>
                    <a:pt x="379" y="302"/>
                  </a:lnTo>
                  <a:lnTo>
                    <a:pt x="379" y="303"/>
                  </a:lnTo>
                  <a:lnTo>
                    <a:pt x="378" y="304"/>
                  </a:lnTo>
                  <a:lnTo>
                    <a:pt x="376" y="304"/>
                  </a:lnTo>
                  <a:lnTo>
                    <a:pt x="375" y="304"/>
                  </a:lnTo>
                  <a:lnTo>
                    <a:pt x="373" y="305"/>
                  </a:lnTo>
                  <a:lnTo>
                    <a:pt x="371" y="306"/>
                  </a:lnTo>
                  <a:lnTo>
                    <a:pt x="368" y="306"/>
                  </a:lnTo>
                  <a:lnTo>
                    <a:pt x="367" y="306"/>
                  </a:lnTo>
                  <a:lnTo>
                    <a:pt x="365" y="306"/>
                  </a:lnTo>
                  <a:lnTo>
                    <a:pt x="362" y="306"/>
                  </a:lnTo>
                  <a:lnTo>
                    <a:pt x="360" y="305"/>
                  </a:lnTo>
                  <a:lnTo>
                    <a:pt x="357" y="305"/>
                  </a:lnTo>
                  <a:lnTo>
                    <a:pt x="354" y="304"/>
                  </a:lnTo>
                  <a:lnTo>
                    <a:pt x="350" y="302"/>
                  </a:lnTo>
                  <a:lnTo>
                    <a:pt x="347" y="301"/>
                  </a:lnTo>
                  <a:lnTo>
                    <a:pt x="340" y="296"/>
                  </a:lnTo>
                  <a:lnTo>
                    <a:pt x="336" y="293"/>
                  </a:lnTo>
                  <a:lnTo>
                    <a:pt x="333" y="293"/>
                  </a:lnTo>
                  <a:lnTo>
                    <a:pt x="328" y="291"/>
                  </a:lnTo>
                  <a:lnTo>
                    <a:pt x="323" y="289"/>
                  </a:lnTo>
                  <a:lnTo>
                    <a:pt x="322" y="288"/>
                  </a:lnTo>
                  <a:lnTo>
                    <a:pt x="320" y="288"/>
                  </a:lnTo>
                  <a:lnTo>
                    <a:pt x="318" y="288"/>
                  </a:lnTo>
                  <a:lnTo>
                    <a:pt x="315" y="288"/>
                  </a:lnTo>
                  <a:lnTo>
                    <a:pt x="313" y="288"/>
                  </a:lnTo>
                  <a:lnTo>
                    <a:pt x="309" y="289"/>
                  </a:lnTo>
                  <a:lnTo>
                    <a:pt x="307" y="290"/>
                  </a:lnTo>
                  <a:lnTo>
                    <a:pt x="305" y="291"/>
                  </a:lnTo>
                  <a:lnTo>
                    <a:pt x="304" y="291"/>
                  </a:lnTo>
                  <a:lnTo>
                    <a:pt x="304" y="292"/>
                  </a:lnTo>
                  <a:lnTo>
                    <a:pt x="303" y="292"/>
                  </a:lnTo>
                  <a:lnTo>
                    <a:pt x="303" y="293"/>
                  </a:lnTo>
                  <a:lnTo>
                    <a:pt x="303" y="293"/>
                  </a:lnTo>
                  <a:lnTo>
                    <a:pt x="303" y="295"/>
                  </a:lnTo>
                  <a:lnTo>
                    <a:pt x="303" y="298"/>
                  </a:lnTo>
                  <a:lnTo>
                    <a:pt x="304" y="307"/>
                  </a:lnTo>
                  <a:lnTo>
                    <a:pt x="304" y="311"/>
                  </a:lnTo>
                  <a:lnTo>
                    <a:pt x="304" y="314"/>
                  </a:lnTo>
                  <a:lnTo>
                    <a:pt x="304" y="316"/>
                  </a:lnTo>
                  <a:lnTo>
                    <a:pt x="303" y="324"/>
                  </a:lnTo>
                  <a:lnTo>
                    <a:pt x="302" y="326"/>
                  </a:lnTo>
                  <a:lnTo>
                    <a:pt x="301" y="328"/>
                  </a:lnTo>
                  <a:lnTo>
                    <a:pt x="300" y="330"/>
                  </a:lnTo>
                  <a:lnTo>
                    <a:pt x="299" y="333"/>
                  </a:lnTo>
                  <a:lnTo>
                    <a:pt x="297" y="335"/>
                  </a:lnTo>
                  <a:lnTo>
                    <a:pt x="293" y="338"/>
                  </a:lnTo>
                  <a:lnTo>
                    <a:pt x="291" y="341"/>
                  </a:lnTo>
                  <a:lnTo>
                    <a:pt x="288" y="345"/>
                  </a:lnTo>
                  <a:lnTo>
                    <a:pt x="287" y="349"/>
                  </a:lnTo>
                  <a:lnTo>
                    <a:pt x="286" y="351"/>
                  </a:lnTo>
                  <a:lnTo>
                    <a:pt x="284" y="355"/>
                  </a:lnTo>
                  <a:lnTo>
                    <a:pt x="283" y="359"/>
                  </a:lnTo>
                  <a:lnTo>
                    <a:pt x="282" y="362"/>
                  </a:lnTo>
                  <a:lnTo>
                    <a:pt x="282" y="364"/>
                  </a:lnTo>
                  <a:lnTo>
                    <a:pt x="281" y="367"/>
                  </a:lnTo>
                  <a:lnTo>
                    <a:pt x="281" y="369"/>
                  </a:lnTo>
                  <a:lnTo>
                    <a:pt x="281" y="373"/>
                  </a:lnTo>
                  <a:lnTo>
                    <a:pt x="281" y="374"/>
                  </a:lnTo>
                  <a:lnTo>
                    <a:pt x="280" y="375"/>
                  </a:lnTo>
                  <a:lnTo>
                    <a:pt x="280" y="376"/>
                  </a:lnTo>
                  <a:lnTo>
                    <a:pt x="279" y="378"/>
                  </a:lnTo>
                  <a:lnTo>
                    <a:pt x="278" y="379"/>
                  </a:lnTo>
                  <a:lnTo>
                    <a:pt x="277" y="380"/>
                  </a:lnTo>
                  <a:lnTo>
                    <a:pt x="276" y="380"/>
                  </a:lnTo>
                  <a:lnTo>
                    <a:pt x="274" y="382"/>
                  </a:lnTo>
                  <a:lnTo>
                    <a:pt x="271" y="383"/>
                  </a:lnTo>
                  <a:lnTo>
                    <a:pt x="264" y="389"/>
                  </a:lnTo>
                  <a:lnTo>
                    <a:pt x="257" y="395"/>
                  </a:lnTo>
                  <a:lnTo>
                    <a:pt x="254" y="396"/>
                  </a:lnTo>
                  <a:lnTo>
                    <a:pt x="252" y="398"/>
                  </a:lnTo>
                  <a:lnTo>
                    <a:pt x="250" y="400"/>
                  </a:lnTo>
                  <a:lnTo>
                    <a:pt x="248" y="403"/>
                  </a:lnTo>
                  <a:lnTo>
                    <a:pt x="247" y="406"/>
                  </a:lnTo>
                  <a:lnTo>
                    <a:pt x="245" y="408"/>
                  </a:lnTo>
                  <a:lnTo>
                    <a:pt x="244" y="411"/>
                  </a:lnTo>
                  <a:lnTo>
                    <a:pt x="243" y="414"/>
                  </a:lnTo>
                  <a:lnTo>
                    <a:pt x="242" y="416"/>
                  </a:lnTo>
                  <a:lnTo>
                    <a:pt x="242" y="418"/>
                  </a:lnTo>
                  <a:lnTo>
                    <a:pt x="242" y="420"/>
                  </a:lnTo>
                  <a:lnTo>
                    <a:pt x="241" y="429"/>
                  </a:lnTo>
                  <a:lnTo>
                    <a:pt x="241" y="430"/>
                  </a:lnTo>
                  <a:lnTo>
                    <a:pt x="240" y="432"/>
                  </a:lnTo>
                  <a:lnTo>
                    <a:pt x="239" y="435"/>
                  </a:lnTo>
                  <a:lnTo>
                    <a:pt x="238" y="438"/>
                  </a:lnTo>
                  <a:lnTo>
                    <a:pt x="232" y="448"/>
                  </a:lnTo>
                  <a:lnTo>
                    <a:pt x="230" y="452"/>
                  </a:lnTo>
                  <a:lnTo>
                    <a:pt x="228" y="457"/>
                  </a:lnTo>
                  <a:lnTo>
                    <a:pt x="226" y="461"/>
                  </a:lnTo>
                  <a:lnTo>
                    <a:pt x="226" y="463"/>
                  </a:lnTo>
                  <a:lnTo>
                    <a:pt x="225" y="465"/>
                  </a:lnTo>
                  <a:lnTo>
                    <a:pt x="225" y="467"/>
                  </a:lnTo>
                  <a:lnTo>
                    <a:pt x="225" y="469"/>
                  </a:lnTo>
                  <a:lnTo>
                    <a:pt x="225" y="471"/>
                  </a:lnTo>
                  <a:lnTo>
                    <a:pt x="225" y="472"/>
                  </a:lnTo>
                  <a:lnTo>
                    <a:pt x="226" y="473"/>
                  </a:lnTo>
                  <a:lnTo>
                    <a:pt x="227" y="473"/>
                  </a:lnTo>
                  <a:lnTo>
                    <a:pt x="227" y="474"/>
                  </a:lnTo>
                  <a:lnTo>
                    <a:pt x="226" y="474"/>
                  </a:lnTo>
                  <a:lnTo>
                    <a:pt x="225" y="476"/>
                  </a:lnTo>
                  <a:lnTo>
                    <a:pt x="224" y="477"/>
                  </a:lnTo>
                  <a:lnTo>
                    <a:pt x="223" y="478"/>
                  </a:lnTo>
                  <a:lnTo>
                    <a:pt x="221" y="480"/>
                  </a:lnTo>
                  <a:lnTo>
                    <a:pt x="219" y="481"/>
                  </a:lnTo>
                  <a:lnTo>
                    <a:pt x="217" y="482"/>
                  </a:lnTo>
                  <a:lnTo>
                    <a:pt x="210" y="485"/>
                  </a:lnTo>
                  <a:lnTo>
                    <a:pt x="208" y="485"/>
                  </a:lnTo>
                  <a:lnTo>
                    <a:pt x="207" y="486"/>
                  </a:lnTo>
                  <a:lnTo>
                    <a:pt x="206" y="486"/>
                  </a:lnTo>
                  <a:lnTo>
                    <a:pt x="204" y="485"/>
                  </a:lnTo>
                  <a:lnTo>
                    <a:pt x="202" y="484"/>
                  </a:lnTo>
                  <a:lnTo>
                    <a:pt x="200" y="483"/>
                  </a:lnTo>
                  <a:lnTo>
                    <a:pt x="197" y="480"/>
                  </a:lnTo>
                  <a:lnTo>
                    <a:pt x="195" y="479"/>
                  </a:lnTo>
                  <a:lnTo>
                    <a:pt x="192" y="477"/>
                  </a:lnTo>
                  <a:lnTo>
                    <a:pt x="190" y="477"/>
                  </a:lnTo>
                  <a:lnTo>
                    <a:pt x="188" y="476"/>
                  </a:lnTo>
                  <a:lnTo>
                    <a:pt x="185" y="476"/>
                  </a:lnTo>
                  <a:lnTo>
                    <a:pt x="184" y="475"/>
                  </a:lnTo>
                  <a:lnTo>
                    <a:pt x="182" y="475"/>
                  </a:lnTo>
                  <a:lnTo>
                    <a:pt x="179" y="475"/>
                  </a:lnTo>
                  <a:lnTo>
                    <a:pt x="175" y="476"/>
                  </a:lnTo>
                  <a:lnTo>
                    <a:pt x="170" y="476"/>
                  </a:lnTo>
                  <a:lnTo>
                    <a:pt x="168" y="476"/>
                  </a:lnTo>
                  <a:lnTo>
                    <a:pt x="166" y="476"/>
                  </a:lnTo>
                  <a:lnTo>
                    <a:pt x="164" y="475"/>
                  </a:lnTo>
                  <a:lnTo>
                    <a:pt x="159" y="474"/>
                  </a:lnTo>
                  <a:lnTo>
                    <a:pt x="151" y="472"/>
                  </a:lnTo>
                  <a:lnTo>
                    <a:pt x="149" y="471"/>
                  </a:lnTo>
                  <a:lnTo>
                    <a:pt x="147" y="470"/>
                  </a:lnTo>
                  <a:lnTo>
                    <a:pt x="145" y="469"/>
                  </a:lnTo>
                  <a:lnTo>
                    <a:pt x="145" y="468"/>
                  </a:lnTo>
                  <a:lnTo>
                    <a:pt x="143" y="466"/>
                  </a:lnTo>
                  <a:lnTo>
                    <a:pt x="143" y="465"/>
                  </a:lnTo>
                  <a:lnTo>
                    <a:pt x="142" y="464"/>
                  </a:lnTo>
                  <a:lnTo>
                    <a:pt x="140" y="463"/>
                  </a:lnTo>
                  <a:lnTo>
                    <a:pt x="140" y="463"/>
                  </a:lnTo>
                  <a:lnTo>
                    <a:pt x="139" y="462"/>
                  </a:lnTo>
                  <a:lnTo>
                    <a:pt x="138" y="461"/>
                  </a:lnTo>
                  <a:lnTo>
                    <a:pt x="137" y="460"/>
                  </a:lnTo>
                  <a:lnTo>
                    <a:pt x="134" y="457"/>
                  </a:lnTo>
                  <a:lnTo>
                    <a:pt x="126" y="451"/>
                  </a:lnTo>
                  <a:lnTo>
                    <a:pt x="123" y="449"/>
                  </a:lnTo>
                  <a:lnTo>
                    <a:pt x="119" y="446"/>
                  </a:lnTo>
                  <a:lnTo>
                    <a:pt x="117" y="443"/>
                  </a:lnTo>
                  <a:lnTo>
                    <a:pt x="114" y="440"/>
                  </a:lnTo>
                  <a:lnTo>
                    <a:pt x="109" y="434"/>
                  </a:lnTo>
                  <a:lnTo>
                    <a:pt x="108" y="433"/>
                  </a:lnTo>
                  <a:lnTo>
                    <a:pt x="107" y="431"/>
                  </a:lnTo>
                  <a:lnTo>
                    <a:pt x="103" y="429"/>
                  </a:lnTo>
                  <a:lnTo>
                    <a:pt x="102" y="428"/>
                  </a:lnTo>
                  <a:lnTo>
                    <a:pt x="101" y="427"/>
                  </a:lnTo>
                  <a:lnTo>
                    <a:pt x="98" y="424"/>
                  </a:lnTo>
                  <a:lnTo>
                    <a:pt x="92" y="414"/>
                  </a:lnTo>
                  <a:lnTo>
                    <a:pt x="90" y="412"/>
                  </a:lnTo>
                  <a:lnTo>
                    <a:pt x="88" y="410"/>
                  </a:lnTo>
                  <a:lnTo>
                    <a:pt x="86" y="408"/>
                  </a:lnTo>
                  <a:lnTo>
                    <a:pt x="77" y="402"/>
                  </a:lnTo>
                  <a:lnTo>
                    <a:pt x="74" y="400"/>
                  </a:lnTo>
                  <a:lnTo>
                    <a:pt x="72" y="399"/>
                  </a:lnTo>
                  <a:lnTo>
                    <a:pt x="69" y="397"/>
                  </a:lnTo>
                  <a:lnTo>
                    <a:pt x="66" y="395"/>
                  </a:lnTo>
                  <a:lnTo>
                    <a:pt x="63" y="395"/>
                  </a:lnTo>
                  <a:lnTo>
                    <a:pt x="59" y="393"/>
                  </a:lnTo>
                  <a:lnTo>
                    <a:pt x="57" y="392"/>
                  </a:lnTo>
                  <a:lnTo>
                    <a:pt x="55" y="391"/>
                  </a:lnTo>
                  <a:lnTo>
                    <a:pt x="52" y="389"/>
                  </a:lnTo>
                  <a:lnTo>
                    <a:pt x="50" y="387"/>
                  </a:lnTo>
                  <a:lnTo>
                    <a:pt x="48" y="384"/>
                  </a:lnTo>
                  <a:lnTo>
                    <a:pt x="35" y="371"/>
                  </a:lnTo>
                  <a:lnTo>
                    <a:pt x="31" y="367"/>
                  </a:lnTo>
                  <a:lnTo>
                    <a:pt x="28" y="365"/>
                  </a:lnTo>
                  <a:lnTo>
                    <a:pt x="23" y="361"/>
                  </a:lnTo>
                  <a:lnTo>
                    <a:pt x="22" y="360"/>
                  </a:lnTo>
                  <a:lnTo>
                    <a:pt x="21" y="359"/>
                  </a:lnTo>
                  <a:lnTo>
                    <a:pt x="20" y="357"/>
                  </a:lnTo>
                  <a:lnTo>
                    <a:pt x="19" y="355"/>
                  </a:lnTo>
                  <a:lnTo>
                    <a:pt x="19" y="353"/>
                  </a:lnTo>
                  <a:lnTo>
                    <a:pt x="18" y="351"/>
                  </a:lnTo>
                  <a:lnTo>
                    <a:pt x="18" y="348"/>
                  </a:lnTo>
                  <a:lnTo>
                    <a:pt x="18" y="345"/>
                  </a:lnTo>
                  <a:lnTo>
                    <a:pt x="18" y="342"/>
                  </a:lnTo>
                  <a:lnTo>
                    <a:pt x="18" y="338"/>
                  </a:lnTo>
                  <a:lnTo>
                    <a:pt x="18" y="335"/>
                  </a:lnTo>
                  <a:lnTo>
                    <a:pt x="18" y="332"/>
                  </a:lnTo>
                  <a:lnTo>
                    <a:pt x="17" y="330"/>
                  </a:lnTo>
                  <a:lnTo>
                    <a:pt x="17" y="329"/>
                  </a:lnTo>
                  <a:lnTo>
                    <a:pt x="16" y="329"/>
                  </a:lnTo>
                  <a:lnTo>
                    <a:pt x="15" y="327"/>
                  </a:lnTo>
                  <a:lnTo>
                    <a:pt x="13" y="327"/>
                  </a:lnTo>
                  <a:lnTo>
                    <a:pt x="7" y="323"/>
                  </a:lnTo>
                  <a:lnTo>
                    <a:pt x="6" y="322"/>
                  </a:lnTo>
                  <a:lnTo>
                    <a:pt x="4" y="321"/>
                  </a:lnTo>
                  <a:lnTo>
                    <a:pt x="3" y="319"/>
                  </a:lnTo>
                  <a:lnTo>
                    <a:pt x="2" y="317"/>
                  </a:lnTo>
                  <a:lnTo>
                    <a:pt x="1" y="316"/>
                  </a:lnTo>
                  <a:lnTo>
                    <a:pt x="1" y="313"/>
                  </a:lnTo>
                  <a:lnTo>
                    <a:pt x="0" y="311"/>
                  </a:lnTo>
                  <a:lnTo>
                    <a:pt x="0" y="309"/>
                  </a:lnTo>
                  <a:lnTo>
                    <a:pt x="0" y="306"/>
                  </a:lnTo>
                  <a:lnTo>
                    <a:pt x="0" y="304"/>
                  </a:lnTo>
                  <a:lnTo>
                    <a:pt x="0" y="300"/>
                  </a:lnTo>
                  <a:lnTo>
                    <a:pt x="0" y="297"/>
                  </a:lnTo>
                  <a:lnTo>
                    <a:pt x="2" y="292"/>
                  </a:lnTo>
                  <a:lnTo>
                    <a:pt x="2" y="288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6" y="287"/>
                  </a:lnTo>
                  <a:lnTo>
                    <a:pt x="9" y="286"/>
                  </a:lnTo>
                  <a:lnTo>
                    <a:pt x="13" y="285"/>
                  </a:lnTo>
                  <a:lnTo>
                    <a:pt x="15" y="284"/>
                  </a:lnTo>
                  <a:lnTo>
                    <a:pt x="17" y="282"/>
                  </a:lnTo>
                  <a:lnTo>
                    <a:pt x="30" y="274"/>
                  </a:lnTo>
                  <a:lnTo>
                    <a:pt x="34" y="272"/>
                  </a:lnTo>
                  <a:lnTo>
                    <a:pt x="37" y="270"/>
                  </a:lnTo>
                  <a:lnTo>
                    <a:pt x="46" y="267"/>
                  </a:lnTo>
                  <a:lnTo>
                    <a:pt x="65" y="259"/>
                  </a:lnTo>
                  <a:lnTo>
                    <a:pt x="79" y="252"/>
                  </a:lnTo>
                  <a:lnTo>
                    <a:pt x="84" y="249"/>
                  </a:lnTo>
                  <a:lnTo>
                    <a:pt x="89" y="248"/>
                  </a:lnTo>
                  <a:lnTo>
                    <a:pt x="103" y="243"/>
                  </a:lnTo>
                  <a:lnTo>
                    <a:pt x="108" y="241"/>
                  </a:lnTo>
                  <a:lnTo>
                    <a:pt x="114" y="238"/>
                  </a:lnTo>
                  <a:lnTo>
                    <a:pt x="118" y="236"/>
                  </a:lnTo>
                  <a:lnTo>
                    <a:pt x="122" y="234"/>
                  </a:lnTo>
                  <a:lnTo>
                    <a:pt x="127" y="231"/>
                  </a:lnTo>
                  <a:lnTo>
                    <a:pt x="130" y="227"/>
                  </a:lnTo>
                  <a:lnTo>
                    <a:pt x="133" y="225"/>
                  </a:lnTo>
                  <a:lnTo>
                    <a:pt x="135" y="223"/>
                  </a:lnTo>
                  <a:lnTo>
                    <a:pt x="137" y="219"/>
                  </a:lnTo>
                  <a:lnTo>
                    <a:pt x="140" y="215"/>
                  </a:lnTo>
                  <a:lnTo>
                    <a:pt x="144" y="208"/>
                  </a:lnTo>
                  <a:lnTo>
                    <a:pt x="145" y="205"/>
                  </a:lnTo>
                  <a:lnTo>
                    <a:pt x="147" y="203"/>
                  </a:lnTo>
                  <a:lnTo>
                    <a:pt x="149" y="202"/>
                  </a:lnTo>
                  <a:lnTo>
                    <a:pt x="151" y="201"/>
                  </a:lnTo>
                  <a:lnTo>
                    <a:pt x="152" y="200"/>
                  </a:lnTo>
                  <a:lnTo>
                    <a:pt x="155" y="198"/>
                  </a:lnTo>
                  <a:lnTo>
                    <a:pt x="160" y="197"/>
                  </a:lnTo>
                  <a:lnTo>
                    <a:pt x="163" y="196"/>
                  </a:lnTo>
                  <a:lnTo>
                    <a:pt x="166" y="195"/>
                  </a:lnTo>
                  <a:lnTo>
                    <a:pt x="169" y="195"/>
                  </a:lnTo>
                  <a:lnTo>
                    <a:pt x="172" y="195"/>
                  </a:lnTo>
                  <a:lnTo>
                    <a:pt x="174" y="195"/>
                  </a:lnTo>
                  <a:lnTo>
                    <a:pt x="177" y="196"/>
                  </a:lnTo>
                  <a:lnTo>
                    <a:pt x="185" y="198"/>
                  </a:lnTo>
                  <a:lnTo>
                    <a:pt x="189" y="198"/>
                  </a:lnTo>
                  <a:lnTo>
                    <a:pt x="192" y="198"/>
                  </a:lnTo>
                  <a:lnTo>
                    <a:pt x="196" y="198"/>
                  </a:lnTo>
                  <a:lnTo>
                    <a:pt x="198" y="198"/>
                  </a:lnTo>
                  <a:lnTo>
                    <a:pt x="203" y="197"/>
                  </a:lnTo>
                  <a:lnTo>
                    <a:pt x="208" y="196"/>
                  </a:lnTo>
                  <a:lnTo>
                    <a:pt x="213" y="195"/>
                  </a:lnTo>
                  <a:lnTo>
                    <a:pt x="219" y="193"/>
                  </a:lnTo>
                  <a:lnTo>
                    <a:pt x="223" y="192"/>
                  </a:lnTo>
                  <a:lnTo>
                    <a:pt x="229" y="190"/>
                  </a:lnTo>
                  <a:lnTo>
                    <a:pt x="231" y="189"/>
                  </a:lnTo>
                  <a:lnTo>
                    <a:pt x="235" y="188"/>
                  </a:lnTo>
                  <a:lnTo>
                    <a:pt x="242" y="187"/>
                  </a:lnTo>
                  <a:lnTo>
                    <a:pt x="244" y="186"/>
                  </a:lnTo>
                  <a:lnTo>
                    <a:pt x="246" y="186"/>
                  </a:lnTo>
                  <a:lnTo>
                    <a:pt x="249" y="184"/>
                  </a:lnTo>
                  <a:lnTo>
                    <a:pt x="251" y="183"/>
                  </a:lnTo>
                  <a:lnTo>
                    <a:pt x="253" y="181"/>
                  </a:lnTo>
                  <a:lnTo>
                    <a:pt x="254" y="180"/>
                  </a:lnTo>
                  <a:lnTo>
                    <a:pt x="255" y="177"/>
                  </a:lnTo>
                  <a:lnTo>
                    <a:pt x="256" y="174"/>
                  </a:lnTo>
                  <a:lnTo>
                    <a:pt x="259" y="168"/>
                  </a:lnTo>
                  <a:lnTo>
                    <a:pt x="262" y="161"/>
                  </a:lnTo>
                  <a:lnTo>
                    <a:pt x="263" y="158"/>
                  </a:lnTo>
                  <a:lnTo>
                    <a:pt x="263" y="156"/>
                  </a:lnTo>
                  <a:lnTo>
                    <a:pt x="264" y="155"/>
                  </a:lnTo>
                  <a:lnTo>
                    <a:pt x="264" y="153"/>
                  </a:lnTo>
                  <a:lnTo>
                    <a:pt x="263" y="151"/>
                  </a:lnTo>
                  <a:lnTo>
                    <a:pt x="263" y="149"/>
                  </a:lnTo>
                  <a:lnTo>
                    <a:pt x="262" y="148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5"/>
                  </a:lnTo>
                  <a:lnTo>
                    <a:pt x="258" y="143"/>
                  </a:lnTo>
                  <a:lnTo>
                    <a:pt x="257" y="142"/>
                  </a:lnTo>
                  <a:lnTo>
                    <a:pt x="255" y="140"/>
                  </a:lnTo>
                  <a:lnTo>
                    <a:pt x="254" y="139"/>
                  </a:lnTo>
                  <a:lnTo>
                    <a:pt x="251" y="138"/>
                  </a:lnTo>
                  <a:lnTo>
                    <a:pt x="246" y="136"/>
                  </a:lnTo>
                  <a:lnTo>
                    <a:pt x="236" y="133"/>
                  </a:lnTo>
                  <a:lnTo>
                    <a:pt x="230" y="130"/>
                  </a:lnTo>
                  <a:lnTo>
                    <a:pt x="218" y="125"/>
                  </a:lnTo>
                  <a:lnTo>
                    <a:pt x="215" y="124"/>
                  </a:lnTo>
                  <a:lnTo>
                    <a:pt x="212" y="123"/>
                  </a:lnTo>
                  <a:lnTo>
                    <a:pt x="210" y="122"/>
                  </a:lnTo>
                  <a:lnTo>
                    <a:pt x="209" y="121"/>
                  </a:lnTo>
                  <a:lnTo>
                    <a:pt x="208" y="120"/>
                  </a:lnTo>
                  <a:lnTo>
                    <a:pt x="207" y="119"/>
                  </a:lnTo>
                  <a:lnTo>
                    <a:pt x="206" y="118"/>
                  </a:lnTo>
                  <a:lnTo>
                    <a:pt x="205" y="116"/>
                  </a:lnTo>
                  <a:lnTo>
                    <a:pt x="204" y="114"/>
                  </a:lnTo>
                  <a:lnTo>
                    <a:pt x="203" y="112"/>
                  </a:lnTo>
                  <a:lnTo>
                    <a:pt x="202" y="110"/>
                  </a:lnTo>
                  <a:lnTo>
                    <a:pt x="202" y="108"/>
                  </a:lnTo>
                  <a:lnTo>
                    <a:pt x="201" y="107"/>
                  </a:lnTo>
                  <a:lnTo>
                    <a:pt x="202" y="106"/>
                  </a:lnTo>
                  <a:lnTo>
                    <a:pt x="202" y="105"/>
                  </a:lnTo>
                  <a:lnTo>
                    <a:pt x="202" y="103"/>
                  </a:lnTo>
                  <a:lnTo>
                    <a:pt x="203" y="101"/>
                  </a:lnTo>
                  <a:lnTo>
                    <a:pt x="206" y="97"/>
                  </a:lnTo>
                  <a:lnTo>
                    <a:pt x="206" y="96"/>
                  </a:lnTo>
                  <a:lnTo>
                    <a:pt x="207" y="95"/>
                  </a:lnTo>
                  <a:lnTo>
                    <a:pt x="207" y="94"/>
                  </a:lnTo>
                  <a:lnTo>
                    <a:pt x="207" y="92"/>
                  </a:lnTo>
                  <a:lnTo>
                    <a:pt x="206" y="91"/>
                  </a:lnTo>
                  <a:lnTo>
                    <a:pt x="205" y="90"/>
                  </a:lnTo>
                  <a:lnTo>
                    <a:pt x="204" y="89"/>
                  </a:lnTo>
                  <a:lnTo>
                    <a:pt x="203" y="89"/>
                  </a:lnTo>
                  <a:lnTo>
                    <a:pt x="202" y="89"/>
                  </a:lnTo>
                  <a:lnTo>
                    <a:pt x="200" y="89"/>
                  </a:lnTo>
                  <a:lnTo>
                    <a:pt x="197" y="88"/>
                  </a:lnTo>
                  <a:lnTo>
                    <a:pt x="190" y="89"/>
                  </a:lnTo>
                  <a:lnTo>
                    <a:pt x="186" y="88"/>
                  </a:lnTo>
                  <a:lnTo>
                    <a:pt x="185" y="88"/>
                  </a:lnTo>
                  <a:lnTo>
                    <a:pt x="183" y="88"/>
                  </a:lnTo>
                  <a:lnTo>
                    <a:pt x="181" y="87"/>
                  </a:lnTo>
                  <a:lnTo>
                    <a:pt x="179" y="87"/>
                  </a:lnTo>
                  <a:lnTo>
                    <a:pt x="177" y="86"/>
                  </a:lnTo>
                  <a:lnTo>
                    <a:pt x="174" y="84"/>
                  </a:lnTo>
                  <a:lnTo>
                    <a:pt x="173" y="83"/>
                  </a:lnTo>
                  <a:lnTo>
                    <a:pt x="171" y="82"/>
                  </a:lnTo>
                  <a:lnTo>
                    <a:pt x="169" y="80"/>
                  </a:lnTo>
                  <a:lnTo>
                    <a:pt x="168" y="78"/>
                  </a:lnTo>
                  <a:lnTo>
                    <a:pt x="167" y="78"/>
                  </a:lnTo>
                  <a:lnTo>
                    <a:pt x="166" y="76"/>
                  </a:lnTo>
                  <a:lnTo>
                    <a:pt x="166" y="75"/>
                  </a:lnTo>
                  <a:lnTo>
                    <a:pt x="166" y="73"/>
                  </a:lnTo>
                  <a:lnTo>
                    <a:pt x="165" y="69"/>
                  </a:lnTo>
                  <a:lnTo>
                    <a:pt x="166" y="64"/>
                  </a:lnTo>
                  <a:lnTo>
                    <a:pt x="166" y="62"/>
                  </a:lnTo>
                  <a:lnTo>
                    <a:pt x="166" y="60"/>
                  </a:lnTo>
                  <a:lnTo>
                    <a:pt x="167" y="58"/>
                  </a:lnTo>
                  <a:lnTo>
                    <a:pt x="168" y="56"/>
                  </a:lnTo>
                  <a:lnTo>
                    <a:pt x="172" y="49"/>
                  </a:lnTo>
                  <a:lnTo>
                    <a:pt x="173" y="47"/>
                  </a:lnTo>
                  <a:lnTo>
                    <a:pt x="174" y="44"/>
                  </a:lnTo>
                  <a:lnTo>
                    <a:pt x="175" y="41"/>
                  </a:lnTo>
                  <a:lnTo>
                    <a:pt x="176" y="38"/>
                  </a:lnTo>
                  <a:lnTo>
                    <a:pt x="177" y="35"/>
                  </a:lnTo>
                  <a:lnTo>
                    <a:pt x="178" y="33"/>
                  </a:lnTo>
                  <a:lnTo>
                    <a:pt x="179" y="25"/>
                  </a:lnTo>
                  <a:lnTo>
                    <a:pt x="180" y="22"/>
                  </a:lnTo>
                  <a:lnTo>
                    <a:pt x="181" y="21"/>
                  </a:lnTo>
                  <a:lnTo>
                    <a:pt x="181" y="20"/>
                  </a:lnTo>
                  <a:lnTo>
                    <a:pt x="182" y="18"/>
                  </a:lnTo>
                  <a:lnTo>
                    <a:pt x="184" y="15"/>
                  </a:lnTo>
                  <a:lnTo>
                    <a:pt x="192" y="4"/>
                  </a:lnTo>
                  <a:lnTo>
                    <a:pt x="195" y="2"/>
                  </a:lnTo>
                  <a:lnTo>
                    <a:pt x="196" y="0"/>
                  </a:lnTo>
                  <a:lnTo>
                    <a:pt x="197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3" name="Freeform 36">
              <a:extLst>
                <a:ext uri="{FF2B5EF4-FFF2-40B4-BE49-F238E27FC236}">
                  <a16:creationId xmlns:a16="http://schemas.microsoft.com/office/drawing/2014/main" id="{A8F5C64C-7A39-4772-87F7-D483EF689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481"/>
              <a:ext cx="466" cy="468"/>
            </a:xfrm>
            <a:custGeom>
              <a:avLst/>
              <a:gdLst>
                <a:gd name="T0" fmla="*/ 323 w 466"/>
                <a:gd name="T1" fmla="*/ 15 h 468"/>
                <a:gd name="T2" fmla="*/ 338 w 466"/>
                <a:gd name="T3" fmla="*/ 39 h 468"/>
                <a:gd name="T4" fmla="*/ 357 w 466"/>
                <a:gd name="T5" fmla="*/ 49 h 468"/>
                <a:gd name="T6" fmla="*/ 375 w 466"/>
                <a:gd name="T7" fmla="*/ 51 h 468"/>
                <a:gd name="T8" fmla="*/ 375 w 466"/>
                <a:gd name="T9" fmla="*/ 69 h 468"/>
                <a:gd name="T10" fmla="*/ 392 w 466"/>
                <a:gd name="T11" fmla="*/ 73 h 468"/>
                <a:gd name="T12" fmla="*/ 414 w 466"/>
                <a:gd name="T13" fmla="*/ 94 h 468"/>
                <a:gd name="T14" fmla="*/ 430 w 466"/>
                <a:gd name="T15" fmla="*/ 124 h 468"/>
                <a:gd name="T16" fmla="*/ 448 w 466"/>
                <a:gd name="T17" fmla="*/ 152 h 468"/>
                <a:gd name="T18" fmla="*/ 460 w 466"/>
                <a:gd name="T19" fmla="*/ 173 h 468"/>
                <a:gd name="T20" fmla="*/ 465 w 466"/>
                <a:gd name="T21" fmla="*/ 208 h 468"/>
                <a:gd name="T22" fmla="*/ 457 w 466"/>
                <a:gd name="T23" fmla="*/ 242 h 468"/>
                <a:gd name="T24" fmla="*/ 452 w 466"/>
                <a:gd name="T25" fmla="*/ 265 h 468"/>
                <a:gd name="T26" fmla="*/ 456 w 466"/>
                <a:gd name="T27" fmla="*/ 285 h 468"/>
                <a:gd name="T28" fmla="*/ 430 w 466"/>
                <a:gd name="T29" fmla="*/ 282 h 468"/>
                <a:gd name="T30" fmla="*/ 415 w 466"/>
                <a:gd name="T31" fmla="*/ 287 h 468"/>
                <a:gd name="T32" fmla="*/ 398 w 466"/>
                <a:gd name="T33" fmla="*/ 298 h 468"/>
                <a:gd name="T34" fmla="*/ 371 w 466"/>
                <a:gd name="T35" fmla="*/ 306 h 468"/>
                <a:gd name="T36" fmla="*/ 375 w 466"/>
                <a:gd name="T37" fmla="*/ 326 h 468"/>
                <a:gd name="T38" fmla="*/ 371 w 466"/>
                <a:gd name="T39" fmla="*/ 345 h 468"/>
                <a:gd name="T40" fmla="*/ 362 w 466"/>
                <a:gd name="T41" fmla="*/ 371 h 468"/>
                <a:gd name="T42" fmla="*/ 345 w 466"/>
                <a:gd name="T43" fmla="*/ 389 h 468"/>
                <a:gd name="T44" fmla="*/ 328 w 466"/>
                <a:gd name="T45" fmla="*/ 415 h 468"/>
                <a:gd name="T46" fmla="*/ 316 w 466"/>
                <a:gd name="T47" fmla="*/ 418 h 468"/>
                <a:gd name="T48" fmla="*/ 292 w 466"/>
                <a:gd name="T49" fmla="*/ 409 h 468"/>
                <a:gd name="T50" fmla="*/ 273 w 466"/>
                <a:gd name="T51" fmla="*/ 422 h 468"/>
                <a:gd name="T52" fmla="*/ 246 w 466"/>
                <a:gd name="T53" fmla="*/ 449 h 468"/>
                <a:gd name="T54" fmla="*/ 233 w 466"/>
                <a:gd name="T55" fmla="*/ 467 h 468"/>
                <a:gd name="T56" fmla="*/ 225 w 466"/>
                <a:gd name="T57" fmla="*/ 467 h 468"/>
                <a:gd name="T58" fmla="*/ 210 w 466"/>
                <a:gd name="T59" fmla="*/ 446 h 468"/>
                <a:gd name="T60" fmla="*/ 210 w 466"/>
                <a:gd name="T61" fmla="*/ 420 h 468"/>
                <a:gd name="T62" fmla="*/ 205 w 466"/>
                <a:gd name="T63" fmla="*/ 392 h 468"/>
                <a:gd name="T64" fmla="*/ 210 w 466"/>
                <a:gd name="T65" fmla="*/ 358 h 468"/>
                <a:gd name="T66" fmla="*/ 211 w 466"/>
                <a:gd name="T67" fmla="*/ 327 h 468"/>
                <a:gd name="T68" fmla="*/ 195 w 466"/>
                <a:gd name="T69" fmla="*/ 309 h 468"/>
                <a:gd name="T70" fmla="*/ 164 w 466"/>
                <a:gd name="T71" fmla="*/ 309 h 468"/>
                <a:gd name="T72" fmla="*/ 128 w 466"/>
                <a:gd name="T73" fmla="*/ 310 h 468"/>
                <a:gd name="T74" fmla="*/ 118 w 466"/>
                <a:gd name="T75" fmla="*/ 306 h 468"/>
                <a:gd name="T76" fmla="*/ 114 w 466"/>
                <a:gd name="T77" fmla="*/ 287 h 468"/>
                <a:gd name="T78" fmla="*/ 98 w 466"/>
                <a:gd name="T79" fmla="*/ 273 h 468"/>
                <a:gd name="T80" fmla="*/ 65 w 466"/>
                <a:gd name="T81" fmla="*/ 265 h 468"/>
                <a:gd name="T82" fmla="*/ 18 w 466"/>
                <a:gd name="T83" fmla="*/ 256 h 468"/>
                <a:gd name="T84" fmla="*/ 3 w 466"/>
                <a:gd name="T85" fmla="*/ 241 h 468"/>
                <a:gd name="T86" fmla="*/ 46 w 466"/>
                <a:gd name="T87" fmla="*/ 207 h 468"/>
                <a:gd name="T88" fmla="*/ 59 w 466"/>
                <a:gd name="T89" fmla="*/ 164 h 468"/>
                <a:gd name="T90" fmla="*/ 68 w 466"/>
                <a:gd name="T91" fmla="*/ 133 h 468"/>
                <a:gd name="T92" fmla="*/ 95 w 466"/>
                <a:gd name="T93" fmla="*/ 131 h 468"/>
                <a:gd name="T94" fmla="*/ 134 w 466"/>
                <a:gd name="T95" fmla="*/ 124 h 468"/>
                <a:gd name="T96" fmla="*/ 159 w 466"/>
                <a:gd name="T97" fmla="*/ 128 h 468"/>
                <a:gd name="T98" fmla="*/ 186 w 466"/>
                <a:gd name="T99" fmla="*/ 129 h 468"/>
                <a:gd name="T100" fmla="*/ 207 w 466"/>
                <a:gd name="T101" fmla="*/ 97 h 468"/>
                <a:gd name="T102" fmla="*/ 217 w 466"/>
                <a:gd name="T103" fmla="*/ 63 h 468"/>
                <a:gd name="T104" fmla="*/ 232 w 466"/>
                <a:gd name="T105" fmla="*/ 37 h 468"/>
                <a:gd name="T106" fmla="*/ 250 w 466"/>
                <a:gd name="T107" fmla="*/ 33 h 468"/>
                <a:gd name="T108" fmla="*/ 270 w 466"/>
                <a:gd name="T109" fmla="*/ 44 h 468"/>
                <a:gd name="T110" fmla="*/ 284 w 466"/>
                <a:gd name="T111" fmla="*/ 40 h 468"/>
                <a:gd name="T112" fmla="*/ 296 w 466"/>
                <a:gd name="T113" fmla="*/ 17 h 468"/>
                <a:gd name="T114" fmla="*/ 319 w 466"/>
                <a:gd name="T115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6" h="468">
                  <a:moveTo>
                    <a:pt x="319" y="0"/>
                  </a:moveTo>
                  <a:lnTo>
                    <a:pt x="320" y="0"/>
                  </a:lnTo>
                  <a:lnTo>
                    <a:pt x="321" y="1"/>
                  </a:lnTo>
                  <a:lnTo>
                    <a:pt x="321" y="2"/>
                  </a:lnTo>
                  <a:lnTo>
                    <a:pt x="321" y="4"/>
                  </a:lnTo>
                  <a:lnTo>
                    <a:pt x="321" y="7"/>
                  </a:lnTo>
                  <a:lnTo>
                    <a:pt x="322" y="10"/>
                  </a:lnTo>
                  <a:lnTo>
                    <a:pt x="323" y="13"/>
                  </a:lnTo>
                  <a:lnTo>
                    <a:pt x="323" y="15"/>
                  </a:lnTo>
                  <a:lnTo>
                    <a:pt x="324" y="18"/>
                  </a:lnTo>
                  <a:lnTo>
                    <a:pt x="326" y="21"/>
                  </a:lnTo>
                  <a:lnTo>
                    <a:pt x="327" y="24"/>
                  </a:lnTo>
                  <a:lnTo>
                    <a:pt x="328" y="26"/>
                  </a:lnTo>
                  <a:lnTo>
                    <a:pt x="331" y="31"/>
                  </a:lnTo>
                  <a:lnTo>
                    <a:pt x="332" y="34"/>
                  </a:lnTo>
                  <a:lnTo>
                    <a:pt x="334" y="36"/>
                  </a:lnTo>
                  <a:lnTo>
                    <a:pt x="336" y="37"/>
                  </a:lnTo>
                  <a:lnTo>
                    <a:pt x="338" y="39"/>
                  </a:lnTo>
                  <a:lnTo>
                    <a:pt x="340" y="41"/>
                  </a:lnTo>
                  <a:lnTo>
                    <a:pt x="341" y="42"/>
                  </a:lnTo>
                  <a:lnTo>
                    <a:pt x="343" y="44"/>
                  </a:lnTo>
                  <a:lnTo>
                    <a:pt x="345" y="45"/>
                  </a:lnTo>
                  <a:lnTo>
                    <a:pt x="348" y="47"/>
                  </a:lnTo>
                  <a:lnTo>
                    <a:pt x="351" y="48"/>
                  </a:lnTo>
                  <a:lnTo>
                    <a:pt x="353" y="49"/>
                  </a:lnTo>
                  <a:lnTo>
                    <a:pt x="355" y="49"/>
                  </a:lnTo>
                  <a:lnTo>
                    <a:pt x="357" y="49"/>
                  </a:lnTo>
                  <a:lnTo>
                    <a:pt x="360" y="49"/>
                  </a:lnTo>
                  <a:lnTo>
                    <a:pt x="362" y="49"/>
                  </a:lnTo>
                  <a:lnTo>
                    <a:pt x="367" y="47"/>
                  </a:lnTo>
                  <a:lnTo>
                    <a:pt x="370" y="46"/>
                  </a:lnTo>
                  <a:lnTo>
                    <a:pt x="372" y="46"/>
                  </a:lnTo>
                  <a:lnTo>
                    <a:pt x="373" y="46"/>
                  </a:lnTo>
                  <a:lnTo>
                    <a:pt x="374" y="47"/>
                  </a:lnTo>
                  <a:lnTo>
                    <a:pt x="375" y="49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4"/>
                  </a:lnTo>
                  <a:lnTo>
                    <a:pt x="376" y="56"/>
                  </a:lnTo>
                  <a:lnTo>
                    <a:pt x="375" y="61"/>
                  </a:lnTo>
                  <a:lnTo>
                    <a:pt x="375" y="63"/>
                  </a:lnTo>
                  <a:lnTo>
                    <a:pt x="375" y="64"/>
                  </a:lnTo>
                  <a:lnTo>
                    <a:pt x="375" y="66"/>
                  </a:lnTo>
                  <a:lnTo>
                    <a:pt x="375" y="68"/>
                  </a:lnTo>
                  <a:lnTo>
                    <a:pt x="375" y="69"/>
                  </a:lnTo>
                  <a:lnTo>
                    <a:pt x="376" y="70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9" y="71"/>
                  </a:lnTo>
                  <a:lnTo>
                    <a:pt x="381" y="71"/>
                  </a:lnTo>
                  <a:lnTo>
                    <a:pt x="386" y="72"/>
                  </a:lnTo>
                  <a:lnTo>
                    <a:pt x="388" y="72"/>
                  </a:lnTo>
                  <a:lnTo>
                    <a:pt x="390" y="73"/>
                  </a:lnTo>
                  <a:lnTo>
                    <a:pt x="392" y="73"/>
                  </a:lnTo>
                  <a:lnTo>
                    <a:pt x="393" y="74"/>
                  </a:lnTo>
                  <a:lnTo>
                    <a:pt x="394" y="75"/>
                  </a:lnTo>
                  <a:lnTo>
                    <a:pt x="396" y="76"/>
                  </a:lnTo>
                  <a:lnTo>
                    <a:pt x="398" y="78"/>
                  </a:lnTo>
                  <a:lnTo>
                    <a:pt x="401" y="83"/>
                  </a:lnTo>
                  <a:lnTo>
                    <a:pt x="406" y="87"/>
                  </a:lnTo>
                  <a:lnTo>
                    <a:pt x="408" y="88"/>
                  </a:lnTo>
                  <a:lnTo>
                    <a:pt x="409" y="90"/>
                  </a:lnTo>
                  <a:lnTo>
                    <a:pt x="414" y="94"/>
                  </a:lnTo>
                  <a:lnTo>
                    <a:pt x="416" y="95"/>
                  </a:lnTo>
                  <a:lnTo>
                    <a:pt x="417" y="96"/>
                  </a:lnTo>
                  <a:lnTo>
                    <a:pt x="419" y="98"/>
                  </a:lnTo>
                  <a:lnTo>
                    <a:pt x="421" y="103"/>
                  </a:lnTo>
                  <a:lnTo>
                    <a:pt x="423" y="105"/>
                  </a:lnTo>
                  <a:lnTo>
                    <a:pt x="424" y="109"/>
                  </a:lnTo>
                  <a:lnTo>
                    <a:pt x="426" y="113"/>
                  </a:lnTo>
                  <a:lnTo>
                    <a:pt x="429" y="120"/>
                  </a:lnTo>
                  <a:lnTo>
                    <a:pt x="430" y="124"/>
                  </a:lnTo>
                  <a:lnTo>
                    <a:pt x="431" y="126"/>
                  </a:lnTo>
                  <a:lnTo>
                    <a:pt x="432" y="127"/>
                  </a:lnTo>
                  <a:lnTo>
                    <a:pt x="434" y="129"/>
                  </a:lnTo>
                  <a:lnTo>
                    <a:pt x="435" y="131"/>
                  </a:lnTo>
                  <a:lnTo>
                    <a:pt x="436" y="132"/>
                  </a:lnTo>
                  <a:lnTo>
                    <a:pt x="438" y="137"/>
                  </a:lnTo>
                  <a:lnTo>
                    <a:pt x="443" y="145"/>
                  </a:lnTo>
                  <a:lnTo>
                    <a:pt x="445" y="150"/>
                  </a:lnTo>
                  <a:lnTo>
                    <a:pt x="448" y="152"/>
                  </a:lnTo>
                  <a:lnTo>
                    <a:pt x="450" y="155"/>
                  </a:lnTo>
                  <a:lnTo>
                    <a:pt x="455" y="160"/>
                  </a:lnTo>
                  <a:lnTo>
                    <a:pt x="456" y="162"/>
                  </a:lnTo>
                  <a:lnTo>
                    <a:pt x="458" y="164"/>
                  </a:lnTo>
                  <a:lnTo>
                    <a:pt x="459" y="165"/>
                  </a:lnTo>
                  <a:lnTo>
                    <a:pt x="459" y="167"/>
                  </a:lnTo>
                  <a:lnTo>
                    <a:pt x="460" y="169"/>
                  </a:lnTo>
                  <a:lnTo>
                    <a:pt x="460" y="170"/>
                  </a:lnTo>
                  <a:lnTo>
                    <a:pt x="460" y="173"/>
                  </a:lnTo>
                  <a:lnTo>
                    <a:pt x="460" y="176"/>
                  </a:lnTo>
                  <a:lnTo>
                    <a:pt x="459" y="185"/>
                  </a:lnTo>
                  <a:lnTo>
                    <a:pt x="459" y="186"/>
                  </a:lnTo>
                  <a:lnTo>
                    <a:pt x="459" y="189"/>
                  </a:lnTo>
                  <a:lnTo>
                    <a:pt x="460" y="193"/>
                  </a:lnTo>
                  <a:lnTo>
                    <a:pt x="461" y="196"/>
                  </a:lnTo>
                  <a:lnTo>
                    <a:pt x="462" y="199"/>
                  </a:lnTo>
                  <a:lnTo>
                    <a:pt x="464" y="206"/>
                  </a:lnTo>
                  <a:lnTo>
                    <a:pt x="465" y="208"/>
                  </a:lnTo>
                  <a:lnTo>
                    <a:pt x="466" y="212"/>
                  </a:lnTo>
                  <a:lnTo>
                    <a:pt x="466" y="216"/>
                  </a:lnTo>
                  <a:lnTo>
                    <a:pt x="466" y="219"/>
                  </a:lnTo>
                  <a:lnTo>
                    <a:pt x="466" y="223"/>
                  </a:lnTo>
                  <a:lnTo>
                    <a:pt x="466" y="227"/>
                  </a:lnTo>
                  <a:lnTo>
                    <a:pt x="465" y="229"/>
                  </a:lnTo>
                  <a:lnTo>
                    <a:pt x="465" y="230"/>
                  </a:lnTo>
                  <a:lnTo>
                    <a:pt x="464" y="230"/>
                  </a:lnTo>
                  <a:lnTo>
                    <a:pt x="457" y="242"/>
                  </a:lnTo>
                  <a:lnTo>
                    <a:pt x="455" y="246"/>
                  </a:lnTo>
                  <a:lnTo>
                    <a:pt x="454" y="249"/>
                  </a:lnTo>
                  <a:lnTo>
                    <a:pt x="453" y="253"/>
                  </a:lnTo>
                  <a:lnTo>
                    <a:pt x="453" y="255"/>
                  </a:lnTo>
                  <a:lnTo>
                    <a:pt x="452" y="257"/>
                  </a:lnTo>
                  <a:lnTo>
                    <a:pt x="452" y="260"/>
                  </a:lnTo>
                  <a:lnTo>
                    <a:pt x="452" y="262"/>
                  </a:lnTo>
                  <a:lnTo>
                    <a:pt x="452" y="264"/>
                  </a:lnTo>
                  <a:lnTo>
                    <a:pt x="452" y="265"/>
                  </a:lnTo>
                  <a:lnTo>
                    <a:pt x="453" y="267"/>
                  </a:lnTo>
                  <a:lnTo>
                    <a:pt x="455" y="273"/>
                  </a:lnTo>
                  <a:lnTo>
                    <a:pt x="456" y="276"/>
                  </a:lnTo>
                  <a:lnTo>
                    <a:pt x="456" y="278"/>
                  </a:lnTo>
                  <a:lnTo>
                    <a:pt x="457" y="279"/>
                  </a:lnTo>
                  <a:lnTo>
                    <a:pt x="457" y="281"/>
                  </a:lnTo>
                  <a:lnTo>
                    <a:pt x="457" y="283"/>
                  </a:lnTo>
                  <a:lnTo>
                    <a:pt x="457" y="284"/>
                  </a:lnTo>
                  <a:lnTo>
                    <a:pt x="456" y="285"/>
                  </a:lnTo>
                  <a:lnTo>
                    <a:pt x="455" y="285"/>
                  </a:lnTo>
                  <a:lnTo>
                    <a:pt x="455" y="286"/>
                  </a:lnTo>
                  <a:lnTo>
                    <a:pt x="447" y="287"/>
                  </a:lnTo>
                  <a:lnTo>
                    <a:pt x="444" y="287"/>
                  </a:lnTo>
                  <a:lnTo>
                    <a:pt x="443" y="287"/>
                  </a:lnTo>
                  <a:lnTo>
                    <a:pt x="441" y="287"/>
                  </a:lnTo>
                  <a:lnTo>
                    <a:pt x="440" y="287"/>
                  </a:lnTo>
                  <a:lnTo>
                    <a:pt x="432" y="283"/>
                  </a:lnTo>
                  <a:lnTo>
                    <a:pt x="430" y="282"/>
                  </a:lnTo>
                  <a:lnTo>
                    <a:pt x="428" y="282"/>
                  </a:lnTo>
                  <a:lnTo>
                    <a:pt x="426" y="281"/>
                  </a:lnTo>
                  <a:lnTo>
                    <a:pt x="424" y="281"/>
                  </a:lnTo>
                  <a:lnTo>
                    <a:pt x="423" y="282"/>
                  </a:lnTo>
                  <a:lnTo>
                    <a:pt x="421" y="282"/>
                  </a:lnTo>
                  <a:lnTo>
                    <a:pt x="420" y="283"/>
                  </a:lnTo>
                  <a:lnTo>
                    <a:pt x="418" y="284"/>
                  </a:lnTo>
                  <a:lnTo>
                    <a:pt x="417" y="285"/>
                  </a:lnTo>
                  <a:lnTo>
                    <a:pt x="415" y="287"/>
                  </a:lnTo>
                  <a:lnTo>
                    <a:pt x="414" y="287"/>
                  </a:lnTo>
                  <a:lnTo>
                    <a:pt x="413" y="289"/>
                  </a:lnTo>
                  <a:lnTo>
                    <a:pt x="411" y="292"/>
                  </a:lnTo>
                  <a:lnTo>
                    <a:pt x="410" y="293"/>
                  </a:lnTo>
                  <a:lnTo>
                    <a:pt x="409" y="294"/>
                  </a:lnTo>
                  <a:lnTo>
                    <a:pt x="409" y="295"/>
                  </a:lnTo>
                  <a:lnTo>
                    <a:pt x="405" y="297"/>
                  </a:lnTo>
                  <a:lnTo>
                    <a:pt x="401" y="298"/>
                  </a:lnTo>
                  <a:lnTo>
                    <a:pt x="398" y="298"/>
                  </a:lnTo>
                  <a:lnTo>
                    <a:pt x="392" y="299"/>
                  </a:lnTo>
                  <a:lnTo>
                    <a:pt x="383" y="299"/>
                  </a:lnTo>
                  <a:lnTo>
                    <a:pt x="381" y="300"/>
                  </a:lnTo>
                  <a:lnTo>
                    <a:pt x="378" y="300"/>
                  </a:lnTo>
                  <a:lnTo>
                    <a:pt x="376" y="301"/>
                  </a:lnTo>
                  <a:lnTo>
                    <a:pt x="374" y="302"/>
                  </a:lnTo>
                  <a:lnTo>
                    <a:pt x="373" y="303"/>
                  </a:lnTo>
                  <a:lnTo>
                    <a:pt x="372" y="304"/>
                  </a:lnTo>
                  <a:lnTo>
                    <a:pt x="371" y="306"/>
                  </a:lnTo>
                  <a:lnTo>
                    <a:pt x="371" y="307"/>
                  </a:lnTo>
                  <a:lnTo>
                    <a:pt x="371" y="309"/>
                  </a:lnTo>
                  <a:lnTo>
                    <a:pt x="371" y="310"/>
                  </a:lnTo>
                  <a:lnTo>
                    <a:pt x="371" y="312"/>
                  </a:lnTo>
                  <a:lnTo>
                    <a:pt x="372" y="315"/>
                  </a:lnTo>
                  <a:lnTo>
                    <a:pt x="374" y="321"/>
                  </a:lnTo>
                  <a:lnTo>
                    <a:pt x="375" y="321"/>
                  </a:lnTo>
                  <a:lnTo>
                    <a:pt x="375" y="324"/>
                  </a:lnTo>
                  <a:lnTo>
                    <a:pt x="375" y="326"/>
                  </a:lnTo>
                  <a:lnTo>
                    <a:pt x="375" y="329"/>
                  </a:lnTo>
                  <a:lnTo>
                    <a:pt x="374" y="332"/>
                  </a:lnTo>
                  <a:lnTo>
                    <a:pt x="374" y="333"/>
                  </a:lnTo>
                  <a:lnTo>
                    <a:pt x="374" y="336"/>
                  </a:lnTo>
                  <a:lnTo>
                    <a:pt x="374" y="340"/>
                  </a:lnTo>
                  <a:lnTo>
                    <a:pt x="374" y="341"/>
                  </a:lnTo>
                  <a:lnTo>
                    <a:pt x="373" y="343"/>
                  </a:lnTo>
                  <a:lnTo>
                    <a:pt x="372" y="344"/>
                  </a:lnTo>
                  <a:lnTo>
                    <a:pt x="371" y="345"/>
                  </a:lnTo>
                  <a:lnTo>
                    <a:pt x="367" y="351"/>
                  </a:lnTo>
                  <a:lnTo>
                    <a:pt x="365" y="353"/>
                  </a:lnTo>
                  <a:lnTo>
                    <a:pt x="364" y="355"/>
                  </a:lnTo>
                  <a:lnTo>
                    <a:pt x="364" y="356"/>
                  </a:lnTo>
                  <a:lnTo>
                    <a:pt x="363" y="359"/>
                  </a:lnTo>
                  <a:lnTo>
                    <a:pt x="362" y="363"/>
                  </a:lnTo>
                  <a:lnTo>
                    <a:pt x="362" y="365"/>
                  </a:lnTo>
                  <a:lnTo>
                    <a:pt x="362" y="368"/>
                  </a:lnTo>
                  <a:lnTo>
                    <a:pt x="362" y="371"/>
                  </a:lnTo>
                  <a:lnTo>
                    <a:pt x="361" y="374"/>
                  </a:lnTo>
                  <a:lnTo>
                    <a:pt x="360" y="376"/>
                  </a:lnTo>
                  <a:lnTo>
                    <a:pt x="359" y="377"/>
                  </a:lnTo>
                  <a:lnTo>
                    <a:pt x="357" y="379"/>
                  </a:lnTo>
                  <a:lnTo>
                    <a:pt x="354" y="381"/>
                  </a:lnTo>
                  <a:lnTo>
                    <a:pt x="350" y="384"/>
                  </a:lnTo>
                  <a:lnTo>
                    <a:pt x="348" y="386"/>
                  </a:lnTo>
                  <a:lnTo>
                    <a:pt x="346" y="388"/>
                  </a:lnTo>
                  <a:lnTo>
                    <a:pt x="345" y="389"/>
                  </a:lnTo>
                  <a:lnTo>
                    <a:pt x="344" y="390"/>
                  </a:lnTo>
                  <a:lnTo>
                    <a:pt x="342" y="392"/>
                  </a:lnTo>
                  <a:lnTo>
                    <a:pt x="340" y="399"/>
                  </a:lnTo>
                  <a:lnTo>
                    <a:pt x="334" y="408"/>
                  </a:lnTo>
                  <a:lnTo>
                    <a:pt x="333" y="411"/>
                  </a:lnTo>
                  <a:lnTo>
                    <a:pt x="332" y="411"/>
                  </a:lnTo>
                  <a:lnTo>
                    <a:pt x="331" y="412"/>
                  </a:lnTo>
                  <a:lnTo>
                    <a:pt x="330" y="414"/>
                  </a:lnTo>
                  <a:lnTo>
                    <a:pt x="328" y="415"/>
                  </a:lnTo>
                  <a:lnTo>
                    <a:pt x="326" y="417"/>
                  </a:lnTo>
                  <a:lnTo>
                    <a:pt x="325" y="417"/>
                  </a:lnTo>
                  <a:lnTo>
                    <a:pt x="324" y="418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19" y="419"/>
                  </a:lnTo>
                  <a:lnTo>
                    <a:pt x="318" y="419"/>
                  </a:lnTo>
                  <a:lnTo>
                    <a:pt x="317" y="419"/>
                  </a:lnTo>
                  <a:lnTo>
                    <a:pt x="316" y="418"/>
                  </a:lnTo>
                  <a:lnTo>
                    <a:pt x="314" y="418"/>
                  </a:lnTo>
                  <a:lnTo>
                    <a:pt x="311" y="416"/>
                  </a:lnTo>
                  <a:lnTo>
                    <a:pt x="304" y="411"/>
                  </a:lnTo>
                  <a:lnTo>
                    <a:pt x="301" y="410"/>
                  </a:lnTo>
                  <a:lnTo>
                    <a:pt x="299" y="409"/>
                  </a:lnTo>
                  <a:lnTo>
                    <a:pt x="297" y="409"/>
                  </a:lnTo>
                  <a:lnTo>
                    <a:pt x="296" y="409"/>
                  </a:lnTo>
                  <a:lnTo>
                    <a:pt x="294" y="409"/>
                  </a:lnTo>
                  <a:lnTo>
                    <a:pt x="292" y="409"/>
                  </a:lnTo>
                  <a:lnTo>
                    <a:pt x="289" y="410"/>
                  </a:lnTo>
                  <a:lnTo>
                    <a:pt x="287" y="411"/>
                  </a:lnTo>
                  <a:lnTo>
                    <a:pt x="285" y="411"/>
                  </a:lnTo>
                  <a:lnTo>
                    <a:pt x="284" y="412"/>
                  </a:lnTo>
                  <a:lnTo>
                    <a:pt x="282" y="413"/>
                  </a:lnTo>
                  <a:lnTo>
                    <a:pt x="279" y="414"/>
                  </a:lnTo>
                  <a:lnTo>
                    <a:pt x="278" y="416"/>
                  </a:lnTo>
                  <a:lnTo>
                    <a:pt x="276" y="417"/>
                  </a:lnTo>
                  <a:lnTo>
                    <a:pt x="273" y="422"/>
                  </a:lnTo>
                  <a:lnTo>
                    <a:pt x="268" y="427"/>
                  </a:lnTo>
                  <a:lnTo>
                    <a:pt x="264" y="431"/>
                  </a:lnTo>
                  <a:lnTo>
                    <a:pt x="262" y="435"/>
                  </a:lnTo>
                  <a:lnTo>
                    <a:pt x="258" y="441"/>
                  </a:lnTo>
                  <a:lnTo>
                    <a:pt x="256" y="443"/>
                  </a:lnTo>
                  <a:lnTo>
                    <a:pt x="254" y="444"/>
                  </a:lnTo>
                  <a:lnTo>
                    <a:pt x="253" y="445"/>
                  </a:lnTo>
                  <a:lnTo>
                    <a:pt x="248" y="448"/>
                  </a:lnTo>
                  <a:lnTo>
                    <a:pt x="246" y="449"/>
                  </a:lnTo>
                  <a:lnTo>
                    <a:pt x="243" y="452"/>
                  </a:lnTo>
                  <a:lnTo>
                    <a:pt x="241" y="454"/>
                  </a:lnTo>
                  <a:lnTo>
                    <a:pt x="239" y="456"/>
                  </a:lnTo>
                  <a:lnTo>
                    <a:pt x="239" y="457"/>
                  </a:lnTo>
                  <a:lnTo>
                    <a:pt x="238" y="459"/>
                  </a:lnTo>
                  <a:lnTo>
                    <a:pt x="236" y="463"/>
                  </a:lnTo>
                  <a:lnTo>
                    <a:pt x="235" y="465"/>
                  </a:lnTo>
                  <a:lnTo>
                    <a:pt x="234" y="466"/>
                  </a:lnTo>
                  <a:lnTo>
                    <a:pt x="233" y="467"/>
                  </a:lnTo>
                  <a:lnTo>
                    <a:pt x="232" y="468"/>
                  </a:lnTo>
                  <a:lnTo>
                    <a:pt x="231" y="468"/>
                  </a:lnTo>
                  <a:lnTo>
                    <a:pt x="229" y="468"/>
                  </a:lnTo>
                  <a:lnTo>
                    <a:pt x="228" y="468"/>
                  </a:lnTo>
                  <a:lnTo>
                    <a:pt x="227" y="468"/>
                  </a:lnTo>
                  <a:lnTo>
                    <a:pt x="226" y="468"/>
                  </a:lnTo>
                  <a:lnTo>
                    <a:pt x="225" y="468"/>
                  </a:lnTo>
                  <a:lnTo>
                    <a:pt x="226" y="468"/>
                  </a:lnTo>
                  <a:lnTo>
                    <a:pt x="225" y="467"/>
                  </a:lnTo>
                  <a:lnTo>
                    <a:pt x="225" y="465"/>
                  </a:lnTo>
                  <a:lnTo>
                    <a:pt x="224" y="464"/>
                  </a:lnTo>
                  <a:lnTo>
                    <a:pt x="221" y="460"/>
                  </a:lnTo>
                  <a:lnTo>
                    <a:pt x="215" y="455"/>
                  </a:lnTo>
                  <a:lnTo>
                    <a:pt x="214" y="454"/>
                  </a:lnTo>
                  <a:lnTo>
                    <a:pt x="212" y="452"/>
                  </a:lnTo>
                  <a:lnTo>
                    <a:pt x="211" y="450"/>
                  </a:lnTo>
                  <a:lnTo>
                    <a:pt x="210" y="448"/>
                  </a:lnTo>
                  <a:lnTo>
                    <a:pt x="210" y="446"/>
                  </a:lnTo>
                  <a:lnTo>
                    <a:pt x="209" y="445"/>
                  </a:lnTo>
                  <a:lnTo>
                    <a:pt x="209" y="443"/>
                  </a:lnTo>
                  <a:lnTo>
                    <a:pt x="210" y="441"/>
                  </a:lnTo>
                  <a:lnTo>
                    <a:pt x="211" y="435"/>
                  </a:lnTo>
                  <a:lnTo>
                    <a:pt x="211" y="433"/>
                  </a:lnTo>
                  <a:lnTo>
                    <a:pt x="212" y="429"/>
                  </a:lnTo>
                  <a:lnTo>
                    <a:pt x="211" y="424"/>
                  </a:lnTo>
                  <a:lnTo>
                    <a:pt x="211" y="422"/>
                  </a:lnTo>
                  <a:lnTo>
                    <a:pt x="210" y="420"/>
                  </a:lnTo>
                  <a:lnTo>
                    <a:pt x="209" y="415"/>
                  </a:lnTo>
                  <a:lnTo>
                    <a:pt x="209" y="412"/>
                  </a:lnTo>
                  <a:lnTo>
                    <a:pt x="208" y="411"/>
                  </a:lnTo>
                  <a:lnTo>
                    <a:pt x="205" y="406"/>
                  </a:lnTo>
                  <a:lnTo>
                    <a:pt x="205" y="404"/>
                  </a:lnTo>
                  <a:lnTo>
                    <a:pt x="205" y="401"/>
                  </a:lnTo>
                  <a:lnTo>
                    <a:pt x="205" y="400"/>
                  </a:lnTo>
                  <a:lnTo>
                    <a:pt x="205" y="396"/>
                  </a:lnTo>
                  <a:lnTo>
                    <a:pt x="205" y="392"/>
                  </a:lnTo>
                  <a:lnTo>
                    <a:pt x="208" y="384"/>
                  </a:lnTo>
                  <a:lnTo>
                    <a:pt x="209" y="378"/>
                  </a:lnTo>
                  <a:lnTo>
                    <a:pt x="210" y="377"/>
                  </a:lnTo>
                  <a:lnTo>
                    <a:pt x="210" y="375"/>
                  </a:lnTo>
                  <a:lnTo>
                    <a:pt x="210" y="373"/>
                  </a:lnTo>
                  <a:lnTo>
                    <a:pt x="210" y="365"/>
                  </a:lnTo>
                  <a:lnTo>
                    <a:pt x="210" y="363"/>
                  </a:lnTo>
                  <a:lnTo>
                    <a:pt x="210" y="360"/>
                  </a:lnTo>
                  <a:lnTo>
                    <a:pt x="210" y="358"/>
                  </a:lnTo>
                  <a:lnTo>
                    <a:pt x="211" y="356"/>
                  </a:lnTo>
                  <a:lnTo>
                    <a:pt x="213" y="349"/>
                  </a:lnTo>
                  <a:lnTo>
                    <a:pt x="214" y="346"/>
                  </a:lnTo>
                  <a:lnTo>
                    <a:pt x="214" y="343"/>
                  </a:lnTo>
                  <a:lnTo>
                    <a:pt x="214" y="339"/>
                  </a:lnTo>
                  <a:lnTo>
                    <a:pt x="214" y="335"/>
                  </a:lnTo>
                  <a:lnTo>
                    <a:pt x="214" y="333"/>
                  </a:lnTo>
                  <a:lnTo>
                    <a:pt x="213" y="331"/>
                  </a:lnTo>
                  <a:lnTo>
                    <a:pt x="211" y="327"/>
                  </a:lnTo>
                  <a:lnTo>
                    <a:pt x="209" y="322"/>
                  </a:lnTo>
                  <a:lnTo>
                    <a:pt x="207" y="320"/>
                  </a:lnTo>
                  <a:lnTo>
                    <a:pt x="205" y="317"/>
                  </a:lnTo>
                  <a:lnTo>
                    <a:pt x="204" y="315"/>
                  </a:lnTo>
                  <a:lnTo>
                    <a:pt x="201" y="312"/>
                  </a:lnTo>
                  <a:lnTo>
                    <a:pt x="199" y="310"/>
                  </a:lnTo>
                  <a:lnTo>
                    <a:pt x="198" y="309"/>
                  </a:lnTo>
                  <a:lnTo>
                    <a:pt x="197" y="309"/>
                  </a:lnTo>
                  <a:lnTo>
                    <a:pt x="195" y="309"/>
                  </a:lnTo>
                  <a:lnTo>
                    <a:pt x="194" y="309"/>
                  </a:lnTo>
                  <a:lnTo>
                    <a:pt x="193" y="309"/>
                  </a:lnTo>
                  <a:lnTo>
                    <a:pt x="192" y="309"/>
                  </a:lnTo>
                  <a:lnTo>
                    <a:pt x="190" y="309"/>
                  </a:lnTo>
                  <a:lnTo>
                    <a:pt x="180" y="310"/>
                  </a:lnTo>
                  <a:lnTo>
                    <a:pt x="178" y="310"/>
                  </a:lnTo>
                  <a:lnTo>
                    <a:pt x="176" y="310"/>
                  </a:lnTo>
                  <a:lnTo>
                    <a:pt x="169" y="310"/>
                  </a:lnTo>
                  <a:lnTo>
                    <a:pt x="164" y="309"/>
                  </a:lnTo>
                  <a:lnTo>
                    <a:pt x="159" y="309"/>
                  </a:lnTo>
                  <a:lnTo>
                    <a:pt x="149" y="308"/>
                  </a:lnTo>
                  <a:lnTo>
                    <a:pt x="146" y="308"/>
                  </a:lnTo>
                  <a:lnTo>
                    <a:pt x="143" y="308"/>
                  </a:lnTo>
                  <a:lnTo>
                    <a:pt x="140" y="308"/>
                  </a:lnTo>
                  <a:lnTo>
                    <a:pt x="138" y="308"/>
                  </a:lnTo>
                  <a:lnTo>
                    <a:pt x="136" y="309"/>
                  </a:lnTo>
                  <a:lnTo>
                    <a:pt x="131" y="309"/>
                  </a:lnTo>
                  <a:lnTo>
                    <a:pt x="128" y="310"/>
                  </a:lnTo>
                  <a:lnTo>
                    <a:pt x="127" y="310"/>
                  </a:lnTo>
                  <a:lnTo>
                    <a:pt x="126" y="310"/>
                  </a:lnTo>
                  <a:lnTo>
                    <a:pt x="125" y="310"/>
                  </a:lnTo>
                  <a:lnTo>
                    <a:pt x="124" y="309"/>
                  </a:lnTo>
                  <a:lnTo>
                    <a:pt x="123" y="309"/>
                  </a:lnTo>
                  <a:lnTo>
                    <a:pt x="121" y="309"/>
                  </a:lnTo>
                  <a:lnTo>
                    <a:pt x="120" y="308"/>
                  </a:lnTo>
                  <a:lnTo>
                    <a:pt x="119" y="307"/>
                  </a:lnTo>
                  <a:lnTo>
                    <a:pt x="118" y="306"/>
                  </a:lnTo>
                  <a:lnTo>
                    <a:pt x="117" y="305"/>
                  </a:lnTo>
                  <a:lnTo>
                    <a:pt x="116" y="304"/>
                  </a:lnTo>
                  <a:lnTo>
                    <a:pt x="115" y="303"/>
                  </a:lnTo>
                  <a:lnTo>
                    <a:pt x="115" y="302"/>
                  </a:lnTo>
                  <a:lnTo>
                    <a:pt x="115" y="300"/>
                  </a:lnTo>
                  <a:lnTo>
                    <a:pt x="115" y="298"/>
                  </a:lnTo>
                  <a:lnTo>
                    <a:pt x="115" y="291"/>
                  </a:lnTo>
                  <a:lnTo>
                    <a:pt x="114" y="289"/>
                  </a:lnTo>
                  <a:lnTo>
                    <a:pt x="114" y="287"/>
                  </a:lnTo>
                  <a:lnTo>
                    <a:pt x="114" y="286"/>
                  </a:lnTo>
                  <a:lnTo>
                    <a:pt x="114" y="285"/>
                  </a:lnTo>
                  <a:lnTo>
                    <a:pt x="113" y="283"/>
                  </a:lnTo>
                  <a:lnTo>
                    <a:pt x="112" y="282"/>
                  </a:lnTo>
                  <a:lnTo>
                    <a:pt x="111" y="281"/>
                  </a:lnTo>
                  <a:lnTo>
                    <a:pt x="109" y="280"/>
                  </a:lnTo>
                  <a:lnTo>
                    <a:pt x="108" y="278"/>
                  </a:lnTo>
                  <a:lnTo>
                    <a:pt x="105" y="277"/>
                  </a:lnTo>
                  <a:lnTo>
                    <a:pt x="98" y="273"/>
                  </a:lnTo>
                  <a:lnTo>
                    <a:pt x="94" y="271"/>
                  </a:lnTo>
                  <a:lnTo>
                    <a:pt x="92" y="271"/>
                  </a:lnTo>
                  <a:lnTo>
                    <a:pt x="91" y="270"/>
                  </a:lnTo>
                  <a:lnTo>
                    <a:pt x="87" y="269"/>
                  </a:lnTo>
                  <a:lnTo>
                    <a:pt x="82" y="268"/>
                  </a:lnTo>
                  <a:lnTo>
                    <a:pt x="79" y="268"/>
                  </a:lnTo>
                  <a:lnTo>
                    <a:pt x="73" y="267"/>
                  </a:lnTo>
                  <a:lnTo>
                    <a:pt x="70" y="267"/>
                  </a:lnTo>
                  <a:lnTo>
                    <a:pt x="65" y="265"/>
                  </a:lnTo>
                  <a:lnTo>
                    <a:pt x="57" y="264"/>
                  </a:lnTo>
                  <a:lnTo>
                    <a:pt x="54" y="263"/>
                  </a:lnTo>
                  <a:lnTo>
                    <a:pt x="50" y="262"/>
                  </a:lnTo>
                  <a:lnTo>
                    <a:pt x="42" y="262"/>
                  </a:lnTo>
                  <a:lnTo>
                    <a:pt x="37" y="261"/>
                  </a:lnTo>
                  <a:lnTo>
                    <a:pt x="32" y="260"/>
                  </a:lnTo>
                  <a:lnTo>
                    <a:pt x="25" y="258"/>
                  </a:lnTo>
                  <a:lnTo>
                    <a:pt x="21" y="257"/>
                  </a:lnTo>
                  <a:lnTo>
                    <a:pt x="18" y="256"/>
                  </a:lnTo>
                  <a:lnTo>
                    <a:pt x="15" y="254"/>
                  </a:lnTo>
                  <a:lnTo>
                    <a:pt x="11" y="253"/>
                  </a:lnTo>
                  <a:lnTo>
                    <a:pt x="1" y="246"/>
                  </a:lnTo>
                  <a:lnTo>
                    <a:pt x="0" y="246"/>
                  </a:lnTo>
                  <a:lnTo>
                    <a:pt x="0" y="245"/>
                  </a:lnTo>
                  <a:lnTo>
                    <a:pt x="0" y="244"/>
                  </a:lnTo>
                  <a:lnTo>
                    <a:pt x="0" y="243"/>
                  </a:lnTo>
                  <a:lnTo>
                    <a:pt x="1" y="242"/>
                  </a:lnTo>
                  <a:lnTo>
                    <a:pt x="3" y="241"/>
                  </a:lnTo>
                  <a:lnTo>
                    <a:pt x="5" y="240"/>
                  </a:lnTo>
                  <a:lnTo>
                    <a:pt x="7" y="239"/>
                  </a:lnTo>
                  <a:lnTo>
                    <a:pt x="17" y="233"/>
                  </a:lnTo>
                  <a:lnTo>
                    <a:pt x="22" y="230"/>
                  </a:lnTo>
                  <a:lnTo>
                    <a:pt x="27" y="227"/>
                  </a:lnTo>
                  <a:lnTo>
                    <a:pt x="29" y="225"/>
                  </a:lnTo>
                  <a:lnTo>
                    <a:pt x="31" y="224"/>
                  </a:lnTo>
                  <a:lnTo>
                    <a:pt x="34" y="219"/>
                  </a:lnTo>
                  <a:lnTo>
                    <a:pt x="46" y="207"/>
                  </a:lnTo>
                  <a:lnTo>
                    <a:pt x="49" y="203"/>
                  </a:lnTo>
                  <a:lnTo>
                    <a:pt x="52" y="199"/>
                  </a:lnTo>
                  <a:lnTo>
                    <a:pt x="54" y="197"/>
                  </a:lnTo>
                  <a:lnTo>
                    <a:pt x="55" y="195"/>
                  </a:lnTo>
                  <a:lnTo>
                    <a:pt x="56" y="192"/>
                  </a:lnTo>
                  <a:lnTo>
                    <a:pt x="57" y="188"/>
                  </a:lnTo>
                  <a:lnTo>
                    <a:pt x="57" y="185"/>
                  </a:lnTo>
                  <a:lnTo>
                    <a:pt x="58" y="172"/>
                  </a:lnTo>
                  <a:lnTo>
                    <a:pt x="59" y="164"/>
                  </a:lnTo>
                  <a:lnTo>
                    <a:pt x="60" y="156"/>
                  </a:lnTo>
                  <a:lnTo>
                    <a:pt x="61" y="152"/>
                  </a:lnTo>
                  <a:lnTo>
                    <a:pt x="62" y="150"/>
                  </a:lnTo>
                  <a:lnTo>
                    <a:pt x="63" y="147"/>
                  </a:lnTo>
                  <a:lnTo>
                    <a:pt x="64" y="143"/>
                  </a:lnTo>
                  <a:lnTo>
                    <a:pt x="65" y="140"/>
                  </a:lnTo>
                  <a:lnTo>
                    <a:pt x="67" y="138"/>
                  </a:lnTo>
                  <a:lnTo>
                    <a:pt x="68" y="135"/>
                  </a:lnTo>
                  <a:lnTo>
                    <a:pt x="68" y="133"/>
                  </a:lnTo>
                  <a:lnTo>
                    <a:pt x="70" y="132"/>
                  </a:lnTo>
                  <a:lnTo>
                    <a:pt x="71" y="130"/>
                  </a:lnTo>
                  <a:lnTo>
                    <a:pt x="73" y="129"/>
                  </a:lnTo>
                  <a:lnTo>
                    <a:pt x="74" y="129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81" y="128"/>
                  </a:lnTo>
                  <a:lnTo>
                    <a:pt x="90" y="130"/>
                  </a:lnTo>
                  <a:lnTo>
                    <a:pt x="95" y="131"/>
                  </a:lnTo>
                  <a:lnTo>
                    <a:pt x="99" y="132"/>
                  </a:lnTo>
                  <a:lnTo>
                    <a:pt x="102" y="132"/>
                  </a:lnTo>
                  <a:lnTo>
                    <a:pt x="105" y="131"/>
                  </a:lnTo>
                  <a:lnTo>
                    <a:pt x="108" y="131"/>
                  </a:lnTo>
                  <a:lnTo>
                    <a:pt x="114" y="130"/>
                  </a:lnTo>
                  <a:lnTo>
                    <a:pt x="118" y="129"/>
                  </a:lnTo>
                  <a:lnTo>
                    <a:pt x="122" y="128"/>
                  </a:lnTo>
                  <a:lnTo>
                    <a:pt x="131" y="125"/>
                  </a:lnTo>
                  <a:lnTo>
                    <a:pt x="134" y="124"/>
                  </a:lnTo>
                  <a:lnTo>
                    <a:pt x="137" y="123"/>
                  </a:lnTo>
                  <a:lnTo>
                    <a:pt x="138" y="123"/>
                  </a:lnTo>
                  <a:lnTo>
                    <a:pt x="140" y="123"/>
                  </a:lnTo>
                  <a:lnTo>
                    <a:pt x="142" y="123"/>
                  </a:lnTo>
                  <a:lnTo>
                    <a:pt x="145" y="124"/>
                  </a:lnTo>
                  <a:lnTo>
                    <a:pt x="147" y="125"/>
                  </a:lnTo>
                  <a:lnTo>
                    <a:pt x="152" y="127"/>
                  </a:lnTo>
                  <a:lnTo>
                    <a:pt x="156" y="128"/>
                  </a:lnTo>
                  <a:lnTo>
                    <a:pt x="159" y="128"/>
                  </a:lnTo>
                  <a:lnTo>
                    <a:pt x="164" y="129"/>
                  </a:lnTo>
                  <a:lnTo>
                    <a:pt x="171" y="130"/>
                  </a:lnTo>
                  <a:lnTo>
                    <a:pt x="176" y="131"/>
                  </a:lnTo>
                  <a:lnTo>
                    <a:pt x="178" y="131"/>
                  </a:lnTo>
                  <a:lnTo>
                    <a:pt x="180" y="130"/>
                  </a:lnTo>
                  <a:lnTo>
                    <a:pt x="182" y="130"/>
                  </a:lnTo>
                  <a:lnTo>
                    <a:pt x="183" y="130"/>
                  </a:lnTo>
                  <a:lnTo>
                    <a:pt x="185" y="129"/>
                  </a:lnTo>
                  <a:lnTo>
                    <a:pt x="186" y="129"/>
                  </a:lnTo>
                  <a:lnTo>
                    <a:pt x="187" y="128"/>
                  </a:lnTo>
                  <a:lnTo>
                    <a:pt x="189" y="128"/>
                  </a:lnTo>
                  <a:lnTo>
                    <a:pt x="190" y="127"/>
                  </a:lnTo>
                  <a:lnTo>
                    <a:pt x="191" y="125"/>
                  </a:lnTo>
                  <a:lnTo>
                    <a:pt x="193" y="123"/>
                  </a:lnTo>
                  <a:lnTo>
                    <a:pt x="198" y="115"/>
                  </a:lnTo>
                  <a:lnTo>
                    <a:pt x="200" y="112"/>
                  </a:lnTo>
                  <a:lnTo>
                    <a:pt x="201" y="109"/>
                  </a:lnTo>
                  <a:lnTo>
                    <a:pt x="207" y="97"/>
                  </a:lnTo>
                  <a:lnTo>
                    <a:pt x="209" y="94"/>
                  </a:lnTo>
                  <a:lnTo>
                    <a:pt x="211" y="89"/>
                  </a:lnTo>
                  <a:lnTo>
                    <a:pt x="213" y="83"/>
                  </a:lnTo>
                  <a:lnTo>
                    <a:pt x="214" y="81"/>
                  </a:lnTo>
                  <a:lnTo>
                    <a:pt x="215" y="78"/>
                  </a:lnTo>
                  <a:lnTo>
                    <a:pt x="215" y="76"/>
                  </a:lnTo>
                  <a:lnTo>
                    <a:pt x="216" y="69"/>
                  </a:lnTo>
                  <a:lnTo>
                    <a:pt x="216" y="66"/>
                  </a:lnTo>
                  <a:lnTo>
                    <a:pt x="217" y="63"/>
                  </a:lnTo>
                  <a:lnTo>
                    <a:pt x="218" y="60"/>
                  </a:lnTo>
                  <a:lnTo>
                    <a:pt x="221" y="54"/>
                  </a:lnTo>
                  <a:lnTo>
                    <a:pt x="223" y="49"/>
                  </a:lnTo>
                  <a:lnTo>
                    <a:pt x="225" y="46"/>
                  </a:lnTo>
                  <a:lnTo>
                    <a:pt x="226" y="44"/>
                  </a:lnTo>
                  <a:lnTo>
                    <a:pt x="227" y="42"/>
                  </a:lnTo>
                  <a:lnTo>
                    <a:pt x="228" y="40"/>
                  </a:lnTo>
                  <a:lnTo>
                    <a:pt x="230" y="38"/>
                  </a:lnTo>
                  <a:lnTo>
                    <a:pt x="232" y="37"/>
                  </a:lnTo>
                  <a:lnTo>
                    <a:pt x="234" y="35"/>
                  </a:lnTo>
                  <a:lnTo>
                    <a:pt x="236" y="34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40" y="32"/>
                  </a:lnTo>
                  <a:lnTo>
                    <a:pt x="243" y="32"/>
                  </a:lnTo>
                  <a:lnTo>
                    <a:pt x="245" y="32"/>
                  </a:lnTo>
                  <a:lnTo>
                    <a:pt x="247" y="33"/>
                  </a:lnTo>
                  <a:lnTo>
                    <a:pt x="250" y="33"/>
                  </a:lnTo>
                  <a:lnTo>
                    <a:pt x="251" y="34"/>
                  </a:lnTo>
                  <a:lnTo>
                    <a:pt x="253" y="35"/>
                  </a:lnTo>
                  <a:lnTo>
                    <a:pt x="255" y="36"/>
                  </a:lnTo>
                  <a:lnTo>
                    <a:pt x="257" y="37"/>
                  </a:lnTo>
                  <a:lnTo>
                    <a:pt x="262" y="40"/>
                  </a:lnTo>
                  <a:lnTo>
                    <a:pt x="264" y="42"/>
                  </a:lnTo>
                  <a:lnTo>
                    <a:pt x="266" y="43"/>
                  </a:lnTo>
                  <a:lnTo>
                    <a:pt x="268" y="44"/>
                  </a:lnTo>
                  <a:lnTo>
                    <a:pt x="270" y="44"/>
                  </a:lnTo>
                  <a:lnTo>
                    <a:pt x="272" y="44"/>
                  </a:lnTo>
                  <a:lnTo>
                    <a:pt x="273" y="44"/>
                  </a:lnTo>
                  <a:lnTo>
                    <a:pt x="274" y="44"/>
                  </a:lnTo>
                  <a:lnTo>
                    <a:pt x="276" y="44"/>
                  </a:lnTo>
                  <a:lnTo>
                    <a:pt x="278" y="44"/>
                  </a:lnTo>
                  <a:lnTo>
                    <a:pt x="279" y="43"/>
                  </a:lnTo>
                  <a:lnTo>
                    <a:pt x="281" y="43"/>
                  </a:lnTo>
                  <a:lnTo>
                    <a:pt x="283" y="42"/>
                  </a:lnTo>
                  <a:lnTo>
                    <a:pt x="284" y="40"/>
                  </a:lnTo>
                  <a:lnTo>
                    <a:pt x="285" y="39"/>
                  </a:lnTo>
                  <a:lnTo>
                    <a:pt x="286" y="37"/>
                  </a:lnTo>
                  <a:lnTo>
                    <a:pt x="287" y="37"/>
                  </a:lnTo>
                  <a:lnTo>
                    <a:pt x="288" y="35"/>
                  </a:lnTo>
                  <a:lnTo>
                    <a:pt x="291" y="26"/>
                  </a:lnTo>
                  <a:lnTo>
                    <a:pt x="292" y="24"/>
                  </a:lnTo>
                  <a:lnTo>
                    <a:pt x="293" y="22"/>
                  </a:lnTo>
                  <a:lnTo>
                    <a:pt x="295" y="19"/>
                  </a:lnTo>
                  <a:lnTo>
                    <a:pt x="296" y="17"/>
                  </a:lnTo>
                  <a:lnTo>
                    <a:pt x="297" y="15"/>
                  </a:lnTo>
                  <a:lnTo>
                    <a:pt x="299" y="14"/>
                  </a:lnTo>
                  <a:lnTo>
                    <a:pt x="301" y="13"/>
                  </a:lnTo>
                  <a:lnTo>
                    <a:pt x="304" y="10"/>
                  </a:lnTo>
                  <a:lnTo>
                    <a:pt x="307" y="7"/>
                  </a:lnTo>
                  <a:lnTo>
                    <a:pt x="310" y="4"/>
                  </a:lnTo>
                  <a:lnTo>
                    <a:pt x="318" y="1"/>
                  </a:lnTo>
                  <a:lnTo>
                    <a:pt x="318" y="0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4" name="Freeform 37">
              <a:extLst>
                <a:ext uri="{FF2B5EF4-FFF2-40B4-BE49-F238E27FC236}">
                  <a16:creationId xmlns:a16="http://schemas.microsoft.com/office/drawing/2014/main" id="{95BB3120-237D-40EB-8F5B-E0A887E25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6" y="1437"/>
              <a:ext cx="466" cy="399"/>
            </a:xfrm>
            <a:custGeom>
              <a:avLst/>
              <a:gdLst>
                <a:gd name="T0" fmla="*/ 284 w 466"/>
                <a:gd name="T1" fmla="*/ 7 h 399"/>
                <a:gd name="T2" fmla="*/ 305 w 466"/>
                <a:gd name="T3" fmla="*/ 15 h 399"/>
                <a:gd name="T4" fmla="*/ 327 w 466"/>
                <a:gd name="T5" fmla="*/ 15 h 399"/>
                <a:gd name="T6" fmla="*/ 345 w 466"/>
                <a:gd name="T7" fmla="*/ 25 h 399"/>
                <a:gd name="T8" fmla="*/ 363 w 466"/>
                <a:gd name="T9" fmla="*/ 16 h 399"/>
                <a:gd name="T10" fmla="*/ 368 w 466"/>
                <a:gd name="T11" fmla="*/ 13 h 399"/>
                <a:gd name="T12" fmla="*/ 377 w 466"/>
                <a:gd name="T13" fmla="*/ 48 h 399"/>
                <a:gd name="T14" fmla="*/ 401 w 466"/>
                <a:gd name="T15" fmla="*/ 92 h 399"/>
                <a:gd name="T16" fmla="*/ 419 w 466"/>
                <a:gd name="T17" fmla="*/ 133 h 399"/>
                <a:gd name="T18" fmla="*/ 445 w 466"/>
                <a:gd name="T19" fmla="*/ 166 h 399"/>
                <a:gd name="T20" fmla="*/ 465 w 466"/>
                <a:gd name="T21" fmla="*/ 188 h 399"/>
                <a:gd name="T22" fmla="*/ 459 w 466"/>
                <a:gd name="T23" fmla="*/ 188 h 399"/>
                <a:gd name="T24" fmla="*/ 451 w 466"/>
                <a:gd name="T25" fmla="*/ 195 h 399"/>
                <a:gd name="T26" fmla="*/ 453 w 466"/>
                <a:gd name="T27" fmla="*/ 228 h 399"/>
                <a:gd name="T28" fmla="*/ 451 w 466"/>
                <a:gd name="T29" fmla="*/ 250 h 399"/>
                <a:gd name="T30" fmla="*/ 434 w 466"/>
                <a:gd name="T31" fmla="*/ 258 h 399"/>
                <a:gd name="T32" fmla="*/ 413 w 466"/>
                <a:gd name="T33" fmla="*/ 279 h 399"/>
                <a:gd name="T34" fmla="*/ 406 w 466"/>
                <a:gd name="T35" fmla="*/ 285 h 399"/>
                <a:gd name="T36" fmla="*/ 382 w 466"/>
                <a:gd name="T37" fmla="*/ 279 h 399"/>
                <a:gd name="T38" fmla="*/ 376 w 466"/>
                <a:gd name="T39" fmla="*/ 285 h 399"/>
                <a:gd name="T40" fmla="*/ 378 w 466"/>
                <a:gd name="T41" fmla="*/ 310 h 399"/>
                <a:gd name="T42" fmla="*/ 381 w 466"/>
                <a:gd name="T43" fmla="*/ 339 h 399"/>
                <a:gd name="T44" fmla="*/ 374 w 466"/>
                <a:gd name="T45" fmla="*/ 365 h 399"/>
                <a:gd name="T46" fmla="*/ 364 w 466"/>
                <a:gd name="T47" fmla="*/ 372 h 399"/>
                <a:gd name="T48" fmla="*/ 326 w 466"/>
                <a:gd name="T49" fmla="*/ 371 h 399"/>
                <a:gd name="T50" fmla="*/ 301 w 466"/>
                <a:gd name="T51" fmla="*/ 377 h 399"/>
                <a:gd name="T52" fmla="*/ 286 w 466"/>
                <a:gd name="T53" fmla="*/ 399 h 399"/>
                <a:gd name="T54" fmla="*/ 254 w 466"/>
                <a:gd name="T55" fmla="*/ 387 h 399"/>
                <a:gd name="T56" fmla="*/ 237 w 466"/>
                <a:gd name="T57" fmla="*/ 383 h 399"/>
                <a:gd name="T58" fmla="*/ 209 w 466"/>
                <a:gd name="T59" fmla="*/ 393 h 399"/>
                <a:gd name="T60" fmla="*/ 154 w 466"/>
                <a:gd name="T61" fmla="*/ 387 h 399"/>
                <a:gd name="T62" fmla="*/ 126 w 466"/>
                <a:gd name="T63" fmla="*/ 365 h 399"/>
                <a:gd name="T64" fmla="*/ 108 w 466"/>
                <a:gd name="T65" fmla="*/ 349 h 399"/>
                <a:gd name="T66" fmla="*/ 74 w 466"/>
                <a:gd name="T67" fmla="*/ 334 h 399"/>
                <a:gd name="T68" fmla="*/ 68 w 466"/>
                <a:gd name="T69" fmla="*/ 322 h 399"/>
                <a:gd name="T70" fmla="*/ 75 w 466"/>
                <a:gd name="T71" fmla="*/ 295 h 399"/>
                <a:gd name="T72" fmla="*/ 69 w 466"/>
                <a:gd name="T73" fmla="*/ 279 h 399"/>
                <a:gd name="T74" fmla="*/ 53 w 466"/>
                <a:gd name="T75" fmla="*/ 274 h 399"/>
                <a:gd name="T76" fmla="*/ 29 w 466"/>
                <a:gd name="T77" fmla="*/ 277 h 399"/>
                <a:gd name="T78" fmla="*/ 17 w 466"/>
                <a:gd name="T79" fmla="*/ 270 h 399"/>
                <a:gd name="T80" fmla="*/ 8 w 466"/>
                <a:gd name="T81" fmla="*/ 251 h 399"/>
                <a:gd name="T82" fmla="*/ 5 w 466"/>
                <a:gd name="T83" fmla="*/ 210 h 399"/>
                <a:gd name="T84" fmla="*/ 5 w 466"/>
                <a:gd name="T85" fmla="*/ 198 h 399"/>
                <a:gd name="T86" fmla="*/ 0 w 466"/>
                <a:gd name="T87" fmla="*/ 198 h 399"/>
                <a:gd name="T88" fmla="*/ 13 w 466"/>
                <a:gd name="T89" fmla="*/ 191 h 399"/>
                <a:gd name="T90" fmla="*/ 16 w 466"/>
                <a:gd name="T91" fmla="*/ 177 h 399"/>
                <a:gd name="T92" fmla="*/ 24 w 466"/>
                <a:gd name="T93" fmla="*/ 156 h 399"/>
                <a:gd name="T94" fmla="*/ 29 w 466"/>
                <a:gd name="T95" fmla="*/ 128 h 399"/>
                <a:gd name="T96" fmla="*/ 49 w 466"/>
                <a:gd name="T97" fmla="*/ 122 h 399"/>
                <a:gd name="T98" fmla="*/ 92 w 466"/>
                <a:gd name="T99" fmla="*/ 102 h 399"/>
                <a:gd name="T100" fmla="*/ 111 w 466"/>
                <a:gd name="T101" fmla="*/ 97 h 399"/>
                <a:gd name="T102" fmla="*/ 147 w 466"/>
                <a:gd name="T103" fmla="*/ 94 h 399"/>
                <a:gd name="T104" fmla="*/ 172 w 466"/>
                <a:gd name="T105" fmla="*/ 92 h 399"/>
                <a:gd name="T106" fmla="*/ 189 w 466"/>
                <a:gd name="T107" fmla="*/ 93 h 399"/>
                <a:gd name="T108" fmla="*/ 212 w 466"/>
                <a:gd name="T109" fmla="*/ 75 h 399"/>
                <a:gd name="T110" fmla="*/ 230 w 466"/>
                <a:gd name="T111" fmla="*/ 67 h 399"/>
                <a:gd name="T112" fmla="*/ 244 w 466"/>
                <a:gd name="T113" fmla="*/ 51 h 399"/>
                <a:gd name="T114" fmla="*/ 262 w 466"/>
                <a:gd name="T115" fmla="*/ 47 h 399"/>
                <a:gd name="T116" fmla="*/ 274 w 466"/>
                <a:gd name="T117" fmla="*/ 25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6" h="399">
                  <a:moveTo>
                    <a:pt x="278" y="1"/>
                  </a:moveTo>
                  <a:lnTo>
                    <a:pt x="278" y="1"/>
                  </a:lnTo>
                  <a:lnTo>
                    <a:pt x="279" y="2"/>
                  </a:lnTo>
                  <a:lnTo>
                    <a:pt x="279" y="2"/>
                  </a:lnTo>
                  <a:lnTo>
                    <a:pt x="281" y="3"/>
                  </a:lnTo>
                  <a:lnTo>
                    <a:pt x="282" y="4"/>
                  </a:lnTo>
                  <a:lnTo>
                    <a:pt x="282" y="5"/>
                  </a:lnTo>
                  <a:lnTo>
                    <a:pt x="284" y="7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86" y="9"/>
                  </a:lnTo>
                  <a:lnTo>
                    <a:pt x="288" y="10"/>
                  </a:lnTo>
                  <a:lnTo>
                    <a:pt x="290" y="11"/>
                  </a:lnTo>
                  <a:lnTo>
                    <a:pt x="298" y="13"/>
                  </a:lnTo>
                  <a:lnTo>
                    <a:pt x="303" y="14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09" y="15"/>
                  </a:lnTo>
                  <a:lnTo>
                    <a:pt x="314" y="15"/>
                  </a:lnTo>
                  <a:lnTo>
                    <a:pt x="318" y="14"/>
                  </a:lnTo>
                  <a:lnTo>
                    <a:pt x="321" y="14"/>
                  </a:lnTo>
                  <a:lnTo>
                    <a:pt x="323" y="14"/>
                  </a:lnTo>
                  <a:lnTo>
                    <a:pt x="324" y="15"/>
                  </a:lnTo>
                  <a:lnTo>
                    <a:pt x="327" y="15"/>
                  </a:lnTo>
                  <a:lnTo>
                    <a:pt x="329" y="16"/>
                  </a:lnTo>
                  <a:lnTo>
                    <a:pt x="331" y="16"/>
                  </a:lnTo>
                  <a:lnTo>
                    <a:pt x="334" y="18"/>
                  </a:lnTo>
                  <a:lnTo>
                    <a:pt x="336" y="19"/>
                  </a:lnTo>
                  <a:lnTo>
                    <a:pt x="339" y="22"/>
                  </a:lnTo>
                  <a:lnTo>
                    <a:pt x="341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6" y="25"/>
                  </a:lnTo>
                  <a:lnTo>
                    <a:pt x="347" y="24"/>
                  </a:lnTo>
                  <a:lnTo>
                    <a:pt x="349" y="24"/>
                  </a:lnTo>
                  <a:lnTo>
                    <a:pt x="356" y="21"/>
                  </a:lnTo>
                  <a:lnTo>
                    <a:pt x="358" y="20"/>
                  </a:lnTo>
                  <a:lnTo>
                    <a:pt x="360" y="19"/>
                  </a:lnTo>
                  <a:lnTo>
                    <a:pt x="362" y="17"/>
                  </a:lnTo>
                  <a:lnTo>
                    <a:pt x="363" y="16"/>
                  </a:lnTo>
                  <a:lnTo>
                    <a:pt x="364" y="15"/>
                  </a:lnTo>
                  <a:lnTo>
                    <a:pt x="365" y="13"/>
                  </a:lnTo>
                  <a:lnTo>
                    <a:pt x="366" y="13"/>
                  </a:lnTo>
                  <a:lnTo>
                    <a:pt x="366" y="12"/>
                  </a:lnTo>
                  <a:lnTo>
                    <a:pt x="366" y="12"/>
                  </a:lnTo>
                  <a:lnTo>
                    <a:pt x="367" y="12"/>
                  </a:lnTo>
                  <a:lnTo>
                    <a:pt x="367" y="12"/>
                  </a:lnTo>
                  <a:lnTo>
                    <a:pt x="368" y="13"/>
                  </a:lnTo>
                  <a:lnTo>
                    <a:pt x="369" y="14"/>
                  </a:lnTo>
                  <a:lnTo>
                    <a:pt x="370" y="17"/>
                  </a:lnTo>
                  <a:lnTo>
                    <a:pt x="371" y="22"/>
                  </a:lnTo>
                  <a:lnTo>
                    <a:pt x="372" y="27"/>
                  </a:lnTo>
                  <a:lnTo>
                    <a:pt x="373" y="32"/>
                  </a:lnTo>
                  <a:lnTo>
                    <a:pt x="375" y="40"/>
                  </a:lnTo>
                  <a:lnTo>
                    <a:pt x="376" y="44"/>
                  </a:lnTo>
                  <a:lnTo>
                    <a:pt x="377" y="48"/>
                  </a:lnTo>
                  <a:lnTo>
                    <a:pt x="381" y="55"/>
                  </a:lnTo>
                  <a:lnTo>
                    <a:pt x="384" y="64"/>
                  </a:lnTo>
                  <a:lnTo>
                    <a:pt x="390" y="74"/>
                  </a:lnTo>
                  <a:lnTo>
                    <a:pt x="391" y="78"/>
                  </a:lnTo>
                  <a:lnTo>
                    <a:pt x="393" y="81"/>
                  </a:lnTo>
                  <a:lnTo>
                    <a:pt x="396" y="85"/>
                  </a:lnTo>
                  <a:lnTo>
                    <a:pt x="397" y="88"/>
                  </a:lnTo>
                  <a:lnTo>
                    <a:pt x="401" y="92"/>
                  </a:lnTo>
                  <a:lnTo>
                    <a:pt x="403" y="94"/>
                  </a:lnTo>
                  <a:lnTo>
                    <a:pt x="404" y="98"/>
                  </a:lnTo>
                  <a:lnTo>
                    <a:pt x="407" y="104"/>
                  </a:lnTo>
                  <a:lnTo>
                    <a:pt x="409" y="107"/>
                  </a:lnTo>
                  <a:lnTo>
                    <a:pt x="411" y="111"/>
                  </a:lnTo>
                  <a:lnTo>
                    <a:pt x="416" y="127"/>
                  </a:lnTo>
                  <a:lnTo>
                    <a:pt x="418" y="129"/>
                  </a:lnTo>
                  <a:lnTo>
                    <a:pt x="419" y="133"/>
                  </a:lnTo>
                  <a:lnTo>
                    <a:pt x="426" y="144"/>
                  </a:lnTo>
                  <a:lnTo>
                    <a:pt x="431" y="154"/>
                  </a:lnTo>
                  <a:lnTo>
                    <a:pt x="432" y="155"/>
                  </a:lnTo>
                  <a:lnTo>
                    <a:pt x="433" y="157"/>
                  </a:lnTo>
                  <a:lnTo>
                    <a:pt x="435" y="160"/>
                  </a:lnTo>
                  <a:lnTo>
                    <a:pt x="437" y="161"/>
                  </a:lnTo>
                  <a:lnTo>
                    <a:pt x="438" y="162"/>
                  </a:lnTo>
                  <a:lnTo>
                    <a:pt x="445" y="166"/>
                  </a:lnTo>
                  <a:lnTo>
                    <a:pt x="449" y="169"/>
                  </a:lnTo>
                  <a:lnTo>
                    <a:pt x="452" y="172"/>
                  </a:lnTo>
                  <a:lnTo>
                    <a:pt x="455" y="174"/>
                  </a:lnTo>
                  <a:lnTo>
                    <a:pt x="457" y="176"/>
                  </a:lnTo>
                  <a:lnTo>
                    <a:pt x="459" y="178"/>
                  </a:lnTo>
                  <a:lnTo>
                    <a:pt x="461" y="183"/>
                  </a:lnTo>
                  <a:lnTo>
                    <a:pt x="463" y="185"/>
                  </a:lnTo>
                  <a:lnTo>
                    <a:pt x="465" y="188"/>
                  </a:lnTo>
                  <a:lnTo>
                    <a:pt x="466" y="191"/>
                  </a:lnTo>
                  <a:lnTo>
                    <a:pt x="466" y="191"/>
                  </a:lnTo>
                  <a:lnTo>
                    <a:pt x="466" y="192"/>
                  </a:lnTo>
                  <a:lnTo>
                    <a:pt x="465" y="191"/>
                  </a:lnTo>
                  <a:lnTo>
                    <a:pt x="464" y="190"/>
                  </a:lnTo>
                  <a:lnTo>
                    <a:pt x="463" y="190"/>
                  </a:lnTo>
                  <a:lnTo>
                    <a:pt x="461" y="189"/>
                  </a:lnTo>
                  <a:lnTo>
                    <a:pt x="459" y="188"/>
                  </a:lnTo>
                  <a:lnTo>
                    <a:pt x="458" y="188"/>
                  </a:lnTo>
                  <a:lnTo>
                    <a:pt x="457" y="187"/>
                  </a:lnTo>
                  <a:lnTo>
                    <a:pt x="456" y="186"/>
                  </a:lnTo>
                  <a:lnTo>
                    <a:pt x="455" y="186"/>
                  </a:lnTo>
                  <a:lnTo>
                    <a:pt x="454" y="186"/>
                  </a:lnTo>
                  <a:lnTo>
                    <a:pt x="454" y="188"/>
                  </a:lnTo>
                  <a:lnTo>
                    <a:pt x="453" y="190"/>
                  </a:lnTo>
                  <a:lnTo>
                    <a:pt x="451" y="195"/>
                  </a:lnTo>
                  <a:lnTo>
                    <a:pt x="451" y="197"/>
                  </a:lnTo>
                  <a:lnTo>
                    <a:pt x="450" y="200"/>
                  </a:lnTo>
                  <a:lnTo>
                    <a:pt x="450" y="203"/>
                  </a:lnTo>
                  <a:lnTo>
                    <a:pt x="450" y="206"/>
                  </a:lnTo>
                  <a:lnTo>
                    <a:pt x="450" y="210"/>
                  </a:lnTo>
                  <a:lnTo>
                    <a:pt x="451" y="216"/>
                  </a:lnTo>
                  <a:lnTo>
                    <a:pt x="453" y="225"/>
                  </a:lnTo>
                  <a:lnTo>
                    <a:pt x="453" y="228"/>
                  </a:lnTo>
                  <a:lnTo>
                    <a:pt x="454" y="231"/>
                  </a:lnTo>
                  <a:lnTo>
                    <a:pt x="454" y="238"/>
                  </a:lnTo>
                  <a:lnTo>
                    <a:pt x="454" y="241"/>
                  </a:lnTo>
                  <a:lnTo>
                    <a:pt x="453" y="243"/>
                  </a:lnTo>
                  <a:lnTo>
                    <a:pt x="453" y="245"/>
                  </a:lnTo>
                  <a:lnTo>
                    <a:pt x="453" y="247"/>
                  </a:lnTo>
                  <a:lnTo>
                    <a:pt x="452" y="249"/>
                  </a:lnTo>
                  <a:lnTo>
                    <a:pt x="451" y="250"/>
                  </a:lnTo>
                  <a:lnTo>
                    <a:pt x="450" y="251"/>
                  </a:lnTo>
                  <a:lnTo>
                    <a:pt x="449" y="251"/>
                  </a:lnTo>
                  <a:lnTo>
                    <a:pt x="449" y="252"/>
                  </a:lnTo>
                  <a:lnTo>
                    <a:pt x="448" y="253"/>
                  </a:lnTo>
                  <a:lnTo>
                    <a:pt x="446" y="253"/>
                  </a:lnTo>
                  <a:lnTo>
                    <a:pt x="444" y="254"/>
                  </a:lnTo>
                  <a:lnTo>
                    <a:pt x="439" y="255"/>
                  </a:lnTo>
                  <a:lnTo>
                    <a:pt x="434" y="258"/>
                  </a:lnTo>
                  <a:lnTo>
                    <a:pt x="426" y="259"/>
                  </a:lnTo>
                  <a:lnTo>
                    <a:pt x="424" y="260"/>
                  </a:lnTo>
                  <a:lnTo>
                    <a:pt x="423" y="261"/>
                  </a:lnTo>
                  <a:lnTo>
                    <a:pt x="421" y="263"/>
                  </a:lnTo>
                  <a:lnTo>
                    <a:pt x="420" y="263"/>
                  </a:lnTo>
                  <a:lnTo>
                    <a:pt x="416" y="271"/>
                  </a:lnTo>
                  <a:lnTo>
                    <a:pt x="414" y="277"/>
                  </a:lnTo>
                  <a:lnTo>
                    <a:pt x="413" y="279"/>
                  </a:lnTo>
                  <a:lnTo>
                    <a:pt x="413" y="282"/>
                  </a:lnTo>
                  <a:lnTo>
                    <a:pt x="412" y="283"/>
                  </a:lnTo>
                  <a:lnTo>
                    <a:pt x="412" y="283"/>
                  </a:lnTo>
                  <a:lnTo>
                    <a:pt x="411" y="284"/>
                  </a:lnTo>
                  <a:lnTo>
                    <a:pt x="411" y="285"/>
                  </a:lnTo>
                  <a:lnTo>
                    <a:pt x="410" y="285"/>
                  </a:lnTo>
                  <a:lnTo>
                    <a:pt x="408" y="285"/>
                  </a:lnTo>
                  <a:lnTo>
                    <a:pt x="406" y="285"/>
                  </a:lnTo>
                  <a:lnTo>
                    <a:pt x="404" y="285"/>
                  </a:lnTo>
                  <a:lnTo>
                    <a:pt x="403" y="285"/>
                  </a:lnTo>
                  <a:lnTo>
                    <a:pt x="400" y="284"/>
                  </a:lnTo>
                  <a:lnTo>
                    <a:pt x="397" y="284"/>
                  </a:lnTo>
                  <a:lnTo>
                    <a:pt x="388" y="280"/>
                  </a:lnTo>
                  <a:lnTo>
                    <a:pt x="385" y="279"/>
                  </a:lnTo>
                  <a:lnTo>
                    <a:pt x="384" y="279"/>
                  </a:lnTo>
                  <a:lnTo>
                    <a:pt x="382" y="279"/>
                  </a:lnTo>
                  <a:lnTo>
                    <a:pt x="381" y="279"/>
                  </a:lnTo>
                  <a:lnTo>
                    <a:pt x="381" y="280"/>
                  </a:lnTo>
                  <a:lnTo>
                    <a:pt x="379" y="280"/>
                  </a:lnTo>
                  <a:lnTo>
                    <a:pt x="379" y="280"/>
                  </a:lnTo>
                  <a:lnTo>
                    <a:pt x="377" y="281"/>
                  </a:lnTo>
                  <a:lnTo>
                    <a:pt x="377" y="282"/>
                  </a:lnTo>
                  <a:lnTo>
                    <a:pt x="376" y="283"/>
                  </a:lnTo>
                  <a:lnTo>
                    <a:pt x="376" y="285"/>
                  </a:lnTo>
                  <a:lnTo>
                    <a:pt x="376" y="286"/>
                  </a:lnTo>
                  <a:lnTo>
                    <a:pt x="376" y="292"/>
                  </a:lnTo>
                  <a:lnTo>
                    <a:pt x="377" y="297"/>
                  </a:lnTo>
                  <a:lnTo>
                    <a:pt x="377" y="299"/>
                  </a:lnTo>
                  <a:lnTo>
                    <a:pt x="377" y="302"/>
                  </a:lnTo>
                  <a:lnTo>
                    <a:pt x="377" y="306"/>
                  </a:lnTo>
                  <a:lnTo>
                    <a:pt x="377" y="308"/>
                  </a:lnTo>
                  <a:lnTo>
                    <a:pt x="378" y="310"/>
                  </a:lnTo>
                  <a:lnTo>
                    <a:pt x="378" y="313"/>
                  </a:lnTo>
                  <a:lnTo>
                    <a:pt x="380" y="319"/>
                  </a:lnTo>
                  <a:lnTo>
                    <a:pt x="381" y="322"/>
                  </a:lnTo>
                  <a:lnTo>
                    <a:pt x="381" y="325"/>
                  </a:lnTo>
                  <a:lnTo>
                    <a:pt x="381" y="327"/>
                  </a:lnTo>
                  <a:lnTo>
                    <a:pt x="381" y="332"/>
                  </a:lnTo>
                  <a:lnTo>
                    <a:pt x="381" y="335"/>
                  </a:lnTo>
                  <a:lnTo>
                    <a:pt x="381" y="339"/>
                  </a:lnTo>
                  <a:lnTo>
                    <a:pt x="380" y="341"/>
                  </a:lnTo>
                  <a:lnTo>
                    <a:pt x="379" y="344"/>
                  </a:lnTo>
                  <a:lnTo>
                    <a:pt x="379" y="347"/>
                  </a:lnTo>
                  <a:lnTo>
                    <a:pt x="377" y="356"/>
                  </a:lnTo>
                  <a:lnTo>
                    <a:pt x="377" y="359"/>
                  </a:lnTo>
                  <a:lnTo>
                    <a:pt x="376" y="361"/>
                  </a:lnTo>
                  <a:lnTo>
                    <a:pt x="375" y="364"/>
                  </a:lnTo>
                  <a:lnTo>
                    <a:pt x="374" y="365"/>
                  </a:lnTo>
                  <a:lnTo>
                    <a:pt x="373" y="367"/>
                  </a:lnTo>
                  <a:lnTo>
                    <a:pt x="371" y="369"/>
                  </a:lnTo>
                  <a:lnTo>
                    <a:pt x="370" y="369"/>
                  </a:lnTo>
                  <a:lnTo>
                    <a:pt x="370" y="370"/>
                  </a:lnTo>
                  <a:lnTo>
                    <a:pt x="369" y="370"/>
                  </a:lnTo>
                  <a:lnTo>
                    <a:pt x="367" y="371"/>
                  </a:lnTo>
                  <a:lnTo>
                    <a:pt x="366" y="371"/>
                  </a:lnTo>
                  <a:lnTo>
                    <a:pt x="364" y="372"/>
                  </a:lnTo>
                  <a:lnTo>
                    <a:pt x="362" y="372"/>
                  </a:lnTo>
                  <a:lnTo>
                    <a:pt x="361" y="371"/>
                  </a:lnTo>
                  <a:lnTo>
                    <a:pt x="353" y="369"/>
                  </a:lnTo>
                  <a:lnTo>
                    <a:pt x="350" y="369"/>
                  </a:lnTo>
                  <a:lnTo>
                    <a:pt x="347" y="369"/>
                  </a:lnTo>
                  <a:lnTo>
                    <a:pt x="344" y="369"/>
                  </a:lnTo>
                  <a:lnTo>
                    <a:pt x="334" y="370"/>
                  </a:lnTo>
                  <a:lnTo>
                    <a:pt x="326" y="371"/>
                  </a:lnTo>
                  <a:lnTo>
                    <a:pt x="318" y="372"/>
                  </a:lnTo>
                  <a:lnTo>
                    <a:pt x="313" y="373"/>
                  </a:lnTo>
                  <a:lnTo>
                    <a:pt x="310" y="373"/>
                  </a:lnTo>
                  <a:lnTo>
                    <a:pt x="308" y="374"/>
                  </a:lnTo>
                  <a:lnTo>
                    <a:pt x="307" y="374"/>
                  </a:lnTo>
                  <a:lnTo>
                    <a:pt x="305" y="375"/>
                  </a:lnTo>
                  <a:lnTo>
                    <a:pt x="302" y="376"/>
                  </a:lnTo>
                  <a:lnTo>
                    <a:pt x="301" y="377"/>
                  </a:lnTo>
                  <a:lnTo>
                    <a:pt x="300" y="379"/>
                  </a:lnTo>
                  <a:lnTo>
                    <a:pt x="297" y="382"/>
                  </a:lnTo>
                  <a:lnTo>
                    <a:pt x="293" y="386"/>
                  </a:lnTo>
                  <a:lnTo>
                    <a:pt x="290" y="391"/>
                  </a:lnTo>
                  <a:lnTo>
                    <a:pt x="289" y="393"/>
                  </a:lnTo>
                  <a:lnTo>
                    <a:pt x="287" y="396"/>
                  </a:lnTo>
                  <a:lnTo>
                    <a:pt x="286" y="398"/>
                  </a:lnTo>
                  <a:lnTo>
                    <a:pt x="286" y="399"/>
                  </a:lnTo>
                  <a:lnTo>
                    <a:pt x="283" y="397"/>
                  </a:lnTo>
                  <a:lnTo>
                    <a:pt x="279" y="394"/>
                  </a:lnTo>
                  <a:lnTo>
                    <a:pt x="274" y="392"/>
                  </a:lnTo>
                  <a:lnTo>
                    <a:pt x="268" y="390"/>
                  </a:lnTo>
                  <a:lnTo>
                    <a:pt x="266" y="389"/>
                  </a:lnTo>
                  <a:lnTo>
                    <a:pt x="262" y="388"/>
                  </a:lnTo>
                  <a:lnTo>
                    <a:pt x="259" y="387"/>
                  </a:lnTo>
                  <a:lnTo>
                    <a:pt x="254" y="387"/>
                  </a:lnTo>
                  <a:lnTo>
                    <a:pt x="251" y="387"/>
                  </a:lnTo>
                  <a:lnTo>
                    <a:pt x="249" y="387"/>
                  </a:lnTo>
                  <a:lnTo>
                    <a:pt x="247" y="386"/>
                  </a:lnTo>
                  <a:lnTo>
                    <a:pt x="244" y="383"/>
                  </a:lnTo>
                  <a:lnTo>
                    <a:pt x="243" y="383"/>
                  </a:lnTo>
                  <a:lnTo>
                    <a:pt x="241" y="383"/>
                  </a:lnTo>
                  <a:lnTo>
                    <a:pt x="239" y="383"/>
                  </a:lnTo>
                  <a:lnTo>
                    <a:pt x="237" y="383"/>
                  </a:lnTo>
                  <a:lnTo>
                    <a:pt x="236" y="384"/>
                  </a:lnTo>
                  <a:lnTo>
                    <a:pt x="233" y="387"/>
                  </a:lnTo>
                  <a:lnTo>
                    <a:pt x="231" y="387"/>
                  </a:lnTo>
                  <a:lnTo>
                    <a:pt x="228" y="389"/>
                  </a:lnTo>
                  <a:lnTo>
                    <a:pt x="222" y="390"/>
                  </a:lnTo>
                  <a:lnTo>
                    <a:pt x="219" y="391"/>
                  </a:lnTo>
                  <a:lnTo>
                    <a:pt x="214" y="392"/>
                  </a:lnTo>
                  <a:lnTo>
                    <a:pt x="209" y="393"/>
                  </a:lnTo>
                  <a:lnTo>
                    <a:pt x="204" y="393"/>
                  </a:lnTo>
                  <a:lnTo>
                    <a:pt x="197" y="393"/>
                  </a:lnTo>
                  <a:lnTo>
                    <a:pt x="191" y="392"/>
                  </a:lnTo>
                  <a:lnTo>
                    <a:pt x="179" y="391"/>
                  </a:lnTo>
                  <a:lnTo>
                    <a:pt x="168" y="390"/>
                  </a:lnTo>
                  <a:lnTo>
                    <a:pt x="163" y="389"/>
                  </a:lnTo>
                  <a:lnTo>
                    <a:pt x="158" y="388"/>
                  </a:lnTo>
                  <a:lnTo>
                    <a:pt x="154" y="387"/>
                  </a:lnTo>
                  <a:lnTo>
                    <a:pt x="150" y="387"/>
                  </a:lnTo>
                  <a:lnTo>
                    <a:pt x="140" y="383"/>
                  </a:lnTo>
                  <a:lnTo>
                    <a:pt x="138" y="382"/>
                  </a:lnTo>
                  <a:lnTo>
                    <a:pt x="136" y="382"/>
                  </a:lnTo>
                  <a:lnTo>
                    <a:pt x="134" y="379"/>
                  </a:lnTo>
                  <a:lnTo>
                    <a:pt x="132" y="376"/>
                  </a:lnTo>
                  <a:lnTo>
                    <a:pt x="131" y="373"/>
                  </a:lnTo>
                  <a:lnTo>
                    <a:pt x="126" y="365"/>
                  </a:lnTo>
                  <a:lnTo>
                    <a:pt x="123" y="360"/>
                  </a:lnTo>
                  <a:lnTo>
                    <a:pt x="121" y="358"/>
                  </a:lnTo>
                  <a:lnTo>
                    <a:pt x="120" y="356"/>
                  </a:lnTo>
                  <a:lnTo>
                    <a:pt x="118" y="354"/>
                  </a:lnTo>
                  <a:lnTo>
                    <a:pt x="116" y="353"/>
                  </a:lnTo>
                  <a:lnTo>
                    <a:pt x="114" y="351"/>
                  </a:lnTo>
                  <a:lnTo>
                    <a:pt x="110" y="350"/>
                  </a:lnTo>
                  <a:lnTo>
                    <a:pt x="108" y="349"/>
                  </a:lnTo>
                  <a:lnTo>
                    <a:pt x="102" y="347"/>
                  </a:lnTo>
                  <a:lnTo>
                    <a:pt x="99" y="346"/>
                  </a:lnTo>
                  <a:lnTo>
                    <a:pt x="97" y="345"/>
                  </a:lnTo>
                  <a:lnTo>
                    <a:pt x="92" y="343"/>
                  </a:lnTo>
                  <a:lnTo>
                    <a:pt x="85" y="340"/>
                  </a:lnTo>
                  <a:lnTo>
                    <a:pt x="80" y="338"/>
                  </a:lnTo>
                  <a:lnTo>
                    <a:pt x="76" y="336"/>
                  </a:lnTo>
                  <a:lnTo>
                    <a:pt x="74" y="334"/>
                  </a:lnTo>
                  <a:lnTo>
                    <a:pt x="70" y="331"/>
                  </a:lnTo>
                  <a:lnTo>
                    <a:pt x="69" y="331"/>
                  </a:lnTo>
                  <a:lnTo>
                    <a:pt x="69" y="330"/>
                  </a:lnTo>
                  <a:lnTo>
                    <a:pt x="68" y="328"/>
                  </a:lnTo>
                  <a:lnTo>
                    <a:pt x="68" y="327"/>
                  </a:lnTo>
                  <a:lnTo>
                    <a:pt x="67" y="326"/>
                  </a:lnTo>
                  <a:lnTo>
                    <a:pt x="68" y="324"/>
                  </a:lnTo>
                  <a:lnTo>
                    <a:pt x="68" y="322"/>
                  </a:lnTo>
                  <a:lnTo>
                    <a:pt x="70" y="318"/>
                  </a:lnTo>
                  <a:lnTo>
                    <a:pt x="72" y="311"/>
                  </a:lnTo>
                  <a:lnTo>
                    <a:pt x="74" y="306"/>
                  </a:lnTo>
                  <a:lnTo>
                    <a:pt x="74" y="303"/>
                  </a:lnTo>
                  <a:lnTo>
                    <a:pt x="74" y="301"/>
                  </a:lnTo>
                  <a:lnTo>
                    <a:pt x="74" y="299"/>
                  </a:lnTo>
                  <a:lnTo>
                    <a:pt x="75" y="297"/>
                  </a:lnTo>
                  <a:lnTo>
                    <a:pt x="75" y="295"/>
                  </a:lnTo>
                  <a:lnTo>
                    <a:pt x="75" y="293"/>
                  </a:lnTo>
                  <a:lnTo>
                    <a:pt x="74" y="290"/>
                  </a:lnTo>
                  <a:lnTo>
                    <a:pt x="74" y="288"/>
                  </a:lnTo>
                  <a:lnTo>
                    <a:pt x="74" y="285"/>
                  </a:lnTo>
                  <a:lnTo>
                    <a:pt x="73" y="284"/>
                  </a:lnTo>
                  <a:lnTo>
                    <a:pt x="72" y="282"/>
                  </a:lnTo>
                  <a:lnTo>
                    <a:pt x="71" y="281"/>
                  </a:lnTo>
                  <a:lnTo>
                    <a:pt x="69" y="279"/>
                  </a:lnTo>
                  <a:lnTo>
                    <a:pt x="67" y="277"/>
                  </a:lnTo>
                  <a:lnTo>
                    <a:pt x="65" y="276"/>
                  </a:lnTo>
                  <a:lnTo>
                    <a:pt x="64" y="275"/>
                  </a:lnTo>
                  <a:lnTo>
                    <a:pt x="63" y="274"/>
                  </a:lnTo>
                  <a:lnTo>
                    <a:pt x="61" y="274"/>
                  </a:lnTo>
                  <a:lnTo>
                    <a:pt x="59" y="274"/>
                  </a:lnTo>
                  <a:lnTo>
                    <a:pt x="56" y="274"/>
                  </a:lnTo>
                  <a:lnTo>
                    <a:pt x="53" y="274"/>
                  </a:lnTo>
                  <a:lnTo>
                    <a:pt x="47" y="274"/>
                  </a:lnTo>
                  <a:lnTo>
                    <a:pt x="44" y="274"/>
                  </a:lnTo>
                  <a:lnTo>
                    <a:pt x="42" y="274"/>
                  </a:lnTo>
                  <a:lnTo>
                    <a:pt x="40" y="274"/>
                  </a:lnTo>
                  <a:lnTo>
                    <a:pt x="39" y="274"/>
                  </a:lnTo>
                  <a:lnTo>
                    <a:pt x="32" y="276"/>
                  </a:lnTo>
                  <a:lnTo>
                    <a:pt x="30" y="276"/>
                  </a:lnTo>
                  <a:lnTo>
                    <a:pt x="29" y="277"/>
                  </a:lnTo>
                  <a:lnTo>
                    <a:pt x="26" y="276"/>
                  </a:lnTo>
                  <a:lnTo>
                    <a:pt x="25" y="276"/>
                  </a:lnTo>
                  <a:lnTo>
                    <a:pt x="23" y="275"/>
                  </a:lnTo>
                  <a:lnTo>
                    <a:pt x="22" y="275"/>
                  </a:lnTo>
                  <a:lnTo>
                    <a:pt x="20" y="274"/>
                  </a:lnTo>
                  <a:lnTo>
                    <a:pt x="19" y="273"/>
                  </a:lnTo>
                  <a:lnTo>
                    <a:pt x="17" y="272"/>
                  </a:lnTo>
                  <a:lnTo>
                    <a:pt x="17" y="270"/>
                  </a:lnTo>
                  <a:lnTo>
                    <a:pt x="15" y="268"/>
                  </a:lnTo>
                  <a:lnTo>
                    <a:pt x="13" y="265"/>
                  </a:lnTo>
                  <a:lnTo>
                    <a:pt x="11" y="261"/>
                  </a:lnTo>
                  <a:lnTo>
                    <a:pt x="9" y="257"/>
                  </a:lnTo>
                  <a:lnTo>
                    <a:pt x="9" y="256"/>
                  </a:lnTo>
                  <a:lnTo>
                    <a:pt x="8" y="254"/>
                  </a:lnTo>
                  <a:lnTo>
                    <a:pt x="8" y="252"/>
                  </a:lnTo>
                  <a:lnTo>
                    <a:pt x="8" y="251"/>
                  </a:lnTo>
                  <a:lnTo>
                    <a:pt x="9" y="242"/>
                  </a:lnTo>
                  <a:lnTo>
                    <a:pt x="9" y="240"/>
                  </a:lnTo>
                  <a:lnTo>
                    <a:pt x="9" y="236"/>
                  </a:lnTo>
                  <a:lnTo>
                    <a:pt x="7" y="229"/>
                  </a:lnTo>
                  <a:lnTo>
                    <a:pt x="6" y="224"/>
                  </a:lnTo>
                  <a:lnTo>
                    <a:pt x="6" y="219"/>
                  </a:lnTo>
                  <a:lnTo>
                    <a:pt x="5" y="213"/>
                  </a:lnTo>
                  <a:lnTo>
                    <a:pt x="5" y="210"/>
                  </a:lnTo>
                  <a:lnTo>
                    <a:pt x="5" y="207"/>
                  </a:lnTo>
                  <a:lnTo>
                    <a:pt x="5" y="206"/>
                  </a:lnTo>
                  <a:lnTo>
                    <a:pt x="5" y="201"/>
                  </a:lnTo>
                  <a:lnTo>
                    <a:pt x="6" y="198"/>
                  </a:lnTo>
                  <a:lnTo>
                    <a:pt x="6" y="198"/>
                  </a:lnTo>
                  <a:lnTo>
                    <a:pt x="6" y="198"/>
                  </a:lnTo>
                  <a:lnTo>
                    <a:pt x="6" y="198"/>
                  </a:lnTo>
                  <a:lnTo>
                    <a:pt x="5" y="198"/>
                  </a:lnTo>
                  <a:lnTo>
                    <a:pt x="5" y="198"/>
                  </a:lnTo>
                  <a:lnTo>
                    <a:pt x="4" y="200"/>
                  </a:lnTo>
                  <a:lnTo>
                    <a:pt x="4" y="201"/>
                  </a:lnTo>
                  <a:lnTo>
                    <a:pt x="4" y="201"/>
                  </a:lnTo>
                  <a:lnTo>
                    <a:pt x="3" y="201"/>
                  </a:lnTo>
                  <a:lnTo>
                    <a:pt x="2" y="200"/>
                  </a:lnTo>
                  <a:lnTo>
                    <a:pt x="1" y="200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1" y="197"/>
                  </a:lnTo>
                  <a:lnTo>
                    <a:pt x="3" y="196"/>
                  </a:lnTo>
                  <a:lnTo>
                    <a:pt x="6" y="195"/>
                  </a:lnTo>
                  <a:lnTo>
                    <a:pt x="9" y="194"/>
                  </a:lnTo>
                  <a:lnTo>
                    <a:pt x="10" y="193"/>
                  </a:lnTo>
                  <a:lnTo>
                    <a:pt x="12" y="192"/>
                  </a:lnTo>
                  <a:lnTo>
                    <a:pt x="13" y="191"/>
                  </a:lnTo>
                  <a:lnTo>
                    <a:pt x="13" y="190"/>
                  </a:lnTo>
                  <a:lnTo>
                    <a:pt x="14" y="189"/>
                  </a:lnTo>
                  <a:lnTo>
                    <a:pt x="14" y="186"/>
                  </a:lnTo>
                  <a:lnTo>
                    <a:pt x="15" y="184"/>
                  </a:lnTo>
                  <a:lnTo>
                    <a:pt x="15" y="180"/>
                  </a:lnTo>
                  <a:lnTo>
                    <a:pt x="15" y="178"/>
                  </a:lnTo>
                  <a:lnTo>
                    <a:pt x="16" y="177"/>
                  </a:lnTo>
                  <a:lnTo>
                    <a:pt x="16" y="177"/>
                  </a:lnTo>
                  <a:lnTo>
                    <a:pt x="18" y="174"/>
                  </a:lnTo>
                  <a:lnTo>
                    <a:pt x="19" y="173"/>
                  </a:lnTo>
                  <a:lnTo>
                    <a:pt x="20" y="172"/>
                  </a:lnTo>
                  <a:lnTo>
                    <a:pt x="21" y="170"/>
                  </a:lnTo>
                  <a:lnTo>
                    <a:pt x="23" y="166"/>
                  </a:lnTo>
                  <a:lnTo>
                    <a:pt x="24" y="162"/>
                  </a:lnTo>
                  <a:lnTo>
                    <a:pt x="24" y="161"/>
                  </a:lnTo>
                  <a:lnTo>
                    <a:pt x="24" y="156"/>
                  </a:lnTo>
                  <a:lnTo>
                    <a:pt x="25" y="149"/>
                  </a:lnTo>
                  <a:lnTo>
                    <a:pt x="25" y="146"/>
                  </a:lnTo>
                  <a:lnTo>
                    <a:pt x="26" y="141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29" y="133"/>
                  </a:lnTo>
                  <a:lnTo>
                    <a:pt x="29" y="130"/>
                  </a:lnTo>
                  <a:lnTo>
                    <a:pt x="29" y="128"/>
                  </a:lnTo>
                  <a:lnTo>
                    <a:pt x="29" y="127"/>
                  </a:lnTo>
                  <a:lnTo>
                    <a:pt x="29" y="127"/>
                  </a:lnTo>
                  <a:lnTo>
                    <a:pt x="30" y="127"/>
                  </a:lnTo>
                  <a:lnTo>
                    <a:pt x="31" y="126"/>
                  </a:lnTo>
                  <a:lnTo>
                    <a:pt x="33" y="126"/>
                  </a:lnTo>
                  <a:lnTo>
                    <a:pt x="37" y="125"/>
                  </a:lnTo>
                  <a:lnTo>
                    <a:pt x="40" y="124"/>
                  </a:lnTo>
                  <a:lnTo>
                    <a:pt x="49" y="122"/>
                  </a:lnTo>
                  <a:lnTo>
                    <a:pt x="53" y="120"/>
                  </a:lnTo>
                  <a:lnTo>
                    <a:pt x="62" y="116"/>
                  </a:lnTo>
                  <a:lnTo>
                    <a:pt x="72" y="112"/>
                  </a:lnTo>
                  <a:lnTo>
                    <a:pt x="80" y="107"/>
                  </a:lnTo>
                  <a:lnTo>
                    <a:pt x="89" y="104"/>
                  </a:lnTo>
                  <a:lnTo>
                    <a:pt x="91" y="103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3" y="103"/>
                  </a:lnTo>
                  <a:lnTo>
                    <a:pt x="94" y="103"/>
                  </a:lnTo>
                  <a:lnTo>
                    <a:pt x="96" y="103"/>
                  </a:lnTo>
                  <a:lnTo>
                    <a:pt x="97" y="103"/>
                  </a:lnTo>
                  <a:lnTo>
                    <a:pt x="99" y="102"/>
                  </a:lnTo>
                  <a:lnTo>
                    <a:pt x="106" y="99"/>
                  </a:lnTo>
                  <a:lnTo>
                    <a:pt x="111" y="97"/>
                  </a:lnTo>
                  <a:lnTo>
                    <a:pt x="117" y="95"/>
                  </a:lnTo>
                  <a:lnTo>
                    <a:pt x="119" y="95"/>
                  </a:lnTo>
                  <a:lnTo>
                    <a:pt x="121" y="95"/>
                  </a:lnTo>
                  <a:lnTo>
                    <a:pt x="129" y="94"/>
                  </a:lnTo>
                  <a:lnTo>
                    <a:pt x="137" y="93"/>
                  </a:lnTo>
                  <a:lnTo>
                    <a:pt x="140" y="93"/>
                  </a:lnTo>
                  <a:lnTo>
                    <a:pt x="142" y="93"/>
                  </a:lnTo>
                  <a:lnTo>
                    <a:pt x="147" y="94"/>
                  </a:lnTo>
                  <a:lnTo>
                    <a:pt x="149" y="94"/>
                  </a:lnTo>
                  <a:lnTo>
                    <a:pt x="154" y="95"/>
                  </a:lnTo>
                  <a:lnTo>
                    <a:pt x="155" y="94"/>
                  </a:lnTo>
                  <a:lnTo>
                    <a:pt x="158" y="94"/>
                  </a:lnTo>
                  <a:lnTo>
                    <a:pt x="163" y="93"/>
                  </a:lnTo>
                  <a:lnTo>
                    <a:pt x="165" y="93"/>
                  </a:lnTo>
                  <a:lnTo>
                    <a:pt x="170" y="92"/>
                  </a:lnTo>
                  <a:lnTo>
                    <a:pt x="172" y="92"/>
                  </a:lnTo>
                  <a:lnTo>
                    <a:pt x="174" y="92"/>
                  </a:lnTo>
                  <a:lnTo>
                    <a:pt x="175" y="91"/>
                  </a:lnTo>
                  <a:lnTo>
                    <a:pt x="177" y="91"/>
                  </a:lnTo>
                  <a:lnTo>
                    <a:pt x="179" y="92"/>
                  </a:lnTo>
                  <a:lnTo>
                    <a:pt x="186" y="93"/>
                  </a:lnTo>
                  <a:lnTo>
                    <a:pt x="188" y="93"/>
                  </a:lnTo>
                  <a:lnTo>
                    <a:pt x="188" y="93"/>
                  </a:lnTo>
                  <a:lnTo>
                    <a:pt x="189" y="93"/>
                  </a:lnTo>
                  <a:lnTo>
                    <a:pt x="190" y="93"/>
                  </a:lnTo>
                  <a:lnTo>
                    <a:pt x="191" y="93"/>
                  </a:lnTo>
                  <a:lnTo>
                    <a:pt x="194" y="91"/>
                  </a:lnTo>
                  <a:lnTo>
                    <a:pt x="201" y="84"/>
                  </a:lnTo>
                  <a:lnTo>
                    <a:pt x="205" y="81"/>
                  </a:lnTo>
                  <a:lnTo>
                    <a:pt x="210" y="77"/>
                  </a:lnTo>
                  <a:lnTo>
                    <a:pt x="211" y="76"/>
                  </a:lnTo>
                  <a:lnTo>
                    <a:pt x="212" y="75"/>
                  </a:lnTo>
                  <a:lnTo>
                    <a:pt x="214" y="74"/>
                  </a:lnTo>
                  <a:lnTo>
                    <a:pt x="217" y="73"/>
                  </a:lnTo>
                  <a:lnTo>
                    <a:pt x="219" y="72"/>
                  </a:lnTo>
                  <a:lnTo>
                    <a:pt x="223" y="71"/>
                  </a:lnTo>
                  <a:lnTo>
                    <a:pt x="225" y="70"/>
                  </a:lnTo>
                  <a:lnTo>
                    <a:pt x="227" y="70"/>
                  </a:lnTo>
                  <a:lnTo>
                    <a:pt x="228" y="69"/>
                  </a:lnTo>
                  <a:lnTo>
                    <a:pt x="230" y="67"/>
                  </a:lnTo>
                  <a:lnTo>
                    <a:pt x="232" y="65"/>
                  </a:lnTo>
                  <a:lnTo>
                    <a:pt x="233" y="62"/>
                  </a:lnTo>
                  <a:lnTo>
                    <a:pt x="237" y="57"/>
                  </a:lnTo>
                  <a:lnTo>
                    <a:pt x="238" y="55"/>
                  </a:lnTo>
                  <a:lnTo>
                    <a:pt x="239" y="53"/>
                  </a:lnTo>
                  <a:lnTo>
                    <a:pt x="241" y="52"/>
                  </a:lnTo>
                  <a:lnTo>
                    <a:pt x="243" y="51"/>
                  </a:lnTo>
                  <a:lnTo>
                    <a:pt x="244" y="51"/>
                  </a:lnTo>
                  <a:lnTo>
                    <a:pt x="245" y="51"/>
                  </a:lnTo>
                  <a:lnTo>
                    <a:pt x="246" y="51"/>
                  </a:lnTo>
                  <a:lnTo>
                    <a:pt x="250" y="51"/>
                  </a:lnTo>
                  <a:lnTo>
                    <a:pt x="252" y="51"/>
                  </a:lnTo>
                  <a:lnTo>
                    <a:pt x="254" y="51"/>
                  </a:lnTo>
                  <a:lnTo>
                    <a:pt x="256" y="51"/>
                  </a:lnTo>
                  <a:lnTo>
                    <a:pt x="258" y="49"/>
                  </a:lnTo>
                  <a:lnTo>
                    <a:pt x="262" y="47"/>
                  </a:lnTo>
                  <a:lnTo>
                    <a:pt x="266" y="45"/>
                  </a:lnTo>
                  <a:lnTo>
                    <a:pt x="268" y="43"/>
                  </a:lnTo>
                  <a:lnTo>
                    <a:pt x="269" y="41"/>
                  </a:lnTo>
                  <a:lnTo>
                    <a:pt x="270" y="39"/>
                  </a:lnTo>
                  <a:lnTo>
                    <a:pt x="271" y="38"/>
                  </a:lnTo>
                  <a:lnTo>
                    <a:pt x="272" y="36"/>
                  </a:lnTo>
                  <a:lnTo>
                    <a:pt x="273" y="32"/>
                  </a:lnTo>
                  <a:lnTo>
                    <a:pt x="274" y="25"/>
                  </a:lnTo>
                  <a:lnTo>
                    <a:pt x="275" y="19"/>
                  </a:lnTo>
                  <a:lnTo>
                    <a:pt x="276" y="11"/>
                  </a:lnTo>
                  <a:lnTo>
                    <a:pt x="277" y="2"/>
                  </a:lnTo>
                  <a:lnTo>
                    <a:pt x="277" y="1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8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5" name="Freeform 38">
              <a:extLst>
                <a:ext uri="{FF2B5EF4-FFF2-40B4-BE49-F238E27FC236}">
                  <a16:creationId xmlns:a16="http://schemas.microsoft.com/office/drawing/2014/main" id="{E5146B64-8EDE-4644-8BF6-41482CBC2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9" y="1635"/>
              <a:ext cx="623" cy="484"/>
            </a:xfrm>
            <a:custGeom>
              <a:avLst/>
              <a:gdLst>
                <a:gd name="T0" fmla="*/ 492 w 623"/>
                <a:gd name="T1" fmla="*/ 15 h 484"/>
                <a:gd name="T2" fmla="*/ 498 w 623"/>
                <a:gd name="T3" fmla="*/ 63 h 484"/>
                <a:gd name="T4" fmla="*/ 517 w 623"/>
                <a:gd name="T5" fmla="*/ 78 h 484"/>
                <a:gd name="T6" fmla="*/ 551 w 623"/>
                <a:gd name="T7" fmla="*/ 77 h 484"/>
                <a:gd name="T8" fmla="*/ 562 w 623"/>
                <a:gd name="T9" fmla="*/ 99 h 484"/>
                <a:gd name="T10" fmla="*/ 556 w 623"/>
                <a:gd name="T11" fmla="*/ 132 h 484"/>
                <a:gd name="T12" fmla="*/ 597 w 623"/>
                <a:gd name="T13" fmla="*/ 152 h 484"/>
                <a:gd name="T14" fmla="*/ 618 w 623"/>
                <a:gd name="T15" fmla="*/ 182 h 484"/>
                <a:gd name="T16" fmla="*/ 604 w 623"/>
                <a:gd name="T17" fmla="*/ 182 h 484"/>
                <a:gd name="T18" fmla="*/ 583 w 623"/>
                <a:gd name="T19" fmla="*/ 188 h 484"/>
                <a:gd name="T20" fmla="*/ 574 w 623"/>
                <a:gd name="T21" fmla="*/ 212 h 484"/>
                <a:gd name="T22" fmla="*/ 559 w 623"/>
                <a:gd name="T23" fmla="*/ 227 h 484"/>
                <a:gd name="T24" fmla="*/ 538 w 623"/>
                <a:gd name="T25" fmla="*/ 249 h 484"/>
                <a:gd name="T26" fmla="*/ 501 w 623"/>
                <a:gd name="T27" fmla="*/ 267 h 484"/>
                <a:gd name="T28" fmla="*/ 479 w 623"/>
                <a:gd name="T29" fmla="*/ 295 h 484"/>
                <a:gd name="T30" fmla="*/ 459 w 623"/>
                <a:gd name="T31" fmla="*/ 298 h 484"/>
                <a:gd name="T32" fmla="*/ 448 w 623"/>
                <a:gd name="T33" fmla="*/ 279 h 484"/>
                <a:gd name="T34" fmla="*/ 418 w 623"/>
                <a:gd name="T35" fmla="*/ 296 h 484"/>
                <a:gd name="T36" fmla="*/ 386 w 623"/>
                <a:gd name="T37" fmla="*/ 316 h 484"/>
                <a:gd name="T38" fmla="*/ 338 w 623"/>
                <a:gd name="T39" fmla="*/ 314 h 484"/>
                <a:gd name="T40" fmla="*/ 319 w 623"/>
                <a:gd name="T41" fmla="*/ 315 h 484"/>
                <a:gd name="T42" fmla="*/ 275 w 623"/>
                <a:gd name="T43" fmla="*/ 354 h 484"/>
                <a:gd name="T44" fmla="*/ 232 w 623"/>
                <a:gd name="T45" fmla="*/ 360 h 484"/>
                <a:gd name="T46" fmla="*/ 196 w 623"/>
                <a:gd name="T47" fmla="*/ 390 h 484"/>
                <a:gd name="T48" fmla="*/ 190 w 623"/>
                <a:gd name="T49" fmla="*/ 422 h 484"/>
                <a:gd name="T50" fmla="*/ 175 w 623"/>
                <a:gd name="T51" fmla="*/ 440 h 484"/>
                <a:gd name="T52" fmla="*/ 152 w 623"/>
                <a:gd name="T53" fmla="*/ 454 h 484"/>
                <a:gd name="T54" fmla="*/ 128 w 623"/>
                <a:gd name="T55" fmla="*/ 473 h 484"/>
                <a:gd name="T56" fmla="*/ 105 w 623"/>
                <a:gd name="T57" fmla="*/ 484 h 484"/>
                <a:gd name="T58" fmla="*/ 87 w 623"/>
                <a:gd name="T59" fmla="*/ 458 h 484"/>
                <a:gd name="T60" fmla="*/ 70 w 623"/>
                <a:gd name="T61" fmla="*/ 470 h 484"/>
                <a:gd name="T62" fmla="*/ 63 w 623"/>
                <a:gd name="T63" fmla="*/ 458 h 484"/>
                <a:gd name="T64" fmla="*/ 44 w 623"/>
                <a:gd name="T65" fmla="*/ 450 h 484"/>
                <a:gd name="T66" fmla="*/ 9 w 623"/>
                <a:gd name="T67" fmla="*/ 426 h 484"/>
                <a:gd name="T68" fmla="*/ 4 w 623"/>
                <a:gd name="T69" fmla="*/ 412 h 484"/>
                <a:gd name="T70" fmla="*/ 28 w 623"/>
                <a:gd name="T71" fmla="*/ 410 h 484"/>
                <a:gd name="T72" fmla="*/ 33 w 623"/>
                <a:gd name="T73" fmla="*/ 388 h 484"/>
                <a:gd name="T74" fmla="*/ 23 w 623"/>
                <a:gd name="T75" fmla="*/ 345 h 484"/>
                <a:gd name="T76" fmla="*/ 13 w 623"/>
                <a:gd name="T77" fmla="*/ 314 h 484"/>
                <a:gd name="T78" fmla="*/ 26 w 623"/>
                <a:gd name="T79" fmla="*/ 305 h 484"/>
                <a:gd name="T80" fmla="*/ 52 w 623"/>
                <a:gd name="T81" fmla="*/ 277 h 484"/>
                <a:gd name="T82" fmla="*/ 82 w 623"/>
                <a:gd name="T83" fmla="*/ 255 h 484"/>
                <a:gd name="T84" fmla="*/ 109 w 623"/>
                <a:gd name="T85" fmla="*/ 265 h 484"/>
                <a:gd name="T86" fmla="*/ 130 w 623"/>
                <a:gd name="T87" fmla="*/ 238 h 484"/>
                <a:gd name="T88" fmla="*/ 150 w 623"/>
                <a:gd name="T89" fmla="*/ 214 h 484"/>
                <a:gd name="T90" fmla="*/ 162 w 623"/>
                <a:gd name="T91" fmla="*/ 186 h 484"/>
                <a:gd name="T92" fmla="*/ 159 w 623"/>
                <a:gd name="T93" fmla="*/ 155 h 484"/>
                <a:gd name="T94" fmla="*/ 189 w 623"/>
                <a:gd name="T95" fmla="*/ 144 h 484"/>
                <a:gd name="T96" fmla="*/ 209 w 623"/>
                <a:gd name="T97" fmla="*/ 128 h 484"/>
                <a:gd name="T98" fmla="*/ 243 w 623"/>
                <a:gd name="T99" fmla="*/ 132 h 484"/>
                <a:gd name="T100" fmla="*/ 240 w 623"/>
                <a:gd name="T101" fmla="*/ 110 h 484"/>
                <a:gd name="T102" fmla="*/ 256 w 623"/>
                <a:gd name="T103" fmla="*/ 78 h 484"/>
                <a:gd name="T104" fmla="*/ 292 w 623"/>
                <a:gd name="T105" fmla="*/ 87 h 484"/>
                <a:gd name="T106" fmla="*/ 343 w 623"/>
                <a:gd name="T107" fmla="*/ 83 h 484"/>
                <a:gd name="T108" fmla="*/ 396 w 623"/>
                <a:gd name="T109" fmla="*/ 86 h 484"/>
                <a:gd name="T110" fmla="*/ 425 w 623"/>
                <a:gd name="T111" fmla="*/ 67 h 484"/>
                <a:gd name="T112" fmla="*/ 420 w 623"/>
                <a:gd name="T113" fmla="*/ 32 h 484"/>
                <a:gd name="T114" fmla="*/ 447 w 623"/>
                <a:gd name="T115" fmla="*/ 30 h 484"/>
                <a:gd name="T116" fmla="*/ 465 w 623"/>
                <a:gd name="T117" fmla="*/ 18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3" h="484">
                  <a:moveTo>
                    <a:pt x="488" y="2"/>
                  </a:moveTo>
                  <a:lnTo>
                    <a:pt x="489" y="2"/>
                  </a:lnTo>
                  <a:lnTo>
                    <a:pt x="490" y="3"/>
                  </a:lnTo>
                  <a:lnTo>
                    <a:pt x="491" y="3"/>
                  </a:lnTo>
                  <a:lnTo>
                    <a:pt x="491" y="2"/>
                  </a:lnTo>
                  <a:lnTo>
                    <a:pt x="492" y="0"/>
                  </a:lnTo>
                  <a:lnTo>
                    <a:pt x="493" y="0"/>
                  </a:lnTo>
                  <a:lnTo>
                    <a:pt x="492" y="3"/>
                  </a:lnTo>
                  <a:lnTo>
                    <a:pt x="492" y="8"/>
                  </a:lnTo>
                  <a:lnTo>
                    <a:pt x="492" y="9"/>
                  </a:lnTo>
                  <a:lnTo>
                    <a:pt x="492" y="12"/>
                  </a:lnTo>
                  <a:lnTo>
                    <a:pt x="492" y="15"/>
                  </a:lnTo>
                  <a:lnTo>
                    <a:pt x="493" y="21"/>
                  </a:lnTo>
                  <a:lnTo>
                    <a:pt x="493" y="26"/>
                  </a:lnTo>
                  <a:lnTo>
                    <a:pt x="494" y="31"/>
                  </a:lnTo>
                  <a:lnTo>
                    <a:pt x="496" y="38"/>
                  </a:lnTo>
                  <a:lnTo>
                    <a:pt x="496" y="42"/>
                  </a:lnTo>
                  <a:lnTo>
                    <a:pt x="496" y="44"/>
                  </a:lnTo>
                  <a:lnTo>
                    <a:pt x="495" y="53"/>
                  </a:lnTo>
                  <a:lnTo>
                    <a:pt x="495" y="54"/>
                  </a:lnTo>
                  <a:lnTo>
                    <a:pt x="495" y="56"/>
                  </a:lnTo>
                  <a:lnTo>
                    <a:pt x="496" y="58"/>
                  </a:lnTo>
                  <a:lnTo>
                    <a:pt x="496" y="59"/>
                  </a:lnTo>
                  <a:lnTo>
                    <a:pt x="498" y="63"/>
                  </a:lnTo>
                  <a:lnTo>
                    <a:pt x="500" y="67"/>
                  </a:lnTo>
                  <a:lnTo>
                    <a:pt x="502" y="70"/>
                  </a:lnTo>
                  <a:lnTo>
                    <a:pt x="504" y="72"/>
                  </a:lnTo>
                  <a:lnTo>
                    <a:pt x="504" y="74"/>
                  </a:lnTo>
                  <a:lnTo>
                    <a:pt x="506" y="75"/>
                  </a:lnTo>
                  <a:lnTo>
                    <a:pt x="507" y="76"/>
                  </a:lnTo>
                  <a:lnTo>
                    <a:pt x="509" y="77"/>
                  </a:lnTo>
                  <a:lnTo>
                    <a:pt x="510" y="77"/>
                  </a:lnTo>
                  <a:lnTo>
                    <a:pt x="512" y="78"/>
                  </a:lnTo>
                  <a:lnTo>
                    <a:pt x="513" y="78"/>
                  </a:lnTo>
                  <a:lnTo>
                    <a:pt x="516" y="79"/>
                  </a:lnTo>
                  <a:lnTo>
                    <a:pt x="517" y="78"/>
                  </a:lnTo>
                  <a:lnTo>
                    <a:pt x="519" y="78"/>
                  </a:lnTo>
                  <a:lnTo>
                    <a:pt x="526" y="76"/>
                  </a:lnTo>
                  <a:lnTo>
                    <a:pt x="527" y="76"/>
                  </a:lnTo>
                  <a:lnTo>
                    <a:pt x="529" y="76"/>
                  </a:lnTo>
                  <a:lnTo>
                    <a:pt x="531" y="76"/>
                  </a:lnTo>
                  <a:lnTo>
                    <a:pt x="534" y="76"/>
                  </a:lnTo>
                  <a:lnTo>
                    <a:pt x="540" y="76"/>
                  </a:lnTo>
                  <a:lnTo>
                    <a:pt x="543" y="76"/>
                  </a:lnTo>
                  <a:lnTo>
                    <a:pt x="546" y="76"/>
                  </a:lnTo>
                  <a:lnTo>
                    <a:pt x="548" y="76"/>
                  </a:lnTo>
                  <a:lnTo>
                    <a:pt x="550" y="76"/>
                  </a:lnTo>
                  <a:lnTo>
                    <a:pt x="551" y="77"/>
                  </a:lnTo>
                  <a:lnTo>
                    <a:pt x="552" y="78"/>
                  </a:lnTo>
                  <a:lnTo>
                    <a:pt x="554" y="79"/>
                  </a:lnTo>
                  <a:lnTo>
                    <a:pt x="556" y="81"/>
                  </a:lnTo>
                  <a:lnTo>
                    <a:pt x="558" y="83"/>
                  </a:lnTo>
                  <a:lnTo>
                    <a:pt x="559" y="84"/>
                  </a:lnTo>
                  <a:lnTo>
                    <a:pt x="560" y="86"/>
                  </a:lnTo>
                  <a:lnTo>
                    <a:pt x="561" y="87"/>
                  </a:lnTo>
                  <a:lnTo>
                    <a:pt x="561" y="90"/>
                  </a:lnTo>
                  <a:lnTo>
                    <a:pt x="561" y="92"/>
                  </a:lnTo>
                  <a:lnTo>
                    <a:pt x="562" y="95"/>
                  </a:lnTo>
                  <a:lnTo>
                    <a:pt x="562" y="97"/>
                  </a:lnTo>
                  <a:lnTo>
                    <a:pt x="562" y="99"/>
                  </a:lnTo>
                  <a:lnTo>
                    <a:pt x="561" y="101"/>
                  </a:lnTo>
                  <a:lnTo>
                    <a:pt x="561" y="103"/>
                  </a:lnTo>
                  <a:lnTo>
                    <a:pt x="561" y="105"/>
                  </a:lnTo>
                  <a:lnTo>
                    <a:pt x="561" y="108"/>
                  </a:lnTo>
                  <a:lnTo>
                    <a:pt x="559" y="113"/>
                  </a:lnTo>
                  <a:lnTo>
                    <a:pt x="557" y="120"/>
                  </a:lnTo>
                  <a:lnTo>
                    <a:pt x="555" y="124"/>
                  </a:lnTo>
                  <a:lnTo>
                    <a:pt x="555" y="126"/>
                  </a:lnTo>
                  <a:lnTo>
                    <a:pt x="554" y="128"/>
                  </a:lnTo>
                  <a:lnTo>
                    <a:pt x="555" y="129"/>
                  </a:lnTo>
                  <a:lnTo>
                    <a:pt x="555" y="130"/>
                  </a:lnTo>
                  <a:lnTo>
                    <a:pt x="556" y="132"/>
                  </a:lnTo>
                  <a:lnTo>
                    <a:pt x="556" y="133"/>
                  </a:lnTo>
                  <a:lnTo>
                    <a:pt x="557" y="133"/>
                  </a:lnTo>
                  <a:lnTo>
                    <a:pt x="561" y="136"/>
                  </a:lnTo>
                  <a:lnTo>
                    <a:pt x="563" y="138"/>
                  </a:lnTo>
                  <a:lnTo>
                    <a:pt x="567" y="140"/>
                  </a:lnTo>
                  <a:lnTo>
                    <a:pt x="572" y="142"/>
                  </a:lnTo>
                  <a:lnTo>
                    <a:pt x="579" y="145"/>
                  </a:lnTo>
                  <a:lnTo>
                    <a:pt x="584" y="147"/>
                  </a:lnTo>
                  <a:lnTo>
                    <a:pt x="586" y="148"/>
                  </a:lnTo>
                  <a:lnTo>
                    <a:pt x="589" y="149"/>
                  </a:lnTo>
                  <a:lnTo>
                    <a:pt x="595" y="151"/>
                  </a:lnTo>
                  <a:lnTo>
                    <a:pt x="597" y="152"/>
                  </a:lnTo>
                  <a:lnTo>
                    <a:pt x="601" y="153"/>
                  </a:lnTo>
                  <a:lnTo>
                    <a:pt x="603" y="155"/>
                  </a:lnTo>
                  <a:lnTo>
                    <a:pt x="605" y="156"/>
                  </a:lnTo>
                  <a:lnTo>
                    <a:pt x="607" y="158"/>
                  </a:lnTo>
                  <a:lnTo>
                    <a:pt x="608" y="160"/>
                  </a:lnTo>
                  <a:lnTo>
                    <a:pt x="610" y="162"/>
                  </a:lnTo>
                  <a:lnTo>
                    <a:pt x="613" y="167"/>
                  </a:lnTo>
                  <a:lnTo>
                    <a:pt x="618" y="175"/>
                  </a:lnTo>
                  <a:lnTo>
                    <a:pt x="619" y="178"/>
                  </a:lnTo>
                  <a:lnTo>
                    <a:pt x="621" y="181"/>
                  </a:lnTo>
                  <a:lnTo>
                    <a:pt x="623" y="184"/>
                  </a:lnTo>
                  <a:lnTo>
                    <a:pt x="618" y="182"/>
                  </a:lnTo>
                  <a:lnTo>
                    <a:pt x="613" y="179"/>
                  </a:lnTo>
                  <a:lnTo>
                    <a:pt x="612" y="179"/>
                  </a:lnTo>
                  <a:lnTo>
                    <a:pt x="611" y="178"/>
                  </a:lnTo>
                  <a:lnTo>
                    <a:pt x="611" y="179"/>
                  </a:lnTo>
                  <a:lnTo>
                    <a:pt x="609" y="180"/>
                  </a:lnTo>
                  <a:lnTo>
                    <a:pt x="608" y="180"/>
                  </a:lnTo>
                  <a:lnTo>
                    <a:pt x="608" y="181"/>
                  </a:lnTo>
                  <a:lnTo>
                    <a:pt x="607" y="183"/>
                  </a:lnTo>
                  <a:lnTo>
                    <a:pt x="607" y="184"/>
                  </a:lnTo>
                  <a:lnTo>
                    <a:pt x="607" y="184"/>
                  </a:lnTo>
                  <a:lnTo>
                    <a:pt x="606" y="184"/>
                  </a:lnTo>
                  <a:lnTo>
                    <a:pt x="604" y="182"/>
                  </a:lnTo>
                  <a:lnTo>
                    <a:pt x="602" y="181"/>
                  </a:lnTo>
                  <a:lnTo>
                    <a:pt x="602" y="180"/>
                  </a:lnTo>
                  <a:lnTo>
                    <a:pt x="601" y="179"/>
                  </a:lnTo>
                  <a:lnTo>
                    <a:pt x="600" y="178"/>
                  </a:lnTo>
                  <a:lnTo>
                    <a:pt x="599" y="178"/>
                  </a:lnTo>
                  <a:lnTo>
                    <a:pt x="597" y="179"/>
                  </a:lnTo>
                  <a:lnTo>
                    <a:pt x="595" y="179"/>
                  </a:lnTo>
                  <a:lnTo>
                    <a:pt x="594" y="180"/>
                  </a:lnTo>
                  <a:lnTo>
                    <a:pt x="591" y="181"/>
                  </a:lnTo>
                  <a:lnTo>
                    <a:pt x="589" y="182"/>
                  </a:lnTo>
                  <a:lnTo>
                    <a:pt x="585" y="185"/>
                  </a:lnTo>
                  <a:lnTo>
                    <a:pt x="583" y="188"/>
                  </a:lnTo>
                  <a:lnTo>
                    <a:pt x="581" y="189"/>
                  </a:lnTo>
                  <a:lnTo>
                    <a:pt x="579" y="190"/>
                  </a:lnTo>
                  <a:lnTo>
                    <a:pt x="578" y="192"/>
                  </a:lnTo>
                  <a:lnTo>
                    <a:pt x="577" y="193"/>
                  </a:lnTo>
                  <a:lnTo>
                    <a:pt x="575" y="196"/>
                  </a:lnTo>
                  <a:lnTo>
                    <a:pt x="575" y="197"/>
                  </a:lnTo>
                  <a:lnTo>
                    <a:pt x="574" y="200"/>
                  </a:lnTo>
                  <a:lnTo>
                    <a:pt x="574" y="201"/>
                  </a:lnTo>
                  <a:lnTo>
                    <a:pt x="574" y="202"/>
                  </a:lnTo>
                  <a:lnTo>
                    <a:pt x="574" y="204"/>
                  </a:lnTo>
                  <a:lnTo>
                    <a:pt x="574" y="211"/>
                  </a:lnTo>
                  <a:lnTo>
                    <a:pt x="574" y="212"/>
                  </a:lnTo>
                  <a:lnTo>
                    <a:pt x="574" y="216"/>
                  </a:lnTo>
                  <a:lnTo>
                    <a:pt x="574" y="220"/>
                  </a:lnTo>
                  <a:lnTo>
                    <a:pt x="574" y="221"/>
                  </a:lnTo>
                  <a:lnTo>
                    <a:pt x="573" y="222"/>
                  </a:lnTo>
                  <a:lnTo>
                    <a:pt x="573" y="223"/>
                  </a:lnTo>
                  <a:lnTo>
                    <a:pt x="572" y="224"/>
                  </a:lnTo>
                  <a:lnTo>
                    <a:pt x="571" y="225"/>
                  </a:lnTo>
                  <a:lnTo>
                    <a:pt x="570" y="225"/>
                  </a:lnTo>
                  <a:lnTo>
                    <a:pt x="568" y="226"/>
                  </a:lnTo>
                  <a:lnTo>
                    <a:pt x="567" y="227"/>
                  </a:lnTo>
                  <a:lnTo>
                    <a:pt x="563" y="227"/>
                  </a:lnTo>
                  <a:lnTo>
                    <a:pt x="559" y="227"/>
                  </a:lnTo>
                  <a:lnTo>
                    <a:pt x="555" y="227"/>
                  </a:lnTo>
                  <a:lnTo>
                    <a:pt x="553" y="228"/>
                  </a:lnTo>
                  <a:lnTo>
                    <a:pt x="551" y="228"/>
                  </a:lnTo>
                  <a:lnTo>
                    <a:pt x="550" y="229"/>
                  </a:lnTo>
                  <a:lnTo>
                    <a:pt x="550" y="231"/>
                  </a:lnTo>
                  <a:lnTo>
                    <a:pt x="550" y="232"/>
                  </a:lnTo>
                  <a:lnTo>
                    <a:pt x="548" y="235"/>
                  </a:lnTo>
                  <a:lnTo>
                    <a:pt x="547" y="238"/>
                  </a:lnTo>
                  <a:lnTo>
                    <a:pt x="546" y="240"/>
                  </a:lnTo>
                  <a:lnTo>
                    <a:pt x="545" y="242"/>
                  </a:lnTo>
                  <a:lnTo>
                    <a:pt x="542" y="245"/>
                  </a:lnTo>
                  <a:lnTo>
                    <a:pt x="538" y="249"/>
                  </a:lnTo>
                  <a:lnTo>
                    <a:pt x="536" y="252"/>
                  </a:lnTo>
                  <a:lnTo>
                    <a:pt x="533" y="254"/>
                  </a:lnTo>
                  <a:lnTo>
                    <a:pt x="530" y="256"/>
                  </a:lnTo>
                  <a:lnTo>
                    <a:pt x="527" y="257"/>
                  </a:lnTo>
                  <a:lnTo>
                    <a:pt x="525" y="258"/>
                  </a:lnTo>
                  <a:lnTo>
                    <a:pt x="522" y="260"/>
                  </a:lnTo>
                  <a:lnTo>
                    <a:pt x="518" y="261"/>
                  </a:lnTo>
                  <a:lnTo>
                    <a:pt x="512" y="263"/>
                  </a:lnTo>
                  <a:lnTo>
                    <a:pt x="508" y="264"/>
                  </a:lnTo>
                  <a:lnTo>
                    <a:pt x="505" y="265"/>
                  </a:lnTo>
                  <a:lnTo>
                    <a:pt x="503" y="266"/>
                  </a:lnTo>
                  <a:lnTo>
                    <a:pt x="501" y="267"/>
                  </a:lnTo>
                  <a:lnTo>
                    <a:pt x="499" y="268"/>
                  </a:lnTo>
                  <a:lnTo>
                    <a:pt x="496" y="269"/>
                  </a:lnTo>
                  <a:lnTo>
                    <a:pt x="493" y="271"/>
                  </a:lnTo>
                  <a:lnTo>
                    <a:pt x="491" y="274"/>
                  </a:lnTo>
                  <a:lnTo>
                    <a:pt x="488" y="277"/>
                  </a:lnTo>
                  <a:lnTo>
                    <a:pt x="485" y="280"/>
                  </a:lnTo>
                  <a:lnTo>
                    <a:pt x="482" y="284"/>
                  </a:lnTo>
                  <a:lnTo>
                    <a:pt x="482" y="286"/>
                  </a:lnTo>
                  <a:lnTo>
                    <a:pt x="481" y="287"/>
                  </a:lnTo>
                  <a:lnTo>
                    <a:pt x="480" y="291"/>
                  </a:lnTo>
                  <a:lnTo>
                    <a:pt x="479" y="293"/>
                  </a:lnTo>
                  <a:lnTo>
                    <a:pt x="479" y="295"/>
                  </a:lnTo>
                  <a:lnTo>
                    <a:pt x="479" y="296"/>
                  </a:lnTo>
                  <a:lnTo>
                    <a:pt x="479" y="297"/>
                  </a:lnTo>
                  <a:lnTo>
                    <a:pt x="477" y="297"/>
                  </a:lnTo>
                  <a:lnTo>
                    <a:pt x="474" y="298"/>
                  </a:lnTo>
                  <a:lnTo>
                    <a:pt x="471" y="299"/>
                  </a:lnTo>
                  <a:lnTo>
                    <a:pt x="468" y="299"/>
                  </a:lnTo>
                  <a:lnTo>
                    <a:pt x="465" y="300"/>
                  </a:lnTo>
                  <a:lnTo>
                    <a:pt x="462" y="300"/>
                  </a:lnTo>
                  <a:lnTo>
                    <a:pt x="461" y="300"/>
                  </a:lnTo>
                  <a:lnTo>
                    <a:pt x="460" y="300"/>
                  </a:lnTo>
                  <a:lnTo>
                    <a:pt x="459" y="299"/>
                  </a:lnTo>
                  <a:lnTo>
                    <a:pt x="459" y="298"/>
                  </a:lnTo>
                  <a:lnTo>
                    <a:pt x="459" y="297"/>
                  </a:lnTo>
                  <a:lnTo>
                    <a:pt x="458" y="295"/>
                  </a:lnTo>
                  <a:lnTo>
                    <a:pt x="457" y="291"/>
                  </a:lnTo>
                  <a:lnTo>
                    <a:pt x="456" y="289"/>
                  </a:lnTo>
                  <a:lnTo>
                    <a:pt x="453" y="282"/>
                  </a:lnTo>
                  <a:lnTo>
                    <a:pt x="452" y="280"/>
                  </a:lnTo>
                  <a:lnTo>
                    <a:pt x="451" y="280"/>
                  </a:lnTo>
                  <a:lnTo>
                    <a:pt x="450" y="279"/>
                  </a:lnTo>
                  <a:lnTo>
                    <a:pt x="450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6" y="278"/>
                  </a:lnTo>
                  <a:lnTo>
                    <a:pt x="444" y="276"/>
                  </a:lnTo>
                  <a:lnTo>
                    <a:pt x="443" y="275"/>
                  </a:lnTo>
                  <a:lnTo>
                    <a:pt x="442" y="274"/>
                  </a:lnTo>
                  <a:lnTo>
                    <a:pt x="441" y="274"/>
                  </a:lnTo>
                  <a:lnTo>
                    <a:pt x="440" y="274"/>
                  </a:lnTo>
                  <a:lnTo>
                    <a:pt x="439" y="275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2" y="282"/>
                  </a:lnTo>
                  <a:lnTo>
                    <a:pt x="418" y="296"/>
                  </a:lnTo>
                  <a:lnTo>
                    <a:pt x="414" y="300"/>
                  </a:lnTo>
                  <a:lnTo>
                    <a:pt x="412" y="302"/>
                  </a:lnTo>
                  <a:lnTo>
                    <a:pt x="409" y="303"/>
                  </a:lnTo>
                  <a:lnTo>
                    <a:pt x="407" y="304"/>
                  </a:lnTo>
                  <a:lnTo>
                    <a:pt x="405" y="305"/>
                  </a:lnTo>
                  <a:lnTo>
                    <a:pt x="402" y="306"/>
                  </a:lnTo>
                  <a:lnTo>
                    <a:pt x="400" y="307"/>
                  </a:lnTo>
                  <a:lnTo>
                    <a:pt x="396" y="310"/>
                  </a:lnTo>
                  <a:lnTo>
                    <a:pt x="391" y="314"/>
                  </a:lnTo>
                  <a:lnTo>
                    <a:pt x="390" y="314"/>
                  </a:lnTo>
                  <a:lnTo>
                    <a:pt x="389" y="315"/>
                  </a:lnTo>
                  <a:lnTo>
                    <a:pt x="386" y="316"/>
                  </a:lnTo>
                  <a:lnTo>
                    <a:pt x="383" y="316"/>
                  </a:lnTo>
                  <a:lnTo>
                    <a:pt x="380" y="317"/>
                  </a:lnTo>
                  <a:lnTo>
                    <a:pt x="377" y="317"/>
                  </a:lnTo>
                  <a:lnTo>
                    <a:pt x="371" y="318"/>
                  </a:lnTo>
                  <a:lnTo>
                    <a:pt x="362" y="318"/>
                  </a:lnTo>
                  <a:lnTo>
                    <a:pt x="358" y="318"/>
                  </a:lnTo>
                  <a:lnTo>
                    <a:pt x="355" y="318"/>
                  </a:lnTo>
                  <a:lnTo>
                    <a:pt x="352" y="318"/>
                  </a:lnTo>
                  <a:lnTo>
                    <a:pt x="349" y="317"/>
                  </a:lnTo>
                  <a:lnTo>
                    <a:pt x="345" y="316"/>
                  </a:lnTo>
                  <a:lnTo>
                    <a:pt x="340" y="315"/>
                  </a:lnTo>
                  <a:lnTo>
                    <a:pt x="338" y="314"/>
                  </a:lnTo>
                  <a:lnTo>
                    <a:pt x="336" y="314"/>
                  </a:lnTo>
                  <a:lnTo>
                    <a:pt x="334" y="314"/>
                  </a:lnTo>
                  <a:lnTo>
                    <a:pt x="332" y="312"/>
                  </a:lnTo>
                  <a:lnTo>
                    <a:pt x="330" y="311"/>
                  </a:lnTo>
                  <a:lnTo>
                    <a:pt x="329" y="310"/>
                  </a:lnTo>
                  <a:lnTo>
                    <a:pt x="328" y="310"/>
                  </a:lnTo>
                  <a:lnTo>
                    <a:pt x="327" y="310"/>
                  </a:lnTo>
                  <a:lnTo>
                    <a:pt x="326" y="311"/>
                  </a:lnTo>
                  <a:lnTo>
                    <a:pt x="325" y="311"/>
                  </a:lnTo>
                  <a:lnTo>
                    <a:pt x="323" y="312"/>
                  </a:lnTo>
                  <a:lnTo>
                    <a:pt x="322" y="314"/>
                  </a:lnTo>
                  <a:lnTo>
                    <a:pt x="319" y="315"/>
                  </a:lnTo>
                  <a:lnTo>
                    <a:pt x="308" y="325"/>
                  </a:lnTo>
                  <a:lnTo>
                    <a:pt x="302" y="331"/>
                  </a:lnTo>
                  <a:lnTo>
                    <a:pt x="297" y="336"/>
                  </a:lnTo>
                  <a:lnTo>
                    <a:pt x="296" y="337"/>
                  </a:lnTo>
                  <a:lnTo>
                    <a:pt x="294" y="338"/>
                  </a:lnTo>
                  <a:lnTo>
                    <a:pt x="290" y="343"/>
                  </a:lnTo>
                  <a:lnTo>
                    <a:pt x="288" y="346"/>
                  </a:lnTo>
                  <a:lnTo>
                    <a:pt x="285" y="348"/>
                  </a:lnTo>
                  <a:lnTo>
                    <a:pt x="283" y="349"/>
                  </a:lnTo>
                  <a:lnTo>
                    <a:pt x="281" y="351"/>
                  </a:lnTo>
                  <a:lnTo>
                    <a:pt x="279" y="352"/>
                  </a:lnTo>
                  <a:lnTo>
                    <a:pt x="275" y="354"/>
                  </a:lnTo>
                  <a:lnTo>
                    <a:pt x="270" y="356"/>
                  </a:lnTo>
                  <a:lnTo>
                    <a:pt x="266" y="357"/>
                  </a:lnTo>
                  <a:lnTo>
                    <a:pt x="262" y="358"/>
                  </a:lnTo>
                  <a:lnTo>
                    <a:pt x="258" y="359"/>
                  </a:lnTo>
                  <a:lnTo>
                    <a:pt x="255" y="359"/>
                  </a:lnTo>
                  <a:lnTo>
                    <a:pt x="253" y="359"/>
                  </a:lnTo>
                  <a:lnTo>
                    <a:pt x="246" y="358"/>
                  </a:lnTo>
                  <a:lnTo>
                    <a:pt x="243" y="358"/>
                  </a:lnTo>
                  <a:lnTo>
                    <a:pt x="241" y="358"/>
                  </a:lnTo>
                  <a:lnTo>
                    <a:pt x="237" y="359"/>
                  </a:lnTo>
                  <a:lnTo>
                    <a:pt x="234" y="359"/>
                  </a:lnTo>
                  <a:lnTo>
                    <a:pt x="232" y="360"/>
                  </a:lnTo>
                  <a:lnTo>
                    <a:pt x="229" y="361"/>
                  </a:lnTo>
                  <a:lnTo>
                    <a:pt x="225" y="364"/>
                  </a:lnTo>
                  <a:lnTo>
                    <a:pt x="221" y="367"/>
                  </a:lnTo>
                  <a:lnTo>
                    <a:pt x="217" y="371"/>
                  </a:lnTo>
                  <a:lnTo>
                    <a:pt x="215" y="371"/>
                  </a:lnTo>
                  <a:lnTo>
                    <a:pt x="211" y="376"/>
                  </a:lnTo>
                  <a:lnTo>
                    <a:pt x="208" y="379"/>
                  </a:lnTo>
                  <a:lnTo>
                    <a:pt x="205" y="382"/>
                  </a:lnTo>
                  <a:lnTo>
                    <a:pt x="199" y="385"/>
                  </a:lnTo>
                  <a:lnTo>
                    <a:pt x="197" y="387"/>
                  </a:lnTo>
                  <a:lnTo>
                    <a:pt x="196" y="388"/>
                  </a:lnTo>
                  <a:lnTo>
                    <a:pt x="196" y="390"/>
                  </a:lnTo>
                  <a:lnTo>
                    <a:pt x="195" y="391"/>
                  </a:lnTo>
                  <a:lnTo>
                    <a:pt x="194" y="394"/>
                  </a:lnTo>
                  <a:lnTo>
                    <a:pt x="194" y="396"/>
                  </a:lnTo>
                  <a:lnTo>
                    <a:pt x="193" y="402"/>
                  </a:lnTo>
                  <a:lnTo>
                    <a:pt x="193" y="405"/>
                  </a:lnTo>
                  <a:lnTo>
                    <a:pt x="192" y="406"/>
                  </a:lnTo>
                  <a:lnTo>
                    <a:pt x="191" y="410"/>
                  </a:lnTo>
                  <a:lnTo>
                    <a:pt x="191" y="412"/>
                  </a:lnTo>
                  <a:lnTo>
                    <a:pt x="190" y="413"/>
                  </a:lnTo>
                  <a:lnTo>
                    <a:pt x="190" y="417"/>
                  </a:lnTo>
                  <a:lnTo>
                    <a:pt x="190" y="420"/>
                  </a:lnTo>
                  <a:lnTo>
                    <a:pt x="190" y="422"/>
                  </a:lnTo>
                  <a:lnTo>
                    <a:pt x="189" y="424"/>
                  </a:lnTo>
                  <a:lnTo>
                    <a:pt x="188" y="425"/>
                  </a:lnTo>
                  <a:lnTo>
                    <a:pt x="188" y="426"/>
                  </a:lnTo>
                  <a:lnTo>
                    <a:pt x="187" y="426"/>
                  </a:lnTo>
                  <a:lnTo>
                    <a:pt x="186" y="427"/>
                  </a:lnTo>
                  <a:lnTo>
                    <a:pt x="186" y="427"/>
                  </a:lnTo>
                  <a:lnTo>
                    <a:pt x="181" y="429"/>
                  </a:lnTo>
                  <a:lnTo>
                    <a:pt x="180" y="430"/>
                  </a:lnTo>
                  <a:lnTo>
                    <a:pt x="179" y="431"/>
                  </a:lnTo>
                  <a:lnTo>
                    <a:pt x="178" y="433"/>
                  </a:lnTo>
                  <a:lnTo>
                    <a:pt x="177" y="434"/>
                  </a:lnTo>
                  <a:lnTo>
                    <a:pt x="175" y="440"/>
                  </a:lnTo>
                  <a:lnTo>
                    <a:pt x="175" y="442"/>
                  </a:lnTo>
                  <a:lnTo>
                    <a:pt x="173" y="445"/>
                  </a:lnTo>
                  <a:lnTo>
                    <a:pt x="170" y="449"/>
                  </a:lnTo>
                  <a:lnTo>
                    <a:pt x="168" y="450"/>
                  </a:lnTo>
                  <a:lnTo>
                    <a:pt x="167" y="450"/>
                  </a:lnTo>
                  <a:lnTo>
                    <a:pt x="166" y="451"/>
                  </a:lnTo>
                  <a:lnTo>
                    <a:pt x="164" y="452"/>
                  </a:lnTo>
                  <a:lnTo>
                    <a:pt x="163" y="452"/>
                  </a:lnTo>
                  <a:lnTo>
                    <a:pt x="161" y="452"/>
                  </a:lnTo>
                  <a:lnTo>
                    <a:pt x="159" y="453"/>
                  </a:lnTo>
                  <a:lnTo>
                    <a:pt x="154" y="453"/>
                  </a:lnTo>
                  <a:lnTo>
                    <a:pt x="152" y="454"/>
                  </a:lnTo>
                  <a:lnTo>
                    <a:pt x="150" y="454"/>
                  </a:lnTo>
                  <a:lnTo>
                    <a:pt x="147" y="455"/>
                  </a:lnTo>
                  <a:lnTo>
                    <a:pt x="145" y="456"/>
                  </a:lnTo>
                  <a:lnTo>
                    <a:pt x="143" y="457"/>
                  </a:lnTo>
                  <a:lnTo>
                    <a:pt x="141" y="459"/>
                  </a:lnTo>
                  <a:lnTo>
                    <a:pt x="137" y="461"/>
                  </a:lnTo>
                  <a:lnTo>
                    <a:pt x="134" y="464"/>
                  </a:lnTo>
                  <a:lnTo>
                    <a:pt x="131" y="466"/>
                  </a:lnTo>
                  <a:lnTo>
                    <a:pt x="129" y="468"/>
                  </a:lnTo>
                  <a:lnTo>
                    <a:pt x="129" y="470"/>
                  </a:lnTo>
                  <a:lnTo>
                    <a:pt x="128" y="472"/>
                  </a:lnTo>
                  <a:lnTo>
                    <a:pt x="128" y="473"/>
                  </a:lnTo>
                  <a:lnTo>
                    <a:pt x="128" y="473"/>
                  </a:lnTo>
                  <a:lnTo>
                    <a:pt x="126" y="476"/>
                  </a:lnTo>
                  <a:lnTo>
                    <a:pt x="125" y="477"/>
                  </a:lnTo>
                  <a:lnTo>
                    <a:pt x="124" y="478"/>
                  </a:lnTo>
                  <a:lnTo>
                    <a:pt x="121" y="480"/>
                  </a:lnTo>
                  <a:lnTo>
                    <a:pt x="118" y="482"/>
                  </a:lnTo>
                  <a:lnTo>
                    <a:pt x="117" y="483"/>
                  </a:lnTo>
                  <a:lnTo>
                    <a:pt x="116" y="484"/>
                  </a:lnTo>
                  <a:lnTo>
                    <a:pt x="109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4" y="484"/>
                  </a:lnTo>
                  <a:lnTo>
                    <a:pt x="103" y="484"/>
                  </a:lnTo>
                  <a:lnTo>
                    <a:pt x="102" y="483"/>
                  </a:lnTo>
                  <a:lnTo>
                    <a:pt x="101" y="482"/>
                  </a:lnTo>
                  <a:lnTo>
                    <a:pt x="100" y="480"/>
                  </a:lnTo>
                  <a:lnTo>
                    <a:pt x="98" y="475"/>
                  </a:lnTo>
                  <a:lnTo>
                    <a:pt x="97" y="473"/>
                  </a:lnTo>
                  <a:lnTo>
                    <a:pt x="95" y="471"/>
                  </a:lnTo>
                  <a:lnTo>
                    <a:pt x="92" y="466"/>
                  </a:lnTo>
                  <a:lnTo>
                    <a:pt x="90" y="461"/>
                  </a:lnTo>
                  <a:lnTo>
                    <a:pt x="88" y="459"/>
                  </a:lnTo>
                  <a:lnTo>
                    <a:pt x="87" y="458"/>
                  </a:lnTo>
                  <a:lnTo>
                    <a:pt x="86" y="459"/>
                  </a:lnTo>
                  <a:lnTo>
                    <a:pt x="84" y="459"/>
                  </a:lnTo>
                  <a:lnTo>
                    <a:pt x="83" y="461"/>
                  </a:lnTo>
                  <a:lnTo>
                    <a:pt x="82" y="461"/>
                  </a:lnTo>
                  <a:lnTo>
                    <a:pt x="80" y="462"/>
                  </a:lnTo>
                  <a:lnTo>
                    <a:pt x="77" y="467"/>
                  </a:lnTo>
                  <a:lnTo>
                    <a:pt x="75" y="469"/>
                  </a:lnTo>
                  <a:lnTo>
                    <a:pt x="74" y="469"/>
                  </a:lnTo>
                  <a:lnTo>
                    <a:pt x="73" y="470"/>
                  </a:lnTo>
                  <a:lnTo>
                    <a:pt x="72" y="470"/>
                  </a:lnTo>
                  <a:lnTo>
                    <a:pt x="72" y="470"/>
                  </a:lnTo>
                  <a:lnTo>
                    <a:pt x="70" y="470"/>
                  </a:lnTo>
                  <a:lnTo>
                    <a:pt x="69" y="469"/>
                  </a:lnTo>
                  <a:lnTo>
                    <a:pt x="68" y="468"/>
                  </a:lnTo>
                  <a:lnTo>
                    <a:pt x="67" y="467"/>
                  </a:lnTo>
                  <a:lnTo>
                    <a:pt x="66" y="465"/>
                  </a:lnTo>
                  <a:lnTo>
                    <a:pt x="66" y="463"/>
                  </a:lnTo>
                  <a:lnTo>
                    <a:pt x="65" y="460"/>
                  </a:lnTo>
                  <a:lnTo>
                    <a:pt x="65" y="458"/>
                  </a:lnTo>
                  <a:lnTo>
                    <a:pt x="65" y="457"/>
                  </a:lnTo>
                  <a:lnTo>
                    <a:pt x="65" y="456"/>
                  </a:lnTo>
                  <a:lnTo>
                    <a:pt x="64" y="456"/>
                  </a:lnTo>
                  <a:lnTo>
                    <a:pt x="63" y="457"/>
                  </a:lnTo>
                  <a:lnTo>
                    <a:pt x="63" y="458"/>
                  </a:lnTo>
                  <a:lnTo>
                    <a:pt x="62" y="458"/>
                  </a:lnTo>
                  <a:lnTo>
                    <a:pt x="57" y="459"/>
                  </a:lnTo>
                  <a:lnTo>
                    <a:pt x="53" y="459"/>
                  </a:lnTo>
                  <a:lnTo>
                    <a:pt x="52" y="459"/>
                  </a:lnTo>
                  <a:lnTo>
                    <a:pt x="51" y="459"/>
                  </a:lnTo>
                  <a:lnTo>
                    <a:pt x="50" y="459"/>
                  </a:lnTo>
                  <a:lnTo>
                    <a:pt x="50" y="459"/>
                  </a:lnTo>
                  <a:lnTo>
                    <a:pt x="49" y="460"/>
                  </a:lnTo>
                  <a:lnTo>
                    <a:pt x="48" y="460"/>
                  </a:lnTo>
                  <a:lnTo>
                    <a:pt x="47" y="455"/>
                  </a:lnTo>
                  <a:lnTo>
                    <a:pt x="45" y="452"/>
                  </a:lnTo>
                  <a:lnTo>
                    <a:pt x="44" y="450"/>
                  </a:lnTo>
                  <a:lnTo>
                    <a:pt x="42" y="448"/>
                  </a:lnTo>
                  <a:lnTo>
                    <a:pt x="40" y="445"/>
                  </a:lnTo>
                  <a:lnTo>
                    <a:pt x="35" y="438"/>
                  </a:lnTo>
                  <a:lnTo>
                    <a:pt x="34" y="436"/>
                  </a:lnTo>
                  <a:lnTo>
                    <a:pt x="32" y="434"/>
                  </a:lnTo>
                  <a:lnTo>
                    <a:pt x="29" y="432"/>
                  </a:lnTo>
                  <a:lnTo>
                    <a:pt x="27" y="431"/>
                  </a:lnTo>
                  <a:lnTo>
                    <a:pt x="26" y="430"/>
                  </a:lnTo>
                  <a:lnTo>
                    <a:pt x="23" y="429"/>
                  </a:lnTo>
                  <a:lnTo>
                    <a:pt x="21" y="428"/>
                  </a:lnTo>
                  <a:lnTo>
                    <a:pt x="19" y="427"/>
                  </a:lnTo>
                  <a:lnTo>
                    <a:pt x="9" y="426"/>
                  </a:lnTo>
                  <a:lnTo>
                    <a:pt x="8" y="426"/>
                  </a:lnTo>
                  <a:lnTo>
                    <a:pt x="6" y="425"/>
                  </a:lnTo>
                  <a:lnTo>
                    <a:pt x="4" y="424"/>
                  </a:lnTo>
                  <a:lnTo>
                    <a:pt x="3" y="422"/>
                  </a:lnTo>
                  <a:lnTo>
                    <a:pt x="1" y="420"/>
                  </a:lnTo>
                  <a:lnTo>
                    <a:pt x="1" y="419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6"/>
                  </a:lnTo>
                  <a:lnTo>
                    <a:pt x="2" y="415"/>
                  </a:lnTo>
                  <a:lnTo>
                    <a:pt x="3" y="413"/>
                  </a:lnTo>
                  <a:lnTo>
                    <a:pt x="4" y="412"/>
                  </a:lnTo>
                  <a:lnTo>
                    <a:pt x="5" y="411"/>
                  </a:lnTo>
                  <a:lnTo>
                    <a:pt x="6" y="411"/>
                  </a:lnTo>
                  <a:lnTo>
                    <a:pt x="8" y="410"/>
                  </a:lnTo>
                  <a:lnTo>
                    <a:pt x="10" y="409"/>
                  </a:lnTo>
                  <a:lnTo>
                    <a:pt x="12" y="409"/>
                  </a:lnTo>
                  <a:lnTo>
                    <a:pt x="13" y="408"/>
                  </a:lnTo>
                  <a:lnTo>
                    <a:pt x="15" y="408"/>
                  </a:lnTo>
                  <a:lnTo>
                    <a:pt x="19" y="409"/>
                  </a:lnTo>
                  <a:lnTo>
                    <a:pt x="22" y="409"/>
                  </a:lnTo>
                  <a:lnTo>
                    <a:pt x="27" y="410"/>
                  </a:lnTo>
                  <a:lnTo>
                    <a:pt x="27" y="410"/>
                  </a:lnTo>
                  <a:lnTo>
                    <a:pt x="28" y="410"/>
                  </a:lnTo>
                  <a:lnTo>
                    <a:pt x="30" y="409"/>
                  </a:lnTo>
                  <a:lnTo>
                    <a:pt x="31" y="408"/>
                  </a:lnTo>
                  <a:lnTo>
                    <a:pt x="31" y="406"/>
                  </a:lnTo>
                  <a:lnTo>
                    <a:pt x="31" y="405"/>
                  </a:lnTo>
                  <a:lnTo>
                    <a:pt x="31" y="403"/>
                  </a:lnTo>
                  <a:lnTo>
                    <a:pt x="29" y="397"/>
                  </a:lnTo>
                  <a:lnTo>
                    <a:pt x="29" y="396"/>
                  </a:lnTo>
                  <a:lnTo>
                    <a:pt x="29" y="394"/>
                  </a:lnTo>
                  <a:lnTo>
                    <a:pt x="29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3" y="388"/>
                  </a:lnTo>
                  <a:lnTo>
                    <a:pt x="33" y="387"/>
                  </a:lnTo>
                  <a:lnTo>
                    <a:pt x="34" y="386"/>
                  </a:lnTo>
                  <a:lnTo>
                    <a:pt x="34" y="384"/>
                  </a:lnTo>
                  <a:lnTo>
                    <a:pt x="34" y="382"/>
                  </a:lnTo>
                  <a:lnTo>
                    <a:pt x="34" y="381"/>
                  </a:lnTo>
                  <a:lnTo>
                    <a:pt x="34" y="379"/>
                  </a:lnTo>
                  <a:lnTo>
                    <a:pt x="33" y="374"/>
                  </a:lnTo>
                  <a:lnTo>
                    <a:pt x="32" y="368"/>
                  </a:lnTo>
                  <a:lnTo>
                    <a:pt x="30" y="363"/>
                  </a:lnTo>
                  <a:lnTo>
                    <a:pt x="29" y="359"/>
                  </a:lnTo>
                  <a:lnTo>
                    <a:pt x="25" y="348"/>
                  </a:lnTo>
                  <a:lnTo>
                    <a:pt x="23" y="345"/>
                  </a:lnTo>
                  <a:lnTo>
                    <a:pt x="19" y="337"/>
                  </a:lnTo>
                  <a:lnTo>
                    <a:pt x="17" y="335"/>
                  </a:lnTo>
                  <a:lnTo>
                    <a:pt x="14" y="328"/>
                  </a:lnTo>
                  <a:lnTo>
                    <a:pt x="13" y="326"/>
                  </a:lnTo>
                  <a:lnTo>
                    <a:pt x="12" y="325"/>
                  </a:lnTo>
                  <a:lnTo>
                    <a:pt x="12" y="323"/>
                  </a:lnTo>
                  <a:lnTo>
                    <a:pt x="11" y="322"/>
                  </a:lnTo>
                  <a:lnTo>
                    <a:pt x="11" y="321"/>
                  </a:lnTo>
                  <a:lnTo>
                    <a:pt x="11" y="319"/>
                  </a:lnTo>
                  <a:lnTo>
                    <a:pt x="12" y="317"/>
                  </a:lnTo>
                  <a:lnTo>
                    <a:pt x="12" y="315"/>
                  </a:lnTo>
                  <a:lnTo>
                    <a:pt x="13" y="314"/>
                  </a:lnTo>
                  <a:lnTo>
                    <a:pt x="13" y="314"/>
                  </a:lnTo>
                  <a:lnTo>
                    <a:pt x="14" y="314"/>
                  </a:lnTo>
                  <a:lnTo>
                    <a:pt x="15" y="314"/>
                  </a:lnTo>
                  <a:lnTo>
                    <a:pt x="16" y="314"/>
                  </a:lnTo>
                  <a:lnTo>
                    <a:pt x="17" y="314"/>
                  </a:lnTo>
                  <a:lnTo>
                    <a:pt x="19" y="314"/>
                  </a:lnTo>
                  <a:lnTo>
                    <a:pt x="20" y="314"/>
                  </a:lnTo>
                  <a:lnTo>
                    <a:pt x="21" y="313"/>
                  </a:lnTo>
                  <a:lnTo>
                    <a:pt x="22" y="312"/>
                  </a:lnTo>
                  <a:lnTo>
                    <a:pt x="23" y="311"/>
                  </a:lnTo>
                  <a:lnTo>
                    <a:pt x="24" y="309"/>
                  </a:lnTo>
                  <a:lnTo>
                    <a:pt x="26" y="305"/>
                  </a:lnTo>
                  <a:lnTo>
                    <a:pt x="27" y="303"/>
                  </a:lnTo>
                  <a:lnTo>
                    <a:pt x="27" y="302"/>
                  </a:lnTo>
                  <a:lnTo>
                    <a:pt x="29" y="300"/>
                  </a:lnTo>
                  <a:lnTo>
                    <a:pt x="31" y="298"/>
                  </a:lnTo>
                  <a:lnTo>
                    <a:pt x="34" y="295"/>
                  </a:lnTo>
                  <a:lnTo>
                    <a:pt x="36" y="294"/>
                  </a:lnTo>
                  <a:lnTo>
                    <a:pt x="41" y="291"/>
                  </a:lnTo>
                  <a:lnTo>
                    <a:pt x="42" y="290"/>
                  </a:lnTo>
                  <a:lnTo>
                    <a:pt x="44" y="289"/>
                  </a:lnTo>
                  <a:lnTo>
                    <a:pt x="46" y="287"/>
                  </a:lnTo>
                  <a:lnTo>
                    <a:pt x="50" y="281"/>
                  </a:lnTo>
                  <a:lnTo>
                    <a:pt x="52" y="277"/>
                  </a:lnTo>
                  <a:lnTo>
                    <a:pt x="56" y="273"/>
                  </a:lnTo>
                  <a:lnTo>
                    <a:pt x="61" y="268"/>
                  </a:lnTo>
                  <a:lnTo>
                    <a:pt x="64" y="263"/>
                  </a:lnTo>
                  <a:lnTo>
                    <a:pt x="66" y="262"/>
                  </a:lnTo>
                  <a:lnTo>
                    <a:pt x="67" y="260"/>
                  </a:lnTo>
                  <a:lnTo>
                    <a:pt x="70" y="259"/>
                  </a:lnTo>
                  <a:lnTo>
                    <a:pt x="72" y="258"/>
                  </a:lnTo>
                  <a:lnTo>
                    <a:pt x="73" y="257"/>
                  </a:lnTo>
                  <a:lnTo>
                    <a:pt x="75" y="257"/>
                  </a:lnTo>
                  <a:lnTo>
                    <a:pt x="77" y="256"/>
                  </a:lnTo>
                  <a:lnTo>
                    <a:pt x="80" y="255"/>
                  </a:lnTo>
                  <a:lnTo>
                    <a:pt x="82" y="255"/>
                  </a:lnTo>
                  <a:lnTo>
                    <a:pt x="84" y="255"/>
                  </a:lnTo>
                  <a:lnTo>
                    <a:pt x="85" y="255"/>
                  </a:lnTo>
                  <a:lnTo>
                    <a:pt x="87" y="255"/>
                  </a:lnTo>
                  <a:lnTo>
                    <a:pt x="89" y="256"/>
                  </a:lnTo>
                  <a:lnTo>
                    <a:pt x="92" y="257"/>
                  </a:lnTo>
                  <a:lnTo>
                    <a:pt x="99" y="262"/>
                  </a:lnTo>
                  <a:lnTo>
                    <a:pt x="102" y="264"/>
                  </a:lnTo>
                  <a:lnTo>
                    <a:pt x="104" y="264"/>
                  </a:lnTo>
                  <a:lnTo>
                    <a:pt x="105" y="265"/>
                  </a:lnTo>
                  <a:lnTo>
                    <a:pt x="106" y="265"/>
                  </a:lnTo>
                  <a:lnTo>
                    <a:pt x="107" y="265"/>
                  </a:lnTo>
                  <a:lnTo>
                    <a:pt x="109" y="265"/>
                  </a:lnTo>
                  <a:lnTo>
                    <a:pt x="110" y="265"/>
                  </a:lnTo>
                  <a:lnTo>
                    <a:pt x="112" y="264"/>
                  </a:lnTo>
                  <a:lnTo>
                    <a:pt x="113" y="263"/>
                  </a:lnTo>
                  <a:lnTo>
                    <a:pt x="114" y="263"/>
                  </a:lnTo>
                  <a:lnTo>
                    <a:pt x="116" y="261"/>
                  </a:lnTo>
                  <a:lnTo>
                    <a:pt x="118" y="260"/>
                  </a:lnTo>
                  <a:lnTo>
                    <a:pt x="119" y="258"/>
                  </a:lnTo>
                  <a:lnTo>
                    <a:pt x="120" y="257"/>
                  </a:lnTo>
                  <a:lnTo>
                    <a:pt x="121" y="257"/>
                  </a:lnTo>
                  <a:lnTo>
                    <a:pt x="122" y="254"/>
                  </a:lnTo>
                  <a:lnTo>
                    <a:pt x="128" y="245"/>
                  </a:lnTo>
                  <a:lnTo>
                    <a:pt x="130" y="238"/>
                  </a:lnTo>
                  <a:lnTo>
                    <a:pt x="132" y="236"/>
                  </a:lnTo>
                  <a:lnTo>
                    <a:pt x="133" y="235"/>
                  </a:lnTo>
                  <a:lnTo>
                    <a:pt x="134" y="234"/>
                  </a:lnTo>
                  <a:lnTo>
                    <a:pt x="136" y="232"/>
                  </a:lnTo>
                  <a:lnTo>
                    <a:pt x="138" y="230"/>
                  </a:lnTo>
                  <a:lnTo>
                    <a:pt x="142" y="227"/>
                  </a:lnTo>
                  <a:lnTo>
                    <a:pt x="145" y="225"/>
                  </a:lnTo>
                  <a:lnTo>
                    <a:pt x="147" y="223"/>
                  </a:lnTo>
                  <a:lnTo>
                    <a:pt x="148" y="222"/>
                  </a:lnTo>
                  <a:lnTo>
                    <a:pt x="149" y="220"/>
                  </a:lnTo>
                  <a:lnTo>
                    <a:pt x="150" y="217"/>
                  </a:lnTo>
                  <a:lnTo>
                    <a:pt x="150" y="214"/>
                  </a:lnTo>
                  <a:lnTo>
                    <a:pt x="150" y="211"/>
                  </a:lnTo>
                  <a:lnTo>
                    <a:pt x="150" y="209"/>
                  </a:lnTo>
                  <a:lnTo>
                    <a:pt x="151" y="205"/>
                  </a:lnTo>
                  <a:lnTo>
                    <a:pt x="152" y="202"/>
                  </a:lnTo>
                  <a:lnTo>
                    <a:pt x="152" y="201"/>
                  </a:lnTo>
                  <a:lnTo>
                    <a:pt x="153" y="199"/>
                  </a:lnTo>
                  <a:lnTo>
                    <a:pt x="155" y="197"/>
                  </a:lnTo>
                  <a:lnTo>
                    <a:pt x="159" y="191"/>
                  </a:lnTo>
                  <a:lnTo>
                    <a:pt x="160" y="190"/>
                  </a:lnTo>
                  <a:lnTo>
                    <a:pt x="161" y="189"/>
                  </a:lnTo>
                  <a:lnTo>
                    <a:pt x="162" y="187"/>
                  </a:lnTo>
                  <a:lnTo>
                    <a:pt x="162" y="186"/>
                  </a:lnTo>
                  <a:lnTo>
                    <a:pt x="162" y="182"/>
                  </a:lnTo>
                  <a:lnTo>
                    <a:pt x="162" y="179"/>
                  </a:lnTo>
                  <a:lnTo>
                    <a:pt x="162" y="178"/>
                  </a:lnTo>
                  <a:lnTo>
                    <a:pt x="163" y="175"/>
                  </a:lnTo>
                  <a:lnTo>
                    <a:pt x="163" y="172"/>
                  </a:lnTo>
                  <a:lnTo>
                    <a:pt x="163" y="170"/>
                  </a:lnTo>
                  <a:lnTo>
                    <a:pt x="163" y="167"/>
                  </a:lnTo>
                  <a:lnTo>
                    <a:pt x="162" y="167"/>
                  </a:lnTo>
                  <a:lnTo>
                    <a:pt x="160" y="161"/>
                  </a:lnTo>
                  <a:lnTo>
                    <a:pt x="159" y="158"/>
                  </a:lnTo>
                  <a:lnTo>
                    <a:pt x="159" y="156"/>
                  </a:lnTo>
                  <a:lnTo>
                    <a:pt x="159" y="155"/>
                  </a:lnTo>
                  <a:lnTo>
                    <a:pt x="159" y="153"/>
                  </a:lnTo>
                  <a:lnTo>
                    <a:pt x="159" y="152"/>
                  </a:lnTo>
                  <a:lnTo>
                    <a:pt x="160" y="150"/>
                  </a:lnTo>
                  <a:lnTo>
                    <a:pt x="161" y="149"/>
                  </a:lnTo>
                  <a:lnTo>
                    <a:pt x="162" y="148"/>
                  </a:lnTo>
                  <a:lnTo>
                    <a:pt x="164" y="147"/>
                  </a:lnTo>
                  <a:lnTo>
                    <a:pt x="166" y="146"/>
                  </a:lnTo>
                  <a:lnTo>
                    <a:pt x="169" y="146"/>
                  </a:lnTo>
                  <a:lnTo>
                    <a:pt x="171" y="145"/>
                  </a:lnTo>
                  <a:lnTo>
                    <a:pt x="180" y="145"/>
                  </a:lnTo>
                  <a:lnTo>
                    <a:pt x="186" y="144"/>
                  </a:lnTo>
                  <a:lnTo>
                    <a:pt x="189" y="144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40"/>
                  </a:lnTo>
                  <a:lnTo>
                    <a:pt x="198" y="139"/>
                  </a:lnTo>
                  <a:lnTo>
                    <a:pt x="199" y="138"/>
                  </a:lnTo>
                  <a:lnTo>
                    <a:pt x="201" y="135"/>
                  </a:lnTo>
                  <a:lnTo>
                    <a:pt x="202" y="133"/>
                  </a:lnTo>
                  <a:lnTo>
                    <a:pt x="203" y="133"/>
                  </a:lnTo>
                  <a:lnTo>
                    <a:pt x="205" y="131"/>
                  </a:lnTo>
                  <a:lnTo>
                    <a:pt x="206" y="130"/>
                  </a:lnTo>
                  <a:lnTo>
                    <a:pt x="208" y="129"/>
                  </a:lnTo>
                  <a:lnTo>
                    <a:pt x="209" y="128"/>
                  </a:lnTo>
                  <a:lnTo>
                    <a:pt x="211" y="128"/>
                  </a:lnTo>
                  <a:lnTo>
                    <a:pt x="212" y="127"/>
                  </a:lnTo>
                  <a:lnTo>
                    <a:pt x="214" y="127"/>
                  </a:lnTo>
                  <a:lnTo>
                    <a:pt x="216" y="128"/>
                  </a:lnTo>
                  <a:lnTo>
                    <a:pt x="218" y="128"/>
                  </a:lnTo>
                  <a:lnTo>
                    <a:pt x="220" y="129"/>
                  </a:lnTo>
                  <a:lnTo>
                    <a:pt x="228" y="133"/>
                  </a:lnTo>
                  <a:lnTo>
                    <a:pt x="229" y="133"/>
                  </a:lnTo>
                  <a:lnTo>
                    <a:pt x="231" y="133"/>
                  </a:lnTo>
                  <a:lnTo>
                    <a:pt x="232" y="133"/>
                  </a:lnTo>
                  <a:lnTo>
                    <a:pt x="235" y="133"/>
                  </a:lnTo>
                  <a:lnTo>
                    <a:pt x="243" y="132"/>
                  </a:lnTo>
                  <a:lnTo>
                    <a:pt x="243" y="131"/>
                  </a:lnTo>
                  <a:lnTo>
                    <a:pt x="244" y="131"/>
                  </a:lnTo>
                  <a:lnTo>
                    <a:pt x="245" y="130"/>
                  </a:lnTo>
                  <a:lnTo>
                    <a:pt x="245" y="129"/>
                  </a:lnTo>
                  <a:lnTo>
                    <a:pt x="245" y="127"/>
                  </a:lnTo>
                  <a:lnTo>
                    <a:pt x="245" y="125"/>
                  </a:lnTo>
                  <a:lnTo>
                    <a:pt x="244" y="124"/>
                  </a:lnTo>
                  <a:lnTo>
                    <a:pt x="244" y="122"/>
                  </a:lnTo>
                  <a:lnTo>
                    <a:pt x="243" y="119"/>
                  </a:lnTo>
                  <a:lnTo>
                    <a:pt x="241" y="113"/>
                  </a:lnTo>
                  <a:lnTo>
                    <a:pt x="240" y="111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06"/>
                  </a:lnTo>
                  <a:lnTo>
                    <a:pt x="240" y="103"/>
                  </a:lnTo>
                  <a:lnTo>
                    <a:pt x="241" y="101"/>
                  </a:lnTo>
                  <a:lnTo>
                    <a:pt x="241" y="99"/>
                  </a:lnTo>
                  <a:lnTo>
                    <a:pt x="242" y="95"/>
                  </a:lnTo>
                  <a:lnTo>
                    <a:pt x="243" y="92"/>
                  </a:lnTo>
                  <a:lnTo>
                    <a:pt x="245" y="88"/>
                  </a:lnTo>
                  <a:lnTo>
                    <a:pt x="252" y="76"/>
                  </a:lnTo>
                  <a:lnTo>
                    <a:pt x="253" y="76"/>
                  </a:lnTo>
                  <a:lnTo>
                    <a:pt x="253" y="75"/>
                  </a:lnTo>
                  <a:lnTo>
                    <a:pt x="256" y="78"/>
                  </a:lnTo>
                  <a:lnTo>
                    <a:pt x="262" y="81"/>
                  </a:lnTo>
                  <a:lnTo>
                    <a:pt x="266" y="84"/>
                  </a:lnTo>
                  <a:lnTo>
                    <a:pt x="270" y="86"/>
                  </a:lnTo>
                  <a:lnTo>
                    <a:pt x="274" y="87"/>
                  </a:lnTo>
                  <a:lnTo>
                    <a:pt x="277" y="89"/>
                  </a:lnTo>
                  <a:lnTo>
                    <a:pt x="279" y="90"/>
                  </a:lnTo>
                  <a:lnTo>
                    <a:pt x="282" y="90"/>
                  </a:lnTo>
                  <a:lnTo>
                    <a:pt x="283" y="90"/>
                  </a:lnTo>
                  <a:lnTo>
                    <a:pt x="285" y="90"/>
                  </a:lnTo>
                  <a:lnTo>
                    <a:pt x="287" y="89"/>
                  </a:lnTo>
                  <a:lnTo>
                    <a:pt x="288" y="89"/>
                  </a:lnTo>
                  <a:lnTo>
                    <a:pt x="292" y="87"/>
                  </a:lnTo>
                  <a:lnTo>
                    <a:pt x="299" y="85"/>
                  </a:lnTo>
                  <a:lnTo>
                    <a:pt x="306" y="81"/>
                  </a:lnTo>
                  <a:lnTo>
                    <a:pt x="310" y="79"/>
                  </a:lnTo>
                  <a:lnTo>
                    <a:pt x="311" y="79"/>
                  </a:lnTo>
                  <a:lnTo>
                    <a:pt x="312" y="78"/>
                  </a:lnTo>
                  <a:lnTo>
                    <a:pt x="316" y="78"/>
                  </a:lnTo>
                  <a:lnTo>
                    <a:pt x="320" y="78"/>
                  </a:lnTo>
                  <a:lnTo>
                    <a:pt x="323" y="78"/>
                  </a:lnTo>
                  <a:lnTo>
                    <a:pt x="328" y="79"/>
                  </a:lnTo>
                  <a:lnTo>
                    <a:pt x="332" y="80"/>
                  </a:lnTo>
                  <a:lnTo>
                    <a:pt x="336" y="81"/>
                  </a:lnTo>
                  <a:lnTo>
                    <a:pt x="343" y="83"/>
                  </a:lnTo>
                  <a:lnTo>
                    <a:pt x="350" y="85"/>
                  </a:lnTo>
                  <a:lnTo>
                    <a:pt x="360" y="88"/>
                  </a:lnTo>
                  <a:lnTo>
                    <a:pt x="363" y="88"/>
                  </a:lnTo>
                  <a:lnTo>
                    <a:pt x="366" y="89"/>
                  </a:lnTo>
                  <a:lnTo>
                    <a:pt x="368" y="89"/>
                  </a:lnTo>
                  <a:lnTo>
                    <a:pt x="372" y="89"/>
                  </a:lnTo>
                  <a:lnTo>
                    <a:pt x="377" y="89"/>
                  </a:lnTo>
                  <a:lnTo>
                    <a:pt x="380" y="88"/>
                  </a:lnTo>
                  <a:lnTo>
                    <a:pt x="384" y="88"/>
                  </a:lnTo>
                  <a:lnTo>
                    <a:pt x="389" y="87"/>
                  </a:lnTo>
                  <a:lnTo>
                    <a:pt x="392" y="87"/>
                  </a:lnTo>
                  <a:lnTo>
                    <a:pt x="396" y="86"/>
                  </a:lnTo>
                  <a:lnTo>
                    <a:pt x="402" y="84"/>
                  </a:lnTo>
                  <a:lnTo>
                    <a:pt x="411" y="81"/>
                  </a:lnTo>
                  <a:lnTo>
                    <a:pt x="414" y="79"/>
                  </a:lnTo>
                  <a:lnTo>
                    <a:pt x="416" y="78"/>
                  </a:lnTo>
                  <a:lnTo>
                    <a:pt x="419" y="77"/>
                  </a:lnTo>
                  <a:lnTo>
                    <a:pt x="421" y="76"/>
                  </a:lnTo>
                  <a:lnTo>
                    <a:pt x="422" y="75"/>
                  </a:lnTo>
                  <a:lnTo>
                    <a:pt x="423" y="74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69"/>
                  </a:lnTo>
                  <a:lnTo>
                    <a:pt x="425" y="67"/>
                  </a:lnTo>
                  <a:lnTo>
                    <a:pt x="425" y="65"/>
                  </a:lnTo>
                  <a:lnTo>
                    <a:pt x="424" y="64"/>
                  </a:lnTo>
                  <a:lnTo>
                    <a:pt x="421" y="55"/>
                  </a:lnTo>
                  <a:lnTo>
                    <a:pt x="419" y="52"/>
                  </a:lnTo>
                  <a:lnTo>
                    <a:pt x="419" y="50"/>
                  </a:lnTo>
                  <a:lnTo>
                    <a:pt x="418" y="48"/>
                  </a:lnTo>
                  <a:lnTo>
                    <a:pt x="418" y="43"/>
                  </a:lnTo>
                  <a:lnTo>
                    <a:pt x="418" y="41"/>
                  </a:lnTo>
                  <a:lnTo>
                    <a:pt x="418" y="39"/>
                  </a:lnTo>
                  <a:lnTo>
                    <a:pt x="419" y="37"/>
                  </a:lnTo>
                  <a:lnTo>
                    <a:pt x="419" y="34"/>
                  </a:lnTo>
                  <a:lnTo>
                    <a:pt x="420" y="32"/>
                  </a:lnTo>
                  <a:lnTo>
                    <a:pt x="421" y="31"/>
                  </a:lnTo>
                  <a:lnTo>
                    <a:pt x="422" y="30"/>
                  </a:lnTo>
                  <a:lnTo>
                    <a:pt x="423" y="29"/>
                  </a:lnTo>
                  <a:lnTo>
                    <a:pt x="424" y="29"/>
                  </a:lnTo>
                  <a:lnTo>
                    <a:pt x="425" y="28"/>
                  </a:lnTo>
                  <a:lnTo>
                    <a:pt x="431" y="27"/>
                  </a:lnTo>
                  <a:lnTo>
                    <a:pt x="433" y="27"/>
                  </a:lnTo>
                  <a:lnTo>
                    <a:pt x="436" y="27"/>
                  </a:lnTo>
                  <a:lnTo>
                    <a:pt x="437" y="27"/>
                  </a:lnTo>
                  <a:lnTo>
                    <a:pt x="438" y="27"/>
                  </a:lnTo>
                  <a:lnTo>
                    <a:pt x="444" y="29"/>
                  </a:lnTo>
                  <a:lnTo>
                    <a:pt x="447" y="30"/>
                  </a:lnTo>
                  <a:lnTo>
                    <a:pt x="448" y="30"/>
                  </a:lnTo>
                  <a:lnTo>
                    <a:pt x="449" y="28"/>
                  </a:lnTo>
                  <a:lnTo>
                    <a:pt x="450" y="28"/>
                  </a:lnTo>
                  <a:lnTo>
                    <a:pt x="451" y="28"/>
                  </a:lnTo>
                  <a:lnTo>
                    <a:pt x="452" y="27"/>
                  </a:lnTo>
                  <a:lnTo>
                    <a:pt x="453" y="28"/>
                  </a:lnTo>
                  <a:lnTo>
                    <a:pt x="457" y="28"/>
                  </a:lnTo>
                  <a:lnTo>
                    <a:pt x="458" y="28"/>
                  </a:lnTo>
                  <a:lnTo>
                    <a:pt x="459" y="27"/>
                  </a:lnTo>
                  <a:lnTo>
                    <a:pt x="460" y="25"/>
                  </a:lnTo>
                  <a:lnTo>
                    <a:pt x="462" y="23"/>
                  </a:lnTo>
                  <a:lnTo>
                    <a:pt x="465" y="18"/>
                  </a:lnTo>
                  <a:lnTo>
                    <a:pt x="466" y="18"/>
                  </a:lnTo>
                  <a:lnTo>
                    <a:pt x="467" y="16"/>
                  </a:lnTo>
                  <a:lnTo>
                    <a:pt x="471" y="12"/>
                  </a:lnTo>
                  <a:lnTo>
                    <a:pt x="478" y="7"/>
                  </a:lnTo>
                  <a:lnTo>
                    <a:pt x="481" y="5"/>
                  </a:lnTo>
                  <a:lnTo>
                    <a:pt x="486" y="1"/>
                  </a:lnTo>
                  <a:lnTo>
                    <a:pt x="487" y="0"/>
                  </a:lnTo>
                  <a:lnTo>
                    <a:pt x="488" y="2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6" name="Freeform 39">
              <a:extLst>
                <a:ext uri="{FF2B5EF4-FFF2-40B4-BE49-F238E27FC236}">
                  <a16:creationId xmlns:a16="http://schemas.microsoft.com/office/drawing/2014/main" id="{153A4A8E-A66C-4546-BC55-7784F3B5E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8" y="1371"/>
              <a:ext cx="316" cy="354"/>
            </a:xfrm>
            <a:custGeom>
              <a:avLst/>
              <a:gdLst>
                <a:gd name="T0" fmla="*/ 157 w 316"/>
                <a:gd name="T1" fmla="*/ 2 h 354"/>
                <a:gd name="T2" fmla="*/ 168 w 316"/>
                <a:gd name="T3" fmla="*/ 3 h 354"/>
                <a:gd name="T4" fmla="*/ 172 w 316"/>
                <a:gd name="T5" fmla="*/ 7 h 354"/>
                <a:gd name="T6" fmla="*/ 191 w 316"/>
                <a:gd name="T7" fmla="*/ 28 h 354"/>
                <a:gd name="T8" fmla="*/ 199 w 316"/>
                <a:gd name="T9" fmla="*/ 42 h 354"/>
                <a:gd name="T10" fmla="*/ 197 w 316"/>
                <a:gd name="T11" fmla="*/ 62 h 354"/>
                <a:gd name="T12" fmla="*/ 198 w 316"/>
                <a:gd name="T13" fmla="*/ 71 h 354"/>
                <a:gd name="T14" fmla="*/ 217 w 316"/>
                <a:gd name="T15" fmla="*/ 98 h 354"/>
                <a:gd name="T16" fmla="*/ 226 w 316"/>
                <a:gd name="T17" fmla="*/ 125 h 354"/>
                <a:gd name="T18" fmla="*/ 238 w 316"/>
                <a:gd name="T19" fmla="*/ 141 h 354"/>
                <a:gd name="T20" fmla="*/ 249 w 316"/>
                <a:gd name="T21" fmla="*/ 158 h 354"/>
                <a:gd name="T22" fmla="*/ 252 w 316"/>
                <a:gd name="T23" fmla="*/ 169 h 354"/>
                <a:gd name="T24" fmla="*/ 246 w 316"/>
                <a:gd name="T25" fmla="*/ 188 h 354"/>
                <a:gd name="T26" fmla="*/ 249 w 316"/>
                <a:gd name="T27" fmla="*/ 193 h 354"/>
                <a:gd name="T28" fmla="*/ 279 w 316"/>
                <a:gd name="T29" fmla="*/ 205 h 354"/>
                <a:gd name="T30" fmla="*/ 290 w 316"/>
                <a:gd name="T31" fmla="*/ 215 h 354"/>
                <a:gd name="T32" fmla="*/ 295 w 316"/>
                <a:gd name="T33" fmla="*/ 234 h 354"/>
                <a:gd name="T34" fmla="*/ 301 w 316"/>
                <a:gd name="T35" fmla="*/ 257 h 354"/>
                <a:gd name="T36" fmla="*/ 308 w 316"/>
                <a:gd name="T37" fmla="*/ 272 h 354"/>
                <a:gd name="T38" fmla="*/ 313 w 316"/>
                <a:gd name="T39" fmla="*/ 292 h 354"/>
                <a:gd name="T40" fmla="*/ 311 w 316"/>
                <a:gd name="T41" fmla="*/ 296 h 354"/>
                <a:gd name="T42" fmla="*/ 309 w 316"/>
                <a:gd name="T43" fmla="*/ 312 h 354"/>
                <a:gd name="T44" fmla="*/ 316 w 316"/>
                <a:gd name="T45" fmla="*/ 331 h 354"/>
                <a:gd name="T46" fmla="*/ 312 w 316"/>
                <a:gd name="T47" fmla="*/ 340 h 354"/>
                <a:gd name="T48" fmla="*/ 287 w 316"/>
                <a:gd name="T49" fmla="*/ 350 h 354"/>
                <a:gd name="T50" fmla="*/ 263 w 316"/>
                <a:gd name="T51" fmla="*/ 353 h 354"/>
                <a:gd name="T52" fmla="*/ 234 w 316"/>
                <a:gd name="T53" fmla="*/ 347 h 354"/>
                <a:gd name="T54" fmla="*/ 207 w 316"/>
                <a:gd name="T55" fmla="*/ 342 h 354"/>
                <a:gd name="T56" fmla="*/ 183 w 316"/>
                <a:gd name="T57" fmla="*/ 351 h 354"/>
                <a:gd name="T58" fmla="*/ 170 w 316"/>
                <a:gd name="T59" fmla="*/ 354 h 354"/>
                <a:gd name="T60" fmla="*/ 147 w 316"/>
                <a:gd name="T61" fmla="*/ 342 h 354"/>
                <a:gd name="T62" fmla="*/ 145 w 316"/>
                <a:gd name="T63" fmla="*/ 326 h 354"/>
                <a:gd name="T64" fmla="*/ 139 w 316"/>
                <a:gd name="T65" fmla="*/ 303 h 354"/>
                <a:gd name="T66" fmla="*/ 139 w 316"/>
                <a:gd name="T67" fmla="*/ 280 h 354"/>
                <a:gd name="T68" fmla="*/ 134 w 316"/>
                <a:gd name="T69" fmla="*/ 270 h 354"/>
                <a:gd name="T70" fmla="*/ 115 w 316"/>
                <a:gd name="T71" fmla="*/ 242 h 354"/>
                <a:gd name="T72" fmla="*/ 108 w 316"/>
                <a:gd name="T73" fmla="*/ 230 h 354"/>
                <a:gd name="T74" fmla="*/ 96 w 316"/>
                <a:gd name="T75" fmla="*/ 206 h 354"/>
                <a:gd name="T76" fmla="*/ 80 w 316"/>
                <a:gd name="T77" fmla="*/ 193 h 354"/>
                <a:gd name="T78" fmla="*/ 69 w 316"/>
                <a:gd name="T79" fmla="*/ 183 h 354"/>
                <a:gd name="T80" fmla="*/ 57 w 316"/>
                <a:gd name="T81" fmla="*/ 181 h 354"/>
                <a:gd name="T82" fmla="*/ 54 w 316"/>
                <a:gd name="T83" fmla="*/ 173 h 354"/>
                <a:gd name="T84" fmla="*/ 54 w 316"/>
                <a:gd name="T85" fmla="*/ 159 h 354"/>
                <a:gd name="T86" fmla="*/ 49 w 316"/>
                <a:gd name="T87" fmla="*/ 156 h 354"/>
                <a:gd name="T88" fmla="*/ 32 w 316"/>
                <a:gd name="T89" fmla="*/ 159 h 354"/>
                <a:gd name="T90" fmla="*/ 19 w 316"/>
                <a:gd name="T91" fmla="*/ 151 h 354"/>
                <a:gd name="T92" fmla="*/ 7 w 316"/>
                <a:gd name="T93" fmla="*/ 136 h 354"/>
                <a:gd name="T94" fmla="*/ 1 w 316"/>
                <a:gd name="T95" fmla="*/ 120 h 354"/>
                <a:gd name="T96" fmla="*/ 0 w 316"/>
                <a:gd name="T97" fmla="*/ 112 h 354"/>
                <a:gd name="T98" fmla="*/ 8 w 316"/>
                <a:gd name="T99" fmla="*/ 89 h 354"/>
                <a:gd name="T100" fmla="*/ 11 w 316"/>
                <a:gd name="T101" fmla="*/ 79 h 354"/>
                <a:gd name="T102" fmla="*/ 18 w 316"/>
                <a:gd name="T103" fmla="*/ 81 h 354"/>
                <a:gd name="T104" fmla="*/ 36 w 316"/>
                <a:gd name="T105" fmla="*/ 104 h 354"/>
                <a:gd name="T106" fmla="*/ 51 w 316"/>
                <a:gd name="T107" fmla="*/ 119 h 354"/>
                <a:gd name="T108" fmla="*/ 67 w 316"/>
                <a:gd name="T109" fmla="*/ 125 h 354"/>
                <a:gd name="T110" fmla="*/ 77 w 316"/>
                <a:gd name="T111" fmla="*/ 125 h 354"/>
                <a:gd name="T112" fmla="*/ 96 w 316"/>
                <a:gd name="T113" fmla="*/ 108 h 354"/>
                <a:gd name="T114" fmla="*/ 119 w 316"/>
                <a:gd name="T115" fmla="*/ 81 h 354"/>
                <a:gd name="T116" fmla="*/ 122 w 316"/>
                <a:gd name="T117" fmla="*/ 66 h 354"/>
                <a:gd name="T118" fmla="*/ 132 w 316"/>
                <a:gd name="T119" fmla="*/ 48 h 354"/>
                <a:gd name="T120" fmla="*/ 133 w 316"/>
                <a:gd name="T121" fmla="*/ 25 h 354"/>
                <a:gd name="T122" fmla="*/ 134 w 316"/>
                <a:gd name="T123" fmla="*/ 13 h 354"/>
                <a:gd name="T124" fmla="*/ 145 w 316"/>
                <a:gd name="T125" fmla="*/ 1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6" h="354">
                  <a:moveTo>
                    <a:pt x="148" y="0"/>
                  </a:moveTo>
                  <a:lnTo>
                    <a:pt x="150" y="0"/>
                  </a:lnTo>
                  <a:lnTo>
                    <a:pt x="154" y="2"/>
                  </a:lnTo>
                  <a:lnTo>
                    <a:pt x="155" y="2"/>
                  </a:lnTo>
                  <a:lnTo>
                    <a:pt x="156" y="2"/>
                  </a:lnTo>
                  <a:lnTo>
                    <a:pt x="157" y="2"/>
                  </a:lnTo>
                  <a:lnTo>
                    <a:pt x="159" y="2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3" y="2"/>
                  </a:lnTo>
                  <a:lnTo>
                    <a:pt x="165" y="3"/>
                  </a:lnTo>
                  <a:lnTo>
                    <a:pt x="168" y="3"/>
                  </a:lnTo>
                  <a:lnTo>
                    <a:pt x="170" y="2"/>
                  </a:lnTo>
                  <a:lnTo>
                    <a:pt x="170" y="3"/>
                  </a:lnTo>
                  <a:lnTo>
                    <a:pt x="170" y="3"/>
                  </a:lnTo>
                  <a:lnTo>
                    <a:pt x="170" y="4"/>
                  </a:lnTo>
                  <a:lnTo>
                    <a:pt x="171" y="6"/>
                  </a:lnTo>
                  <a:lnTo>
                    <a:pt x="172" y="7"/>
                  </a:lnTo>
                  <a:lnTo>
                    <a:pt x="175" y="10"/>
                  </a:lnTo>
                  <a:lnTo>
                    <a:pt x="182" y="16"/>
                  </a:lnTo>
                  <a:lnTo>
                    <a:pt x="184" y="18"/>
                  </a:lnTo>
                  <a:lnTo>
                    <a:pt x="185" y="20"/>
                  </a:lnTo>
                  <a:lnTo>
                    <a:pt x="188" y="23"/>
                  </a:lnTo>
                  <a:lnTo>
                    <a:pt x="191" y="28"/>
                  </a:lnTo>
                  <a:lnTo>
                    <a:pt x="194" y="31"/>
                  </a:lnTo>
                  <a:lnTo>
                    <a:pt x="196" y="33"/>
                  </a:lnTo>
                  <a:lnTo>
                    <a:pt x="198" y="36"/>
                  </a:lnTo>
                  <a:lnTo>
                    <a:pt x="198" y="37"/>
                  </a:lnTo>
                  <a:lnTo>
                    <a:pt x="199" y="39"/>
                  </a:lnTo>
                  <a:lnTo>
                    <a:pt x="199" y="42"/>
                  </a:lnTo>
                  <a:lnTo>
                    <a:pt x="198" y="45"/>
                  </a:lnTo>
                  <a:lnTo>
                    <a:pt x="199" y="50"/>
                  </a:lnTo>
                  <a:lnTo>
                    <a:pt x="199" y="52"/>
                  </a:lnTo>
                  <a:lnTo>
                    <a:pt x="198" y="55"/>
                  </a:lnTo>
                  <a:lnTo>
                    <a:pt x="197" y="59"/>
                  </a:lnTo>
                  <a:lnTo>
                    <a:pt x="197" y="62"/>
                  </a:lnTo>
                  <a:lnTo>
                    <a:pt x="196" y="64"/>
                  </a:lnTo>
                  <a:lnTo>
                    <a:pt x="196" y="66"/>
                  </a:lnTo>
                  <a:lnTo>
                    <a:pt x="196" y="67"/>
                  </a:lnTo>
                  <a:lnTo>
                    <a:pt x="197" y="68"/>
                  </a:lnTo>
                  <a:lnTo>
                    <a:pt x="197" y="70"/>
                  </a:lnTo>
                  <a:lnTo>
                    <a:pt x="198" y="71"/>
                  </a:lnTo>
                  <a:lnTo>
                    <a:pt x="199" y="73"/>
                  </a:lnTo>
                  <a:lnTo>
                    <a:pt x="200" y="76"/>
                  </a:lnTo>
                  <a:lnTo>
                    <a:pt x="210" y="87"/>
                  </a:lnTo>
                  <a:lnTo>
                    <a:pt x="212" y="90"/>
                  </a:lnTo>
                  <a:lnTo>
                    <a:pt x="213" y="91"/>
                  </a:lnTo>
                  <a:lnTo>
                    <a:pt x="217" y="98"/>
                  </a:lnTo>
                  <a:lnTo>
                    <a:pt x="225" y="112"/>
                  </a:lnTo>
                  <a:lnTo>
                    <a:pt x="225" y="113"/>
                  </a:lnTo>
                  <a:lnTo>
                    <a:pt x="225" y="115"/>
                  </a:lnTo>
                  <a:lnTo>
                    <a:pt x="226" y="117"/>
                  </a:lnTo>
                  <a:lnTo>
                    <a:pt x="226" y="122"/>
                  </a:lnTo>
                  <a:lnTo>
                    <a:pt x="226" y="125"/>
                  </a:lnTo>
                  <a:lnTo>
                    <a:pt x="227" y="127"/>
                  </a:lnTo>
                  <a:lnTo>
                    <a:pt x="228" y="129"/>
                  </a:lnTo>
                  <a:lnTo>
                    <a:pt x="230" y="131"/>
                  </a:lnTo>
                  <a:lnTo>
                    <a:pt x="231" y="133"/>
                  </a:lnTo>
                  <a:lnTo>
                    <a:pt x="236" y="138"/>
                  </a:lnTo>
                  <a:lnTo>
                    <a:pt x="238" y="141"/>
                  </a:lnTo>
                  <a:lnTo>
                    <a:pt x="240" y="144"/>
                  </a:lnTo>
                  <a:lnTo>
                    <a:pt x="244" y="149"/>
                  </a:lnTo>
                  <a:lnTo>
                    <a:pt x="245" y="151"/>
                  </a:lnTo>
                  <a:lnTo>
                    <a:pt x="246" y="153"/>
                  </a:lnTo>
                  <a:lnTo>
                    <a:pt x="248" y="156"/>
                  </a:lnTo>
                  <a:lnTo>
                    <a:pt x="249" y="158"/>
                  </a:lnTo>
                  <a:lnTo>
                    <a:pt x="251" y="159"/>
                  </a:lnTo>
                  <a:lnTo>
                    <a:pt x="252" y="161"/>
                  </a:lnTo>
                  <a:lnTo>
                    <a:pt x="252" y="163"/>
                  </a:lnTo>
                  <a:lnTo>
                    <a:pt x="253" y="165"/>
                  </a:lnTo>
                  <a:lnTo>
                    <a:pt x="253" y="166"/>
                  </a:lnTo>
                  <a:lnTo>
                    <a:pt x="252" y="169"/>
                  </a:lnTo>
                  <a:lnTo>
                    <a:pt x="252" y="170"/>
                  </a:lnTo>
                  <a:lnTo>
                    <a:pt x="251" y="171"/>
                  </a:lnTo>
                  <a:lnTo>
                    <a:pt x="249" y="177"/>
                  </a:lnTo>
                  <a:lnTo>
                    <a:pt x="247" y="185"/>
                  </a:lnTo>
                  <a:lnTo>
                    <a:pt x="247" y="187"/>
                  </a:lnTo>
                  <a:lnTo>
                    <a:pt x="246" y="188"/>
                  </a:lnTo>
                  <a:lnTo>
                    <a:pt x="247" y="189"/>
                  </a:lnTo>
                  <a:lnTo>
                    <a:pt x="247" y="191"/>
                  </a:lnTo>
                  <a:lnTo>
                    <a:pt x="248" y="192"/>
                  </a:lnTo>
                  <a:lnTo>
                    <a:pt x="248" y="193"/>
                  </a:lnTo>
                  <a:lnTo>
                    <a:pt x="248" y="193"/>
                  </a:lnTo>
                  <a:lnTo>
                    <a:pt x="249" y="193"/>
                  </a:lnTo>
                  <a:lnTo>
                    <a:pt x="260" y="199"/>
                  </a:lnTo>
                  <a:lnTo>
                    <a:pt x="262" y="201"/>
                  </a:lnTo>
                  <a:lnTo>
                    <a:pt x="264" y="202"/>
                  </a:lnTo>
                  <a:lnTo>
                    <a:pt x="268" y="203"/>
                  </a:lnTo>
                  <a:lnTo>
                    <a:pt x="274" y="204"/>
                  </a:lnTo>
                  <a:lnTo>
                    <a:pt x="279" y="205"/>
                  </a:lnTo>
                  <a:lnTo>
                    <a:pt x="281" y="206"/>
                  </a:lnTo>
                  <a:lnTo>
                    <a:pt x="282" y="207"/>
                  </a:lnTo>
                  <a:lnTo>
                    <a:pt x="283" y="208"/>
                  </a:lnTo>
                  <a:lnTo>
                    <a:pt x="285" y="210"/>
                  </a:lnTo>
                  <a:lnTo>
                    <a:pt x="288" y="213"/>
                  </a:lnTo>
                  <a:lnTo>
                    <a:pt x="290" y="215"/>
                  </a:lnTo>
                  <a:lnTo>
                    <a:pt x="291" y="217"/>
                  </a:lnTo>
                  <a:lnTo>
                    <a:pt x="293" y="224"/>
                  </a:lnTo>
                  <a:lnTo>
                    <a:pt x="294" y="226"/>
                  </a:lnTo>
                  <a:lnTo>
                    <a:pt x="294" y="229"/>
                  </a:lnTo>
                  <a:lnTo>
                    <a:pt x="295" y="231"/>
                  </a:lnTo>
                  <a:lnTo>
                    <a:pt x="295" y="234"/>
                  </a:lnTo>
                  <a:lnTo>
                    <a:pt x="294" y="245"/>
                  </a:lnTo>
                  <a:lnTo>
                    <a:pt x="295" y="247"/>
                  </a:lnTo>
                  <a:lnTo>
                    <a:pt x="295" y="249"/>
                  </a:lnTo>
                  <a:lnTo>
                    <a:pt x="296" y="250"/>
                  </a:lnTo>
                  <a:lnTo>
                    <a:pt x="297" y="253"/>
                  </a:lnTo>
                  <a:lnTo>
                    <a:pt x="301" y="257"/>
                  </a:lnTo>
                  <a:lnTo>
                    <a:pt x="305" y="263"/>
                  </a:lnTo>
                  <a:lnTo>
                    <a:pt x="306" y="264"/>
                  </a:lnTo>
                  <a:lnTo>
                    <a:pt x="307" y="266"/>
                  </a:lnTo>
                  <a:lnTo>
                    <a:pt x="307" y="268"/>
                  </a:lnTo>
                  <a:lnTo>
                    <a:pt x="308" y="271"/>
                  </a:lnTo>
                  <a:lnTo>
                    <a:pt x="308" y="272"/>
                  </a:lnTo>
                  <a:lnTo>
                    <a:pt x="309" y="279"/>
                  </a:lnTo>
                  <a:lnTo>
                    <a:pt x="309" y="282"/>
                  </a:lnTo>
                  <a:lnTo>
                    <a:pt x="310" y="284"/>
                  </a:lnTo>
                  <a:lnTo>
                    <a:pt x="311" y="287"/>
                  </a:lnTo>
                  <a:lnTo>
                    <a:pt x="312" y="290"/>
                  </a:lnTo>
                  <a:lnTo>
                    <a:pt x="313" y="292"/>
                  </a:lnTo>
                  <a:lnTo>
                    <a:pt x="314" y="293"/>
                  </a:lnTo>
                  <a:lnTo>
                    <a:pt x="314" y="293"/>
                  </a:lnTo>
                  <a:lnTo>
                    <a:pt x="314" y="293"/>
                  </a:lnTo>
                  <a:lnTo>
                    <a:pt x="313" y="294"/>
                  </a:lnTo>
                  <a:lnTo>
                    <a:pt x="312" y="295"/>
                  </a:lnTo>
                  <a:lnTo>
                    <a:pt x="311" y="296"/>
                  </a:lnTo>
                  <a:lnTo>
                    <a:pt x="310" y="298"/>
                  </a:lnTo>
                  <a:lnTo>
                    <a:pt x="310" y="301"/>
                  </a:lnTo>
                  <a:lnTo>
                    <a:pt x="309" y="303"/>
                  </a:lnTo>
                  <a:lnTo>
                    <a:pt x="309" y="305"/>
                  </a:lnTo>
                  <a:lnTo>
                    <a:pt x="309" y="307"/>
                  </a:lnTo>
                  <a:lnTo>
                    <a:pt x="309" y="312"/>
                  </a:lnTo>
                  <a:lnTo>
                    <a:pt x="310" y="314"/>
                  </a:lnTo>
                  <a:lnTo>
                    <a:pt x="310" y="316"/>
                  </a:lnTo>
                  <a:lnTo>
                    <a:pt x="312" y="319"/>
                  </a:lnTo>
                  <a:lnTo>
                    <a:pt x="315" y="328"/>
                  </a:lnTo>
                  <a:lnTo>
                    <a:pt x="316" y="329"/>
                  </a:lnTo>
                  <a:lnTo>
                    <a:pt x="316" y="331"/>
                  </a:lnTo>
                  <a:lnTo>
                    <a:pt x="316" y="333"/>
                  </a:lnTo>
                  <a:lnTo>
                    <a:pt x="316" y="335"/>
                  </a:lnTo>
                  <a:lnTo>
                    <a:pt x="315" y="336"/>
                  </a:lnTo>
                  <a:lnTo>
                    <a:pt x="314" y="338"/>
                  </a:lnTo>
                  <a:lnTo>
                    <a:pt x="313" y="339"/>
                  </a:lnTo>
                  <a:lnTo>
                    <a:pt x="312" y="340"/>
                  </a:lnTo>
                  <a:lnTo>
                    <a:pt x="310" y="341"/>
                  </a:lnTo>
                  <a:lnTo>
                    <a:pt x="307" y="342"/>
                  </a:lnTo>
                  <a:lnTo>
                    <a:pt x="305" y="343"/>
                  </a:lnTo>
                  <a:lnTo>
                    <a:pt x="302" y="345"/>
                  </a:lnTo>
                  <a:lnTo>
                    <a:pt x="293" y="348"/>
                  </a:lnTo>
                  <a:lnTo>
                    <a:pt x="287" y="350"/>
                  </a:lnTo>
                  <a:lnTo>
                    <a:pt x="283" y="351"/>
                  </a:lnTo>
                  <a:lnTo>
                    <a:pt x="280" y="351"/>
                  </a:lnTo>
                  <a:lnTo>
                    <a:pt x="275" y="352"/>
                  </a:lnTo>
                  <a:lnTo>
                    <a:pt x="271" y="352"/>
                  </a:lnTo>
                  <a:lnTo>
                    <a:pt x="268" y="353"/>
                  </a:lnTo>
                  <a:lnTo>
                    <a:pt x="263" y="353"/>
                  </a:lnTo>
                  <a:lnTo>
                    <a:pt x="259" y="353"/>
                  </a:lnTo>
                  <a:lnTo>
                    <a:pt x="257" y="353"/>
                  </a:lnTo>
                  <a:lnTo>
                    <a:pt x="254" y="352"/>
                  </a:lnTo>
                  <a:lnTo>
                    <a:pt x="251" y="352"/>
                  </a:lnTo>
                  <a:lnTo>
                    <a:pt x="241" y="349"/>
                  </a:lnTo>
                  <a:lnTo>
                    <a:pt x="234" y="347"/>
                  </a:lnTo>
                  <a:lnTo>
                    <a:pt x="227" y="345"/>
                  </a:lnTo>
                  <a:lnTo>
                    <a:pt x="223" y="344"/>
                  </a:lnTo>
                  <a:lnTo>
                    <a:pt x="219" y="343"/>
                  </a:lnTo>
                  <a:lnTo>
                    <a:pt x="214" y="342"/>
                  </a:lnTo>
                  <a:lnTo>
                    <a:pt x="211" y="342"/>
                  </a:lnTo>
                  <a:lnTo>
                    <a:pt x="207" y="342"/>
                  </a:lnTo>
                  <a:lnTo>
                    <a:pt x="203" y="342"/>
                  </a:lnTo>
                  <a:lnTo>
                    <a:pt x="202" y="343"/>
                  </a:lnTo>
                  <a:lnTo>
                    <a:pt x="201" y="343"/>
                  </a:lnTo>
                  <a:lnTo>
                    <a:pt x="197" y="345"/>
                  </a:lnTo>
                  <a:lnTo>
                    <a:pt x="190" y="349"/>
                  </a:lnTo>
                  <a:lnTo>
                    <a:pt x="183" y="351"/>
                  </a:lnTo>
                  <a:lnTo>
                    <a:pt x="179" y="353"/>
                  </a:lnTo>
                  <a:lnTo>
                    <a:pt x="178" y="353"/>
                  </a:lnTo>
                  <a:lnTo>
                    <a:pt x="176" y="354"/>
                  </a:lnTo>
                  <a:lnTo>
                    <a:pt x="174" y="354"/>
                  </a:lnTo>
                  <a:lnTo>
                    <a:pt x="173" y="354"/>
                  </a:lnTo>
                  <a:lnTo>
                    <a:pt x="170" y="354"/>
                  </a:lnTo>
                  <a:lnTo>
                    <a:pt x="168" y="353"/>
                  </a:lnTo>
                  <a:lnTo>
                    <a:pt x="165" y="351"/>
                  </a:lnTo>
                  <a:lnTo>
                    <a:pt x="161" y="350"/>
                  </a:lnTo>
                  <a:lnTo>
                    <a:pt x="157" y="348"/>
                  </a:lnTo>
                  <a:lnTo>
                    <a:pt x="153" y="345"/>
                  </a:lnTo>
                  <a:lnTo>
                    <a:pt x="147" y="342"/>
                  </a:lnTo>
                  <a:lnTo>
                    <a:pt x="144" y="339"/>
                  </a:lnTo>
                  <a:lnTo>
                    <a:pt x="144" y="339"/>
                  </a:lnTo>
                  <a:lnTo>
                    <a:pt x="145" y="337"/>
                  </a:lnTo>
                  <a:lnTo>
                    <a:pt x="145" y="333"/>
                  </a:lnTo>
                  <a:lnTo>
                    <a:pt x="145" y="329"/>
                  </a:lnTo>
                  <a:lnTo>
                    <a:pt x="145" y="326"/>
                  </a:lnTo>
                  <a:lnTo>
                    <a:pt x="145" y="322"/>
                  </a:lnTo>
                  <a:lnTo>
                    <a:pt x="144" y="318"/>
                  </a:lnTo>
                  <a:lnTo>
                    <a:pt x="143" y="316"/>
                  </a:lnTo>
                  <a:lnTo>
                    <a:pt x="141" y="309"/>
                  </a:lnTo>
                  <a:lnTo>
                    <a:pt x="140" y="306"/>
                  </a:lnTo>
                  <a:lnTo>
                    <a:pt x="139" y="303"/>
                  </a:lnTo>
                  <a:lnTo>
                    <a:pt x="138" y="299"/>
                  </a:lnTo>
                  <a:lnTo>
                    <a:pt x="138" y="296"/>
                  </a:lnTo>
                  <a:lnTo>
                    <a:pt x="138" y="295"/>
                  </a:lnTo>
                  <a:lnTo>
                    <a:pt x="139" y="286"/>
                  </a:lnTo>
                  <a:lnTo>
                    <a:pt x="139" y="283"/>
                  </a:lnTo>
                  <a:lnTo>
                    <a:pt x="139" y="280"/>
                  </a:lnTo>
                  <a:lnTo>
                    <a:pt x="139" y="279"/>
                  </a:lnTo>
                  <a:lnTo>
                    <a:pt x="138" y="277"/>
                  </a:lnTo>
                  <a:lnTo>
                    <a:pt x="138" y="275"/>
                  </a:lnTo>
                  <a:lnTo>
                    <a:pt x="137" y="274"/>
                  </a:lnTo>
                  <a:lnTo>
                    <a:pt x="135" y="272"/>
                  </a:lnTo>
                  <a:lnTo>
                    <a:pt x="134" y="270"/>
                  </a:lnTo>
                  <a:lnTo>
                    <a:pt x="129" y="265"/>
                  </a:lnTo>
                  <a:lnTo>
                    <a:pt x="127" y="262"/>
                  </a:lnTo>
                  <a:lnTo>
                    <a:pt x="124" y="260"/>
                  </a:lnTo>
                  <a:lnTo>
                    <a:pt x="122" y="255"/>
                  </a:lnTo>
                  <a:lnTo>
                    <a:pt x="117" y="247"/>
                  </a:lnTo>
                  <a:lnTo>
                    <a:pt x="115" y="242"/>
                  </a:lnTo>
                  <a:lnTo>
                    <a:pt x="114" y="241"/>
                  </a:lnTo>
                  <a:lnTo>
                    <a:pt x="113" y="239"/>
                  </a:lnTo>
                  <a:lnTo>
                    <a:pt x="111" y="237"/>
                  </a:lnTo>
                  <a:lnTo>
                    <a:pt x="110" y="236"/>
                  </a:lnTo>
                  <a:lnTo>
                    <a:pt x="109" y="234"/>
                  </a:lnTo>
                  <a:lnTo>
                    <a:pt x="108" y="230"/>
                  </a:lnTo>
                  <a:lnTo>
                    <a:pt x="105" y="223"/>
                  </a:lnTo>
                  <a:lnTo>
                    <a:pt x="103" y="219"/>
                  </a:lnTo>
                  <a:lnTo>
                    <a:pt x="102" y="215"/>
                  </a:lnTo>
                  <a:lnTo>
                    <a:pt x="100" y="213"/>
                  </a:lnTo>
                  <a:lnTo>
                    <a:pt x="98" y="208"/>
                  </a:lnTo>
                  <a:lnTo>
                    <a:pt x="96" y="206"/>
                  </a:lnTo>
                  <a:lnTo>
                    <a:pt x="95" y="205"/>
                  </a:lnTo>
                  <a:lnTo>
                    <a:pt x="93" y="204"/>
                  </a:lnTo>
                  <a:lnTo>
                    <a:pt x="88" y="200"/>
                  </a:lnTo>
                  <a:lnTo>
                    <a:pt x="87" y="198"/>
                  </a:lnTo>
                  <a:lnTo>
                    <a:pt x="85" y="197"/>
                  </a:lnTo>
                  <a:lnTo>
                    <a:pt x="80" y="193"/>
                  </a:lnTo>
                  <a:lnTo>
                    <a:pt x="77" y="188"/>
                  </a:lnTo>
                  <a:lnTo>
                    <a:pt x="75" y="186"/>
                  </a:lnTo>
                  <a:lnTo>
                    <a:pt x="73" y="185"/>
                  </a:lnTo>
                  <a:lnTo>
                    <a:pt x="72" y="184"/>
                  </a:lnTo>
                  <a:lnTo>
                    <a:pt x="71" y="183"/>
                  </a:lnTo>
                  <a:lnTo>
                    <a:pt x="69" y="183"/>
                  </a:lnTo>
                  <a:lnTo>
                    <a:pt x="67" y="182"/>
                  </a:lnTo>
                  <a:lnTo>
                    <a:pt x="65" y="182"/>
                  </a:lnTo>
                  <a:lnTo>
                    <a:pt x="60" y="181"/>
                  </a:lnTo>
                  <a:lnTo>
                    <a:pt x="58" y="181"/>
                  </a:lnTo>
                  <a:lnTo>
                    <a:pt x="57" y="181"/>
                  </a:lnTo>
                  <a:lnTo>
                    <a:pt x="57" y="181"/>
                  </a:lnTo>
                  <a:lnTo>
                    <a:pt x="55" y="180"/>
                  </a:lnTo>
                  <a:lnTo>
                    <a:pt x="54" y="179"/>
                  </a:lnTo>
                  <a:lnTo>
                    <a:pt x="54" y="178"/>
                  </a:lnTo>
                  <a:lnTo>
                    <a:pt x="54" y="176"/>
                  </a:lnTo>
                  <a:lnTo>
                    <a:pt x="54" y="174"/>
                  </a:lnTo>
                  <a:lnTo>
                    <a:pt x="54" y="173"/>
                  </a:lnTo>
                  <a:lnTo>
                    <a:pt x="54" y="171"/>
                  </a:lnTo>
                  <a:lnTo>
                    <a:pt x="55" y="166"/>
                  </a:lnTo>
                  <a:lnTo>
                    <a:pt x="55" y="164"/>
                  </a:lnTo>
                  <a:lnTo>
                    <a:pt x="55" y="163"/>
                  </a:lnTo>
                  <a:lnTo>
                    <a:pt x="54" y="161"/>
                  </a:lnTo>
                  <a:lnTo>
                    <a:pt x="54" y="159"/>
                  </a:lnTo>
                  <a:lnTo>
                    <a:pt x="53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1" y="156"/>
                  </a:lnTo>
                  <a:lnTo>
                    <a:pt x="49" y="156"/>
                  </a:lnTo>
                  <a:lnTo>
                    <a:pt x="49" y="156"/>
                  </a:lnTo>
                  <a:lnTo>
                    <a:pt x="46" y="157"/>
                  </a:lnTo>
                  <a:lnTo>
                    <a:pt x="41" y="159"/>
                  </a:lnTo>
                  <a:lnTo>
                    <a:pt x="39" y="159"/>
                  </a:lnTo>
                  <a:lnTo>
                    <a:pt x="36" y="159"/>
                  </a:lnTo>
                  <a:lnTo>
                    <a:pt x="34" y="159"/>
                  </a:lnTo>
                  <a:lnTo>
                    <a:pt x="32" y="159"/>
                  </a:lnTo>
                  <a:lnTo>
                    <a:pt x="30" y="158"/>
                  </a:lnTo>
                  <a:lnTo>
                    <a:pt x="27" y="157"/>
                  </a:lnTo>
                  <a:lnTo>
                    <a:pt x="24" y="155"/>
                  </a:lnTo>
                  <a:lnTo>
                    <a:pt x="22" y="154"/>
                  </a:lnTo>
                  <a:lnTo>
                    <a:pt x="20" y="152"/>
                  </a:lnTo>
                  <a:lnTo>
                    <a:pt x="19" y="151"/>
                  </a:lnTo>
                  <a:lnTo>
                    <a:pt x="17" y="149"/>
                  </a:lnTo>
                  <a:lnTo>
                    <a:pt x="15" y="147"/>
                  </a:lnTo>
                  <a:lnTo>
                    <a:pt x="13" y="146"/>
                  </a:lnTo>
                  <a:lnTo>
                    <a:pt x="11" y="144"/>
                  </a:lnTo>
                  <a:lnTo>
                    <a:pt x="10" y="141"/>
                  </a:lnTo>
                  <a:lnTo>
                    <a:pt x="7" y="136"/>
                  </a:lnTo>
                  <a:lnTo>
                    <a:pt x="6" y="134"/>
                  </a:lnTo>
                  <a:lnTo>
                    <a:pt x="5" y="131"/>
                  </a:lnTo>
                  <a:lnTo>
                    <a:pt x="3" y="128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1" y="120"/>
                  </a:lnTo>
                  <a:lnTo>
                    <a:pt x="0" y="117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1" y="112"/>
                  </a:lnTo>
                  <a:lnTo>
                    <a:pt x="1" y="110"/>
                  </a:lnTo>
                  <a:lnTo>
                    <a:pt x="3" y="108"/>
                  </a:lnTo>
                  <a:lnTo>
                    <a:pt x="4" y="105"/>
                  </a:lnTo>
                  <a:lnTo>
                    <a:pt x="5" y="101"/>
                  </a:lnTo>
                  <a:lnTo>
                    <a:pt x="8" y="89"/>
                  </a:lnTo>
                  <a:lnTo>
                    <a:pt x="8" y="85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2" y="79"/>
                  </a:lnTo>
                  <a:lnTo>
                    <a:pt x="13" y="79"/>
                  </a:lnTo>
                  <a:lnTo>
                    <a:pt x="14" y="79"/>
                  </a:lnTo>
                  <a:lnTo>
                    <a:pt x="15" y="80"/>
                  </a:lnTo>
                  <a:lnTo>
                    <a:pt x="18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5" y="89"/>
                  </a:lnTo>
                  <a:lnTo>
                    <a:pt x="29" y="93"/>
                  </a:lnTo>
                  <a:lnTo>
                    <a:pt x="31" y="96"/>
                  </a:lnTo>
                  <a:lnTo>
                    <a:pt x="36" y="104"/>
                  </a:lnTo>
                  <a:lnTo>
                    <a:pt x="38" y="108"/>
                  </a:lnTo>
                  <a:lnTo>
                    <a:pt x="40" y="110"/>
                  </a:lnTo>
                  <a:lnTo>
                    <a:pt x="42" y="112"/>
                  </a:lnTo>
                  <a:lnTo>
                    <a:pt x="43" y="114"/>
                  </a:lnTo>
                  <a:lnTo>
                    <a:pt x="48" y="117"/>
                  </a:lnTo>
                  <a:lnTo>
                    <a:pt x="51" y="119"/>
                  </a:lnTo>
                  <a:lnTo>
                    <a:pt x="53" y="120"/>
                  </a:lnTo>
                  <a:lnTo>
                    <a:pt x="54" y="122"/>
                  </a:lnTo>
                  <a:lnTo>
                    <a:pt x="61" y="124"/>
                  </a:lnTo>
                  <a:lnTo>
                    <a:pt x="63" y="125"/>
                  </a:lnTo>
                  <a:lnTo>
                    <a:pt x="66" y="125"/>
                  </a:lnTo>
                  <a:lnTo>
                    <a:pt x="67" y="125"/>
                  </a:lnTo>
                  <a:lnTo>
                    <a:pt x="69" y="126"/>
                  </a:lnTo>
                  <a:lnTo>
                    <a:pt x="71" y="126"/>
                  </a:lnTo>
                  <a:lnTo>
                    <a:pt x="72" y="126"/>
                  </a:lnTo>
                  <a:lnTo>
                    <a:pt x="74" y="125"/>
                  </a:lnTo>
                  <a:lnTo>
                    <a:pt x="75" y="125"/>
                  </a:lnTo>
                  <a:lnTo>
                    <a:pt x="77" y="125"/>
                  </a:lnTo>
                  <a:lnTo>
                    <a:pt x="78" y="125"/>
                  </a:lnTo>
                  <a:lnTo>
                    <a:pt x="79" y="124"/>
                  </a:lnTo>
                  <a:lnTo>
                    <a:pt x="81" y="122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96" y="108"/>
                  </a:lnTo>
                  <a:lnTo>
                    <a:pt x="103" y="100"/>
                  </a:lnTo>
                  <a:lnTo>
                    <a:pt x="112" y="91"/>
                  </a:lnTo>
                  <a:lnTo>
                    <a:pt x="115" y="89"/>
                  </a:lnTo>
                  <a:lnTo>
                    <a:pt x="116" y="87"/>
                  </a:lnTo>
                  <a:lnTo>
                    <a:pt x="118" y="84"/>
                  </a:lnTo>
                  <a:lnTo>
                    <a:pt x="119" y="81"/>
                  </a:lnTo>
                  <a:lnTo>
                    <a:pt x="119" y="79"/>
                  </a:lnTo>
                  <a:lnTo>
                    <a:pt x="119" y="75"/>
                  </a:lnTo>
                  <a:lnTo>
                    <a:pt x="119" y="73"/>
                  </a:lnTo>
                  <a:lnTo>
                    <a:pt x="120" y="70"/>
                  </a:lnTo>
                  <a:lnTo>
                    <a:pt x="121" y="68"/>
                  </a:lnTo>
                  <a:lnTo>
                    <a:pt x="122" y="66"/>
                  </a:lnTo>
                  <a:lnTo>
                    <a:pt x="123" y="63"/>
                  </a:lnTo>
                  <a:lnTo>
                    <a:pt x="125" y="59"/>
                  </a:lnTo>
                  <a:lnTo>
                    <a:pt x="129" y="54"/>
                  </a:lnTo>
                  <a:lnTo>
                    <a:pt x="130" y="52"/>
                  </a:lnTo>
                  <a:lnTo>
                    <a:pt x="131" y="50"/>
                  </a:lnTo>
                  <a:lnTo>
                    <a:pt x="132" y="48"/>
                  </a:lnTo>
                  <a:lnTo>
                    <a:pt x="133" y="45"/>
                  </a:lnTo>
                  <a:lnTo>
                    <a:pt x="134" y="43"/>
                  </a:lnTo>
                  <a:lnTo>
                    <a:pt x="134" y="41"/>
                  </a:lnTo>
                  <a:lnTo>
                    <a:pt x="134" y="36"/>
                  </a:lnTo>
                  <a:lnTo>
                    <a:pt x="134" y="34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1"/>
                  </a:lnTo>
                  <a:lnTo>
                    <a:pt x="133" y="19"/>
                  </a:lnTo>
                  <a:lnTo>
                    <a:pt x="133" y="17"/>
                  </a:lnTo>
                  <a:lnTo>
                    <a:pt x="134" y="15"/>
                  </a:lnTo>
                  <a:lnTo>
                    <a:pt x="134" y="13"/>
                  </a:lnTo>
                  <a:lnTo>
                    <a:pt x="134" y="11"/>
                  </a:lnTo>
                  <a:lnTo>
                    <a:pt x="135" y="10"/>
                  </a:lnTo>
                  <a:lnTo>
                    <a:pt x="137" y="8"/>
                  </a:lnTo>
                  <a:lnTo>
                    <a:pt x="140" y="5"/>
                  </a:lnTo>
                  <a:lnTo>
                    <a:pt x="142" y="3"/>
                  </a:lnTo>
                  <a:lnTo>
                    <a:pt x="145" y="1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7" name="Freeform 40">
              <a:extLst>
                <a:ext uri="{FF2B5EF4-FFF2-40B4-BE49-F238E27FC236}">
                  <a16:creationId xmlns:a16="http://schemas.microsoft.com/office/drawing/2014/main" id="{309D2FD2-F2A8-4F5C-B912-86384509F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" y="1347"/>
              <a:ext cx="300" cy="318"/>
            </a:xfrm>
            <a:custGeom>
              <a:avLst/>
              <a:gdLst>
                <a:gd name="T0" fmla="*/ 74 w 300"/>
                <a:gd name="T1" fmla="*/ 16 h 318"/>
                <a:gd name="T2" fmla="*/ 87 w 300"/>
                <a:gd name="T3" fmla="*/ 19 h 318"/>
                <a:gd name="T4" fmla="*/ 99 w 300"/>
                <a:gd name="T5" fmla="*/ 13 h 318"/>
                <a:gd name="T6" fmla="*/ 118 w 300"/>
                <a:gd name="T7" fmla="*/ 8 h 318"/>
                <a:gd name="T8" fmla="*/ 145 w 300"/>
                <a:gd name="T9" fmla="*/ 4 h 318"/>
                <a:gd name="T10" fmla="*/ 175 w 300"/>
                <a:gd name="T11" fmla="*/ 12 h 318"/>
                <a:gd name="T12" fmla="*/ 192 w 300"/>
                <a:gd name="T13" fmla="*/ 13 h 318"/>
                <a:gd name="T14" fmla="*/ 204 w 300"/>
                <a:gd name="T15" fmla="*/ 8 h 318"/>
                <a:gd name="T16" fmla="*/ 223 w 300"/>
                <a:gd name="T17" fmla="*/ 0 h 318"/>
                <a:gd name="T18" fmla="*/ 232 w 300"/>
                <a:gd name="T19" fmla="*/ 3 h 318"/>
                <a:gd name="T20" fmla="*/ 248 w 300"/>
                <a:gd name="T21" fmla="*/ 13 h 318"/>
                <a:gd name="T22" fmla="*/ 249 w 300"/>
                <a:gd name="T23" fmla="*/ 22 h 318"/>
                <a:gd name="T24" fmla="*/ 240 w 300"/>
                <a:gd name="T25" fmla="*/ 46 h 318"/>
                <a:gd name="T26" fmla="*/ 242 w 300"/>
                <a:gd name="T27" fmla="*/ 69 h 318"/>
                <a:gd name="T28" fmla="*/ 240 w 300"/>
                <a:gd name="T29" fmla="*/ 95 h 318"/>
                <a:gd name="T30" fmla="*/ 245 w 300"/>
                <a:gd name="T31" fmla="*/ 117 h 318"/>
                <a:gd name="T32" fmla="*/ 256 w 300"/>
                <a:gd name="T33" fmla="*/ 150 h 318"/>
                <a:gd name="T34" fmla="*/ 256 w 300"/>
                <a:gd name="T35" fmla="*/ 160 h 318"/>
                <a:gd name="T36" fmla="*/ 269 w 300"/>
                <a:gd name="T37" fmla="*/ 170 h 318"/>
                <a:gd name="T38" fmla="*/ 293 w 300"/>
                <a:gd name="T39" fmla="*/ 182 h 318"/>
                <a:gd name="T40" fmla="*/ 300 w 300"/>
                <a:gd name="T41" fmla="*/ 191 h 318"/>
                <a:gd name="T42" fmla="*/ 288 w 300"/>
                <a:gd name="T43" fmla="*/ 197 h 318"/>
                <a:gd name="T44" fmla="*/ 245 w 300"/>
                <a:gd name="T45" fmla="*/ 215 h 318"/>
                <a:gd name="T46" fmla="*/ 237 w 300"/>
                <a:gd name="T47" fmla="*/ 218 h 318"/>
                <a:gd name="T48" fmla="*/ 233 w 300"/>
                <a:gd name="T49" fmla="*/ 236 h 318"/>
                <a:gd name="T50" fmla="*/ 229 w 300"/>
                <a:gd name="T51" fmla="*/ 260 h 318"/>
                <a:gd name="T52" fmla="*/ 223 w 300"/>
                <a:gd name="T53" fmla="*/ 268 h 318"/>
                <a:gd name="T54" fmla="*/ 221 w 300"/>
                <a:gd name="T55" fmla="*/ 281 h 318"/>
                <a:gd name="T56" fmla="*/ 209 w 300"/>
                <a:gd name="T57" fmla="*/ 287 h 318"/>
                <a:gd name="T58" fmla="*/ 192 w 300"/>
                <a:gd name="T59" fmla="*/ 300 h 318"/>
                <a:gd name="T60" fmla="*/ 180 w 300"/>
                <a:gd name="T61" fmla="*/ 315 h 318"/>
                <a:gd name="T62" fmla="*/ 172 w 300"/>
                <a:gd name="T63" fmla="*/ 316 h 318"/>
                <a:gd name="T64" fmla="*/ 159 w 300"/>
                <a:gd name="T65" fmla="*/ 315 h 318"/>
                <a:gd name="T66" fmla="*/ 145 w 300"/>
                <a:gd name="T67" fmla="*/ 317 h 318"/>
                <a:gd name="T68" fmla="*/ 142 w 300"/>
                <a:gd name="T69" fmla="*/ 314 h 318"/>
                <a:gd name="T70" fmla="*/ 138 w 300"/>
                <a:gd name="T71" fmla="*/ 295 h 318"/>
                <a:gd name="T72" fmla="*/ 127 w 300"/>
                <a:gd name="T73" fmla="*/ 277 h 318"/>
                <a:gd name="T74" fmla="*/ 125 w 300"/>
                <a:gd name="T75" fmla="*/ 255 h 318"/>
                <a:gd name="T76" fmla="*/ 118 w 300"/>
                <a:gd name="T77" fmla="*/ 237 h 318"/>
                <a:gd name="T78" fmla="*/ 104 w 300"/>
                <a:gd name="T79" fmla="*/ 228 h 318"/>
                <a:gd name="T80" fmla="*/ 78 w 300"/>
                <a:gd name="T81" fmla="*/ 217 h 318"/>
                <a:gd name="T82" fmla="*/ 77 w 300"/>
                <a:gd name="T83" fmla="*/ 211 h 318"/>
                <a:gd name="T84" fmla="*/ 83 w 300"/>
                <a:gd name="T85" fmla="*/ 190 h 318"/>
                <a:gd name="T86" fmla="*/ 78 w 300"/>
                <a:gd name="T87" fmla="*/ 180 h 318"/>
                <a:gd name="T88" fmla="*/ 66 w 300"/>
                <a:gd name="T89" fmla="*/ 162 h 318"/>
                <a:gd name="T90" fmla="*/ 56 w 300"/>
                <a:gd name="T91" fmla="*/ 146 h 318"/>
                <a:gd name="T92" fmla="*/ 43 w 300"/>
                <a:gd name="T93" fmla="*/ 115 h 318"/>
                <a:gd name="T94" fmla="*/ 27 w 300"/>
                <a:gd name="T95" fmla="*/ 94 h 318"/>
                <a:gd name="T96" fmla="*/ 27 w 300"/>
                <a:gd name="T97" fmla="*/ 83 h 318"/>
                <a:gd name="T98" fmla="*/ 29 w 300"/>
                <a:gd name="T99" fmla="*/ 63 h 318"/>
                <a:gd name="T100" fmla="*/ 18 w 300"/>
                <a:gd name="T101" fmla="*/ 47 h 318"/>
                <a:gd name="T102" fmla="*/ 1 w 300"/>
                <a:gd name="T103" fmla="*/ 30 h 318"/>
                <a:gd name="T104" fmla="*/ 5 w 300"/>
                <a:gd name="T105" fmla="*/ 28 h 318"/>
                <a:gd name="T106" fmla="*/ 18 w 300"/>
                <a:gd name="T107" fmla="*/ 27 h 318"/>
                <a:gd name="T108" fmla="*/ 29 w 300"/>
                <a:gd name="T109" fmla="*/ 23 h 318"/>
                <a:gd name="T110" fmla="*/ 37 w 300"/>
                <a:gd name="T111" fmla="*/ 13 h 318"/>
                <a:gd name="T112" fmla="*/ 52 w 300"/>
                <a:gd name="T113" fmla="*/ 6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0" h="318">
                  <a:moveTo>
                    <a:pt x="54" y="6"/>
                  </a:moveTo>
                  <a:lnTo>
                    <a:pt x="55" y="7"/>
                  </a:lnTo>
                  <a:lnTo>
                    <a:pt x="56" y="8"/>
                  </a:lnTo>
                  <a:lnTo>
                    <a:pt x="60" y="10"/>
                  </a:lnTo>
                  <a:lnTo>
                    <a:pt x="71" y="15"/>
                  </a:lnTo>
                  <a:lnTo>
                    <a:pt x="74" y="16"/>
                  </a:lnTo>
                  <a:lnTo>
                    <a:pt x="76" y="17"/>
                  </a:lnTo>
                  <a:lnTo>
                    <a:pt x="78" y="18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20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90" y="18"/>
                  </a:lnTo>
                  <a:lnTo>
                    <a:pt x="92" y="17"/>
                  </a:lnTo>
                  <a:lnTo>
                    <a:pt x="96" y="14"/>
                  </a:lnTo>
                  <a:lnTo>
                    <a:pt x="99" y="13"/>
                  </a:lnTo>
                  <a:lnTo>
                    <a:pt x="102" y="11"/>
                  </a:lnTo>
                  <a:lnTo>
                    <a:pt x="106" y="10"/>
                  </a:lnTo>
                  <a:lnTo>
                    <a:pt x="108" y="9"/>
                  </a:lnTo>
                  <a:lnTo>
                    <a:pt x="109" y="9"/>
                  </a:lnTo>
                  <a:lnTo>
                    <a:pt x="115" y="8"/>
                  </a:lnTo>
                  <a:lnTo>
                    <a:pt x="118" y="8"/>
                  </a:lnTo>
                  <a:lnTo>
                    <a:pt x="122" y="7"/>
                  </a:lnTo>
                  <a:lnTo>
                    <a:pt x="129" y="5"/>
                  </a:lnTo>
                  <a:lnTo>
                    <a:pt x="133" y="5"/>
                  </a:lnTo>
                  <a:lnTo>
                    <a:pt x="136" y="4"/>
                  </a:lnTo>
                  <a:lnTo>
                    <a:pt x="141" y="4"/>
                  </a:lnTo>
                  <a:lnTo>
                    <a:pt x="145" y="4"/>
                  </a:lnTo>
                  <a:lnTo>
                    <a:pt x="148" y="4"/>
                  </a:lnTo>
                  <a:lnTo>
                    <a:pt x="153" y="5"/>
                  </a:lnTo>
                  <a:lnTo>
                    <a:pt x="158" y="6"/>
                  </a:lnTo>
                  <a:lnTo>
                    <a:pt x="163" y="7"/>
                  </a:lnTo>
                  <a:lnTo>
                    <a:pt x="167" y="8"/>
                  </a:lnTo>
                  <a:lnTo>
                    <a:pt x="175" y="12"/>
                  </a:lnTo>
                  <a:lnTo>
                    <a:pt x="178" y="13"/>
                  </a:lnTo>
                  <a:lnTo>
                    <a:pt x="180" y="13"/>
                  </a:lnTo>
                  <a:lnTo>
                    <a:pt x="183" y="13"/>
                  </a:lnTo>
                  <a:lnTo>
                    <a:pt x="186" y="13"/>
                  </a:lnTo>
                  <a:lnTo>
                    <a:pt x="190" y="13"/>
                  </a:lnTo>
                  <a:lnTo>
                    <a:pt x="192" y="13"/>
                  </a:lnTo>
                  <a:lnTo>
                    <a:pt x="194" y="13"/>
                  </a:lnTo>
                  <a:lnTo>
                    <a:pt x="196" y="13"/>
                  </a:lnTo>
                  <a:lnTo>
                    <a:pt x="199" y="12"/>
                  </a:lnTo>
                  <a:lnTo>
                    <a:pt x="201" y="10"/>
                  </a:lnTo>
                  <a:lnTo>
                    <a:pt x="203" y="9"/>
                  </a:lnTo>
                  <a:lnTo>
                    <a:pt x="204" y="8"/>
                  </a:lnTo>
                  <a:lnTo>
                    <a:pt x="212" y="2"/>
                  </a:lnTo>
                  <a:lnTo>
                    <a:pt x="214" y="1"/>
                  </a:lnTo>
                  <a:lnTo>
                    <a:pt x="215" y="1"/>
                  </a:lnTo>
                  <a:lnTo>
                    <a:pt x="217" y="0"/>
                  </a:lnTo>
                  <a:lnTo>
                    <a:pt x="220" y="0"/>
                  </a:lnTo>
                  <a:lnTo>
                    <a:pt x="223" y="0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5" y="0"/>
                  </a:lnTo>
                  <a:lnTo>
                    <a:pt x="227" y="1"/>
                  </a:lnTo>
                  <a:lnTo>
                    <a:pt x="230" y="1"/>
                  </a:lnTo>
                  <a:lnTo>
                    <a:pt x="232" y="3"/>
                  </a:lnTo>
                  <a:lnTo>
                    <a:pt x="237" y="6"/>
                  </a:lnTo>
                  <a:lnTo>
                    <a:pt x="241" y="8"/>
                  </a:lnTo>
                  <a:lnTo>
                    <a:pt x="244" y="10"/>
                  </a:lnTo>
                  <a:lnTo>
                    <a:pt x="246" y="12"/>
                  </a:lnTo>
                  <a:lnTo>
                    <a:pt x="247" y="13"/>
                  </a:lnTo>
                  <a:lnTo>
                    <a:pt x="248" y="13"/>
                  </a:lnTo>
                  <a:lnTo>
                    <a:pt x="248" y="15"/>
                  </a:lnTo>
                  <a:lnTo>
                    <a:pt x="248" y="15"/>
                  </a:lnTo>
                  <a:lnTo>
                    <a:pt x="249" y="16"/>
                  </a:lnTo>
                  <a:lnTo>
                    <a:pt x="249" y="17"/>
                  </a:lnTo>
                  <a:lnTo>
                    <a:pt x="249" y="20"/>
                  </a:lnTo>
                  <a:lnTo>
                    <a:pt x="249" y="22"/>
                  </a:lnTo>
                  <a:lnTo>
                    <a:pt x="249" y="24"/>
                  </a:lnTo>
                  <a:lnTo>
                    <a:pt x="248" y="28"/>
                  </a:lnTo>
                  <a:lnTo>
                    <a:pt x="247" y="32"/>
                  </a:lnTo>
                  <a:lnTo>
                    <a:pt x="246" y="34"/>
                  </a:lnTo>
                  <a:lnTo>
                    <a:pt x="242" y="42"/>
                  </a:lnTo>
                  <a:lnTo>
                    <a:pt x="240" y="46"/>
                  </a:lnTo>
                  <a:lnTo>
                    <a:pt x="239" y="47"/>
                  </a:lnTo>
                  <a:lnTo>
                    <a:pt x="239" y="49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0" y="58"/>
                  </a:lnTo>
                  <a:lnTo>
                    <a:pt x="242" y="69"/>
                  </a:lnTo>
                  <a:lnTo>
                    <a:pt x="243" y="71"/>
                  </a:lnTo>
                  <a:lnTo>
                    <a:pt x="243" y="74"/>
                  </a:lnTo>
                  <a:lnTo>
                    <a:pt x="243" y="77"/>
                  </a:lnTo>
                  <a:lnTo>
                    <a:pt x="242" y="80"/>
                  </a:lnTo>
                  <a:lnTo>
                    <a:pt x="240" y="93"/>
                  </a:lnTo>
                  <a:lnTo>
                    <a:pt x="240" y="95"/>
                  </a:lnTo>
                  <a:lnTo>
                    <a:pt x="240" y="99"/>
                  </a:lnTo>
                  <a:lnTo>
                    <a:pt x="240" y="102"/>
                  </a:lnTo>
                  <a:lnTo>
                    <a:pt x="241" y="105"/>
                  </a:lnTo>
                  <a:lnTo>
                    <a:pt x="242" y="108"/>
                  </a:lnTo>
                  <a:lnTo>
                    <a:pt x="243" y="111"/>
                  </a:lnTo>
                  <a:lnTo>
                    <a:pt x="245" y="117"/>
                  </a:lnTo>
                  <a:lnTo>
                    <a:pt x="250" y="133"/>
                  </a:lnTo>
                  <a:lnTo>
                    <a:pt x="253" y="139"/>
                  </a:lnTo>
                  <a:lnTo>
                    <a:pt x="256" y="145"/>
                  </a:lnTo>
                  <a:lnTo>
                    <a:pt x="256" y="147"/>
                  </a:lnTo>
                  <a:lnTo>
                    <a:pt x="257" y="149"/>
                  </a:lnTo>
                  <a:lnTo>
                    <a:pt x="256" y="150"/>
                  </a:lnTo>
                  <a:lnTo>
                    <a:pt x="256" y="152"/>
                  </a:lnTo>
                  <a:lnTo>
                    <a:pt x="255" y="156"/>
                  </a:lnTo>
                  <a:lnTo>
                    <a:pt x="255" y="157"/>
                  </a:lnTo>
                  <a:lnTo>
                    <a:pt x="255" y="158"/>
                  </a:lnTo>
                  <a:lnTo>
                    <a:pt x="255" y="160"/>
                  </a:lnTo>
                  <a:lnTo>
                    <a:pt x="256" y="160"/>
                  </a:lnTo>
                  <a:lnTo>
                    <a:pt x="256" y="161"/>
                  </a:lnTo>
                  <a:lnTo>
                    <a:pt x="258" y="163"/>
                  </a:lnTo>
                  <a:lnTo>
                    <a:pt x="259" y="165"/>
                  </a:lnTo>
                  <a:lnTo>
                    <a:pt x="261" y="167"/>
                  </a:lnTo>
                  <a:lnTo>
                    <a:pt x="263" y="168"/>
                  </a:lnTo>
                  <a:lnTo>
                    <a:pt x="269" y="170"/>
                  </a:lnTo>
                  <a:lnTo>
                    <a:pt x="272" y="171"/>
                  </a:lnTo>
                  <a:lnTo>
                    <a:pt x="279" y="173"/>
                  </a:lnTo>
                  <a:lnTo>
                    <a:pt x="282" y="175"/>
                  </a:lnTo>
                  <a:lnTo>
                    <a:pt x="287" y="177"/>
                  </a:lnTo>
                  <a:lnTo>
                    <a:pt x="291" y="180"/>
                  </a:lnTo>
                  <a:lnTo>
                    <a:pt x="293" y="182"/>
                  </a:lnTo>
                  <a:lnTo>
                    <a:pt x="294" y="183"/>
                  </a:lnTo>
                  <a:lnTo>
                    <a:pt x="295" y="184"/>
                  </a:lnTo>
                  <a:lnTo>
                    <a:pt x="297" y="186"/>
                  </a:lnTo>
                  <a:lnTo>
                    <a:pt x="298" y="188"/>
                  </a:lnTo>
                  <a:lnTo>
                    <a:pt x="299" y="190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299" y="193"/>
                  </a:lnTo>
                  <a:lnTo>
                    <a:pt x="297" y="194"/>
                  </a:lnTo>
                  <a:lnTo>
                    <a:pt x="288" y="197"/>
                  </a:lnTo>
                  <a:lnTo>
                    <a:pt x="280" y="202"/>
                  </a:lnTo>
                  <a:lnTo>
                    <a:pt x="270" y="206"/>
                  </a:lnTo>
                  <a:lnTo>
                    <a:pt x="261" y="210"/>
                  </a:lnTo>
                  <a:lnTo>
                    <a:pt x="257" y="212"/>
                  </a:lnTo>
                  <a:lnTo>
                    <a:pt x="248" y="214"/>
                  </a:lnTo>
                  <a:lnTo>
                    <a:pt x="245" y="215"/>
                  </a:lnTo>
                  <a:lnTo>
                    <a:pt x="241" y="216"/>
                  </a:lnTo>
                  <a:lnTo>
                    <a:pt x="239" y="216"/>
                  </a:lnTo>
                  <a:lnTo>
                    <a:pt x="238" y="217"/>
                  </a:lnTo>
                  <a:lnTo>
                    <a:pt x="237" y="217"/>
                  </a:lnTo>
                  <a:lnTo>
                    <a:pt x="237" y="217"/>
                  </a:lnTo>
                  <a:lnTo>
                    <a:pt x="237" y="218"/>
                  </a:lnTo>
                  <a:lnTo>
                    <a:pt x="237" y="220"/>
                  </a:lnTo>
                  <a:lnTo>
                    <a:pt x="237" y="223"/>
                  </a:lnTo>
                  <a:lnTo>
                    <a:pt x="237" y="224"/>
                  </a:lnTo>
                  <a:lnTo>
                    <a:pt x="236" y="227"/>
                  </a:lnTo>
                  <a:lnTo>
                    <a:pt x="234" y="231"/>
                  </a:lnTo>
                  <a:lnTo>
                    <a:pt x="233" y="236"/>
                  </a:lnTo>
                  <a:lnTo>
                    <a:pt x="233" y="239"/>
                  </a:lnTo>
                  <a:lnTo>
                    <a:pt x="232" y="246"/>
                  </a:lnTo>
                  <a:lnTo>
                    <a:pt x="232" y="251"/>
                  </a:lnTo>
                  <a:lnTo>
                    <a:pt x="232" y="252"/>
                  </a:lnTo>
                  <a:lnTo>
                    <a:pt x="231" y="256"/>
                  </a:lnTo>
                  <a:lnTo>
                    <a:pt x="229" y="260"/>
                  </a:lnTo>
                  <a:lnTo>
                    <a:pt x="228" y="262"/>
                  </a:lnTo>
                  <a:lnTo>
                    <a:pt x="227" y="263"/>
                  </a:lnTo>
                  <a:lnTo>
                    <a:pt x="226" y="264"/>
                  </a:lnTo>
                  <a:lnTo>
                    <a:pt x="224" y="267"/>
                  </a:lnTo>
                  <a:lnTo>
                    <a:pt x="224" y="267"/>
                  </a:lnTo>
                  <a:lnTo>
                    <a:pt x="223" y="268"/>
                  </a:lnTo>
                  <a:lnTo>
                    <a:pt x="223" y="270"/>
                  </a:lnTo>
                  <a:lnTo>
                    <a:pt x="223" y="274"/>
                  </a:lnTo>
                  <a:lnTo>
                    <a:pt x="222" y="276"/>
                  </a:lnTo>
                  <a:lnTo>
                    <a:pt x="222" y="279"/>
                  </a:lnTo>
                  <a:lnTo>
                    <a:pt x="221" y="280"/>
                  </a:lnTo>
                  <a:lnTo>
                    <a:pt x="221" y="281"/>
                  </a:lnTo>
                  <a:lnTo>
                    <a:pt x="220" y="282"/>
                  </a:lnTo>
                  <a:lnTo>
                    <a:pt x="218" y="283"/>
                  </a:lnTo>
                  <a:lnTo>
                    <a:pt x="217" y="284"/>
                  </a:lnTo>
                  <a:lnTo>
                    <a:pt x="214" y="285"/>
                  </a:lnTo>
                  <a:lnTo>
                    <a:pt x="211" y="286"/>
                  </a:lnTo>
                  <a:lnTo>
                    <a:pt x="209" y="287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7" y="289"/>
                  </a:lnTo>
                  <a:lnTo>
                    <a:pt x="202" y="293"/>
                  </a:lnTo>
                  <a:lnTo>
                    <a:pt x="199" y="295"/>
                  </a:lnTo>
                  <a:lnTo>
                    <a:pt x="192" y="300"/>
                  </a:lnTo>
                  <a:lnTo>
                    <a:pt x="188" y="304"/>
                  </a:lnTo>
                  <a:lnTo>
                    <a:pt x="187" y="306"/>
                  </a:lnTo>
                  <a:lnTo>
                    <a:pt x="186" y="306"/>
                  </a:lnTo>
                  <a:lnTo>
                    <a:pt x="183" y="311"/>
                  </a:lnTo>
                  <a:lnTo>
                    <a:pt x="181" y="313"/>
                  </a:lnTo>
                  <a:lnTo>
                    <a:pt x="180" y="315"/>
                  </a:lnTo>
                  <a:lnTo>
                    <a:pt x="179" y="316"/>
                  </a:lnTo>
                  <a:lnTo>
                    <a:pt x="179" y="316"/>
                  </a:lnTo>
                  <a:lnTo>
                    <a:pt x="178" y="316"/>
                  </a:lnTo>
                  <a:lnTo>
                    <a:pt x="174" y="316"/>
                  </a:lnTo>
                  <a:lnTo>
                    <a:pt x="173" y="315"/>
                  </a:lnTo>
                  <a:lnTo>
                    <a:pt x="172" y="316"/>
                  </a:lnTo>
                  <a:lnTo>
                    <a:pt x="171" y="316"/>
                  </a:lnTo>
                  <a:lnTo>
                    <a:pt x="170" y="316"/>
                  </a:lnTo>
                  <a:lnTo>
                    <a:pt x="169" y="318"/>
                  </a:lnTo>
                  <a:lnTo>
                    <a:pt x="168" y="318"/>
                  </a:lnTo>
                  <a:lnTo>
                    <a:pt x="165" y="317"/>
                  </a:lnTo>
                  <a:lnTo>
                    <a:pt x="159" y="315"/>
                  </a:lnTo>
                  <a:lnTo>
                    <a:pt x="158" y="315"/>
                  </a:lnTo>
                  <a:lnTo>
                    <a:pt x="157" y="315"/>
                  </a:lnTo>
                  <a:lnTo>
                    <a:pt x="154" y="315"/>
                  </a:lnTo>
                  <a:lnTo>
                    <a:pt x="152" y="315"/>
                  </a:lnTo>
                  <a:lnTo>
                    <a:pt x="146" y="316"/>
                  </a:lnTo>
                  <a:lnTo>
                    <a:pt x="145" y="317"/>
                  </a:lnTo>
                  <a:lnTo>
                    <a:pt x="145" y="317"/>
                  </a:lnTo>
                  <a:lnTo>
                    <a:pt x="144" y="317"/>
                  </a:lnTo>
                  <a:lnTo>
                    <a:pt x="144" y="317"/>
                  </a:lnTo>
                  <a:lnTo>
                    <a:pt x="144" y="317"/>
                  </a:lnTo>
                  <a:lnTo>
                    <a:pt x="143" y="316"/>
                  </a:lnTo>
                  <a:lnTo>
                    <a:pt x="142" y="314"/>
                  </a:lnTo>
                  <a:lnTo>
                    <a:pt x="141" y="311"/>
                  </a:lnTo>
                  <a:lnTo>
                    <a:pt x="140" y="308"/>
                  </a:lnTo>
                  <a:lnTo>
                    <a:pt x="139" y="306"/>
                  </a:lnTo>
                  <a:lnTo>
                    <a:pt x="139" y="303"/>
                  </a:lnTo>
                  <a:lnTo>
                    <a:pt x="138" y="296"/>
                  </a:lnTo>
                  <a:lnTo>
                    <a:pt x="138" y="295"/>
                  </a:lnTo>
                  <a:lnTo>
                    <a:pt x="137" y="292"/>
                  </a:lnTo>
                  <a:lnTo>
                    <a:pt x="137" y="290"/>
                  </a:lnTo>
                  <a:lnTo>
                    <a:pt x="136" y="288"/>
                  </a:lnTo>
                  <a:lnTo>
                    <a:pt x="135" y="287"/>
                  </a:lnTo>
                  <a:lnTo>
                    <a:pt x="131" y="281"/>
                  </a:lnTo>
                  <a:lnTo>
                    <a:pt x="127" y="277"/>
                  </a:lnTo>
                  <a:lnTo>
                    <a:pt x="126" y="274"/>
                  </a:lnTo>
                  <a:lnTo>
                    <a:pt x="125" y="273"/>
                  </a:lnTo>
                  <a:lnTo>
                    <a:pt x="125" y="271"/>
                  </a:lnTo>
                  <a:lnTo>
                    <a:pt x="124" y="269"/>
                  </a:lnTo>
                  <a:lnTo>
                    <a:pt x="125" y="258"/>
                  </a:lnTo>
                  <a:lnTo>
                    <a:pt x="125" y="255"/>
                  </a:lnTo>
                  <a:lnTo>
                    <a:pt x="124" y="253"/>
                  </a:lnTo>
                  <a:lnTo>
                    <a:pt x="124" y="250"/>
                  </a:lnTo>
                  <a:lnTo>
                    <a:pt x="123" y="248"/>
                  </a:lnTo>
                  <a:lnTo>
                    <a:pt x="121" y="241"/>
                  </a:lnTo>
                  <a:lnTo>
                    <a:pt x="120" y="239"/>
                  </a:lnTo>
                  <a:lnTo>
                    <a:pt x="118" y="237"/>
                  </a:lnTo>
                  <a:lnTo>
                    <a:pt x="115" y="234"/>
                  </a:lnTo>
                  <a:lnTo>
                    <a:pt x="113" y="232"/>
                  </a:lnTo>
                  <a:lnTo>
                    <a:pt x="112" y="231"/>
                  </a:lnTo>
                  <a:lnTo>
                    <a:pt x="111" y="230"/>
                  </a:lnTo>
                  <a:lnTo>
                    <a:pt x="109" y="229"/>
                  </a:lnTo>
                  <a:lnTo>
                    <a:pt x="104" y="228"/>
                  </a:lnTo>
                  <a:lnTo>
                    <a:pt x="98" y="227"/>
                  </a:lnTo>
                  <a:lnTo>
                    <a:pt x="94" y="226"/>
                  </a:lnTo>
                  <a:lnTo>
                    <a:pt x="92" y="225"/>
                  </a:lnTo>
                  <a:lnTo>
                    <a:pt x="90" y="223"/>
                  </a:lnTo>
                  <a:lnTo>
                    <a:pt x="79" y="217"/>
                  </a:lnTo>
                  <a:lnTo>
                    <a:pt x="78" y="217"/>
                  </a:lnTo>
                  <a:lnTo>
                    <a:pt x="78" y="217"/>
                  </a:lnTo>
                  <a:lnTo>
                    <a:pt x="78" y="216"/>
                  </a:lnTo>
                  <a:lnTo>
                    <a:pt x="77" y="215"/>
                  </a:lnTo>
                  <a:lnTo>
                    <a:pt x="77" y="213"/>
                  </a:lnTo>
                  <a:lnTo>
                    <a:pt x="76" y="212"/>
                  </a:lnTo>
                  <a:lnTo>
                    <a:pt x="77" y="211"/>
                  </a:lnTo>
                  <a:lnTo>
                    <a:pt x="77" y="209"/>
                  </a:lnTo>
                  <a:lnTo>
                    <a:pt x="79" y="201"/>
                  </a:lnTo>
                  <a:lnTo>
                    <a:pt x="81" y="195"/>
                  </a:lnTo>
                  <a:lnTo>
                    <a:pt x="82" y="194"/>
                  </a:lnTo>
                  <a:lnTo>
                    <a:pt x="82" y="193"/>
                  </a:lnTo>
                  <a:lnTo>
                    <a:pt x="83" y="190"/>
                  </a:lnTo>
                  <a:lnTo>
                    <a:pt x="83" y="189"/>
                  </a:lnTo>
                  <a:lnTo>
                    <a:pt x="82" y="187"/>
                  </a:lnTo>
                  <a:lnTo>
                    <a:pt x="82" y="185"/>
                  </a:lnTo>
                  <a:lnTo>
                    <a:pt x="81" y="183"/>
                  </a:lnTo>
                  <a:lnTo>
                    <a:pt x="79" y="182"/>
                  </a:lnTo>
                  <a:lnTo>
                    <a:pt x="78" y="180"/>
                  </a:lnTo>
                  <a:lnTo>
                    <a:pt x="76" y="177"/>
                  </a:lnTo>
                  <a:lnTo>
                    <a:pt x="75" y="175"/>
                  </a:lnTo>
                  <a:lnTo>
                    <a:pt x="74" y="173"/>
                  </a:lnTo>
                  <a:lnTo>
                    <a:pt x="70" y="168"/>
                  </a:lnTo>
                  <a:lnTo>
                    <a:pt x="68" y="165"/>
                  </a:lnTo>
                  <a:lnTo>
                    <a:pt x="66" y="162"/>
                  </a:lnTo>
                  <a:lnTo>
                    <a:pt x="61" y="157"/>
                  </a:lnTo>
                  <a:lnTo>
                    <a:pt x="60" y="155"/>
                  </a:lnTo>
                  <a:lnTo>
                    <a:pt x="58" y="153"/>
                  </a:lnTo>
                  <a:lnTo>
                    <a:pt x="57" y="151"/>
                  </a:lnTo>
                  <a:lnTo>
                    <a:pt x="56" y="149"/>
                  </a:lnTo>
                  <a:lnTo>
                    <a:pt x="56" y="146"/>
                  </a:lnTo>
                  <a:lnTo>
                    <a:pt x="56" y="141"/>
                  </a:lnTo>
                  <a:lnTo>
                    <a:pt x="55" y="139"/>
                  </a:lnTo>
                  <a:lnTo>
                    <a:pt x="55" y="137"/>
                  </a:lnTo>
                  <a:lnTo>
                    <a:pt x="55" y="136"/>
                  </a:lnTo>
                  <a:lnTo>
                    <a:pt x="47" y="122"/>
                  </a:lnTo>
                  <a:lnTo>
                    <a:pt x="43" y="115"/>
                  </a:lnTo>
                  <a:lnTo>
                    <a:pt x="42" y="114"/>
                  </a:lnTo>
                  <a:lnTo>
                    <a:pt x="40" y="111"/>
                  </a:lnTo>
                  <a:lnTo>
                    <a:pt x="30" y="100"/>
                  </a:lnTo>
                  <a:lnTo>
                    <a:pt x="29" y="97"/>
                  </a:lnTo>
                  <a:lnTo>
                    <a:pt x="28" y="95"/>
                  </a:lnTo>
                  <a:lnTo>
                    <a:pt x="27" y="94"/>
                  </a:lnTo>
                  <a:lnTo>
                    <a:pt x="27" y="92"/>
                  </a:lnTo>
                  <a:lnTo>
                    <a:pt x="26" y="91"/>
                  </a:lnTo>
                  <a:lnTo>
                    <a:pt x="26" y="90"/>
                  </a:lnTo>
                  <a:lnTo>
                    <a:pt x="26" y="88"/>
                  </a:lnTo>
                  <a:lnTo>
                    <a:pt x="27" y="86"/>
                  </a:lnTo>
                  <a:lnTo>
                    <a:pt x="27" y="83"/>
                  </a:lnTo>
                  <a:lnTo>
                    <a:pt x="28" y="79"/>
                  </a:lnTo>
                  <a:lnTo>
                    <a:pt x="29" y="76"/>
                  </a:lnTo>
                  <a:lnTo>
                    <a:pt x="29" y="74"/>
                  </a:lnTo>
                  <a:lnTo>
                    <a:pt x="28" y="69"/>
                  </a:lnTo>
                  <a:lnTo>
                    <a:pt x="29" y="66"/>
                  </a:lnTo>
                  <a:lnTo>
                    <a:pt x="29" y="63"/>
                  </a:lnTo>
                  <a:lnTo>
                    <a:pt x="28" y="61"/>
                  </a:lnTo>
                  <a:lnTo>
                    <a:pt x="28" y="60"/>
                  </a:lnTo>
                  <a:lnTo>
                    <a:pt x="26" y="57"/>
                  </a:lnTo>
                  <a:lnTo>
                    <a:pt x="24" y="55"/>
                  </a:lnTo>
                  <a:lnTo>
                    <a:pt x="21" y="52"/>
                  </a:lnTo>
                  <a:lnTo>
                    <a:pt x="18" y="47"/>
                  </a:lnTo>
                  <a:lnTo>
                    <a:pt x="15" y="44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5" y="34"/>
                  </a:lnTo>
                  <a:lnTo>
                    <a:pt x="2" y="31"/>
                  </a:lnTo>
                  <a:lnTo>
                    <a:pt x="1" y="30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5" y="28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3" y="29"/>
                  </a:lnTo>
                  <a:lnTo>
                    <a:pt x="14" y="29"/>
                  </a:lnTo>
                  <a:lnTo>
                    <a:pt x="18" y="27"/>
                  </a:lnTo>
                  <a:lnTo>
                    <a:pt x="23" y="26"/>
                  </a:lnTo>
                  <a:lnTo>
                    <a:pt x="24" y="25"/>
                  </a:lnTo>
                  <a:lnTo>
                    <a:pt x="26" y="25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30" y="21"/>
                  </a:lnTo>
                  <a:lnTo>
                    <a:pt x="30" y="17"/>
                  </a:lnTo>
                  <a:lnTo>
                    <a:pt x="31" y="16"/>
                  </a:lnTo>
                  <a:lnTo>
                    <a:pt x="32" y="15"/>
                  </a:lnTo>
                  <a:lnTo>
                    <a:pt x="37" y="13"/>
                  </a:lnTo>
                  <a:lnTo>
                    <a:pt x="41" y="10"/>
                  </a:lnTo>
                  <a:lnTo>
                    <a:pt x="43" y="9"/>
                  </a:lnTo>
                  <a:lnTo>
                    <a:pt x="45" y="8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4" y="6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8" name="Freeform 41">
              <a:extLst>
                <a:ext uri="{FF2B5EF4-FFF2-40B4-BE49-F238E27FC236}">
                  <a16:creationId xmlns:a16="http://schemas.microsoft.com/office/drawing/2014/main" id="{70016B20-AB64-4452-992F-1BD8C63CD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2" y="1254"/>
              <a:ext cx="261" cy="286"/>
            </a:xfrm>
            <a:custGeom>
              <a:avLst/>
              <a:gdLst>
                <a:gd name="T0" fmla="*/ 87 w 261"/>
                <a:gd name="T1" fmla="*/ 3 h 286"/>
                <a:gd name="T2" fmla="*/ 92 w 261"/>
                <a:gd name="T3" fmla="*/ 8 h 286"/>
                <a:gd name="T4" fmla="*/ 100 w 261"/>
                <a:gd name="T5" fmla="*/ 9 h 286"/>
                <a:gd name="T6" fmla="*/ 109 w 261"/>
                <a:gd name="T7" fmla="*/ 15 h 286"/>
                <a:gd name="T8" fmla="*/ 113 w 261"/>
                <a:gd name="T9" fmla="*/ 15 h 286"/>
                <a:gd name="T10" fmla="*/ 120 w 261"/>
                <a:gd name="T11" fmla="*/ 11 h 286"/>
                <a:gd name="T12" fmla="*/ 123 w 261"/>
                <a:gd name="T13" fmla="*/ 19 h 286"/>
                <a:gd name="T14" fmla="*/ 123 w 261"/>
                <a:gd name="T15" fmla="*/ 33 h 286"/>
                <a:gd name="T16" fmla="*/ 127 w 261"/>
                <a:gd name="T17" fmla="*/ 43 h 286"/>
                <a:gd name="T18" fmla="*/ 139 w 261"/>
                <a:gd name="T19" fmla="*/ 51 h 286"/>
                <a:gd name="T20" fmla="*/ 141 w 261"/>
                <a:gd name="T21" fmla="*/ 60 h 286"/>
                <a:gd name="T22" fmla="*/ 142 w 261"/>
                <a:gd name="T23" fmla="*/ 75 h 286"/>
                <a:gd name="T24" fmla="*/ 146 w 261"/>
                <a:gd name="T25" fmla="*/ 83 h 286"/>
                <a:gd name="T26" fmla="*/ 173 w 261"/>
                <a:gd name="T27" fmla="*/ 109 h 286"/>
                <a:gd name="T28" fmla="*/ 186 w 261"/>
                <a:gd name="T29" fmla="*/ 117 h 286"/>
                <a:gd name="T30" fmla="*/ 200 w 261"/>
                <a:gd name="T31" fmla="*/ 124 h 286"/>
                <a:gd name="T32" fmla="*/ 221 w 261"/>
                <a:gd name="T33" fmla="*/ 146 h 286"/>
                <a:gd name="T34" fmla="*/ 231 w 261"/>
                <a:gd name="T35" fmla="*/ 155 h 286"/>
                <a:gd name="T36" fmla="*/ 246 w 261"/>
                <a:gd name="T37" fmla="*/ 171 h 286"/>
                <a:gd name="T38" fmla="*/ 261 w 261"/>
                <a:gd name="T39" fmla="*/ 183 h 286"/>
                <a:gd name="T40" fmla="*/ 258 w 261"/>
                <a:gd name="T41" fmla="*/ 208 h 286"/>
                <a:gd name="T42" fmla="*/ 253 w 261"/>
                <a:gd name="T43" fmla="*/ 224 h 286"/>
                <a:gd name="T44" fmla="*/ 240 w 261"/>
                <a:gd name="T45" fmla="*/ 234 h 286"/>
                <a:gd name="T46" fmla="*/ 229 w 261"/>
                <a:gd name="T47" fmla="*/ 234 h 286"/>
                <a:gd name="T48" fmla="*/ 222 w 261"/>
                <a:gd name="T49" fmla="*/ 238 h 286"/>
                <a:gd name="T50" fmla="*/ 212 w 261"/>
                <a:gd name="T51" fmla="*/ 252 h 286"/>
                <a:gd name="T52" fmla="*/ 201 w 261"/>
                <a:gd name="T53" fmla="*/ 256 h 286"/>
                <a:gd name="T54" fmla="*/ 189 w 261"/>
                <a:gd name="T55" fmla="*/ 264 h 286"/>
                <a:gd name="T56" fmla="*/ 173 w 261"/>
                <a:gd name="T57" fmla="*/ 276 h 286"/>
                <a:gd name="T58" fmla="*/ 161 w 261"/>
                <a:gd name="T59" fmla="*/ 274 h 286"/>
                <a:gd name="T60" fmla="*/ 149 w 261"/>
                <a:gd name="T61" fmla="*/ 276 h 286"/>
                <a:gd name="T62" fmla="*/ 133 w 261"/>
                <a:gd name="T63" fmla="*/ 277 h 286"/>
                <a:gd name="T64" fmla="*/ 113 w 261"/>
                <a:gd name="T65" fmla="*/ 277 h 286"/>
                <a:gd name="T66" fmla="*/ 90 w 261"/>
                <a:gd name="T67" fmla="*/ 282 h 286"/>
                <a:gd name="T68" fmla="*/ 77 w 261"/>
                <a:gd name="T69" fmla="*/ 286 h 286"/>
                <a:gd name="T70" fmla="*/ 75 w 261"/>
                <a:gd name="T71" fmla="*/ 283 h 286"/>
                <a:gd name="T72" fmla="*/ 69 w 261"/>
                <a:gd name="T73" fmla="*/ 275 h 286"/>
                <a:gd name="T74" fmla="*/ 48 w 261"/>
                <a:gd name="T75" fmla="*/ 264 h 286"/>
                <a:gd name="T76" fmla="*/ 34 w 261"/>
                <a:gd name="T77" fmla="*/ 256 h 286"/>
                <a:gd name="T78" fmla="*/ 31 w 261"/>
                <a:gd name="T79" fmla="*/ 250 h 286"/>
                <a:gd name="T80" fmla="*/ 32 w 261"/>
                <a:gd name="T81" fmla="*/ 240 h 286"/>
                <a:gd name="T82" fmla="*/ 19 w 261"/>
                <a:gd name="T83" fmla="*/ 204 h 286"/>
                <a:gd name="T84" fmla="*/ 16 w 261"/>
                <a:gd name="T85" fmla="*/ 188 h 286"/>
                <a:gd name="T86" fmla="*/ 19 w 261"/>
                <a:gd name="T87" fmla="*/ 164 h 286"/>
                <a:gd name="T88" fmla="*/ 15 w 261"/>
                <a:gd name="T89" fmla="*/ 142 h 286"/>
                <a:gd name="T90" fmla="*/ 23 w 261"/>
                <a:gd name="T91" fmla="*/ 125 h 286"/>
                <a:gd name="T92" fmla="*/ 25 w 261"/>
                <a:gd name="T93" fmla="*/ 110 h 286"/>
                <a:gd name="T94" fmla="*/ 23 w 261"/>
                <a:gd name="T95" fmla="*/ 106 h 286"/>
                <a:gd name="T96" fmla="*/ 8 w 261"/>
                <a:gd name="T97" fmla="*/ 96 h 286"/>
                <a:gd name="T98" fmla="*/ 1 w 261"/>
                <a:gd name="T99" fmla="*/ 93 h 286"/>
                <a:gd name="T100" fmla="*/ 6 w 261"/>
                <a:gd name="T101" fmla="*/ 87 h 286"/>
                <a:gd name="T102" fmla="*/ 9 w 261"/>
                <a:gd name="T103" fmla="*/ 78 h 286"/>
                <a:gd name="T104" fmla="*/ 6 w 261"/>
                <a:gd name="T105" fmla="*/ 65 h 286"/>
                <a:gd name="T106" fmla="*/ 5 w 261"/>
                <a:gd name="T107" fmla="*/ 55 h 286"/>
                <a:gd name="T108" fmla="*/ 12 w 261"/>
                <a:gd name="T109" fmla="*/ 37 h 286"/>
                <a:gd name="T110" fmla="*/ 16 w 261"/>
                <a:gd name="T111" fmla="*/ 32 h 286"/>
                <a:gd name="T112" fmla="*/ 31 w 261"/>
                <a:gd name="T113" fmla="*/ 32 h 286"/>
                <a:gd name="T114" fmla="*/ 42 w 261"/>
                <a:gd name="T115" fmla="*/ 30 h 286"/>
                <a:gd name="T116" fmla="*/ 50 w 261"/>
                <a:gd name="T117" fmla="*/ 23 h 286"/>
                <a:gd name="T118" fmla="*/ 61 w 261"/>
                <a:gd name="T119" fmla="*/ 11 h 286"/>
                <a:gd name="T120" fmla="*/ 81 w 261"/>
                <a:gd name="T121" fmla="*/ 1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1" h="286">
                  <a:moveTo>
                    <a:pt x="83" y="0"/>
                  </a:moveTo>
                  <a:lnTo>
                    <a:pt x="83" y="1"/>
                  </a:lnTo>
                  <a:lnTo>
                    <a:pt x="84" y="1"/>
                  </a:lnTo>
                  <a:lnTo>
                    <a:pt x="86" y="2"/>
                  </a:lnTo>
                  <a:lnTo>
                    <a:pt x="87" y="3"/>
                  </a:lnTo>
                  <a:lnTo>
                    <a:pt x="88" y="4"/>
                  </a:lnTo>
                  <a:lnTo>
                    <a:pt x="90" y="5"/>
                  </a:lnTo>
                  <a:lnTo>
                    <a:pt x="91" y="7"/>
                  </a:lnTo>
                  <a:lnTo>
                    <a:pt x="91" y="8"/>
                  </a:lnTo>
                  <a:lnTo>
                    <a:pt x="92" y="8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6" y="9"/>
                  </a:lnTo>
                  <a:lnTo>
                    <a:pt x="98" y="9"/>
                  </a:lnTo>
                  <a:lnTo>
                    <a:pt x="100" y="9"/>
                  </a:lnTo>
                  <a:lnTo>
                    <a:pt x="101" y="10"/>
                  </a:lnTo>
                  <a:lnTo>
                    <a:pt x="103" y="11"/>
                  </a:lnTo>
                  <a:lnTo>
                    <a:pt x="104" y="12"/>
                  </a:lnTo>
                  <a:lnTo>
                    <a:pt x="105" y="13"/>
                  </a:lnTo>
                  <a:lnTo>
                    <a:pt x="109" y="15"/>
                  </a:lnTo>
                  <a:lnTo>
                    <a:pt x="110" y="15"/>
                  </a:lnTo>
                  <a:lnTo>
                    <a:pt x="111" y="15"/>
                  </a:lnTo>
                  <a:lnTo>
                    <a:pt x="111" y="16"/>
                  </a:lnTo>
                  <a:lnTo>
                    <a:pt x="112" y="16"/>
                  </a:lnTo>
                  <a:lnTo>
                    <a:pt x="113" y="15"/>
                  </a:lnTo>
                  <a:lnTo>
                    <a:pt x="114" y="15"/>
                  </a:lnTo>
                  <a:lnTo>
                    <a:pt x="115" y="15"/>
                  </a:lnTo>
                  <a:lnTo>
                    <a:pt x="117" y="12"/>
                  </a:lnTo>
                  <a:lnTo>
                    <a:pt x="119" y="11"/>
                  </a:lnTo>
                  <a:lnTo>
                    <a:pt x="120" y="11"/>
                  </a:lnTo>
                  <a:lnTo>
                    <a:pt x="121" y="10"/>
                  </a:lnTo>
                  <a:lnTo>
                    <a:pt x="122" y="10"/>
                  </a:lnTo>
                  <a:lnTo>
                    <a:pt x="125" y="10"/>
                  </a:lnTo>
                  <a:lnTo>
                    <a:pt x="125" y="14"/>
                  </a:lnTo>
                  <a:lnTo>
                    <a:pt x="123" y="19"/>
                  </a:lnTo>
                  <a:lnTo>
                    <a:pt x="123" y="22"/>
                  </a:lnTo>
                  <a:lnTo>
                    <a:pt x="123" y="26"/>
                  </a:lnTo>
                  <a:lnTo>
                    <a:pt x="123" y="28"/>
                  </a:lnTo>
                  <a:lnTo>
                    <a:pt x="123" y="31"/>
                  </a:lnTo>
                  <a:lnTo>
                    <a:pt x="123" y="33"/>
                  </a:lnTo>
                  <a:lnTo>
                    <a:pt x="124" y="35"/>
                  </a:lnTo>
                  <a:lnTo>
                    <a:pt x="124" y="38"/>
                  </a:lnTo>
                  <a:lnTo>
                    <a:pt x="125" y="39"/>
                  </a:lnTo>
                  <a:lnTo>
                    <a:pt x="126" y="41"/>
                  </a:lnTo>
                  <a:lnTo>
                    <a:pt x="127" y="43"/>
                  </a:lnTo>
                  <a:lnTo>
                    <a:pt x="129" y="44"/>
                  </a:lnTo>
                  <a:lnTo>
                    <a:pt x="130" y="45"/>
                  </a:lnTo>
                  <a:lnTo>
                    <a:pt x="136" y="49"/>
                  </a:lnTo>
                  <a:lnTo>
                    <a:pt x="138" y="49"/>
                  </a:lnTo>
                  <a:lnTo>
                    <a:pt x="139" y="51"/>
                  </a:lnTo>
                  <a:lnTo>
                    <a:pt x="140" y="51"/>
                  </a:lnTo>
                  <a:lnTo>
                    <a:pt x="140" y="52"/>
                  </a:lnTo>
                  <a:lnTo>
                    <a:pt x="141" y="54"/>
                  </a:lnTo>
                  <a:lnTo>
                    <a:pt x="141" y="57"/>
                  </a:lnTo>
                  <a:lnTo>
                    <a:pt x="141" y="60"/>
                  </a:lnTo>
                  <a:lnTo>
                    <a:pt x="141" y="64"/>
                  </a:lnTo>
                  <a:lnTo>
                    <a:pt x="141" y="67"/>
                  </a:lnTo>
                  <a:lnTo>
                    <a:pt x="141" y="70"/>
                  </a:lnTo>
                  <a:lnTo>
                    <a:pt x="141" y="73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3" y="79"/>
                  </a:lnTo>
                  <a:lnTo>
                    <a:pt x="144" y="81"/>
                  </a:lnTo>
                  <a:lnTo>
                    <a:pt x="145" y="82"/>
                  </a:lnTo>
                  <a:lnTo>
                    <a:pt x="146" y="83"/>
                  </a:lnTo>
                  <a:lnTo>
                    <a:pt x="151" y="87"/>
                  </a:lnTo>
                  <a:lnTo>
                    <a:pt x="154" y="89"/>
                  </a:lnTo>
                  <a:lnTo>
                    <a:pt x="158" y="93"/>
                  </a:lnTo>
                  <a:lnTo>
                    <a:pt x="171" y="106"/>
                  </a:lnTo>
                  <a:lnTo>
                    <a:pt x="173" y="109"/>
                  </a:lnTo>
                  <a:lnTo>
                    <a:pt x="175" y="111"/>
                  </a:lnTo>
                  <a:lnTo>
                    <a:pt x="178" y="113"/>
                  </a:lnTo>
                  <a:lnTo>
                    <a:pt x="180" y="114"/>
                  </a:lnTo>
                  <a:lnTo>
                    <a:pt x="182" y="115"/>
                  </a:lnTo>
                  <a:lnTo>
                    <a:pt x="186" y="117"/>
                  </a:lnTo>
                  <a:lnTo>
                    <a:pt x="189" y="117"/>
                  </a:lnTo>
                  <a:lnTo>
                    <a:pt x="192" y="119"/>
                  </a:lnTo>
                  <a:lnTo>
                    <a:pt x="195" y="121"/>
                  </a:lnTo>
                  <a:lnTo>
                    <a:pt x="197" y="122"/>
                  </a:lnTo>
                  <a:lnTo>
                    <a:pt x="200" y="124"/>
                  </a:lnTo>
                  <a:lnTo>
                    <a:pt x="209" y="130"/>
                  </a:lnTo>
                  <a:lnTo>
                    <a:pt x="211" y="132"/>
                  </a:lnTo>
                  <a:lnTo>
                    <a:pt x="213" y="134"/>
                  </a:lnTo>
                  <a:lnTo>
                    <a:pt x="215" y="136"/>
                  </a:lnTo>
                  <a:lnTo>
                    <a:pt x="221" y="146"/>
                  </a:lnTo>
                  <a:lnTo>
                    <a:pt x="224" y="149"/>
                  </a:lnTo>
                  <a:lnTo>
                    <a:pt x="225" y="150"/>
                  </a:lnTo>
                  <a:lnTo>
                    <a:pt x="226" y="151"/>
                  </a:lnTo>
                  <a:lnTo>
                    <a:pt x="230" y="153"/>
                  </a:lnTo>
                  <a:lnTo>
                    <a:pt x="231" y="155"/>
                  </a:lnTo>
                  <a:lnTo>
                    <a:pt x="232" y="156"/>
                  </a:lnTo>
                  <a:lnTo>
                    <a:pt x="237" y="162"/>
                  </a:lnTo>
                  <a:lnTo>
                    <a:pt x="240" y="165"/>
                  </a:lnTo>
                  <a:lnTo>
                    <a:pt x="242" y="168"/>
                  </a:lnTo>
                  <a:lnTo>
                    <a:pt x="246" y="171"/>
                  </a:lnTo>
                  <a:lnTo>
                    <a:pt x="249" y="173"/>
                  </a:lnTo>
                  <a:lnTo>
                    <a:pt x="257" y="179"/>
                  </a:lnTo>
                  <a:lnTo>
                    <a:pt x="260" y="182"/>
                  </a:lnTo>
                  <a:lnTo>
                    <a:pt x="261" y="183"/>
                  </a:lnTo>
                  <a:lnTo>
                    <a:pt x="261" y="183"/>
                  </a:lnTo>
                  <a:lnTo>
                    <a:pt x="261" y="184"/>
                  </a:lnTo>
                  <a:lnTo>
                    <a:pt x="261" y="185"/>
                  </a:lnTo>
                  <a:lnTo>
                    <a:pt x="260" y="194"/>
                  </a:lnTo>
                  <a:lnTo>
                    <a:pt x="259" y="202"/>
                  </a:lnTo>
                  <a:lnTo>
                    <a:pt x="258" y="208"/>
                  </a:lnTo>
                  <a:lnTo>
                    <a:pt x="257" y="215"/>
                  </a:lnTo>
                  <a:lnTo>
                    <a:pt x="256" y="219"/>
                  </a:lnTo>
                  <a:lnTo>
                    <a:pt x="255" y="221"/>
                  </a:lnTo>
                  <a:lnTo>
                    <a:pt x="254" y="222"/>
                  </a:lnTo>
                  <a:lnTo>
                    <a:pt x="253" y="224"/>
                  </a:lnTo>
                  <a:lnTo>
                    <a:pt x="252" y="226"/>
                  </a:lnTo>
                  <a:lnTo>
                    <a:pt x="250" y="228"/>
                  </a:lnTo>
                  <a:lnTo>
                    <a:pt x="246" y="230"/>
                  </a:lnTo>
                  <a:lnTo>
                    <a:pt x="242" y="232"/>
                  </a:lnTo>
                  <a:lnTo>
                    <a:pt x="240" y="234"/>
                  </a:lnTo>
                  <a:lnTo>
                    <a:pt x="238" y="234"/>
                  </a:lnTo>
                  <a:lnTo>
                    <a:pt x="236" y="234"/>
                  </a:lnTo>
                  <a:lnTo>
                    <a:pt x="234" y="234"/>
                  </a:lnTo>
                  <a:lnTo>
                    <a:pt x="230" y="234"/>
                  </a:lnTo>
                  <a:lnTo>
                    <a:pt x="229" y="234"/>
                  </a:lnTo>
                  <a:lnTo>
                    <a:pt x="228" y="234"/>
                  </a:lnTo>
                  <a:lnTo>
                    <a:pt x="227" y="234"/>
                  </a:lnTo>
                  <a:lnTo>
                    <a:pt x="225" y="235"/>
                  </a:lnTo>
                  <a:lnTo>
                    <a:pt x="223" y="236"/>
                  </a:lnTo>
                  <a:lnTo>
                    <a:pt x="222" y="238"/>
                  </a:lnTo>
                  <a:lnTo>
                    <a:pt x="221" y="240"/>
                  </a:lnTo>
                  <a:lnTo>
                    <a:pt x="217" y="245"/>
                  </a:lnTo>
                  <a:lnTo>
                    <a:pt x="216" y="248"/>
                  </a:lnTo>
                  <a:lnTo>
                    <a:pt x="214" y="250"/>
                  </a:lnTo>
                  <a:lnTo>
                    <a:pt x="212" y="252"/>
                  </a:lnTo>
                  <a:lnTo>
                    <a:pt x="211" y="253"/>
                  </a:lnTo>
                  <a:lnTo>
                    <a:pt x="209" y="253"/>
                  </a:lnTo>
                  <a:lnTo>
                    <a:pt x="207" y="254"/>
                  </a:lnTo>
                  <a:lnTo>
                    <a:pt x="203" y="255"/>
                  </a:lnTo>
                  <a:lnTo>
                    <a:pt x="201" y="256"/>
                  </a:lnTo>
                  <a:lnTo>
                    <a:pt x="198" y="257"/>
                  </a:lnTo>
                  <a:lnTo>
                    <a:pt x="196" y="258"/>
                  </a:lnTo>
                  <a:lnTo>
                    <a:pt x="195" y="259"/>
                  </a:lnTo>
                  <a:lnTo>
                    <a:pt x="194" y="260"/>
                  </a:lnTo>
                  <a:lnTo>
                    <a:pt x="189" y="264"/>
                  </a:lnTo>
                  <a:lnTo>
                    <a:pt x="185" y="267"/>
                  </a:lnTo>
                  <a:lnTo>
                    <a:pt x="178" y="274"/>
                  </a:lnTo>
                  <a:lnTo>
                    <a:pt x="175" y="276"/>
                  </a:lnTo>
                  <a:lnTo>
                    <a:pt x="174" y="276"/>
                  </a:lnTo>
                  <a:lnTo>
                    <a:pt x="173" y="276"/>
                  </a:lnTo>
                  <a:lnTo>
                    <a:pt x="172" y="276"/>
                  </a:lnTo>
                  <a:lnTo>
                    <a:pt x="172" y="276"/>
                  </a:lnTo>
                  <a:lnTo>
                    <a:pt x="170" y="276"/>
                  </a:lnTo>
                  <a:lnTo>
                    <a:pt x="163" y="275"/>
                  </a:lnTo>
                  <a:lnTo>
                    <a:pt x="161" y="274"/>
                  </a:lnTo>
                  <a:lnTo>
                    <a:pt x="159" y="274"/>
                  </a:lnTo>
                  <a:lnTo>
                    <a:pt x="158" y="275"/>
                  </a:lnTo>
                  <a:lnTo>
                    <a:pt x="156" y="275"/>
                  </a:lnTo>
                  <a:lnTo>
                    <a:pt x="154" y="275"/>
                  </a:lnTo>
                  <a:lnTo>
                    <a:pt x="149" y="276"/>
                  </a:lnTo>
                  <a:lnTo>
                    <a:pt x="147" y="276"/>
                  </a:lnTo>
                  <a:lnTo>
                    <a:pt x="142" y="277"/>
                  </a:lnTo>
                  <a:lnTo>
                    <a:pt x="139" y="277"/>
                  </a:lnTo>
                  <a:lnTo>
                    <a:pt x="138" y="278"/>
                  </a:lnTo>
                  <a:lnTo>
                    <a:pt x="133" y="277"/>
                  </a:lnTo>
                  <a:lnTo>
                    <a:pt x="131" y="277"/>
                  </a:lnTo>
                  <a:lnTo>
                    <a:pt x="126" y="276"/>
                  </a:lnTo>
                  <a:lnTo>
                    <a:pt x="124" y="276"/>
                  </a:lnTo>
                  <a:lnTo>
                    <a:pt x="121" y="276"/>
                  </a:lnTo>
                  <a:lnTo>
                    <a:pt x="113" y="277"/>
                  </a:lnTo>
                  <a:lnTo>
                    <a:pt x="105" y="278"/>
                  </a:lnTo>
                  <a:lnTo>
                    <a:pt x="103" y="278"/>
                  </a:lnTo>
                  <a:lnTo>
                    <a:pt x="101" y="278"/>
                  </a:lnTo>
                  <a:lnTo>
                    <a:pt x="95" y="280"/>
                  </a:lnTo>
                  <a:lnTo>
                    <a:pt x="90" y="282"/>
                  </a:lnTo>
                  <a:lnTo>
                    <a:pt x="83" y="285"/>
                  </a:lnTo>
                  <a:lnTo>
                    <a:pt x="81" y="286"/>
                  </a:lnTo>
                  <a:lnTo>
                    <a:pt x="80" y="286"/>
                  </a:lnTo>
                  <a:lnTo>
                    <a:pt x="78" y="286"/>
                  </a:lnTo>
                  <a:lnTo>
                    <a:pt x="77" y="286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3"/>
                  </a:lnTo>
                  <a:lnTo>
                    <a:pt x="74" y="281"/>
                  </a:lnTo>
                  <a:lnTo>
                    <a:pt x="73" y="279"/>
                  </a:lnTo>
                  <a:lnTo>
                    <a:pt x="71" y="277"/>
                  </a:lnTo>
                  <a:lnTo>
                    <a:pt x="70" y="276"/>
                  </a:lnTo>
                  <a:lnTo>
                    <a:pt x="69" y="275"/>
                  </a:lnTo>
                  <a:lnTo>
                    <a:pt x="67" y="273"/>
                  </a:lnTo>
                  <a:lnTo>
                    <a:pt x="63" y="270"/>
                  </a:lnTo>
                  <a:lnTo>
                    <a:pt x="58" y="268"/>
                  </a:lnTo>
                  <a:lnTo>
                    <a:pt x="55" y="266"/>
                  </a:lnTo>
                  <a:lnTo>
                    <a:pt x="48" y="264"/>
                  </a:lnTo>
                  <a:lnTo>
                    <a:pt x="45" y="263"/>
                  </a:lnTo>
                  <a:lnTo>
                    <a:pt x="39" y="261"/>
                  </a:lnTo>
                  <a:lnTo>
                    <a:pt x="37" y="260"/>
                  </a:lnTo>
                  <a:lnTo>
                    <a:pt x="35" y="258"/>
                  </a:lnTo>
                  <a:lnTo>
                    <a:pt x="34" y="256"/>
                  </a:lnTo>
                  <a:lnTo>
                    <a:pt x="32" y="254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1"/>
                  </a:lnTo>
                  <a:lnTo>
                    <a:pt x="31" y="250"/>
                  </a:lnTo>
                  <a:lnTo>
                    <a:pt x="31" y="249"/>
                  </a:lnTo>
                  <a:lnTo>
                    <a:pt x="32" y="245"/>
                  </a:lnTo>
                  <a:lnTo>
                    <a:pt x="32" y="243"/>
                  </a:lnTo>
                  <a:lnTo>
                    <a:pt x="33" y="242"/>
                  </a:lnTo>
                  <a:lnTo>
                    <a:pt x="32" y="240"/>
                  </a:lnTo>
                  <a:lnTo>
                    <a:pt x="32" y="238"/>
                  </a:lnTo>
                  <a:lnTo>
                    <a:pt x="29" y="232"/>
                  </a:lnTo>
                  <a:lnTo>
                    <a:pt x="26" y="226"/>
                  </a:lnTo>
                  <a:lnTo>
                    <a:pt x="21" y="210"/>
                  </a:lnTo>
                  <a:lnTo>
                    <a:pt x="19" y="204"/>
                  </a:lnTo>
                  <a:lnTo>
                    <a:pt x="18" y="201"/>
                  </a:lnTo>
                  <a:lnTo>
                    <a:pt x="17" y="198"/>
                  </a:lnTo>
                  <a:lnTo>
                    <a:pt x="16" y="195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6" y="186"/>
                  </a:lnTo>
                  <a:lnTo>
                    <a:pt x="18" y="173"/>
                  </a:lnTo>
                  <a:lnTo>
                    <a:pt x="19" y="170"/>
                  </a:lnTo>
                  <a:lnTo>
                    <a:pt x="19" y="167"/>
                  </a:lnTo>
                  <a:lnTo>
                    <a:pt x="19" y="164"/>
                  </a:lnTo>
                  <a:lnTo>
                    <a:pt x="18" y="162"/>
                  </a:lnTo>
                  <a:lnTo>
                    <a:pt x="16" y="151"/>
                  </a:lnTo>
                  <a:lnTo>
                    <a:pt x="15" y="149"/>
                  </a:lnTo>
                  <a:lnTo>
                    <a:pt x="15" y="145"/>
                  </a:lnTo>
                  <a:lnTo>
                    <a:pt x="15" y="142"/>
                  </a:lnTo>
                  <a:lnTo>
                    <a:pt x="15" y="140"/>
                  </a:lnTo>
                  <a:lnTo>
                    <a:pt x="16" y="139"/>
                  </a:lnTo>
                  <a:lnTo>
                    <a:pt x="18" y="135"/>
                  </a:lnTo>
                  <a:lnTo>
                    <a:pt x="22" y="127"/>
                  </a:lnTo>
                  <a:lnTo>
                    <a:pt x="23" y="125"/>
                  </a:lnTo>
                  <a:lnTo>
                    <a:pt x="24" y="121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0"/>
                  </a:lnTo>
                  <a:lnTo>
                    <a:pt x="25" y="109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6"/>
                  </a:lnTo>
                  <a:lnTo>
                    <a:pt x="23" y="106"/>
                  </a:lnTo>
                  <a:lnTo>
                    <a:pt x="22" y="105"/>
                  </a:lnTo>
                  <a:lnTo>
                    <a:pt x="20" y="103"/>
                  </a:lnTo>
                  <a:lnTo>
                    <a:pt x="17" y="101"/>
                  </a:lnTo>
                  <a:lnTo>
                    <a:pt x="13" y="99"/>
                  </a:lnTo>
                  <a:lnTo>
                    <a:pt x="8" y="96"/>
                  </a:lnTo>
                  <a:lnTo>
                    <a:pt x="6" y="94"/>
                  </a:lnTo>
                  <a:lnTo>
                    <a:pt x="3" y="94"/>
                  </a:lnTo>
                  <a:lnTo>
                    <a:pt x="1" y="93"/>
                  </a:lnTo>
                  <a:lnTo>
                    <a:pt x="0" y="93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2" y="91"/>
                  </a:lnTo>
                  <a:lnTo>
                    <a:pt x="3" y="90"/>
                  </a:lnTo>
                  <a:lnTo>
                    <a:pt x="5" y="88"/>
                  </a:lnTo>
                  <a:lnTo>
                    <a:pt x="6" y="87"/>
                  </a:lnTo>
                  <a:lnTo>
                    <a:pt x="7" y="85"/>
                  </a:lnTo>
                  <a:lnTo>
                    <a:pt x="8" y="83"/>
                  </a:lnTo>
                  <a:lnTo>
                    <a:pt x="8" y="81"/>
                  </a:lnTo>
                  <a:lnTo>
                    <a:pt x="9" y="79"/>
                  </a:lnTo>
                  <a:lnTo>
                    <a:pt x="9" y="78"/>
                  </a:lnTo>
                  <a:lnTo>
                    <a:pt x="9" y="76"/>
                  </a:lnTo>
                  <a:lnTo>
                    <a:pt x="9" y="74"/>
                  </a:lnTo>
                  <a:lnTo>
                    <a:pt x="9" y="72"/>
                  </a:lnTo>
                  <a:lnTo>
                    <a:pt x="8" y="71"/>
                  </a:lnTo>
                  <a:lnTo>
                    <a:pt x="6" y="65"/>
                  </a:lnTo>
                  <a:lnTo>
                    <a:pt x="5" y="62"/>
                  </a:lnTo>
                  <a:lnTo>
                    <a:pt x="5" y="60"/>
                  </a:lnTo>
                  <a:lnTo>
                    <a:pt x="5" y="59"/>
                  </a:lnTo>
                  <a:lnTo>
                    <a:pt x="5" y="57"/>
                  </a:lnTo>
                  <a:lnTo>
                    <a:pt x="5" y="55"/>
                  </a:lnTo>
                  <a:lnTo>
                    <a:pt x="5" y="53"/>
                  </a:lnTo>
                  <a:lnTo>
                    <a:pt x="6" y="51"/>
                  </a:lnTo>
                  <a:lnTo>
                    <a:pt x="7" y="48"/>
                  </a:lnTo>
                  <a:lnTo>
                    <a:pt x="8" y="45"/>
                  </a:lnTo>
                  <a:lnTo>
                    <a:pt x="12" y="37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21" y="32"/>
                  </a:lnTo>
                  <a:lnTo>
                    <a:pt x="29" y="32"/>
                  </a:lnTo>
                  <a:lnTo>
                    <a:pt x="31" y="32"/>
                  </a:lnTo>
                  <a:lnTo>
                    <a:pt x="33" y="32"/>
                  </a:lnTo>
                  <a:lnTo>
                    <a:pt x="35" y="32"/>
                  </a:lnTo>
                  <a:lnTo>
                    <a:pt x="38" y="31"/>
                  </a:lnTo>
                  <a:lnTo>
                    <a:pt x="40" y="31"/>
                  </a:lnTo>
                  <a:lnTo>
                    <a:pt x="42" y="30"/>
                  </a:lnTo>
                  <a:lnTo>
                    <a:pt x="44" y="29"/>
                  </a:lnTo>
                  <a:lnTo>
                    <a:pt x="46" y="28"/>
                  </a:lnTo>
                  <a:lnTo>
                    <a:pt x="47" y="26"/>
                  </a:lnTo>
                  <a:lnTo>
                    <a:pt x="48" y="26"/>
                  </a:lnTo>
                  <a:lnTo>
                    <a:pt x="50" y="23"/>
                  </a:lnTo>
                  <a:lnTo>
                    <a:pt x="52" y="21"/>
                  </a:lnTo>
                  <a:lnTo>
                    <a:pt x="56" y="16"/>
                  </a:lnTo>
                  <a:lnTo>
                    <a:pt x="57" y="15"/>
                  </a:lnTo>
                  <a:lnTo>
                    <a:pt x="58" y="13"/>
                  </a:lnTo>
                  <a:lnTo>
                    <a:pt x="61" y="11"/>
                  </a:lnTo>
                  <a:lnTo>
                    <a:pt x="63" y="10"/>
                  </a:lnTo>
                  <a:lnTo>
                    <a:pt x="66" y="8"/>
                  </a:lnTo>
                  <a:lnTo>
                    <a:pt x="74" y="4"/>
                  </a:lnTo>
                  <a:lnTo>
                    <a:pt x="78" y="2"/>
                  </a:lnTo>
                  <a:lnTo>
                    <a:pt x="81" y="1"/>
                  </a:lnTo>
                  <a:lnTo>
                    <a:pt x="82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9" name="Freeform 42">
              <a:extLst>
                <a:ext uri="{FF2B5EF4-FFF2-40B4-BE49-F238E27FC236}">
                  <a16:creationId xmlns:a16="http://schemas.microsoft.com/office/drawing/2014/main" id="{2274074D-4B92-4490-8E63-CF3D5512C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0" y="1212"/>
              <a:ext cx="423" cy="451"/>
            </a:xfrm>
            <a:custGeom>
              <a:avLst/>
              <a:gdLst>
                <a:gd name="T0" fmla="*/ 223 w 423"/>
                <a:gd name="T1" fmla="*/ 9 h 451"/>
                <a:gd name="T2" fmla="*/ 253 w 423"/>
                <a:gd name="T3" fmla="*/ 20 h 451"/>
                <a:gd name="T4" fmla="*/ 269 w 423"/>
                <a:gd name="T5" fmla="*/ 22 h 451"/>
                <a:gd name="T6" fmla="*/ 279 w 423"/>
                <a:gd name="T7" fmla="*/ 31 h 451"/>
                <a:gd name="T8" fmla="*/ 279 w 423"/>
                <a:gd name="T9" fmla="*/ 44 h 451"/>
                <a:gd name="T10" fmla="*/ 269 w 423"/>
                <a:gd name="T11" fmla="*/ 60 h 451"/>
                <a:gd name="T12" fmla="*/ 269 w 423"/>
                <a:gd name="T13" fmla="*/ 82 h 451"/>
                <a:gd name="T14" fmla="*/ 279 w 423"/>
                <a:gd name="T15" fmla="*/ 102 h 451"/>
                <a:gd name="T16" fmla="*/ 300 w 423"/>
                <a:gd name="T17" fmla="*/ 120 h 451"/>
                <a:gd name="T18" fmla="*/ 299 w 423"/>
                <a:gd name="T19" fmla="*/ 136 h 451"/>
                <a:gd name="T20" fmla="*/ 297 w 423"/>
                <a:gd name="T21" fmla="*/ 152 h 451"/>
                <a:gd name="T22" fmla="*/ 307 w 423"/>
                <a:gd name="T23" fmla="*/ 156 h 451"/>
                <a:gd name="T24" fmla="*/ 324 w 423"/>
                <a:gd name="T25" fmla="*/ 148 h 451"/>
                <a:gd name="T26" fmla="*/ 341 w 423"/>
                <a:gd name="T27" fmla="*/ 125 h 451"/>
                <a:gd name="T28" fmla="*/ 355 w 423"/>
                <a:gd name="T29" fmla="*/ 128 h 451"/>
                <a:gd name="T30" fmla="*/ 373 w 423"/>
                <a:gd name="T31" fmla="*/ 150 h 451"/>
                <a:gd name="T32" fmla="*/ 396 w 423"/>
                <a:gd name="T33" fmla="*/ 165 h 451"/>
                <a:gd name="T34" fmla="*/ 400 w 423"/>
                <a:gd name="T35" fmla="*/ 187 h 451"/>
                <a:gd name="T36" fmla="*/ 419 w 423"/>
                <a:gd name="T37" fmla="*/ 222 h 451"/>
                <a:gd name="T38" fmla="*/ 419 w 423"/>
                <a:gd name="T39" fmla="*/ 236 h 451"/>
                <a:gd name="T40" fmla="*/ 414 w 423"/>
                <a:gd name="T41" fmla="*/ 256 h 451"/>
                <a:gd name="T42" fmla="*/ 422 w 423"/>
                <a:gd name="T43" fmla="*/ 288 h 451"/>
                <a:gd name="T44" fmla="*/ 416 w 423"/>
                <a:gd name="T45" fmla="*/ 312 h 451"/>
                <a:gd name="T46" fmla="*/ 409 w 423"/>
                <a:gd name="T47" fmla="*/ 325 h 451"/>
                <a:gd name="T48" fmla="*/ 382 w 423"/>
                <a:gd name="T49" fmla="*/ 340 h 451"/>
                <a:gd name="T50" fmla="*/ 377 w 423"/>
                <a:gd name="T51" fmla="*/ 357 h 451"/>
                <a:gd name="T52" fmla="*/ 362 w 423"/>
                <a:gd name="T53" fmla="*/ 369 h 451"/>
                <a:gd name="T54" fmla="*/ 338 w 423"/>
                <a:gd name="T55" fmla="*/ 365 h 451"/>
                <a:gd name="T56" fmla="*/ 311 w 423"/>
                <a:gd name="T57" fmla="*/ 363 h 451"/>
                <a:gd name="T58" fmla="*/ 303 w 423"/>
                <a:gd name="T59" fmla="*/ 383 h 451"/>
                <a:gd name="T60" fmla="*/ 294 w 423"/>
                <a:gd name="T61" fmla="*/ 400 h 451"/>
                <a:gd name="T62" fmla="*/ 264 w 423"/>
                <a:gd name="T63" fmla="*/ 433 h 451"/>
                <a:gd name="T64" fmla="*/ 256 w 423"/>
                <a:gd name="T65" fmla="*/ 446 h 451"/>
                <a:gd name="T66" fmla="*/ 242 w 423"/>
                <a:gd name="T67" fmla="*/ 443 h 451"/>
                <a:gd name="T68" fmla="*/ 203 w 423"/>
                <a:gd name="T69" fmla="*/ 447 h 451"/>
                <a:gd name="T70" fmla="*/ 188 w 423"/>
                <a:gd name="T71" fmla="*/ 450 h 451"/>
                <a:gd name="T72" fmla="*/ 176 w 423"/>
                <a:gd name="T73" fmla="*/ 442 h 451"/>
                <a:gd name="T74" fmla="*/ 169 w 423"/>
                <a:gd name="T75" fmla="*/ 419 h 451"/>
                <a:gd name="T76" fmla="*/ 158 w 423"/>
                <a:gd name="T77" fmla="*/ 417 h 451"/>
                <a:gd name="T78" fmla="*/ 142 w 423"/>
                <a:gd name="T79" fmla="*/ 420 h 451"/>
                <a:gd name="T80" fmla="*/ 120 w 423"/>
                <a:gd name="T81" fmla="*/ 417 h 451"/>
                <a:gd name="T82" fmla="*/ 106 w 423"/>
                <a:gd name="T83" fmla="*/ 420 h 451"/>
                <a:gd name="T84" fmla="*/ 97 w 423"/>
                <a:gd name="T85" fmla="*/ 408 h 451"/>
                <a:gd name="T86" fmla="*/ 73 w 423"/>
                <a:gd name="T87" fmla="*/ 386 h 451"/>
                <a:gd name="T88" fmla="*/ 52 w 423"/>
                <a:gd name="T89" fmla="*/ 352 h 451"/>
                <a:gd name="T90" fmla="*/ 32 w 423"/>
                <a:gd name="T91" fmla="*/ 310 h 451"/>
                <a:gd name="T92" fmla="*/ 11 w 423"/>
                <a:gd name="T93" fmla="*/ 265 h 451"/>
                <a:gd name="T94" fmla="*/ 2 w 423"/>
                <a:gd name="T95" fmla="*/ 237 h 451"/>
                <a:gd name="T96" fmla="*/ 1 w 423"/>
                <a:gd name="T97" fmla="*/ 225 h 451"/>
                <a:gd name="T98" fmla="*/ 16 w 423"/>
                <a:gd name="T99" fmla="*/ 193 h 451"/>
                <a:gd name="T100" fmla="*/ 23 w 423"/>
                <a:gd name="T101" fmla="*/ 167 h 451"/>
                <a:gd name="T102" fmla="*/ 51 w 423"/>
                <a:gd name="T103" fmla="*/ 144 h 451"/>
                <a:gd name="T104" fmla="*/ 56 w 423"/>
                <a:gd name="T105" fmla="*/ 133 h 451"/>
                <a:gd name="T106" fmla="*/ 63 w 423"/>
                <a:gd name="T107" fmla="*/ 109 h 451"/>
                <a:gd name="T108" fmla="*/ 78 w 423"/>
                <a:gd name="T109" fmla="*/ 88 h 451"/>
                <a:gd name="T110" fmla="*/ 78 w 423"/>
                <a:gd name="T111" fmla="*/ 57 h 451"/>
                <a:gd name="T112" fmla="*/ 90 w 423"/>
                <a:gd name="T113" fmla="*/ 52 h 451"/>
                <a:gd name="T114" fmla="*/ 115 w 423"/>
                <a:gd name="T115" fmla="*/ 60 h 451"/>
                <a:gd name="T116" fmla="*/ 142 w 423"/>
                <a:gd name="T117" fmla="*/ 70 h 451"/>
                <a:gd name="T118" fmla="*/ 154 w 423"/>
                <a:gd name="T119" fmla="*/ 66 h 451"/>
                <a:gd name="T120" fmla="*/ 167 w 423"/>
                <a:gd name="T121" fmla="*/ 34 h 451"/>
                <a:gd name="T122" fmla="*/ 185 w 423"/>
                <a:gd name="T123" fmla="*/ 17 h 451"/>
                <a:gd name="T124" fmla="*/ 204 w 423"/>
                <a:gd name="T125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3" h="451">
                  <a:moveTo>
                    <a:pt x="207" y="0"/>
                  </a:moveTo>
                  <a:lnTo>
                    <a:pt x="211" y="1"/>
                  </a:lnTo>
                  <a:lnTo>
                    <a:pt x="212" y="1"/>
                  </a:lnTo>
                  <a:lnTo>
                    <a:pt x="214" y="3"/>
                  </a:lnTo>
                  <a:lnTo>
                    <a:pt x="216" y="3"/>
                  </a:lnTo>
                  <a:lnTo>
                    <a:pt x="217" y="5"/>
                  </a:lnTo>
                  <a:lnTo>
                    <a:pt x="220" y="7"/>
                  </a:lnTo>
                  <a:lnTo>
                    <a:pt x="223" y="9"/>
                  </a:lnTo>
                  <a:lnTo>
                    <a:pt x="225" y="9"/>
                  </a:lnTo>
                  <a:lnTo>
                    <a:pt x="229" y="10"/>
                  </a:lnTo>
                  <a:lnTo>
                    <a:pt x="235" y="10"/>
                  </a:lnTo>
                  <a:lnTo>
                    <a:pt x="236" y="11"/>
                  </a:lnTo>
                  <a:lnTo>
                    <a:pt x="238" y="11"/>
                  </a:lnTo>
                  <a:lnTo>
                    <a:pt x="241" y="12"/>
                  </a:lnTo>
                  <a:lnTo>
                    <a:pt x="243" y="13"/>
                  </a:lnTo>
                  <a:lnTo>
                    <a:pt x="253" y="20"/>
                  </a:lnTo>
                  <a:lnTo>
                    <a:pt x="255" y="21"/>
                  </a:lnTo>
                  <a:lnTo>
                    <a:pt x="256" y="22"/>
                  </a:lnTo>
                  <a:lnTo>
                    <a:pt x="257" y="22"/>
                  </a:lnTo>
                  <a:lnTo>
                    <a:pt x="259" y="22"/>
                  </a:lnTo>
                  <a:lnTo>
                    <a:pt x="263" y="22"/>
                  </a:lnTo>
                  <a:lnTo>
                    <a:pt x="267" y="22"/>
                  </a:lnTo>
                  <a:lnTo>
                    <a:pt x="268" y="22"/>
                  </a:lnTo>
                  <a:lnTo>
                    <a:pt x="269" y="22"/>
                  </a:lnTo>
                  <a:lnTo>
                    <a:pt x="270" y="22"/>
                  </a:lnTo>
                  <a:lnTo>
                    <a:pt x="273" y="23"/>
                  </a:lnTo>
                  <a:lnTo>
                    <a:pt x="274" y="24"/>
                  </a:lnTo>
                  <a:lnTo>
                    <a:pt x="276" y="25"/>
                  </a:lnTo>
                  <a:lnTo>
                    <a:pt x="277" y="27"/>
                  </a:lnTo>
                  <a:lnTo>
                    <a:pt x="278" y="28"/>
                  </a:lnTo>
                  <a:lnTo>
                    <a:pt x="278" y="29"/>
                  </a:lnTo>
                  <a:lnTo>
                    <a:pt x="279" y="31"/>
                  </a:lnTo>
                  <a:lnTo>
                    <a:pt x="279" y="35"/>
                  </a:lnTo>
                  <a:lnTo>
                    <a:pt x="279" y="39"/>
                  </a:lnTo>
                  <a:lnTo>
                    <a:pt x="279" y="40"/>
                  </a:lnTo>
                  <a:lnTo>
                    <a:pt x="280" y="41"/>
                  </a:lnTo>
                  <a:lnTo>
                    <a:pt x="281" y="42"/>
                  </a:lnTo>
                  <a:lnTo>
                    <a:pt x="281" y="43"/>
                  </a:lnTo>
                  <a:lnTo>
                    <a:pt x="280" y="43"/>
                  </a:lnTo>
                  <a:lnTo>
                    <a:pt x="279" y="44"/>
                  </a:lnTo>
                  <a:lnTo>
                    <a:pt x="277" y="46"/>
                  </a:lnTo>
                  <a:lnTo>
                    <a:pt x="275" y="47"/>
                  </a:lnTo>
                  <a:lnTo>
                    <a:pt x="274" y="49"/>
                  </a:lnTo>
                  <a:lnTo>
                    <a:pt x="273" y="51"/>
                  </a:lnTo>
                  <a:lnTo>
                    <a:pt x="272" y="53"/>
                  </a:lnTo>
                  <a:lnTo>
                    <a:pt x="270" y="56"/>
                  </a:lnTo>
                  <a:lnTo>
                    <a:pt x="270" y="57"/>
                  </a:lnTo>
                  <a:lnTo>
                    <a:pt x="269" y="60"/>
                  </a:lnTo>
                  <a:lnTo>
                    <a:pt x="268" y="63"/>
                  </a:lnTo>
                  <a:lnTo>
                    <a:pt x="268" y="66"/>
                  </a:lnTo>
                  <a:lnTo>
                    <a:pt x="268" y="68"/>
                  </a:lnTo>
                  <a:lnTo>
                    <a:pt x="268" y="71"/>
                  </a:lnTo>
                  <a:lnTo>
                    <a:pt x="268" y="74"/>
                  </a:lnTo>
                  <a:lnTo>
                    <a:pt x="268" y="77"/>
                  </a:lnTo>
                  <a:lnTo>
                    <a:pt x="268" y="80"/>
                  </a:lnTo>
                  <a:lnTo>
                    <a:pt x="269" y="82"/>
                  </a:lnTo>
                  <a:lnTo>
                    <a:pt x="270" y="84"/>
                  </a:lnTo>
                  <a:lnTo>
                    <a:pt x="271" y="86"/>
                  </a:lnTo>
                  <a:lnTo>
                    <a:pt x="272" y="90"/>
                  </a:lnTo>
                  <a:lnTo>
                    <a:pt x="274" y="93"/>
                  </a:lnTo>
                  <a:lnTo>
                    <a:pt x="275" y="96"/>
                  </a:lnTo>
                  <a:lnTo>
                    <a:pt x="277" y="98"/>
                  </a:lnTo>
                  <a:lnTo>
                    <a:pt x="278" y="100"/>
                  </a:lnTo>
                  <a:lnTo>
                    <a:pt x="279" y="102"/>
                  </a:lnTo>
                  <a:lnTo>
                    <a:pt x="281" y="102"/>
                  </a:lnTo>
                  <a:lnTo>
                    <a:pt x="286" y="105"/>
                  </a:lnTo>
                  <a:lnTo>
                    <a:pt x="289" y="107"/>
                  </a:lnTo>
                  <a:lnTo>
                    <a:pt x="290" y="109"/>
                  </a:lnTo>
                  <a:lnTo>
                    <a:pt x="292" y="111"/>
                  </a:lnTo>
                  <a:lnTo>
                    <a:pt x="296" y="114"/>
                  </a:lnTo>
                  <a:lnTo>
                    <a:pt x="299" y="118"/>
                  </a:lnTo>
                  <a:lnTo>
                    <a:pt x="300" y="120"/>
                  </a:lnTo>
                  <a:lnTo>
                    <a:pt x="301" y="121"/>
                  </a:lnTo>
                  <a:lnTo>
                    <a:pt x="301" y="125"/>
                  </a:lnTo>
                  <a:lnTo>
                    <a:pt x="302" y="126"/>
                  </a:lnTo>
                  <a:lnTo>
                    <a:pt x="302" y="128"/>
                  </a:lnTo>
                  <a:lnTo>
                    <a:pt x="302" y="129"/>
                  </a:lnTo>
                  <a:lnTo>
                    <a:pt x="302" y="131"/>
                  </a:lnTo>
                  <a:lnTo>
                    <a:pt x="301" y="133"/>
                  </a:lnTo>
                  <a:lnTo>
                    <a:pt x="299" y="136"/>
                  </a:lnTo>
                  <a:lnTo>
                    <a:pt x="298" y="138"/>
                  </a:lnTo>
                  <a:lnTo>
                    <a:pt x="296" y="142"/>
                  </a:lnTo>
                  <a:lnTo>
                    <a:pt x="296" y="145"/>
                  </a:lnTo>
                  <a:lnTo>
                    <a:pt x="295" y="147"/>
                  </a:lnTo>
                  <a:lnTo>
                    <a:pt x="295" y="148"/>
                  </a:lnTo>
                  <a:lnTo>
                    <a:pt x="295" y="150"/>
                  </a:lnTo>
                  <a:lnTo>
                    <a:pt x="296" y="151"/>
                  </a:lnTo>
                  <a:lnTo>
                    <a:pt x="297" y="152"/>
                  </a:lnTo>
                  <a:lnTo>
                    <a:pt x="297" y="153"/>
                  </a:lnTo>
                  <a:lnTo>
                    <a:pt x="298" y="154"/>
                  </a:lnTo>
                  <a:lnTo>
                    <a:pt x="299" y="154"/>
                  </a:lnTo>
                  <a:lnTo>
                    <a:pt x="301" y="155"/>
                  </a:lnTo>
                  <a:lnTo>
                    <a:pt x="302" y="155"/>
                  </a:lnTo>
                  <a:lnTo>
                    <a:pt x="304" y="156"/>
                  </a:lnTo>
                  <a:lnTo>
                    <a:pt x="306" y="156"/>
                  </a:lnTo>
                  <a:lnTo>
                    <a:pt x="307" y="156"/>
                  </a:lnTo>
                  <a:lnTo>
                    <a:pt x="309" y="156"/>
                  </a:lnTo>
                  <a:lnTo>
                    <a:pt x="312" y="156"/>
                  </a:lnTo>
                  <a:lnTo>
                    <a:pt x="315" y="155"/>
                  </a:lnTo>
                  <a:lnTo>
                    <a:pt x="317" y="154"/>
                  </a:lnTo>
                  <a:lnTo>
                    <a:pt x="319" y="152"/>
                  </a:lnTo>
                  <a:lnTo>
                    <a:pt x="320" y="151"/>
                  </a:lnTo>
                  <a:lnTo>
                    <a:pt x="322" y="150"/>
                  </a:lnTo>
                  <a:lnTo>
                    <a:pt x="324" y="148"/>
                  </a:lnTo>
                  <a:lnTo>
                    <a:pt x="325" y="145"/>
                  </a:lnTo>
                  <a:lnTo>
                    <a:pt x="333" y="133"/>
                  </a:lnTo>
                  <a:lnTo>
                    <a:pt x="335" y="130"/>
                  </a:lnTo>
                  <a:lnTo>
                    <a:pt x="336" y="128"/>
                  </a:lnTo>
                  <a:lnTo>
                    <a:pt x="337" y="127"/>
                  </a:lnTo>
                  <a:lnTo>
                    <a:pt x="338" y="126"/>
                  </a:lnTo>
                  <a:lnTo>
                    <a:pt x="339" y="125"/>
                  </a:lnTo>
                  <a:lnTo>
                    <a:pt x="341" y="125"/>
                  </a:lnTo>
                  <a:lnTo>
                    <a:pt x="342" y="125"/>
                  </a:lnTo>
                  <a:lnTo>
                    <a:pt x="343" y="125"/>
                  </a:lnTo>
                  <a:lnTo>
                    <a:pt x="345" y="125"/>
                  </a:lnTo>
                  <a:lnTo>
                    <a:pt x="346" y="125"/>
                  </a:lnTo>
                  <a:lnTo>
                    <a:pt x="347" y="125"/>
                  </a:lnTo>
                  <a:lnTo>
                    <a:pt x="349" y="125"/>
                  </a:lnTo>
                  <a:lnTo>
                    <a:pt x="352" y="126"/>
                  </a:lnTo>
                  <a:lnTo>
                    <a:pt x="355" y="128"/>
                  </a:lnTo>
                  <a:lnTo>
                    <a:pt x="357" y="129"/>
                  </a:lnTo>
                  <a:lnTo>
                    <a:pt x="358" y="130"/>
                  </a:lnTo>
                  <a:lnTo>
                    <a:pt x="360" y="132"/>
                  </a:lnTo>
                  <a:lnTo>
                    <a:pt x="363" y="135"/>
                  </a:lnTo>
                  <a:lnTo>
                    <a:pt x="366" y="139"/>
                  </a:lnTo>
                  <a:lnTo>
                    <a:pt x="370" y="146"/>
                  </a:lnTo>
                  <a:lnTo>
                    <a:pt x="371" y="148"/>
                  </a:lnTo>
                  <a:lnTo>
                    <a:pt x="373" y="150"/>
                  </a:lnTo>
                  <a:lnTo>
                    <a:pt x="375" y="152"/>
                  </a:lnTo>
                  <a:lnTo>
                    <a:pt x="377" y="154"/>
                  </a:lnTo>
                  <a:lnTo>
                    <a:pt x="380" y="155"/>
                  </a:lnTo>
                  <a:lnTo>
                    <a:pt x="382" y="157"/>
                  </a:lnTo>
                  <a:lnTo>
                    <a:pt x="389" y="159"/>
                  </a:lnTo>
                  <a:lnTo>
                    <a:pt x="392" y="161"/>
                  </a:lnTo>
                  <a:lnTo>
                    <a:pt x="394" y="163"/>
                  </a:lnTo>
                  <a:lnTo>
                    <a:pt x="396" y="165"/>
                  </a:lnTo>
                  <a:lnTo>
                    <a:pt x="397" y="167"/>
                  </a:lnTo>
                  <a:lnTo>
                    <a:pt x="398" y="168"/>
                  </a:lnTo>
                  <a:lnTo>
                    <a:pt x="399" y="170"/>
                  </a:lnTo>
                  <a:lnTo>
                    <a:pt x="400" y="171"/>
                  </a:lnTo>
                  <a:lnTo>
                    <a:pt x="400" y="173"/>
                  </a:lnTo>
                  <a:lnTo>
                    <a:pt x="400" y="176"/>
                  </a:lnTo>
                  <a:lnTo>
                    <a:pt x="400" y="184"/>
                  </a:lnTo>
                  <a:lnTo>
                    <a:pt x="400" y="187"/>
                  </a:lnTo>
                  <a:lnTo>
                    <a:pt x="401" y="191"/>
                  </a:lnTo>
                  <a:lnTo>
                    <a:pt x="402" y="193"/>
                  </a:lnTo>
                  <a:lnTo>
                    <a:pt x="403" y="196"/>
                  </a:lnTo>
                  <a:lnTo>
                    <a:pt x="405" y="200"/>
                  </a:lnTo>
                  <a:lnTo>
                    <a:pt x="415" y="214"/>
                  </a:lnTo>
                  <a:lnTo>
                    <a:pt x="416" y="218"/>
                  </a:lnTo>
                  <a:lnTo>
                    <a:pt x="418" y="220"/>
                  </a:lnTo>
                  <a:lnTo>
                    <a:pt x="419" y="222"/>
                  </a:lnTo>
                  <a:lnTo>
                    <a:pt x="419" y="224"/>
                  </a:lnTo>
                  <a:lnTo>
                    <a:pt x="420" y="227"/>
                  </a:lnTo>
                  <a:lnTo>
                    <a:pt x="420" y="227"/>
                  </a:lnTo>
                  <a:lnTo>
                    <a:pt x="420" y="229"/>
                  </a:lnTo>
                  <a:lnTo>
                    <a:pt x="420" y="231"/>
                  </a:lnTo>
                  <a:lnTo>
                    <a:pt x="420" y="232"/>
                  </a:lnTo>
                  <a:lnTo>
                    <a:pt x="420" y="234"/>
                  </a:lnTo>
                  <a:lnTo>
                    <a:pt x="419" y="236"/>
                  </a:lnTo>
                  <a:lnTo>
                    <a:pt x="416" y="241"/>
                  </a:lnTo>
                  <a:lnTo>
                    <a:pt x="415" y="243"/>
                  </a:lnTo>
                  <a:lnTo>
                    <a:pt x="415" y="245"/>
                  </a:lnTo>
                  <a:lnTo>
                    <a:pt x="415" y="247"/>
                  </a:lnTo>
                  <a:lnTo>
                    <a:pt x="414" y="250"/>
                  </a:lnTo>
                  <a:lnTo>
                    <a:pt x="414" y="251"/>
                  </a:lnTo>
                  <a:lnTo>
                    <a:pt x="414" y="254"/>
                  </a:lnTo>
                  <a:lnTo>
                    <a:pt x="414" y="256"/>
                  </a:lnTo>
                  <a:lnTo>
                    <a:pt x="414" y="258"/>
                  </a:lnTo>
                  <a:lnTo>
                    <a:pt x="415" y="262"/>
                  </a:lnTo>
                  <a:lnTo>
                    <a:pt x="419" y="276"/>
                  </a:lnTo>
                  <a:lnTo>
                    <a:pt x="421" y="284"/>
                  </a:lnTo>
                  <a:lnTo>
                    <a:pt x="420" y="284"/>
                  </a:lnTo>
                  <a:lnTo>
                    <a:pt x="421" y="285"/>
                  </a:lnTo>
                  <a:lnTo>
                    <a:pt x="422" y="287"/>
                  </a:lnTo>
                  <a:lnTo>
                    <a:pt x="422" y="288"/>
                  </a:lnTo>
                  <a:lnTo>
                    <a:pt x="423" y="289"/>
                  </a:lnTo>
                  <a:lnTo>
                    <a:pt x="423" y="290"/>
                  </a:lnTo>
                  <a:lnTo>
                    <a:pt x="422" y="291"/>
                  </a:lnTo>
                  <a:lnTo>
                    <a:pt x="422" y="294"/>
                  </a:lnTo>
                  <a:lnTo>
                    <a:pt x="419" y="299"/>
                  </a:lnTo>
                  <a:lnTo>
                    <a:pt x="418" y="302"/>
                  </a:lnTo>
                  <a:lnTo>
                    <a:pt x="417" y="305"/>
                  </a:lnTo>
                  <a:lnTo>
                    <a:pt x="416" y="312"/>
                  </a:lnTo>
                  <a:lnTo>
                    <a:pt x="416" y="315"/>
                  </a:lnTo>
                  <a:lnTo>
                    <a:pt x="415" y="318"/>
                  </a:lnTo>
                  <a:lnTo>
                    <a:pt x="415" y="318"/>
                  </a:lnTo>
                  <a:lnTo>
                    <a:pt x="414" y="320"/>
                  </a:lnTo>
                  <a:lnTo>
                    <a:pt x="413" y="321"/>
                  </a:lnTo>
                  <a:lnTo>
                    <a:pt x="412" y="322"/>
                  </a:lnTo>
                  <a:lnTo>
                    <a:pt x="411" y="324"/>
                  </a:lnTo>
                  <a:lnTo>
                    <a:pt x="409" y="325"/>
                  </a:lnTo>
                  <a:lnTo>
                    <a:pt x="406" y="326"/>
                  </a:lnTo>
                  <a:lnTo>
                    <a:pt x="397" y="330"/>
                  </a:lnTo>
                  <a:lnTo>
                    <a:pt x="392" y="333"/>
                  </a:lnTo>
                  <a:lnTo>
                    <a:pt x="390" y="335"/>
                  </a:lnTo>
                  <a:lnTo>
                    <a:pt x="387" y="337"/>
                  </a:lnTo>
                  <a:lnTo>
                    <a:pt x="384" y="339"/>
                  </a:lnTo>
                  <a:lnTo>
                    <a:pt x="383" y="340"/>
                  </a:lnTo>
                  <a:lnTo>
                    <a:pt x="382" y="340"/>
                  </a:lnTo>
                  <a:lnTo>
                    <a:pt x="381" y="341"/>
                  </a:lnTo>
                  <a:lnTo>
                    <a:pt x="381" y="343"/>
                  </a:lnTo>
                  <a:lnTo>
                    <a:pt x="380" y="344"/>
                  </a:lnTo>
                  <a:lnTo>
                    <a:pt x="380" y="347"/>
                  </a:lnTo>
                  <a:lnTo>
                    <a:pt x="379" y="352"/>
                  </a:lnTo>
                  <a:lnTo>
                    <a:pt x="378" y="353"/>
                  </a:lnTo>
                  <a:lnTo>
                    <a:pt x="378" y="355"/>
                  </a:lnTo>
                  <a:lnTo>
                    <a:pt x="377" y="357"/>
                  </a:lnTo>
                  <a:lnTo>
                    <a:pt x="375" y="359"/>
                  </a:lnTo>
                  <a:lnTo>
                    <a:pt x="373" y="362"/>
                  </a:lnTo>
                  <a:lnTo>
                    <a:pt x="370" y="363"/>
                  </a:lnTo>
                  <a:lnTo>
                    <a:pt x="369" y="365"/>
                  </a:lnTo>
                  <a:lnTo>
                    <a:pt x="367" y="367"/>
                  </a:lnTo>
                  <a:lnTo>
                    <a:pt x="365" y="368"/>
                  </a:lnTo>
                  <a:lnTo>
                    <a:pt x="364" y="368"/>
                  </a:lnTo>
                  <a:lnTo>
                    <a:pt x="362" y="369"/>
                  </a:lnTo>
                  <a:lnTo>
                    <a:pt x="360" y="369"/>
                  </a:lnTo>
                  <a:lnTo>
                    <a:pt x="358" y="370"/>
                  </a:lnTo>
                  <a:lnTo>
                    <a:pt x="358" y="370"/>
                  </a:lnTo>
                  <a:lnTo>
                    <a:pt x="356" y="370"/>
                  </a:lnTo>
                  <a:lnTo>
                    <a:pt x="355" y="370"/>
                  </a:lnTo>
                  <a:lnTo>
                    <a:pt x="352" y="369"/>
                  </a:lnTo>
                  <a:lnTo>
                    <a:pt x="348" y="368"/>
                  </a:lnTo>
                  <a:lnTo>
                    <a:pt x="338" y="365"/>
                  </a:lnTo>
                  <a:lnTo>
                    <a:pt x="332" y="363"/>
                  </a:lnTo>
                  <a:lnTo>
                    <a:pt x="326" y="363"/>
                  </a:lnTo>
                  <a:lnTo>
                    <a:pt x="324" y="362"/>
                  </a:lnTo>
                  <a:lnTo>
                    <a:pt x="321" y="362"/>
                  </a:lnTo>
                  <a:lnTo>
                    <a:pt x="317" y="362"/>
                  </a:lnTo>
                  <a:lnTo>
                    <a:pt x="314" y="362"/>
                  </a:lnTo>
                  <a:lnTo>
                    <a:pt x="313" y="362"/>
                  </a:lnTo>
                  <a:lnTo>
                    <a:pt x="311" y="363"/>
                  </a:lnTo>
                  <a:lnTo>
                    <a:pt x="308" y="363"/>
                  </a:lnTo>
                  <a:lnTo>
                    <a:pt x="308" y="364"/>
                  </a:lnTo>
                  <a:lnTo>
                    <a:pt x="306" y="366"/>
                  </a:lnTo>
                  <a:lnTo>
                    <a:pt x="305" y="369"/>
                  </a:lnTo>
                  <a:lnTo>
                    <a:pt x="304" y="370"/>
                  </a:lnTo>
                  <a:lnTo>
                    <a:pt x="304" y="372"/>
                  </a:lnTo>
                  <a:lnTo>
                    <a:pt x="304" y="374"/>
                  </a:lnTo>
                  <a:lnTo>
                    <a:pt x="303" y="383"/>
                  </a:lnTo>
                  <a:lnTo>
                    <a:pt x="302" y="387"/>
                  </a:lnTo>
                  <a:lnTo>
                    <a:pt x="301" y="390"/>
                  </a:lnTo>
                  <a:lnTo>
                    <a:pt x="301" y="393"/>
                  </a:lnTo>
                  <a:lnTo>
                    <a:pt x="300" y="395"/>
                  </a:lnTo>
                  <a:lnTo>
                    <a:pt x="299" y="396"/>
                  </a:lnTo>
                  <a:lnTo>
                    <a:pt x="298" y="397"/>
                  </a:lnTo>
                  <a:lnTo>
                    <a:pt x="296" y="399"/>
                  </a:lnTo>
                  <a:lnTo>
                    <a:pt x="294" y="400"/>
                  </a:lnTo>
                  <a:lnTo>
                    <a:pt x="288" y="405"/>
                  </a:lnTo>
                  <a:lnTo>
                    <a:pt x="287" y="406"/>
                  </a:lnTo>
                  <a:lnTo>
                    <a:pt x="285" y="407"/>
                  </a:lnTo>
                  <a:lnTo>
                    <a:pt x="282" y="410"/>
                  </a:lnTo>
                  <a:lnTo>
                    <a:pt x="277" y="419"/>
                  </a:lnTo>
                  <a:lnTo>
                    <a:pt x="274" y="422"/>
                  </a:lnTo>
                  <a:lnTo>
                    <a:pt x="270" y="427"/>
                  </a:lnTo>
                  <a:lnTo>
                    <a:pt x="264" y="433"/>
                  </a:lnTo>
                  <a:lnTo>
                    <a:pt x="261" y="436"/>
                  </a:lnTo>
                  <a:lnTo>
                    <a:pt x="260" y="438"/>
                  </a:lnTo>
                  <a:lnTo>
                    <a:pt x="259" y="440"/>
                  </a:lnTo>
                  <a:lnTo>
                    <a:pt x="258" y="441"/>
                  </a:lnTo>
                  <a:lnTo>
                    <a:pt x="257" y="442"/>
                  </a:lnTo>
                  <a:lnTo>
                    <a:pt x="257" y="443"/>
                  </a:lnTo>
                  <a:lnTo>
                    <a:pt x="256" y="445"/>
                  </a:lnTo>
                  <a:lnTo>
                    <a:pt x="256" y="446"/>
                  </a:lnTo>
                  <a:lnTo>
                    <a:pt x="257" y="446"/>
                  </a:lnTo>
                  <a:lnTo>
                    <a:pt x="257" y="447"/>
                  </a:lnTo>
                  <a:lnTo>
                    <a:pt x="256" y="446"/>
                  </a:lnTo>
                  <a:lnTo>
                    <a:pt x="256" y="445"/>
                  </a:lnTo>
                  <a:lnTo>
                    <a:pt x="254" y="445"/>
                  </a:lnTo>
                  <a:lnTo>
                    <a:pt x="252" y="444"/>
                  </a:lnTo>
                  <a:lnTo>
                    <a:pt x="246" y="443"/>
                  </a:lnTo>
                  <a:lnTo>
                    <a:pt x="242" y="443"/>
                  </a:lnTo>
                  <a:lnTo>
                    <a:pt x="237" y="442"/>
                  </a:lnTo>
                  <a:lnTo>
                    <a:pt x="233" y="442"/>
                  </a:lnTo>
                  <a:lnTo>
                    <a:pt x="230" y="443"/>
                  </a:lnTo>
                  <a:lnTo>
                    <a:pt x="223" y="443"/>
                  </a:lnTo>
                  <a:lnTo>
                    <a:pt x="216" y="443"/>
                  </a:lnTo>
                  <a:lnTo>
                    <a:pt x="213" y="444"/>
                  </a:lnTo>
                  <a:lnTo>
                    <a:pt x="212" y="444"/>
                  </a:lnTo>
                  <a:lnTo>
                    <a:pt x="203" y="447"/>
                  </a:lnTo>
                  <a:lnTo>
                    <a:pt x="200" y="448"/>
                  </a:lnTo>
                  <a:lnTo>
                    <a:pt x="197" y="450"/>
                  </a:lnTo>
                  <a:lnTo>
                    <a:pt x="195" y="451"/>
                  </a:lnTo>
                  <a:lnTo>
                    <a:pt x="193" y="451"/>
                  </a:lnTo>
                  <a:lnTo>
                    <a:pt x="192" y="451"/>
                  </a:lnTo>
                  <a:lnTo>
                    <a:pt x="191" y="451"/>
                  </a:lnTo>
                  <a:lnTo>
                    <a:pt x="189" y="451"/>
                  </a:lnTo>
                  <a:lnTo>
                    <a:pt x="188" y="450"/>
                  </a:lnTo>
                  <a:lnTo>
                    <a:pt x="185" y="450"/>
                  </a:lnTo>
                  <a:lnTo>
                    <a:pt x="183" y="449"/>
                  </a:lnTo>
                  <a:lnTo>
                    <a:pt x="181" y="448"/>
                  </a:lnTo>
                  <a:lnTo>
                    <a:pt x="180" y="447"/>
                  </a:lnTo>
                  <a:lnTo>
                    <a:pt x="179" y="446"/>
                  </a:lnTo>
                  <a:lnTo>
                    <a:pt x="178" y="445"/>
                  </a:lnTo>
                  <a:lnTo>
                    <a:pt x="177" y="443"/>
                  </a:lnTo>
                  <a:lnTo>
                    <a:pt x="176" y="442"/>
                  </a:lnTo>
                  <a:lnTo>
                    <a:pt x="176" y="440"/>
                  </a:lnTo>
                  <a:lnTo>
                    <a:pt x="175" y="438"/>
                  </a:lnTo>
                  <a:lnTo>
                    <a:pt x="174" y="435"/>
                  </a:lnTo>
                  <a:lnTo>
                    <a:pt x="173" y="431"/>
                  </a:lnTo>
                  <a:lnTo>
                    <a:pt x="171" y="424"/>
                  </a:lnTo>
                  <a:lnTo>
                    <a:pt x="171" y="422"/>
                  </a:lnTo>
                  <a:lnTo>
                    <a:pt x="170" y="420"/>
                  </a:lnTo>
                  <a:lnTo>
                    <a:pt x="169" y="419"/>
                  </a:lnTo>
                  <a:lnTo>
                    <a:pt x="168" y="417"/>
                  </a:lnTo>
                  <a:lnTo>
                    <a:pt x="167" y="416"/>
                  </a:lnTo>
                  <a:lnTo>
                    <a:pt x="166" y="416"/>
                  </a:lnTo>
                  <a:lnTo>
                    <a:pt x="165" y="415"/>
                  </a:lnTo>
                  <a:lnTo>
                    <a:pt x="164" y="415"/>
                  </a:lnTo>
                  <a:lnTo>
                    <a:pt x="163" y="415"/>
                  </a:lnTo>
                  <a:lnTo>
                    <a:pt x="161" y="416"/>
                  </a:lnTo>
                  <a:lnTo>
                    <a:pt x="158" y="417"/>
                  </a:lnTo>
                  <a:lnTo>
                    <a:pt x="155" y="418"/>
                  </a:lnTo>
                  <a:lnTo>
                    <a:pt x="154" y="419"/>
                  </a:lnTo>
                  <a:lnTo>
                    <a:pt x="150" y="420"/>
                  </a:lnTo>
                  <a:lnTo>
                    <a:pt x="149" y="420"/>
                  </a:lnTo>
                  <a:lnTo>
                    <a:pt x="147" y="421"/>
                  </a:lnTo>
                  <a:lnTo>
                    <a:pt x="144" y="421"/>
                  </a:lnTo>
                  <a:lnTo>
                    <a:pt x="143" y="421"/>
                  </a:lnTo>
                  <a:lnTo>
                    <a:pt x="142" y="420"/>
                  </a:lnTo>
                  <a:lnTo>
                    <a:pt x="139" y="420"/>
                  </a:lnTo>
                  <a:lnTo>
                    <a:pt x="137" y="420"/>
                  </a:lnTo>
                  <a:lnTo>
                    <a:pt x="131" y="417"/>
                  </a:lnTo>
                  <a:lnTo>
                    <a:pt x="129" y="416"/>
                  </a:lnTo>
                  <a:lnTo>
                    <a:pt x="127" y="416"/>
                  </a:lnTo>
                  <a:lnTo>
                    <a:pt x="125" y="416"/>
                  </a:lnTo>
                  <a:lnTo>
                    <a:pt x="123" y="416"/>
                  </a:lnTo>
                  <a:lnTo>
                    <a:pt x="120" y="417"/>
                  </a:lnTo>
                  <a:lnTo>
                    <a:pt x="119" y="418"/>
                  </a:lnTo>
                  <a:lnTo>
                    <a:pt x="115" y="420"/>
                  </a:lnTo>
                  <a:lnTo>
                    <a:pt x="113" y="421"/>
                  </a:lnTo>
                  <a:lnTo>
                    <a:pt x="111" y="421"/>
                  </a:lnTo>
                  <a:lnTo>
                    <a:pt x="109" y="421"/>
                  </a:lnTo>
                  <a:lnTo>
                    <a:pt x="108" y="421"/>
                  </a:lnTo>
                  <a:lnTo>
                    <a:pt x="108" y="421"/>
                  </a:lnTo>
                  <a:lnTo>
                    <a:pt x="106" y="420"/>
                  </a:lnTo>
                  <a:lnTo>
                    <a:pt x="105" y="420"/>
                  </a:lnTo>
                  <a:lnTo>
                    <a:pt x="104" y="419"/>
                  </a:lnTo>
                  <a:lnTo>
                    <a:pt x="103" y="418"/>
                  </a:lnTo>
                  <a:lnTo>
                    <a:pt x="102" y="417"/>
                  </a:lnTo>
                  <a:lnTo>
                    <a:pt x="102" y="416"/>
                  </a:lnTo>
                  <a:lnTo>
                    <a:pt x="101" y="413"/>
                  </a:lnTo>
                  <a:lnTo>
                    <a:pt x="99" y="410"/>
                  </a:lnTo>
                  <a:lnTo>
                    <a:pt x="97" y="408"/>
                  </a:lnTo>
                  <a:lnTo>
                    <a:pt x="95" y="403"/>
                  </a:lnTo>
                  <a:lnTo>
                    <a:pt x="93" y="401"/>
                  </a:lnTo>
                  <a:lnTo>
                    <a:pt x="91" y="399"/>
                  </a:lnTo>
                  <a:lnTo>
                    <a:pt x="88" y="397"/>
                  </a:lnTo>
                  <a:lnTo>
                    <a:pt x="85" y="394"/>
                  </a:lnTo>
                  <a:lnTo>
                    <a:pt x="81" y="391"/>
                  </a:lnTo>
                  <a:lnTo>
                    <a:pt x="74" y="387"/>
                  </a:lnTo>
                  <a:lnTo>
                    <a:pt x="73" y="386"/>
                  </a:lnTo>
                  <a:lnTo>
                    <a:pt x="71" y="385"/>
                  </a:lnTo>
                  <a:lnTo>
                    <a:pt x="69" y="382"/>
                  </a:lnTo>
                  <a:lnTo>
                    <a:pt x="68" y="380"/>
                  </a:lnTo>
                  <a:lnTo>
                    <a:pt x="67" y="379"/>
                  </a:lnTo>
                  <a:lnTo>
                    <a:pt x="62" y="369"/>
                  </a:lnTo>
                  <a:lnTo>
                    <a:pt x="55" y="358"/>
                  </a:lnTo>
                  <a:lnTo>
                    <a:pt x="54" y="354"/>
                  </a:lnTo>
                  <a:lnTo>
                    <a:pt x="52" y="352"/>
                  </a:lnTo>
                  <a:lnTo>
                    <a:pt x="47" y="336"/>
                  </a:lnTo>
                  <a:lnTo>
                    <a:pt x="45" y="332"/>
                  </a:lnTo>
                  <a:lnTo>
                    <a:pt x="43" y="329"/>
                  </a:lnTo>
                  <a:lnTo>
                    <a:pt x="40" y="323"/>
                  </a:lnTo>
                  <a:lnTo>
                    <a:pt x="39" y="319"/>
                  </a:lnTo>
                  <a:lnTo>
                    <a:pt x="37" y="317"/>
                  </a:lnTo>
                  <a:lnTo>
                    <a:pt x="33" y="313"/>
                  </a:lnTo>
                  <a:lnTo>
                    <a:pt x="32" y="310"/>
                  </a:lnTo>
                  <a:lnTo>
                    <a:pt x="29" y="306"/>
                  </a:lnTo>
                  <a:lnTo>
                    <a:pt x="27" y="303"/>
                  </a:lnTo>
                  <a:lnTo>
                    <a:pt x="26" y="299"/>
                  </a:lnTo>
                  <a:lnTo>
                    <a:pt x="20" y="289"/>
                  </a:lnTo>
                  <a:lnTo>
                    <a:pt x="17" y="280"/>
                  </a:lnTo>
                  <a:lnTo>
                    <a:pt x="13" y="273"/>
                  </a:lnTo>
                  <a:lnTo>
                    <a:pt x="12" y="269"/>
                  </a:lnTo>
                  <a:lnTo>
                    <a:pt x="11" y="265"/>
                  </a:lnTo>
                  <a:lnTo>
                    <a:pt x="9" y="257"/>
                  </a:lnTo>
                  <a:lnTo>
                    <a:pt x="8" y="252"/>
                  </a:lnTo>
                  <a:lnTo>
                    <a:pt x="7" y="247"/>
                  </a:lnTo>
                  <a:lnTo>
                    <a:pt x="6" y="242"/>
                  </a:lnTo>
                  <a:lnTo>
                    <a:pt x="5" y="239"/>
                  </a:lnTo>
                  <a:lnTo>
                    <a:pt x="4" y="238"/>
                  </a:lnTo>
                  <a:lnTo>
                    <a:pt x="3" y="237"/>
                  </a:lnTo>
                  <a:lnTo>
                    <a:pt x="2" y="237"/>
                  </a:lnTo>
                  <a:lnTo>
                    <a:pt x="1" y="237"/>
                  </a:lnTo>
                  <a:lnTo>
                    <a:pt x="0" y="236"/>
                  </a:lnTo>
                  <a:lnTo>
                    <a:pt x="0" y="235"/>
                  </a:lnTo>
                  <a:lnTo>
                    <a:pt x="0" y="233"/>
                  </a:lnTo>
                  <a:lnTo>
                    <a:pt x="0" y="231"/>
                  </a:lnTo>
                  <a:lnTo>
                    <a:pt x="0" y="229"/>
                  </a:lnTo>
                  <a:lnTo>
                    <a:pt x="1" y="227"/>
                  </a:lnTo>
                  <a:lnTo>
                    <a:pt x="1" y="225"/>
                  </a:lnTo>
                  <a:lnTo>
                    <a:pt x="3" y="221"/>
                  </a:lnTo>
                  <a:lnTo>
                    <a:pt x="5" y="216"/>
                  </a:lnTo>
                  <a:lnTo>
                    <a:pt x="7" y="212"/>
                  </a:lnTo>
                  <a:lnTo>
                    <a:pt x="13" y="202"/>
                  </a:lnTo>
                  <a:lnTo>
                    <a:pt x="14" y="199"/>
                  </a:lnTo>
                  <a:lnTo>
                    <a:pt x="15" y="196"/>
                  </a:lnTo>
                  <a:lnTo>
                    <a:pt x="16" y="194"/>
                  </a:lnTo>
                  <a:lnTo>
                    <a:pt x="16" y="193"/>
                  </a:lnTo>
                  <a:lnTo>
                    <a:pt x="17" y="184"/>
                  </a:lnTo>
                  <a:lnTo>
                    <a:pt x="17" y="182"/>
                  </a:lnTo>
                  <a:lnTo>
                    <a:pt x="17" y="180"/>
                  </a:lnTo>
                  <a:lnTo>
                    <a:pt x="18" y="178"/>
                  </a:lnTo>
                  <a:lnTo>
                    <a:pt x="19" y="175"/>
                  </a:lnTo>
                  <a:lnTo>
                    <a:pt x="20" y="172"/>
                  </a:lnTo>
                  <a:lnTo>
                    <a:pt x="22" y="170"/>
                  </a:lnTo>
                  <a:lnTo>
                    <a:pt x="23" y="167"/>
                  </a:lnTo>
                  <a:lnTo>
                    <a:pt x="25" y="164"/>
                  </a:lnTo>
                  <a:lnTo>
                    <a:pt x="27" y="162"/>
                  </a:lnTo>
                  <a:lnTo>
                    <a:pt x="29" y="160"/>
                  </a:lnTo>
                  <a:lnTo>
                    <a:pt x="32" y="159"/>
                  </a:lnTo>
                  <a:lnTo>
                    <a:pt x="39" y="153"/>
                  </a:lnTo>
                  <a:lnTo>
                    <a:pt x="46" y="147"/>
                  </a:lnTo>
                  <a:lnTo>
                    <a:pt x="49" y="146"/>
                  </a:lnTo>
                  <a:lnTo>
                    <a:pt x="51" y="144"/>
                  </a:lnTo>
                  <a:lnTo>
                    <a:pt x="52" y="144"/>
                  </a:lnTo>
                  <a:lnTo>
                    <a:pt x="53" y="143"/>
                  </a:lnTo>
                  <a:lnTo>
                    <a:pt x="54" y="142"/>
                  </a:lnTo>
                  <a:lnTo>
                    <a:pt x="55" y="140"/>
                  </a:lnTo>
                  <a:lnTo>
                    <a:pt x="55" y="139"/>
                  </a:lnTo>
                  <a:lnTo>
                    <a:pt x="56" y="138"/>
                  </a:lnTo>
                  <a:lnTo>
                    <a:pt x="56" y="137"/>
                  </a:lnTo>
                  <a:lnTo>
                    <a:pt x="56" y="133"/>
                  </a:lnTo>
                  <a:lnTo>
                    <a:pt x="56" y="131"/>
                  </a:lnTo>
                  <a:lnTo>
                    <a:pt x="57" y="128"/>
                  </a:lnTo>
                  <a:lnTo>
                    <a:pt x="57" y="126"/>
                  </a:lnTo>
                  <a:lnTo>
                    <a:pt x="58" y="123"/>
                  </a:lnTo>
                  <a:lnTo>
                    <a:pt x="59" y="119"/>
                  </a:lnTo>
                  <a:lnTo>
                    <a:pt x="61" y="115"/>
                  </a:lnTo>
                  <a:lnTo>
                    <a:pt x="62" y="113"/>
                  </a:lnTo>
                  <a:lnTo>
                    <a:pt x="63" y="109"/>
                  </a:lnTo>
                  <a:lnTo>
                    <a:pt x="66" y="105"/>
                  </a:lnTo>
                  <a:lnTo>
                    <a:pt x="68" y="102"/>
                  </a:lnTo>
                  <a:lnTo>
                    <a:pt x="72" y="99"/>
                  </a:lnTo>
                  <a:lnTo>
                    <a:pt x="74" y="97"/>
                  </a:lnTo>
                  <a:lnTo>
                    <a:pt x="75" y="94"/>
                  </a:lnTo>
                  <a:lnTo>
                    <a:pt x="76" y="92"/>
                  </a:lnTo>
                  <a:lnTo>
                    <a:pt x="77" y="90"/>
                  </a:lnTo>
                  <a:lnTo>
                    <a:pt x="78" y="88"/>
                  </a:lnTo>
                  <a:lnTo>
                    <a:pt x="79" y="80"/>
                  </a:lnTo>
                  <a:lnTo>
                    <a:pt x="79" y="78"/>
                  </a:lnTo>
                  <a:lnTo>
                    <a:pt x="79" y="75"/>
                  </a:lnTo>
                  <a:lnTo>
                    <a:pt x="79" y="71"/>
                  </a:lnTo>
                  <a:lnTo>
                    <a:pt x="78" y="62"/>
                  </a:lnTo>
                  <a:lnTo>
                    <a:pt x="78" y="59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8" y="56"/>
                  </a:lnTo>
                  <a:lnTo>
                    <a:pt x="79" y="56"/>
                  </a:lnTo>
                  <a:lnTo>
                    <a:pt x="79" y="55"/>
                  </a:lnTo>
                  <a:lnTo>
                    <a:pt x="80" y="55"/>
                  </a:lnTo>
                  <a:lnTo>
                    <a:pt x="82" y="54"/>
                  </a:lnTo>
                  <a:lnTo>
                    <a:pt x="84" y="53"/>
                  </a:lnTo>
                  <a:lnTo>
                    <a:pt x="88" y="52"/>
                  </a:lnTo>
                  <a:lnTo>
                    <a:pt x="90" y="52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7" y="52"/>
                  </a:lnTo>
                  <a:lnTo>
                    <a:pt x="98" y="53"/>
                  </a:lnTo>
                  <a:lnTo>
                    <a:pt x="103" y="55"/>
                  </a:lnTo>
                  <a:lnTo>
                    <a:pt x="108" y="57"/>
                  </a:lnTo>
                  <a:lnTo>
                    <a:pt x="111" y="57"/>
                  </a:lnTo>
                  <a:lnTo>
                    <a:pt x="115" y="60"/>
                  </a:lnTo>
                  <a:lnTo>
                    <a:pt x="122" y="65"/>
                  </a:lnTo>
                  <a:lnTo>
                    <a:pt x="125" y="66"/>
                  </a:lnTo>
                  <a:lnTo>
                    <a:pt x="129" y="68"/>
                  </a:lnTo>
                  <a:lnTo>
                    <a:pt x="132" y="69"/>
                  </a:lnTo>
                  <a:lnTo>
                    <a:pt x="135" y="69"/>
                  </a:lnTo>
                  <a:lnTo>
                    <a:pt x="137" y="70"/>
                  </a:lnTo>
                  <a:lnTo>
                    <a:pt x="140" y="70"/>
                  </a:lnTo>
                  <a:lnTo>
                    <a:pt x="142" y="70"/>
                  </a:lnTo>
                  <a:lnTo>
                    <a:pt x="143" y="70"/>
                  </a:lnTo>
                  <a:lnTo>
                    <a:pt x="146" y="70"/>
                  </a:lnTo>
                  <a:lnTo>
                    <a:pt x="148" y="69"/>
                  </a:lnTo>
                  <a:lnTo>
                    <a:pt x="150" y="68"/>
                  </a:lnTo>
                  <a:lnTo>
                    <a:pt x="151" y="68"/>
                  </a:lnTo>
                  <a:lnTo>
                    <a:pt x="153" y="68"/>
                  </a:lnTo>
                  <a:lnTo>
                    <a:pt x="154" y="67"/>
                  </a:lnTo>
                  <a:lnTo>
                    <a:pt x="154" y="66"/>
                  </a:lnTo>
                  <a:lnTo>
                    <a:pt x="156" y="63"/>
                  </a:lnTo>
                  <a:lnTo>
                    <a:pt x="157" y="62"/>
                  </a:lnTo>
                  <a:lnTo>
                    <a:pt x="158" y="60"/>
                  </a:lnTo>
                  <a:lnTo>
                    <a:pt x="159" y="58"/>
                  </a:lnTo>
                  <a:lnTo>
                    <a:pt x="160" y="56"/>
                  </a:lnTo>
                  <a:lnTo>
                    <a:pt x="164" y="42"/>
                  </a:lnTo>
                  <a:lnTo>
                    <a:pt x="165" y="38"/>
                  </a:lnTo>
                  <a:lnTo>
                    <a:pt x="167" y="34"/>
                  </a:lnTo>
                  <a:lnTo>
                    <a:pt x="168" y="32"/>
                  </a:lnTo>
                  <a:lnTo>
                    <a:pt x="169" y="30"/>
                  </a:lnTo>
                  <a:lnTo>
                    <a:pt x="170" y="28"/>
                  </a:lnTo>
                  <a:lnTo>
                    <a:pt x="171" y="27"/>
                  </a:lnTo>
                  <a:lnTo>
                    <a:pt x="172" y="26"/>
                  </a:lnTo>
                  <a:lnTo>
                    <a:pt x="175" y="23"/>
                  </a:lnTo>
                  <a:lnTo>
                    <a:pt x="177" y="22"/>
                  </a:lnTo>
                  <a:lnTo>
                    <a:pt x="185" y="17"/>
                  </a:lnTo>
                  <a:lnTo>
                    <a:pt x="188" y="15"/>
                  </a:lnTo>
                  <a:lnTo>
                    <a:pt x="192" y="12"/>
                  </a:lnTo>
                  <a:lnTo>
                    <a:pt x="196" y="10"/>
                  </a:lnTo>
                  <a:lnTo>
                    <a:pt x="199" y="7"/>
                  </a:lnTo>
                  <a:lnTo>
                    <a:pt x="201" y="4"/>
                  </a:lnTo>
                  <a:lnTo>
                    <a:pt x="203" y="2"/>
                  </a:lnTo>
                  <a:lnTo>
                    <a:pt x="204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0" name="Freeform 43">
              <a:extLst>
                <a:ext uri="{FF2B5EF4-FFF2-40B4-BE49-F238E27FC236}">
                  <a16:creationId xmlns:a16="http://schemas.microsoft.com/office/drawing/2014/main" id="{2D575A70-3972-43DB-A334-174D6A708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9" y="1209"/>
              <a:ext cx="216" cy="288"/>
            </a:xfrm>
            <a:custGeom>
              <a:avLst/>
              <a:gdLst>
                <a:gd name="T0" fmla="*/ 174 w 216"/>
                <a:gd name="T1" fmla="*/ 4 h 288"/>
                <a:gd name="T2" fmla="*/ 185 w 216"/>
                <a:gd name="T3" fmla="*/ 12 h 288"/>
                <a:gd name="T4" fmla="*/ 195 w 216"/>
                <a:gd name="T5" fmla="*/ 27 h 288"/>
                <a:gd name="T6" fmla="*/ 199 w 216"/>
                <a:gd name="T7" fmla="*/ 41 h 288"/>
                <a:gd name="T8" fmla="*/ 199 w 216"/>
                <a:gd name="T9" fmla="*/ 67 h 288"/>
                <a:gd name="T10" fmla="*/ 200 w 216"/>
                <a:gd name="T11" fmla="*/ 86 h 288"/>
                <a:gd name="T12" fmla="*/ 206 w 216"/>
                <a:gd name="T13" fmla="*/ 95 h 288"/>
                <a:gd name="T14" fmla="*/ 214 w 216"/>
                <a:gd name="T15" fmla="*/ 99 h 288"/>
                <a:gd name="T16" fmla="*/ 212 w 216"/>
                <a:gd name="T17" fmla="*/ 111 h 288"/>
                <a:gd name="T18" fmla="*/ 201 w 216"/>
                <a:gd name="T19" fmla="*/ 127 h 288"/>
                <a:gd name="T20" fmla="*/ 200 w 216"/>
                <a:gd name="T21" fmla="*/ 140 h 288"/>
                <a:gd name="T22" fmla="*/ 204 w 216"/>
                <a:gd name="T23" fmla="*/ 191 h 288"/>
                <a:gd name="T24" fmla="*/ 200 w 216"/>
                <a:gd name="T25" fmla="*/ 205 h 288"/>
                <a:gd name="T26" fmla="*/ 189 w 216"/>
                <a:gd name="T27" fmla="*/ 210 h 288"/>
                <a:gd name="T28" fmla="*/ 177 w 216"/>
                <a:gd name="T29" fmla="*/ 217 h 288"/>
                <a:gd name="T30" fmla="*/ 167 w 216"/>
                <a:gd name="T31" fmla="*/ 230 h 288"/>
                <a:gd name="T32" fmla="*/ 154 w 216"/>
                <a:gd name="T33" fmla="*/ 257 h 288"/>
                <a:gd name="T34" fmla="*/ 144 w 216"/>
                <a:gd name="T35" fmla="*/ 266 h 288"/>
                <a:gd name="T36" fmla="*/ 126 w 216"/>
                <a:gd name="T37" fmla="*/ 272 h 288"/>
                <a:gd name="T38" fmla="*/ 113 w 216"/>
                <a:gd name="T39" fmla="*/ 274 h 288"/>
                <a:gd name="T40" fmla="*/ 103 w 216"/>
                <a:gd name="T41" fmla="*/ 281 h 288"/>
                <a:gd name="T42" fmla="*/ 97 w 216"/>
                <a:gd name="T43" fmla="*/ 285 h 288"/>
                <a:gd name="T44" fmla="*/ 87 w 216"/>
                <a:gd name="T45" fmla="*/ 284 h 288"/>
                <a:gd name="T46" fmla="*/ 80 w 216"/>
                <a:gd name="T47" fmla="*/ 285 h 288"/>
                <a:gd name="T48" fmla="*/ 70 w 216"/>
                <a:gd name="T49" fmla="*/ 288 h 288"/>
                <a:gd name="T50" fmla="*/ 56 w 216"/>
                <a:gd name="T51" fmla="*/ 283 h 288"/>
                <a:gd name="T52" fmla="*/ 38 w 216"/>
                <a:gd name="T53" fmla="*/ 285 h 288"/>
                <a:gd name="T54" fmla="*/ 18 w 216"/>
                <a:gd name="T55" fmla="*/ 288 h 288"/>
                <a:gd name="T56" fmla="*/ 14 w 216"/>
                <a:gd name="T57" fmla="*/ 283 h 288"/>
                <a:gd name="T58" fmla="*/ 8 w 216"/>
                <a:gd name="T59" fmla="*/ 254 h 288"/>
                <a:gd name="T60" fmla="*/ 4 w 216"/>
                <a:gd name="T61" fmla="*/ 227 h 288"/>
                <a:gd name="T62" fmla="*/ 0 w 216"/>
                <a:gd name="T63" fmla="*/ 210 h 288"/>
                <a:gd name="T64" fmla="*/ 3 w 216"/>
                <a:gd name="T65" fmla="*/ 181 h 288"/>
                <a:gd name="T66" fmla="*/ 8 w 216"/>
                <a:gd name="T67" fmla="*/ 164 h 288"/>
                <a:gd name="T68" fmla="*/ 6 w 216"/>
                <a:gd name="T69" fmla="*/ 151 h 288"/>
                <a:gd name="T70" fmla="*/ 9 w 216"/>
                <a:gd name="T71" fmla="*/ 139 h 288"/>
                <a:gd name="T72" fmla="*/ 18 w 216"/>
                <a:gd name="T73" fmla="*/ 123 h 288"/>
                <a:gd name="T74" fmla="*/ 25 w 216"/>
                <a:gd name="T75" fmla="*/ 103 h 288"/>
                <a:gd name="T76" fmla="*/ 22 w 216"/>
                <a:gd name="T77" fmla="*/ 94 h 288"/>
                <a:gd name="T78" fmla="*/ 13 w 216"/>
                <a:gd name="T79" fmla="*/ 80 h 288"/>
                <a:gd name="T80" fmla="*/ 12 w 216"/>
                <a:gd name="T81" fmla="*/ 71 h 288"/>
                <a:gd name="T82" fmla="*/ 17 w 216"/>
                <a:gd name="T83" fmla="*/ 52 h 288"/>
                <a:gd name="T84" fmla="*/ 24 w 216"/>
                <a:gd name="T85" fmla="*/ 40 h 288"/>
                <a:gd name="T86" fmla="*/ 35 w 216"/>
                <a:gd name="T87" fmla="*/ 30 h 288"/>
                <a:gd name="T88" fmla="*/ 42 w 216"/>
                <a:gd name="T89" fmla="*/ 28 h 288"/>
                <a:gd name="T90" fmla="*/ 61 w 216"/>
                <a:gd name="T91" fmla="*/ 33 h 288"/>
                <a:gd name="T92" fmla="*/ 81 w 216"/>
                <a:gd name="T93" fmla="*/ 37 h 288"/>
                <a:gd name="T94" fmla="*/ 102 w 216"/>
                <a:gd name="T95" fmla="*/ 44 h 288"/>
                <a:gd name="T96" fmla="*/ 130 w 216"/>
                <a:gd name="T97" fmla="*/ 52 h 288"/>
                <a:gd name="T98" fmla="*/ 135 w 216"/>
                <a:gd name="T99" fmla="*/ 49 h 288"/>
                <a:gd name="T100" fmla="*/ 137 w 216"/>
                <a:gd name="T101" fmla="*/ 32 h 288"/>
                <a:gd name="T102" fmla="*/ 155 w 216"/>
                <a:gd name="T103" fmla="*/ 1 h 288"/>
                <a:gd name="T104" fmla="*/ 156 w 216"/>
                <a:gd name="T105" fmla="*/ 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6" h="288">
                  <a:moveTo>
                    <a:pt x="159" y="0"/>
                  </a:moveTo>
                  <a:lnTo>
                    <a:pt x="159" y="1"/>
                  </a:lnTo>
                  <a:lnTo>
                    <a:pt x="165" y="3"/>
                  </a:lnTo>
                  <a:lnTo>
                    <a:pt x="172" y="4"/>
                  </a:lnTo>
                  <a:lnTo>
                    <a:pt x="174" y="4"/>
                  </a:lnTo>
                  <a:lnTo>
                    <a:pt x="176" y="6"/>
                  </a:lnTo>
                  <a:lnTo>
                    <a:pt x="180" y="8"/>
                  </a:lnTo>
                  <a:lnTo>
                    <a:pt x="182" y="10"/>
                  </a:lnTo>
                  <a:lnTo>
                    <a:pt x="184" y="11"/>
                  </a:lnTo>
                  <a:lnTo>
                    <a:pt x="185" y="12"/>
                  </a:lnTo>
                  <a:lnTo>
                    <a:pt x="187" y="14"/>
                  </a:lnTo>
                  <a:lnTo>
                    <a:pt x="187" y="15"/>
                  </a:lnTo>
                  <a:lnTo>
                    <a:pt x="189" y="17"/>
                  </a:lnTo>
                  <a:lnTo>
                    <a:pt x="192" y="23"/>
                  </a:lnTo>
                  <a:lnTo>
                    <a:pt x="195" y="27"/>
                  </a:lnTo>
                  <a:lnTo>
                    <a:pt x="196" y="29"/>
                  </a:lnTo>
                  <a:lnTo>
                    <a:pt x="197" y="32"/>
                  </a:lnTo>
                  <a:lnTo>
                    <a:pt x="198" y="35"/>
                  </a:lnTo>
                  <a:lnTo>
                    <a:pt x="199" y="38"/>
                  </a:lnTo>
                  <a:lnTo>
                    <a:pt x="199" y="41"/>
                  </a:lnTo>
                  <a:lnTo>
                    <a:pt x="199" y="44"/>
                  </a:lnTo>
                  <a:lnTo>
                    <a:pt x="199" y="47"/>
                  </a:lnTo>
                  <a:lnTo>
                    <a:pt x="199" y="58"/>
                  </a:lnTo>
                  <a:lnTo>
                    <a:pt x="199" y="61"/>
                  </a:lnTo>
                  <a:lnTo>
                    <a:pt x="199" y="67"/>
                  </a:lnTo>
                  <a:lnTo>
                    <a:pt x="199" y="71"/>
                  </a:lnTo>
                  <a:lnTo>
                    <a:pt x="199" y="73"/>
                  </a:lnTo>
                  <a:lnTo>
                    <a:pt x="199" y="81"/>
                  </a:lnTo>
                  <a:lnTo>
                    <a:pt x="200" y="83"/>
                  </a:lnTo>
                  <a:lnTo>
                    <a:pt x="200" y="86"/>
                  </a:lnTo>
                  <a:lnTo>
                    <a:pt x="202" y="90"/>
                  </a:lnTo>
                  <a:lnTo>
                    <a:pt x="203" y="92"/>
                  </a:lnTo>
                  <a:lnTo>
                    <a:pt x="204" y="94"/>
                  </a:lnTo>
                  <a:lnTo>
                    <a:pt x="205" y="94"/>
                  </a:lnTo>
                  <a:lnTo>
                    <a:pt x="206" y="95"/>
                  </a:lnTo>
                  <a:lnTo>
                    <a:pt x="208" y="96"/>
                  </a:lnTo>
                  <a:lnTo>
                    <a:pt x="209" y="97"/>
                  </a:lnTo>
                  <a:lnTo>
                    <a:pt x="211" y="98"/>
                  </a:lnTo>
                  <a:lnTo>
                    <a:pt x="213" y="99"/>
                  </a:lnTo>
                  <a:lnTo>
                    <a:pt x="214" y="99"/>
                  </a:lnTo>
                  <a:lnTo>
                    <a:pt x="216" y="99"/>
                  </a:lnTo>
                  <a:lnTo>
                    <a:pt x="216" y="99"/>
                  </a:lnTo>
                  <a:lnTo>
                    <a:pt x="214" y="104"/>
                  </a:lnTo>
                  <a:lnTo>
                    <a:pt x="213" y="108"/>
                  </a:lnTo>
                  <a:lnTo>
                    <a:pt x="212" y="111"/>
                  </a:lnTo>
                  <a:lnTo>
                    <a:pt x="210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2" y="125"/>
                  </a:lnTo>
                  <a:lnTo>
                    <a:pt x="201" y="127"/>
                  </a:lnTo>
                  <a:lnTo>
                    <a:pt x="201" y="128"/>
                  </a:lnTo>
                  <a:lnTo>
                    <a:pt x="200" y="130"/>
                  </a:lnTo>
                  <a:lnTo>
                    <a:pt x="200" y="132"/>
                  </a:lnTo>
                  <a:lnTo>
                    <a:pt x="200" y="134"/>
                  </a:lnTo>
                  <a:lnTo>
                    <a:pt x="200" y="140"/>
                  </a:lnTo>
                  <a:lnTo>
                    <a:pt x="202" y="154"/>
                  </a:lnTo>
                  <a:lnTo>
                    <a:pt x="204" y="169"/>
                  </a:lnTo>
                  <a:lnTo>
                    <a:pt x="204" y="174"/>
                  </a:lnTo>
                  <a:lnTo>
                    <a:pt x="204" y="186"/>
                  </a:lnTo>
                  <a:lnTo>
                    <a:pt x="204" y="191"/>
                  </a:lnTo>
                  <a:lnTo>
                    <a:pt x="204" y="195"/>
                  </a:lnTo>
                  <a:lnTo>
                    <a:pt x="203" y="197"/>
                  </a:lnTo>
                  <a:lnTo>
                    <a:pt x="202" y="201"/>
                  </a:lnTo>
                  <a:lnTo>
                    <a:pt x="201" y="203"/>
                  </a:lnTo>
                  <a:lnTo>
                    <a:pt x="200" y="205"/>
                  </a:lnTo>
                  <a:lnTo>
                    <a:pt x="199" y="206"/>
                  </a:lnTo>
                  <a:lnTo>
                    <a:pt x="198" y="207"/>
                  </a:lnTo>
                  <a:lnTo>
                    <a:pt x="196" y="207"/>
                  </a:lnTo>
                  <a:lnTo>
                    <a:pt x="194" y="208"/>
                  </a:lnTo>
                  <a:lnTo>
                    <a:pt x="189" y="210"/>
                  </a:lnTo>
                  <a:lnTo>
                    <a:pt x="187" y="211"/>
                  </a:lnTo>
                  <a:lnTo>
                    <a:pt x="185" y="212"/>
                  </a:lnTo>
                  <a:lnTo>
                    <a:pt x="183" y="213"/>
                  </a:lnTo>
                  <a:lnTo>
                    <a:pt x="180" y="215"/>
                  </a:lnTo>
                  <a:lnTo>
                    <a:pt x="177" y="217"/>
                  </a:lnTo>
                  <a:lnTo>
                    <a:pt x="175" y="219"/>
                  </a:lnTo>
                  <a:lnTo>
                    <a:pt x="170" y="225"/>
                  </a:lnTo>
                  <a:lnTo>
                    <a:pt x="169" y="226"/>
                  </a:lnTo>
                  <a:lnTo>
                    <a:pt x="168" y="227"/>
                  </a:lnTo>
                  <a:lnTo>
                    <a:pt x="167" y="230"/>
                  </a:lnTo>
                  <a:lnTo>
                    <a:pt x="165" y="234"/>
                  </a:lnTo>
                  <a:lnTo>
                    <a:pt x="163" y="242"/>
                  </a:lnTo>
                  <a:lnTo>
                    <a:pt x="162" y="244"/>
                  </a:lnTo>
                  <a:lnTo>
                    <a:pt x="161" y="247"/>
                  </a:lnTo>
                  <a:lnTo>
                    <a:pt x="154" y="257"/>
                  </a:lnTo>
                  <a:lnTo>
                    <a:pt x="153" y="259"/>
                  </a:lnTo>
                  <a:lnTo>
                    <a:pt x="151" y="261"/>
                  </a:lnTo>
                  <a:lnTo>
                    <a:pt x="149" y="263"/>
                  </a:lnTo>
                  <a:lnTo>
                    <a:pt x="148" y="264"/>
                  </a:lnTo>
                  <a:lnTo>
                    <a:pt x="144" y="266"/>
                  </a:lnTo>
                  <a:lnTo>
                    <a:pt x="136" y="270"/>
                  </a:lnTo>
                  <a:lnTo>
                    <a:pt x="133" y="271"/>
                  </a:lnTo>
                  <a:lnTo>
                    <a:pt x="131" y="272"/>
                  </a:lnTo>
                  <a:lnTo>
                    <a:pt x="129" y="272"/>
                  </a:lnTo>
                  <a:lnTo>
                    <a:pt x="126" y="272"/>
                  </a:lnTo>
                  <a:lnTo>
                    <a:pt x="120" y="272"/>
                  </a:lnTo>
                  <a:lnTo>
                    <a:pt x="119" y="273"/>
                  </a:lnTo>
                  <a:lnTo>
                    <a:pt x="116" y="273"/>
                  </a:lnTo>
                  <a:lnTo>
                    <a:pt x="114" y="273"/>
                  </a:lnTo>
                  <a:lnTo>
                    <a:pt x="113" y="274"/>
                  </a:lnTo>
                  <a:lnTo>
                    <a:pt x="111" y="274"/>
                  </a:lnTo>
                  <a:lnTo>
                    <a:pt x="109" y="275"/>
                  </a:lnTo>
                  <a:lnTo>
                    <a:pt x="108" y="276"/>
                  </a:lnTo>
                  <a:lnTo>
                    <a:pt x="106" y="278"/>
                  </a:lnTo>
                  <a:lnTo>
                    <a:pt x="103" y="281"/>
                  </a:lnTo>
                  <a:lnTo>
                    <a:pt x="102" y="282"/>
                  </a:lnTo>
                  <a:lnTo>
                    <a:pt x="101" y="283"/>
                  </a:lnTo>
                  <a:lnTo>
                    <a:pt x="99" y="284"/>
                  </a:lnTo>
                  <a:lnTo>
                    <a:pt x="98" y="284"/>
                  </a:lnTo>
                  <a:lnTo>
                    <a:pt x="97" y="285"/>
                  </a:lnTo>
                  <a:lnTo>
                    <a:pt x="96" y="285"/>
                  </a:lnTo>
                  <a:lnTo>
                    <a:pt x="94" y="286"/>
                  </a:lnTo>
                  <a:lnTo>
                    <a:pt x="93" y="285"/>
                  </a:lnTo>
                  <a:lnTo>
                    <a:pt x="91" y="285"/>
                  </a:lnTo>
                  <a:lnTo>
                    <a:pt x="87" y="284"/>
                  </a:lnTo>
                  <a:lnTo>
                    <a:pt x="86" y="283"/>
                  </a:lnTo>
                  <a:lnTo>
                    <a:pt x="85" y="284"/>
                  </a:lnTo>
                  <a:lnTo>
                    <a:pt x="83" y="284"/>
                  </a:lnTo>
                  <a:lnTo>
                    <a:pt x="81" y="284"/>
                  </a:lnTo>
                  <a:lnTo>
                    <a:pt x="80" y="285"/>
                  </a:lnTo>
                  <a:lnTo>
                    <a:pt x="77" y="287"/>
                  </a:lnTo>
                  <a:lnTo>
                    <a:pt x="74" y="287"/>
                  </a:lnTo>
                  <a:lnTo>
                    <a:pt x="74" y="288"/>
                  </a:lnTo>
                  <a:lnTo>
                    <a:pt x="72" y="288"/>
                  </a:lnTo>
                  <a:lnTo>
                    <a:pt x="70" y="288"/>
                  </a:lnTo>
                  <a:lnTo>
                    <a:pt x="69" y="287"/>
                  </a:lnTo>
                  <a:lnTo>
                    <a:pt x="63" y="285"/>
                  </a:lnTo>
                  <a:lnTo>
                    <a:pt x="60" y="283"/>
                  </a:lnTo>
                  <a:lnTo>
                    <a:pt x="58" y="283"/>
                  </a:lnTo>
                  <a:lnTo>
                    <a:pt x="56" y="283"/>
                  </a:lnTo>
                  <a:lnTo>
                    <a:pt x="54" y="283"/>
                  </a:lnTo>
                  <a:lnTo>
                    <a:pt x="50" y="284"/>
                  </a:lnTo>
                  <a:lnTo>
                    <a:pt x="47" y="285"/>
                  </a:lnTo>
                  <a:lnTo>
                    <a:pt x="43" y="285"/>
                  </a:lnTo>
                  <a:lnTo>
                    <a:pt x="38" y="285"/>
                  </a:lnTo>
                  <a:lnTo>
                    <a:pt x="35" y="286"/>
                  </a:lnTo>
                  <a:lnTo>
                    <a:pt x="25" y="287"/>
                  </a:lnTo>
                  <a:lnTo>
                    <a:pt x="22" y="288"/>
                  </a:lnTo>
                  <a:lnTo>
                    <a:pt x="20" y="288"/>
                  </a:lnTo>
                  <a:lnTo>
                    <a:pt x="18" y="288"/>
                  </a:lnTo>
                  <a:lnTo>
                    <a:pt x="17" y="288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6" y="286"/>
                  </a:lnTo>
                  <a:lnTo>
                    <a:pt x="14" y="283"/>
                  </a:lnTo>
                  <a:lnTo>
                    <a:pt x="13" y="281"/>
                  </a:lnTo>
                  <a:lnTo>
                    <a:pt x="11" y="276"/>
                  </a:lnTo>
                  <a:lnTo>
                    <a:pt x="10" y="272"/>
                  </a:lnTo>
                  <a:lnTo>
                    <a:pt x="9" y="267"/>
                  </a:lnTo>
                  <a:lnTo>
                    <a:pt x="8" y="254"/>
                  </a:lnTo>
                  <a:lnTo>
                    <a:pt x="6" y="246"/>
                  </a:lnTo>
                  <a:lnTo>
                    <a:pt x="5" y="240"/>
                  </a:lnTo>
                  <a:lnTo>
                    <a:pt x="5" y="230"/>
                  </a:lnTo>
                  <a:lnTo>
                    <a:pt x="4" y="229"/>
                  </a:lnTo>
                  <a:lnTo>
                    <a:pt x="4" y="227"/>
                  </a:lnTo>
                  <a:lnTo>
                    <a:pt x="1" y="221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0" y="215"/>
                  </a:lnTo>
                  <a:lnTo>
                    <a:pt x="0" y="210"/>
                  </a:lnTo>
                  <a:lnTo>
                    <a:pt x="0" y="207"/>
                  </a:lnTo>
                  <a:lnTo>
                    <a:pt x="1" y="195"/>
                  </a:lnTo>
                  <a:lnTo>
                    <a:pt x="1" y="190"/>
                  </a:lnTo>
                  <a:lnTo>
                    <a:pt x="2" y="185"/>
                  </a:lnTo>
                  <a:lnTo>
                    <a:pt x="3" y="181"/>
                  </a:lnTo>
                  <a:lnTo>
                    <a:pt x="4" y="178"/>
                  </a:lnTo>
                  <a:lnTo>
                    <a:pt x="5" y="175"/>
                  </a:lnTo>
                  <a:lnTo>
                    <a:pt x="7" y="168"/>
                  </a:lnTo>
                  <a:lnTo>
                    <a:pt x="8" y="166"/>
                  </a:lnTo>
                  <a:lnTo>
                    <a:pt x="8" y="164"/>
                  </a:lnTo>
                  <a:lnTo>
                    <a:pt x="8" y="162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6" y="153"/>
                  </a:lnTo>
                  <a:lnTo>
                    <a:pt x="6" y="151"/>
                  </a:lnTo>
                  <a:lnTo>
                    <a:pt x="5" y="148"/>
                  </a:lnTo>
                  <a:lnTo>
                    <a:pt x="6" y="146"/>
                  </a:lnTo>
                  <a:lnTo>
                    <a:pt x="6" y="144"/>
                  </a:lnTo>
                  <a:lnTo>
                    <a:pt x="8" y="141"/>
                  </a:lnTo>
                  <a:lnTo>
                    <a:pt x="9" y="139"/>
                  </a:lnTo>
                  <a:lnTo>
                    <a:pt x="13" y="135"/>
                  </a:lnTo>
                  <a:lnTo>
                    <a:pt x="14" y="133"/>
                  </a:lnTo>
                  <a:lnTo>
                    <a:pt x="15" y="131"/>
                  </a:lnTo>
                  <a:lnTo>
                    <a:pt x="17" y="127"/>
                  </a:lnTo>
                  <a:lnTo>
                    <a:pt x="18" y="123"/>
                  </a:lnTo>
                  <a:lnTo>
                    <a:pt x="19" y="121"/>
                  </a:lnTo>
                  <a:lnTo>
                    <a:pt x="20" y="118"/>
                  </a:lnTo>
                  <a:lnTo>
                    <a:pt x="22" y="114"/>
                  </a:lnTo>
                  <a:lnTo>
                    <a:pt x="24" y="105"/>
                  </a:lnTo>
                  <a:lnTo>
                    <a:pt x="25" y="103"/>
                  </a:lnTo>
                  <a:lnTo>
                    <a:pt x="25" y="101"/>
                  </a:lnTo>
                  <a:lnTo>
                    <a:pt x="24" y="99"/>
                  </a:lnTo>
                  <a:lnTo>
                    <a:pt x="24" y="97"/>
                  </a:lnTo>
                  <a:lnTo>
                    <a:pt x="23" y="95"/>
                  </a:lnTo>
                  <a:lnTo>
                    <a:pt x="22" y="94"/>
                  </a:lnTo>
                  <a:lnTo>
                    <a:pt x="20" y="91"/>
                  </a:lnTo>
                  <a:lnTo>
                    <a:pt x="18" y="88"/>
                  </a:lnTo>
                  <a:lnTo>
                    <a:pt x="15" y="83"/>
                  </a:lnTo>
                  <a:lnTo>
                    <a:pt x="14" y="81"/>
                  </a:lnTo>
                  <a:lnTo>
                    <a:pt x="13" y="80"/>
                  </a:lnTo>
                  <a:lnTo>
                    <a:pt x="12" y="78"/>
                  </a:lnTo>
                  <a:lnTo>
                    <a:pt x="12" y="77"/>
                  </a:lnTo>
                  <a:lnTo>
                    <a:pt x="12" y="75"/>
                  </a:lnTo>
                  <a:lnTo>
                    <a:pt x="12" y="73"/>
                  </a:lnTo>
                  <a:lnTo>
                    <a:pt x="12" y="71"/>
                  </a:lnTo>
                  <a:lnTo>
                    <a:pt x="12" y="68"/>
                  </a:lnTo>
                  <a:lnTo>
                    <a:pt x="13" y="65"/>
                  </a:lnTo>
                  <a:lnTo>
                    <a:pt x="14" y="61"/>
                  </a:lnTo>
                  <a:lnTo>
                    <a:pt x="17" y="56"/>
                  </a:lnTo>
                  <a:lnTo>
                    <a:pt x="17" y="52"/>
                  </a:lnTo>
                  <a:lnTo>
                    <a:pt x="19" y="49"/>
                  </a:lnTo>
                  <a:lnTo>
                    <a:pt x="20" y="47"/>
                  </a:lnTo>
                  <a:lnTo>
                    <a:pt x="21" y="44"/>
                  </a:lnTo>
                  <a:lnTo>
                    <a:pt x="23" y="42"/>
                  </a:lnTo>
                  <a:lnTo>
                    <a:pt x="24" y="40"/>
                  </a:lnTo>
                  <a:lnTo>
                    <a:pt x="27" y="37"/>
                  </a:lnTo>
                  <a:lnTo>
                    <a:pt x="28" y="36"/>
                  </a:lnTo>
                  <a:lnTo>
                    <a:pt x="30" y="34"/>
                  </a:lnTo>
                  <a:lnTo>
                    <a:pt x="32" y="32"/>
                  </a:lnTo>
                  <a:lnTo>
                    <a:pt x="35" y="30"/>
                  </a:lnTo>
                  <a:lnTo>
                    <a:pt x="36" y="30"/>
                  </a:lnTo>
                  <a:lnTo>
                    <a:pt x="38" y="29"/>
                  </a:lnTo>
                  <a:lnTo>
                    <a:pt x="39" y="29"/>
                  </a:lnTo>
                  <a:lnTo>
                    <a:pt x="40" y="28"/>
                  </a:lnTo>
                  <a:lnTo>
                    <a:pt x="42" y="28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51" y="29"/>
                  </a:lnTo>
                  <a:lnTo>
                    <a:pt x="53" y="30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6" y="34"/>
                  </a:lnTo>
                  <a:lnTo>
                    <a:pt x="74" y="35"/>
                  </a:lnTo>
                  <a:lnTo>
                    <a:pt x="77" y="36"/>
                  </a:lnTo>
                  <a:lnTo>
                    <a:pt x="81" y="37"/>
                  </a:lnTo>
                  <a:lnTo>
                    <a:pt x="87" y="39"/>
                  </a:lnTo>
                  <a:lnTo>
                    <a:pt x="90" y="40"/>
                  </a:lnTo>
                  <a:lnTo>
                    <a:pt x="92" y="41"/>
                  </a:lnTo>
                  <a:lnTo>
                    <a:pt x="98" y="42"/>
                  </a:lnTo>
                  <a:lnTo>
                    <a:pt x="102" y="44"/>
                  </a:lnTo>
                  <a:lnTo>
                    <a:pt x="118" y="49"/>
                  </a:lnTo>
                  <a:lnTo>
                    <a:pt x="123" y="50"/>
                  </a:lnTo>
                  <a:lnTo>
                    <a:pt x="126" y="51"/>
                  </a:lnTo>
                  <a:lnTo>
                    <a:pt x="129" y="52"/>
                  </a:lnTo>
                  <a:lnTo>
                    <a:pt x="130" y="52"/>
                  </a:lnTo>
                  <a:lnTo>
                    <a:pt x="131" y="52"/>
                  </a:lnTo>
                  <a:lnTo>
                    <a:pt x="132" y="51"/>
                  </a:lnTo>
                  <a:lnTo>
                    <a:pt x="133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5" y="46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7" y="34"/>
                  </a:lnTo>
                  <a:lnTo>
                    <a:pt x="137" y="32"/>
                  </a:lnTo>
                  <a:lnTo>
                    <a:pt x="140" y="27"/>
                  </a:lnTo>
                  <a:lnTo>
                    <a:pt x="142" y="21"/>
                  </a:lnTo>
                  <a:lnTo>
                    <a:pt x="147" y="15"/>
                  </a:lnTo>
                  <a:lnTo>
                    <a:pt x="152" y="6"/>
                  </a:lnTo>
                  <a:lnTo>
                    <a:pt x="155" y="1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8" y="0"/>
                  </a:lnTo>
                  <a:lnTo>
                    <a:pt x="159" y="1"/>
                  </a:lnTo>
                  <a:lnTo>
                    <a:pt x="159" y="0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1" name="Freeform 44">
              <a:extLst>
                <a:ext uri="{FF2B5EF4-FFF2-40B4-BE49-F238E27FC236}">
                  <a16:creationId xmlns:a16="http://schemas.microsoft.com/office/drawing/2014/main" id="{6BDFA80F-F8F8-4CC6-8140-B6C2E820D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8" y="1020"/>
              <a:ext cx="457" cy="542"/>
            </a:xfrm>
            <a:custGeom>
              <a:avLst/>
              <a:gdLst>
                <a:gd name="T0" fmla="*/ 262 w 457"/>
                <a:gd name="T1" fmla="*/ 4 h 542"/>
                <a:gd name="T2" fmla="*/ 294 w 457"/>
                <a:gd name="T3" fmla="*/ 11 h 542"/>
                <a:gd name="T4" fmla="*/ 301 w 457"/>
                <a:gd name="T5" fmla="*/ 29 h 542"/>
                <a:gd name="T6" fmla="*/ 318 w 457"/>
                <a:gd name="T7" fmla="*/ 33 h 542"/>
                <a:gd name="T8" fmla="*/ 334 w 457"/>
                <a:gd name="T9" fmla="*/ 12 h 542"/>
                <a:gd name="T10" fmla="*/ 347 w 457"/>
                <a:gd name="T11" fmla="*/ 12 h 542"/>
                <a:gd name="T12" fmla="*/ 360 w 457"/>
                <a:gd name="T13" fmla="*/ 39 h 542"/>
                <a:gd name="T14" fmla="*/ 385 w 457"/>
                <a:gd name="T15" fmla="*/ 33 h 542"/>
                <a:gd name="T16" fmla="*/ 406 w 457"/>
                <a:gd name="T17" fmla="*/ 40 h 542"/>
                <a:gd name="T18" fmla="*/ 433 w 457"/>
                <a:gd name="T19" fmla="*/ 75 h 542"/>
                <a:gd name="T20" fmla="*/ 425 w 457"/>
                <a:gd name="T21" fmla="*/ 109 h 542"/>
                <a:gd name="T22" fmla="*/ 430 w 457"/>
                <a:gd name="T23" fmla="*/ 147 h 542"/>
                <a:gd name="T24" fmla="*/ 454 w 457"/>
                <a:gd name="T25" fmla="*/ 187 h 542"/>
                <a:gd name="T26" fmla="*/ 437 w 457"/>
                <a:gd name="T27" fmla="*/ 225 h 542"/>
                <a:gd name="T28" fmla="*/ 427 w 457"/>
                <a:gd name="T29" fmla="*/ 240 h 542"/>
                <a:gd name="T30" fmla="*/ 375 w 457"/>
                <a:gd name="T31" fmla="*/ 224 h 542"/>
                <a:gd name="T32" fmla="*/ 340 w 457"/>
                <a:gd name="T33" fmla="*/ 218 h 542"/>
                <a:gd name="T34" fmla="*/ 322 w 457"/>
                <a:gd name="T35" fmla="*/ 233 h 542"/>
                <a:gd name="T36" fmla="*/ 313 w 457"/>
                <a:gd name="T37" fmla="*/ 264 h 542"/>
                <a:gd name="T38" fmla="*/ 325 w 457"/>
                <a:gd name="T39" fmla="*/ 286 h 542"/>
                <a:gd name="T40" fmla="*/ 316 w 457"/>
                <a:gd name="T41" fmla="*/ 320 h 542"/>
                <a:gd name="T42" fmla="*/ 309 w 457"/>
                <a:gd name="T43" fmla="*/ 347 h 542"/>
                <a:gd name="T44" fmla="*/ 302 w 457"/>
                <a:gd name="T45" fmla="*/ 379 h 542"/>
                <a:gd name="T46" fmla="*/ 306 w 457"/>
                <a:gd name="T47" fmla="*/ 419 h 542"/>
                <a:gd name="T48" fmla="*/ 318 w 457"/>
                <a:gd name="T49" fmla="*/ 476 h 542"/>
                <a:gd name="T50" fmla="*/ 309 w 457"/>
                <a:gd name="T51" fmla="*/ 498 h 542"/>
                <a:gd name="T52" fmla="*/ 296 w 457"/>
                <a:gd name="T53" fmla="*/ 515 h 542"/>
                <a:gd name="T54" fmla="*/ 289 w 457"/>
                <a:gd name="T55" fmla="*/ 537 h 542"/>
                <a:gd name="T56" fmla="*/ 263 w 457"/>
                <a:gd name="T57" fmla="*/ 536 h 542"/>
                <a:gd name="T58" fmla="*/ 226 w 457"/>
                <a:gd name="T59" fmla="*/ 499 h 542"/>
                <a:gd name="T60" fmla="*/ 204 w 457"/>
                <a:gd name="T61" fmla="*/ 496 h 542"/>
                <a:gd name="T62" fmla="*/ 187 w 457"/>
                <a:gd name="T63" fmla="*/ 500 h 542"/>
                <a:gd name="T64" fmla="*/ 163 w 457"/>
                <a:gd name="T65" fmla="*/ 478 h 542"/>
                <a:gd name="T66" fmla="*/ 146 w 457"/>
                <a:gd name="T67" fmla="*/ 450 h 542"/>
                <a:gd name="T68" fmla="*/ 152 w 457"/>
                <a:gd name="T69" fmla="*/ 426 h 542"/>
                <a:gd name="T70" fmla="*/ 147 w 457"/>
                <a:gd name="T71" fmla="*/ 406 h 542"/>
                <a:gd name="T72" fmla="*/ 131 w 457"/>
                <a:gd name="T73" fmla="*/ 362 h 542"/>
                <a:gd name="T74" fmla="*/ 107 w 457"/>
                <a:gd name="T75" fmla="*/ 344 h 542"/>
                <a:gd name="T76" fmla="*/ 84 w 457"/>
                <a:gd name="T77" fmla="*/ 318 h 542"/>
                <a:gd name="T78" fmla="*/ 69 w 457"/>
                <a:gd name="T79" fmla="*/ 319 h 542"/>
                <a:gd name="T80" fmla="*/ 47 w 457"/>
                <a:gd name="T81" fmla="*/ 347 h 542"/>
                <a:gd name="T82" fmla="*/ 29 w 457"/>
                <a:gd name="T83" fmla="*/ 345 h 542"/>
                <a:gd name="T84" fmla="*/ 33 w 457"/>
                <a:gd name="T85" fmla="*/ 325 h 542"/>
                <a:gd name="T86" fmla="*/ 24 w 457"/>
                <a:gd name="T87" fmla="*/ 303 h 542"/>
                <a:gd name="T88" fmla="*/ 4 w 457"/>
                <a:gd name="T89" fmla="*/ 282 h 542"/>
                <a:gd name="T90" fmla="*/ 0 w 457"/>
                <a:gd name="T91" fmla="*/ 255 h 542"/>
                <a:gd name="T92" fmla="*/ 12 w 457"/>
                <a:gd name="T93" fmla="*/ 235 h 542"/>
                <a:gd name="T94" fmla="*/ 45 w 457"/>
                <a:gd name="T95" fmla="*/ 235 h 542"/>
                <a:gd name="T96" fmla="*/ 68 w 457"/>
                <a:gd name="T97" fmla="*/ 228 h 542"/>
                <a:gd name="T98" fmla="*/ 90 w 457"/>
                <a:gd name="T99" fmla="*/ 186 h 542"/>
                <a:gd name="T100" fmla="*/ 123 w 457"/>
                <a:gd name="T101" fmla="*/ 174 h 542"/>
                <a:gd name="T102" fmla="*/ 159 w 457"/>
                <a:gd name="T103" fmla="*/ 177 h 542"/>
                <a:gd name="T104" fmla="*/ 203 w 457"/>
                <a:gd name="T105" fmla="*/ 181 h 542"/>
                <a:gd name="T106" fmla="*/ 219 w 457"/>
                <a:gd name="T107" fmla="*/ 169 h 542"/>
                <a:gd name="T108" fmla="*/ 221 w 457"/>
                <a:gd name="T109" fmla="*/ 117 h 542"/>
                <a:gd name="T110" fmla="*/ 232 w 457"/>
                <a:gd name="T111" fmla="*/ 61 h 542"/>
                <a:gd name="T112" fmla="*/ 220 w 457"/>
                <a:gd name="T113" fmla="*/ 45 h 542"/>
                <a:gd name="T114" fmla="*/ 205 w 457"/>
                <a:gd name="T115" fmla="*/ 34 h 542"/>
                <a:gd name="T116" fmla="*/ 214 w 457"/>
                <a:gd name="T117" fmla="*/ 1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57" h="542">
                  <a:moveTo>
                    <a:pt x="240" y="0"/>
                  </a:moveTo>
                  <a:lnTo>
                    <a:pt x="243" y="1"/>
                  </a:lnTo>
                  <a:lnTo>
                    <a:pt x="245" y="1"/>
                  </a:lnTo>
                  <a:lnTo>
                    <a:pt x="249" y="3"/>
                  </a:lnTo>
                  <a:lnTo>
                    <a:pt x="251" y="4"/>
                  </a:lnTo>
                  <a:lnTo>
                    <a:pt x="253" y="5"/>
                  </a:lnTo>
                  <a:lnTo>
                    <a:pt x="255" y="5"/>
                  </a:lnTo>
                  <a:lnTo>
                    <a:pt x="258" y="5"/>
                  </a:lnTo>
                  <a:lnTo>
                    <a:pt x="261" y="5"/>
                  </a:lnTo>
                  <a:lnTo>
                    <a:pt x="262" y="4"/>
                  </a:lnTo>
                  <a:lnTo>
                    <a:pt x="265" y="3"/>
                  </a:lnTo>
                  <a:lnTo>
                    <a:pt x="267" y="3"/>
                  </a:lnTo>
                  <a:lnTo>
                    <a:pt x="270" y="3"/>
                  </a:lnTo>
                  <a:lnTo>
                    <a:pt x="272" y="3"/>
                  </a:lnTo>
                  <a:lnTo>
                    <a:pt x="274" y="4"/>
                  </a:lnTo>
                  <a:lnTo>
                    <a:pt x="277" y="5"/>
                  </a:lnTo>
                  <a:lnTo>
                    <a:pt x="287" y="8"/>
                  </a:lnTo>
                  <a:lnTo>
                    <a:pt x="290" y="9"/>
                  </a:lnTo>
                  <a:lnTo>
                    <a:pt x="292" y="11"/>
                  </a:lnTo>
                  <a:lnTo>
                    <a:pt x="294" y="11"/>
                  </a:lnTo>
                  <a:lnTo>
                    <a:pt x="295" y="12"/>
                  </a:lnTo>
                  <a:lnTo>
                    <a:pt x="296" y="14"/>
                  </a:lnTo>
                  <a:lnTo>
                    <a:pt x="297" y="15"/>
                  </a:lnTo>
                  <a:lnTo>
                    <a:pt x="297" y="16"/>
                  </a:lnTo>
                  <a:lnTo>
                    <a:pt x="297" y="22"/>
                  </a:lnTo>
                  <a:lnTo>
                    <a:pt x="298" y="23"/>
                  </a:lnTo>
                  <a:lnTo>
                    <a:pt x="298" y="25"/>
                  </a:lnTo>
                  <a:lnTo>
                    <a:pt x="299" y="26"/>
                  </a:lnTo>
                  <a:lnTo>
                    <a:pt x="300" y="27"/>
                  </a:lnTo>
                  <a:lnTo>
                    <a:pt x="301" y="29"/>
                  </a:lnTo>
                  <a:lnTo>
                    <a:pt x="302" y="30"/>
                  </a:lnTo>
                  <a:lnTo>
                    <a:pt x="303" y="30"/>
                  </a:lnTo>
                  <a:lnTo>
                    <a:pt x="304" y="31"/>
                  </a:lnTo>
                  <a:lnTo>
                    <a:pt x="305" y="32"/>
                  </a:lnTo>
                  <a:lnTo>
                    <a:pt x="306" y="32"/>
                  </a:lnTo>
                  <a:lnTo>
                    <a:pt x="307" y="33"/>
                  </a:lnTo>
                  <a:lnTo>
                    <a:pt x="311" y="33"/>
                  </a:lnTo>
                  <a:lnTo>
                    <a:pt x="314" y="33"/>
                  </a:lnTo>
                  <a:lnTo>
                    <a:pt x="317" y="33"/>
                  </a:lnTo>
                  <a:lnTo>
                    <a:pt x="318" y="33"/>
                  </a:lnTo>
                  <a:lnTo>
                    <a:pt x="318" y="32"/>
                  </a:lnTo>
                  <a:lnTo>
                    <a:pt x="319" y="32"/>
                  </a:lnTo>
                  <a:lnTo>
                    <a:pt x="320" y="31"/>
                  </a:lnTo>
                  <a:lnTo>
                    <a:pt x="322" y="30"/>
                  </a:lnTo>
                  <a:lnTo>
                    <a:pt x="323" y="29"/>
                  </a:lnTo>
                  <a:lnTo>
                    <a:pt x="326" y="23"/>
                  </a:lnTo>
                  <a:lnTo>
                    <a:pt x="329" y="18"/>
                  </a:lnTo>
                  <a:lnTo>
                    <a:pt x="330" y="15"/>
                  </a:lnTo>
                  <a:lnTo>
                    <a:pt x="332" y="13"/>
                  </a:lnTo>
                  <a:lnTo>
                    <a:pt x="334" y="12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9" y="10"/>
                  </a:lnTo>
                  <a:lnTo>
                    <a:pt x="340" y="10"/>
                  </a:lnTo>
                  <a:lnTo>
                    <a:pt x="341" y="10"/>
                  </a:lnTo>
                  <a:lnTo>
                    <a:pt x="343" y="10"/>
                  </a:lnTo>
                  <a:lnTo>
                    <a:pt x="344" y="10"/>
                  </a:lnTo>
                  <a:lnTo>
                    <a:pt x="345" y="11"/>
                  </a:lnTo>
                  <a:lnTo>
                    <a:pt x="346" y="11"/>
                  </a:lnTo>
                  <a:lnTo>
                    <a:pt x="347" y="12"/>
                  </a:lnTo>
                  <a:lnTo>
                    <a:pt x="348" y="13"/>
                  </a:lnTo>
                  <a:lnTo>
                    <a:pt x="349" y="15"/>
                  </a:lnTo>
                  <a:lnTo>
                    <a:pt x="350" y="18"/>
                  </a:lnTo>
                  <a:lnTo>
                    <a:pt x="353" y="29"/>
                  </a:lnTo>
                  <a:lnTo>
                    <a:pt x="354" y="32"/>
                  </a:lnTo>
                  <a:lnTo>
                    <a:pt x="355" y="34"/>
                  </a:lnTo>
                  <a:lnTo>
                    <a:pt x="356" y="35"/>
                  </a:lnTo>
                  <a:lnTo>
                    <a:pt x="357" y="36"/>
                  </a:lnTo>
                  <a:lnTo>
                    <a:pt x="358" y="38"/>
                  </a:lnTo>
                  <a:lnTo>
                    <a:pt x="360" y="39"/>
                  </a:lnTo>
                  <a:lnTo>
                    <a:pt x="362" y="39"/>
                  </a:lnTo>
                  <a:lnTo>
                    <a:pt x="363" y="40"/>
                  </a:lnTo>
                  <a:lnTo>
                    <a:pt x="364" y="40"/>
                  </a:lnTo>
                  <a:lnTo>
                    <a:pt x="366" y="39"/>
                  </a:lnTo>
                  <a:lnTo>
                    <a:pt x="367" y="39"/>
                  </a:lnTo>
                  <a:lnTo>
                    <a:pt x="368" y="39"/>
                  </a:lnTo>
                  <a:lnTo>
                    <a:pt x="374" y="36"/>
                  </a:lnTo>
                  <a:lnTo>
                    <a:pt x="376" y="34"/>
                  </a:lnTo>
                  <a:lnTo>
                    <a:pt x="380" y="34"/>
                  </a:lnTo>
                  <a:lnTo>
                    <a:pt x="385" y="33"/>
                  </a:lnTo>
                  <a:lnTo>
                    <a:pt x="387" y="32"/>
                  </a:lnTo>
                  <a:lnTo>
                    <a:pt x="390" y="31"/>
                  </a:lnTo>
                  <a:lnTo>
                    <a:pt x="393" y="31"/>
                  </a:lnTo>
                  <a:lnTo>
                    <a:pt x="395" y="32"/>
                  </a:lnTo>
                  <a:lnTo>
                    <a:pt x="396" y="32"/>
                  </a:lnTo>
                  <a:lnTo>
                    <a:pt x="397" y="32"/>
                  </a:lnTo>
                  <a:lnTo>
                    <a:pt x="397" y="33"/>
                  </a:lnTo>
                  <a:lnTo>
                    <a:pt x="398" y="34"/>
                  </a:lnTo>
                  <a:lnTo>
                    <a:pt x="401" y="35"/>
                  </a:lnTo>
                  <a:lnTo>
                    <a:pt x="406" y="40"/>
                  </a:lnTo>
                  <a:lnTo>
                    <a:pt x="408" y="42"/>
                  </a:lnTo>
                  <a:lnTo>
                    <a:pt x="410" y="44"/>
                  </a:lnTo>
                  <a:lnTo>
                    <a:pt x="417" y="48"/>
                  </a:lnTo>
                  <a:lnTo>
                    <a:pt x="420" y="51"/>
                  </a:lnTo>
                  <a:lnTo>
                    <a:pt x="422" y="53"/>
                  </a:lnTo>
                  <a:lnTo>
                    <a:pt x="424" y="55"/>
                  </a:lnTo>
                  <a:lnTo>
                    <a:pt x="426" y="57"/>
                  </a:lnTo>
                  <a:lnTo>
                    <a:pt x="427" y="59"/>
                  </a:lnTo>
                  <a:lnTo>
                    <a:pt x="432" y="72"/>
                  </a:lnTo>
                  <a:lnTo>
                    <a:pt x="433" y="75"/>
                  </a:lnTo>
                  <a:lnTo>
                    <a:pt x="433" y="79"/>
                  </a:lnTo>
                  <a:lnTo>
                    <a:pt x="433" y="80"/>
                  </a:lnTo>
                  <a:lnTo>
                    <a:pt x="433" y="82"/>
                  </a:lnTo>
                  <a:lnTo>
                    <a:pt x="433" y="84"/>
                  </a:lnTo>
                  <a:lnTo>
                    <a:pt x="432" y="86"/>
                  </a:lnTo>
                  <a:lnTo>
                    <a:pt x="431" y="90"/>
                  </a:lnTo>
                  <a:lnTo>
                    <a:pt x="428" y="99"/>
                  </a:lnTo>
                  <a:lnTo>
                    <a:pt x="427" y="103"/>
                  </a:lnTo>
                  <a:lnTo>
                    <a:pt x="426" y="105"/>
                  </a:lnTo>
                  <a:lnTo>
                    <a:pt x="425" y="109"/>
                  </a:lnTo>
                  <a:lnTo>
                    <a:pt x="424" y="114"/>
                  </a:lnTo>
                  <a:lnTo>
                    <a:pt x="424" y="117"/>
                  </a:lnTo>
                  <a:lnTo>
                    <a:pt x="424" y="120"/>
                  </a:lnTo>
                  <a:lnTo>
                    <a:pt x="424" y="124"/>
                  </a:lnTo>
                  <a:lnTo>
                    <a:pt x="425" y="127"/>
                  </a:lnTo>
                  <a:lnTo>
                    <a:pt x="425" y="130"/>
                  </a:lnTo>
                  <a:lnTo>
                    <a:pt x="426" y="134"/>
                  </a:lnTo>
                  <a:lnTo>
                    <a:pt x="427" y="137"/>
                  </a:lnTo>
                  <a:lnTo>
                    <a:pt x="428" y="142"/>
                  </a:lnTo>
                  <a:lnTo>
                    <a:pt x="430" y="147"/>
                  </a:lnTo>
                  <a:lnTo>
                    <a:pt x="431" y="149"/>
                  </a:lnTo>
                  <a:lnTo>
                    <a:pt x="431" y="152"/>
                  </a:lnTo>
                  <a:lnTo>
                    <a:pt x="432" y="155"/>
                  </a:lnTo>
                  <a:lnTo>
                    <a:pt x="434" y="158"/>
                  </a:lnTo>
                  <a:lnTo>
                    <a:pt x="438" y="164"/>
                  </a:lnTo>
                  <a:lnTo>
                    <a:pt x="441" y="168"/>
                  </a:lnTo>
                  <a:lnTo>
                    <a:pt x="443" y="173"/>
                  </a:lnTo>
                  <a:lnTo>
                    <a:pt x="448" y="179"/>
                  </a:lnTo>
                  <a:lnTo>
                    <a:pt x="451" y="183"/>
                  </a:lnTo>
                  <a:lnTo>
                    <a:pt x="454" y="187"/>
                  </a:lnTo>
                  <a:lnTo>
                    <a:pt x="456" y="189"/>
                  </a:lnTo>
                  <a:lnTo>
                    <a:pt x="457" y="190"/>
                  </a:lnTo>
                  <a:lnTo>
                    <a:pt x="456" y="190"/>
                  </a:lnTo>
                  <a:lnTo>
                    <a:pt x="453" y="195"/>
                  </a:lnTo>
                  <a:lnTo>
                    <a:pt x="448" y="204"/>
                  </a:lnTo>
                  <a:lnTo>
                    <a:pt x="443" y="210"/>
                  </a:lnTo>
                  <a:lnTo>
                    <a:pt x="441" y="216"/>
                  </a:lnTo>
                  <a:lnTo>
                    <a:pt x="438" y="221"/>
                  </a:lnTo>
                  <a:lnTo>
                    <a:pt x="438" y="223"/>
                  </a:lnTo>
                  <a:lnTo>
                    <a:pt x="437" y="225"/>
                  </a:lnTo>
                  <a:lnTo>
                    <a:pt x="437" y="228"/>
                  </a:lnTo>
                  <a:lnTo>
                    <a:pt x="436" y="235"/>
                  </a:lnTo>
                  <a:lnTo>
                    <a:pt x="436" y="238"/>
                  </a:lnTo>
                  <a:lnTo>
                    <a:pt x="435" y="238"/>
                  </a:lnTo>
                  <a:lnTo>
                    <a:pt x="434" y="239"/>
                  </a:lnTo>
                  <a:lnTo>
                    <a:pt x="433" y="240"/>
                  </a:lnTo>
                  <a:lnTo>
                    <a:pt x="432" y="241"/>
                  </a:lnTo>
                  <a:lnTo>
                    <a:pt x="431" y="241"/>
                  </a:lnTo>
                  <a:lnTo>
                    <a:pt x="430" y="241"/>
                  </a:lnTo>
                  <a:lnTo>
                    <a:pt x="427" y="240"/>
                  </a:lnTo>
                  <a:lnTo>
                    <a:pt x="424" y="239"/>
                  </a:lnTo>
                  <a:lnTo>
                    <a:pt x="419" y="238"/>
                  </a:lnTo>
                  <a:lnTo>
                    <a:pt x="403" y="233"/>
                  </a:lnTo>
                  <a:lnTo>
                    <a:pt x="399" y="231"/>
                  </a:lnTo>
                  <a:lnTo>
                    <a:pt x="393" y="230"/>
                  </a:lnTo>
                  <a:lnTo>
                    <a:pt x="391" y="229"/>
                  </a:lnTo>
                  <a:lnTo>
                    <a:pt x="388" y="228"/>
                  </a:lnTo>
                  <a:lnTo>
                    <a:pt x="382" y="226"/>
                  </a:lnTo>
                  <a:lnTo>
                    <a:pt x="378" y="225"/>
                  </a:lnTo>
                  <a:lnTo>
                    <a:pt x="375" y="224"/>
                  </a:lnTo>
                  <a:lnTo>
                    <a:pt x="367" y="223"/>
                  </a:lnTo>
                  <a:lnTo>
                    <a:pt x="364" y="222"/>
                  </a:lnTo>
                  <a:lnTo>
                    <a:pt x="362" y="222"/>
                  </a:lnTo>
                  <a:lnTo>
                    <a:pt x="354" y="219"/>
                  </a:lnTo>
                  <a:lnTo>
                    <a:pt x="352" y="218"/>
                  </a:lnTo>
                  <a:lnTo>
                    <a:pt x="348" y="217"/>
                  </a:lnTo>
                  <a:lnTo>
                    <a:pt x="345" y="217"/>
                  </a:lnTo>
                  <a:lnTo>
                    <a:pt x="343" y="217"/>
                  </a:lnTo>
                  <a:lnTo>
                    <a:pt x="341" y="217"/>
                  </a:lnTo>
                  <a:lnTo>
                    <a:pt x="340" y="218"/>
                  </a:lnTo>
                  <a:lnTo>
                    <a:pt x="339" y="218"/>
                  </a:lnTo>
                  <a:lnTo>
                    <a:pt x="337" y="219"/>
                  </a:lnTo>
                  <a:lnTo>
                    <a:pt x="336" y="219"/>
                  </a:lnTo>
                  <a:lnTo>
                    <a:pt x="333" y="221"/>
                  </a:lnTo>
                  <a:lnTo>
                    <a:pt x="331" y="223"/>
                  </a:lnTo>
                  <a:lnTo>
                    <a:pt x="329" y="225"/>
                  </a:lnTo>
                  <a:lnTo>
                    <a:pt x="328" y="226"/>
                  </a:lnTo>
                  <a:lnTo>
                    <a:pt x="325" y="229"/>
                  </a:lnTo>
                  <a:lnTo>
                    <a:pt x="324" y="231"/>
                  </a:lnTo>
                  <a:lnTo>
                    <a:pt x="322" y="233"/>
                  </a:lnTo>
                  <a:lnTo>
                    <a:pt x="321" y="236"/>
                  </a:lnTo>
                  <a:lnTo>
                    <a:pt x="320" y="238"/>
                  </a:lnTo>
                  <a:lnTo>
                    <a:pt x="318" y="241"/>
                  </a:lnTo>
                  <a:lnTo>
                    <a:pt x="318" y="245"/>
                  </a:lnTo>
                  <a:lnTo>
                    <a:pt x="315" y="250"/>
                  </a:lnTo>
                  <a:lnTo>
                    <a:pt x="314" y="254"/>
                  </a:lnTo>
                  <a:lnTo>
                    <a:pt x="313" y="257"/>
                  </a:lnTo>
                  <a:lnTo>
                    <a:pt x="313" y="260"/>
                  </a:lnTo>
                  <a:lnTo>
                    <a:pt x="313" y="262"/>
                  </a:lnTo>
                  <a:lnTo>
                    <a:pt x="313" y="264"/>
                  </a:lnTo>
                  <a:lnTo>
                    <a:pt x="313" y="266"/>
                  </a:lnTo>
                  <a:lnTo>
                    <a:pt x="313" y="267"/>
                  </a:lnTo>
                  <a:lnTo>
                    <a:pt x="314" y="269"/>
                  </a:lnTo>
                  <a:lnTo>
                    <a:pt x="315" y="270"/>
                  </a:lnTo>
                  <a:lnTo>
                    <a:pt x="316" y="272"/>
                  </a:lnTo>
                  <a:lnTo>
                    <a:pt x="319" y="277"/>
                  </a:lnTo>
                  <a:lnTo>
                    <a:pt x="321" y="280"/>
                  </a:lnTo>
                  <a:lnTo>
                    <a:pt x="323" y="283"/>
                  </a:lnTo>
                  <a:lnTo>
                    <a:pt x="324" y="284"/>
                  </a:lnTo>
                  <a:lnTo>
                    <a:pt x="325" y="286"/>
                  </a:lnTo>
                  <a:lnTo>
                    <a:pt x="325" y="288"/>
                  </a:lnTo>
                  <a:lnTo>
                    <a:pt x="326" y="290"/>
                  </a:lnTo>
                  <a:lnTo>
                    <a:pt x="326" y="292"/>
                  </a:lnTo>
                  <a:lnTo>
                    <a:pt x="325" y="294"/>
                  </a:lnTo>
                  <a:lnTo>
                    <a:pt x="323" y="303"/>
                  </a:lnTo>
                  <a:lnTo>
                    <a:pt x="321" y="307"/>
                  </a:lnTo>
                  <a:lnTo>
                    <a:pt x="320" y="310"/>
                  </a:lnTo>
                  <a:lnTo>
                    <a:pt x="319" y="312"/>
                  </a:lnTo>
                  <a:lnTo>
                    <a:pt x="318" y="316"/>
                  </a:lnTo>
                  <a:lnTo>
                    <a:pt x="316" y="320"/>
                  </a:lnTo>
                  <a:lnTo>
                    <a:pt x="315" y="322"/>
                  </a:lnTo>
                  <a:lnTo>
                    <a:pt x="314" y="324"/>
                  </a:lnTo>
                  <a:lnTo>
                    <a:pt x="310" y="328"/>
                  </a:lnTo>
                  <a:lnTo>
                    <a:pt x="309" y="330"/>
                  </a:lnTo>
                  <a:lnTo>
                    <a:pt x="307" y="333"/>
                  </a:lnTo>
                  <a:lnTo>
                    <a:pt x="307" y="335"/>
                  </a:lnTo>
                  <a:lnTo>
                    <a:pt x="306" y="337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9" y="347"/>
                  </a:lnTo>
                  <a:lnTo>
                    <a:pt x="309" y="350"/>
                  </a:lnTo>
                  <a:lnTo>
                    <a:pt x="309" y="351"/>
                  </a:lnTo>
                  <a:lnTo>
                    <a:pt x="309" y="353"/>
                  </a:lnTo>
                  <a:lnTo>
                    <a:pt x="309" y="355"/>
                  </a:lnTo>
                  <a:lnTo>
                    <a:pt x="308" y="357"/>
                  </a:lnTo>
                  <a:lnTo>
                    <a:pt x="306" y="364"/>
                  </a:lnTo>
                  <a:lnTo>
                    <a:pt x="305" y="367"/>
                  </a:lnTo>
                  <a:lnTo>
                    <a:pt x="304" y="370"/>
                  </a:lnTo>
                  <a:lnTo>
                    <a:pt x="303" y="374"/>
                  </a:lnTo>
                  <a:lnTo>
                    <a:pt x="302" y="379"/>
                  </a:lnTo>
                  <a:lnTo>
                    <a:pt x="302" y="384"/>
                  </a:lnTo>
                  <a:lnTo>
                    <a:pt x="301" y="396"/>
                  </a:lnTo>
                  <a:lnTo>
                    <a:pt x="301" y="399"/>
                  </a:lnTo>
                  <a:lnTo>
                    <a:pt x="301" y="404"/>
                  </a:lnTo>
                  <a:lnTo>
                    <a:pt x="301" y="406"/>
                  </a:lnTo>
                  <a:lnTo>
                    <a:pt x="301" y="407"/>
                  </a:lnTo>
                  <a:lnTo>
                    <a:pt x="302" y="410"/>
                  </a:lnTo>
                  <a:lnTo>
                    <a:pt x="305" y="416"/>
                  </a:lnTo>
                  <a:lnTo>
                    <a:pt x="305" y="418"/>
                  </a:lnTo>
                  <a:lnTo>
                    <a:pt x="306" y="419"/>
                  </a:lnTo>
                  <a:lnTo>
                    <a:pt x="306" y="429"/>
                  </a:lnTo>
                  <a:lnTo>
                    <a:pt x="307" y="435"/>
                  </a:lnTo>
                  <a:lnTo>
                    <a:pt x="309" y="443"/>
                  </a:lnTo>
                  <a:lnTo>
                    <a:pt x="310" y="456"/>
                  </a:lnTo>
                  <a:lnTo>
                    <a:pt x="311" y="461"/>
                  </a:lnTo>
                  <a:lnTo>
                    <a:pt x="312" y="465"/>
                  </a:lnTo>
                  <a:lnTo>
                    <a:pt x="314" y="470"/>
                  </a:lnTo>
                  <a:lnTo>
                    <a:pt x="315" y="472"/>
                  </a:lnTo>
                  <a:lnTo>
                    <a:pt x="317" y="475"/>
                  </a:lnTo>
                  <a:lnTo>
                    <a:pt x="318" y="476"/>
                  </a:lnTo>
                  <a:lnTo>
                    <a:pt x="318" y="476"/>
                  </a:lnTo>
                  <a:lnTo>
                    <a:pt x="318" y="476"/>
                  </a:lnTo>
                  <a:lnTo>
                    <a:pt x="318" y="477"/>
                  </a:lnTo>
                  <a:lnTo>
                    <a:pt x="316" y="480"/>
                  </a:lnTo>
                  <a:lnTo>
                    <a:pt x="313" y="484"/>
                  </a:lnTo>
                  <a:lnTo>
                    <a:pt x="313" y="486"/>
                  </a:lnTo>
                  <a:lnTo>
                    <a:pt x="312" y="487"/>
                  </a:lnTo>
                  <a:lnTo>
                    <a:pt x="311" y="491"/>
                  </a:lnTo>
                  <a:lnTo>
                    <a:pt x="310" y="494"/>
                  </a:lnTo>
                  <a:lnTo>
                    <a:pt x="309" y="498"/>
                  </a:lnTo>
                  <a:lnTo>
                    <a:pt x="308" y="498"/>
                  </a:lnTo>
                  <a:lnTo>
                    <a:pt x="308" y="500"/>
                  </a:lnTo>
                  <a:lnTo>
                    <a:pt x="307" y="500"/>
                  </a:lnTo>
                  <a:lnTo>
                    <a:pt x="306" y="501"/>
                  </a:lnTo>
                  <a:lnTo>
                    <a:pt x="305" y="503"/>
                  </a:lnTo>
                  <a:lnTo>
                    <a:pt x="304" y="504"/>
                  </a:lnTo>
                  <a:lnTo>
                    <a:pt x="301" y="509"/>
                  </a:lnTo>
                  <a:lnTo>
                    <a:pt x="300" y="510"/>
                  </a:lnTo>
                  <a:lnTo>
                    <a:pt x="297" y="514"/>
                  </a:lnTo>
                  <a:lnTo>
                    <a:pt x="296" y="515"/>
                  </a:lnTo>
                  <a:lnTo>
                    <a:pt x="295" y="517"/>
                  </a:lnTo>
                  <a:lnTo>
                    <a:pt x="295" y="518"/>
                  </a:lnTo>
                  <a:lnTo>
                    <a:pt x="295" y="522"/>
                  </a:lnTo>
                  <a:lnTo>
                    <a:pt x="295" y="525"/>
                  </a:lnTo>
                  <a:lnTo>
                    <a:pt x="295" y="529"/>
                  </a:lnTo>
                  <a:lnTo>
                    <a:pt x="295" y="531"/>
                  </a:lnTo>
                  <a:lnTo>
                    <a:pt x="295" y="532"/>
                  </a:lnTo>
                  <a:lnTo>
                    <a:pt x="293" y="533"/>
                  </a:lnTo>
                  <a:lnTo>
                    <a:pt x="291" y="535"/>
                  </a:lnTo>
                  <a:lnTo>
                    <a:pt x="289" y="537"/>
                  </a:lnTo>
                  <a:lnTo>
                    <a:pt x="285" y="539"/>
                  </a:lnTo>
                  <a:lnTo>
                    <a:pt x="284" y="540"/>
                  </a:lnTo>
                  <a:lnTo>
                    <a:pt x="283" y="541"/>
                  </a:lnTo>
                  <a:lnTo>
                    <a:pt x="280" y="542"/>
                  </a:lnTo>
                  <a:lnTo>
                    <a:pt x="279" y="542"/>
                  </a:lnTo>
                  <a:lnTo>
                    <a:pt x="278" y="541"/>
                  </a:lnTo>
                  <a:lnTo>
                    <a:pt x="276" y="540"/>
                  </a:lnTo>
                  <a:lnTo>
                    <a:pt x="273" y="539"/>
                  </a:lnTo>
                  <a:lnTo>
                    <a:pt x="271" y="538"/>
                  </a:lnTo>
                  <a:lnTo>
                    <a:pt x="263" y="536"/>
                  </a:lnTo>
                  <a:lnTo>
                    <a:pt x="260" y="534"/>
                  </a:lnTo>
                  <a:lnTo>
                    <a:pt x="258" y="533"/>
                  </a:lnTo>
                  <a:lnTo>
                    <a:pt x="255" y="532"/>
                  </a:lnTo>
                  <a:lnTo>
                    <a:pt x="252" y="530"/>
                  </a:lnTo>
                  <a:lnTo>
                    <a:pt x="250" y="527"/>
                  </a:lnTo>
                  <a:lnTo>
                    <a:pt x="247" y="522"/>
                  </a:lnTo>
                  <a:lnTo>
                    <a:pt x="237" y="511"/>
                  </a:lnTo>
                  <a:lnTo>
                    <a:pt x="231" y="505"/>
                  </a:lnTo>
                  <a:lnTo>
                    <a:pt x="229" y="503"/>
                  </a:lnTo>
                  <a:lnTo>
                    <a:pt x="226" y="499"/>
                  </a:lnTo>
                  <a:lnTo>
                    <a:pt x="225" y="498"/>
                  </a:lnTo>
                  <a:lnTo>
                    <a:pt x="224" y="498"/>
                  </a:lnTo>
                  <a:lnTo>
                    <a:pt x="223" y="498"/>
                  </a:lnTo>
                  <a:lnTo>
                    <a:pt x="221" y="497"/>
                  </a:lnTo>
                  <a:lnTo>
                    <a:pt x="217" y="496"/>
                  </a:lnTo>
                  <a:lnTo>
                    <a:pt x="210" y="495"/>
                  </a:lnTo>
                  <a:lnTo>
                    <a:pt x="208" y="495"/>
                  </a:lnTo>
                  <a:lnTo>
                    <a:pt x="206" y="495"/>
                  </a:lnTo>
                  <a:lnTo>
                    <a:pt x="204" y="495"/>
                  </a:lnTo>
                  <a:lnTo>
                    <a:pt x="204" y="496"/>
                  </a:lnTo>
                  <a:lnTo>
                    <a:pt x="203" y="496"/>
                  </a:lnTo>
                  <a:lnTo>
                    <a:pt x="199" y="498"/>
                  </a:lnTo>
                  <a:lnTo>
                    <a:pt x="197" y="499"/>
                  </a:lnTo>
                  <a:lnTo>
                    <a:pt x="195" y="500"/>
                  </a:lnTo>
                  <a:lnTo>
                    <a:pt x="194" y="501"/>
                  </a:lnTo>
                  <a:lnTo>
                    <a:pt x="193" y="501"/>
                  </a:lnTo>
                  <a:lnTo>
                    <a:pt x="192" y="501"/>
                  </a:lnTo>
                  <a:lnTo>
                    <a:pt x="191" y="501"/>
                  </a:lnTo>
                  <a:lnTo>
                    <a:pt x="189" y="501"/>
                  </a:lnTo>
                  <a:lnTo>
                    <a:pt x="187" y="500"/>
                  </a:lnTo>
                  <a:lnTo>
                    <a:pt x="186" y="499"/>
                  </a:lnTo>
                  <a:lnTo>
                    <a:pt x="185" y="498"/>
                  </a:lnTo>
                  <a:lnTo>
                    <a:pt x="183" y="496"/>
                  </a:lnTo>
                  <a:lnTo>
                    <a:pt x="181" y="494"/>
                  </a:lnTo>
                  <a:lnTo>
                    <a:pt x="180" y="492"/>
                  </a:lnTo>
                  <a:lnTo>
                    <a:pt x="174" y="488"/>
                  </a:lnTo>
                  <a:lnTo>
                    <a:pt x="171" y="486"/>
                  </a:lnTo>
                  <a:lnTo>
                    <a:pt x="170" y="484"/>
                  </a:lnTo>
                  <a:lnTo>
                    <a:pt x="165" y="479"/>
                  </a:lnTo>
                  <a:lnTo>
                    <a:pt x="163" y="478"/>
                  </a:lnTo>
                  <a:lnTo>
                    <a:pt x="161" y="476"/>
                  </a:lnTo>
                  <a:lnTo>
                    <a:pt x="159" y="476"/>
                  </a:lnTo>
                  <a:lnTo>
                    <a:pt x="159" y="476"/>
                  </a:lnTo>
                  <a:lnTo>
                    <a:pt x="158" y="476"/>
                  </a:lnTo>
                  <a:lnTo>
                    <a:pt x="156" y="476"/>
                  </a:lnTo>
                  <a:lnTo>
                    <a:pt x="154" y="476"/>
                  </a:lnTo>
                  <a:lnTo>
                    <a:pt x="153" y="476"/>
                  </a:lnTo>
                  <a:lnTo>
                    <a:pt x="151" y="468"/>
                  </a:lnTo>
                  <a:lnTo>
                    <a:pt x="147" y="454"/>
                  </a:lnTo>
                  <a:lnTo>
                    <a:pt x="146" y="450"/>
                  </a:lnTo>
                  <a:lnTo>
                    <a:pt x="146" y="448"/>
                  </a:lnTo>
                  <a:lnTo>
                    <a:pt x="146" y="446"/>
                  </a:lnTo>
                  <a:lnTo>
                    <a:pt x="146" y="443"/>
                  </a:lnTo>
                  <a:lnTo>
                    <a:pt x="146" y="442"/>
                  </a:lnTo>
                  <a:lnTo>
                    <a:pt x="147" y="439"/>
                  </a:lnTo>
                  <a:lnTo>
                    <a:pt x="147" y="437"/>
                  </a:lnTo>
                  <a:lnTo>
                    <a:pt x="147" y="435"/>
                  </a:lnTo>
                  <a:lnTo>
                    <a:pt x="148" y="433"/>
                  </a:lnTo>
                  <a:lnTo>
                    <a:pt x="151" y="428"/>
                  </a:lnTo>
                  <a:lnTo>
                    <a:pt x="152" y="426"/>
                  </a:lnTo>
                  <a:lnTo>
                    <a:pt x="152" y="424"/>
                  </a:lnTo>
                  <a:lnTo>
                    <a:pt x="152" y="423"/>
                  </a:lnTo>
                  <a:lnTo>
                    <a:pt x="152" y="421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1" y="416"/>
                  </a:lnTo>
                  <a:lnTo>
                    <a:pt x="151" y="414"/>
                  </a:lnTo>
                  <a:lnTo>
                    <a:pt x="150" y="412"/>
                  </a:lnTo>
                  <a:lnTo>
                    <a:pt x="148" y="410"/>
                  </a:lnTo>
                  <a:lnTo>
                    <a:pt x="147" y="406"/>
                  </a:lnTo>
                  <a:lnTo>
                    <a:pt x="137" y="392"/>
                  </a:lnTo>
                  <a:lnTo>
                    <a:pt x="135" y="388"/>
                  </a:lnTo>
                  <a:lnTo>
                    <a:pt x="134" y="385"/>
                  </a:lnTo>
                  <a:lnTo>
                    <a:pt x="133" y="383"/>
                  </a:lnTo>
                  <a:lnTo>
                    <a:pt x="132" y="379"/>
                  </a:lnTo>
                  <a:lnTo>
                    <a:pt x="132" y="376"/>
                  </a:lnTo>
                  <a:lnTo>
                    <a:pt x="132" y="368"/>
                  </a:lnTo>
                  <a:lnTo>
                    <a:pt x="132" y="365"/>
                  </a:lnTo>
                  <a:lnTo>
                    <a:pt x="132" y="363"/>
                  </a:lnTo>
                  <a:lnTo>
                    <a:pt x="131" y="362"/>
                  </a:lnTo>
                  <a:lnTo>
                    <a:pt x="130" y="360"/>
                  </a:lnTo>
                  <a:lnTo>
                    <a:pt x="129" y="359"/>
                  </a:lnTo>
                  <a:lnTo>
                    <a:pt x="128" y="357"/>
                  </a:lnTo>
                  <a:lnTo>
                    <a:pt x="126" y="355"/>
                  </a:lnTo>
                  <a:lnTo>
                    <a:pt x="124" y="353"/>
                  </a:lnTo>
                  <a:lnTo>
                    <a:pt x="121" y="351"/>
                  </a:lnTo>
                  <a:lnTo>
                    <a:pt x="114" y="349"/>
                  </a:lnTo>
                  <a:lnTo>
                    <a:pt x="112" y="347"/>
                  </a:lnTo>
                  <a:lnTo>
                    <a:pt x="109" y="346"/>
                  </a:lnTo>
                  <a:lnTo>
                    <a:pt x="107" y="344"/>
                  </a:lnTo>
                  <a:lnTo>
                    <a:pt x="105" y="342"/>
                  </a:lnTo>
                  <a:lnTo>
                    <a:pt x="103" y="340"/>
                  </a:lnTo>
                  <a:lnTo>
                    <a:pt x="102" y="338"/>
                  </a:lnTo>
                  <a:lnTo>
                    <a:pt x="98" y="331"/>
                  </a:lnTo>
                  <a:lnTo>
                    <a:pt x="95" y="327"/>
                  </a:lnTo>
                  <a:lnTo>
                    <a:pt x="92" y="324"/>
                  </a:lnTo>
                  <a:lnTo>
                    <a:pt x="90" y="322"/>
                  </a:lnTo>
                  <a:lnTo>
                    <a:pt x="89" y="321"/>
                  </a:lnTo>
                  <a:lnTo>
                    <a:pt x="87" y="320"/>
                  </a:lnTo>
                  <a:lnTo>
                    <a:pt x="84" y="318"/>
                  </a:lnTo>
                  <a:lnTo>
                    <a:pt x="81" y="317"/>
                  </a:lnTo>
                  <a:lnTo>
                    <a:pt x="79" y="317"/>
                  </a:lnTo>
                  <a:lnTo>
                    <a:pt x="78" y="317"/>
                  </a:lnTo>
                  <a:lnTo>
                    <a:pt x="77" y="317"/>
                  </a:lnTo>
                  <a:lnTo>
                    <a:pt x="75" y="317"/>
                  </a:lnTo>
                  <a:lnTo>
                    <a:pt x="74" y="317"/>
                  </a:lnTo>
                  <a:lnTo>
                    <a:pt x="73" y="317"/>
                  </a:lnTo>
                  <a:lnTo>
                    <a:pt x="71" y="317"/>
                  </a:lnTo>
                  <a:lnTo>
                    <a:pt x="70" y="318"/>
                  </a:lnTo>
                  <a:lnTo>
                    <a:pt x="69" y="319"/>
                  </a:lnTo>
                  <a:lnTo>
                    <a:pt x="68" y="320"/>
                  </a:lnTo>
                  <a:lnTo>
                    <a:pt x="67" y="322"/>
                  </a:lnTo>
                  <a:lnTo>
                    <a:pt x="65" y="325"/>
                  </a:lnTo>
                  <a:lnTo>
                    <a:pt x="57" y="337"/>
                  </a:lnTo>
                  <a:lnTo>
                    <a:pt x="56" y="340"/>
                  </a:lnTo>
                  <a:lnTo>
                    <a:pt x="54" y="342"/>
                  </a:lnTo>
                  <a:lnTo>
                    <a:pt x="52" y="343"/>
                  </a:lnTo>
                  <a:lnTo>
                    <a:pt x="51" y="344"/>
                  </a:lnTo>
                  <a:lnTo>
                    <a:pt x="49" y="346"/>
                  </a:lnTo>
                  <a:lnTo>
                    <a:pt x="47" y="347"/>
                  </a:lnTo>
                  <a:lnTo>
                    <a:pt x="44" y="348"/>
                  </a:lnTo>
                  <a:lnTo>
                    <a:pt x="41" y="348"/>
                  </a:lnTo>
                  <a:lnTo>
                    <a:pt x="39" y="348"/>
                  </a:lnTo>
                  <a:lnTo>
                    <a:pt x="38" y="348"/>
                  </a:lnTo>
                  <a:lnTo>
                    <a:pt x="36" y="348"/>
                  </a:lnTo>
                  <a:lnTo>
                    <a:pt x="34" y="347"/>
                  </a:lnTo>
                  <a:lnTo>
                    <a:pt x="33" y="347"/>
                  </a:lnTo>
                  <a:lnTo>
                    <a:pt x="31" y="346"/>
                  </a:lnTo>
                  <a:lnTo>
                    <a:pt x="30" y="346"/>
                  </a:lnTo>
                  <a:lnTo>
                    <a:pt x="29" y="345"/>
                  </a:lnTo>
                  <a:lnTo>
                    <a:pt x="29" y="344"/>
                  </a:lnTo>
                  <a:lnTo>
                    <a:pt x="28" y="343"/>
                  </a:lnTo>
                  <a:lnTo>
                    <a:pt x="27" y="342"/>
                  </a:lnTo>
                  <a:lnTo>
                    <a:pt x="27" y="340"/>
                  </a:lnTo>
                  <a:lnTo>
                    <a:pt x="27" y="339"/>
                  </a:lnTo>
                  <a:lnTo>
                    <a:pt x="28" y="337"/>
                  </a:lnTo>
                  <a:lnTo>
                    <a:pt x="28" y="334"/>
                  </a:lnTo>
                  <a:lnTo>
                    <a:pt x="30" y="330"/>
                  </a:lnTo>
                  <a:lnTo>
                    <a:pt x="31" y="328"/>
                  </a:lnTo>
                  <a:lnTo>
                    <a:pt x="33" y="325"/>
                  </a:lnTo>
                  <a:lnTo>
                    <a:pt x="34" y="323"/>
                  </a:lnTo>
                  <a:lnTo>
                    <a:pt x="34" y="321"/>
                  </a:lnTo>
                  <a:lnTo>
                    <a:pt x="34" y="320"/>
                  </a:lnTo>
                  <a:lnTo>
                    <a:pt x="34" y="318"/>
                  </a:lnTo>
                  <a:lnTo>
                    <a:pt x="33" y="317"/>
                  </a:lnTo>
                  <a:lnTo>
                    <a:pt x="33" y="313"/>
                  </a:lnTo>
                  <a:lnTo>
                    <a:pt x="32" y="312"/>
                  </a:lnTo>
                  <a:lnTo>
                    <a:pt x="31" y="310"/>
                  </a:lnTo>
                  <a:lnTo>
                    <a:pt x="28" y="306"/>
                  </a:lnTo>
                  <a:lnTo>
                    <a:pt x="24" y="303"/>
                  </a:lnTo>
                  <a:lnTo>
                    <a:pt x="22" y="301"/>
                  </a:lnTo>
                  <a:lnTo>
                    <a:pt x="21" y="299"/>
                  </a:lnTo>
                  <a:lnTo>
                    <a:pt x="18" y="297"/>
                  </a:lnTo>
                  <a:lnTo>
                    <a:pt x="13" y="294"/>
                  </a:lnTo>
                  <a:lnTo>
                    <a:pt x="11" y="294"/>
                  </a:lnTo>
                  <a:lnTo>
                    <a:pt x="10" y="292"/>
                  </a:lnTo>
                  <a:lnTo>
                    <a:pt x="9" y="290"/>
                  </a:lnTo>
                  <a:lnTo>
                    <a:pt x="7" y="288"/>
                  </a:lnTo>
                  <a:lnTo>
                    <a:pt x="6" y="285"/>
                  </a:lnTo>
                  <a:lnTo>
                    <a:pt x="4" y="282"/>
                  </a:lnTo>
                  <a:lnTo>
                    <a:pt x="3" y="278"/>
                  </a:lnTo>
                  <a:lnTo>
                    <a:pt x="2" y="276"/>
                  </a:lnTo>
                  <a:lnTo>
                    <a:pt x="1" y="274"/>
                  </a:lnTo>
                  <a:lnTo>
                    <a:pt x="0" y="272"/>
                  </a:lnTo>
                  <a:lnTo>
                    <a:pt x="0" y="269"/>
                  </a:lnTo>
                  <a:lnTo>
                    <a:pt x="0" y="266"/>
                  </a:lnTo>
                  <a:lnTo>
                    <a:pt x="0" y="263"/>
                  </a:lnTo>
                  <a:lnTo>
                    <a:pt x="0" y="260"/>
                  </a:lnTo>
                  <a:lnTo>
                    <a:pt x="0" y="258"/>
                  </a:lnTo>
                  <a:lnTo>
                    <a:pt x="0" y="255"/>
                  </a:lnTo>
                  <a:lnTo>
                    <a:pt x="1" y="252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4" y="245"/>
                  </a:lnTo>
                  <a:lnTo>
                    <a:pt x="5" y="243"/>
                  </a:lnTo>
                  <a:lnTo>
                    <a:pt x="6" y="241"/>
                  </a:lnTo>
                  <a:lnTo>
                    <a:pt x="7" y="239"/>
                  </a:lnTo>
                  <a:lnTo>
                    <a:pt x="9" y="238"/>
                  </a:lnTo>
                  <a:lnTo>
                    <a:pt x="11" y="236"/>
                  </a:lnTo>
                  <a:lnTo>
                    <a:pt x="12" y="235"/>
                  </a:lnTo>
                  <a:lnTo>
                    <a:pt x="13" y="235"/>
                  </a:lnTo>
                  <a:lnTo>
                    <a:pt x="13" y="234"/>
                  </a:lnTo>
                  <a:lnTo>
                    <a:pt x="14" y="234"/>
                  </a:lnTo>
                  <a:lnTo>
                    <a:pt x="16" y="233"/>
                  </a:lnTo>
                  <a:lnTo>
                    <a:pt x="17" y="233"/>
                  </a:lnTo>
                  <a:lnTo>
                    <a:pt x="21" y="232"/>
                  </a:lnTo>
                  <a:lnTo>
                    <a:pt x="23" y="232"/>
                  </a:lnTo>
                  <a:lnTo>
                    <a:pt x="26" y="232"/>
                  </a:lnTo>
                  <a:lnTo>
                    <a:pt x="30" y="233"/>
                  </a:lnTo>
                  <a:lnTo>
                    <a:pt x="45" y="235"/>
                  </a:lnTo>
                  <a:lnTo>
                    <a:pt x="50" y="235"/>
                  </a:lnTo>
                  <a:lnTo>
                    <a:pt x="53" y="235"/>
                  </a:lnTo>
                  <a:lnTo>
                    <a:pt x="56" y="235"/>
                  </a:lnTo>
                  <a:lnTo>
                    <a:pt x="57" y="235"/>
                  </a:lnTo>
                  <a:lnTo>
                    <a:pt x="59" y="234"/>
                  </a:lnTo>
                  <a:lnTo>
                    <a:pt x="63" y="233"/>
                  </a:lnTo>
                  <a:lnTo>
                    <a:pt x="64" y="232"/>
                  </a:lnTo>
                  <a:lnTo>
                    <a:pt x="66" y="231"/>
                  </a:lnTo>
                  <a:lnTo>
                    <a:pt x="67" y="230"/>
                  </a:lnTo>
                  <a:lnTo>
                    <a:pt x="68" y="228"/>
                  </a:lnTo>
                  <a:lnTo>
                    <a:pt x="69" y="226"/>
                  </a:lnTo>
                  <a:lnTo>
                    <a:pt x="71" y="225"/>
                  </a:lnTo>
                  <a:lnTo>
                    <a:pt x="73" y="220"/>
                  </a:lnTo>
                  <a:lnTo>
                    <a:pt x="79" y="207"/>
                  </a:lnTo>
                  <a:lnTo>
                    <a:pt x="80" y="201"/>
                  </a:lnTo>
                  <a:lnTo>
                    <a:pt x="82" y="198"/>
                  </a:lnTo>
                  <a:lnTo>
                    <a:pt x="84" y="194"/>
                  </a:lnTo>
                  <a:lnTo>
                    <a:pt x="86" y="192"/>
                  </a:lnTo>
                  <a:lnTo>
                    <a:pt x="88" y="188"/>
                  </a:lnTo>
                  <a:lnTo>
                    <a:pt x="90" y="186"/>
                  </a:lnTo>
                  <a:lnTo>
                    <a:pt x="90" y="184"/>
                  </a:lnTo>
                  <a:lnTo>
                    <a:pt x="92" y="183"/>
                  </a:lnTo>
                  <a:lnTo>
                    <a:pt x="93" y="181"/>
                  </a:lnTo>
                  <a:lnTo>
                    <a:pt x="94" y="181"/>
                  </a:lnTo>
                  <a:lnTo>
                    <a:pt x="96" y="180"/>
                  </a:lnTo>
                  <a:lnTo>
                    <a:pt x="98" y="180"/>
                  </a:lnTo>
                  <a:lnTo>
                    <a:pt x="99" y="179"/>
                  </a:lnTo>
                  <a:lnTo>
                    <a:pt x="103" y="178"/>
                  </a:lnTo>
                  <a:lnTo>
                    <a:pt x="113" y="176"/>
                  </a:lnTo>
                  <a:lnTo>
                    <a:pt x="123" y="174"/>
                  </a:lnTo>
                  <a:lnTo>
                    <a:pt x="126" y="173"/>
                  </a:lnTo>
                  <a:lnTo>
                    <a:pt x="129" y="173"/>
                  </a:lnTo>
                  <a:lnTo>
                    <a:pt x="132" y="174"/>
                  </a:lnTo>
                  <a:lnTo>
                    <a:pt x="138" y="175"/>
                  </a:lnTo>
                  <a:lnTo>
                    <a:pt x="141" y="175"/>
                  </a:lnTo>
                  <a:lnTo>
                    <a:pt x="144" y="175"/>
                  </a:lnTo>
                  <a:lnTo>
                    <a:pt x="150" y="175"/>
                  </a:lnTo>
                  <a:lnTo>
                    <a:pt x="153" y="175"/>
                  </a:lnTo>
                  <a:lnTo>
                    <a:pt x="156" y="176"/>
                  </a:lnTo>
                  <a:lnTo>
                    <a:pt x="159" y="177"/>
                  </a:lnTo>
                  <a:lnTo>
                    <a:pt x="165" y="178"/>
                  </a:lnTo>
                  <a:lnTo>
                    <a:pt x="180" y="181"/>
                  </a:lnTo>
                  <a:lnTo>
                    <a:pt x="183" y="182"/>
                  </a:lnTo>
                  <a:lnTo>
                    <a:pt x="186" y="182"/>
                  </a:lnTo>
                  <a:lnTo>
                    <a:pt x="189" y="183"/>
                  </a:lnTo>
                  <a:lnTo>
                    <a:pt x="191" y="183"/>
                  </a:lnTo>
                  <a:lnTo>
                    <a:pt x="193" y="183"/>
                  </a:lnTo>
                  <a:lnTo>
                    <a:pt x="196" y="183"/>
                  </a:lnTo>
                  <a:lnTo>
                    <a:pt x="199" y="182"/>
                  </a:lnTo>
                  <a:lnTo>
                    <a:pt x="203" y="181"/>
                  </a:lnTo>
                  <a:lnTo>
                    <a:pt x="206" y="181"/>
                  </a:lnTo>
                  <a:lnTo>
                    <a:pt x="209" y="180"/>
                  </a:lnTo>
                  <a:lnTo>
                    <a:pt x="212" y="178"/>
                  </a:lnTo>
                  <a:lnTo>
                    <a:pt x="215" y="177"/>
                  </a:lnTo>
                  <a:lnTo>
                    <a:pt x="216" y="175"/>
                  </a:lnTo>
                  <a:lnTo>
                    <a:pt x="216" y="174"/>
                  </a:lnTo>
                  <a:lnTo>
                    <a:pt x="217" y="173"/>
                  </a:lnTo>
                  <a:lnTo>
                    <a:pt x="218" y="171"/>
                  </a:lnTo>
                  <a:lnTo>
                    <a:pt x="219" y="170"/>
                  </a:lnTo>
                  <a:lnTo>
                    <a:pt x="219" y="169"/>
                  </a:lnTo>
                  <a:lnTo>
                    <a:pt x="220" y="167"/>
                  </a:lnTo>
                  <a:lnTo>
                    <a:pt x="220" y="162"/>
                  </a:lnTo>
                  <a:lnTo>
                    <a:pt x="221" y="159"/>
                  </a:lnTo>
                  <a:lnTo>
                    <a:pt x="221" y="149"/>
                  </a:lnTo>
                  <a:lnTo>
                    <a:pt x="222" y="137"/>
                  </a:lnTo>
                  <a:lnTo>
                    <a:pt x="222" y="135"/>
                  </a:lnTo>
                  <a:lnTo>
                    <a:pt x="221" y="128"/>
                  </a:lnTo>
                  <a:lnTo>
                    <a:pt x="220" y="123"/>
                  </a:lnTo>
                  <a:lnTo>
                    <a:pt x="220" y="120"/>
                  </a:lnTo>
                  <a:lnTo>
                    <a:pt x="221" y="117"/>
                  </a:lnTo>
                  <a:lnTo>
                    <a:pt x="221" y="114"/>
                  </a:lnTo>
                  <a:lnTo>
                    <a:pt x="222" y="112"/>
                  </a:lnTo>
                  <a:lnTo>
                    <a:pt x="227" y="97"/>
                  </a:lnTo>
                  <a:lnTo>
                    <a:pt x="228" y="93"/>
                  </a:lnTo>
                  <a:lnTo>
                    <a:pt x="229" y="90"/>
                  </a:lnTo>
                  <a:lnTo>
                    <a:pt x="230" y="85"/>
                  </a:lnTo>
                  <a:lnTo>
                    <a:pt x="231" y="80"/>
                  </a:lnTo>
                  <a:lnTo>
                    <a:pt x="232" y="67"/>
                  </a:lnTo>
                  <a:lnTo>
                    <a:pt x="232" y="63"/>
                  </a:lnTo>
                  <a:lnTo>
                    <a:pt x="232" y="61"/>
                  </a:lnTo>
                  <a:lnTo>
                    <a:pt x="232" y="60"/>
                  </a:lnTo>
                  <a:lnTo>
                    <a:pt x="231" y="57"/>
                  </a:lnTo>
                  <a:lnTo>
                    <a:pt x="230" y="57"/>
                  </a:lnTo>
                  <a:lnTo>
                    <a:pt x="229" y="53"/>
                  </a:lnTo>
                  <a:lnTo>
                    <a:pt x="228" y="51"/>
                  </a:lnTo>
                  <a:lnTo>
                    <a:pt x="227" y="49"/>
                  </a:lnTo>
                  <a:lnTo>
                    <a:pt x="225" y="47"/>
                  </a:lnTo>
                  <a:lnTo>
                    <a:pt x="224" y="47"/>
                  </a:lnTo>
                  <a:lnTo>
                    <a:pt x="223" y="46"/>
                  </a:lnTo>
                  <a:lnTo>
                    <a:pt x="220" y="45"/>
                  </a:lnTo>
                  <a:lnTo>
                    <a:pt x="215" y="44"/>
                  </a:lnTo>
                  <a:lnTo>
                    <a:pt x="214" y="44"/>
                  </a:lnTo>
                  <a:lnTo>
                    <a:pt x="212" y="42"/>
                  </a:lnTo>
                  <a:lnTo>
                    <a:pt x="210" y="41"/>
                  </a:lnTo>
                  <a:lnTo>
                    <a:pt x="209" y="40"/>
                  </a:lnTo>
                  <a:lnTo>
                    <a:pt x="208" y="38"/>
                  </a:lnTo>
                  <a:lnTo>
                    <a:pt x="207" y="37"/>
                  </a:lnTo>
                  <a:lnTo>
                    <a:pt x="206" y="35"/>
                  </a:lnTo>
                  <a:lnTo>
                    <a:pt x="206" y="34"/>
                  </a:lnTo>
                  <a:lnTo>
                    <a:pt x="205" y="34"/>
                  </a:lnTo>
                  <a:lnTo>
                    <a:pt x="205" y="32"/>
                  </a:lnTo>
                  <a:lnTo>
                    <a:pt x="205" y="30"/>
                  </a:lnTo>
                  <a:lnTo>
                    <a:pt x="206" y="28"/>
                  </a:lnTo>
                  <a:lnTo>
                    <a:pt x="206" y="26"/>
                  </a:lnTo>
                  <a:lnTo>
                    <a:pt x="207" y="24"/>
                  </a:lnTo>
                  <a:lnTo>
                    <a:pt x="208" y="23"/>
                  </a:lnTo>
                  <a:lnTo>
                    <a:pt x="209" y="21"/>
                  </a:lnTo>
                  <a:lnTo>
                    <a:pt x="211" y="19"/>
                  </a:lnTo>
                  <a:lnTo>
                    <a:pt x="213" y="17"/>
                  </a:lnTo>
                  <a:lnTo>
                    <a:pt x="214" y="15"/>
                  </a:lnTo>
                  <a:lnTo>
                    <a:pt x="215" y="13"/>
                  </a:lnTo>
                  <a:lnTo>
                    <a:pt x="220" y="11"/>
                  </a:lnTo>
                  <a:lnTo>
                    <a:pt x="226" y="7"/>
                  </a:lnTo>
                  <a:lnTo>
                    <a:pt x="231" y="3"/>
                  </a:lnTo>
                  <a:lnTo>
                    <a:pt x="233" y="2"/>
                  </a:lnTo>
                  <a:lnTo>
                    <a:pt x="235" y="1"/>
                  </a:lnTo>
                  <a:lnTo>
                    <a:pt x="237" y="1"/>
                  </a:lnTo>
                  <a:lnTo>
                    <a:pt x="238" y="0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2" name="Freeform 45">
              <a:extLst>
                <a:ext uri="{FF2B5EF4-FFF2-40B4-BE49-F238E27FC236}">
                  <a16:creationId xmlns:a16="http://schemas.microsoft.com/office/drawing/2014/main" id="{A47BB5FD-F640-4F42-9C35-29771D5BD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7" y="1269"/>
              <a:ext cx="414" cy="386"/>
            </a:xfrm>
            <a:custGeom>
              <a:avLst/>
              <a:gdLst>
                <a:gd name="T0" fmla="*/ 297 w 414"/>
                <a:gd name="T1" fmla="*/ 15 h 386"/>
                <a:gd name="T2" fmla="*/ 316 w 414"/>
                <a:gd name="T3" fmla="*/ 23 h 386"/>
                <a:gd name="T4" fmla="*/ 331 w 414"/>
                <a:gd name="T5" fmla="*/ 30 h 386"/>
                <a:gd name="T6" fmla="*/ 343 w 414"/>
                <a:gd name="T7" fmla="*/ 35 h 386"/>
                <a:gd name="T8" fmla="*/ 346 w 414"/>
                <a:gd name="T9" fmla="*/ 45 h 386"/>
                <a:gd name="T10" fmla="*/ 367 w 414"/>
                <a:gd name="T11" fmla="*/ 81 h 386"/>
                <a:gd name="T12" fmla="*/ 366 w 414"/>
                <a:gd name="T13" fmla="*/ 113 h 386"/>
                <a:gd name="T14" fmla="*/ 374 w 414"/>
                <a:gd name="T15" fmla="*/ 179 h 386"/>
                <a:gd name="T16" fmla="*/ 376 w 414"/>
                <a:gd name="T17" fmla="*/ 204 h 386"/>
                <a:gd name="T18" fmla="*/ 388 w 414"/>
                <a:gd name="T19" fmla="*/ 230 h 386"/>
                <a:gd name="T20" fmla="*/ 380 w 414"/>
                <a:gd name="T21" fmla="*/ 258 h 386"/>
                <a:gd name="T22" fmla="*/ 388 w 414"/>
                <a:gd name="T23" fmla="*/ 285 h 386"/>
                <a:gd name="T24" fmla="*/ 411 w 414"/>
                <a:gd name="T25" fmla="*/ 320 h 386"/>
                <a:gd name="T26" fmla="*/ 413 w 414"/>
                <a:gd name="T27" fmla="*/ 333 h 386"/>
                <a:gd name="T28" fmla="*/ 385 w 414"/>
                <a:gd name="T29" fmla="*/ 348 h 386"/>
                <a:gd name="T30" fmla="*/ 373 w 414"/>
                <a:gd name="T31" fmla="*/ 340 h 386"/>
                <a:gd name="T32" fmla="*/ 350 w 414"/>
                <a:gd name="T33" fmla="*/ 344 h 386"/>
                <a:gd name="T34" fmla="*/ 330 w 414"/>
                <a:gd name="T35" fmla="*/ 338 h 386"/>
                <a:gd name="T36" fmla="*/ 312 w 414"/>
                <a:gd name="T37" fmla="*/ 317 h 386"/>
                <a:gd name="T38" fmla="*/ 301 w 414"/>
                <a:gd name="T39" fmla="*/ 322 h 386"/>
                <a:gd name="T40" fmla="*/ 278 w 414"/>
                <a:gd name="T41" fmla="*/ 342 h 386"/>
                <a:gd name="T42" fmla="*/ 278 w 414"/>
                <a:gd name="T43" fmla="*/ 365 h 386"/>
                <a:gd name="T44" fmla="*/ 267 w 414"/>
                <a:gd name="T45" fmla="*/ 380 h 386"/>
                <a:gd name="T46" fmla="*/ 249 w 414"/>
                <a:gd name="T47" fmla="*/ 386 h 386"/>
                <a:gd name="T48" fmla="*/ 236 w 414"/>
                <a:gd name="T49" fmla="*/ 380 h 386"/>
                <a:gd name="T50" fmla="*/ 230 w 414"/>
                <a:gd name="T51" fmla="*/ 366 h 386"/>
                <a:gd name="T52" fmla="*/ 215 w 414"/>
                <a:gd name="T53" fmla="*/ 363 h 386"/>
                <a:gd name="T54" fmla="*/ 180 w 414"/>
                <a:gd name="T55" fmla="*/ 350 h 386"/>
                <a:gd name="T56" fmla="*/ 152 w 414"/>
                <a:gd name="T57" fmla="*/ 340 h 386"/>
                <a:gd name="T58" fmla="*/ 140 w 414"/>
                <a:gd name="T59" fmla="*/ 345 h 386"/>
                <a:gd name="T60" fmla="*/ 119 w 414"/>
                <a:gd name="T61" fmla="*/ 366 h 386"/>
                <a:gd name="T62" fmla="*/ 98 w 414"/>
                <a:gd name="T63" fmla="*/ 365 h 386"/>
                <a:gd name="T64" fmla="*/ 57 w 414"/>
                <a:gd name="T65" fmla="*/ 344 h 386"/>
                <a:gd name="T66" fmla="*/ 51 w 414"/>
                <a:gd name="T67" fmla="*/ 339 h 386"/>
                <a:gd name="T68" fmla="*/ 33 w 414"/>
                <a:gd name="T69" fmla="*/ 330 h 386"/>
                <a:gd name="T70" fmla="*/ 17 w 414"/>
                <a:gd name="T71" fmla="*/ 324 h 386"/>
                <a:gd name="T72" fmla="*/ 11 w 414"/>
                <a:gd name="T73" fmla="*/ 302 h 386"/>
                <a:gd name="T74" fmla="*/ 1 w 414"/>
                <a:gd name="T75" fmla="*/ 293 h 386"/>
                <a:gd name="T76" fmla="*/ 16 w 414"/>
                <a:gd name="T77" fmla="*/ 282 h 386"/>
                <a:gd name="T78" fmla="*/ 18 w 414"/>
                <a:gd name="T79" fmla="*/ 265 h 386"/>
                <a:gd name="T80" fmla="*/ 29 w 414"/>
                <a:gd name="T81" fmla="*/ 249 h 386"/>
                <a:gd name="T82" fmla="*/ 39 w 414"/>
                <a:gd name="T83" fmla="*/ 228 h 386"/>
                <a:gd name="T84" fmla="*/ 57 w 414"/>
                <a:gd name="T85" fmla="*/ 226 h 386"/>
                <a:gd name="T86" fmla="*/ 82 w 414"/>
                <a:gd name="T87" fmla="*/ 223 h 386"/>
                <a:gd name="T88" fmla="*/ 102 w 414"/>
                <a:gd name="T89" fmla="*/ 225 h 386"/>
                <a:gd name="T90" fmla="*/ 116 w 414"/>
                <a:gd name="T91" fmla="*/ 226 h 386"/>
                <a:gd name="T92" fmla="*/ 128 w 414"/>
                <a:gd name="T93" fmla="*/ 218 h 386"/>
                <a:gd name="T94" fmla="*/ 142 w 414"/>
                <a:gd name="T95" fmla="*/ 212 h 386"/>
                <a:gd name="T96" fmla="*/ 171 w 414"/>
                <a:gd name="T97" fmla="*/ 203 h 386"/>
                <a:gd name="T98" fmla="*/ 189 w 414"/>
                <a:gd name="T99" fmla="*/ 170 h 386"/>
                <a:gd name="T100" fmla="*/ 207 w 414"/>
                <a:gd name="T101" fmla="*/ 152 h 386"/>
                <a:gd name="T102" fmla="*/ 223 w 414"/>
                <a:gd name="T103" fmla="*/ 143 h 386"/>
                <a:gd name="T104" fmla="*/ 224 w 414"/>
                <a:gd name="T105" fmla="*/ 94 h 386"/>
                <a:gd name="T106" fmla="*/ 225 w 414"/>
                <a:gd name="T107" fmla="*/ 63 h 386"/>
                <a:gd name="T108" fmla="*/ 243 w 414"/>
                <a:gd name="T109" fmla="*/ 34 h 386"/>
                <a:gd name="T110" fmla="*/ 257 w 414"/>
                <a:gd name="T111" fmla="*/ 9 h 386"/>
                <a:gd name="T112" fmla="*/ 268 w 414"/>
                <a:gd name="T113" fmla="*/ 1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386">
                  <a:moveTo>
                    <a:pt x="273" y="0"/>
                  </a:moveTo>
                  <a:lnTo>
                    <a:pt x="275" y="1"/>
                  </a:lnTo>
                  <a:lnTo>
                    <a:pt x="277" y="2"/>
                  </a:lnTo>
                  <a:lnTo>
                    <a:pt x="282" y="6"/>
                  </a:lnTo>
                  <a:lnTo>
                    <a:pt x="284" y="7"/>
                  </a:lnTo>
                  <a:lnTo>
                    <a:pt x="289" y="11"/>
                  </a:lnTo>
                  <a:lnTo>
                    <a:pt x="291" y="11"/>
                  </a:lnTo>
                  <a:lnTo>
                    <a:pt x="297" y="15"/>
                  </a:lnTo>
                  <a:lnTo>
                    <a:pt x="302" y="20"/>
                  </a:lnTo>
                  <a:lnTo>
                    <a:pt x="303" y="21"/>
                  </a:lnTo>
                  <a:lnTo>
                    <a:pt x="304" y="21"/>
                  </a:lnTo>
                  <a:lnTo>
                    <a:pt x="306" y="22"/>
                  </a:lnTo>
                  <a:lnTo>
                    <a:pt x="309" y="23"/>
                  </a:lnTo>
                  <a:lnTo>
                    <a:pt x="311" y="23"/>
                  </a:lnTo>
                  <a:lnTo>
                    <a:pt x="313" y="23"/>
                  </a:lnTo>
                  <a:lnTo>
                    <a:pt x="316" y="23"/>
                  </a:lnTo>
                  <a:lnTo>
                    <a:pt x="322" y="23"/>
                  </a:lnTo>
                  <a:lnTo>
                    <a:pt x="323" y="23"/>
                  </a:lnTo>
                  <a:lnTo>
                    <a:pt x="324" y="23"/>
                  </a:lnTo>
                  <a:lnTo>
                    <a:pt x="325" y="24"/>
                  </a:lnTo>
                  <a:lnTo>
                    <a:pt x="326" y="25"/>
                  </a:lnTo>
                  <a:lnTo>
                    <a:pt x="327" y="25"/>
                  </a:lnTo>
                  <a:lnTo>
                    <a:pt x="328" y="27"/>
                  </a:lnTo>
                  <a:lnTo>
                    <a:pt x="331" y="30"/>
                  </a:lnTo>
                  <a:lnTo>
                    <a:pt x="333" y="32"/>
                  </a:lnTo>
                  <a:lnTo>
                    <a:pt x="334" y="33"/>
                  </a:lnTo>
                  <a:lnTo>
                    <a:pt x="336" y="34"/>
                  </a:lnTo>
                  <a:lnTo>
                    <a:pt x="337" y="34"/>
                  </a:lnTo>
                  <a:lnTo>
                    <a:pt x="338" y="35"/>
                  </a:lnTo>
                  <a:lnTo>
                    <a:pt x="340" y="35"/>
                  </a:lnTo>
                  <a:lnTo>
                    <a:pt x="342" y="35"/>
                  </a:lnTo>
                  <a:lnTo>
                    <a:pt x="343" y="35"/>
                  </a:lnTo>
                  <a:lnTo>
                    <a:pt x="344" y="35"/>
                  </a:lnTo>
                  <a:lnTo>
                    <a:pt x="344" y="34"/>
                  </a:lnTo>
                  <a:lnTo>
                    <a:pt x="344" y="35"/>
                  </a:lnTo>
                  <a:lnTo>
                    <a:pt x="344" y="36"/>
                  </a:lnTo>
                  <a:lnTo>
                    <a:pt x="344" y="37"/>
                  </a:lnTo>
                  <a:lnTo>
                    <a:pt x="345" y="40"/>
                  </a:lnTo>
                  <a:lnTo>
                    <a:pt x="345" y="42"/>
                  </a:lnTo>
                  <a:lnTo>
                    <a:pt x="346" y="45"/>
                  </a:lnTo>
                  <a:lnTo>
                    <a:pt x="347" y="49"/>
                  </a:lnTo>
                  <a:lnTo>
                    <a:pt x="350" y="54"/>
                  </a:lnTo>
                  <a:lnTo>
                    <a:pt x="352" y="57"/>
                  </a:lnTo>
                  <a:lnTo>
                    <a:pt x="355" y="61"/>
                  </a:lnTo>
                  <a:lnTo>
                    <a:pt x="361" y="70"/>
                  </a:lnTo>
                  <a:lnTo>
                    <a:pt x="364" y="76"/>
                  </a:lnTo>
                  <a:lnTo>
                    <a:pt x="366" y="79"/>
                  </a:lnTo>
                  <a:lnTo>
                    <a:pt x="367" y="81"/>
                  </a:lnTo>
                  <a:lnTo>
                    <a:pt x="368" y="83"/>
                  </a:lnTo>
                  <a:lnTo>
                    <a:pt x="368" y="85"/>
                  </a:lnTo>
                  <a:lnTo>
                    <a:pt x="368" y="89"/>
                  </a:lnTo>
                  <a:lnTo>
                    <a:pt x="368" y="92"/>
                  </a:lnTo>
                  <a:lnTo>
                    <a:pt x="368" y="96"/>
                  </a:lnTo>
                  <a:lnTo>
                    <a:pt x="367" y="106"/>
                  </a:lnTo>
                  <a:lnTo>
                    <a:pt x="366" y="110"/>
                  </a:lnTo>
                  <a:lnTo>
                    <a:pt x="366" y="113"/>
                  </a:lnTo>
                  <a:lnTo>
                    <a:pt x="367" y="126"/>
                  </a:lnTo>
                  <a:lnTo>
                    <a:pt x="367" y="144"/>
                  </a:lnTo>
                  <a:lnTo>
                    <a:pt x="368" y="147"/>
                  </a:lnTo>
                  <a:lnTo>
                    <a:pt x="368" y="151"/>
                  </a:lnTo>
                  <a:lnTo>
                    <a:pt x="368" y="157"/>
                  </a:lnTo>
                  <a:lnTo>
                    <a:pt x="370" y="163"/>
                  </a:lnTo>
                  <a:lnTo>
                    <a:pt x="371" y="170"/>
                  </a:lnTo>
                  <a:lnTo>
                    <a:pt x="374" y="179"/>
                  </a:lnTo>
                  <a:lnTo>
                    <a:pt x="375" y="182"/>
                  </a:lnTo>
                  <a:lnTo>
                    <a:pt x="375" y="184"/>
                  </a:lnTo>
                  <a:lnTo>
                    <a:pt x="375" y="187"/>
                  </a:lnTo>
                  <a:lnTo>
                    <a:pt x="375" y="193"/>
                  </a:lnTo>
                  <a:lnTo>
                    <a:pt x="375" y="196"/>
                  </a:lnTo>
                  <a:lnTo>
                    <a:pt x="375" y="199"/>
                  </a:lnTo>
                  <a:lnTo>
                    <a:pt x="375" y="201"/>
                  </a:lnTo>
                  <a:lnTo>
                    <a:pt x="376" y="204"/>
                  </a:lnTo>
                  <a:lnTo>
                    <a:pt x="377" y="205"/>
                  </a:lnTo>
                  <a:lnTo>
                    <a:pt x="382" y="216"/>
                  </a:lnTo>
                  <a:lnTo>
                    <a:pt x="384" y="219"/>
                  </a:lnTo>
                  <a:lnTo>
                    <a:pt x="385" y="222"/>
                  </a:lnTo>
                  <a:lnTo>
                    <a:pt x="386" y="225"/>
                  </a:lnTo>
                  <a:lnTo>
                    <a:pt x="387" y="227"/>
                  </a:lnTo>
                  <a:lnTo>
                    <a:pt x="387" y="228"/>
                  </a:lnTo>
                  <a:lnTo>
                    <a:pt x="388" y="230"/>
                  </a:lnTo>
                  <a:lnTo>
                    <a:pt x="388" y="231"/>
                  </a:lnTo>
                  <a:lnTo>
                    <a:pt x="387" y="233"/>
                  </a:lnTo>
                  <a:lnTo>
                    <a:pt x="387" y="236"/>
                  </a:lnTo>
                  <a:lnTo>
                    <a:pt x="386" y="239"/>
                  </a:lnTo>
                  <a:lnTo>
                    <a:pt x="384" y="245"/>
                  </a:lnTo>
                  <a:lnTo>
                    <a:pt x="383" y="249"/>
                  </a:lnTo>
                  <a:lnTo>
                    <a:pt x="381" y="253"/>
                  </a:lnTo>
                  <a:lnTo>
                    <a:pt x="380" y="258"/>
                  </a:lnTo>
                  <a:lnTo>
                    <a:pt x="380" y="261"/>
                  </a:lnTo>
                  <a:lnTo>
                    <a:pt x="380" y="264"/>
                  </a:lnTo>
                  <a:lnTo>
                    <a:pt x="380" y="266"/>
                  </a:lnTo>
                  <a:lnTo>
                    <a:pt x="380" y="269"/>
                  </a:lnTo>
                  <a:lnTo>
                    <a:pt x="380" y="271"/>
                  </a:lnTo>
                  <a:lnTo>
                    <a:pt x="381" y="272"/>
                  </a:lnTo>
                  <a:lnTo>
                    <a:pt x="385" y="279"/>
                  </a:lnTo>
                  <a:lnTo>
                    <a:pt x="388" y="285"/>
                  </a:lnTo>
                  <a:lnTo>
                    <a:pt x="391" y="292"/>
                  </a:lnTo>
                  <a:lnTo>
                    <a:pt x="393" y="295"/>
                  </a:lnTo>
                  <a:lnTo>
                    <a:pt x="394" y="297"/>
                  </a:lnTo>
                  <a:lnTo>
                    <a:pt x="398" y="302"/>
                  </a:lnTo>
                  <a:lnTo>
                    <a:pt x="403" y="309"/>
                  </a:lnTo>
                  <a:lnTo>
                    <a:pt x="407" y="314"/>
                  </a:lnTo>
                  <a:lnTo>
                    <a:pt x="409" y="317"/>
                  </a:lnTo>
                  <a:lnTo>
                    <a:pt x="411" y="320"/>
                  </a:lnTo>
                  <a:lnTo>
                    <a:pt x="413" y="322"/>
                  </a:lnTo>
                  <a:lnTo>
                    <a:pt x="413" y="325"/>
                  </a:lnTo>
                  <a:lnTo>
                    <a:pt x="414" y="328"/>
                  </a:lnTo>
                  <a:lnTo>
                    <a:pt x="414" y="329"/>
                  </a:lnTo>
                  <a:lnTo>
                    <a:pt x="414" y="330"/>
                  </a:lnTo>
                  <a:lnTo>
                    <a:pt x="414" y="331"/>
                  </a:lnTo>
                  <a:lnTo>
                    <a:pt x="413" y="332"/>
                  </a:lnTo>
                  <a:lnTo>
                    <a:pt x="413" y="333"/>
                  </a:lnTo>
                  <a:lnTo>
                    <a:pt x="412" y="335"/>
                  </a:lnTo>
                  <a:lnTo>
                    <a:pt x="411" y="336"/>
                  </a:lnTo>
                  <a:lnTo>
                    <a:pt x="409" y="337"/>
                  </a:lnTo>
                  <a:lnTo>
                    <a:pt x="405" y="339"/>
                  </a:lnTo>
                  <a:lnTo>
                    <a:pt x="402" y="340"/>
                  </a:lnTo>
                  <a:lnTo>
                    <a:pt x="395" y="343"/>
                  </a:lnTo>
                  <a:lnTo>
                    <a:pt x="385" y="347"/>
                  </a:lnTo>
                  <a:lnTo>
                    <a:pt x="385" y="348"/>
                  </a:lnTo>
                  <a:lnTo>
                    <a:pt x="384" y="348"/>
                  </a:lnTo>
                  <a:lnTo>
                    <a:pt x="384" y="347"/>
                  </a:lnTo>
                  <a:lnTo>
                    <a:pt x="382" y="345"/>
                  </a:lnTo>
                  <a:lnTo>
                    <a:pt x="381" y="344"/>
                  </a:lnTo>
                  <a:lnTo>
                    <a:pt x="380" y="343"/>
                  </a:lnTo>
                  <a:lnTo>
                    <a:pt x="378" y="342"/>
                  </a:lnTo>
                  <a:lnTo>
                    <a:pt x="376" y="341"/>
                  </a:lnTo>
                  <a:lnTo>
                    <a:pt x="373" y="340"/>
                  </a:lnTo>
                  <a:lnTo>
                    <a:pt x="371" y="340"/>
                  </a:lnTo>
                  <a:lnTo>
                    <a:pt x="369" y="340"/>
                  </a:lnTo>
                  <a:lnTo>
                    <a:pt x="368" y="340"/>
                  </a:lnTo>
                  <a:lnTo>
                    <a:pt x="366" y="340"/>
                  </a:lnTo>
                  <a:lnTo>
                    <a:pt x="364" y="340"/>
                  </a:lnTo>
                  <a:lnTo>
                    <a:pt x="358" y="341"/>
                  </a:lnTo>
                  <a:lnTo>
                    <a:pt x="352" y="344"/>
                  </a:lnTo>
                  <a:lnTo>
                    <a:pt x="350" y="344"/>
                  </a:lnTo>
                  <a:lnTo>
                    <a:pt x="348" y="344"/>
                  </a:lnTo>
                  <a:lnTo>
                    <a:pt x="346" y="345"/>
                  </a:lnTo>
                  <a:lnTo>
                    <a:pt x="344" y="344"/>
                  </a:lnTo>
                  <a:lnTo>
                    <a:pt x="340" y="343"/>
                  </a:lnTo>
                  <a:lnTo>
                    <a:pt x="337" y="342"/>
                  </a:lnTo>
                  <a:lnTo>
                    <a:pt x="334" y="341"/>
                  </a:lnTo>
                  <a:lnTo>
                    <a:pt x="333" y="340"/>
                  </a:lnTo>
                  <a:lnTo>
                    <a:pt x="330" y="338"/>
                  </a:lnTo>
                  <a:lnTo>
                    <a:pt x="327" y="335"/>
                  </a:lnTo>
                  <a:lnTo>
                    <a:pt x="324" y="332"/>
                  </a:lnTo>
                  <a:lnTo>
                    <a:pt x="322" y="329"/>
                  </a:lnTo>
                  <a:lnTo>
                    <a:pt x="320" y="327"/>
                  </a:lnTo>
                  <a:lnTo>
                    <a:pt x="316" y="321"/>
                  </a:lnTo>
                  <a:lnTo>
                    <a:pt x="314" y="320"/>
                  </a:lnTo>
                  <a:lnTo>
                    <a:pt x="313" y="318"/>
                  </a:lnTo>
                  <a:lnTo>
                    <a:pt x="312" y="317"/>
                  </a:lnTo>
                  <a:lnTo>
                    <a:pt x="310" y="317"/>
                  </a:lnTo>
                  <a:lnTo>
                    <a:pt x="308" y="317"/>
                  </a:lnTo>
                  <a:lnTo>
                    <a:pt x="307" y="317"/>
                  </a:lnTo>
                  <a:lnTo>
                    <a:pt x="306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3" y="318"/>
                  </a:lnTo>
                  <a:lnTo>
                    <a:pt x="301" y="322"/>
                  </a:lnTo>
                  <a:lnTo>
                    <a:pt x="300" y="323"/>
                  </a:lnTo>
                  <a:lnTo>
                    <a:pt x="294" y="328"/>
                  </a:lnTo>
                  <a:lnTo>
                    <a:pt x="290" y="331"/>
                  </a:lnTo>
                  <a:lnTo>
                    <a:pt x="289" y="332"/>
                  </a:lnTo>
                  <a:lnTo>
                    <a:pt x="284" y="337"/>
                  </a:lnTo>
                  <a:lnTo>
                    <a:pt x="281" y="339"/>
                  </a:lnTo>
                  <a:lnTo>
                    <a:pt x="279" y="340"/>
                  </a:lnTo>
                  <a:lnTo>
                    <a:pt x="278" y="342"/>
                  </a:lnTo>
                  <a:lnTo>
                    <a:pt x="277" y="344"/>
                  </a:lnTo>
                  <a:lnTo>
                    <a:pt x="277" y="346"/>
                  </a:lnTo>
                  <a:lnTo>
                    <a:pt x="277" y="348"/>
                  </a:lnTo>
                  <a:lnTo>
                    <a:pt x="277" y="351"/>
                  </a:lnTo>
                  <a:lnTo>
                    <a:pt x="277" y="352"/>
                  </a:lnTo>
                  <a:lnTo>
                    <a:pt x="277" y="355"/>
                  </a:lnTo>
                  <a:lnTo>
                    <a:pt x="278" y="363"/>
                  </a:lnTo>
                  <a:lnTo>
                    <a:pt x="278" y="365"/>
                  </a:lnTo>
                  <a:lnTo>
                    <a:pt x="278" y="366"/>
                  </a:lnTo>
                  <a:lnTo>
                    <a:pt x="278" y="368"/>
                  </a:lnTo>
                  <a:lnTo>
                    <a:pt x="277" y="371"/>
                  </a:lnTo>
                  <a:lnTo>
                    <a:pt x="276" y="374"/>
                  </a:lnTo>
                  <a:lnTo>
                    <a:pt x="275" y="375"/>
                  </a:lnTo>
                  <a:lnTo>
                    <a:pt x="274" y="376"/>
                  </a:lnTo>
                  <a:lnTo>
                    <a:pt x="272" y="377"/>
                  </a:lnTo>
                  <a:lnTo>
                    <a:pt x="267" y="380"/>
                  </a:lnTo>
                  <a:lnTo>
                    <a:pt x="266" y="381"/>
                  </a:lnTo>
                  <a:lnTo>
                    <a:pt x="263" y="384"/>
                  </a:lnTo>
                  <a:lnTo>
                    <a:pt x="262" y="385"/>
                  </a:lnTo>
                  <a:lnTo>
                    <a:pt x="261" y="385"/>
                  </a:lnTo>
                  <a:lnTo>
                    <a:pt x="258" y="385"/>
                  </a:lnTo>
                  <a:lnTo>
                    <a:pt x="255" y="386"/>
                  </a:lnTo>
                  <a:lnTo>
                    <a:pt x="252" y="386"/>
                  </a:lnTo>
                  <a:lnTo>
                    <a:pt x="249" y="386"/>
                  </a:lnTo>
                  <a:lnTo>
                    <a:pt x="245" y="386"/>
                  </a:lnTo>
                  <a:lnTo>
                    <a:pt x="243" y="386"/>
                  </a:lnTo>
                  <a:lnTo>
                    <a:pt x="243" y="385"/>
                  </a:lnTo>
                  <a:lnTo>
                    <a:pt x="241" y="385"/>
                  </a:lnTo>
                  <a:lnTo>
                    <a:pt x="240" y="385"/>
                  </a:lnTo>
                  <a:lnTo>
                    <a:pt x="239" y="384"/>
                  </a:lnTo>
                  <a:lnTo>
                    <a:pt x="238" y="383"/>
                  </a:lnTo>
                  <a:lnTo>
                    <a:pt x="236" y="380"/>
                  </a:lnTo>
                  <a:lnTo>
                    <a:pt x="234" y="378"/>
                  </a:lnTo>
                  <a:lnTo>
                    <a:pt x="234" y="377"/>
                  </a:lnTo>
                  <a:lnTo>
                    <a:pt x="234" y="375"/>
                  </a:lnTo>
                  <a:lnTo>
                    <a:pt x="233" y="374"/>
                  </a:lnTo>
                  <a:lnTo>
                    <a:pt x="232" y="370"/>
                  </a:lnTo>
                  <a:lnTo>
                    <a:pt x="231" y="368"/>
                  </a:lnTo>
                  <a:lnTo>
                    <a:pt x="231" y="367"/>
                  </a:lnTo>
                  <a:lnTo>
                    <a:pt x="230" y="366"/>
                  </a:lnTo>
                  <a:lnTo>
                    <a:pt x="229" y="365"/>
                  </a:lnTo>
                  <a:lnTo>
                    <a:pt x="228" y="364"/>
                  </a:lnTo>
                  <a:lnTo>
                    <a:pt x="227" y="364"/>
                  </a:lnTo>
                  <a:lnTo>
                    <a:pt x="225" y="364"/>
                  </a:lnTo>
                  <a:lnTo>
                    <a:pt x="221" y="364"/>
                  </a:lnTo>
                  <a:lnTo>
                    <a:pt x="219" y="364"/>
                  </a:lnTo>
                  <a:lnTo>
                    <a:pt x="217" y="364"/>
                  </a:lnTo>
                  <a:lnTo>
                    <a:pt x="215" y="363"/>
                  </a:lnTo>
                  <a:lnTo>
                    <a:pt x="210" y="362"/>
                  </a:lnTo>
                  <a:lnTo>
                    <a:pt x="206" y="360"/>
                  </a:lnTo>
                  <a:lnTo>
                    <a:pt x="203" y="358"/>
                  </a:lnTo>
                  <a:lnTo>
                    <a:pt x="197" y="354"/>
                  </a:lnTo>
                  <a:lnTo>
                    <a:pt x="193" y="353"/>
                  </a:lnTo>
                  <a:lnTo>
                    <a:pt x="191" y="352"/>
                  </a:lnTo>
                  <a:lnTo>
                    <a:pt x="187" y="351"/>
                  </a:lnTo>
                  <a:lnTo>
                    <a:pt x="180" y="350"/>
                  </a:lnTo>
                  <a:lnTo>
                    <a:pt x="177" y="349"/>
                  </a:lnTo>
                  <a:lnTo>
                    <a:pt x="173" y="347"/>
                  </a:lnTo>
                  <a:lnTo>
                    <a:pt x="166" y="344"/>
                  </a:lnTo>
                  <a:lnTo>
                    <a:pt x="164" y="343"/>
                  </a:lnTo>
                  <a:lnTo>
                    <a:pt x="161" y="341"/>
                  </a:lnTo>
                  <a:lnTo>
                    <a:pt x="157" y="340"/>
                  </a:lnTo>
                  <a:lnTo>
                    <a:pt x="155" y="340"/>
                  </a:lnTo>
                  <a:lnTo>
                    <a:pt x="152" y="340"/>
                  </a:lnTo>
                  <a:lnTo>
                    <a:pt x="151" y="340"/>
                  </a:lnTo>
                  <a:lnTo>
                    <a:pt x="148" y="340"/>
                  </a:lnTo>
                  <a:lnTo>
                    <a:pt x="146" y="340"/>
                  </a:lnTo>
                  <a:lnTo>
                    <a:pt x="145" y="341"/>
                  </a:lnTo>
                  <a:lnTo>
                    <a:pt x="144" y="341"/>
                  </a:lnTo>
                  <a:lnTo>
                    <a:pt x="142" y="342"/>
                  </a:lnTo>
                  <a:lnTo>
                    <a:pt x="141" y="343"/>
                  </a:lnTo>
                  <a:lnTo>
                    <a:pt x="140" y="345"/>
                  </a:lnTo>
                  <a:lnTo>
                    <a:pt x="137" y="347"/>
                  </a:lnTo>
                  <a:lnTo>
                    <a:pt x="135" y="349"/>
                  </a:lnTo>
                  <a:lnTo>
                    <a:pt x="130" y="353"/>
                  </a:lnTo>
                  <a:lnTo>
                    <a:pt x="126" y="360"/>
                  </a:lnTo>
                  <a:lnTo>
                    <a:pt x="123" y="363"/>
                  </a:lnTo>
                  <a:lnTo>
                    <a:pt x="122" y="364"/>
                  </a:lnTo>
                  <a:lnTo>
                    <a:pt x="121" y="365"/>
                  </a:lnTo>
                  <a:lnTo>
                    <a:pt x="119" y="366"/>
                  </a:lnTo>
                  <a:lnTo>
                    <a:pt x="117" y="367"/>
                  </a:lnTo>
                  <a:lnTo>
                    <a:pt x="114" y="368"/>
                  </a:lnTo>
                  <a:lnTo>
                    <a:pt x="111" y="368"/>
                  </a:lnTo>
                  <a:lnTo>
                    <a:pt x="109" y="368"/>
                  </a:lnTo>
                  <a:lnTo>
                    <a:pt x="107" y="368"/>
                  </a:lnTo>
                  <a:lnTo>
                    <a:pt x="105" y="367"/>
                  </a:lnTo>
                  <a:lnTo>
                    <a:pt x="102" y="367"/>
                  </a:lnTo>
                  <a:lnTo>
                    <a:pt x="98" y="365"/>
                  </a:lnTo>
                  <a:lnTo>
                    <a:pt x="96" y="364"/>
                  </a:lnTo>
                  <a:lnTo>
                    <a:pt x="92" y="363"/>
                  </a:lnTo>
                  <a:lnTo>
                    <a:pt x="88" y="362"/>
                  </a:lnTo>
                  <a:lnTo>
                    <a:pt x="83" y="359"/>
                  </a:lnTo>
                  <a:lnTo>
                    <a:pt x="73" y="353"/>
                  </a:lnTo>
                  <a:lnTo>
                    <a:pt x="62" y="347"/>
                  </a:lnTo>
                  <a:lnTo>
                    <a:pt x="59" y="345"/>
                  </a:lnTo>
                  <a:lnTo>
                    <a:pt x="57" y="344"/>
                  </a:lnTo>
                  <a:lnTo>
                    <a:pt x="56" y="342"/>
                  </a:lnTo>
                  <a:lnTo>
                    <a:pt x="55" y="342"/>
                  </a:lnTo>
                  <a:lnTo>
                    <a:pt x="56" y="342"/>
                  </a:lnTo>
                  <a:lnTo>
                    <a:pt x="55" y="341"/>
                  </a:lnTo>
                  <a:lnTo>
                    <a:pt x="53" y="340"/>
                  </a:lnTo>
                  <a:lnTo>
                    <a:pt x="53" y="340"/>
                  </a:lnTo>
                  <a:lnTo>
                    <a:pt x="52" y="340"/>
                  </a:lnTo>
                  <a:lnTo>
                    <a:pt x="51" y="339"/>
                  </a:lnTo>
                  <a:lnTo>
                    <a:pt x="48" y="336"/>
                  </a:lnTo>
                  <a:lnTo>
                    <a:pt x="45" y="334"/>
                  </a:lnTo>
                  <a:lnTo>
                    <a:pt x="43" y="333"/>
                  </a:lnTo>
                  <a:lnTo>
                    <a:pt x="41" y="332"/>
                  </a:lnTo>
                  <a:lnTo>
                    <a:pt x="39" y="331"/>
                  </a:lnTo>
                  <a:lnTo>
                    <a:pt x="38" y="331"/>
                  </a:lnTo>
                  <a:lnTo>
                    <a:pt x="36" y="330"/>
                  </a:lnTo>
                  <a:lnTo>
                    <a:pt x="33" y="330"/>
                  </a:lnTo>
                  <a:lnTo>
                    <a:pt x="31" y="330"/>
                  </a:lnTo>
                  <a:lnTo>
                    <a:pt x="27" y="329"/>
                  </a:lnTo>
                  <a:lnTo>
                    <a:pt x="24" y="328"/>
                  </a:lnTo>
                  <a:lnTo>
                    <a:pt x="22" y="328"/>
                  </a:lnTo>
                  <a:lnTo>
                    <a:pt x="21" y="327"/>
                  </a:lnTo>
                  <a:lnTo>
                    <a:pt x="19" y="326"/>
                  </a:lnTo>
                  <a:lnTo>
                    <a:pt x="18" y="325"/>
                  </a:lnTo>
                  <a:lnTo>
                    <a:pt x="17" y="324"/>
                  </a:lnTo>
                  <a:lnTo>
                    <a:pt x="16" y="322"/>
                  </a:lnTo>
                  <a:lnTo>
                    <a:pt x="16" y="320"/>
                  </a:lnTo>
                  <a:lnTo>
                    <a:pt x="15" y="317"/>
                  </a:lnTo>
                  <a:lnTo>
                    <a:pt x="15" y="315"/>
                  </a:lnTo>
                  <a:lnTo>
                    <a:pt x="13" y="307"/>
                  </a:lnTo>
                  <a:lnTo>
                    <a:pt x="12" y="305"/>
                  </a:lnTo>
                  <a:lnTo>
                    <a:pt x="12" y="303"/>
                  </a:lnTo>
                  <a:lnTo>
                    <a:pt x="11" y="302"/>
                  </a:lnTo>
                  <a:lnTo>
                    <a:pt x="10" y="301"/>
                  </a:lnTo>
                  <a:lnTo>
                    <a:pt x="9" y="299"/>
                  </a:lnTo>
                  <a:lnTo>
                    <a:pt x="6" y="297"/>
                  </a:lnTo>
                  <a:lnTo>
                    <a:pt x="1" y="294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1" y="293"/>
                  </a:lnTo>
                  <a:lnTo>
                    <a:pt x="4" y="292"/>
                  </a:lnTo>
                  <a:lnTo>
                    <a:pt x="5" y="291"/>
                  </a:lnTo>
                  <a:lnTo>
                    <a:pt x="6" y="290"/>
                  </a:lnTo>
                  <a:lnTo>
                    <a:pt x="10" y="288"/>
                  </a:lnTo>
                  <a:lnTo>
                    <a:pt x="12" y="286"/>
                  </a:lnTo>
                  <a:lnTo>
                    <a:pt x="14" y="284"/>
                  </a:lnTo>
                  <a:lnTo>
                    <a:pt x="16" y="283"/>
                  </a:lnTo>
                  <a:lnTo>
                    <a:pt x="16" y="282"/>
                  </a:lnTo>
                  <a:lnTo>
                    <a:pt x="16" y="280"/>
                  </a:lnTo>
                  <a:lnTo>
                    <a:pt x="16" y="276"/>
                  </a:lnTo>
                  <a:lnTo>
                    <a:pt x="16" y="273"/>
                  </a:lnTo>
                  <a:lnTo>
                    <a:pt x="16" y="269"/>
                  </a:lnTo>
                  <a:lnTo>
                    <a:pt x="16" y="268"/>
                  </a:lnTo>
                  <a:lnTo>
                    <a:pt x="17" y="266"/>
                  </a:lnTo>
                  <a:lnTo>
                    <a:pt x="17" y="266"/>
                  </a:lnTo>
                  <a:lnTo>
                    <a:pt x="18" y="265"/>
                  </a:lnTo>
                  <a:lnTo>
                    <a:pt x="21" y="261"/>
                  </a:lnTo>
                  <a:lnTo>
                    <a:pt x="22" y="260"/>
                  </a:lnTo>
                  <a:lnTo>
                    <a:pt x="25" y="255"/>
                  </a:lnTo>
                  <a:lnTo>
                    <a:pt x="26" y="254"/>
                  </a:lnTo>
                  <a:lnTo>
                    <a:pt x="27" y="252"/>
                  </a:lnTo>
                  <a:lnTo>
                    <a:pt x="28" y="251"/>
                  </a:lnTo>
                  <a:lnTo>
                    <a:pt x="29" y="251"/>
                  </a:lnTo>
                  <a:lnTo>
                    <a:pt x="29" y="249"/>
                  </a:lnTo>
                  <a:lnTo>
                    <a:pt x="30" y="249"/>
                  </a:lnTo>
                  <a:lnTo>
                    <a:pt x="31" y="245"/>
                  </a:lnTo>
                  <a:lnTo>
                    <a:pt x="32" y="242"/>
                  </a:lnTo>
                  <a:lnTo>
                    <a:pt x="33" y="238"/>
                  </a:lnTo>
                  <a:lnTo>
                    <a:pt x="34" y="237"/>
                  </a:lnTo>
                  <a:lnTo>
                    <a:pt x="34" y="235"/>
                  </a:lnTo>
                  <a:lnTo>
                    <a:pt x="37" y="231"/>
                  </a:lnTo>
                  <a:lnTo>
                    <a:pt x="39" y="228"/>
                  </a:lnTo>
                  <a:lnTo>
                    <a:pt x="39" y="227"/>
                  </a:lnTo>
                  <a:lnTo>
                    <a:pt x="39" y="227"/>
                  </a:lnTo>
                  <a:lnTo>
                    <a:pt x="39" y="228"/>
                  </a:lnTo>
                  <a:lnTo>
                    <a:pt x="40" y="228"/>
                  </a:lnTo>
                  <a:lnTo>
                    <a:pt x="42" y="228"/>
                  </a:lnTo>
                  <a:lnTo>
                    <a:pt x="44" y="228"/>
                  </a:lnTo>
                  <a:lnTo>
                    <a:pt x="47" y="227"/>
                  </a:lnTo>
                  <a:lnTo>
                    <a:pt x="57" y="226"/>
                  </a:lnTo>
                  <a:lnTo>
                    <a:pt x="60" y="225"/>
                  </a:lnTo>
                  <a:lnTo>
                    <a:pt x="65" y="225"/>
                  </a:lnTo>
                  <a:lnTo>
                    <a:pt x="69" y="225"/>
                  </a:lnTo>
                  <a:lnTo>
                    <a:pt x="72" y="224"/>
                  </a:lnTo>
                  <a:lnTo>
                    <a:pt x="76" y="223"/>
                  </a:lnTo>
                  <a:lnTo>
                    <a:pt x="78" y="223"/>
                  </a:lnTo>
                  <a:lnTo>
                    <a:pt x="80" y="223"/>
                  </a:lnTo>
                  <a:lnTo>
                    <a:pt x="82" y="223"/>
                  </a:lnTo>
                  <a:lnTo>
                    <a:pt x="85" y="225"/>
                  </a:lnTo>
                  <a:lnTo>
                    <a:pt x="91" y="227"/>
                  </a:lnTo>
                  <a:lnTo>
                    <a:pt x="92" y="228"/>
                  </a:lnTo>
                  <a:lnTo>
                    <a:pt x="94" y="228"/>
                  </a:lnTo>
                  <a:lnTo>
                    <a:pt x="96" y="228"/>
                  </a:lnTo>
                  <a:lnTo>
                    <a:pt x="96" y="227"/>
                  </a:lnTo>
                  <a:lnTo>
                    <a:pt x="99" y="227"/>
                  </a:lnTo>
                  <a:lnTo>
                    <a:pt x="102" y="225"/>
                  </a:lnTo>
                  <a:lnTo>
                    <a:pt x="103" y="224"/>
                  </a:lnTo>
                  <a:lnTo>
                    <a:pt x="105" y="224"/>
                  </a:lnTo>
                  <a:lnTo>
                    <a:pt x="107" y="224"/>
                  </a:lnTo>
                  <a:lnTo>
                    <a:pt x="108" y="223"/>
                  </a:lnTo>
                  <a:lnTo>
                    <a:pt x="109" y="224"/>
                  </a:lnTo>
                  <a:lnTo>
                    <a:pt x="113" y="225"/>
                  </a:lnTo>
                  <a:lnTo>
                    <a:pt x="115" y="225"/>
                  </a:lnTo>
                  <a:lnTo>
                    <a:pt x="116" y="226"/>
                  </a:lnTo>
                  <a:lnTo>
                    <a:pt x="118" y="225"/>
                  </a:lnTo>
                  <a:lnTo>
                    <a:pt x="119" y="225"/>
                  </a:lnTo>
                  <a:lnTo>
                    <a:pt x="120" y="224"/>
                  </a:lnTo>
                  <a:lnTo>
                    <a:pt x="121" y="224"/>
                  </a:lnTo>
                  <a:lnTo>
                    <a:pt x="123" y="223"/>
                  </a:lnTo>
                  <a:lnTo>
                    <a:pt x="124" y="222"/>
                  </a:lnTo>
                  <a:lnTo>
                    <a:pt x="125" y="221"/>
                  </a:lnTo>
                  <a:lnTo>
                    <a:pt x="128" y="218"/>
                  </a:lnTo>
                  <a:lnTo>
                    <a:pt x="130" y="216"/>
                  </a:lnTo>
                  <a:lnTo>
                    <a:pt x="131" y="215"/>
                  </a:lnTo>
                  <a:lnTo>
                    <a:pt x="133" y="214"/>
                  </a:lnTo>
                  <a:lnTo>
                    <a:pt x="135" y="214"/>
                  </a:lnTo>
                  <a:lnTo>
                    <a:pt x="136" y="213"/>
                  </a:lnTo>
                  <a:lnTo>
                    <a:pt x="138" y="213"/>
                  </a:lnTo>
                  <a:lnTo>
                    <a:pt x="141" y="213"/>
                  </a:lnTo>
                  <a:lnTo>
                    <a:pt x="142" y="212"/>
                  </a:lnTo>
                  <a:lnTo>
                    <a:pt x="148" y="212"/>
                  </a:lnTo>
                  <a:lnTo>
                    <a:pt x="151" y="212"/>
                  </a:lnTo>
                  <a:lnTo>
                    <a:pt x="153" y="212"/>
                  </a:lnTo>
                  <a:lnTo>
                    <a:pt x="155" y="211"/>
                  </a:lnTo>
                  <a:lnTo>
                    <a:pt x="158" y="210"/>
                  </a:lnTo>
                  <a:lnTo>
                    <a:pt x="166" y="206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3" y="201"/>
                  </a:lnTo>
                  <a:lnTo>
                    <a:pt x="175" y="199"/>
                  </a:lnTo>
                  <a:lnTo>
                    <a:pt x="176" y="197"/>
                  </a:lnTo>
                  <a:lnTo>
                    <a:pt x="183" y="187"/>
                  </a:lnTo>
                  <a:lnTo>
                    <a:pt x="184" y="184"/>
                  </a:lnTo>
                  <a:lnTo>
                    <a:pt x="185" y="182"/>
                  </a:lnTo>
                  <a:lnTo>
                    <a:pt x="187" y="174"/>
                  </a:lnTo>
                  <a:lnTo>
                    <a:pt x="189" y="170"/>
                  </a:lnTo>
                  <a:lnTo>
                    <a:pt x="190" y="167"/>
                  </a:lnTo>
                  <a:lnTo>
                    <a:pt x="191" y="166"/>
                  </a:lnTo>
                  <a:lnTo>
                    <a:pt x="192" y="165"/>
                  </a:lnTo>
                  <a:lnTo>
                    <a:pt x="197" y="159"/>
                  </a:lnTo>
                  <a:lnTo>
                    <a:pt x="199" y="157"/>
                  </a:lnTo>
                  <a:lnTo>
                    <a:pt x="202" y="155"/>
                  </a:lnTo>
                  <a:lnTo>
                    <a:pt x="205" y="153"/>
                  </a:lnTo>
                  <a:lnTo>
                    <a:pt x="207" y="152"/>
                  </a:lnTo>
                  <a:lnTo>
                    <a:pt x="209" y="151"/>
                  </a:lnTo>
                  <a:lnTo>
                    <a:pt x="211" y="150"/>
                  </a:lnTo>
                  <a:lnTo>
                    <a:pt x="216" y="148"/>
                  </a:lnTo>
                  <a:lnTo>
                    <a:pt x="218" y="147"/>
                  </a:lnTo>
                  <a:lnTo>
                    <a:pt x="220" y="147"/>
                  </a:lnTo>
                  <a:lnTo>
                    <a:pt x="221" y="146"/>
                  </a:lnTo>
                  <a:lnTo>
                    <a:pt x="222" y="145"/>
                  </a:lnTo>
                  <a:lnTo>
                    <a:pt x="223" y="143"/>
                  </a:lnTo>
                  <a:lnTo>
                    <a:pt x="224" y="141"/>
                  </a:lnTo>
                  <a:lnTo>
                    <a:pt x="225" y="137"/>
                  </a:lnTo>
                  <a:lnTo>
                    <a:pt x="226" y="135"/>
                  </a:lnTo>
                  <a:lnTo>
                    <a:pt x="226" y="131"/>
                  </a:lnTo>
                  <a:lnTo>
                    <a:pt x="226" y="126"/>
                  </a:lnTo>
                  <a:lnTo>
                    <a:pt x="226" y="114"/>
                  </a:lnTo>
                  <a:lnTo>
                    <a:pt x="226" y="109"/>
                  </a:lnTo>
                  <a:lnTo>
                    <a:pt x="224" y="94"/>
                  </a:lnTo>
                  <a:lnTo>
                    <a:pt x="222" y="80"/>
                  </a:lnTo>
                  <a:lnTo>
                    <a:pt x="222" y="74"/>
                  </a:lnTo>
                  <a:lnTo>
                    <a:pt x="222" y="72"/>
                  </a:lnTo>
                  <a:lnTo>
                    <a:pt x="222" y="70"/>
                  </a:lnTo>
                  <a:lnTo>
                    <a:pt x="223" y="68"/>
                  </a:lnTo>
                  <a:lnTo>
                    <a:pt x="223" y="67"/>
                  </a:lnTo>
                  <a:lnTo>
                    <a:pt x="224" y="65"/>
                  </a:lnTo>
                  <a:lnTo>
                    <a:pt x="225" y="63"/>
                  </a:lnTo>
                  <a:lnTo>
                    <a:pt x="227" y="60"/>
                  </a:lnTo>
                  <a:lnTo>
                    <a:pt x="232" y="54"/>
                  </a:lnTo>
                  <a:lnTo>
                    <a:pt x="234" y="51"/>
                  </a:lnTo>
                  <a:lnTo>
                    <a:pt x="235" y="48"/>
                  </a:lnTo>
                  <a:lnTo>
                    <a:pt x="236" y="44"/>
                  </a:lnTo>
                  <a:lnTo>
                    <a:pt x="238" y="39"/>
                  </a:lnTo>
                  <a:lnTo>
                    <a:pt x="240" y="37"/>
                  </a:lnTo>
                  <a:lnTo>
                    <a:pt x="243" y="34"/>
                  </a:lnTo>
                  <a:lnTo>
                    <a:pt x="244" y="32"/>
                  </a:lnTo>
                  <a:lnTo>
                    <a:pt x="248" y="28"/>
                  </a:lnTo>
                  <a:lnTo>
                    <a:pt x="249" y="26"/>
                  </a:lnTo>
                  <a:lnTo>
                    <a:pt x="251" y="23"/>
                  </a:lnTo>
                  <a:lnTo>
                    <a:pt x="254" y="19"/>
                  </a:lnTo>
                  <a:lnTo>
                    <a:pt x="255" y="13"/>
                  </a:lnTo>
                  <a:lnTo>
                    <a:pt x="257" y="11"/>
                  </a:lnTo>
                  <a:lnTo>
                    <a:pt x="257" y="9"/>
                  </a:lnTo>
                  <a:lnTo>
                    <a:pt x="258" y="7"/>
                  </a:lnTo>
                  <a:lnTo>
                    <a:pt x="259" y="6"/>
                  </a:lnTo>
                  <a:lnTo>
                    <a:pt x="261" y="5"/>
                  </a:lnTo>
                  <a:lnTo>
                    <a:pt x="262" y="4"/>
                  </a:lnTo>
                  <a:lnTo>
                    <a:pt x="263" y="3"/>
                  </a:lnTo>
                  <a:lnTo>
                    <a:pt x="264" y="2"/>
                  </a:lnTo>
                  <a:lnTo>
                    <a:pt x="266" y="1"/>
                  </a:lnTo>
                  <a:lnTo>
                    <a:pt x="268" y="1"/>
                  </a:lnTo>
                  <a:lnTo>
                    <a:pt x="271" y="0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3" name="Freeform 46">
              <a:extLst>
                <a:ext uri="{FF2B5EF4-FFF2-40B4-BE49-F238E27FC236}">
                  <a16:creationId xmlns:a16="http://schemas.microsoft.com/office/drawing/2014/main" id="{47845F8A-5D9D-4A3F-923A-C7FEED0D1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5" y="1809"/>
              <a:ext cx="540" cy="295"/>
            </a:xfrm>
            <a:custGeom>
              <a:avLst/>
              <a:gdLst>
                <a:gd name="T0" fmla="*/ 144 w 540"/>
                <a:gd name="T1" fmla="*/ 31 h 295"/>
                <a:gd name="T2" fmla="*/ 179 w 540"/>
                <a:gd name="T3" fmla="*/ 53 h 295"/>
                <a:gd name="T4" fmla="*/ 189 w 540"/>
                <a:gd name="T5" fmla="*/ 63 h 295"/>
                <a:gd name="T6" fmla="*/ 207 w 540"/>
                <a:gd name="T7" fmla="*/ 54 h 295"/>
                <a:gd name="T8" fmla="*/ 232 w 540"/>
                <a:gd name="T9" fmla="*/ 30 h 295"/>
                <a:gd name="T10" fmla="*/ 268 w 540"/>
                <a:gd name="T11" fmla="*/ 35 h 295"/>
                <a:gd name="T12" fmla="*/ 288 w 540"/>
                <a:gd name="T13" fmla="*/ 27 h 295"/>
                <a:gd name="T14" fmla="*/ 297 w 540"/>
                <a:gd name="T15" fmla="*/ 13 h 295"/>
                <a:gd name="T16" fmla="*/ 326 w 540"/>
                <a:gd name="T17" fmla="*/ 0 h 295"/>
                <a:gd name="T18" fmla="*/ 334 w 540"/>
                <a:gd name="T19" fmla="*/ 4 h 295"/>
                <a:gd name="T20" fmla="*/ 346 w 540"/>
                <a:gd name="T21" fmla="*/ 11 h 295"/>
                <a:gd name="T22" fmla="*/ 364 w 540"/>
                <a:gd name="T23" fmla="*/ 15 h 295"/>
                <a:gd name="T24" fmla="*/ 390 w 540"/>
                <a:gd name="T25" fmla="*/ 26 h 295"/>
                <a:gd name="T26" fmla="*/ 404 w 540"/>
                <a:gd name="T27" fmla="*/ 36 h 295"/>
                <a:gd name="T28" fmla="*/ 411 w 540"/>
                <a:gd name="T29" fmla="*/ 55 h 295"/>
                <a:gd name="T30" fmla="*/ 443 w 540"/>
                <a:gd name="T31" fmla="*/ 57 h 295"/>
                <a:gd name="T32" fmla="*/ 467 w 540"/>
                <a:gd name="T33" fmla="*/ 53 h 295"/>
                <a:gd name="T34" fmla="*/ 493 w 540"/>
                <a:gd name="T35" fmla="*/ 95 h 295"/>
                <a:gd name="T36" fmla="*/ 528 w 540"/>
                <a:gd name="T37" fmla="*/ 132 h 295"/>
                <a:gd name="T38" fmla="*/ 540 w 540"/>
                <a:gd name="T39" fmla="*/ 155 h 295"/>
                <a:gd name="T40" fmla="*/ 527 w 540"/>
                <a:gd name="T41" fmla="*/ 175 h 295"/>
                <a:gd name="T42" fmla="*/ 504 w 540"/>
                <a:gd name="T43" fmla="*/ 190 h 295"/>
                <a:gd name="T44" fmla="*/ 502 w 540"/>
                <a:gd name="T45" fmla="*/ 208 h 295"/>
                <a:gd name="T46" fmla="*/ 489 w 540"/>
                <a:gd name="T47" fmla="*/ 221 h 295"/>
                <a:gd name="T48" fmla="*/ 464 w 540"/>
                <a:gd name="T49" fmla="*/ 223 h 295"/>
                <a:gd name="T50" fmla="*/ 431 w 540"/>
                <a:gd name="T51" fmla="*/ 218 h 295"/>
                <a:gd name="T52" fmla="*/ 402 w 540"/>
                <a:gd name="T53" fmla="*/ 237 h 295"/>
                <a:gd name="T54" fmla="*/ 370 w 540"/>
                <a:gd name="T55" fmla="*/ 253 h 295"/>
                <a:gd name="T56" fmla="*/ 352 w 540"/>
                <a:gd name="T57" fmla="*/ 248 h 295"/>
                <a:gd name="T58" fmla="*/ 338 w 540"/>
                <a:gd name="T59" fmla="*/ 218 h 295"/>
                <a:gd name="T60" fmla="*/ 321 w 540"/>
                <a:gd name="T61" fmla="*/ 212 h 295"/>
                <a:gd name="T62" fmla="*/ 301 w 540"/>
                <a:gd name="T63" fmla="*/ 230 h 295"/>
                <a:gd name="T64" fmla="*/ 286 w 540"/>
                <a:gd name="T65" fmla="*/ 251 h 295"/>
                <a:gd name="T66" fmla="*/ 253 w 540"/>
                <a:gd name="T67" fmla="*/ 263 h 295"/>
                <a:gd name="T68" fmla="*/ 228 w 540"/>
                <a:gd name="T69" fmla="*/ 256 h 295"/>
                <a:gd name="T70" fmla="*/ 193 w 540"/>
                <a:gd name="T71" fmla="*/ 254 h 295"/>
                <a:gd name="T72" fmla="*/ 172 w 540"/>
                <a:gd name="T73" fmla="*/ 246 h 295"/>
                <a:gd name="T74" fmla="*/ 152 w 540"/>
                <a:gd name="T75" fmla="*/ 252 h 295"/>
                <a:gd name="T76" fmla="*/ 134 w 540"/>
                <a:gd name="T77" fmla="*/ 263 h 295"/>
                <a:gd name="T78" fmla="*/ 114 w 540"/>
                <a:gd name="T79" fmla="*/ 283 h 295"/>
                <a:gd name="T80" fmla="*/ 89 w 540"/>
                <a:gd name="T81" fmla="*/ 295 h 295"/>
                <a:gd name="T82" fmla="*/ 70 w 540"/>
                <a:gd name="T83" fmla="*/ 291 h 295"/>
                <a:gd name="T84" fmla="*/ 72 w 540"/>
                <a:gd name="T85" fmla="*/ 272 h 295"/>
                <a:gd name="T86" fmla="*/ 61 w 540"/>
                <a:gd name="T87" fmla="*/ 264 h 295"/>
                <a:gd name="T88" fmla="*/ 46 w 540"/>
                <a:gd name="T89" fmla="*/ 253 h 295"/>
                <a:gd name="T90" fmla="*/ 32 w 540"/>
                <a:gd name="T91" fmla="*/ 252 h 295"/>
                <a:gd name="T92" fmla="*/ 0 w 540"/>
                <a:gd name="T93" fmla="*/ 245 h 295"/>
                <a:gd name="T94" fmla="*/ 9 w 540"/>
                <a:gd name="T95" fmla="*/ 233 h 295"/>
                <a:gd name="T96" fmla="*/ 21 w 540"/>
                <a:gd name="T97" fmla="*/ 209 h 295"/>
                <a:gd name="T98" fmla="*/ 35 w 540"/>
                <a:gd name="T99" fmla="*/ 175 h 295"/>
                <a:gd name="T100" fmla="*/ 20 w 540"/>
                <a:gd name="T101" fmla="*/ 146 h 295"/>
                <a:gd name="T102" fmla="*/ 21 w 540"/>
                <a:gd name="T103" fmla="*/ 110 h 295"/>
                <a:gd name="T104" fmla="*/ 36 w 540"/>
                <a:gd name="T105" fmla="*/ 81 h 295"/>
                <a:gd name="T106" fmla="*/ 58 w 540"/>
                <a:gd name="T107" fmla="*/ 65 h 295"/>
                <a:gd name="T108" fmla="*/ 74 w 540"/>
                <a:gd name="T109" fmla="*/ 55 h 295"/>
                <a:gd name="T110" fmla="*/ 81 w 540"/>
                <a:gd name="T111" fmla="*/ 36 h 295"/>
                <a:gd name="T112" fmla="*/ 104 w 540"/>
                <a:gd name="T113" fmla="*/ 36 h 295"/>
                <a:gd name="T114" fmla="*/ 116 w 540"/>
                <a:gd name="T115" fmla="*/ 22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0" h="295">
                  <a:moveTo>
                    <a:pt x="126" y="15"/>
                  </a:moveTo>
                  <a:lnTo>
                    <a:pt x="126" y="15"/>
                  </a:lnTo>
                  <a:lnTo>
                    <a:pt x="126" y="15"/>
                  </a:lnTo>
                  <a:lnTo>
                    <a:pt x="128" y="15"/>
                  </a:lnTo>
                  <a:lnTo>
                    <a:pt x="131" y="17"/>
                  </a:lnTo>
                  <a:lnTo>
                    <a:pt x="133" y="19"/>
                  </a:lnTo>
                  <a:lnTo>
                    <a:pt x="136" y="22"/>
                  </a:lnTo>
                  <a:lnTo>
                    <a:pt x="138" y="24"/>
                  </a:lnTo>
                  <a:lnTo>
                    <a:pt x="144" y="31"/>
                  </a:lnTo>
                  <a:lnTo>
                    <a:pt x="147" y="34"/>
                  </a:lnTo>
                  <a:lnTo>
                    <a:pt x="150" y="37"/>
                  </a:lnTo>
                  <a:lnTo>
                    <a:pt x="156" y="41"/>
                  </a:lnTo>
                  <a:lnTo>
                    <a:pt x="160" y="45"/>
                  </a:lnTo>
                  <a:lnTo>
                    <a:pt x="164" y="47"/>
                  </a:lnTo>
                  <a:lnTo>
                    <a:pt x="167" y="49"/>
                  </a:lnTo>
                  <a:lnTo>
                    <a:pt x="170" y="49"/>
                  </a:lnTo>
                  <a:lnTo>
                    <a:pt x="178" y="52"/>
                  </a:lnTo>
                  <a:lnTo>
                    <a:pt x="179" y="53"/>
                  </a:lnTo>
                  <a:lnTo>
                    <a:pt x="181" y="54"/>
                  </a:lnTo>
                  <a:lnTo>
                    <a:pt x="183" y="55"/>
                  </a:lnTo>
                  <a:lnTo>
                    <a:pt x="183" y="56"/>
                  </a:lnTo>
                  <a:lnTo>
                    <a:pt x="183" y="57"/>
                  </a:lnTo>
                  <a:lnTo>
                    <a:pt x="184" y="59"/>
                  </a:lnTo>
                  <a:lnTo>
                    <a:pt x="185" y="61"/>
                  </a:lnTo>
                  <a:lnTo>
                    <a:pt x="186" y="61"/>
                  </a:lnTo>
                  <a:lnTo>
                    <a:pt x="187" y="62"/>
                  </a:lnTo>
                  <a:lnTo>
                    <a:pt x="189" y="63"/>
                  </a:lnTo>
                  <a:lnTo>
                    <a:pt x="191" y="64"/>
                  </a:lnTo>
                  <a:lnTo>
                    <a:pt x="193" y="64"/>
                  </a:lnTo>
                  <a:lnTo>
                    <a:pt x="195" y="64"/>
                  </a:lnTo>
                  <a:lnTo>
                    <a:pt x="196" y="64"/>
                  </a:lnTo>
                  <a:lnTo>
                    <a:pt x="197" y="64"/>
                  </a:lnTo>
                  <a:lnTo>
                    <a:pt x="200" y="62"/>
                  </a:lnTo>
                  <a:lnTo>
                    <a:pt x="201" y="61"/>
                  </a:lnTo>
                  <a:lnTo>
                    <a:pt x="203" y="60"/>
                  </a:lnTo>
                  <a:lnTo>
                    <a:pt x="207" y="54"/>
                  </a:lnTo>
                  <a:lnTo>
                    <a:pt x="209" y="53"/>
                  </a:lnTo>
                  <a:lnTo>
                    <a:pt x="211" y="51"/>
                  </a:lnTo>
                  <a:lnTo>
                    <a:pt x="217" y="46"/>
                  </a:lnTo>
                  <a:lnTo>
                    <a:pt x="227" y="37"/>
                  </a:lnTo>
                  <a:lnTo>
                    <a:pt x="229" y="35"/>
                  </a:lnTo>
                  <a:lnTo>
                    <a:pt x="230" y="31"/>
                  </a:lnTo>
                  <a:lnTo>
                    <a:pt x="231" y="31"/>
                  </a:lnTo>
                  <a:lnTo>
                    <a:pt x="231" y="30"/>
                  </a:lnTo>
                  <a:lnTo>
                    <a:pt x="232" y="30"/>
                  </a:lnTo>
                  <a:lnTo>
                    <a:pt x="234" y="30"/>
                  </a:lnTo>
                  <a:lnTo>
                    <a:pt x="237" y="31"/>
                  </a:lnTo>
                  <a:lnTo>
                    <a:pt x="241" y="32"/>
                  </a:lnTo>
                  <a:lnTo>
                    <a:pt x="246" y="33"/>
                  </a:lnTo>
                  <a:lnTo>
                    <a:pt x="248" y="34"/>
                  </a:lnTo>
                  <a:lnTo>
                    <a:pt x="254" y="34"/>
                  </a:lnTo>
                  <a:lnTo>
                    <a:pt x="261" y="35"/>
                  </a:lnTo>
                  <a:lnTo>
                    <a:pt x="264" y="35"/>
                  </a:lnTo>
                  <a:lnTo>
                    <a:pt x="268" y="35"/>
                  </a:lnTo>
                  <a:lnTo>
                    <a:pt x="271" y="34"/>
                  </a:lnTo>
                  <a:lnTo>
                    <a:pt x="274" y="34"/>
                  </a:lnTo>
                  <a:lnTo>
                    <a:pt x="276" y="33"/>
                  </a:lnTo>
                  <a:lnTo>
                    <a:pt x="279" y="32"/>
                  </a:lnTo>
                  <a:lnTo>
                    <a:pt x="282" y="30"/>
                  </a:lnTo>
                  <a:lnTo>
                    <a:pt x="284" y="29"/>
                  </a:lnTo>
                  <a:lnTo>
                    <a:pt x="286" y="28"/>
                  </a:lnTo>
                  <a:lnTo>
                    <a:pt x="286" y="27"/>
                  </a:lnTo>
                  <a:lnTo>
                    <a:pt x="288" y="27"/>
                  </a:lnTo>
                  <a:lnTo>
                    <a:pt x="289" y="26"/>
                  </a:lnTo>
                  <a:lnTo>
                    <a:pt x="290" y="24"/>
                  </a:lnTo>
                  <a:lnTo>
                    <a:pt x="291" y="22"/>
                  </a:lnTo>
                  <a:lnTo>
                    <a:pt x="292" y="21"/>
                  </a:lnTo>
                  <a:lnTo>
                    <a:pt x="293" y="19"/>
                  </a:lnTo>
                  <a:lnTo>
                    <a:pt x="294" y="17"/>
                  </a:lnTo>
                  <a:lnTo>
                    <a:pt x="295" y="15"/>
                  </a:lnTo>
                  <a:lnTo>
                    <a:pt x="295" y="14"/>
                  </a:lnTo>
                  <a:lnTo>
                    <a:pt x="297" y="13"/>
                  </a:lnTo>
                  <a:lnTo>
                    <a:pt x="298" y="12"/>
                  </a:lnTo>
                  <a:lnTo>
                    <a:pt x="302" y="10"/>
                  </a:lnTo>
                  <a:lnTo>
                    <a:pt x="306" y="7"/>
                  </a:lnTo>
                  <a:lnTo>
                    <a:pt x="308" y="6"/>
                  </a:lnTo>
                  <a:lnTo>
                    <a:pt x="311" y="5"/>
                  </a:lnTo>
                  <a:lnTo>
                    <a:pt x="317" y="4"/>
                  </a:lnTo>
                  <a:lnTo>
                    <a:pt x="319" y="3"/>
                  </a:lnTo>
                  <a:lnTo>
                    <a:pt x="322" y="1"/>
                  </a:lnTo>
                  <a:lnTo>
                    <a:pt x="326" y="0"/>
                  </a:lnTo>
                  <a:lnTo>
                    <a:pt x="327" y="0"/>
                  </a:lnTo>
                  <a:lnTo>
                    <a:pt x="328" y="0"/>
                  </a:lnTo>
                  <a:lnTo>
                    <a:pt x="328" y="1"/>
                  </a:lnTo>
                  <a:lnTo>
                    <a:pt x="330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2" y="4"/>
                  </a:lnTo>
                  <a:lnTo>
                    <a:pt x="333" y="4"/>
                  </a:lnTo>
                  <a:lnTo>
                    <a:pt x="334" y="4"/>
                  </a:lnTo>
                  <a:lnTo>
                    <a:pt x="335" y="4"/>
                  </a:lnTo>
                  <a:lnTo>
                    <a:pt x="338" y="4"/>
                  </a:lnTo>
                  <a:lnTo>
                    <a:pt x="339" y="5"/>
                  </a:lnTo>
                  <a:lnTo>
                    <a:pt x="339" y="4"/>
                  </a:lnTo>
                  <a:lnTo>
                    <a:pt x="340" y="4"/>
                  </a:lnTo>
                  <a:lnTo>
                    <a:pt x="341" y="5"/>
                  </a:lnTo>
                  <a:lnTo>
                    <a:pt x="343" y="8"/>
                  </a:lnTo>
                  <a:lnTo>
                    <a:pt x="345" y="10"/>
                  </a:lnTo>
                  <a:lnTo>
                    <a:pt x="346" y="11"/>
                  </a:lnTo>
                  <a:lnTo>
                    <a:pt x="348" y="11"/>
                  </a:lnTo>
                  <a:lnTo>
                    <a:pt x="350" y="12"/>
                  </a:lnTo>
                  <a:lnTo>
                    <a:pt x="352" y="12"/>
                  </a:lnTo>
                  <a:lnTo>
                    <a:pt x="354" y="13"/>
                  </a:lnTo>
                  <a:lnTo>
                    <a:pt x="358" y="13"/>
                  </a:lnTo>
                  <a:lnTo>
                    <a:pt x="359" y="13"/>
                  </a:lnTo>
                  <a:lnTo>
                    <a:pt x="361" y="13"/>
                  </a:lnTo>
                  <a:lnTo>
                    <a:pt x="362" y="14"/>
                  </a:lnTo>
                  <a:lnTo>
                    <a:pt x="364" y="15"/>
                  </a:lnTo>
                  <a:lnTo>
                    <a:pt x="367" y="17"/>
                  </a:lnTo>
                  <a:lnTo>
                    <a:pt x="373" y="21"/>
                  </a:lnTo>
                  <a:lnTo>
                    <a:pt x="376" y="23"/>
                  </a:lnTo>
                  <a:lnTo>
                    <a:pt x="377" y="24"/>
                  </a:lnTo>
                  <a:lnTo>
                    <a:pt x="379" y="25"/>
                  </a:lnTo>
                  <a:lnTo>
                    <a:pt x="381" y="25"/>
                  </a:lnTo>
                  <a:lnTo>
                    <a:pt x="384" y="25"/>
                  </a:lnTo>
                  <a:lnTo>
                    <a:pt x="389" y="25"/>
                  </a:lnTo>
                  <a:lnTo>
                    <a:pt x="390" y="26"/>
                  </a:lnTo>
                  <a:lnTo>
                    <a:pt x="392" y="26"/>
                  </a:lnTo>
                  <a:lnTo>
                    <a:pt x="394" y="27"/>
                  </a:lnTo>
                  <a:lnTo>
                    <a:pt x="396" y="27"/>
                  </a:lnTo>
                  <a:lnTo>
                    <a:pt x="398" y="27"/>
                  </a:lnTo>
                  <a:lnTo>
                    <a:pt x="399" y="28"/>
                  </a:lnTo>
                  <a:lnTo>
                    <a:pt x="401" y="30"/>
                  </a:lnTo>
                  <a:lnTo>
                    <a:pt x="402" y="31"/>
                  </a:lnTo>
                  <a:lnTo>
                    <a:pt x="403" y="33"/>
                  </a:lnTo>
                  <a:lnTo>
                    <a:pt x="404" y="36"/>
                  </a:lnTo>
                  <a:lnTo>
                    <a:pt x="405" y="38"/>
                  </a:lnTo>
                  <a:lnTo>
                    <a:pt x="405" y="39"/>
                  </a:lnTo>
                  <a:lnTo>
                    <a:pt x="406" y="45"/>
                  </a:lnTo>
                  <a:lnTo>
                    <a:pt x="406" y="47"/>
                  </a:lnTo>
                  <a:lnTo>
                    <a:pt x="407" y="49"/>
                  </a:lnTo>
                  <a:lnTo>
                    <a:pt x="408" y="50"/>
                  </a:lnTo>
                  <a:lnTo>
                    <a:pt x="409" y="52"/>
                  </a:lnTo>
                  <a:lnTo>
                    <a:pt x="410" y="53"/>
                  </a:lnTo>
                  <a:lnTo>
                    <a:pt x="411" y="55"/>
                  </a:lnTo>
                  <a:lnTo>
                    <a:pt x="413" y="55"/>
                  </a:lnTo>
                  <a:lnTo>
                    <a:pt x="415" y="56"/>
                  </a:lnTo>
                  <a:lnTo>
                    <a:pt x="418" y="57"/>
                  </a:lnTo>
                  <a:lnTo>
                    <a:pt x="420" y="57"/>
                  </a:lnTo>
                  <a:lnTo>
                    <a:pt x="422" y="57"/>
                  </a:lnTo>
                  <a:lnTo>
                    <a:pt x="423" y="57"/>
                  </a:lnTo>
                  <a:lnTo>
                    <a:pt x="433" y="57"/>
                  </a:lnTo>
                  <a:lnTo>
                    <a:pt x="439" y="57"/>
                  </a:lnTo>
                  <a:lnTo>
                    <a:pt x="443" y="57"/>
                  </a:lnTo>
                  <a:lnTo>
                    <a:pt x="446" y="56"/>
                  </a:lnTo>
                  <a:lnTo>
                    <a:pt x="450" y="56"/>
                  </a:lnTo>
                  <a:lnTo>
                    <a:pt x="454" y="55"/>
                  </a:lnTo>
                  <a:lnTo>
                    <a:pt x="460" y="53"/>
                  </a:lnTo>
                  <a:lnTo>
                    <a:pt x="462" y="52"/>
                  </a:lnTo>
                  <a:lnTo>
                    <a:pt x="464" y="52"/>
                  </a:lnTo>
                  <a:lnTo>
                    <a:pt x="466" y="52"/>
                  </a:lnTo>
                  <a:lnTo>
                    <a:pt x="467" y="53"/>
                  </a:lnTo>
                  <a:lnTo>
                    <a:pt x="467" y="53"/>
                  </a:lnTo>
                  <a:lnTo>
                    <a:pt x="468" y="54"/>
                  </a:lnTo>
                  <a:lnTo>
                    <a:pt x="469" y="55"/>
                  </a:lnTo>
                  <a:lnTo>
                    <a:pt x="469" y="56"/>
                  </a:lnTo>
                  <a:lnTo>
                    <a:pt x="474" y="65"/>
                  </a:lnTo>
                  <a:lnTo>
                    <a:pt x="482" y="80"/>
                  </a:lnTo>
                  <a:lnTo>
                    <a:pt x="485" y="85"/>
                  </a:lnTo>
                  <a:lnTo>
                    <a:pt x="488" y="89"/>
                  </a:lnTo>
                  <a:lnTo>
                    <a:pt x="490" y="93"/>
                  </a:lnTo>
                  <a:lnTo>
                    <a:pt x="493" y="95"/>
                  </a:lnTo>
                  <a:lnTo>
                    <a:pt x="495" y="97"/>
                  </a:lnTo>
                  <a:lnTo>
                    <a:pt x="502" y="103"/>
                  </a:lnTo>
                  <a:lnTo>
                    <a:pt x="505" y="106"/>
                  </a:lnTo>
                  <a:lnTo>
                    <a:pt x="507" y="108"/>
                  </a:lnTo>
                  <a:lnTo>
                    <a:pt x="511" y="114"/>
                  </a:lnTo>
                  <a:lnTo>
                    <a:pt x="518" y="121"/>
                  </a:lnTo>
                  <a:lnTo>
                    <a:pt x="521" y="125"/>
                  </a:lnTo>
                  <a:lnTo>
                    <a:pt x="525" y="129"/>
                  </a:lnTo>
                  <a:lnTo>
                    <a:pt x="528" y="132"/>
                  </a:lnTo>
                  <a:lnTo>
                    <a:pt x="533" y="138"/>
                  </a:lnTo>
                  <a:lnTo>
                    <a:pt x="536" y="141"/>
                  </a:lnTo>
                  <a:lnTo>
                    <a:pt x="537" y="143"/>
                  </a:lnTo>
                  <a:lnTo>
                    <a:pt x="538" y="145"/>
                  </a:lnTo>
                  <a:lnTo>
                    <a:pt x="539" y="147"/>
                  </a:lnTo>
                  <a:lnTo>
                    <a:pt x="539" y="149"/>
                  </a:lnTo>
                  <a:lnTo>
                    <a:pt x="540" y="151"/>
                  </a:lnTo>
                  <a:lnTo>
                    <a:pt x="540" y="153"/>
                  </a:lnTo>
                  <a:lnTo>
                    <a:pt x="540" y="155"/>
                  </a:lnTo>
                  <a:lnTo>
                    <a:pt x="539" y="157"/>
                  </a:lnTo>
                  <a:lnTo>
                    <a:pt x="539" y="159"/>
                  </a:lnTo>
                  <a:lnTo>
                    <a:pt x="536" y="164"/>
                  </a:lnTo>
                  <a:lnTo>
                    <a:pt x="536" y="167"/>
                  </a:lnTo>
                  <a:lnTo>
                    <a:pt x="535" y="169"/>
                  </a:lnTo>
                  <a:lnTo>
                    <a:pt x="533" y="172"/>
                  </a:lnTo>
                  <a:lnTo>
                    <a:pt x="532" y="172"/>
                  </a:lnTo>
                  <a:lnTo>
                    <a:pt x="529" y="174"/>
                  </a:lnTo>
                  <a:lnTo>
                    <a:pt x="527" y="175"/>
                  </a:lnTo>
                  <a:lnTo>
                    <a:pt x="524" y="177"/>
                  </a:lnTo>
                  <a:lnTo>
                    <a:pt x="515" y="180"/>
                  </a:lnTo>
                  <a:lnTo>
                    <a:pt x="513" y="181"/>
                  </a:lnTo>
                  <a:lnTo>
                    <a:pt x="512" y="182"/>
                  </a:lnTo>
                  <a:lnTo>
                    <a:pt x="510" y="184"/>
                  </a:lnTo>
                  <a:lnTo>
                    <a:pt x="508" y="185"/>
                  </a:lnTo>
                  <a:lnTo>
                    <a:pt x="507" y="186"/>
                  </a:lnTo>
                  <a:lnTo>
                    <a:pt x="505" y="188"/>
                  </a:lnTo>
                  <a:lnTo>
                    <a:pt x="504" y="190"/>
                  </a:lnTo>
                  <a:lnTo>
                    <a:pt x="503" y="191"/>
                  </a:lnTo>
                  <a:lnTo>
                    <a:pt x="503" y="193"/>
                  </a:lnTo>
                  <a:lnTo>
                    <a:pt x="502" y="195"/>
                  </a:lnTo>
                  <a:lnTo>
                    <a:pt x="502" y="197"/>
                  </a:lnTo>
                  <a:lnTo>
                    <a:pt x="502" y="199"/>
                  </a:lnTo>
                  <a:lnTo>
                    <a:pt x="503" y="205"/>
                  </a:lnTo>
                  <a:lnTo>
                    <a:pt x="503" y="206"/>
                  </a:lnTo>
                  <a:lnTo>
                    <a:pt x="503" y="207"/>
                  </a:lnTo>
                  <a:lnTo>
                    <a:pt x="502" y="208"/>
                  </a:lnTo>
                  <a:lnTo>
                    <a:pt x="498" y="209"/>
                  </a:lnTo>
                  <a:lnTo>
                    <a:pt x="495" y="210"/>
                  </a:lnTo>
                  <a:lnTo>
                    <a:pt x="493" y="212"/>
                  </a:lnTo>
                  <a:lnTo>
                    <a:pt x="491" y="214"/>
                  </a:lnTo>
                  <a:lnTo>
                    <a:pt x="491" y="215"/>
                  </a:lnTo>
                  <a:lnTo>
                    <a:pt x="490" y="216"/>
                  </a:lnTo>
                  <a:lnTo>
                    <a:pt x="490" y="218"/>
                  </a:lnTo>
                  <a:lnTo>
                    <a:pt x="490" y="219"/>
                  </a:lnTo>
                  <a:lnTo>
                    <a:pt x="489" y="221"/>
                  </a:lnTo>
                  <a:lnTo>
                    <a:pt x="489" y="224"/>
                  </a:lnTo>
                  <a:lnTo>
                    <a:pt x="489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7" y="227"/>
                  </a:lnTo>
                  <a:lnTo>
                    <a:pt x="483" y="227"/>
                  </a:lnTo>
                  <a:lnTo>
                    <a:pt x="478" y="226"/>
                  </a:lnTo>
                  <a:lnTo>
                    <a:pt x="474" y="225"/>
                  </a:lnTo>
                  <a:lnTo>
                    <a:pt x="464" y="223"/>
                  </a:lnTo>
                  <a:lnTo>
                    <a:pt x="456" y="221"/>
                  </a:lnTo>
                  <a:lnTo>
                    <a:pt x="450" y="219"/>
                  </a:lnTo>
                  <a:lnTo>
                    <a:pt x="442" y="218"/>
                  </a:lnTo>
                  <a:lnTo>
                    <a:pt x="439" y="218"/>
                  </a:lnTo>
                  <a:lnTo>
                    <a:pt x="438" y="217"/>
                  </a:lnTo>
                  <a:lnTo>
                    <a:pt x="436" y="217"/>
                  </a:lnTo>
                  <a:lnTo>
                    <a:pt x="434" y="217"/>
                  </a:lnTo>
                  <a:lnTo>
                    <a:pt x="433" y="218"/>
                  </a:lnTo>
                  <a:lnTo>
                    <a:pt x="431" y="218"/>
                  </a:lnTo>
                  <a:lnTo>
                    <a:pt x="422" y="221"/>
                  </a:lnTo>
                  <a:lnTo>
                    <a:pt x="419" y="222"/>
                  </a:lnTo>
                  <a:lnTo>
                    <a:pt x="416" y="224"/>
                  </a:lnTo>
                  <a:lnTo>
                    <a:pt x="414" y="225"/>
                  </a:lnTo>
                  <a:lnTo>
                    <a:pt x="412" y="227"/>
                  </a:lnTo>
                  <a:lnTo>
                    <a:pt x="407" y="232"/>
                  </a:lnTo>
                  <a:lnTo>
                    <a:pt x="405" y="234"/>
                  </a:lnTo>
                  <a:lnTo>
                    <a:pt x="404" y="235"/>
                  </a:lnTo>
                  <a:lnTo>
                    <a:pt x="402" y="237"/>
                  </a:lnTo>
                  <a:lnTo>
                    <a:pt x="399" y="238"/>
                  </a:lnTo>
                  <a:lnTo>
                    <a:pt x="398" y="239"/>
                  </a:lnTo>
                  <a:lnTo>
                    <a:pt x="390" y="242"/>
                  </a:lnTo>
                  <a:lnTo>
                    <a:pt x="388" y="243"/>
                  </a:lnTo>
                  <a:lnTo>
                    <a:pt x="385" y="245"/>
                  </a:lnTo>
                  <a:lnTo>
                    <a:pt x="379" y="250"/>
                  </a:lnTo>
                  <a:lnTo>
                    <a:pt x="376" y="252"/>
                  </a:lnTo>
                  <a:lnTo>
                    <a:pt x="373" y="253"/>
                  </a:lnTo>
                  <a:lnTo>
                    <a:pt x="370" y="253"/>
                  </a:lnTo>
                  <a:lnTo>
                    <a:pt x="368" y="254"/>
                  </a:lnTo>
                  <a:lnTo>
                    <a:pt x="365" y="253"/>
                  </a:lnTo>
                  <a:lnTo>
                    <a:pt x="363" y="253"/>
                  </a:lnTo>
                  <a:lnTo>
                    <a:pt x="361" y="253"/>
                  </a:lnTo>
                  <a:lnTo>
                    <a:pt x="359" y="253"/>
                  </a:lnTo>
                  <a:lnTo>
                    <a:pt x="357" y="252"/>
                  </a:lnTo>
                  <a:lnTo>
                    <a:pt x="355" y="251"/>
                  </a:lnTo>
                  <a:lnTo>
                    <a:pt x="354" y="250"/>
                  </a:lnTo>
                  <a:lnTo>
                    <a:pt x="352" y="248"/>
                  </a:lnTo>
                  <a:lnTo>
                    <a:pt x="351" y="247"/>
                  </a:lnTo>
                  <a:lnTo>
                    <a:pt x="349" y="244"/>
                  </a:lnTo>
                  <a:lnTo>
                    <a:pt x="348" y="242"/>
                  </a:lnTo>
                  <a:lnTo>
                    <a:pt x="347" y="240"/>
                  </a:lnTo>
                  <a:lnTo>
                    <a:pt x="345" y="232"/>
                  </a:lnTo>
                  <a:lnTo>
                    <a:pt x="343" y="229"/>
                  </a:lnTo>
                  <a:lnTo>
                    <a:pt x="342" y="225"/>
                  </a:lnTo>
                  <a:lnTo>
                    <a:pt x="340" y="221"/>
                  </a:lnTo>
                  <a:lnTo>
                    <a:pt x="338" y="218"/>
                  </a:lnTo>
                  <a:lnTo>
                    <a:pt x="336" y="216"/>
                  </a:lnTo>
                  <a:lnTo>
                    <a:pt x="335" y="215"/>
                  </a:lnTo>
                  <a:lnTo>
                    <a:pt x="333" y="213"/>
                  </a:lnTo>
                  <a:lnTo>
                    <a:pt x="331" y="212"/>
                  </a:lnTo>
                  <a:lnTo>
                    <a:pt x="329" y="210"/>
                  </a:lnTo>
                  <a:lnTo>
                    <a:pt x="328" y="209"/>
                  </a:lnTo>
                  <a:lnTo>
                    <a:pt x="327" y="209"/>
                  </a:lnTo>
                  <a:lnTo>
                    <a:pt x="325" y="210"/>
                  </a:lnTo>
                  <a:lnTo>
                    <a:pt x="321" y="212"/>
                  </a:lnTo>
                  <a:lnTo>
                    <a:pt x="317" y="215"/>
                  </a:lnTo>
                  <a:lnTo>
                    <a:pt x="314" y="217"/>
                  </a:lnTo>
                  <a:lnTo>
                    <a:pt x="311" y="219"/>
                  </a:lnTo>
                  <a:lnTo>
                    <a:pt x="308" y="220"/>
                  </a:lnTo>
                  <a:lnTo>
                    <a:pt x="306" y="223"/>
                  </a:lnTo>
                  <a:lnTo>
                    <a:pt x="305" y="225"/>
                  </a:lnTo>
                  <a:lnTo>
                    <a:pt x="303" y="227"/>
                  </a:lnTo>
                  <a:lnTo>
                    <a:pt x="302" y="228"/>
                  </a:lnTo>
                  <a:lnTo>
                    <a:pt x="301" y="230"/>
                  </a:lnTo>
                  <a:lnTo>
                    <a:pt x="299" y="233"/>
                  </a:lnTo>
                  <a:lnTo>
                    <a:pt x="297" y="239"/>
                  </a:lnTo>
                  <a:lnTo>
                    <a:pt x="296" y="242"/>
                  </a:lnTo>
                  <a:lnTo>
                    <a:pt x="295" y="243"/>
                  </a:lnTo>
                  <a:lnTo>
                    <a:pt x="293" y="244"/>
                  </a:lnTo>
                  <a:lnTo>
                    <a:pt x="292" y="246"/>
                  </a:lnTo>
                  <a:lnTo>
                    <a:pt x="290" y="248"/>
                  </a:lnTo>
                  <a:lnTo>
                    <a:pt x="288" y="250"/>
                  </a:lnTo>
                  <a:lnTo>
                    <a:pt x="286" y="251"/>
                  </a:lnTo>
                  <a:lnTo>
                    <a:pt x="284" y="252"/>
                  </a:lnTo>
                  <a:lnTo>
                    <a:pt x="281" y="253"/>
                  </a:lnTo>
                  <a:lnTo>
                    <a:pt x="274" y="254"/>
                  </a:lnTo>
                  <a:lnTo>
                    <a:pt x="271" y="256"/>
                  </a:lnTo>
                  <a:lnTo>
                    <a:pt x="267" y="257"/>
                  </a:lnTo>
                  <a:lnTo>
                    <a:pt x="261" y="261"/>
                  </a:lnTo>
                  <a:lnTo>
                    <a:pt x="258" y="262"/>
                  </a:lnTo>
                  <a:lnTo>
                    <a:pt x="256" y="262"/>
                  </a:lnTo>
                  <a:lnTo>
                    <a:pt x="253" y="263"/>
                  </a:lnTo>
                  <a:lnTo>
                    <a:pt x="251" y="263"/>
                  </a:lnTo>
                  <a:lnTo>
                    <a:pt x="249" y="262"/>
                  </a:lnTo>
                  <a:lnTo>
                    <a:pt x="246" y="262"/>
                  </a:lnTo>
                  <a:lnTo>
                    <a:pt x="243" y="261"/>
                  </a:lnTo>
                  <a:lnTo>
                    <a:pt x="237" y="258"/>
                  </a:lnTo>
                  <a:lnTo>
                    <a:pt x="233" y="257"/>
                  </a:lnTo>
                  <a:lnTo>
                    <a:pt x="231" y="256"/>
                  </a:lnTo>
                  <a:lnTo>
                    <a:pt x="229" y="256"/>
                  </a:lnTo>
                  <a:lnTo>
                    <a:pt x="228" y="256"/>
                  </a:lnTo>
                  <a:lnTo>
                    <a:pt x="223" y="256"/>
                  </a:lnTo>
                  <a:lnTo>
                    <a:pt x="220" y="256"/>
                  </a:lnTo>
                  <a:lnTo>
                    <a:pt x="217" y="255"/>
                  </a:lnTo>
                  <a:lnTo>
                    <a:pt x="212" y="254"/>
                  </a:lnTo>
                  <a:lnTo>
                    <a:pt x="208" y="254"/>
                  </a:lnTo>
                  <a:lnTo>
                    <a:pt x="206" y="254"/>
                  </a:lnTo>
                  <a:lnTo>
                    <a:pt x="198" y="254"/>
                  </a:lnTo>
                  <a:lnTo>
                    <a:pt x="195" y="253"/>
                  </a:lnTo>
                  <a:lnTo>
                    <a:pt x="193" y="254"/>
                  </a:lnTo>
                  <a:lnTo>
                    <a:pt x="189" y="254"/>
                  </a:lnTo>
                  <a:lnTo>
                    <a:pt x="187" y="254"/>
                  </a:lnTo>
                  <a:lnTo>
                    <a:pt x="186" y="254"/>
                  </a:lnTo>
                  <a:lnTo>
                    <a:pt x="183" y="253"/>
                  </a:lnTo>
                  <a:lnTo>
                    <a:pt x="181" y="253"/>
                  </a:lnTo>
                  <a:lnTo>
                    <a:pt x="179" y="251"/>
                  </a:lnTo>
                  <a:lnTo>
                    <a:pt x="174" y="248"/>
                  </a:lnTo>
                  <a:lnTo>
                    <a:pt x="173" y="247"/>
                  </a:lnTo>
                  <a:lnTo>
                    <a:pt x="172" y="246"/>
                  </a:lnTo>
                  <a:lnTo>
                    <a:pt x="172" y="245"/>
                  </a:lnTo>
                  <a:lnTo>
                    <a:pt x="170" y="245"/>
                  </a:lnTo>
                  <a:lnTo>
                    <a:pt x="169" y="245"/>
                  </a:lnTo>
                  <a:lnTo>
                    <a:pt x="168" y="245"/>
                  </a:lnTo>
                  <a:lnTo>
                    <a:pt x="167" y="245"/>
                  </a:lnTo>
                  <a:lnTo>
                    <a:pt x="166" y="246"/>
                  </a:lnTo>
                  <a:lnTo>
                    <a:pt x="157" y="250"/>
                  </a:lnTo>
                  <a:lnTo>
                    <a:pt x="155" y="251"/>
                  </a:lnTo>
                  <a:lnTo>
                    <a:pt x="152" y="252"/>
                  </a:lnTo>
                  <a:lnTo>
                    <a:pt x="149" y="253"/>
                  </a:lnTo>
                  <a:lnTo>
                    <a:pt x="146" y="253"/>
                  </a:lnTo>
                  <a:lnTo>
                    <a:pt x="143" y="254"/>
                  </a:lnTo>
                  <a:lnTo>
                    <a:pt x="140" y="256"/>
                  </a:lnTo>
                  <a:lnTo>
                    <a:pt x="138" y="257"/>
                  </a:lnTo>
                  <a:lnTo>
                    <a:pt x="138" y="259"/>
                  </a:lnTo>
                  <a:lnTo>
                    <a:pt x="136" y="260"/>
                  </a:lnTo>
                  <a:lnTo>
                    <a:pt x="135" y="262"/>
                  </a:lnTo>
                  <a:lnTo>
                    <a:pt x="134" y="263"/>
                  </a:lnTo>
                  <a:lnTo>
                    <a:pt x="133" y="265"/>
                  </a:lnTo>
                  <a:lnTo>
                    <a:pt x="130" y="270"/>
                  </a:lnTo>
                  <a:lnTo>
                    <a:pt x="129" y="271"/>
                  </a:lnTo>
                  <a:lnTo>
                    <a:pt x="128" y="273"/>
                  </a:lnTo>
                  <a:lnTo>
                    <a:pt x="126" y="275"/>
                  </a:lnTo>
                  <a:lnTo>
                    <a:pt x="123" y="277"/>
                  </a:lnTo>
                  <a:lnTo>
                    <a:pt x="120" y="279"/>
                  </a:lnTo>
                  <a:lnTo>
                    <a:pt x="117" y="281"/>
                  </a:lnTo>
                  <a:lnTo>
                    <a:pt x="114" y="283"/>
                  </a:lnTo>
                  <a:lnTo>
                    <a:pt x="112" y="284"/>
                  </a:lnTo>
                  <a:lnTo>
                    <a:pt x="107" y="287"/>
                  </a:lnTo>
                  <a:lnTo>
                    <a:pt x="104" y="288"/>
                  </a:lnTo>
                  <a:lnTo>
                    <a:pt x="102" y="290"/>
                  </a:lnTo>
                  <a:lnTo>
                    <a:pt x="99" y="291"/>
                  </a:lnTo>
                  <a:lnTo>
                    <a:pt x="96" y="292"/>
                  </a:lnTo>
                  <a:lnTo>
                    <a:pt x="93" y="293"/>
                  </a:lnTo>
                  <a:lnTo>
                    <a:pt x="91" y="294"/>
                  </a:lnTo>
                  <a:lnTo>
                    <a:pt x="89" y="295"/>
                  </a:lnTo>
                  <a:lnTo>
                    <a:pt x="86" y="295"/>
                  </a:lnTo>
                  <a:lnTo>
                    <a:pt x="84" y="295"/>
                  </a:lnTo>
                  <a:lnTo>
                    <a:pt x="81" y="295"/>
                  </a:lnTo>
                  <a:lnTo>
                    <a:pt x="80" y="295"/>
                  </a:lnTo>
                  <a:lnTo>
                    <a:pt x="78" y="295"/>
                  </a:lnTo>
                  <a:lnTo>
                    <a:pt x="76" y="294"/>
                  </a:lnTo>
                  <a:lnTo>
                    <a:pt x="74" y="293"/>
                  </a:lnTo>
                  <a:lnTo>
                    <a:pt x="72" y="292"/>
                  </a:lnTo>
                  <a:lnTo>
                    <a:pt x="70" y="291"/>
                  </a:lnTo>
                  <a:lnTo>
                    <a:pt x="69" y="289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8" y="283"/>
                  </a:lnTo>
                  <a:lnTo>
                    <a:pt x="69" y="282"/>
                  </a:lnTo>
                  <a:lnTo>
                    <a:pt x="69" y="280"/>
                  </a:lnTo>
                  <a:lnTo>
                    <a:pt x="71" y="276"/>
                  </a:lnTo>
                  <a:lnTo>
                    <a:pt x="72" y="273"/>
                  </a:lnTo>
                  <a:lnTo>
                    <a:pt x="72" y="272"/>
                  </a:lnTo>
                  <a:lnTo>
                    <a:pt x="72" y="271"/>
                  </a:lnTo>
                  <a:lnTo>
                    <a:pt x="72" y="270"/>
                  </a:lnTo>
                  <a:lnTo>
                    <a:pt x="71" y="269"/>
                  </a:lnTo>
                  <a:lnTo>
                    <a:pt x="70" y="268"/>
                  </a:lnTo>
                  <a:lnTo>
                    <a:pt x="69" y="267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3" y="265"/>
                  </a:lnTo>
                  <a:lnTo>
                    <a:pt x="61" y="264"/>
                  </a:lnTo>
                  <a:lnTo>
                    <a:pt x="59" y="263"/>
                  </a:lnTo>
                  <a:lnTo>
                    <a:pt x="58" y="261"/>
                  </a:lnTo>
                  <a:lnTo>
                    <a:pt x="54" y="258"/>
                  </a:lnTo>
                  <a:lnTo>
                    <a:pt x="52" y="257"/>
                  </a:lnTo>
                  <a:lnTo>
                    <a:pt x="50" y="254"/>
                  </a:lnTo>
                  <a:lnTo>
                    <a:pt x="49" y="254"/>
                  </a:lnTo>
                  <a:lnTo>
                    <a:pt x="48" y="253"/>
                  </a:lnTo>
                  <a:lnTo>
                    <a:pt x="47" y="253"/>
                  </a:lnTo>
                  <a:lnTo>
                    <a:pt x="46" y="253"/>
                  </a:lnTo>
                  <a:lnTo>
                    <a:pt x="44" y="253"/>
                  </a:lnTo>
                  <a:lnTo>
                    <a:pt x="43" y="253"/>
                  </a:lnTo>
                  <a:lnTo>
                    <a:pt x="41" y="253"/>
                  </a:lnTo>
                  <a:lnTo>
                    <a:pt x="40" y="254"/>
                  </a:lnTo>
                  <a:lnTo>
                    <a:pt x="38" y="254"/>
                  </a:lnTo>
                  <a:lnTo>
                    <a:pt x="37" y="254"/>
                  </a:lnTo>
                  <a:lnTo>
                    <a:pt x="35" y="253"/>
                  </a:lnTo>
                  <a:lnTo>
                    <a:pt x="34" y="253"/>
                  </a:lnTo>
                  <a:lnTo>
                    <a:pt x="32" y="252"/>
                  </a:lnTo>
                  <a:lnTo>
                    <a:pt x="28" y="250"/>
                  </a:lnTo>
                  <a:lnTo>
                    <a:pt x="26" y="248"/>
                  </a:lnTo>
                  <a:lnTo>
                    <a:pt x="24" y="248"/>
                  </a:lnTo>
                  <a:lnTo>
                    <a:pt x="23" y="247"/>
                  </a:lnTo>
                  <a:lnTo>
                    <a:pt x="20" y="247"/>
                  </a:lnTo>
                  <a:lnTo>
                    <a:pt x="18" y="246"/>
                  </a:lnTo>
                  <a:lnTo>
                    <a:pt x="5" y="246"/>
                  </a:lnTo>
                  <a:lnTo>
                    <a:pt x="1" y="245"/>
                  </a:lnTo>
                  <a:lnTo>
                    <a:pt x="0" y="245"/>
                  </a:lnTo>
                  <a:lnTo>
                    <a:pt x="1" y="245"/>
                  </a:lnTo>
                  <a:lnTo>
                    <a:pt x="1" y="244"/>
                  </a:lnTo>
                  <a:lnTo>
                    <a:pt x="2" y="243"/>
                  </a:lnTo>
                  <a:lnTo>
                    <a:pt x="4" y="242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8" y="237"/>
                  </a:lnTo>
                  <a:lnTo>
                    <a:pt x="9" y="236"/>
                  </a:lnTo>
                  <a:lnTo>
                    <a:pt x="9" y="233"/>
                  </a:lnTo>
                  <a:lnTo>
                    <a:pt x="10" y="231"/>
                  </a:lnTo>
                  <a:lnTo>
                    <a:pt x="10" y="227"/>
                  </a:lnTo>
                  <a:lnTo>
                    <a:pt x="10" y="225"/>
                  </a:lnTo>
                  <a:lnTo>
                    <a:pt x="11" y="223"/>
                  </a:lnTo>
                  <a:lnTo>
                    <a:pt x="12" y="221"/>
                  </a:lnTo>
                  <a:lnTo>
                    <a:pt x="13" y="219"/>
                  </a:lnTo>
                  <a:lnTo>
                    <a:pt x="14" y="217"/>
                  </a:lnTo>
                  <a:lnTo>
                    <a:pt x="17" y="213"/>
                  </a:lnTo>
                  <a:lnTo>
                    <a:pt x="21" y="209"/>
                  </a:lnTo>
                  <a:lnTo>
                    <a:pt x="23" y="208"/>
                  </a:lnTo>
                  <a:lnTo>
                    <a:pt x="25" y="203"/>
                  </a:lnTo>
                  <a:lnTo>
                    <a:pt x="28" y="200"/>
                  </a:lnTo>
                  <a:lnTo>
                    <a:pt x="30" y="196"/>
                  </a:lnTo>
                  <a:lnTo>
                    <a:pt x="33" y="187"/>
                  </a:lnTo>
                  <a:lnTo>
                    <a:pt x="35" y="184"/>
                  </a:lnTo>
                  <a:lnTo>
                    <a:pt x="35" y="180"/>
                  </a:lnTo>
                  <a:lnTo>
                    <a:pt x="35" y="177"/>
                  </a:lnTo>
                  <a:lnTo>
                    <a:pt x="35" y="175"/>
                  </a:lnTo>
                  <a:lnTo>
                    <a:pt x="35" y="174"/>
                  </a:lnTo>
                  <a:lnTo>
                    <a:pt x="33" y="169"/>
                  </a:lnTo>
                  <a:lnTo>
                    <a:pt x="32" y="166"/>
                  </a:lnTo>
                  <a:lnTo>
                    <a:pt x="29" y="162"/>
                  </a:lnTo>
                  <a:lnTo>
                    <a:pt x="28" y="160"/>
                  </a:lnTo>
                  <a:lnTo>
                    <a:pt x="24" y="154"/>
                  </a:lnTo>
                  <a:lnTo>
                    <a:pt x="22" y="151"/>
                  </a:lnTo>
                  <a:lnTo>
                    <a:pt x="21" y="148"/>
                  </a:lnTo>
                  <a:lnTo>
                    <a:pt x="20" y="146"/>
                  </a:lnTo>
                  <a:lnTo>
                    <a:pt x="20" y="143"/>
                  </a:lnTo>
                  <a:lnTo>
                    <a:pt x="19" y="140"/>
                  </a:lnTo>
                  <a:lnTo>
                    <a:pt x="19" y="137"/>
                  </a:lnTo>
                  <a:lnTo>
                    <a:pt x="18" y="133"/>
                  </a:lnTo>
                  <a:lnTo>
                    <a:pt x="18" y="129"/>
                  </a:lnTo>
                  <a:lnTo>
                    <a:pt x="18" y="127"/>
                  </a:lnTo>
                  <a:lnTo>
                    <a:pt x="19" y="123"/>
                  </a:lnTo>
                  <a:lnTo>
                    <a:pt x="20" y="115"/>
                  </a:lnTo>
                  <a:lnTo>
                    <a:pt x="21" y="110"/>
                  </a:lnTo>
                  <a:lnTo>
                    <a:pt x="22" y="105"/>
                  </a:lnTo>
                  <a:lnTo>
                    <a:pt x="22" y="94"/>
                  </a:lnTo>
                  <a:lnTo>
                    <a:pt x="22" y="92"/>
                  </a:lnTo>
                  <a:lnTo>
                    <a:pt x="25" y="90"/>
                  </a:lnTo>
                  <a:lnTo>
                    <a:pt x="28" y="88"/>
                  </a:lnTo>
                  <a:lnTo>
                    <a:pt x="31" y="86"/>
                  </a:lnTo>
                  <a:lnTo>
                    <a:pt x="33" y="84"/>
                  </a:lnTo>
                  <a:lnTo>
                    <a:pt x="35" y="83"/>
                  </a:lnTo>
                  <a:lnTo>
                    <a:pt x="36" y="81"/>
                  </a:lnTo>
                  <a:lnTo>
                    <a:pt x="38" y="78"/>
                  </a:lnTo>
                  <a:lnTo>
                    <a:pt x="41" y="73"/>
                  </a:lnTo>
                  <a:lnTo>
                    <a:pt x="43" y="71"/>
                  </a:lnTo>
                  <a:lnTo>
                    <a:pt x="44" y="70"/>
                  </a:lnTo>
                  <a:lnTo>
                    <a:pt x="46" y="68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1" y="66"/>
                  </a:lnTo>
                  <a:lnTo>
                    <a:pt x="58" y="65"/>
                  </a:lnTo>
                  <a:lnTo>
                    <a:pt x="60" y="64"/>
                  </a:lnTo>
                  <a:lnTo>
                    <a:pt x="63" y="63"/>
                  </a:lnTo>
                  <a:lnTo>
                    <a:pt x="65" y="63"/>
                  </a:lnTo>
                  <a:lnTo>
                    <a:pt x="67" y="61"/>
                  </a:lnTo>
                  <a:lnTo>
                    <a:pt x="69" y="61"/>
                  </a:lnTo>
                  <a:lnTo>
                    <a:pt x="70" y="59"/>
                  </a:lnTo>
                  <a:lnTo>
                    <a:pt x="71" y="57"/>
                  </a:lnTo>
                  <a:lnTo>
                    <a:pt x="73" y="56"/>
                  </a:lnTo>
                  <a:lnTo>
                    <a:pt x="74" y="55"/>
                  </a:lnTo>
                  <a:lnTo>
                    <a:pt x="74" y="53"/>
                  </a:lnTo>
                  <a:lnTo>
                    <a:pt x="75" y="52"/>
                  </a:lnTo>
                  <a:lnTo>
                    <a:pt x="75" y="50"/>
                  </a:lnTo>
                  <a:lnTo>
                    <a:pt x="77" y="44"/>
                  </a:lnTo>
                  <a:lnTo>
                    <a:pt x="77" y="42"/>
                  </a:lnTo>
                  <a:lnTo>
                    <a:pt x="78" y="40"/>
                  </a:lnTo>
                  <a:lnTo>
                    <a:pt x="79" y="38"/>
                  </a:lnTo>
                  <a:lnTo>
                    <a:pt x="80" y="38"/>
                  </a:lnTo>
                  <a:lnTo>
                    <a:pt x="81" y="36"/>
                  </a:lnTo>
                  <a:lnTo>
                    <a:pt x="81" y="35"/>
                  </a:lnTo>
                  <a:lnTo>
                    <a:pt x="84" y="34"/>
                  </a:lnTo>
                  <a:lnTo>
                    <a:pt x="86" y="33"/>
                  </a:lnTo>
                  <a:lnTo>
                    <a:pt x="88" y="32"/>
                  </a:lnTo>
                  <a:lnTo>
                    <a:pt x="90" y="32"/>
                  </a:lnTo>
                  <a:lnTo>
                    <a:pt x="92" y="32"/>
                  </a:lnTo>
                  <a:lnTo>
                    <a:pt x="94" y="33"/>
                  </a:lnTo>
                  <a:lnTo>
                    <a:pt x="102" y="35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07" y="36"/>
                  </a:lnTo>
                  <a:lnTo>
                    <a:pt x="108" y="36"/>
                  </a:lnTo>
                  <a:lnTo>
                    <a:pt x="110" y="35"/>
                  </a:lnTo>
                  <a:lnTo>
                    <a:pt x="111" y="34"/>
                  </a:lnTo>
                  <a:lnTo>
                    <a:pt x="112" y="33"/>
                  </a:lnTo>
                  <a:lnTo>
                    <a:pt x="113" y="32"/>
                  </a:lnTo>
                  <a:lnTo>
                    <a:pt x="114" y="29"/>
                  </a:lnTo>
                  <a:lnTo>
                    <a:pt x="116" y="22"/>
                  </a:lnTo>
                  <a:lnTo>
                    <a:pt x="117" y="21"/>
                  </a:lnTo>
                  <a:lnTo>
                    <a:pt x="118" y="19"/>
                  </a:lnTo>
                  <a:lnTo>
                    <a:pt x="119" y="18"/>
                  </a:lnTo>
                  <a:lnTo>
                    <a:pt x="120" y="17"/>
                  </a:lnTo>
                  <a:lnTo>
                    <a:pt x="122" y="16"/>
                  </a:lnTo>
                  <a:lnTo>
                    <a:pt x="124" y="15"/>
                  </a:lnTo>
                  <a:lnTo>
                    <a:pt x="125" y="15"/>
                  </a:lnTo>
                  <a:lnTo>
                    <a:pt x="126" y="15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4" name="Freeform 47">
              <a:extLst>
                <a:ext uri="{FF2B5EF4-FFF2-40B4-BE49-F238E27FC236}">
                  <a16:creationId xmlns:a16="http://schemas.microsoft.com/office/drawing/2014/main" id="{2583C6C6-D8C1-4D11-BCF0-731C9138C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" y="1586"/>
              <a:ext cx="475" cy="315"/>
            </a:xfrm>
            <a:custGeom>
              <a:avLst/>
              <a:gdLst>
                <a:gd name="T0" fmla="*/ 98 w 475"/>
                <a:gd name="T1" fmla="*/ 43 h 315"/>
                <a:gd name="T2" fmla="*/ 117 w 475"/>
                <a:gd name="T3" fmla="*/ 24 h 315"/>
                <a:gd name="T4" fmla="*/ 136 w 475"/>
                <a:gd name="T5" fmla="*/ 26 h 315"/>
                <a:gd name="T6" fmla="*/ 169 w 475"/>
                <a:gd name="T7" fmla="*/ 37 h 315"/>
                <a:gd name="T8" fmla="*/ 197 w 475"/>
                <a:gd name="T9" fmla="*/ 47 h 315"/>
                <a:gd name="T10" fmla="*/ 205 w 475"/>
                <a:gd name="T11" fmla="*/ 57 h 315"/>
                <a:gd name="T12" fmla="*/ 213 w 475"/>
                <a:gd name="T13" fmla="*/ 68 h 315"/>
                <a:gd name="T14" fmla="*/ 233 w 475"/>
                <a:gd name="T15" fmla="*/ 68 h 315"/>
                <a:gd name="T16" fmla="*/ 248 w 475"/>
                <a:gd name="T17" fmla="*/ 57 h 315"/>
                <a:gd name="T18" fmla="*/ 249 w 475"/>
                <a:gd name="T19" fmla="*/ 34 h 315"/>
                <a:gd name="T20" fmla="*/ 261 w 475"/>
                <a:gd name="T21" fmla="*/ 15 h 315"/>
                <a:gd name="T22" fmla="*/ 278 w 475"/>
                <a:gd name="T23" fmla="*/ 0 h 315"/>
                <a:gd name="T24" fmla="*/ 292 w 475"/>
                <a:gd name="T25" fmla="*/ 10 h 315"/>
                <a:gd name="T26" fmla="*/ 312 w 475"/>
                <a:gd name="T27" fmla="*/ 26 h 315"/>
                <a:gd name="T28" fmla="*/ 338 w 475"/>
                <a:gd name="T29" fmla="*/ 23 h 315"/>
                <a:gd name="T30" fmla="*/ 353 w 475"/>
                <a:gd name="T31" fmla="*/ 27 h 315"/>
                <a:gd name="T32" fmla="*/ 366 w 475"/>
                <a:gd name="T33" fmla="*/ 39 h 315"/>
                <a:gd name="T34" fmla="*/ 401 w 475"/>
                <a:gd name="T35" fmla="*/ 58 h 315"/>
                <a:gd name="T36" fmla="*/ 403 w 475"/>
                <a:gd name="T37" fmla="*/ 80 h 315"/>
                <a:gd name="T38" fmla="*/ 407 w 475"/>
                <a:gd name="T39" fmla="*/ 97 h 315"/>
                <a:gd name="T40" fmla="*/ 429 w 475"/>
                <a:gd name="T41" fmla="*/ 116 h 315"/>
                <a:gd name="T42" fmla="*/ 442 w 475"/>
                <a:gd name="T43" fmla="*/ 143 h 315"/>
                <a:gd name="T44" fmla="*/ 459 w 475"/>
                <a:gd name="T45" fmla="*/ 163 h 315"/>
                <a:gd name="T46" fmla="*/ 460 w 475"/>
                <a:gd name="T47" fmla="*/ 191 h 315"/>
                <a:gd name="T48" fmla="*/ 467 w 475"/>
                <a:gd name="T49" fmla="*/ 222 h 315"/>
                <a:gd name="T50" fmla="*/ 474 w 475"/>
                <a:gd name="T51" fmla="*/ 240 h 315"/>
                <a:gd name="T52" fmla="*/ 466 w 475"/>
                <a:gd name="T53" fmla="*/ 251 h 315"/>
                <a:gd name="T54" fmla="*/ 444 w 475"/>
                <a:gd name="T55" fmla="*/ 258 h 315"/>
                <a:gd name="T56" fmla="*/ 412 w 475"/>
                <a:gd name="T57" fmla="*/ 253 h 315"/>
                <a:gd name="T58" fmla="*/ 389 w 475"/>
                <a:gd name="T59" fmla="*/ 276 h 315"/>
                <a:gd name="T60" fmla="*/ 373 w 475"/>
                <a:gd name="T61" fmla="*/ 287 h 315"/>
                <a:gd name="T62" fmla="*/ 363 w 475"/>
                <a:gd name="T63" fmla="*/ 279 h 315"/>
                <a:gd name="T64" fmla="*/ 340 w 475"/>
                <a:gd name="T65" fmla="*/ 268 h 315"/>
                <a:gd name="T66" fmla="*/ 311 w 475"/>
                <a:gd name="T67" fmla="*/ 240 h 315"/>
                <a:gd name="T68" fmla="*/ 300 w 475"/>
                <a:gd name="T69" fmla="*/ 240 h 315"/>
                <a:gd name="T70" fmla="*/ 291 w 475"/>
                <a:gd name="T71" fmla="*/ 257 h 315"/>
                <a:gd name="T72" fmla="*/ 272 w 475"/>
                <a:gd name="T73" fmla="*/ 255 h 315"/>
                <a:gd name="T74" fmla="*/ 259 w 475"/>
                <a:gd name="T75" fmla="*/ 261 h 315"/>
                <a:gd name="T76" fmla="*/ 253 w 475"/>
                <a:gd name="T77" fmla="*/ 279 h 315"/>
                <a:gd name="T78" fmla="*/ 238 w 475"/>
                <a:gd name="T79" fmla="*/ 288 h 315"/>
                <a:gd name="T80" fmla="*/ 218 w 475"/>
                <a:gd name="T81" fmla="*/ 301 h 315"/>
                <a:gd name="T82" fmla="*/ 202 w 475"/>
                <a:gd name="T83" fmla="*/ 314 h 315"/>
                <a:gd name="T84" fmla="*/ 187 w 475"/>
                <a:gd name="T85" fmla="*/ 295 h 315"/>
                <a:gd name="T86" fmla="*/ 174 w 475"/>
                <a:gd name="T87" fmla="*/ 292 h 315"/>
                <a:gd name="T88" fmla="*/ 142 w 475"/>
                <a:gd name="T89" fmla="*/ 301 h 315"/>
                <a:gd name="T90" fmla="*/ 97 w 475"/>
                <a:gd name="T91" fmla="*/ 298 h 315"/>
                <a:gd name="T92" fmla="*/ 82 w 475"/>
                <a:gd name="T93" fmla="*/ 294 h 315"/>
                <a:gd name="T94" fmla="*/ 74 w 475"/>
                <a:gd name="T95" fmla="*/ 280 h 315"/>
                <a:gd name="T96" fmla="*/ 70 w 475"/>
                <a:gd name="T97" fmla="*/ 261 h 315"/>
                <a:gd name="T98" fmla="*/ 52 w 475"/>
                <a:gd name="T99" fmla="*/ 241 h 315"/>
                <a:gd name="T100" fmla="*/ 35 w 475"/>
                <a:gd name="T101" fmla="*/ 235 h 315"/>
                <a:gd name="T102" fmla="*/ 11 w 475"/>
                <a:gd name="T103" fmla="*/ 227 h 315"/>
                <a:gd name="T104" fmla="*/ 0 w 475"/>
                <a:gd name="T105" fmla="*/ 198 h 315"/>
                <a:gd name="T106" fmla="*/ 6 w 475"/>
                <a:gd name="T107" fmla="*/ 186 h 315"/>
                <a:gd name="T108" fmla="*/ 22 w 475"/>
                <a:gd name="T109" fmla="*/ 169 h 315"/>
                <a:gd name="T110" fmla="*/ 33 w 475"/>
                <a:gd name="T111" fmla="*/ 144 h 315"/>
                <a:gd name="T112" fmla="*/ 23 w 475"/>
                <a:gd name="T113" fmla="*/ 114 h 315"/>
                <a:gd name="T114" fmla="*/ 18 w 475"/>
                <a:gd name="T115" fmla="*/ 88 h 315"/>
                <a:gd name="T116" fmla="*/ 11 w 475"/>
                <a:gd name="T117" fmla="*/ 59 h 315"/>
                <a:gd name="T118" fmla="*/ 9 w 475"/>
                <a:gd name="T119" fmla="*/ 41 h 315"/>
                <a:gd name="T120" fmla="*/ 28 w 475"/>
                <a:gd name="T121" fmla="*/ 25 h 315"/>
                <a:gd name="T122" fmla="*/ 60 w 475"/>
                <a:gd name="T123" fmla="*/ 45 h 315"/>
                <a:gd name="T124" fmla="*/ 83 w 475"/>
                <a:gd name="T125" fmla="*/ 51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75" h="315">
                  <a:moveTo>
                    <a:pt x="83" y="51"/>
                  </a:moveTo>
                  <a:lnTo>
                    <a:pt x="86" y="51"/>
                  </a:lnTo>
                  <a:lnTo>
                    <a:pt x="89" y="50"/>
                  </a:lnTo>
                  <a:lnTo>
                    <a:pt x="91" y="49"/>
                  </a:lnTo>
                  <a:lnTo>
                    <a:pt x="93" y="48"/>
                  </a:lnTo>
                  <a:lnTo>
                    <a:pt x="94" y="47"/>
                  </a:lnTo>
                  <a:lnTo>
                    <a:pt x="95" y="46"/>
                  </a:lnTo>
                  <a:lnTo>
                    <a:pt x="98" y="43"/>
                  </a:lnTo>
                  <a:lnTo>
                    <a:pt x="102" y="36"/>
                  </a:lnTo>
                  <a:lnTo>
                    <a:pt x="107" y="32"/>
                  </a:lnTo>
                  <a:lnTo>
                    <a:pt x="109" y="30"/>
                  </a:lnTo>
                  <a:lnTo>
                    <a:pt x="112" y="28"/>
                  </a:lnTo>
                  <a:lnTo>
                    <a:pt x="113" y="26"/>
                  </a:lnTo>
                  <a:lnTo>
                    <a:pt x="114" y="25"/>
                  </a:lnTo>
                  <a:lnTo>
                    <a:pt x="116" y="24"/>
                  </a:lnTo>
                  <a:lnTo>
                    <a:pt x="117" y="24"/>
                  </a:lnTo>
                  <a:lnTo>
                    <a:pt x="118" y="23"/>
                  </a:lnTo>
                  <a:lnTo>
                    <a:pt x="120" y="23"/>
                  </a:lnTo>
                  <a:lnTo>
                    <a:pt x="123" y="23"/>
                  </a:lnTo>
                  <a:lnTo>
                    <a:pt x="124" y="23"/>
                  </a:lnTo>
                  <a:lnTo>
                    <a:pt x="127" y="23"/>
                  </a:lnTo>
                  <a:lnTo>
                    <a:pt x="129" y="23"/>
                  </a:lnTo>
                  <a:lnTo>
                    <a:pt x="133" y="24"/>
                  </a:lnTo>
                  <a:lnTo>
                    <a:pt x="136" y="26"/>
                  </a:lnTo>
                  <a:lnTo>
                    <a:pt x="138" y="27"/>
                  </a:lnTo>
                  <a:lnTo>
                    <a:pt x="145" y="30"/>
                  </a:lnTo>
                  <a:lnTo>
                    <a:pt x="149" y="32"/>
                  </a:lnTo>
                  <a:lnTo>
                    <a:pt x="152" y="33"/>
                  </a:lnTo>
                  <a:lnTo>
                    <a:pt x="159" y="34"/>
                  </a:lnTo>
                  <a:lnTo>
                    <a:pt x="163" y="35"/>
                  </a:lnTo>
                  <a:lnTo>
                    <a:pt x="165" y="36"/>
                  </a:lnTo>
                  <a:lnTo>
                    <a:pt x="169" y="37"/>
                  </a:lnTo>
                  <a:lnTo>
                    <a:pt x="175" y="41"/>
                  </a:lnTo>
                  <a:lnTo>
                    <a:pt x="178" y="43"/>
                  </a:lnTo>
                  <a:lnTo>
                    <a:pt x="182" y="45"/>
                  </a:lnTo>
                  <a:lnTo>
                    <a:pt x="187" y="46"/>
                  </a:lnTo>
                  <a:lnTo>
                    <a:pt x="189" y="47"/>
                  </a:lnTo>
                  <a:lnTo>
                    <a:pt x="191" y="47"/>
                  </a:lnTo>
                  <a:lnTo>
                    <a:pt x="193" y="47"/>
                  </a:lnTo>
                  <a:lnTo>
                    <a:pt x="197" y="47"/>
                  </a:lnTo>
                  <a:lnTo>
                    <a:pt x="199" y="47"/>
                  </a:lnTo>
                  <a:lnTo>
                    <a:pt x="200" y="47"/>
                  </a:lnTo>
                  <a:lnTo>
                    <a:pt x="201" y="48"/>
                  </a:lnTo>
                  <a:lnTo>
                    <a:pt x="202" y="49"/>
                  </a:lnTo>
                  <a:lnTo>
                    <a:pt x="203" y="50"/>
                  </a:lnTo>
                  <a:lnTo>
                    <a:pt x="203" y="51"/>
                  </a:lnTo>
                  <a:lnTo>
                    <a:pt x="204" y="53"/>
                  </a:lnTo>
                  <a:lnTo>
                    <a:pt x="205" y="57"/>
                  </a:lnTo>
                  <a:lnTo>
                    <a:pt x="206" y="58"/>
                  </a:lnTo>
                  <a:lnTo>
                    <a:pt x="206" y="60"/>
                  </a:lnTo>
                  <a:lnTo>
                    <a:pt x="206" y="61"/>
                  </a:lnTo>
                  <a:lnTo>
                    <a:pt x="208" y="63"/>
                  </a:lnTo>
                  <a:lnTo>
                    <a:pt x="210" y="66"/>
                  </a:lnTo>
                  <a:lnTo>
                    <a:pt x="211" y="67"/>
                  </a:lnTo>
                  <a:lnTo>
                    <a:pt x="212" y="68"/>
                  </a:lnTo>
                  <a:lnTo>
                    <a:pt x="213" y="68"/>
                  </a:lnTo>
                  <a:lnTo>
                    <a:pt x="215" y="68"/>
                  </a:lnTo>
                  <a:lnTo>
                    <a:pt x="215" y="69"/>
                  </a:lnTo>
                  <a:lnTo>
                    <a:pt x="217" y="69"/>
                  </a:lnTo>
                  <a:lnTo>
                    <a:pt x="221" y="69"/>
                  </a:lnTo>
                  <a:lnTo>
                    <a:pt x="224" y="69"/>
                  </a:lnTo>
                  <a:lnTo>
                    <a:pt x="227" y="69"/>
                  </a:lnTo>
                  <a:lnTo>
                    <a:pt x="230" y="68"/>
                  </a:lnTo>
                  <a:lnTo>
                    <a:pt x="233" y="68"/>
                  </a:lnTo>
                  <a:lnTo>
                    <a:pt x="234" y="68"/>
                  </a:lnTo>
                  <a:lnTo>
                    <a:pt x="235" y="67"/>
                  </a:lnTo>
                  <a:lnTo>
                    <a:pt x="238" y="64"/>
                  </a:lnTo>
                  <a:lnTo>
                    <a:pt x="239" y="63"/>
                  </a:lnTo>
                  <a:lnTo>
                    <a:pt x="244" y="60"/>
                  </a:lnTo>
                  <a:lnTo>
                    <a:pt x="246" y="59"/>
                  </a:lnTo>
                  <a:lnTo>
                    <a:pt x="247" y="58"/>
                  </a:lnTo>
                  <a:lnTo>
                    <a:pt x="248" y="57"/>
                  </a:lnTo>
                  <a:lnTo>
                    <a:pt x="249" y="54"/>
                  </a:lnTo>
                  <a:lnTo>
                    <a:pt x="250" y="51"/>
                  </a:lnTo>
                  <a:lnTo>
                    <a:pt x="250" y="49"/>
                  </a:lnTo>
                  <a:lnTo>
                    <a:pt x="250" y="48"/>
                  </a:lnTo>
                  <a:lnTo>
                    <a:pt x="250" y="46"/>
                  </a:lnTo>
                  <a:lnTo>
                    <a:pt x="249" y="38"/>
                  </a:lnTo>
                  <a:lnTo>
                    <a:pt x="249" y="35"/>
                  </a:lnTo>
                  <a:lnTo>
                    <a:pt x="249" y="34"/>
                  </a:lnTo>
                  <a:lnTo>
                    <a:pt x="249" y="31"/>
                  </a:lnTo>
                  <a:lnTo>
                    <a:pt x="249" y="29"/>
                  </a:lnTo>
                  <a:lnTo>
                    <a:pt x="249" y="27"/>
                  </a:lnTo>
                  <a:lnTo>
                    <a:pt x="250" y="25"/>
                  </a:lnTo>
                  <a:lnTo>
                    <a:pt x="251" y="23"/>
                  </a:lnTo>
                  <a:lnTo>
                    <a:pt x="253" y="22"/>
                  </a:lnTo>
                  <a:lnTo>
                    <a:pt x="256" y="20"/>
                  </a:lnTo>
                  <a:lnTo>
                    <a:pt x="261" y="15"/>
                  </a:lnTo>
                  <a:lnTo>
                    <a:pt x="262" y="14"/>
                  </a:lnTo>
                  <a:lnTo>
                    <a:pt x="266" y="11"/>
                  </a:lnTo>
                  <a:lnTo>
                    <a:pt x="272" y="6"/>
                  </a:lnTo>
                  <a:lnTo>
                    <a:pt x="273" y="5"/>
                  </a:lnTo>
                  <a:lnTo>
                    <a:pt x="275" y="1"/>
                  </a:lnTo>
                  <a:lnTo>
                    <a:pt x="276" y="0"/>
                  </a:lnTo>
                  <a:lnTo>
                    <a:pt x="277" y="0"/>
                  </a:lnTo>
                  <a:lnTo>
                    <a:pt x="278" y="0"/>
                  </a:lnTo>
                  <a:lnTo>
                    <a:pt x="279" y="0"/>
                  </a:lnTo>
                  <a:lnTo>
                    <a:pt x="280" y="0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5" y="1"/>
                  </a:lnTo>
                  <a:lnTo>
                    <a:pt x="286" y="3"/>
                  </a:lnTo>
                  <a:lnTo>
                    <a:pt x="288" y="4"/>
                  </a:lnTo>
                  <a:lnTo>
                    <a:pt x="292" y="10"/>
                  </a:lnTo>
                  <a:lnTo>
                    <a:pt x="294" y="12"/>
                  </a:lnTo>
                  <a:lnTo>
                    <a:pt x="296" y="15"/>
                  </a:lnTo>
                  <a:lnTo>
                    <a:pt x="299" y="18"/>
                  </a:lnTo>
                  <a:lnTo>
                    <a:pt x="302" y="21"/>
                  </a:lnTo>
                  <a:lnTo>
                    <a:pt x="305" y="23"/>
                  </a:lnTo>
                  <a:lnTo>
                    <a:pt x="306" y="24"/>
                  </a:lnTo>
                  <a:lnTo>
                    <a:pt x="309" y="25"/>
                  </a:lnTo>
                  <a:lnTo>
                    <a:pt x="312" y="26"/>
                  </a:lnTo>
                  <a:lnTo>
                    <a:pt x="316" y="27"/>
                  </a:lnTo>
                  <a:lnTo>
                    <a:pt x="318" y="28"/>
                  </a:lnTo>
                  <a:lnTo>
                    <a:pt x="320" y="27"/>
                  </a:lnTo>
                  <a:lnTo>
                    <a:pt x="322" y="27"/>
                  </a:lnTo>
                  <a:lnTo>
                    <a:pt x="324" y="27"/>
                  </a:lnTo>
                  <a:lnTo>
                    <a:pt x="330" y="24"/>
                  </a:lnTo>
                  <a:lnTo>
                    <a:pt x="336" y="23"/>
                  </a:lnTo>
                  <a:lnTo>
                    <a:pt x="338" y="23"/>
                  </a:lnTo>
                  <a:lnTo>
                    <a:pt x="340" y="23"/>
                  </a:lnTo>
                  <a:lnTo>
                    <a:pt x="341" y="23"/>
                  </a:lnTo>
                  <a:lnTo>
                    <a:pt x="343" y="23"/>
                  </a:lnTo>
                  <a:lnTo>
                    <a:pt x="345" y="23"/>
                  </a:lnTo>
                  <a:lnTo>
                    <a:pt x="348" y="24"/>
                  </a:lnTo>
                  <a:lnTo>
                    <a:pt x="350" y="25"/>
                  </a:lnTo>
                  <a:lnTo>
                    <a:pt x="352" y="26"/>
                  </a:lnTo>
                  <a:lnTo>
                    <a:pt x="353" y="27"/>
                  </a:lnTo>
                  <a:lnTo>
                    <a:pt x="354" y="28"/>
                  </a:lnTo>
                  <a:lnTo>
                    <a:pt x="356" y="30"/>
                  </a:lnTo>
                  <a:lnTo>
                    <a:pt x="356" y="31"/>
                  </a:lnTo>
                  <a:lnTo>
                    <a:pt x="357" y="31"/>
                  </a:lnTo>
                  <a:lnTo>
                    <a:pt x="357" y="32"/>
                  </a:lnTo>
                  <a:lnTo>
                    <a:pt x="361" y="34"/>
                  </a:lnTo>
                  <a:lnTo>
                    <a:pt x="363" y="37"/>
                  </a:lnTo>
                  <a:lnTo>
                    <a:pt x="366" y="39"/>
                  </a:lnTo>
                  <a:lnTo>
                    <a:pt x="370" y="42"/>
                  </a:lnTo>
                  <a:lnTo>
                    <a:pt x="375" y="44"/>
                  </a:lnTo>
                  <a:lnTo>
                    <a:pt x="380" y="46"/>
                  </a:lnTo>
                  <a:lnTo>
                    <a:pt x="392" y="52"/>
                  </a:lnTo>
                  <a:lnTo>
                    <a:pt x="396" y="55"/>
                  </a:lnTo>
                  <a:lnTo>
                    <a:pt x="397" y="56"/>
                  </a:lnTo>
                  <a:lnTo>
                    <a:pt x="399" y="57"/>
                  </a:lnTo>
                  <a:lnTo>
                    <a:pt x="401" y="58"/>
                  </a:lnTo>
                  <a:lnTo>
                    <a:pt x="402" y="60"/>
                  </a:lnTo>
                  <a:lnTo>
                    <a:pt x="403" y="62"/>
                  </a:lnTo>
                  <a:lnTo>
                    <a:pt x="404" y="65"/>
                  </a:lnTo>
                  <a:lnTo>
                    <a:pt x="404" y="68"/>
                  </a:lnTo>
                  <a:lnTo>
                    <a:pt x="405" y="69"/>
                  </a:lnTo>
                  <a:lnTo>
                    <a:pt x="405" y="72"/>
                  </a:lnTo>
                  <a:lnTo>
                    <a:pt x="404" y="74"/>
                  </a:lnTo>
                  <a:lnTo>
                    <a:pt x="403" y="80"/>
                  </a:lnTo>
                  <a:lnTo>
                    <a:pt x="403" y="81"/>
                  </a:lnTo>
                  <a:lnTo>
                    <a:pt x="403" y="84"/>
                  </a:lnTo>
                  <a:lnTo>
                    <a:pt x="403" y="87"/>
                  </a:lnTo>
                  <a:lnTo>
                    <a:pt x="403" y="89"/>
                  </a:lnTo>
                  <a:lnTo>
                    <a:pt x="404" y="91"/>
                  </a:lnTo>
                  <a:lnTo>
                    <a:pt x="405" y="93"/>
                  </a:lnTo>
                  <a:lnTo>
                    <a:pt x="406" y="95"/>
                  </a:lnTo>
                  <a:lnTo>
                    <a:pt x="407" y="97"/>
                  </a:lnTo>
                  <a:lnTo>
                    <a:pt x="408" y="99"/>
                  </a:lnTo>
                  <a:lnTo>
                    <a:pt x="409" y="101"/>
                  </a:lnTo>
                  <a:lnTo>
                    <a:pt x="410" y="102"/>
                  </a:lnTo>
                  <a:lnTo>
                    <a:pt x="413" y="103"/>
                  </a:lnTo>
                  <a:lnTo>
                    <a:pt x="419" y="108"/>
                  </a:lnTo>
                  <a:lnTo>
                    <a:pt x="421" y="110"/>
                  </a:lnTo>
                  <a:lnTo>
                    <a:pt x="428" y="114"/>
                  </a:lnTo>
                  <a:lnTo>
                    <a:pt x="429" y="116"/>
                  </a:lnTo>
                  <a:lnTo>
                    <a:pt x="430" y="117"/>
                  </a:lnTo>
                  <a:lnTo>
                    <a:pt x="431" y="119"/>
                  </a:lnTo>
                  <a:lnTo>
                    <a:pt x="432" y="121"/>
                  </a:lnTo>
                  <a:lnTo>
                    <a:pt x="433" y="123"/>
                  </a:lnTo>
                  <a:lnTo>
                    <a:pt x="434" y="127"/>
                  </a:lnTo>
                  <a:lnTo>
                    <a:pt x="435" y="130"/>
                  </a:lnTo>
                  <a:lnTo>
                    <a:pt x="440" y="140"/>
                  </a:lnTo>
                  <a:lnTo>
                    <a:pt x="442" y="143"/>
                  </a:lnTo>
                  <a:lnTo>
                    <a:pt x="443" y="146"/>
                  </a:lnTo>
                  <a:lnTo>
                    <a:pt x="445" y="148"/>
                  </a:lnTo>
                  <a:lnTo>
                    <a:pt x="449" y="151"/>
                  </a:lnTo>
                  <a:lnTo>
                    <a:pt x="454" y="157"/>
                  </a:lnTo>
                  <a:lnTo>
                    <a:pt x="456" y="159"/>
                  </a:lnTo>
                  <a:lnTo>
                    <a:pt x="457" y="160"/>
                  </a:lnTo>
                  <a:lnTo>
                    <a:pt x="458" y="162"/>
                  </a:lnTo>
                  <a:lnTo>
                    <a:pt x="459" y="163"/>
                  </a:lnTo>
                  <a:lnTo>
                    <a:pt x="459" y="164"/>
                  </a:lnTo>
                  <a:lnTo>
                    <a:pt x="459" y="167"/>
                  </a:lnTo>
                  <a:lnTo>
                    <a:pt x="459" y="169"/>
                  </a:lnTo>
                  <a:lnTo>
                    <a:pt x="459" y="172"/>
                  </a:lnTo>
                  <a:lnTo>
                    <a:pt x="459" y="179"/>
                  </a:lnTo>
                  <a:lnTo>
                    <a:pt x="459" y="182"/>
                  </a:lnTo>
                  <a:lnTo>
                    <a:pt x="459" y="186"/>
                  </a:lnTo>
                  <a:lnTo>
                    <a:pt x="460" y="191"/>
                  </a:lnTo>
                  <a:lnTo>
                    <a:pt x="461" y="193"/>
                  </a:lnTo>
                  <a:lnTo>
                    <a:pt x="462" y="199"/>
                  </a:lnTo>
                  <a:lnTo>
                    <a:pt x="463" y="201"/>
                  </a:lnTo>
                  <a:lnTo>
                    <a:pt x="464" y="204"/>
                  </a:lnTo>
                  <a:lnTo>
                    <a:pt x="465" y="211"/>
                  </a:lnTo>
                  <a:lnTo>
                    <a:pt x="465" y="215"/>
                  </a:lnTo>
                  <a:lnTo>
                    <a:pt x="466" y="218"/>
                  </a:lnTo>
                  <a:lnTo>
                    <a:pt x="467" y="222"/>
                  </a:lnTo>
                  <a:lnTo>
                    <a:pt x="469" y="227"/>
                  </a:lnTo>
                  <a:lnTo>
                    <a:pt x="471" y="231"/>
                  </a:lnTo>
                  <a:lnTo>
                    <a:pt x="472" y="233"/>
                  </a:lnTo>
                  <a:lnTo>
                    <a:pt x="473" y="234"/>
                  </a:lnTo>
                  <a:lnTo>
                    <a:pt x="475" y="236"/>
                  </a:lnTo>
                  <a:lnTo>
                    <a:pt x="475" y="237"/>
                  </a:lnTo>
                  <a:lnTo>
                    <a:pt x="475" y="238"/>
                  </a:lnTo>
                  <a:lnTo>
                    <a:pt x="474" y="240"/>
                  </a:lnTo>
                  <a:lnTo>
                    <a:pt x="473" y="242"/>
                  </a:lnTo>
                  <a:lnTo>
                    <a:pt x="472" y="244"/>
                  </a:lnTo>
                  <a:lnTo>
                    <a:pt x="471" y="245"/>
                  </a:lnTo>
                  <a:lnTo>
                    <a:pt x="470" y="247"/>
                  </a:lnTo>
                  <a:lnTo>
                    <a:pt x="469" y="249"/>
                  </a:lnTo>
                  <a:lnTo>
                    <a:pt x="468" y="250"/>
                  </a:lnTo>
                  <a:lnTo>
                    <a:pt x="466" y="250"/>
                  </a:lnTo>
                  <a:lnTo>
                    <a:pt x="466" y="251"/>
                  </a:lnTo>
                  <a:lnTo>
                    <a:pt x="464" y="252"/>
                  </a:lnTo>
                  <a:lnTo>
                    <a:pt x="462" y="253"/>
                  </a:lnTo>
                  <a:lnTo>
                    <a:pt x="459" y="255"/>
                  </a:lnTo>
                  <a:lnTo>
                    <a:pt x="456" y="256"/>
                  </a:lnTo>
                  <a:lnTo>
                    <a:pt x="454" y="257"/>
                  </a:lnTo>
                  <a:lnTo>
                    <a:pt x="451" y="257"/>
                  </a:lnTo>
                  <a:lnTo>
                    <a:pt x="448" y="258"/>
                  </a:lnTo>
                  <a:lnTo>
                    <a:pt x="444" y="258"/>
                  </a:lnTo>
                  <a:lnTo>
                    <a:pt x="441" y="258"/>
                  </a:lnTo>
                  <a:lnTo>
                    <a:pt x="434" y="257"/>
                  </a:lnTo>
                  <a:lnTo>
                    <a:pt x="428" y="257"/>
                  </a:lnTo>
                  <a:lnTo>
                    <a:pt x="426" y="256"/>
                  </a:lnTo>
                  <a:lnTo>
                    <a:pt x="421" y="255"/>
                  </a:lnTo>
                  <a:lnTo>
                    <a:pt x="417" y="254"/>
                  </a:lnTo>
                  <a:lnTo>
                    <a:pt x="414" y="253"/>
                  </a:lnTo>
                  <a:lnTo>
                    <a:pt x="412" y="253"/>
                  </a:lnTo>
                  <a:lnTo>
                    <a:pt x="411" y="253"/>
                  </a:lnTo>
                  <a:lnTo>
                    <a:pt x="411" y="254"/>
                  </a:lnTo>
                  <a:lnTo>
                    <a:pt x="410" y="254"/>
                  </a:lnTo>
                  <a:lnTo>
                    <a:pt x="409" y="258"/>
                  </a:lnTo>
                  <a:lnTo>
                    <a:pt x="407" y="260"/>
                  </a:lnTo>
                  <a:lnTo>
                    <a:pt x="397" y="269"/>
                  </a:lnTo>
                  <a:lnTo>
                    <a:pt x="391" y="274"/>
                  </a:lnTo>
                  <a:lnTo>
                    <a:pt x="389" y="276"/>
                  </a:lnTo>
                  <a:lnTo>
                    <a:pt x="387" y="277"/>
                  </a:lnTo>
                  <a:lnTo>
                    <a:pt x="383" y="283"/>
                  </a:lnTo>
                  <a:lnTo>
                    <a:pt x="381" y="284"/>
                  </a:lnTo>
                  <a:lnTo>
                    <a:pt x="380" y="285"/>
                  </a:lnTo>
                  <a:lnTo>
                    <a:pt x="377" y="287"/>
                  </a:lnTo>
                  <a:lnTo>
                    <a:pt x="376" y="287"/>
                  </a:lnTo>
                  <a:lnTo>
                    <a:pt x="375" y="287"/>
                  </a:lnTo>
                  <a:lnTo>
                    <a:pt x="373" y="287"/>
                  </a:lnTo>
                  <a:lnTo>
                    <a:pt x="371" y="287"/>
                  </a:lnTo>
                  <a:lnTo>
                    <a:pt x="369" y="286"/>
                  </a:lnTo>
                  <a:lnTo>
                    <a:pt x="367" y="285"/>
                  </a:lnTo>
                  <a:lnTo>
                    <a:pt x="366" y="284"/>
                  </a:lnTo>
                  <a:lnTo>
                    <a:pt x="365" y="284"/>
                  </a:lnTo>
                  <a:lnTo>
                    <a:pt x="364" y="282"/>
                  </a:lnTo>
                  <a:lnTo>
                    <a:pt x="363" y="280"/>
                  </a:lnTo>
                  <a:lnTo>
                    <a:pt x="363" y="279"/>
                  </a:lnTo>
                  <a:lnTo>
                    <a:pt x="363" y="278"/>
                  </a:lnTo>
                  <a:lnTo>
                    <a:pt x="361" y="277"/>
                  </a:lnTo>
                  <a:lnTo>
                    <a:pt x="359" y="276"/>
                  </a:lnTo>
                  <a:lnTo>
                    <a:pt x="358" y="275"/>
                  </a:lnTo>
                  <a:lnTo>
                    <a:pt x="350" y="272"/>
                  </a:lnTo>
                  <a:lnTo>
                    <a:pt x="347" y="272"/>
                  </a:lnTo>
                  <a:lnTo>
                    <a:pt x="344" y="270"/>
                  </a:lnTo>
                  <a:lnTo>
                    <a:pt x="340" y="268"/>
                  </a:lnTo>
                  <a:lnTo>
                    <a:pt x="336" y="264"/>
                  </a:lnTo>
                  <a:lnTo>
                    <a:pt x="330" y="260"/>
                  </a:lnTo>
                  <a:lnTo>
                    <a:pt x="327" y="257"/>
                  </a:lnTo>
                  <a:lnTo>
                    <a:pt x="324" y="254"/>
                  </a:lnTo>
                  <a:lnTo>
                    <a:pt x="318" y="247"/>
                  </a:lnTo>
                  <a:lnTo>
                    <a:pt x="316" y="245"/>
                  </a:lnTo>
                  <a:lnTo>
                    <a:pt x="313" y="242"/>
                  </a:lnTo>
                  <a:lnTo>
                    <a:pt x="311" y="240"/>
                  </a:lnTo>
                  <a:lnTo>
                    <a:pt x="308" y="238"/>
                  </a:lnTo>
                  <a:lnTo>
                    <a:pt x="306" y="238"/>
                  </a:lnTo>
                  <a:lnTo>
                    <a:pt x="306" y="238"/>
                  </a:lnTo>
                  <a:lnTo>
                    <a:pt x="306" y="238"/>
                  </a:lnTo>
                  <a:lnTo>
                    <a:pt x="305" y="238"/>
                  </a:lnTo>
                  <a:lnTo>
                    <a:pt x="304" y="238"/>
                  </a:lnTo>
                  <a:lnTo>
                    <a:pt x="302" y="239"/>
                  </a:lnTo>
                  <a:lnTo>
                    <a:pt x="300" y="240"/>
                  </a:lnTo>
                  <a:lnTo>
                    <a:pt x="299" y="241"/>
                  </a:lnTo>
                  <a:lnTo>
                    <a:pt x="298" y="242"/>
                  </a:lnTo>
                  <a:lnTo>
                    <a:pt x="297" y="244"/>
                  </a:lnTo>
                  <a:lnTo>
                    <a:pt x="296" y="245"/>
                  </a:lnTo>
                  <a:lnTo>
                    <a:pt x="294" y="252"/>
                  </a:lnTo>
                  <a:lnTo>
                    <a:pt x="293" y="255"/>
                  </a:lnTo>
                  <a:lnTo>
                    <a:pt x="292" y="256"/>
                  </a:lnTo>
                  <a:lnTo>
                    <a:pt x="291" y="257"/>
                  </a:lnTo>
                  <a:lnTo>
                    <a:pt x="290" y="258"/>
                  </a:lnTo>
                  <a:lnTo>
                    <a:pt x="288" y="259"/>
                  </a:lnTo>
                  <a:lnTo>
                    <a:pt x="287" y="259"/>
                  </a:lnTo>
                  <a:lnTo>
                    <a:pt x="286" y="259"/>
                  </a:lnTo>
                  <a:lnTo>
                    <a:pt x="284" y="259"/>
                  </a:lnTo>
                  <a:lnTo>
                    <a:pt x="282" y="258"/>
                  </a:lnTo>
                  <a:lnTo>
                    <a:pt x="274" y="256"/>
                  </a:lnTo>
                  <a:lnTo>
                    <a:pt x="272" y="255"/>
                  </a:lnTo>
                  <a:lnTo>
                    <a:pt x="270" y="255"/>
                  </a:lnTo>
                  <a:lnTo>
                    <a:pt x="268" y="255"/>
                  </a:lnTo>
                  <a:lnTo>
                    <a:pt x="266" y="256"/>
                  </a:lnTo>
                  <a:lnTo>
                    <a:pt x="264" y="257"/>
                  </a:lnTo>
                  <a:lnTo>
                    <a:pt x="261" y="258"/>
                  </a:lnTo>
                  <a:lnTo>
                    <a:pt x="261" y="259"/>
                  </a:lnTo>
                  <a:lnTo>
                    <a:pt x="260" y="261"/>
                  </a:lnTo>
                  <a:lnTo>
                    <a:pt x="259" y="261"/>
                  </a:lnTo>
                  <a:lnTo>
                    <a:pt x="258" y="263"/>
                  </a:lnTo>
                  <a:lnTo>
                    <a:pt x="257" y="265"/>
                  </a:lnTo>
                  <a:lnTo>
                    <a:pt x="257" y="267"/>
                  </a:lnTo>
                  <a:lnTo>
                    <a:pt x="255" y="273"/>
                  </a:lnTo>
                  <a:lnTo>
                    <a:pt x="255" y="275"/>
                  </a:lnTo>
                  <a:lnTo>
                    <a:pt x="254" y="276"/>
                  </a:lnTo>
                  <a:lnTo>
                    <a:pt x="254" y="278"/>
                  </a:lnTo>
                  <a:lnTo>
                    <a:pt x="253" y="279"/>
                  </a:lnTo>
                  <a:lnTo>
                    <a:pt x="251" y="280"/>
                  </a:lnTo>
                  <a:lnTo>
                    <a:pt x="250" y="282"/>
                  </a:lnTo>
                  <a:lnTo>
                    <a:pt x="249" y="284"/>
                  </a:lnTo>
                  <a:lnTo>
                    <a:pt x="247" y="284"/>
                  </a:lnTo>
                  <a:lnTo>
                    <a:pt x="245" y="286"/>
                  </a:lnTo>
                  <a:lnTo>
                    <a:pt x="243" y="286"/>
                  </a:lnTo>
                  <a:lnTo>
                    <a:pt x="240" y="287"/>
                  </a:lnTo>
                  <a:lnTo>
                    <a:pt x="238" y="288"/>
                  </a:lnTo>
                  <a:lnTo>
                    <a:pt x="231" y="289"/>
                  </a:lnTo>
                  <a:lnTo>
                    <a:pt x="229" y="289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4" y="293"/>
                  </a:lnTo>
                  <a:lnTo>
                    <a:pt x="223" y="294"/>
                  </a:lnTo>
                  <a:lnTo>
                    <a:pt x="221" y="296"/>
                  </a:lnTo>
                  <a:lnTo>
                    <a:pt x="218" y="301"/>
                  </a:lnTo>
                  <a:lnTo>
                    <a:pt x="216" y="304"/>
                  </a:lnTo>
                  <a:lnTo>
                    <a:pt x="215" y="306"/>
                  </a:lnTo>
                  <a:lnTo>
                    <a:pt x="213" y="307"/>
                  </a:lnTo>
                  <a:lnTo>
                    <a:pt x="211" y="309"/>
                  </a:lnTo>
                  <a:lnTo>
                    <a:pt x="208" y="311"/>
                  </a:lnTo>
                  <a:lnTo>
                    <a:pt x="205" y="313"/>
                  </a:lnTo>
                  <a:lnTo>
                    <a:pt x="202" y="315"/>
                  </a:lnTo>
                  <a:lnTo>
                    <a:pt x="202" y="314"/>
                  </a:lnTo>
                  <a:lnTo>
                    <a:pt x="201" y="312"/>
                  </a:lnTo>
                  <a:lnTo>
                    <a:pt x="201" y="311"/>
                  </a:lnTo>
                  <a:lnTo>
                    <a:pt x="200" y="309"/>
                  </a:lnTo>
                  <a:lnTo>
                    <a:pt x="197" y="306"/>
                  </a:lnTo>
                  <a:lnTo>
                    <a:pt x="195" y="304"/>
                  </a:lnTo>
                  <a:lnTo>
                    <a:pt x="194" y="302"/>
                  </a:lnTo>
                  <a:lnTo>
                    <a:pt x="190" y="298"/>
                  </a:lnTo>
                  <a:lnTo>
                    <a:pt x="187" y="295"/>
                  </a:lnTo>
                  <a:lnTo>
                    <a:pt x="185" y="295"/>
                  </a:lnTo>
                  <a:lnTo>
                    <a:pt x="183" y="294"/>
                  </a:lnTo>
                  <a:lnTo>
                    <a:pt x="182" y="293"/>
                  </a:lnTo>
                  <a:lnTo>
                    <a:pt x="181" y="292"/>
                  </a:lnTo>
                  <a:lnTo>
                    <a:pt x="180" y="292"/>
                  </a:lnTo>
                  <a:lnTo>
                    <a:pt x="178" y="292"/>
                  </a:lnTo>
                  <a:lnTo>
                    <a:pt x="176" y="292"/>
                  </a:lnTo>
                  <a:lnTo>
                    <a:pt x="174" y="292"/>
                  </a:lnTo>
                  <a:lnTo>
                    <a:pt x="171" y="293"/>
                  </a:lnTo>
                  <a:lnTo>
                    <a:pt x="166" y="295"/>
                  </a:lnTo>
                  <a:lnTo>
                    <a:pt x="159" y="297"/>
                  </a:lnTo>
                  <a:lnTo>
                    <a:pt x="152" y="300"/>
                  </a:lnTo>
                  <a:lnTo>
                    <a:pt x="149" y="301"/>
                  </a:lnTo>
                  <a:lnTo>
                    <a:pt x="147" y="301"/>
                  </a:lnTo>
                  <a:lnTo>
                    <a:pt x="145" y="301"/>
                  </a:lnTo>
                  <a:lnTo>
                    <a:pt x="142" y="301"/>
                  </a:lnTo>
                  <a:lnTo>
                    <a:pt x="139" y="300"/>
                  </a:lnTo>
                  <a:lnTo>
                    <a:pt x="132" y="299"/>
                  </a:lnTo>
                  <a:lnTo>
                    <a:pt x="126" y="298"/>
                  </a:lnTo>
                  <a:lnTo>
                    <a:pt x="116" y="297"/>
                  </a:lnTo>
                  <a:lnTo>
                    <a:pt x="113" y="296"/>
                  </a:lnTo>
                  <a:lnTo>
                    <a:pt x="111" y="296"/>
                  </a:lnTo>
                  <a:lnTo>
                    <a:pt x="99" y="298"/>
                  </a:lnTo>
                  <a:lnTo>
                    <a:pt x="97" y="298"/>
                  </a:lnTo>
                  <a:lnTo>
                    <a:pt x="95" y="298"/>
                  </a:lnTo>
                  <a:lnTo>
                    <a:pt x="93" y="298"/>
                  </a:lnTo>
                  <a:lnTo>
                    <a:pt x="91" y="298"/>
                  </a:lnTo>
                  <a:lnTo>
                    <a:pt x="90" y="297"/>
                  </a:lnTo>
                  <a:lnTo>
                    <a:pt x="87" y="296"/>
                  </a:lnTo>
                  <a:lnTo>
                    <a:pt x="85" y="295"/>
                  </a:lnTo>
                  <a:lnTo>
                    <a:pt x="84" y="295"/>
                  </a:lnTo>
                  <a:lnTo>
                    <a:pt x="82" y="294"/>
                  </a:lnTo>
                  <a:lnTo>
                    <a:pt x="80" y="292"/>
                  </a:lnTo>
                  <a:lnTo>
                    <a:pt x="79" y="291"/>
                  </a:lnTo>
                  <a:lnTo>
                    <a:pt x="78" y="289"/>
                  </a:lnTo>
                  <a:lnTo>
                    <a:pt x="77" y="288"/>
                  </a:lnTo>
                  <a:lnTo>
                    <a:pt x="76" y="286"/>
                  </a:lnTo>
                  <a:lnTo>
                    <a:pt x="75" y="284"/>
                  </a:lnTo>
                  <a:lnTo>
                    <a:pt x="74" y="282"/>
                  </a:lnTo>
                  <a:lnTo>
                    <a:pt x="74" y="280"/>
                  </a:lnTo>
                  <a:lnTo>
                    <a:pt x="73" y="277"/>
                  </a:lnTo>
                  <a:lnTo>
                    <a:pt x="73" y="274"/>
                  </a:lnTo>
                  <a:lnTo>
                    <a:pt x="73" y="269"/>
                  </a:lnTo>
                  <a:lnTo>
                    <a:pt x="73" y="266"/>
                  </a:lnTo>
                  <a:lnTo>
                    <a:pt x="73" y="265"/>
                  </a:lnTo>
                  <a:lnTo>
                    <a:pt x="72" y="264"/>
                  </a:lnTo>
                  <a:lnTo>
                    <a:pt x="71" y="262"/>
                  </a:lnTo>
                  <a:lnTo>
                    <a:pt x="70" y="261"/>
                  </a:lnTo>
                  <a:lnTo>
                    <a:pt x="69" y="260"/>
                  </a:lnTo>
                  <a:lnTo>
                    <a:pt x="66" y="256"/>
                  </a:lnTo>
                  <a:lnTo>
                    <a:pt x="62" y="252"/>
                  </a:lnTo>
                  <a:lnTo>
                    <a:pt x="58" y="250"/>
                  </a:lnTo>
                  <a:lnTo>
                    <a:pt x="56" y="249"/>
                  </a:lnTo>
                  <a:lnTo>
                    <a:pt x="56" y="247"/>
                  </a:lnTo>
                  <a:lnTo>
                    <a:pt x="53" y="242"/>
                  </a:lnTo>
                  <a:lnTo>
                    <a:pt x="52" y="241"/>
                  </a:lnTo>
                  <a:lnTo>
                    <a:pt x="51" y="240"/>
                  </a:lnTo>
                  <a:lnTo>
                    <a:pt x="50" y="239"/>
                  </a:lnTo>
                  <a:lnTo>
                    <a:pt x="49" y="238"/>
                  </a:lnTo>
                  <a:lnTo>
                    <a:pt x="46" y="238"/>
                  </a:lnTo>
                  <a:lnTo>
                    <a:pt x="44" y="237"/>
                  </a:lnTo>
                  <a:lnTo>
                    <a:pt x="40" y="236"/>
                  </a:lnTo>
                  <a:lnTo>
                    <a:pt x="38" y="235"/>
                  </a:lnTo>
                  <a:lnTo>
                    <a:pt x="35" y="235"/>
                  </a:lnTo>
                  <a:lnTo>
                    <a:pt x="25" y="235"/>
                  </a:lnTo>
                  <a:lnTo>
                    <a:pt x="21" y="234"/>
                  </a:lnTo>
                  <a:lnTo>
                    <a:pt x="18" y="233"/>
                  </a:lnTo>
                  <a:lnTo>
                    <a:pt x="15" y="233"/>
                  </a:lnTo>
                  <a:lnTo>
                    <a:pt x="13" y="232"/>
                  </a:lnTo>
                  <a:lnTo>
                    <a:pt x="12" y="232"/>
                  </a:lnTo>
                  <a:lnTo>
                    <a:pt x="12" y="231"/>
                  </a:lnTo>
                  <a:lnTo>
                    <a:pt x="11" y="227"/>
                  </a:lnTo>
                  <a:lnTo>
                    <a:pt x="10" y="225"/>
                  </a:lnTo>
                  <a:lnTo>
                    <a:pt x="9" y="219"/>
                  </a:lnTo>
                  <a:lnTo>
                    <a:pt x="8" y="216"/>
                  </a:lnTo>
                  <a:lnTo>
                    <a:pt x="7" y="213"/>
                  </a:lnTo>
                  <a:lnTo>
                    <a:pt x="2" y="204"/>
                  </a:lnTo>
                  <a:lnTo>
                    <a:pt x="1" y="202"/>
                  </a:lnTo>
                  <a:lnTo>
                    <a:pt x="1" y="200"/>
                  </a:lnTo>
                  <a:lnTo>
                    <a:pt x="0" y="198"/>
                  </a:lnTo>
                  <a:lnTo>
                    <a:pt x="0" y="197"/>
                  </a:lnTo>
                  <a:lnTo>
                    <a:pt x="0" y="195"/>
                  </a:lnTo>
                  <a:lnTo>
                    <a:pt x="0" y="194"/>
                  </a:lnTo>
                  <a:lnTo>
                    <a:pt x="1" y="193"/>
                  </a:lnTo>
                  <a:lnTo>
                    <a:pt x="2" y="191"/>
                  </a:lnTo>
                  <a:lnTo>
                    <a:pt x="3" y="189"/>
                  </a:lnTo>
                  <a:lnTo>
                    <a:pt x="5" y="187"/>
                  </a:lnTo>
                  <a:lnTo>
                    <a:pt x="6" y="186"/>
                  </a:lnTo>
                  <a:lnTo>
                    <a:pt x="8" y="185"/>
                  </a:lnTo>
                  <a:lnTo>
                    <a:pt x="13" y="182"/>
                  </a:lnTo>
                  <a:lnTo>
                    <a:pt x="15" y="182"/>
                  </a:lnTo>
                  <a:lnTo>
                    <a:pt x="17" y="180"/>
                  </a:lnTo>
                  <a:lnTo>
                    <a:pt x="18" y="179"/>
                  </a:lnTo>
                  <a:lnTo>
                    <a:pt x="18" y="178"/>
                  </a:lnTo>
                  <a:lnTo>
                    <a:pt x="19" y="176"/>
                  </a:lnTo>
                  <a:lnTo>
                    <a:pt x="22" y="169"/>
                  </a:lnTo>
                  <a:lnTo>
                    <a:pt x="23" y="167"/>
                  </a:lnTo>
                  <a:lnTo>
                    <a:pt x="24" y="164"/>
                  </a:lnTo>
                  <a:lnTo>
                    <a:pt x="28" y="158"/>
                  </a:lnTo>
                  <a:lnTo>
                    <a:pt x="30" y="156"/>
                  </a:lnTo>
                  <a:lnTo>
                    <a:pt x="31" y="154"/>
                  </a:lnTo>
                  <a:lnTo>
                    <a:pt x="32" y="150"/>
                  </a:lnTo>
                  <a:lnTo>
                    <a:pt x="33" y="147"/>
                  </a:lnTo>
                  <a:lnTo>
                    <a:pt x="33" y="144"/>
                  </a:lnTo>
                  <a:lnTo>
                    <a:pt x="33" y="140"/>
                  </a:lnTo>
                  <a:lnTo>
                    <a:pt x="33" y="138"/>
                  </a:lnTo>
                  <a:lnTo>
                    <a:pt x="32" y="134"/>
                  </a:lnTo>
                  <a:lnTo>
                    <a:pt x="29" y="125"/>
                  </a:lnTo>
                  <a:lnTo>
                    <a:pt x="28" y="122"/>
                  </a:lnTo>
                  <a:lnTo>
                    <a:pt x="26" y="118"/>
                  </a:lnTo>
                  <a:lnTo>
                    <a:pt x="25" y="116"/>
                  </a:lnTo>
                  <a:lnTo>
                    <a:pt x="23" y="114"/>
                  </a:lnTo>
                  <a:lnTo>
                    <a:pt x="22" y="111"/>
                  </a:lnTo>
                  <a:lnTo>
                    <a:pt x="20" y="109"/>
                  </a:lnTo>
                  <a:lnTo>
                    <a:pt x="19" y="107"/>
                  </a:lnTo>
                  <a:lnTo>
                    <a:pt x="19" y="105"/>
                  </a:lnTo>
                  <a:lnTo>
                    <a:pt x="19" y="104"/>
                  </a:lnTo>
                  <a:lnTo>
                    <a:pt x="18" y="102"/>
                  </a:lnTo>
                  <a:lnTo>
                    <a:pt x="18" y="99"/>
                  </a:lnTo>
                  <a:lnTo>
                    <a:pt x="18" y="88"/>
                  </a:lnTo>
                  <a:lnTo>
                    <a:pt x="18" y="81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8" y="77"/>
                  </a:lnTo>
                  <a:lnTo>
                    <a:pt x="15" y="71"/>
                  </a:lnTo>
                  <a:lnTo>
                    <a:pt x="13" y="66"/>
                  </a:lnTo>
                  <a:lnTo>
                    <a:pt x="12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8" y="51"/>
                  </a:lnTo>
                  <a:lnTo>
                    <a:pt x="7" y="49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3"/>
                  </a:lnTo>
                  <a:lnTo>
                    <a:pt x="9" y="41"/>
                  </a:lnTo>
                  <a:lnTo>
                    <a:pt x="11" y="38"/>
                  </a:lnTo>
                  <a:lnTo>
                    <a:pt x="12" y="36"/>
                  </a:lnTo>
                  <a:lnTo>
                    <a:pt x="14" y="34"/>
                  </a:lnTo>
                  <a:lnTo>
                    <a:pt x="20" y="28"/>
                  </a:lnTo>
                  <a:lnTo>
                    <a:pt x="23" y="24"/>
                  </a:lnTo>
                  <a:lnTo>
                    <a:pt x="25" y="23"/>
                  </a:lnTo>
                  <a:lnTo>
                    <a:pt x="27" y="24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8" y="25"/>
                  </a:lnTo>
                  <a:lnTo>
                    <a:pt x="29" y="27"/>
                  </a:lnTo>
                  <a:lnTo>
                    <a:pt x="31" y="28"/>
                  </a:lnTo>
                  <a:lnTo>
                    <a:pt x="34" y="30"/>
                  </a:lnTo>
                  <a:lnTo>
                    <a:pt x="45" y="36"/>
                  </a:lnTo>
                  <a:lnTo>
                    <a:pt x="55" y="42"/>
                  </a:lnTo>
                  <a:lnTo>
                    <a:pt x="60" y="45"/>
                  </a:lnTo>
                  <a:lnTo>
                    <a:pt x="64" y="46"/>
                  </a:lnTo>
                  <a:lnTo>
                    <a:pt x="68" y="47"/>
                  </a:lnTo>
                  <a:lnTo>
                    <a:pt x="70" y="48"/>
                  </a:lnTo>
                  <a:lnTo>
                    <a:pt x="74" y="50"/>
                  </a:lnTo>
                  <a:lnTo>
                    <a:pt x="77" y="50"/>
                  </a:lnTo>
                  <a:lnTo>
                    <a:pt x="79" y="51"/>
                  </a:lnTo>
                  <a:lnTo>
                    <a:pt x="81" y="51"/>
                  </a:lnTo>
                  <a:lnTo>
                    <a:pt x="83" y="5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5" name="Freeform 48">
              <a:extLst>
                <a:ext uri="{FF2B5EF4-FFF2-40B4-BE49-F238E27FC236}">
                  <a16:creationId xmlns:a16="http://schemas.microsoft.com/office/drawing/2014/main" id="{61AEB787-F416-46FE-8332-35C3EFAA4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3" y="1429"/>
              <a:ext cx="478" cy="442"/>
            </a:xfrm>
            <a:custGeom>
              <a:avLst/>
              <a:gdLst>
                <a:gd name="T0" fmla="*/ 283 w 478"/>
                <a:gd name="T1" fmla="*/ 40 h 442"/>
                <a:gd name="T2" fmla="*/ 301 w 478"/>
                <a:gd name="T3" fmla="*/ 42 h 442"/>
                <a:gd name="T4" fmla="*/ 317 w 478"/>
                <a:gd name="T5" fmla="*/ 20 h 442"/>
                <a:gd name="T6" fmla="*/ 331 w 478"/>
                <a:gd name="T7" fmla="*/ 2 h 442"/>
                <a:gd name="T8" fmla="*/ 364 w 478"/>
                <a:gd name="T9" fmla="*/ 4 h 442"/>
                <a:gd name="T10" fmla="*/ 399 w 478"/>
                <a:gd name="T11" fmla="*/ 8 h 442"/>
                <a:gd name="T12" fmla="*/ 432 w 478"/>
                <a:gd name="T13" fmla="*/ 36 h 442"/>
                <a:gd name="T14" fmla="*/ 472 w 478"/>
                <a:gd name="T15" fmla="*/ 79 h 442"/>
                <a:gd name="T16" fmla="*/ 477 w 478"/>
                <a:gd name="T17" fmla="*/ 101 h 442"/>
                <a:gd name="T18" fmla="*/ 461 w 478"/>
                <a:gd name="T19" fmla="*/ 122 h 442"/>
                <a:gd name="T20" fmla="*/ 448 w 478"/>
                <a:gd name="T21" fmla="*/ 160 h 442"/>
                <a:gd name="T22" fmla="*/ 422 w 478"/>
                <a:gd name="T23" fmla="*/ 191 h 442"/>
                <a:gd name="T24" fmla="*/ 397 w 478"/>
                <a:gd name="T25" fmla="*/ 196 h 442"/>
                <a:gd name="T26" fmla="*/ 377 w 478"/>
                <a:gd name="T27" fmla="*/ 212 h 442"/>
                <a:gd name="T28" fmla="*/ 354 w 478"/>
                <a:gd name="T29" fmla="*/ 224 h 442"/>
                <a:gd name="T30" fmla="*/ 331 w 478"/>
                <a:gd name="T31" fmla="*/ 242 h 442"/>
                <a:gd name="T32" fmla="*/ 321 w 478"/>
                <a:gd name="T33" fmla="*/ 260 h 442"/>
                <a:gd name="T34" fmla="*/ 308 w 478"/>
                <a:gd name="T35" fmla="*/ 268 h 442"/>
                <a:gd name="T36" fmla="*/ 312 w 478"/>
                <a:gd name="T37" fmla="*/ 294 h 442"/>
                <a:gd name="T38" fmla="*/ 330 w 478"/>
                <a:gd name="T39" fmla="*/ 306 h 442"/>
                <a:gd name="T40" fmla="*/ 354 w 478"/>
                <a:gd name="T41" fmla="*/ 333 h 442"/>
                <a:gd name="T42" fmla="*/ 357 w 478"/>
                <a:gd name="T43" fmla="*/ 369 h 442"/>
                <a:gd name="T44" fmla="*/ 336 w 478"/>
                <a:gd name="T45" fmla="*/ 374 h 442"/>
                <a:gd name="T46" fmla="*/ 322 w 478"/>
                <a:gd name="T47" fmla="*/ 375 h 442"/>
                <a:gd name="T48" fmla="*/ 298 w 478"/>
                <a:gd name="T49" fmla="*/ 393 h 442"/>
                <a:gd name="T50" fmla="*/ 262 w 478"/>
                <a:gd name="T51" fmla="*/ 410 h 442"/>
                <a:gd name="T52" fmla="*/ 246 w 478"/>
                <a:gd name="T53" fmla="*/ 429 h 442"/>
                <a:gd name="T54" fmla="*/ 219 w 478"/>
                <a:gd name="T55" fmla="*/ 439 h 442"/>
                <a:gd name="T56" fmla="*/ 199 w 478"/>
                <a:gd name="T57" fmla="*/ 439 h 442"/>
                <a:gd name="T58" fmla="*/ 177 w 478"/>
                <a:gd name="T59" fmla="*/ 424 h 442"/>
                <a:gd name="T60" fmla="*/ 149 w 478"/>
                <a:gd name="T61" fmla="*/ 434 h 442"/>
                <a:gd name="T62" fmla="*/ 128 w 478"/>
                <a:gd name="T63" fmla="*/ 432 h 442"/>
                <a:gd name="T64" fmla="*/ 95 w 478"/>
                <a:gd name="T65" fmla="*/ 437 h 442"/>
                <a:gd name="T66" fmla="*/ 71 w 478"/>
                <a:gd name="T67" fmla="*/ 432 h 442"/>
                <a:gd name="T68" fmla="*/ 64 w 478"/>
                <a:gd name="T69" fmla="*/ 411 h 442"/>
                <a:gd name="T70" fmla="*/ 46 w 478"/>
                <a:gd name="T71" fmla="*/ 405 h 442"/>
                <a:gd name="T72" fmla="*/ 23 w 478"/>
                <a:gd name="T73" fmla="*/ 393 h 442"/>
                <a:gd name="T74" fmla="*/ 5 w 478"/>
                <a:gd name="T75" fmla="*/ 388 h 442"/>
                <a:gd name="T76" fmla="*/ 3 w 478"/>
                <a:gd name="T77" fmla="*/ 375 h 442"/>
                <a:gd name="T78" fmla="*/ 27 w 478"/>
                <a:gd name="T79" fmla="*/ 367 h 442"/>
                <a:gd name="T80" fmla="*/ 52 w 478"/>
                <a:gd name="T81" fmla="*/ 347 h 442"/>
                <a:gd name="T82" fmla="*/ 75 w 478"/>
                <a:gd name="T83" fmla="*/ 321 h 442"/>
                <a:gd name="T84" fmla="*/ 96 w 478"/>
                <a:gd name="T85" fmla="*/ 322 h 442"/>
                <a:gd name="T86" fmla="*/ 110 w 478"/>
                <a:gd name="T87" fmla="*/ 314 h 442"/>
                <a:gd name="T88" fmla="*/ 102 w 478"/>
                <a:gd name="T89" fmla="*/ 278 h 442"/>
                <a:gd name="T90" fmla="*/ 112 w 478"/>
                <a:gd name="T91" fmla="*/ 241 h 442"/>
                <a:gd name="T92" fmla="*/ 129 w 478"/>
                <a:gd name="T93" fmla="*/ 231 h 442"/>
                <a:gd name="T94" fmla="*/ 159 w 478"/>
                <a:gd name="T95" fmla="*/ 233 h 442"/>
                <a:gd name="T96" fmla="*/ 186 w 478"/>
                <a:gd name="T97" fmla="*/ 225 h 442"/>
                <a:gd name="T98" fmla="*/ 224 w 478"/>
                <a:gd name="T99" fmla="*/ 206 h 442"/>
                <a:gd name="T100" fmla="*/ 234 w 478"/>
                <a:gd name="T101" fmla="*/ 192 h 442"/>
                <a:gd name="T102" fmla="*/ 236 w 478"/>
                <a:gd name="T103" fmla="*/ 169 h 442"/>
                <a:gd name="T104" fmla="*/ 251 w 478"/>
                <a:gd name="T105" fmla="*/ 135 h 442"/>
                <a:gd name="T106" fmla="*/ 241 w 478"/>
                <a:gd name="T107" fmla="*/ 105 h 442"/>
                <a:gd name="T108" fmla="*/ 232 w 478"/>
                <a:gd name="T109" fmla="*/ 78 h 442"/>
                <a:gd name="T110" fmla="*/ 209 w 478"/>
                <a:gd name="T111" fmla="*/ 71 h 442"/>
                <a:gd name="T112" fmla="*/ 197 w 478"/>
                <a:gd name="T113" fmla="*/ 81 h 442"/>
                <a:gd name="T114" fmla="*/ 191 w 478"/>
                <a:gd name="T115" fmla="*/ 71 h 442"/>
                <a:gd name="T116" fmla="*/ 199 w 478"/>
                <a:gd name="T117" fmla="*/ 39 h 442"/>
                <a:gd name="T118" fmla="*/ 222 w 478"/>
                <a:gd name="T119" fmla="*/ 14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8" h="442">
                  <a:moveTo>
                    <a:pt x="227" y="8"/>
                  </a:moveTo>
                  <a:lnTo>
                    <a:pt x="234" y="10"/>
                  </a:lnTo>
                  <a:lnTo>
                    <a:pt x="240" y="12"/>
                  </a:lnTo>
                  <a:lnTo>
                    <a:pt x="258" y="21"/>
                  </a:lnTo>
                  <a:lnTo>
                    <a:pt x="262" y="23"/>
                  </a:lnTo>
                  <a:lnTo>
                    <a:pt x="267" y="27"/>
                  </a:lnTo>
                  <a:lnTo>
                    <a:pt x="273" y="31"/>
                  </a:lnTo>
                  <a:lnTo>
                    <a:pt x="277" y="33"/>
                  </a:lnTo>
                  <a:lnTo>
                    <a:pt x="283" y="40"/>
                  </a:lnTo>
                  <a:lnTo>
                    <a:pt x="286" y="42"/>
                  </a:lnTo>
                  <a:lnTo>
                    <a:pt x="288" y="43"/>
                  </a:lnTo>
                  <a:lnTo>
                    <a:pt x="289" y="44"/>
                  </a:lnTo>
                  <a:lnTo>
                    <a:pt x="291" y="44"/>
                  </a:lnTo>
                  <a:lnTo>
                    <a:pt x="293" y="44"/>
                  </a:lnTo>
                  <a:lnTo>
                    <a:pt x="295" y="44"/>
                  </a:lnTo>
                  <a:lnTo>
                    <a:pt x="298" y="44"/>
                  </a:lnTo>
                  <a:lnTo>
                    <a:pt x="300" y="43"/>
                  </a:lnTo>
                  <a:lnTo>
                    <a:pt x="301" y="42"/>
                  </a:lnTo>
                  <a:lnTo>
                    <a:pt x="304" y="41"/>
                  </a:lnTo>
                  <a:lnTo>
                    <a:pt x="305" y="40"/>
                  </a:lnTo>
                  <a:lnTo>
                    <a:pt x="307" y="38"/>
                  </a:lnTo>
                  <a:lnTo>
                    <a:pt x="309" y="37"/>
                  </a:lnTo>
                  <a:lnTo>
                    <a:pt x="310" y="35"/>
                  </a:lnTo>
                  <a:lnTo>
                    <a:pt x="311" y="34"/>
                  </a:lnTo>
                  <a:lnTo>
                    <a:pt x="312" y="31"/>
                  </a:lnTo>
                  <a:lnTo>
                    <a:pt x="314" y="28"/>
                  </a:lnTo>
                  <a:lnTo>
                    <a:pt x="317" y="20"/>
                  </a:lnTo>
                  <a:lnTo>
                    <a:pt x="318" y="16"/>
                  </a:lnTo>
                  <a:lnTo>
                    <a:pt x="320" y="12"/>
                  </a:lnTo>
                  <a:lnTo>
                    <a:pt x="322" y="10"/>
                  </a:lnTo>
                  <a:lnTo>
                    <a:pt x="324" y="7"/>
                  </a:lnTo>
                  <a:lnTo>
                    <a:pt x="326" y="5"/>
                  </a:lnTo>
                  <a:lnTo>
                    <a:pt x="327" y="4"/>
                  </a:lnTo>
                  <a:lnTo>
                    <a:pt x="328" y="3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3" y="1"/>
                  </a:lnTo>
                  <a:lnTo>
                    <a:pt x="334" y="1"/>
                  </a:lnTo>
                  <a:lnTo>
                    <a:pt x="337" y="0"/>
                  </a:lnTo>
                  <a:lnTo>
                    <a:pt x="342" y="0"/>
                  </a:lnTo>
                  <a:lnTo>
                    <a:pt x="347" y="0"/>
                  </a:lnTo>
                  <a:lnTo>
                    <a:pt x="351" y="1"/>
                  </a:lnTo>
                  <a:lnTo>
                    <a:pt x="355" y="1"/>
                  </a:lnTo>
                  <a:lnTo>
                    <a:pt x="357" y="2"/>
                  </a:lnTo>
                  <a:lnTo>
                    <a:pt x="364" y="4"/>
                  </a:lnTo>
                  <a:lnTo>
                    <a:pt x="367" y="4"/>
                  </a:lnTo>
                  <a:lnTo>
                    <a:pt x="369" y="5"/>
                  </a:lnTo>
                  <a:lnTo>
                    <a:pt x="372" y="5"/>
                  </a:lnTo>
                  <a:lnTo>
                    <a:pt x="377" y="5"/>
                  </a:lnTo>
                  <a:lnTo>
                    <a:pt x="385" y="5"/>
                  </a:lnTo>
                  <a:lnTo>
                    <a:pt x="389" y="5"/>
                  </a:lnTo>
                  <a:lnTo>
                    <a:pt x="392" y="6"/>
                  </a:lnTo>
                  <a:lnTo>
                    <a:pt x="396" y="7"/>
                  </a:lnTo>
                  <a:lnTo>
                    <a:pt x="399" y="8"/>
                  </a:lnTo>
                  <a:lnTo>
                    <a:pt x="401" y="9"/>
                  </a:lnTo>
                  <a:lnTo>
                    <a:pt x="403" y="10"/>
                  </a:lnTo>
                  <a:lnTo>
                    <a:pt x="405" y="11"/>
                  </a:lnTo>
                  <a:lnTo>
                    <a:pt x="409" y="14"/>
                  </a:lnTo>
                  <a:lnTo>
                    <a:pt x="415" y="20"/>
                  </a:lnTo>
                  <a:lnTo>
                    <a:pt x="420" y="24"/>
                  </a:lnTo>
                  <a:lnTo>
                    <a:pt x="424" y="27"/>
                  </a:lnTo>
                  <a:lnTo>
                    <a:pt x="427" y="31"/>
                  </a:lnTo>
                  <a:lnTo>
                    <a:pt x="432" y="36"/>
                  </a:lnTo>
                  <a:lnTo>
                    <a:pt x="439" y="44"/>
                  </a:lnTo>
                  <a:lnTo>
                    <a:pt x="444" y="50"/>
                  </a:lnTo>
                  <a:lnTo>
                    <a:pt x="448" y="54"/>
                  </a:lnTo>
                  <a:lnTo>
                    <a:pt x="454" y="59"/>
                  </a:lnTo>
                  <a:lnTo>
                    <a:pt x="457" y="62"/>
                  </a:lnTo>
                  <a:lnTo>
                    <a:pt x="463" y="67"/>
                  </a:lnTo>
                  <a:lnTo>
                    <a:pt x="466" y="71"/>
                  </a:lnTo>
                  <a:lnTo>
                    <a:pt x="470" y="75"/>
                  </a:lnTo>
                  <a:lnTo>
                    <a:pt x="472" y="79"/>
                  </a:lnTo>
                  <a:lnTo>
                    <a:pt x="475" y="83"/>
                  </a:lnTo>
                  <a:lnTo>
                    <a:pt x="476" y="87"/>
                  </a:lnTo>
                  <a:lnTo>
                    <a:pt x="477" y="89"/>
                  </a:lnTo>
                  <a:lnTo>
                    <a:pt x="478" y="91"/>
                  </a:lnTo>
                  <a:lnTo>
                    <a:pt x="478" y="93"/>
                  </a:lnTo>
                  <a:lnTo>
                    <a:pt x="478" y="95"/>
                  </a:lnTo>
                  <a:lnTo>
                    <a:pt x="478" y="97"/>
                  </a:lnTo>
                  <a:lnTo>
                    <a:pt x="478" y="99"/>
                  </a:lnTo>
                  <a:lnTo>
                    <a:pt x="477" y="101"/>
                  </a:lnTo>
                  <a:lnTo>
                    <a:pt x="477" y="102"/>
                  </a:lnTo>
                  <a:lnTo>
                    <a:pt x="476" y="103"/>
                  </a:lnTo>
                  <a:lnTo>
                    <a:pt x="475" y="105"/>
                  </a:lnTo>
                  <a:lnTo>
                    <a:pt x="473" y="108"/>
                  </a:lnTo>
                  <a:lnTo>
                    <a:pt x="471" y="112"/>
                  </a:lnTo>
                  <a:lnTo>
                    <a:pt x="465" y="116"/>
                  </a:lnTo>
                  <a:lnTo>
                    <a:pt x="464" y="118"/>
                  </a:lnTo>
                  <a:lnTo>
                    <a:pt x="462" y="120"/>
                  </a:lnTo>
                  <a:lnTo>
                    <a:pt x="461" y="122"/>
                  </a:lnTo>
                  <a:lnTo>
                    <a:pt x="460" y="124"/>
                  </a:lnTo>
                  <a:lnTo>
                    <a:pt x="458" y="132"/>
                  </a:lnTo>
                  <a:lnTo>
                    <a:pt x="457" y="136"/>
                  </a:lnTo>
                  <a:lnTo>
                    <a:pt x="455" y="139"/>
                  </a:lnTo>
                  <a:lnTo>
                    <a:pt x="451" y="146"/>
                  </a:lnTo>
                  <a:lnTo>
                    <a:pt x="449" y="148"/>
                  </a:lnTo>
                  <a:lnTo>
                    <a:pt x="449" y="151"/>
                  </a:lnTo>
                  <a:lnTo>
                    <a:pt x="448" y="157"/>
                  </a:lnTo>
                  <a:lnTo>
                    <a:pt x="448" y="160"/>
                  </a:lnTo>
                  <a:lnTo>
                    <a:pt x="447" y="163"/>
                  </a:lnTo>
                  <a:lnTo>
                    <a:pt x="445" y="166"/>
                  </a:lnTo>
                  <a:lnTo>
                    <a:pt x="443" y="169"/>
                  </a:lnTo>
                  <a:lnTo>
                    <a:pt x="440" y="173"/>
                  </a:lnTo>
                  <a:lnTo>
                    <a:pt x="437" y="176"/>
                  </a:lnTo>
                  <a:lnTo>
                    <a:pt x="429" y="185"/>
                  </a:lnTo>
                  <a:lnTo>
                    <a:pt x="425" y="189"/>
                  </a:lnTo>
                  <a:lnTo>
                    <a:pt x="424" y="191"/>
                  </a:lnTo>
                  <a:lnTo>
                    <a:pt x="422" y="191"/>
                  </a:lnTo>
                  <a:lnTo>
                    <a:pt x="420" y="193"/>
                  </a:lnTo>
                  <a:lnTo>
                    <a:pt x="418" y="194"/>
                  </a:lnTo>
                  <a:lnTo>
                    <a:pt x="416" y="195"/>
                  </a:lnTo>
                  <a:lnTo>
                    <a:pt x="414" y="196"/>
                  </a:lnTo>
                  <a:lnTo>
                    <a:pt x="412" y="196"/>
                  </a:lnTo>
                  <a:lnTo>
                    <a:pt x="409" y="197"/>
                  </a:lnTo>
                  <a:lnTo>
                    <a:pt x="406" y="196"/>
                  </a:lnTo>
                  <a:lnTo>
                    <a:pt x="400" y="196"/>
                  </a:lnTo>
                  <a:lnTo>
                    <a:pt x="397" y="196"/>
                  </a:lnTo>
                  <a:lnTo>
                    <a:pt x="396" y="196"/>
                  </a:lnTo>
                  <a:lnTo>
                    <a:pt x="394" y="196"/>
                  </a:lnTo>
                  <a:lnTo>
                    <a:pt x="392" y="196"/>
                  </a:lnTo>
                  <a:lnTo>
                    <a:pt x="391" y="197"/>
                  </a:lnTo>
                  <a:lnTo>
                    <a:pt x="390" y="198"/>
                  </a:lnTo>
                  <a:lnTo>
                    <a:pt x="389" y="199"/>
                  </a:lnTo>
                  <a:lnTo>
                    <a:pt x="387" y="200"/>
                  </a:lnTo>
                  <a:lnTo>
                    <a:pt x="382" y="205"/>
                  </a:lnTo>
                  <a:lnTo>
                    <a:pt x="377" y="212"/>
                  </a:lnTo>
                  <a:lnTo>
                    <a:pt x="374" y="214"/>
                  </a:lnTo>
                  <a:lnTo>
                    <a:pt x="372" y="215"/>
                  </a:lnTo>
                  <a:lnTo>
                    <a:pt x="370" y="217"/>
                  </a:lnTo>
                  <a:lnTo>
                    <a:pt x="368" y="218"/>
                  </a:lnTo>
                  <a:lnTo>
                    <a:pt x="365" y="219"/>
                  </a:lnTo>
                  <a:lnTo>
                    <a:pt x="360" y="220"/>
                  </a:lnTo>
                  <a:lnTo>
                    <a:pt x="358" y="221"/>
                  </a:lnTo>
                  <a:lnTo>
                    <a:pt x="357" y="222"/>
                  </a:lnTo>
                  <a:lnTo>
                    <a:pt x="354" y="224"/>
                  </a:lnTo>
                  <a:lnTo>
                    <a:pt x="348" y="226"/>
                  </a:lnTo>
                  <a:lnTo>
                    <a:pt x="346" y="227"/>
                  </a:lnTo>
                  <a:lnTo>
                    <a:pt x="345" y="229"/>
                  </a:lnTo>
                  <a:lnTo>
                    <a:pt x="343" y="231"/>
                  </a:lnTo>
                  <a:lnTo>
                    <a:pt x="340" y="235"/>
                  </a:lnTo>
                  <a:lnTo>
                    <a:pt x="338" y="237"/>
                  </a:lnTo>
                  <a:lnTo>
                    <a:pt x="336" y="237"/>
                  </a:lnTo>
                  <a:lnTo>
                    <a:pt x="332" y="240"/>
                  </a:lnTo>
                  <a:lnTo>
                    <a:pt x="331" y="242"/>
                  </a:lnTo>
                  <a:lnTo>
                    <a:pt x="325" y="248"/>
                  </a:lnTo>
                  <a:lnTo>
                    <a:pt x="324" y="248"/>
                  </a:lnTo>
                  <a:lnTo>
                    <a:pt x="324" y="250"/>
                  </a:lnTo>
                  <a:lnTo>
                    <a:pt x="323" y="251"/>
                  </a:lnTo>
                  <a:lnTo>
                    <a:pt x="323" y="255"/>
                  </a:lnTo>
                  <a:lnTo>
                    <a:pt x="323" y="257"/>
                  </a:lnTo>
                  <a:lnTo>
                    <a:pt x="323" y="259"/>
                  </a:lnTo>
                  <a:lnTo>
                    <a:pt x="322" y="259"/>
                  </a:lnTo>
                  <a:lnTo>
                    <a:pt x="321" y="260"/>
                  </a:lnTo>
                  <a:lnTo>
                    <a:pt x="320" y="260"/>
                  </a:lnTo>
                  <a:lnTo>
                    <a:pt x="319" y="261"/>
                  </a:lnTo>
                  <a:lnTo>
                    <a:pt x="316" y="261"/>
                  </a:lnTo>
                  <a:lnTo>
                    <a:pt x="314" y="262"/>
                  </a:lnTo>
                  <a:lnTo>
                    <a:pt x="313" y="262"/>
                  </a:lnTo>
                  <a:lnTo>
                    <a:pt x="311" y="263"/>
                  </a:lnTo>
                  <a:lnTo>
                    <a:pt x="310" y="264"/>
                  </a:lnTo>
                  <a:lnTo>
                    <a:pt x="309" y="266"/>
                  </a:lnTo>
                  <a:lnTo>
                    <a:pt x="308" y="268"/>
                  </a:lnTo>
                  <a:lnTo>
                    <a:pt x="307" y="270"/>
                  </a:lnTo>
                  <a:lnTo>
                    <a:pt x="306" y="272"/>
                  </a:lnTo>
                  <a:lnTo>
                    <a:pt x="305" y="275"/>
                  </a:lnTo>
                  <a:lnTo>
                    <a:pt x="305" y="278"/>
                  </a:lnTo>
                  <a:lnTo>
                    <a:pt x="306" y="281"/>
                  </a:lnTo>
                  <a:lnTo>
                    <a:pt x="306" y="282"/>
                  </a:lnTo>
                  <a:lnTo>
                    <a:pt x="307" y="283"/>
                  </a:lnTo>
                  <a:lnTo>
                    <a:pt x="310" y="290"/>
                  </a:lnTo>
                  <a:lnTo>
                    <a:pt x="312" y="294"/>
                  </a:lnTo>
                  <a:lnTo>
                    <a:pt x="314" y="298"/>
                  </a:lnTo>
                  <a:lnTo>
                    <a:pt x="315" y="299"/>
                  </a:lnTo>
                  <a:lnTo>
                    <a:pt x="316" y="300"/>
                  </a:lnTo>
                  <a:lnTo>
                    <a:pt x="317" y="302"/>
                  </a:lnTo>
                  <a:lnTo>
                    <a:pt x="319" y="303"/>
                  </a:lnTo>
                  <a:lnTo>
                    <a:pt x="320" y="303"/>
                  </a:lnTo>
                  <a:lnTo>
                    <a:pt x="322" y="304"/>
                  </a:lnTo>
                  <a:lnTo>
                    <a:pt x="328" y="305"/>
                  </a:lnTo>
                  <a:lnTo>
                    <a:pt x="330" y="306"/>
                  </a:lnTo>
                  <a:lnTo>
                    <a:pt x="331" y="306"/>
                  </a:lnTo>
                  <a:lnTo>
                    <a:pt x="333" y="308"/>
                  </a:lnTo>
                  <a:lnTo>
                    <a:pt x="335" y="309"/>
                  </a:lnTo>
                  <a:lnTo>
                    <a:pt x="337" y="311"/>
                  </a:lnTo>
                  <a:lnTo>
                    <a:pt x="339" y="313"/>
                  </a:lnTo>
                  <a:lnTo>
                    <a:pt x="341" y="315"/>
                  </a:lnTo>
                  <a:lnTo>
                    <a:pt x="345" y="321"/>
                  </a:lnTo>
                  <a:lnTo>
                    <a:pt x="350" y="329"/>
                  </a:lnTo>
                  <a:lnTo>
                    <a:pt x="354" y="333"/>
                  </a:lnTo>
                  <a:lnTo>
                    <a:pt x="357" y="338"/>
                  </a:lnTo>
                  <a:lnTo>
                    <a:pt x="367" y="356"/>
                  </a:lnTo>
                  <a:lnTo>
                    <a:pt x="367" y="357"/>
                  </a:lnTo>
                  <a:lnTo>
                    <a:pt x="367" y="358"/>
                  </a:lnTo>
                  <a:lnTo>
                    <a:pt x="366" y="359"/>
                  </a:lnTo>
                  <a:lnTo>
                    <a:pt x="365" y="361"/>
                  </a:lnTo>
                  <a:lnTo>
                    <a:pt x="363" y="363"/>
                  </a:lnTo>
                  <a:lnTo>
                    <a:pt x="360" y="366"/>
                  </a:lnTo>
                  <a:lnTo>
                    <a:pt x="357" y="369"/>
                  </a:lnTo>
                  <a:lnTo>
                    <a:pt x="355" y="371"/>
                  </a:lnTo>
                  <a:lnTo>
                    <a:pt x="352" y="373"/>
                  </a:lnTo>
                  <a:lnTo>
                    <a:pt x="350" y="373"/>
                  </a:lnTo>
                  <a:lnTo>
                    <a:pt x="347" y="374"/>
                  </a:lnTo>
                  <a:lnTo>
                    <a:pt x="345" y="375"/>
                  </a:lnTo>
                  <a:lnTo>
                    <a:pt x="342" y="375"/>
                  </a:lnTo>
                  <a:lnTo>
                    <a:pt x="340" y="375"/>
                  </a:lnTo>
                  <a:lnTo>
                    <a:pt x="338" y="374"/>
                  </a:lnTo>
                  <a:lnTo>
                    <a:pt x="336" y="374"/>
                  </a:lnTo>
                  <a:lnTo>
                    <a:pt x="333" y="373"/>
                  </a:lnTo>
                  <a:lnTo>
                    <a:pt x="330" y="372"/>
                  </a:lnTo>
                  <a:lnTo>
                    <a:pt x="329" y="372"/>
                  </a:lnTo>
                  <a:lnTo>
                    <a:pt x="328" y="372"/>
                  </a:lnTo>
                  <a:lnTo>
                    <a:pt x="327" y="373"/>
                  </a:lnTo>
                  <a:lnTo>
                    <a:pt x="326" y="373"/>
                  </a:lnTo>
                  <a:lnTo>
                    <a:pt x="325" y="373"/>
                  </a:lnTo>
                  <a:lnTo>
                    <a:pt x="324" y="373"/>
                  </a:lnTo>
                  <a:lnTo>
                    <a:pt x="322" y="375"/>
                  </a:lnTo>
                  <a:lnTo>
                    <a:pt x="320" y="378"/>
                  </a:lnTo>
                  <a:lnTo>
                    <a:pt x="316" y="383"/>
                  </a:lnTo>
                  <a:lnTo>
                    <a:pt x="314" y="384"/>
                  </a:lnTo>
                  <a:lnTo>
                    <a:pt x="312" y="386"/>
                  </a:lnTo>
                  <a:lnTo>
                    <a:pt x="310" y="388"/>
                  </a:lnTo>
                  <a:lnTo>
                    <a:pt x="307" y="389"/>
                  </a:lnTo>
                  <a:lnTo>
                    <a:pt x="305" y="391"/>
                  </a:lnTo>
                  <a:lnTo>
                    <a:pt x="303" y="391"/>
                  </a:lnTo>
                  <a:lnTo>
                    <a:pt x="298" y="393"/>
                  </a:lnTo>
                  <a:lnTo>
                    <a:pt x="294" y="395"/>
                  </a:lnTo>
                  <a:lnTo>
                    <a:pt x="291" y="395"/>
                  </a:lnTo>
                  <a:lnTo>
                    <a:pt x="285" y="400"/>
                  </a:lnTo>
                  <a:lnTo>
                    <a:pt x="280" y="403"/>
                  </a:lnTo>
                  <a:lnTo>
                    <a:pt x="276" y="405"/>
                  </a:lnTo>
                  <a:lnTo>
                    <a:pt x="269" y="407"/>
                  </a:lnTo>
                  <a:lnTo>
                    <a:pt x="267" y="407"/>
                  </a:lnTo>
                  <a:lnTo>
                    <a:pt x="265" y="408"/>
                  </a:lnTo>
                  <a:lnTo>
                    <a:pt x="262" y="410"/>
                  </a:lnTo>
                  <a:lnTo>
                    <a:pt x="259" y="412"/>
                  </a:lnTo>
                  <a:lnTo>
                    <a:pt x="257" y="413"/>
                  </a:lnTo>
                  <a:lnTo>
                    <a:pt x="255" y="415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2" y="419"/>
                  </a:lnTo>
                  <a:lnTo>
                    <a:pt x="249" y="425"/>
                  </a:lnTo>
                  <a:lnTo>
                    <a:pt x="248" y="427"/>
                  </a:lnTo>
                  <a:lnTo>
                    <a:pt x="246" y="429"/>
                  </a:lnTo>
                  <a:lnTo>
                    <a:pt x="245" y="430"/>
                  </a:lnTo>
                  <a:lnTo>
                    <a:pt x="243" y="432"/>
                  </a:lnTo>
                  <a:lnTo>
                    <a:pt x="242" y="434"/>
                  </a:lnTo>
                  <a:lnTo>
                    <a:pt x="240" y="435"/>
                  </a:lnTo>
                  <a:lnTo>
                    <a:pt x="237" y="436"/>
                  </a:lnTo>
                  <a:lnTo>
                    <a:pt x="234" y="437"/>
                  </a:lnTo>
                  <a:lnTo>
                    <a:pt x="232" y="437"/>
                  </a:lnTo>
                  <a:lnTo>
                    <a:pt x="222" y="439"/>
                  </a:lnTo>
                  <a:lnTo>
                    <a:pt x="219" y="439"/>
                  </a:lnTo>
                  <a:lnTo>
                    <a:pt x="216" y="440"/>
                  </a:lnTo>
                  <a:lnTo>
                    <a:pt x="211" y="441"/>
                  </a:lnTo>
                  <a:lnTo>
                    <a:pt x="209" y="441"/>
                  </a:lnTo>
                  <a:lnTo>
                    <a:pt x="207" y="442"/>
                  </a:lnTo>
                  <a:lnTo>
                    <a:pt x="205" y="441"/>
                  </a:lnTo>
                  <a:lnTo>
                    <a:pt x="204" y="441"/>
                  </a:lnTo>
                  <a:lnTo>
                    <a:pt x="202" y="441"/>
                  </a:lnTo>
                  <a:lnTo>
                    <a:pt x="201" y="440"/>
                  </a:lnTo>
                  <a:lnTo>
                    <a:pt x="199" y="439"/>
                  </a:lnTo>
                  <a:lnTo>
                    <a:pt x="198" y="437"/>
                  </a:lnTo>
                  <a:lnTo>
                    <a:pt x="194" y="431"/>
                  </a:lnTo>
                  <a:lnTo>
                    <a:pt x="192" y="429"/>
                  </a:lnTo>
                  <a:lnTo>
                    <a:pt x="190" y="429"/>
                  </a:lnTo>
                  <a:lnTo>
                    <a:pt x="188" y="427"/>
                  </a:lnTo>
                  <a:lnTo>
                    <a:pt x="186" y="426"/>
                  </a:lnTo>
                  <a:lnTo>
                    <a:pt x="184" y="425"/>
                  </a:lnTo>
                  <a:lnTo>
                    <a:pt x="181" y="424"/>
                  </a:lnTo>
                  <a:lnTo>
                    <a:pt x="177" y="424"/>
                  </a:lnTo>
                  <a:lnTo>
                    <a:pt x="176" y="424"/>
                  </a:lnTo>
                  <a:lnTo>
                    <a:pt x="175" y="424"/>
                  </a:lnTo>
                  <a:lnTo>
                    <a:pt x="173" y="425"/>
                  </a:lnTo>
                  <a:lnTo>
                    <a:pt x="171" y="426"/>
                  </a:lnTo>
                  <a:lnTo>
                    <a:pt x="164" y="429"/>
                  </a:lnTo>
                  <a:lnTo>
                    <a:pt x="162" y="430"/>
                  </a:lnTo>
                  <a:lnTo>
                    <a:pt x="158" y="431"/>
                  </a:lnTo>
                  <a:lnTo>
                    <a:pt x="153" y="433"/>
                  </a:lnTo>
                  <a:lnTo>
                    <a:pt x="149" y="434"/>
                  </a:lnTo>
                  <a:lnTo>
                    <a:pt x="143" y="435"/>
                  </a:lnTo>
                  <a:lnTo>
                    <a:pt x="136" y="436"/>
                  </a:lnTo>
                  <a:lnTo>
                    <a:pt x="133" y="436"/>
                  </a:lnTo>
                  <a:lnTo>
                    <a:pt x="131" y="436"/>
                  </a:lnTo>
                  <a:lnTo>
                    <a:pt x="131" y="435"/>
                  </a:lnTo>
                  <a:lnTo>
                    <a:pt x="130" y="434"/>
                  </a:lnTo>
                  <a:lnTo>
                    <a:pt x="129" y="433"/>
                  </a:lnTo>
                  <a:lnTo>
                    <a:pt x="129" y="433"/>
                  </a:lnTo>
                  <a:lnTo>
                    <a:pt x="128" y="432"/>
                  </a:lnTo>
                  <a:lnTo>
                    <a:pt x="126" y="432"/>
                  </a:lnTo>
                  <a:lnTo>
                    <a:pt x="124" y="432"/>
                  </a:lnTo>
                  <a:lnTo>
                    <a:pt x="122" y="433"/>
                  </a:lnTo>
                  <a:lnTo>
                    <a:pt x="116" y="435"/>
                  </a:lnTo>
                  <a:lnTo>
                    <a:pt x="112" y="436"/>
                  </a:lnTo>
                  <a:lnTo>
                    <a:pt x="108" y="436"/>
                  </a:lnTo>
                  <a:lnTo>
                    <a:pt x="105" y="437"/>
                  </a:lnTo>
                  <a:lnTo>
                    <a:pt x="101" y="437"/>
                  </a:lnTo>
                  <a:lnTo>
                    <a:pt x="95" y="437"/>
                  </a:lnTo>
                  <a:lnTo>
                    <a:pt x="85" y="437"/>
                  </a:lnTo>
                  <a:lnTo>
                    <a:pt x="84" y="437"/>
                  </a:lnTo>
                  <a:lnTo>
                    <a:pt x="82" y="437"/>
                  </a:lnTo>
                  <a:lnTo>
                    <a:pt x="80" y="437"/>
                  </a:lnTo>
                  <a:lnTo>
                    <a:pt x="77" y="436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2" y="433"/>
                  </a:lnTo>
                  <a:lnTo>
                    <a:pt x="71" y="432"/>
                  </a:lnTo>
                  <a:lnTo>
                    <a:pt x="70" y="430"/>
                  </a:lnTo>
                  <a:lnTo>
                    <a:pt x="69" y="429"/>
                  </a:lnTo>
                  <a:lnTo>
                    <a:pt x="68" y="427"/>
                  </a:lnTo>
                  <a:lnTo>
                    <a:pt x="68" y="425"/>
                  </a:lnTo>
                  <a:lnTo>
                    <a:pt x="67" y="419"/>
                  </a:lnTo>
                  <a:lnTo>
                    <a:pt x="67" y="418"/>
                  </a:lnTo>
                  <a:lnTo>
                    <a:pt x="66" y="416"/>
                  </a:lnTo>
                  <a:lnTo>
                    <a:pt x="65" y="413"/>
                  </a:lnTo>
                  <a:lnTo>
                    <a:pt x="64" y="411"/>
                  </a:lnTo>
                  <a:lnTo>
                    <a:pt x="63" y="410"/>
                  </a:lnTo>
                  <a:lnTo>
                    <a:pt x="61" y="408"/>
                  </a:lnTo>
                  <a:lnTo>
                    <a:pt x="60" y="407"/>
                  </a:lnTo>
                  <a:lnTo>
                    <a:pt x="58" y="407"/>
                  </a:lnTo>
                  <a:lnTo>
                    <a:pt x="56" y="407"/>
                  </a:lnTo>
                  <a:lnTo>
                    <a:pt x="54" y="406"/>
                  </a:lnTo>
                  <a:lnTo>
                    <a:pt x="52" y="406"/>
                  </a:lnTo>
                  <a:lnTo>
                    <a:pt x="51" y="405"/>
                  </a:lnTo>
                  <a:lnTo>
                    <a:pt x="46" y="405"/>
                  </a:lnTo>
                  <a:lnTo>
                    <a:pt x="43" y="405"/>
                  </a:lnTo>
                  <a:lnTo>
                    <a:pt x="41" y="405"/>
                  </a:lnTo>
                  <a:lnTo>
                    <a:pt x="39" y="404"/>
                  </a:lnTo>
                  <a:lnTo>
                    <a:pt x="38" y="403"/>
                  </a:lnTo>
                  <a:lnTo>
                    <a:pt x="35" y="401"/>
                  </a:lnTo>
                  <a:lnTo>
                    <a:pt x="29" y="397"/>
                  </a:lnTo>
                  <a:lnTo>
                    <a:pt x="26" y="395"/>
                  </a:lnTo>
                  <a:lnTo>
                    <a:pt x="24" y="394"/>
                  </a:lnTo>
                  <a:lnTo>
                    <a:pt x="23" y="393"/>
                  </a:lnTo>
                  <a:lnTo>
                    <a:pt x="21" y="393"/>
                  </a:lnTo>
                  <a:lnTo>
                    <a:pt x="20" y="393"/>
                  </a:lnTo>
                  <a:lnTo>
                    <a:pt x="16" y="393"/>
                  </a:lnTo>
                  <a:lnTo>
                    <a:pt x="14" y="392"/>
                  </a:lnTo>
                  <a:lnTo>
                    <a:pt x="12" y="392"/>
                  </a:lnTo>
                  <a:lnTo>
                    <a:pt x="10" y="391"/>
                  </a:lnTo>
                  <a:lnTo>
                    <a:pt x="8" y="391"/>
                  </a:lnTo>
                  <a:lnTo>
                    <a:pt x="7" y="390"/>
                  </a:lnTo>
                  <a:lnTo>
                    <a:pt x="5" y="388"/>
                  </a:lnTo>
                  <a:lnTo>
                    <a:pt x="3" y="385"/>
                  </a:lnTo>
                  <a:lnTo>
                    <a:pt x="2" y="384"/>
                  </a:lnTo>
                  <a:lnTo>
                    <a:pt x="1" y="384"/>
                  </a:lnTo>
                  <a:lnTo>
                    <a:pt x="1" y="384"/>
                  </a:lnTo>
                  <a:lnTo>
                    <a:pt x="0" y="382"/>
                  </a:lnTo>
                  <a:lnTo>
                    <a:pt x="0" y="380"/>
                  </a:lnTo>
                  <a:lnTo>
                    <a:pt x="1" y="378"/>
                  </a:lnTo>
                  <a:lnTo>
                    <a:pt x="2" y="377"/>
                  </a:lnTo>
                  <a:lnTo>
                    <a:pt x="3" y="375"/>
                  </a:lnTo>
                  <a:lnTo>
                    <a:pt x="4" y="374"/>
                  </a:lnTo>
                  <a:lnTo>
                    <a:pt x="6" y="373"/>
                  </a:lnTo>
                  <a:lnTo>
                    <a:pt x="7" y="372"/>
                  </a:lnTo>
                  <a:lnTo>
                    <a:pt x="9" y="372"/>
                  </a:lnTo>
                  <a:lnTo>
                    <a:pt x="11" y="371"/>
                  </a:lnTo>
                  <a:lnTo>
                    <a:pt x="13" y="370"/>
                  </a:lnTo>
                  <a:lnTo>
                    <a:pt x="17" y="369"/>
                  </a:lnTo>
                  <a:lnTo>
                    <a:pt x="26" y="368"/>
                  </a:lnTo>
                  <a:lnTo>
                    <a:pt x="27" y="367"/>
                  </a:lnTo>
                  <a:lnTo>
                    <a:pt x="29" y="366"/>
                  </a:lnTo>
                  <a:lnTo>
                    <a:pt x="34" y="364"/>
                  </a:lnTo>
                  <a:lnTo>
                    <a:pt x="38" y="362"/>
                  </a:lnTo>
                  <a:lnTo>
                    <a:pt x="43" y="359"/>
                  </a:lnTo>
                  <a:lnTo>
                    <a:pt x="46" y="357"/>
                  </a:lnTo>
                  <a:lnTo>
                    <a:pt x="48" y="356"/>
                  </a:lnTo>
                  <a:lnTo>
                    <a:pt x="49" y="354"/>
                  </a:lnTo>
                  <a:lnTo>
                    <a:pt x="50" y="351"/>
                  </a:lnTo>
                  <a:lnTo>
                    <a:pt x="52" y="347"/>
                  </a:lnTo>
                  <a:lnTo>
                    <a:pt x="54" y="345"/>
                  </a:lnTo>
                  <a:lnTo>
                    <a:pt x="56" y="343"/>
                  </a:lnTo>
                  <a:lnTo>
                    <a:pt x="61" y="338"/>
                  </a:lnTo>
                  <a:lnTo>
                    <a:pt x="63" y="336"/>
                  </a:lnTo>
                  <a:lnTo>
                    <a:pt x="67" y="331"/>
                  </a:lnTo>
                  <a:lnTo>
                    <a:pt x="71" y="327"/>
                  </a:lnTo>
                  <a:lnTo>
                    <a:pt x="72" y="325"/>
                  </a:lnTo>
                  <a:lnTo>
                    <a:pt x="74" y="322"/>
                  </a:lnTo>
                  <a:lnTo>
                    <a:pt x="75" y="321"/>
                  </a:lnTo>
                  <a:lnTo>
                    <a:pt x="76" y="320"/>
                  </a:lnTo>
                  <a:lnTo>
                    <a:pt x="78" y="320"/>
                  </a:lnTo>
                  <a:lnTo>
                    <a:pt x="79" y="319"/>
                  </a:lnTo>
                  <a:lnTo>
                    <a:pt x="81" y="319"/>
                  </a:lnTo>
                  <a:lnTo>
                    <a:pt x="82" y="319"/>
                  </a:lnTo>
                  <a:lnTo>
                    <a:pt x="84" y="319"/>
                  </a:lnTo>
                  <a:lnTo>
                    <a:pt x="90" y="321"/>
                  </a:lnTo>
                  <a:lnTo>
                    <a:pt x="93" y="321"/>
                  </a:lnTo>
                  <a:lnTo>
                    <a:pt x="96" y="322"/>
                  </a:lnTo>
                  <a:lnTo>
                    <a:pt x="99" y="322"/>
                  </a:lnTo>
                  <a:lnTo>
                    <a:pt x="101" y="321"/>
                  </a:lnTo>
                  <a:lnTo>
                    <a:pt x="103" y="321"/>
                  </a:lnTo>
                  <a:lnTo>
                    <a:pt x="104" y="320"/>
                  </a:lnTo>
                  <a:lnTo>
                    <a:pt x="107" y="318"/>
                  </a:lnTo>
                  <a:lnTo>
                    <a:pt x="107" y="317"/>
                  </a:lnTo>
                  <a:lnTo>
                    <a:pt x="108" y="316"/>
                  </a:lnTo>
                  <a:lnTo>
                    <a:pt x="109" y="316"/>
                  </a:lnTo>
                  <a:lnTo>
                    <a:pt x="110" y="314"/>
                  </a:lnTo>
                  <a:lnTo>
                    <a:pt x="110" y="313"/>
                  </a:lnTo>
                  <a:lnTo>
                    <a:pt x="110" y="311"/>
                  </a:lnTo>
                  <a:lnTo>
                    <a:pt x="109" y="309"/>
                  </a:lnTo>
                  <a:lnTo>
                    <a:pt x="109" y="306"/>
                  </a:lnTo>
                  <a:lnTo>
                    <a:pt x="105" y="293"/>
                  </a:lnTo>
                  <a:lnTo>
                    <a:pt x="104" y="291"/>
                  </a:lnTo>
                  <a:lnTo>
                    <a:pt x="103" y="286"/>
                  </a:lnTo>
                  <a:lnTo>
                    <a:pt x="102" y="282"/>
                  </a:lnTo>
                  <a:lnTo>
                    <a:pt x="102" y="278"/>
                  </a:lnTo>
                  <a:lnTo>
                    <a:pt x="102" y="273"/>
                  </a:lnTo>
                  <a:lnTo>
                    <a:pt x="102" y="268"/>
                  </a:lnTo>
                  <a:lnTo>
                    <a:pt x="103" y="264"/>
                  </a:lnTo>
                  <a:lnTo>
                    <a:pt x="103" y="260"/>
                  </a:lnTo>
                  <a:lnTo>
                    <a:pt x="104" y="256"/>
                  </a:lnTo>
                  <a:lnTo>
                    <a:pt x="105" y="253"/>
                  </a:lnTo>
                  <a:lnTo>
                    <a:pt x="107" y="250"/>
                  </a:lnTo>
                  <a:lnTo>
                    <a:pt x="111" y="243"/>
                  </a:lnTo>
                  <a:lnTo>
                    <a:pt x="112" y="241"/>
                  </a:lnTo>
                  <a:lnTo>
                    <a:pt x="113" y="240"/>
                  </a:lnTo>
                  <a:lnTo>
                    <a:pt x="114" y="239"/>
                  </a:lnTo>
                  <a:lnTo>
                    <a:pt x="120" y="235"/>
                  </a:lnTo>
                  <a:lnTo>
                    <a:pt x="122" y="233"/>
                  </a:lnTo>
                  <a:lnTo>
                    <a:pt x="124" y="232"/>
                  </a:lnTo>
                  <a:lnTo>
                    <a:pt x="125" y="232"/>
                  </a:lnTo>
                  <a:lnTo>
                    <a:pt x="127" y="231"/>
                  </a:lnTo>
                  <a:lnTo>
                    <a:pt x="129" y="231"/>
                  </a:lnTo>
                  <a:lnTo>
                    <a:pt x="129" y="231"/>
                  </a:lnTo>
                  <a:lnTo>
                    <a:pt x="131" y="231"/>
                  </a:lnTo>
                  <a:lnTo>
                    <a:pt x="134" y="231"/>
                  </a:lnTo>
                  <a:lnTo>
                    <a:pt x="137" y="231"/>
                  </a:lnTo>
                  <a:lnTo>
                    <a:pt x="143" y="233"/>
                  </a:lnTo>
                  <a:lnTo>
                    <a:pt x="147" y="234"/>
                  </a:lnTo>
                  <a:lnTo>
                    <a:pt x="151" y="234"/>
                  </a:lnTo>
                  <a:lnTo>
                    <a:pt x="153" y="234"/>
                  </a:lnTo>
                  <a:lnTo>
                    <a:pt x="156" y="234"/>
                  </a:lnTo>
                  <a:lnTo>
                    <a:pt x="159" y="233"/>
                  </a:lnTo>
                  <a:lnTo>
                    <a:pt x="161" y="232"/>
                  </a:lnTo>
                  <a:lnTo>
                    <a:pt x="166" y="230"/>
                  </a:lnTo>
                  <a:lnTo>
                    <a:pt x="168" y="229"/>
                  </a:lnTo>
                  <a:lnTo>
                    <a:pt x="170" y="228"/>
                  </a:lnTo>
                  <a:lnTo>
                    <a:pt x="173" y="228"/>
                  </a:lnTo>
                  <a:lnTo>
                    <a:pt x="181" y="227"/>
                  </a:lnTo>
                  <a:lnTo>
                    <a:pt x="183" y="226"/>
                  </a:lnTo>
                  <a:lnTo>
                    <a:pt x="185" y="226"/>
                  </a:lnTo>
                  <a:lnTo>
                    <a:pt x="186" y="225"/>
                  </a:lnTo>
                  <a:lnTo>
                    <a:pt x="189" y="225"/>
                  </a:lnTo>
                  <a:lnTo>
                    <a:pt x="195" y="222"/>
                  </a:lnTo>
                  <a:lnTo>
                    <a:pt x="198" y="220"/>
                  </a:lnTo>
                  <a:lnTo>
                    <a:pt x="203" y="216"/>
                  </a:lnTo>
                  <a:lnTo>
                    <a:pt x="206" y="214"/>
                  </a:lnTo>
                  <a:lnTo>
                    <a:pt x="209" y="214"/>
                  </a:lnTo>
                  <a:lnTo>
                    <a:pt x="217" y="210"/>
                  </a:lnTo>
                  <a:lnTo>
                    <a:pt x="220" y="209"/>
                  </a:lnTo>
                  <a:lnTo>
                    <a:pt x="224" y="206"/>
                  </a:lnTo>
                  <a:lnTo>
                    <a:pt x="226" y="205"/>
                  </a:lnTo>
                  <a:lnTo>
                    <a:pt x="227" y="204"/>
                  </a:lnTo>
                  <a:lnTo>
                    <a:pt x="229" y="203"/>
                  </a:lnTo>
                  <a:lnTo>
                    <a:pt x="230" y="203"/>
                  </a:lnTo>
                  <a:lnTo>
                    <a:pt x="230" y="201"/>
                  </a:lnTo>
                  <a:lnTo>
                    <a:pt x="232" y="198"/>
                  </a:lnTo>
                  <a:lnTo>
                    <a:pt x="233" y="194"/>
                  </a:lnTo>
                  <a:lnTo>
                    <a:pt x="233" y="193"/>
                  </a:lnTo>
                  <a:lnTo>
                    <a:pt x="234" y="192"/>
                  </a:lnTo>
                  <a:lnTo>
                    <a:pt x="234" y="191"/>
                  </a:lnTo>
                  <a:lnTo>
                    <a:pt x="234" y="189"/>
                  </a:lnTo>
                  <a:lnTo>
                    <a:pt x="233" y="181"/>
                  </a:lnTo>
                  <a:lnTo>
                    <a:pt x="233" y="180"/>
                  </a:lnTo>
                  <a:lnTo>
                    <a:pt x="234" y="176"/>
                  </a:lnTo>
                  <a:lnTo>
                    <a:pt x="234" y="175"/>
                  </a:lnTo>
                  <a:lnTo>
                    <a:pt x="235" y="173"/>
                  </a:lnTo>
                  <a:lnTo>
                    <a:pt x="235" y="171"/>
                  </a:lnTo>
                  <a:lnTo>
                    <a:pt x="236" y="169"/>
                  </a:lnTo>
                  <a:lnTo>
                    <a:pt x="241" y="162"/>
                  </a:lnTo>
                  <a:lnTo>
                    <a:pt x="242" y="160"/>
                  </a:lnTo>
                  <a:lnTo>
                    <a:pt x="243" y="158"/>
                  </a:lnTo>
                  <a:lnTo>
                    <a:pt x="243" y="154"/>
                  </a:lnTo>
                  <a:lnTo>
                    <a:pt x="246" y="147"/>
                  </a:lnTo>
                  <a:lnTo>
                    <a:pt x="249" y="142"/>
                  </a:lnTo>
                  <a:lnTo>
                    <a:pt x="250" y="138"/>
                  </a:lnTo>
                  <a:lnTo>
                    <a:pt x="251" y="136"/>
                  </a:lnTo>
                  <a:lnTo>
                    <a:pt x="251" y="135"/>
                  </a:lnTo>
                  <a:lnTo>
                    <a:pt x="251" y="134"/>
                  </a:lnTo>
                  <a:lnTo>
                    <a:pt x="251" y="131"/>
                  </a:lnTo>
                  <a:lnTo>
                    <a:pt x="250" y="126"/>
                  </a:lnTo>
                  <a:lnTo>
                    <a:pt x="249" y="121"/>
                  </a:lnTo>
                  <a:lnTo>
                    <a:pt x="248" y="120"/>
                  </a:lnTo>
                  <a:lnTo>
                    <a:pt x="247" y="118"/>
                  </a:lnTo>
                  <a:lnTo>
                    <a:pt x="243" y="110"/>
                  </a:lnTo>
                  <a:lnTo>
                    <a:pt x="242" y="107"/>
                  </a:lnTo>
                  <a:lnTo>
                    <a:pt x="241" y="105"/>
                  </a:lnTo>
                  <a:lnTo>
                    <a:pt x="241" y="103"/>
                  </a:lnTo>
                  <a:lnTo>
                    <a:pt x="240" y="101"/>
                  </a:lnTo>
                  <a:lnTo>
                    <a:pt x="239" y="93"/>
                  </a:lnTo>
                  <a:lnTo>
                    <a:pt x="237" y="87"/>
                  </a:lnTo>
                  <a:lnTo>
                    <a:pt x="236" y="84"/>
                  </a:lnTo>
                  <a:lnTo>
                    <a:pt x="236" y="83"/>
                  </a:lnTo>
                  <a:lnTo>
                    <a:pt x="235" y="81"/>
                  </a:lnTo>
                  <a:lnTo>
                    <a:pt x="234" y="79"/>
                  </a:lnTo>
                  <a:lnTo>
                    <a:pt x="232" y="78"/>
                  </a:lnTo>
                  <a:lnTo>
                    <a:pt x="231" y="78"/>
                  </a:lnTo>
                  <a:lnTo>
                    <a:pt x="228" y="76"/>
                  </a:lnTo>
                  <a:lnTo>
                    <a:pt x="224" y="74"/>
                  </a:lnTo>
                  <a:lnTo>
                    <a:pt x="221" y="73"/>
                  </a:lnTo>
                  <a:lnTo>
                    <a:pt x="219" y="72"/>
                  </a:lnTo>
                  <a:lnTo>
                    <a:pt x="216" y="71"/>
                  </a:lnTo>
                  <a:lnTo>
                    <a:pt x="213" y="71"/>
                  </a:lnTo>
                  <a:lnTo>
                    <a:pt x="210" y="71"/>
                  </a:lnTo>
                  <a:lnTo>
                    <a:pt x="209" y="71"/>
                  </a:lnTo>
                  <a:lnTo>
                    <a:pt x="208" y="72"/>
                  </a:lnTo>
                  <a:lnTo>
                    <a:pt x="206" y="72"/>
                  </a:lnTo>
                  <a:lnTo>
                    <a:pt x="205" y="73"/>
                  </a:lnTo>
                  <a:lnTo>
                    <a:pt x="203" y="74"/>
                  </a:lnTo>
                  <a:lnTo>
                    <a:pt x="202" y="76"/>
                  </a:lnTo>
                  <a:lnTo>
                    <a:pt x="200" y="77"/>
                  </a:lnTo>
                  <a:lnTo>
                    <a:pt x="198" y="79"/>
                  </a:lnTo>
                  <a:lnTo>
                    <a:pt x="198" y="80"/>
                  </a:lnTo>
                  <a:lnTo>
                    <a:pt x="197" y="81"/>
                  </a:lnTo>
                  <a:lnTo>
                    <a:pt x="196" y="81"/>
                  </a:lnTo>
                  <a:lnTo>
                    <a:pt x="195" y="80"/>
                  </a:lnTo>
                  <a:lnTo>
                    <a:pt x="194" y="80"/>
                  </a:lnTo>
                  <a:lnTo>
                    <a:pt x="193" y="79"/>
                  </a:lnTo>
                  <a:lnTo>
                    <a:pt x="193" y="78"/>
                  </a:lnTo>
                  <a:lnTo>
                    <a:pt x="192" y="77"/>
                  </a:lnTo>
                  <a:lnTo>
                    <a:pt x="192" y="75"/>
                  </a:lnTo>
                  <a:lnTo>
                    <a:pt x="191" y="73"/>
                  </a:lnTo>
                  <a:lnTo>
                    <a:pt x="191" y="71"/>
                  </a:lnTo>
                  <a:lnTo>
                    <a:pt x="192" y="71"/>
                  </a:lnTo>
                  <a:lnTo>
                    <a:pt x="192" y="69"/>
                  </a:lnTo>
                  <a:lnTo>
                    <a:pt x="193" y="62"/>
                  </a:lnTo>
                  <a:lnTo>
                    <a:pt x="194" y="55"/>
                  </a:lnTo>
                  <a:lnTo>
                    <a:pt x="195" y="52"/>
                  </a:lnTo>
                  <a:lnTo>
                    <a:pt x="196" y="46"/>
                  </a:lnTo>
                  <a:lnTo>
                    <a:pt x="197" y="44"/>
                  </a:lnTo>
                  <a:lnTo>
                    <a:pt x="198" y="42"/>
                  </a:lnTo>
                  <a:lnTo>
                    <a:pt x="199" y="39"/>
                  </a:lnTo>
                  <a:lnTo>
                    <a:pt x="200" y="37"/>
                  </a:lnTo>
                  <a:lnTo>
                    <a:pt x="201" y="35"/>
                  </a:lnTo>
                  <a:lnTo>
                    <a:pt x="211" y="27"/>
                  </a:lnTo>
                  <a:lnTo>
                    <a:pt x="213" y="25"/>
                  </a:lnTo>
                  <a:lnTo>
                    <a:pt x="216" y="21"/>
                  </a:lnTo>
                  <a:lnTo>
                    <a:pt x="219" y="19"/>
                  </a:lnTo>
                  <a:lnTo>
                    <a:pt x="220" y="18"/>
                  </a:lnTo>
                  <a:lnTo>
                    <a:pt x="221" y="16"/>
                  </a:lnTo>
                  <a:lnTo>
                    <a:pt x="222" y="14"/>
                  </a:lnTo>
                  <a:lnTo>
                    <a:pt x="226" y="9"/>
                  </a:lnTo>
                  <a:lnTo>
                    <a:pt x="226" y="8"/>
                  </a:lnTo>
                  <a:lnTo>
                    <a:pt x="227" y="8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6" name="Freeform 49">
              <a:extLst>
                <a:ext uri="{FF2B5EF4-FFF2-40B4-BE49-F238E27FC236}">
                  <a16:creationId xmlns:a16="http://schemas.microsoft.com/office/drawing/2014/main" id="{621CD193-89A0-46CC-A526-77AC46C8DE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4" y="1766"/>
              <a:ext cx="467" cy="402"/>
            </a:xfrm>
            <a:custGeom>
              <a:avLst/>
              <a:gdLst>
                <a:gd name="T0" fmla="*/ 283 w 467"/>
                <a:gd name="T1" fmla="*/ 5 h 402"/>
                <a:gd name="T2" fmla="*/ 296 w 467"/>
                <a:gd name="T3" fmla="*/ 19 h 402"/>
                <a:gd name="T4" fmla="*/ 308 w 467"/>
                <a:gd name="T5" fmla="*/ 51 h 402"/>
                <a:gd name="T6" fmla="*/ 324 w 467"/>
                <a:gd name="T7" fmla="*/ 66 h 402"/>
                <a:gd name="T8" fmla="*/ 349 w 467"/>
                <a:gd name="T9" fmla="*/ 72 h 402"/>
                <a:gd name="T10" fmla="*/ 380 w 467"/>
                <a:gd name="T11" fmla="*/ 113 h 402"/>
                <a:gd name="T12" fmla="*/ 419 w 467"/>
                <a:gd name="T13" fmla="*/ 160 h 402"/>
                <a:gd name="T14" fmla="*/ 440 w 467"/>
                <a:gd name="T15" fmla="*/ 181 h 402"/>
                <a:gd name="T16" fmla="*/ 447 w 467"/>
                <a:gd name="T17" fmla="*/ 199 h 402"/>
                <a:gd name="T18" fmla="*/ 453 w 467"/>
                <a:gd name="T19" fmla="*/ 247 h 402"/>
                <a:gd name="T20" fmla="*/ 466 w 467"/>
                <a:gd name="T21" fmla="*/ 275 h 402"/>
                <a:gd name="T22" fmla="*/ 466 w 467"/>
                <a:gd name="T23" fmla="*/ 280 h 402"/>
                <a:gd name="T24" fmla="*/ 439 w 467"/>
                <a:gd name="T25" fmla="*/ 273 h 402"/>
                <a:gd name="T26" fmla="*/ 411 w 467"/>
                <a:gd name="T27" fmla="*/ 258 h 402"/>
                <a:gd name="T28" fmla="*/ 398 w 467"/>
                <a:gd name="T29" fmla="*/ 258 h 402"/>
                <a:gd name="T30" fmla="*/ 387 w 467"/>
                <a:gd name="T31" fmla="*/ 274 h 402"/>
                <a:gd name="T32" fmla="*/ 375 w 467"/>
                <a:gd name="T33" fmla="*/ 290 h 402"/>
                <a:gd name="T34" fmla="*/ 350 w 467"/>
                <a:gd name="T35" fmla="*/ 306 h 402"/>
                <a:gd name="T36" fmla="*/ 317 w 467"/>
                <a:gd name="T37" fmla="*/ 324 h 402"/>
                <a:gd name="T38" fmla="*/ 294 w 467"/>
                <a:gd name="T39" fmla="*/ 341 h 402"/>
                <a:gd name="T40" fmla="*/ 290 w 467"/>
                <a:gd name="T41" fmla="*/ 357 h 402"/>
                <a:gd name="T42" fmla="*/ 277 w 467"/>
                <a:gd name="T43" fmla="*/ 372 h 402"/>
                <a:gd name="T44" fmla="*/ 271 w 467"/>
                <a:gd name="T45" fmla="*/ 382 h 402"/>
                <a:gd name="T46" fmla="*/ 273 w 467"/>
                <a:gd name="T47" fmla="*/ 397 h 402"/>
                <a:gd name="T48" fmla="*/ 263 w 467"/>
                <a:gd name="T49" fmla="*/ 399 h 402"/>
                <a:gd name="T50" fmla="*/ 231 w 467"/>
                <a:gd name="T51" fmla="*/ 398 h 402"/>
                <a:gd name="T52" fmla="*/ 215 w 467"/>
                <a:gd name="T53" fmla="*/ 395 h 402"/>
                <a:gd name="T54" fmla="*/ 200 w 467"/>
                <a:gd name="T55" fmla="*/ 399 h 402"/>
                <a:gd name="T56" fmla="*/ 176 w 467"/>
                <a:gd name="T57" fmla="*/ 400 h 402"/>
                <a:gd name="T58" fmla="*/ 149 w 467"/>
                <a:gd name="T59" fmla="*/ 384 h 402"/>
                <a:gd name="T60" fmla="*/ 133 w 467"/>
                <a:gd name="T61" fmla="*/ 380 h 402"/>
                <a:gd name="T62" fmla="*/ 117 w 467"/>
                <a:gd name="T63" fmla="*/ 363 h 402"/>
                <a:gd name="T64" fmla="*/ 92 w 467"/>
                <a:gd name="T65" fmla="*/ 353 h 402"/>
                <a:gd name="T66" fmla="*/ 81 w 467"/>
                <a:gd name="T67" fmla="*/ 342 h 402"/>
                <a:gd name="T68" fmla="*/ 69 w 467"/>
                <a:gd name="T69" fmla="*/ 325 h 402"/>
                <a:gd name="T70" fmla="*/ 44 w 467"/>
                <a:gd name="T71" fmla="*/ 321 h 402"/>
                <a:gd name="T72" fmla="*/ 35 w 467"/>
                <a:gd name="T73" fmla="*/ 315 h 402"/>
                <a:gd name="T74" fmla="*/ 29 w 467"/>
                <a:gd name="T75" fmla="*/ 288 h 402"/>
                <a:gd name="T76" fmla="*/ 20 w 467"/>
                <a:gd name="T77" fmla="*/ 272 h 402"/>
                <a:gd name="T78" fmla="*/ 21 w 467"/>
                <a:gd name="T79" fmla="*/ 261 h 402"/>
                <a:gd name="T80" fmla="*/ 33 w 467"/>
                <a:gd name="T81" fmla="*/ 251 h 402"/>
                <a:gd name="T82" fmla="*/ 33 w 467"/>
                <a:gd name="T83" fmla="*/ 238 h 402"/>
                <a:gd name="T84" fmla="*/ 41 w 467"/>
                <a:gd name="T85" fmla="*/ 227 h 402"/>
                <a:gd name="T86" fmla="*/ 63 w 467"/>
                <a:gd name="T87" fmla="*/ 215 h 402"/>
                <a:gd name="T88" fmla="*/ 71 w 467"/>
                <a:gd name="T89" fmla="*/ 198 h 402"/>
                <a:gd name="T90" fmla="*/ 67 w 467"/>
                <a:gd name="T91" fmla="*/ 184 h 402"/>
                <a:gd name="T92" fmla="*/ 38 w 467"/>
                <a:gd name="T93" fmla="*/ 151 h 402"/>
                <a:gd name="T94" fmla="*/ 16 w 467"/>
                <a:gd name="T95" fmla="*/ 128 h 402"/>
                <a:gd name="T96" fmla="*/ 18 w 467"/>
                <a:gd name="T97" fmla="*/ 97 h 402"/>
                <a:gd name="T98" fmla="*/ 44 w 467"/>
                <a:gd name="T99" fmla="*/ 87 h 402"/>
                <a:gd name="T100" fmla="*/ 59 w 467"/>
                <a:gd name="T101" fmla="*/ 92 h 402"/>
                <a:gd name="T102" fmla="*/ 73 w 467"/>
                <a:gd name="T103" fmla="*/ 104 h 402"/>
                <a:gd name="T104" fmla="*/ 91 w 467"/>
                <a:gd name="T105" fmla="*/ 102 h 402"/>
                <a:gd name="T106" fmla="*/ 114 w 467"/>
                <a:gd name="T107" fmla="*/ 93 h 402"/>
                <a:gd name="T108" fmla="*/ 124 w 467"/>
                <a:gd name="T109" fmla="*/ 78 h 402"/>
                <a:gd name="T110" fmla="*/ 145 w 467"/>
                <a:gd name="T111" fmla="*/ 68 h 402"/>
                <a:gd name="T112" fmla="*/ 174 w 467"/>
                <a:gd name="T113" fmla="*/ 54 h 402"/>
                <a:gd name="T114" fmla="*/ 191 w 467"/>
                <a:gd name="T115" fmla="*/ 38 h 402"/>
                <a:gd name="T116" fmla="*/ 199 w 467"/>
                <a:gd name="T117" fmla="*/ 35 h 402"/>
                <a:gd name="T118" fmla="*/ 216 w 467"/>
                <a:gd name="T119" fmla="*/ 37 h 402"/>
                <a:gd name="T120" fmla="*/ 234 w 467"/>
                <a:gd name="T121" fmla="*/ 24 h 402"/>
                <a:gd name="T122" fmla="*/ 239 w 467"/>
                <a:gd name="T123" fmla="*/ 17 h 402"/>
                <a:gd name="T124" fmla="*/ 249 w 467"/>
                <a:gd name="T125" fmla="*/ 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7" h="402">
                  <a:moveTo>
                    <a:pt x="256" y="0"/>
                  </a:moveTo>
                  <a:lnTo>
                    <a:pt x="257" y="0"/>
                  </a:lnTo>
                  <a:lnTo>
                    <a:pt x="263" y="1"/>
                  </a:lnTo>
                  <a:lnTo>
                    <a:pt x="270" y="2"/>
                  </a:lnTo>
                  <a:lnTo>
                    <a:pt x="275" y="2"/>
                  </a:lnTo>
                  <a:lnTo>
                    <a:pt x="280" y="3"/>
                  </a:lnTo>
                  <a:lnTo>
                    <a:pt x="283" y="5"/>
                  </a:lnTo>
                  <a:lnTo>
                    <a:pt x="286" y="6"/>
                  </a:lnTo>
                  <a:lnTo>
                    <a:pt x="289" y="8"/>
                  </a:lnTo>
                  <a:lnTo>
                    <a:pt x="291" y="10"/>
                  </a:lnTo>
                  <a:lnTo>
                    <a:pt x="294" y="13"/>
                  </a:lnTo>
                  <a:lnTo>
                    <a:pt x="294" y="14"/>
                  </a:lnTo>
                  <a:lnTo>
                    <a:pt x="295" y="15"/>
                  </a:lnTo>
                  <a:lnTo>
                    <a:pt x="296" y="19"/>
                  </a:lnTo>
                  <a:lnTo>
                    <a:pt x="297" y="24"/>
                  </a:lnTo>
                  <a:lnTo>
                    <a:pt x="300" y="34"/>
                  </a:lnTo>
                  <a:lnTo>
                    <a:pt x="301" y="37"/>
                  </a:lnTo>
                  <a:lnTo>
                    <a:pt x="302" y="40"/>
                  </a:lnTo>
                  <a:lnTo>
                    <a:pt x="304" y="44"/>
                  </a:lnTo>
                  <a:lnTo>
                    <a:pt x="306" y="47"/>
                  </a:lnTo>
                  <a:lnTo>
                    <a:pt x="308" y="51"/>
                  </a:lnTo>
                  <a:lnTo>
                    <a:pt x="311" y="55"/>
                  </a:lnTo>
                  <a:lnTo>
                    <a:pt x="312" y="57"/>
                  </a:lnTo>
                  <a:lnTo>
                    <a:pt x="315" y="59"/>
                  </a:lnTo>
                  <a:lnTo>
                    <a:pt x="317" y="61"/>
                  </a:lnTo>
                  <a:lnTo>
                    <a:pt x="319" y="63"/>
                  </a:lnTo>
                  <a:lnTo>
                    <a:pt x="322" y="65"/>
                  </a:lnTo>
                  <a:lnTo>
                    <a:pt x="324" y="66"/>
                  </a:lnTo>
                  <a:lnTo>
                    <a:pt x="327" y="67"/>
                  </a:lnTo>
                  <a:lnTo>
                    <a:pt x="329" y="68"/>
                  </a:lnTo>
                  <a:lnTo>
                    <a:pt x="339" y="69"/>
                  </a:lnTo>
                  <a:lnTo>
                    <a:pt x="342" y="70"/>
                  </a:lnTo>
                  <a:lnTo>
                    <a:pt x="344" y="70"/>
                  </a:lnTo>
                  <a:lnTo>
                    <a:pt x="347" y="71"/>
                  </a:lnTo>
                  <a:lnTo>
                    <a:pt x="349" y="72"/>
                  </a:lnTo>
                  <a:lnTo>
                    <a:pt x="351" y="74"/>
                  </a:lnTo>
                  <a:lnTo>
                    <a:pt x="354" y="76"/>
                  </a:lnTo>
                  <a:lnTo>
                    <a:pt x="357" y="80"/>
                  </a:lnTo>
                  <a:lnTo>
                    <a:pt x="360" y="82"/>
                  </a:lnTo>
                  <a:lnTo>
                    <a:pt x="371" y="97"/>
                  </a:lnTo>
                  <a:lnTo>
                    <a:pt x="374" y="102"/>
                  </a:lnTo>
                  <a:lnTo>
                    <a:pt x="380" y="113"/>
                  </a:lnTo>
                  <a:lnTo>
                    <a:pt x="387" y="123"/>
                  </a:lnTo>
                  <a:lnTo>
                    <a:pt x="391" y="127"/>
                  </a:lnTo>
                  <a:lnTo>
                    <a:pt x="396" y="134"/>
                  </a:lnTo>
                  <a:lnTo>
                    <a:pt x="400" y="138"/>
                  </a:lnTo>
                  <a:lnTo>
                    <a:pt x="407" y="145"/>
                  </a:lnTo>
                  <a:lnTo>
                    <a:pt x="416" y="156"/>
                  </a:lnTo>
                  <a:lnTo>
                    <a:pt x="419" y="160"/>
                  </a:lnTo>
                  <a:lnTo>
                    <a:pt x="420" y="161"/>
                  </a:lnTo>
                  <a:lnTo>
                    <a:pt x="423" y="163"/>
                  </a:lnTo>
                  <a:lnTo>
                    <a:pt x="430" y="169"/>
                  </a:lnTo>
                  <a:lnTo>
                    <a:pt x="431" y="171"/>
                  </a:lnTo>
                  <a:lnTo>
                    <a:pt x="435" y="174"/>
                  </a:lnTo>
                  <a:lnTo>
                    <a:pt x="438" y="178"/>
                  </a:lnTo>
                  <a:lnTo>
                    <a:pt x="440" y="181"/>
                  </a:lnTo>
                  <a:lnTo>
                    <a:pt x="441" y="183"/>
                  </a:lnTo>
                  <a:lnTo>
                    <a:pt x="442" y="185"/>
                  </a:lnTo>
                  <a:lnTo>
                    <a:pt x="443" y="188"/>
                  </a:lnTo>
                  <a:lnTo>
                    <a:pt x="444" y="190"/>
                  </a:lnTo>
                  <a:lnTo>
                    <a:pt x="445" y="192"/>
                  </a:lnTo>
                  <a:lnTo>
                    <a:pt x="446" y="196"/>
                  </a:lnTo>
                  <a:lnTo>
                    <a:pt x="447" y="199"/>
                  </a:lnTo>
                  <a:lnTo>
                    <a:pt x="448" y="202"/>
                  </a:lnTo>
                  <a:lnTo>
                    <a:pt x="448" y="205"/>
                  </a:lnTo>
                  <a:lnTo>
                    <a:pt x="449" y="217"/>
                  </a:lnTo>
                  <a:lnTo>
                    <a:pt x="450" y="227"/>
                  </a:lnTo>
                  <a:lnTo>
                    <a:pt x="453" y="242"/>
                  </a:lnTo>
                  <a:lnTo>
                    <a:pt x="453" y="244"/>
                  </a:lnTo>
                  <a:lnTo>
                    <a:pt x="453" y="247"/>
                  </a:lnTo>
                  <a:lnTo>
                    <a:pt x="454" y="251"/>
                  </a:lnTo>
                  <a:lnTo>
                    <a:pt x="456" y="255"/>
                  </a:lnTo>
                  <a:lnTo>
                    <a:pt x="459" y="259"/>
                  </a:lnTo>
                  <a:lnTo>
                    <a:pt x="464" y="268"/>
                  </a:lnTo>
                  <a:lnTo>
                    <a:pt x="465" y="271"/>
                  </a:lnTo>
                  <a:lnTo>
                    <a:pt x="465" y="273"/>
                  </a:lnTo>
                  <a:lnTo>
                    <a:pt x="466" y="275"/>
                  </a:lnTo>
                  <a:lnTo>
                    <a:pt x="467" y="277"/>
                  </a:lnTo>
                  <a:lnTo>
                    <a:pt x="467" y="278"/>
                  </a:lnTo>
                  <a:lnTo>
                    <a:pt x="467" y="279"/>
                  </a:lnTo>
                  <a:lnTo>
                    <a:pt x="467" y="280"/>
                  </a:lnTo>
                  <a:lnTo>
                    <a:pt x="466" y="280"/>
                  </a:lnTo>
                  <a:lnTo>
                    <a:pt x="466" y="280"/>
                  </a:lnTo>
                  <a:lnTo>
                    <a:pt x="466" y="280"/>
                  </a:lnTo>
                  <a:lnTo>
                    <a:pt x="465" y="281"/>
                  </a:lnTo>
                  <a:lnTo>
                    <a:pt x="465" y="281"/>
                  </a:lnTo>
                  <a:lnTo>
                    <a:pt x="462" y="280"/>
                  </a:lnTo>
                  <a:lnTo>
                    <a:pt x="458" y="280"/>
                  </a:lnTo>
                  <a:lnTo>
                    <a:pt x="454" y="278"/>
                  </a:lnTo>
                  <a:lnTo>
                    <a:pt x="451" y="277"/>
                  </a:lnTo>
                  <a:lnTo>
                    <a:pt x="439" y="273"/>
                  </a:lnTo>
                  <a:lnTo>
                    <a:pt x="434" y="271"/>
                  </a:lnTo>
                  <a:lnTo>
                    <a:pt x="429" y="268"/>
                  </a:lnTo>
                  <a:lnTo>
                    <a:pt x="424" y="265"/>
                  </a:lnTo>
                  <a:lnTo>
                    <a:pt x="419" y="262"/>
                  </a:lnTo>
                  <a:lnTo>
                    <a:pt x="417" y="261"/>
                  </a:lnTo>
                  <a:lnTo>
                    <a:pt x="414" y="259"/>
                  </a:lnTo>
                  <a:lnTo>
                    <a:pt x="411" y="258"/>
                  </a:lnTo>
                  <a:lnTo>
                    <a:pt x="409" y="257"/>
                  </a:lnTo>
                  <a:lnTo>
                    <a:pt x="407" y="257"/>
                  </a:lnTo>
                  <a:lnTo>
                    <a:pt x="405" y="256"/>
                  </a:lnTo>
                  <a:lnTo>
                    <a:pt x="403" y="256"/>
                  </a:lnTo>
                  <a:lnTo>
                    <a:pt x="402" y="257"/>
                  </a:lnTo>
                  <a:lnTo>
                    <a:pt x="400" y="257"/>
                  </a:lnTo>
                  <a:lnTo>
                    <a:pt x="398" y="258"/>
                  </a:lnTo>
                  <a:lnTo>
                    <a:pt x="397" y="259"/>
                  </a:lnTo>
                  <a:lnTo>
                    <a:pt x="396" y="260"/>
                  </a:lnTo>
                  <a:lnTo>
                    <a:pt x="395" y="261"/>
                  </a:lnTo>
                  <a:lnTo>
                    <a:pt x="393" y="262"/>
                  </a:lnTo>
                  <a:lnTo>
                    <a:pt x="392" y="263"/>
                  </a:lnTo>
                  <a:lnTo>
                    <a:pt x="390" y="267"/>
                  </a:lnTo>
                  <a:lnTo>
                    <a:pt x="387" y="274"/>
                  </a:lnTo>
                  <a:lnTo>
                    <a:pt x="385" y="277"/>
                  </a:lnTo>
                  <a:lnTo>
                    <a:pt x="385" y="280"/>
                  </a:lnTo>
                  <a:lnTo>
                    <a:pt x="383" y="282"/>
                  </a:lnTo>
                  <a:lnTo>
                    <a:pt x="381" y="285"/>
                  </a:lnTo>
                  <a:lnTo>
                    <a:pt x="379" y="286"/>
                  </a:lnTo>
                  <a:lnTo>
                    <a:pt x="377" y="288"/>
                  </a:lnTo>
                  <a:lnTo>
                    <a:pt x="375" y="290"/>
                  </a:lnTo>
                  <a:lnTo>
                    <a:pt x="372" y="293"/>
                  </a:lnTo>
                  <a:lnTo>
                    <a:pt x="368" y="295"/>
                  </a:lnTo>
                  <a:lnTo>
                    <a:pt x="365" y="296"/>
                  </a:lnTo>
                  <a:lnTo>
                    <a:pt x="359" y="299"/>
                  </a:lnTo>
                  <a:lnTo>
                    <a:pt x="354" y="302"/>
                  </a:lnTo>
                  <a:lnTo>
                    <a:pt x="352" y="303"/>
                  </a:lnTo>
                  <a:lnTo>
                    <a:pt x="350" y="306"/>
                  </a:lnTo>
                  <a:lnTo>
                    <a:pt x="348" y="307"/>
                  </a:lnTo>
                  <a:lnTo>
                    <a:pt x="340" y="309"/>
                  </a:lnTo>
                  <a:lnTo>
                    <a:pt x="334" y="313"/>
                  </a:lnTo>
                  <a:lnTo>
                    <a:pt x="328" y="316"/>
                  </a:lnTo>
                  <a:lnTo>
                    <a:pt x="327" y="317"/>
                  </a:lnTo>
                  <a:lnTo>
                    <a:pt x="324" y="319"/>
                  </a:lnTo>
                  <a:lnTo>
                    <a:pt x="317" y="324"/>
                  </a:lnTo>
                  <a:lnTo>
                    <a:pt x="312" y="327"/>
                  </a:lnTo>
                  <a:lnTo>
                    <a:pt x="309" y="329"/>
                  </a:lnTo>
                  <a:lnTo>
                    <a:pt x="303" y="332"/>
                  </a:lnTo>
                  <a:lnTo>
                    <a:pt x="300" y="334"/>
                  </a:lnTo>
                  <a:lnTo>
                    <a:pt x="297" y="336"/>
                  </a:lnTo>
                  <a:lnTo>
                    <a:pt x="295" y="339"/>
                  </a:lnTo>
                  <a:lnTo>
                    <a:pt x="294" y="341"/>
                  </a:lnTo>
                  <a:lnTo>
                    <a:pt x="292" y="342"/>
                  </a:lnTo>
                  <a:lnTo>
                    <a:pt x="291" y="345"/>
                  </a:lnTo>
                  <a:lnTo>
                    <a:pt x="291" y="346"/>
                  </a:lnTo>
                  <a:lnTo>
                    <a:pt x="290" y="348"/>
                  </a:lnTo>
                  <a:lnTo>
                    <a:pt x="290" y="350"/>
                  </a:lnTo>
                  <a:lnTo>
                    <a:pt x="290" y="356"/>
                  </a:lnTo>
                  <a:lnTo>
                    <a:pt x="290" y="357"/>
                  </a:lnTo>
                  <a:lnTo>
                    <a:pt x="289" y="359"/>
                  </a:lnTo>
                  <a:lnTo>
                    <a:pt x="288" y="361"/>
                  </a:lnTo>
                  <a:lnTo>
                    <a:pt x="288" y="363"/>
                  </a:lnTo>
                  <a:lnTo>
                    <a:pt x="286" y="364"/>
                  </a:lnTo>
                  <a:lnTo>
                    <a:pt x="284" y="366"/>
                  </a:lnTo>
                  <a:lnTo>
                    <a:pt x="281" y="369"/>
                  </a:lnTo>
                  <a:lnTo>
                    <a:pt x="277" y="372"/>
                  </a:lnTo>
                  <a:lnTo>
                    <a:pt x="275" y="374"/>
                  </a:lnTo>
                  <a:lnTo>
                    <a:pt x="273" y="376"/>
                  </a:lnTo>
                  <a:lnTo>
                    <a:pt x="273" y="376"/>
                  </a:lnTo>
                  <a:lnTo>
                    <a:pt x="272" y="377"/>
                  </a:lnTo>
                  <a:lnTo>
                    <a:pt x="272" y="378"/>
                  </a:lnTo>
                  <a:lnTo>
                    <a:pt x="271" y="380"/>
                  </a:lnTo>
                  <a:lnTo>
                    <a:pt x="271" y="382"/>
                  </a:lnTo>
                  <a:lnTo>
                    <a:pt x="271" y="383"/>
                  </a:lnTo>
                  <a:lnTo>
                    <a:pt x="271" y="385"/>
                  </a:lnTo>
                  <a:lnTo>
                    <a:pt x="273" y="389"/>
                  </a:lnTo>
                  <a:lnTo>
                    <a:pt x="273" y="392"/>
                  </a:lnTo>
                  <a:lnTo>
                    <a:pt x="274" y="394"/>
                  </a:lnTo>
                  <a:lnTo>
                    <a:pt x="274" y="395"/>
                  </a:lnTo>
                  <a:lnTo>
                    <a:pt x="273" y="397"/>
                  </a:lnTo>
                  <a:lnTo>
                    <a:pt x="273" y="398"/>
                  </a:lnTo>
                  <a:lnTo>
                    <a:pt x="272" y="398"/>
                  </a:lnTo>
                  <a:lnTo>
                    <a:pt x="271" y="398"/>
                  </a:lnTo>
                  <a:lnTo>
                    <a:pt x="270" y="399"/>
                  </a:lnTo>
                  <a:lnTo>
                    <a:pt x="268" y="399"/>
                  </a:lnTo>
                  <a:lnTo>
                    <a:pt x="266" y="399"/>
                  </a:lnTo>
                  <a:lnTo>
                    <a:pt x="263" y="399"/>
                  </a:lnTo>
                  <a:lnTo>
                    <a:pt x="260" y="398"/>
                  </a:lnTo>
                  <a:lnTo>
                    <a:pt x="251" y="397"/>
                  </a:lnTo>
                  <a:lnTo>
                    <a:pt x="249" y="396"/>
                  </a:lnTo>
                  <a:lnTo>
                    <a:pt x="246" y="396"/>
                  </a:lnTo>
                  <a:lnTo>
                    <a:pt x="243" y="396"/>
                  </a:lnTo>
                  <a:lnTo>
                    <a:pt x="238" y="397"/>
                  </a:lnTo>
                  <a:lnTo>
                    <a:pt x="231" y="398"/>
                  </a:lnTo>
                  <a:lnTo>
                    <a:pt x="227" y="398"/>
                  </a:lnTo>
                  <a:lnTo>
                    <a:pt x="225" y="398"/>
                  </a:lnTo>
                  <a:lnTo>
                    <a:pt x="223" y="398"/>
                  </a:lnTo>
                  <a:lnTo>
                    <a:pt x="221" y="398"/>
                  </a:lnTo>
                  <a:lnTo>
                    <a:pt x="219" y="397"/>
                  </a:lnTo>
                  <a:lnTo>
                    <a:pt x="216" y="395"/>
                  </a:lnTo>
                  <a:lnTo>
                    <a:pt x="215" y="395"/>
                  </a:lnTo>
                  <a:lnTo>
                    <a:pt x="214" y="394"/>
                  </a:lnTo>
                  <a:lnTo>
                    <a:pt x="214" y="394"/>
                  </a:lnTo>
                  <a:lnTo>
                    <a:pt x="212" y="394"/>
                  </a:lnTo>
                  <a:lnTo>
                    <a:pt x="211" y="395"/>
                  </a:lnTo>
                  <a:lnTo>
                    <a:pt x="204" y="398"/>
                  </a:lnTo>
                  <a:lnTo>
                    <a:pt x="202" y="398"/>
                  </a:lnTo>
                  <a:lnTo>
                    <a:pt x="200" y="399"/>
                  </a:lnTo>
                  <a:lnTo>
                    <a:pt x="192" y="401"/>
                  </a:lnTo>
                  <a:lnTo>
                    <a:pt x="186" y="402"/>
                  </a:lnTo>
                  <a:lnTo>
                    <a:pt x="183" y="402"/>
                  </a:lnTo>
                  <a:lnTo>
                    <a:pt x="180" y="402"/>
                  </a:lnTo>
                  <a:lnTo>
                    <a:pt x="179" y="402"/>
                  </a:lnTo>
                  <a:lnTo>
                    <a:pt x="177" y="401"/>
                  </a:lnTo>
                  <a:lnTo>
                    <a:pt x="176" y="400"/>
                  </a:lnTo>
                  <a:lnTo>
                    <a:pt x="174" y="399"/>
                  </a:lnTo>
                  <a:lnTo>
                    <a:pt x="170" y="398"/>
                  </a:lnTo>
                  <a:lnTo>
                    <a:pt x="163" y="391"/>
                  </a:lnTo>
                  <a:lnTo>
                    <a:pt x="160" y="389"/>
                  </a:lnTo>
                  <a:lnTo>
                    <a:pt x="157" y="387"/>
                  </a:lnTo>
                  <a:lnTo>
                    <a:pt x="153" y="385"/>
                  </a:lnTo>
                  <a:lnTo>
                    <a:pt x="149" y="384"/>
                  </a:lnTo>
                  <a:lnTo>
                    <a:pt x="146" y="382"/>
                  </a:lnTo>
                  <a:lnTo>
                    <a:pt x="142" y="381"/>
                  </a:lnTo>
                  <a:lnTo>
                    <a:pt x="138" y="380"/>
                  </a:lnTo>
                  <a:lnTo>
                    <a:pt x="136" y="379"/>
                  </a:lnTo>
                  <a:lnTo>
                    <a:pt x="135" y="379"/>
                  </a:lnTo>
                  <a:lnTo>
                    <a:pt x="134" y="379"/>
                  </a:lnTo>
                  <a:lnTo>
                    <a:pt x="133" y="380"/>
                  </a:lnTo>
                  <a:lnTo>
                    <a:pt x="133" y="380"/>
                  </a:lnTo>
                  <a:lnTo>
                    <a:pt x="133" y="380"/>
                  </a:lnTo>
                  <a:lnTo>
                    <a:pt x="131" y="378"/>
                  </a:lnTo>
                  <a:lnTo>
                    <a:pt x="125" y="371"/>
                  </a:lnTo>
                  <a:lnTo>
                    <a:pt x="122" y="367"/>
                  </a:lnTo>
                  <a:lnTo>
                    <a:pt x="119" y="364"/>
                  </a:lnTo>
                  <a:lnTo>
                    <a:pt x="117" y="363"/>
                  </a:lnTo>
                  <a:lnTo>
                    <a:pt x="115" y="362"/>
                  </a:lnTo>
                  <a:lnTo>
                    <a:pt x="112" y="359"/>
                  </a:lnTo>
                  <a:lnTo>
                    <a:pt x="108" y="358"/>
                  </a:lnTo>
                  <a:lnTo>
                    <a:pt x="106" y="357"/>
                  </a:lnTo>
                  <a:lnTo>
                    <a:pt x="101" y="355"/>
                  </a:lnTo>
                  <a:lnTo>
                    <a:pt x="98" y="354"/>
                  </a:lnTo>
                  <a:lnTo>
                    <a:pt x="92" y="353"/>
                  </a:lnTo>
                  <a:lnTo>
                    <a:pt x="90" y="352"/>
                  </a:lnTo>
                  <a:lnTo>
                    <a:pt x="89" y="351"/>
                  </a:lnTo>
                  <a:lnTo>
                    <a:pt x="88" y="350"/>
                  </a:lnTo>
                  <a:lnTo>
                    <a:pt x="87" y="349"/>
                  </a:lnTo>
                  <a:lnTo>
                    <a:pt x="85" y="347"/>
                  </a:lnTo>
                  <a:lnTo>
                    <a:pt x="83" y="344"/>
                  </a:lnTo>
                  <a:lnTo>
                    <a:pt x="81" y="342"/>
                  </a:lnTo>
                  <a:lnTo>
                    <a:pt x="78" y="335"/>
                  </a:lnTo>
                  <a:lnTo>
                    <a:pt x="76" y="331"/>
                  </a:lnTo>
                  <a:lnTo>
                    <a:pt x="74" y="330"/>
                  </a:lnTo>
                  <a:lnTo>
                    <a:pt x="73" y="328"/>
                  </a:lnTo>
                  <a:lnTo>
                    <a:pt x="72" y="327"/>
                  </a:lnTo>
                  <a:lnTo>
                    <a:pt x="71" y="326"/>
                  </a:lnTo>
                  <a:lnTo>
                    <a:pt x="69" y="325"/>
                  </a:lnTo>
                  <a:lnTo>
                    <a:pt x="67" y="325"/>
                  </a:lnTo>
                  <a:lnTo>
                    <a:pt x="66" y="324"/>
                  </a:lnTo>
                  <a:lnTo>
                    <a:pt x="64" y="323"/>
                  </a:lnTo>
                  <a:lnTo>
                    <a:pt x="59" y="323"/>
                  </a:lnTo>
                  <a:lnTo>
                    <a:pt x="49" y="322"/>
                  </a:lnTo>
                  <a:lnTo>
                    <a:pt x="45" y="321"/>
                  </a:lnTo>
                  <a:lnTo>
                    <a:pt x="44" y="321"/>
                  </a:lnTo>
                  <a:lnTo>
                    <a:pt x="43" y="320"/>
                  </a:lnTo>
                  <a:lnTo>
                    <a:pt x="41" y="319"/>
                  </a:lnTo>
                  <a:lnTo>
                    <a:pt x="39" y="319"/>
                  </a:lnTo>
                  <a:lnTo>
                    <a:pt x="38" y="318"/>
                  </a:lnTo>
                  <a:lnTo>
                    <a:pt x="37" y="317"/>
                  </a:lnTo>
                  <a:lnTo>
                    <a:pt x="36" y="316"/>
                  </a:lnTo>
                  <a:lnTo>
                    <a:pt x="35" y="315"/>
                  </a:lnTo>
                  <a:lnTo>
                    <a:pt x="34" y="313"/>
                  </a:lnTo>
                  <a:lnTo>
                    <a:pt x="33" y="310"/>
                  </a:lnTo>
                  <a:lnTo>
                    <a:pt x="33" y="307"/>
                  </a:lnTo>
                  <a:lnTo>
                    <a:pt x="32" y="298"/>
                  </a:lnTo>
                  <a:lnTo>
                    <a:pt x="31" y="295"/>
                  </a:lnTo>
                  <a:lnTo>
                    <a:pt x="30" y="291"/>
                  </a:lnTo>
                  <a:lnTo>
                    <a:pt x="29" y="288"/>
                  </a:lnTo>
                  <a:lnTo>
                    <a:pt x="28" y="286"/>
                  </a:lnTo>
                  <a:lnTo>
                    <a:pt x="27" y="284"/>
                  </a:lnTo>
                  <a:lnTo>
                    <a:pt x="26" y="282"/>
                  </a:lnTo>
                  <a:lnTo>
                    <a:pt x="22" y="277"/>
                  </a:lnTo>
                  <a:lnTo>
                    <a:pt x="21" y="275"/>
                  </a:lnTo>
                  <a:lnTo>
                    <a:pt x="21" y="274"/>
                  </a:lnTo>
                  <a:lnTo>
                    <a:pt x="20" y="272"/>
                  </a:lnTo>
                  <a:lnTo>
                    <a:pt x="20" y="271"/>
                  </a:lnTo>
                  <a:lnTo>
                    <a:pt x="20" y="270"/>
                  </a:lnTo>
                  <a:lnTo>
                    <a:pt x="20" y="269"/>
                  </a:lnTo>
                  <a:lnTo>
                    <a:pt x="20" y="267"/>
                  </a:lnTo>
                  <a:lnTo>
                    <a:pt x="20" y="264"/>
                  </a:lnTo>
                  <a:lnTo>
                    <a:pt x="21" y="262"/>
                  </a:lnTo>
                  <a:lnTo>
                    <a:pt x="21" y="261"/>
                  </a:lnTo>
                  <a:lnTo>
                    <a:pt x="21" y="259"/>
                  </a:lnTo>
                  <a:lnTo>
                    <a:pt x="22" y="258"/>
                  </a:lnTo>
                  <a:lnTo>
                    <a:pt x="22" y="257"/>
                  </a:lnTo>
                  <a:lnTo>
                    <a:pt x="24" y="255"/>
                  </a:lnTo>
                  <a:lnTo>
                    <a:pt x="26" y="253"/>
                  </a:lnTo>
                  <a:lnTo>
                    <a:pt x="29" y="252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4" y="250"/>
                  </a:lnTo>
                  <a:lnTo>
                    <a:pt x="34" y="249"/>
                  </a:lnTo>
                  <a:lnTo>
                    <a:pt x="34" y="248"/>
                  </a:lnTo>
                  <a:lnTo>
                    <a:pt x="33" y="242"/>
                  </a:lnTo>
                  <a:lnTo>
                    <a:pt x="33" y="240"/>
                  </a:lnTo>
                  <a:lnTo>
                    <a:pt x="33" y="238"/>
                  </a:lnTo>
                  <a:lnTo>
                    <a:pt x="34" y="236"/>
                  </a:lnTo>
                  <a:lnTo>
                    <a:pt x="34" y="234"/>
                  </a:lnTo>
                  <a:lnTo>
                    <a:pt x="35" y="233"/>
                  </a:lnTo>
                  <a:lnTo>
                    <a:pt x="36" y="231"/>
                  </a:lnTo>
                  <a:lnTo>
                    <a:pt x="38" y="229"/>
                  </a:lnTo>
                  <a:lnTo>
                    <a:pt x="39" y="228"/>
                  </a:lnTo>
                  <a:lnTo>
                    <a:pt x="41" y="227"/>
                  </a:lnTo>
                  <a:lnTo>
                    <a:pt x="43" y="225"/>
                  </a:lnTo>
                  <a:lnTo>
                    <a:pt x="44" y="224"/>
                  </a:lnTo>
                  <a:lnTo>
                    <a:pt x="46" y="223"/>
                  </a:lnTo>
                  <a:lnTo>
                    <a:pt x="55" y="220"/>
                  </a:lnTo>
                  <a:lnTo>
                    <a:pt x="58" y="218"/>
                  </a:lnTo>
                  <a:lnTo>
                    <a:pt x="60" y="217"/>
                  </a:lnTo>
                  <a:lnTo>
                    <a:pt x="63" y="215"/>
                  </a:lnTo>
                  <a:lnTo>
                    <a:pt x="64" y="215"/>
                  </a:lnTo>
                  <a:lnTo>
                    <a:pt x="66" y="212"/>
                  </a:lnTo>
                  <a:lnTo>
                    <a:pt x="67" y="210"/>
                  </a:lnTo>
                  <a:lnTo>
                    <a:pt x="67" y="207"/>
                  </a:lnTo>
                  <a:lnTo>
                    <a:pt x="70" y="202"/>
                  </a:lnTo>
                  <a:lnTo>
                    <a:pt x="70" y="200"/>
                  </a:lnTo>
                  <a:lnTo>
                    <a:pt x="71" y="198"/>
                  </a:lnTo>
                  <a:lnTo>
                    <a:pt x="71" y="196"/>
                  </a:lnTo>
                  <a:lnTo>
                    <a:pt x="71" y="194"/>
                  </a:lnTo>
                  <a:lnTo>
                    <a:pt x="70" y="192"/>
                  </a:lnTo>
                  <a:lnTo>
                    <a:pt x="70" y="190"/>
                  </a:lnTo>
                  <a:lnTo>
                    <a:pt x="69" y="188"/>
                  </a:lnTo>
                  <a:lnTo>
                    <a:pt x="68" y="186"/>
                  </a:lnTo>
                  <a:lnTo>
                    <a:pt x="67" y="184"/>
                  </a:lnTo>
                  <a:lnTo>
                    <a:pt x="64" y="181"/>
                  </a:lnTo>
                  <a:lnTo>
                    <a:pt x="59" y="175"/>
                  </a:lnTo>
                  <a:lnTo>
                    <a:pt x="56" y="172"/>
                  </a:lnTo>
                  <a:lnTo>
                    <a:pt x="52" y="168"/>
                  </a:lnTo>
                  <a:lnTo>
                    <a:pt x="49" y="164"/>
                  </a:lnTo>
                  <a:lnTo>
                    <a:pt x="42" y="157"/>
                  </a:lnTo>
                  <a:lnTo>
                    <a:pt x="38" y="151"/>
                  </a:lnTo>
                  <a:lnTo>
                    <a:pt x="36" y="149"/>
                  </a:lnTo>
                  <a:lnTo>
                    <a:pt x="33" y="146"/>
                  </a:lnTo>
                  <a:lnTo>
                    <a:pt x="26" y="140"/>
                  </a:lnTo>
                  <a:lnTo>
                    <a:pt x="24" y="138"/>
                  </a:lnTo>
                  <a:lnTo>
                    <a:pt x="21" y="136"/>
                  </a:lnTo>
                  <a:lnTo>
                    <a:pt x="19" y="132"/>
                  </a:lnTo>
                  <a:lnTo>
                    <a:pt x="16" y="128"/>
                  </a:lnTo>
                  <a:lnTo>
                    <a:pt x="13" y="123"/>
                  </a:lnTo>
                  <a:lnTo>
                    <a:pt x="5" y="108"/>
                  </a:lnTo>
                  <a:lnTo>
                    <a:pt x="0" y="99"/>
                  </a:lnTo>
                  <a:lnTo>
                    <a:pt x="2" y="99"/>
                  </a:lnTo>
                  <a:lnTo>
                    <a:pt x="5" y="99"/>
                  </a:lnTo>
                  <a:lnTo>
                    <a:pt x="12" y="98"/>
                  </a:lnTo>
                  <a:lnTo>
                    <a:pt x="18" y="97"/>
                  </a:lnTo>
                  <a:lnTo>
                    <a:pt x="22" y="96"/>
                  </a:lnTo>
                  <a:lnTo>
                    <a:pt x="27" y="94"/>
                  </a:lnTo>
                  <a:lnTo>
                    <a:pt x="31" y="93"/>
                  </a:lnTo>
                  <a:lnTo>
                    <a:pt x="33" y="92"/>
                  </a:lnTo>
                  <a:lnTo>
                    <a:pt x="40" y="89"/>
                  </a:lnTo>
                  <a:lnTo>
                    <a:pt x="42" y="88"/>
                  </a:lnTo>
                  <a:lnTo>
                    <a:pt x="44" y="87"/>
                  </a:lnTo>
                  <a:lnTo>
                    <a:pt x="45" y="87"/>
                  </a:lnTo>
                  <a:lnTo>
                    <a:pt x="46" y="87"/>
                  </a:lnTo>
                  <a:lnTo>
                    <a:pt x="50" y="87"/>
                  </a:lnTo>
                  <a:lnTo>
                    <a:pt x="53" y="88"/>
                  </a:lnTo>
                  <a:lnTo>
                    <a:pt x="55" y="89"/>
                  </a:lnTo>
                  <a:lnTo>
                    <a:pt x="57" y="90"/>
                  </a:lnTo>
                  <a:lnTo>
                    <a:pt x="59" y="92"/>
                  </a:lnTo>
                  <a:lnTo>
                    <a:pt x="61" y="92"/>
                  </a:lnTo>
                  <a:lnTo>
                    <a:pt x="63" y="94"/>
                  </a:lnTo>
                  <a:lnTo>
                    <a:pt x="67" y="100"/>
                  </a:lnTo>
                  <a:lnTo>
                    <a:pt x="68" y="102"/>
                  </a:lnTo>
                  <a:lnTo>
                    <a:pt x="70" y="103"/>
                  </a:lnTo>
                  <a:lnTo>
                    <a:pt x="71" y="104"/>
                  </a:lnTo>
                  <a:lnTo>
                    <a:pt x="73" y="104"/>
                  </a:lnTo>
                  <a:lnTo>
                    <a:pt x="74" y="104"/>
                  </a:lnTo>
                  <a:lnTo>
                    <a:pt x="76" y="105"/>
                  </a:lnTo>
                  <a:lnTo>
                    <a:pt x="78" y="104"/>
                  </a:lnTo>
                  <a:lnTo>
                    <a:pt x="80" y="104"/>
                  </a:lnTo>
                  <a:lnTo>
                    <a:pt x="85" y="103"/>
                  </a:lnTo>
                  <a:lnTo>
                    <a:pt x="88" y="102"/>
                  </a:lnTo>
                  <a:lnTo>
                    <a:pt x="91" y="102"/>
                  </a:lnTo>
                  <a:lnTo>
                    <a:pt x="101" y="100"/>
                  </a:lnTo>
                  <a:lnTo>
                    <a:pt x="103" y="100"/>
                  </a:lnTo>
                  <a:lnTo>
                    <a:pt x="106" y="99"/>
                  </a:lnTo>
                  <a:lnTo>
                    <a:pt x="109" y="98"/>
                  </a:lnTo>
                  <a:lnTo>
                    <a:pt x="111" y="97"/>
                  </a:lnTo>
                  <a:lnTo>
                    <a:pt x="112" y="95"/>
                  </a:lnTo>
                  <a:lnTo>
                    <a:pt x="114" y="93"/>
                  </a:lnTo>
                  <a:lnTo>
                    <a:pt x="115" y="92"/>
                  </a:lnTo>
                  <a:lnTo>
                    <a:pt x="117" y="90"/>
                  </a:lnTo>
                  <a:lnTo>
                    <a:pt x="118" y="88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3" y="80"/>
                  </a:lnTo>
                  <a:lnTo>
                    <a:pt x="124" y="78"/>
                  </a:lnTo>
                  <a:lnTo>
                    <a:pt x="126" y="76"/>
                  </a:lnTo>
                  <a:lnTo>
                    <a:pt x="128" y="75"/>
                  </a:lnTo>
                  <a:lnTo>
                    <a:pt x="131" y="73"/>
                  </a:lnTo>
                  <a:lnTo>
                    <a:pt x="134" y="71"/>
                  </a:lnTo>
                  <a:lnTo>
                    <a:pt x="136" y="70"/>
                  </a:lnTo>
                  <a:lnTo>
                    <a:pt x="138" y="70"/>
                  </a:lnTo>
                  <a:lnTo>
                    <a:pt x="145" y="68"/>
                  </a:lnTo>
                  <a:lnTo>
                    <a:pt x="149" y="66"/>
                  </a:lnTo>
                  <a:lnTo>
                    <a:pt x="154" y="63"/>
                  </a:lnTo>
                  <a:lnTo>
                    <a:pt x="160" y="58"/>
                  </a:lnTo>
                  <a:lnTo>
                    <a:pt x="163" y="58"/>
                  </a:lnTo>
                  <a:lnTo>
                    <a:pt x="167" y="56"/>
                  </a:lnTo>
                  <a:lnTo>
                    <a:pt x="172" y="54"/>
                  </a:lnTo>
                  <a:lnTo>
                    <a:pt x="174" y="54"/>
                  </a:lnTo>
                  <a:lnTo>
                    <a:pt x="176" y="52"/>
                  </a:lnTo>
                  <a:lnTo>
                    <a:pt x="179" y="51"/>
                  </a:lnTo>
                  <a:lnTo>
                    <a:pt x="181" y="49"/>
                  </a:lnTo>
                  <a:lnTo>
                    <a:pt x="183" y="47"/>
                  </a:lnTo>
                  <a:lnTo>
                    <a:pt x="185" y="46"/>
                  </a:lnTo>
                  <a:lnTo>
                    <a:pt x="189" y="41"/>
                  </a:lnTo>
                  <a:lnTo>
                    <a:pt x="191" y="38"/>
                  </a:lnTo>
                  <a:lnTo>
                    <a:pt x="193" y="36"/>
                  </a:lnTo>
                  <a:lnTo>
                    <a:pt x="194" y="36"/>
                  </a:lnTo>
                  <a:lnTo>
                    <a:pt x="195" y="36"/>
                  </a:lnTo>
                  <a:lnTo>
                    <a:pt x="196" y="36"/>
                  </a:lnTo>
                  <a:lnTo>
                    <a:pt x="197" y="35"/>
                  </a:lnTo>
                  <a:lnTo>
                    <a:pt x="198" y="35"/>
                  </a:lnTo>
                  <a:lnTo>
                    <a:pt x="199" y="35"/>
                  </a:lnTo>
                  <a:lnTo>
                    <a:pt x="202" y="36"/>
                  </a:lnTo>
                  <a:lnTo>
                    <a:pt x="205" y="37"/>
                  </a:lnTo>
                  <a:lnTo>
                    <a:pt x="207" y="37"/>
                  </a:lnTo>
                  <a:lnTo>
                    <a:pt x="209" y="38"/>
                  </a:lnTo>
                  <a:lnTo>
                    <a:pt x="211" y="38"/>
                  </a:lnTo>
                  <a:lnTo>
                    <a:pt x="214" y="38"/>
                  </a:lnTo>
                  <a:lnTo>
                    <a:pt x="216" y="37"/>
                  </a:lnTo>
                  <a:lnTo>
                    <a:pt x="219" y="36"/>
                  </a:lnTo>
                  <a:lnTo>
                    <a:pt x="221" y="36"/>
                  </a:lnTo>
                  <a:lnTo>
                    <a:pt x="224" y="34"/>
                  </a:lnTo>
                  <a:lnTo>
                    <a:pt x="226" y="32"/>
                  </a:lnTo>
                  <a:lnTo>
                    <a:pt x="229" y="29"/>
                  </a:lnTo>
                  <a:lnTo>
                    <a:pt x="232" y="26"/>
                  </a:lnTo>
                  <a:lnTo>
                    <a:pt x="234" y="24"/>
                  </a:lnTo>
                  <a:lnTo>
                    <a:pt x="235" y="22"/>
                  </a:lnTo>
                  <a:lnTo>
                    <a:pt x="236" y="21"/>
                  </a:lnTo>
                  <a:lnTo>
                    <a:pt x="236" y="20"/>
                  </a:lnTo>
                  <a:lnTo>
                    <a:pt x="236" y="19"/>
                  </a:lnTo>
                  <a:lnTo>
                    <a:pt x="236" y="19"/>
                  </a:lnTo>
                  <a:lnTo>
                    <a:pt x="237" y="18"/>
                  </a:lnTo>
                  <a:lnTo>
                    <a:pt x="239" y="17"/>
                  </a:lnTo>
                  <a:lnTo>
                    <a:pt x="241" y="16"/>
                  </a:lnTo>
                  <a:lnTo>
                    <a:pt x="243" y="14"/>
                  </a:lnTo>
                  <a:lnTo>
                    <a:pt x="244" y="13"/>
                  </a:lnTo>
                  <a:lnTo>
                    <a:pt x="244" y="11"/>
                  </a:lnTo>
                  <a:lnTo>
                    <a:pt x="245" y="9"/>
                  </a:lnTo>
                  <a:lnTo>
                    <a:pt x="248" y="4"/>
                  </a:lnTo>
                  <a:lnTo>
                    <a:pt x="249" y="2"/>
                  </a:lnTo>
                  <a:lnTo>
                    <a:pt x="249" y="2"/>
                  </a:lnTo>
                  <a:lnTo>
                    <a:pt x="250" y="1"/>
                  </a:lnTo>
                  <a:lnTo>
                    <a:pt x="251" y="1"/>
                  </a:lnTo>
                  <a:lnTo>
                    <a:pt x="253" y="0"/>
                  </a:lnTo>
                  <a:lnTo>
                    <a:pt x="256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7" name="Freeform 50">
              <a:extLst>
                <a:ext uri="{FF2B5EF4-FFF2-40B4-BE49-F238E27FC236}">
                  <a16:creationId xmlns:a16="http://schemas.microsoft.com/office/drawing/2014/main" id="{2E4C7CD7-9A72-4C66-AC8A-FAA67F25E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1" y="1303"/>
              <a:ext cx="453" cy="520"/>
            </a:xfrm>
            <a:custGeom>
              <a:avLst/>
              <a:gdLst>
                <a:gd name="T0" fmla="*/ 48 w 453"/>
                <a:gd name="T1" fmla="*/ 6 h 520"/>
                <a:gd name="T2" fmla="*/ 93 w 453"/>
                <a:gd name="T3" fmla="*/ 25 h 520"/>
                <a:gd name="T4" fmla="*/ 123 w 453"/>
                <a:gd name="T5" fmla="*/ 43 h 520"/>
                <a:gd name="T6" fmla="*/ 154 w 453"/>
                <a:gd name="T7" fmla="*/ 46 h 520"/>
                <a:gd name="T8" fmla="*/ 202 w 453"/>
                <a:gd name="T9" fmla="*/ 34 h 520"/>
                <a:gd name="T10" fmla="*/ 218 w 453"/>
                <a:gd name="T11" fmla="*/ 42 h 520"/>
                <a:gd name="T12" fmla="*/ 237 w 453"/>
                <a:gd name="T13" fmla="*/ 87 h 520"/>
                <a:gd name="T14" fmla="*/ 256 w 453"/>
                <a:gd name="T15" fmla="*/ 120 h 520"/>
                <a:gd name="T16" fmla="*/ 287 w 453"/>
                <a:gd name="T17" fmla="*/ 113 h 520"/>
                <a:gd name="T18" fmla="*/ 318 w 453"/>
                <a:gd name="T19" fmla="*/ 105 h 520"/>
                <a:gd name="T20" fmla="*/ 335 w 453"/>
                <a:gd name="T21" fmla="*/ 110 h 520"/>
                <a:gd name="T22" fmla="*/ 347 w 453"/>
                <a:gd name="T23" fmla="*/ 125 h 520"/>
                <a:gd name="T24" fmla="*/ 358 w 453"/>
                <a:gd name="T25" fmla="*/ 171 h 520"/>
                <a:gd name="T26" fmla="*/ 350 w 453"/>
                <a:gd name="T27" fmla="*/ 192 h 520"/>
                <a:gd name="T28" fmla="*/ 360 w 453"/>
                <a:gd name="T29" fmla="*/ 202 h 520"/>
                <a:gd name="T30" fmla="*/ 379 w 453"/>
                <a:gd name="T31" fmla="*/ 201 h 520"/>
                <a:gd name="T32" fmla="*/ 394 w 453"/>
                <a:gd name="T33" fmla="*/ 203 h 520"/>
                <a:gd name="T34" fmla="*/ 400 w 453"/>
                <a:gd name="T35" fmla="*/ 205 h 520"/>
                <a:gd name="T36" fmla="*/ 412 w 453"/>
                <a:gd name="T37" fmla="*/ 197 h 520"/>
                <a:gd name="T38" fmla="*/ 434 w 453"/>
                <a:gd name="T39" fmla="*/ 204 h 520"/>
                <a:gd name="T40" fmla="*/ 443 w 453"/>
                <a:gd name="T41" fmla="*/ 229 h 520"/>
                <a:gd name="T42" fmla="*/ 453 w 453"/>
                <a:gd name="T43" fmla="*/ 257 h 520"/>
                <a:gd name="T44" fmla="*/ 445 w 453"/>
                <a:gd name="T45" fmla="*/ 284 h 520"/>
                <a:gd name="T46" fmla="*/ 435 w 453"/>
                <a:gd name="T47" fmla="*/ 306 h 520"/>
                <a:gd name="T48" fmla="*/ 432 w 453"/>
                <a:gd name="T49" fmla="*/ 327 h 520"/>
                <a:gd name="T50" fmla="*/ 411 w 453"/>
                <a:gd name="T51" fmla="*/ 340 h 520"/>
                <a:gd name="T52" fmla="*/ 385 w 453"/>
                <a:gd name="T53" fmla="*/ 352 h 520"/>
                <a:gd name="T54" fmla="*/ 358 w 453"/>
                <a:gd name="T55" fmla="*/ 360 h 520"/>
                <a:gd name="T56" fmla="*/ 331 w 453"/>
                <a:gd name="T57" fmla="*/ 357 h 520"/>
                <a:gd name="T58" fmla="*/ 315 w 453"/>
                <a:gd name="T59" fmla="*/ 366 h 520"/>
                <a:gd name="T60" fmla="*/ 304 w 453"/>
                <a:gd name="T61" fmla="*/ 394 h 520"/>
                <a:gd name="T62" fmla="*/ 311 w 453"/>
                <a:gd name="T63" fmla="*/ 435 h 520"/>
                <a:gd name="T64" fmla="*/ 306 w 453"/>
                <a:gd name="T65" fmla="*/ 446 h 520"/>
                <a:gd name="T66" fmla="*/ 284 w 453"/>
                <a:gd name="T67" fmla="*/ 445 h 520"/>
                <a:gd name="T68" fmla="*/ 273 w 453"/>
                <a:gd name="T69" fmla="*/ 453 h 520"/>
                <a:gd name="T70" fmla="*/ 251 w 453"/>
                <a:gd name="T71" fmla="*/ 480 h 520"/>
                <a:gd name="T72" fmla="*/ 228 w 453"/>
                <a:gd name="T73" fmla="*/ 494 h 520"/>
                <a:gd name="T74" fmla="*/ 205 w 453"/>
                <a:gd name="T75" fmla="*/ 501 h 520"/>
                <a:gd name="T76" fmla="*/ 203 w 453"/>
                <a:gd name="T77" fmla="*/ 510 h 520"/>
                <a:gd name="T78" fmla="*/ 195 w 453"/>
                <a:gd name="T79" fmla="*/ 510 h 520"/>
                <a:gd name="T80" fmla="*/ 181 w 453"/>
                <a:gd name="T81" fmla="*/ 510 h 520"/>
                <a:gd name="T82" fmla="*/ 159 w 453"/>
                <a:gd name="T83" fmla="*/ 519 h 520"/>
                <a:gd name="T84" fmla="*/ 149 w 453"/>
                <a:gd name="T85" fmla="*/ 494 h 520"/>
                <a:gd name="T86" fmla="*/ 143 w 453"/>
                <a:gd name="T87" fmla="*/ 462 h 520"/>
                <a:gd name="T88" fmla="*/ 140 w 453"/>
                <a:gd name="T89" fmla="*/ 442 h 520"/>
                <a:gd name="T90" fmla="*/ 118 w 453"/>
                <a:gd name="T91" fmla="*/ 410 h 520"/>
                <a:gd name="T92" fmla="*/ 103 w 453"/>
                <a:gd name="T93" fmla="*/ 391 h 520"/>
                <a:gd name="T94" fmla="*/ 88 w 453"/>
                <a:gd name="T95" fmla="*/ 374 h 520"/>
                <a:gd name="T96" fmla="*/ 89 w 453"/>
                <a:gd name="T97" fmla="*/ 352 h 520"/>
                <a:gd name="T98" fmla="*/ 80 w 453"/>
                <a:gd name="T99" fmla="*/ 338 h 520"/>
                <a:gd name="T100" fmla="*/ 41 w 453"/>
                <a:gd name="T101" fmla="*/ 315 h 520"/>
                <a:gd name="T102" fmla="*/ 65 w 453"/>
                <a:gd name="T103" fmla="*/ 303 h 520"/>
                <a:gd name="T104" fmla="*/ 70 w 453"/>
                <a:gd name="T105" fmla="*/ 294 h 520"/>
                <a:gd name="T106" fmla="*/ 50 w 453"/>
                <a:gd name="T107" fmla="*/ 263 h 520"/>
                <a:gd name="T108" fmla="*/ 36 w 453"/>
                <a:gd name="T109" fmla="*/ 232 h 520"/>
                <a:gd name="T110" fmla="*/ 43 w 453"/>
                <a:gd name="T111" fmla="*/ 202 h 520"/>
                <a:gd name="T112" fmla="*/ 40 w 453"/>
                <a:gd name="T113" fmla="*/ 185 h 520"/>
                <a:gd name="T114" fmla="*/ 31 w 453"/>
                <a:gd name="T115" fmla="*/ 153 h 520"/>
                <a:gd name="T116" fmla="*/ 24 w 453"/>
                <a:gd name="T117" fmla="*/ 113 h 520"/>
                <a:gd name="T118" fmla="*/ 24 w 453"/>
                <a:gd name="T119" fmla="*/ 55 h 520"/>
                <a:gd name="T120" fmla="*/ 8 w 453"/>
                <a:gd name="T121" fmla="*/ 23 h 520"/>
                <a:gd name="T122" fmla="*/ 0 w 453"/>
                <a:gd name="T123" fmla="*/ 1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3" h="520">
                  <a:moveTo>
                    <a:pt x="2" y="0"/>
                  </a:moveTo>
                  <a:lnTo>
                    <a:pt x="3" y="0"/>
                  </a:lnTo>
                  <a:lnTo>
                    <a:pt x="24" y="2"/>
                  </a:lnTo>
                  <a:lnTo>
                    <a:pt x="29" y="2"/>
                  </a:lnTo>
                  <a:lnTo>
                    <a:pt x="34" y="3"/>
                  </a:lnTo>
                  <a:lnTo>
                    <a:pt x="39" y="4"/>
                  </a:lnTo>
                  <a:lnTo>
                    <a:pt x="45" y="5"/>
                  </a:lnTo>
                  <a:lnTo>
                    <a:pt x="48" y="6"/>
                  </a:lnTo>
                  <a:lnTo>
                    <a:pt x="51" y="7"/>
                  </a:lnTo>
                  <a:lnTo>
                    <a:pt x="55" y="8"/>
                  </a:lnTo>
                  <a:lnTo>
                    <a:pt x="58" y="10"/>
                  </a:lnTo>
                  <a:lnTo>
                    <a:pt x="60" y="11"/>
                  </a:lnTo>
                  <a:lnTo>
                    <a:pt x="67" y="15"/>
                  </a:lnTo>
                  <a:lnTo>
                    <a:pt x="73" y="18"/>
                  </a:lnTo>
                  <a:lnTo>
                    <a:pt x="81" y="21"/>
                  </a:lnTo>
                  <a:lnTo>
                    <a:pt x="93" y="25"/>
                  </a:lnTo>
                  <a:lnTo>
                    <a:pt x="96" y="27"/>
                  </a:lnTo>
                  <a:lnTo>
                    <a:pt x="100" y="29"/>
                  </a:lnTo>
                  <a:lnTo>
                    <a:pt x="104" y="31"/>
                  </a:lnTo>
                  <a:lnTo>
                    <a:pt x="106" y="33"/>
                  </a:lnTo>
                  <a:lnTo>
                    <a:pt x="109" y="34"/>
                  </a:lnTo>
                  <a:lnTo>
                    <a:pt x="118" y="41"/>
                  </a:lnTo>
                  <a:lnTo>
                    <a:pt x="120" y="42"/>
                  </a:lnTo>
                  <a:lnTo>
                    <a:pt x="123" y="43"/>
                  </a:lnTo>
                  <a:lnTo>
                    <a:pt x="126" y="45"/>
                  </a:lnTo>
                  <a:lnTo>
                    <a:pt x="128" y="45"/>
                  </a:lnTo>
                  <a:lnTo>
                    <a:pt x="131" y="45"/>
                  </a:lnTo>
                  <a:lnTo>
                    <a:pt x="133" y="46"/>
                  </a:lnTo>
                  <a:lnTo>
                    <a:pt x="138" y="46"/>
                  </a:lnTo>
                  <a:lnTo>
                    <a:pt x="144" y="47"/>
                  </a:lnTo>
                  <a:lnTo>
                    <a:pt x="150" y="47"/>
                  </a:lnTo>
                  <a:lnTo>
                    <a:pt x="154" y="46"/>
                  </a:lnTo>
                  <a:lnTo>
                    <a:pt x="157" y="46"/>
                  </a:lnTo>
                  <a:lnTo>
                    <a:pt x="161" y="45"/>
                  </a:lnTo>
                  <a:lnTo>
                    <a:pt x="180" y="40"/>
                  </a:lnTo>
                  <a:lnTo>
                    <a:pt x="184" y="38"/>
                  </a:lnTo>
                  <a:lnTo>
                    <a:pt x="193" y="35"/>
                  </a:lnTo>
                  <a:lnTo>
                    <a:pt x="196" y="34"/>
                  </a:lnTo>
                  <a:lnTo>
                    <a:pt x="200" y="34"/>
                  </a:lnTo>
                  <a:lnTo>
                    <a:pt x="202" y="34"/>
                  </a:lnTo>
                  <a:lnTo>
                    <a:pt x="205" y="34"/>
                  </a:lnTo>
                  <a:lnTo>
                    <a:pt x="206" y="34"/>
                  </a:lnTo>
                  <a:lnTo>
                    <a:pt x="207" y="34"/>
                  </a:lnTo>
                  <a:lnTo>
                    <a:pt x="210" y="34"/>
                  </a:lnTo>
                  <a:lnTo>
                    <a:pt x="211" y="35"/>
                  </a:lnTo>
                  <a:lnTo>
                    <a:pt x="213" y="37"/>
                  </a:lnTo>
                  <a:lnTo>
                    <a:pt x="215" y="39"/>
                  </a:lnTo>
                  <a:lnTo>
                    <a:pt x="218" y="42"/>
                  </a:lnTo>
                  <a:lnTo>
                    <a:pt x="218" y="44"/>
                  </a:lnTo>
                  <a:lnTo>
                    <a:pt x="219" y="45"/>
                  </a:lnTo>
                  <a:lnTo>
                    <a:pt x="220" y="47"/>
                  </a:lnTo>
                  <a:lnTo>
                    <a:pt x="221" y="50"/>
                  </a:lnTo>
                  <a:lnTo>
                    <a:pt x="225" y="61"/>
                  </a:lnTo>
                  <a:lnTo>
                    <a:pt x="227" y="66"/>
                  </a:lnTo>
                  <a:lnTo>
                    <a:pt x="229" y="72"/>
                  </a:lnTo>
                  <a:lnTo>
                    <a:pt x="237" y="87"/>
                  </a:lnTo>
                  <a:lnTo>
                    <a:pt x="245" y="107"/>
                  </a:lnTo>
                  <a:lnTo>
                    <a:pt x="247" y="111"/>
                  </a:lnTo>
                  <a:lnTo>
                    <a:pt x="249" y="113"/>
                  </a:lnTo>
                  <a:lnTo>
                    <a:pt x="250" y="115"/>
                  </a:lnTo>
                  <a:lnTo>
                    <a:pt x="252" y="117"/>
                  </a:lnTo>
                  <a:lnTo>
                    <a:pt x="252" y="118"/>
                  </a:lnTo>
                  <a:lnTo>
                    <a:pt x="254" y="119"/>
                  </a:lnTo>
                  <a:lnTo>
                    <a:pt x="256" y="120"/>
                  </a:lnTo>
                  <a:lnTo>
                    <a:pt x="258" y="121"/>
                  </a:lnTo>
                  <a:lnTo>
                    <a:pt x="260" y="121"/>
                  </a:lnTo>
                  <a:lnTo>
                    <a:pt x="262" y="121"/>
                  </a:lnTo>
                  <a:lnTo>
                    <a:pt x="263" y="121"/>
                  </a:lnTo>
                  <a:lnTo>
                    <a:pt x="265" y="121"/>
                  </a:lnTo>
                  <a:lnTo>
                    <a:pt x="270" y="120"/>
                  </a:lnTo>
                  <a:lnTo>
                    <a:pt x="275" y="118"/>
                  </a:lnTo>
                  <a:lnTo>
                    <a:pt x="287" y="113"/>
                  </a:lnTo>
                  <a:lnTo>
                    <a:pt x="294" y="112"/>
                  </a:lnTo>
                  <a:lnTo>
                    <a:pt x="300" y="109"/>
                  </a:lnTo>
                  <a:lnTo>
                    <a:pt x="304" y="108"/>
                  </a:lnTo>
                  <a:lnTo>
                    <a:pt x="307" y="107"/>
                  </a:lnTo>
                  <a:lnTo>
                    <a:pt x="310" y="106"/>
                  </a:lnTo>
                  <a:lnTo>
                    <a:pt x="313" y="105"/>
                  </a:lnTo>
                  <a:lnTo>
                    <a:pt x="316" y="105"/>
                  </a:lnTo>
                  <a:lnTo>
                    <a:pt x="318" y="105"/>
                  </a:lnTo>
                  <a:lnTo>
                    <a:pt x="320" y="105"/>
                  </a:lnTo>
                  <a:lnTo>
                    <a:pt x="323" y="105"/>
                  </a:lnTo>
                  <a:lnTo>
                    <a:pt x="325" y="105"/>
                  </a:lnTo>
                  <a:lnTo>
                    <a:pt x="327" y="106"/>
                  </a:lnTo>
                  <a:lnTo>
                    <a:pt x="329" y="106"/>
                  </a:lnTo>
                  <a:lnTo>
                    <a:pt x="331" y="107"/>
                  </a:lnTo>
                  <a:lnTo>
                    <a:pt x="333" y="109"/>
                  </a:lnTo>
                  <a:lnTo>
                    <a:pt x="335" y="110"/>
                  </a:lnTo>
                  <a:lnTo>
                    <a:pt x="337" y="111"/>
                  </a:lnTo>
                  <a:lnTo>
                    <a:pt x="339" y="113"/>
                  </a:lnTo>
                  <a:lnTo>
                    <a:pt x="340" y="113"/>
                  </a:lnTo>
                  <a:lnTo>
                    <a:pt x="342" y="115"/>
                  </a:lnTo>
                  <a:lnTo>
                    <a:pt x="343" y="117"/>
                  </a:lnTo>
                  <a:lnTo>
                    <a:pt x="344" y="120"/>
                  </a:lnTo>
                  <a:lnTo>
                    <a:pt x="346" y="123"/>
                  </a:lnTo>
                  <a:lnTo>
                    <a:pt x="347" y="125"/>
                  </a:lnTo>
                  <a:lnTo>
                    <a:pt x="348" y="126"/>
                  </a:lnTo>
                  <a:lnTo>
                    <a:pt x="350" y="132"/>
                  </a:lnTo>
                  <a:lnTo>
                    <a:pt x="352" y="138"/>
                  </a:lnTo>
                  <a:lnTo>
                    <a:pt x="354" y="145"/>
                  </a:lnTo>
                  <a:lnTo>
                    <a:pt x="355" y="155"/>
                  </a:lnTo>
                  <a:lnTo>
                    <a:pt x="358" y="168"/>
                  </a:lnTo>
                  <a:lnTo>
                    <a:pt x="358" y="170"/>
                  </a:lnTo>
                  <a:lnTo>
                    <a:pt x="358" y="171"/>
                  </a:lnTo>
                  <a:lnTo>
                    <a:pt x="358" y="173"/>
                  </a:lnTo>
                  <a:lnTo>
                    <a:pt x="358" y="174"/>
                  </a:lnTo>
                  <a:lnTo>
                    <a:pt x="357" y="177"/>
                  </a:lnTo>
                  <a:lnTo>
                    <a:pt x="355" y="179"/>
                  </a:lnTo>
                  <a:lnTo>
                    <a:pt x="352" y="185"/>
                  </a:lnTo>
                  <a:lnTo>
                    <a:pt x="351" y="188"/>
                  </a:lnTo>
                  <a:lnTo>
                    <a:pt x="350" y="190"/>
                  </a:lnTo>
                  <a:lnTo>
                    <a:pt x="350" y="192"/>
                  </a:lnTo>
                  <a:lnTo>
                    <a:pt x="350" y="193"/>
                  </a:lnTo>
                  <a:lnTo>
                    <a:pt x="351" y="194"/>
                  </a:lnTo>
                  <a:lnTo>
                    <a:pt x="352" y="196"/>
                  </a:lnTo>
                  <a:lnTo>
                    <a:pt x="353" y="198"/>
                  </a:lnTo>
                  <a:lnTo>
                    <a:pt x="354" y="199"/>
                  </a:lnTo>
                  <a:lnTo>
                    <a:pt x="355" y="201"/>
                  </a:lnTo>
                  <a:lnTo>
                    <a:pt x="357" y="202"/>
                  </a:lnTo>
                  <a:lnTo>
                    <a:pt x="360" y="202"/>
                  </a:lnTo>
                  <a:lnTo>
                    <a:pt x="363" y="203"/>
                  </a:lnTo>
                  <a:lnTo>
                    <a:pt x="366" y="204"/>
                  </a:lnTo>
                  <a:lnTo>
                    <a:pt x="367" y="204"/>
                  </a:lnTo>
                  <a:lnTo>
                    <a:pt x="369" y="204"/>
                  </a:lnTo>
                  <a:lnTo>
                    <a:pt x="372" y="204"/>
                  </a:lnTo>
                  <a:lnTo>
                    <a:pt x="374" y="203"/>
                  </a:lnTo>
                  <a:lnTo>
                    <a:pt x="376" y="203"/>
                  </a:lnTo>
                  <a:lnTo>
                    <a:pt x="379" y="201"/>
                  </a:lnTo>
                  <a:lnTo>
                    <a:pt x="387" y="198"/>
                  </a:lnTo>
                  <a:lnTo>
                    <a:pt x="390" y="197"/>
                  </a:lnTo>
                  <a:lnTo>
                    <a:pt x="391" y="197"/>
                  </a:lnTo>
                  <a:lnTo>
                    <a:pt x="392" y="197"/>
                  </a:lnTo>
                  <a:lnTo>
                    <a:pt x="393" y="197"/>
                  </a:lnTo>
                  <a:lnTo>
                    <a:pt x="393" y="199"/>
                  </a:lnTo>
                  <a:lnTo>
                    <a:pt x="394" y="201"/>
                  </a:lnTo>
                  <a:lnTo>
                    <a:pt x="394" y="203"/>
                  </a:lnTo>
                  <a:lnTo>
                    <a:pt x="395" y="204"/>
                  </a:lnTo>
                  <a:lnTo>
                    <a:pt x="395" y="205"/>
                  </a:lnTo>
                  <a:lnTo>
                    <a:pt x="396" y="206"/>
                  </a:lnTo>
                  <a:lnTo>
                    <a:pt x="397" y="206"/>
                  </a:lnTo>
                  <a:lnTo>
                    <a:pt x="398" y="207"/>
                  </a:lnTo>
                  <a:lnTo>
                    <a:pt x="399" y="207"/>
                  </a:lnTo>
                  <a:lnTo>
                    <a:pt x="400" y="206"/>
                  </a:lnTo>
                  <a:lnTo>
                    <a:pt x="400" y="205"/>
                  </a:lnTo>
                  <a:lnTo>
                    <a:pt x="402" y="203"/>
                  </a:lnTo>
                  <a:lnTo>
                    <a:pt x="404" y="202"/>
                  </a:lnTo>
                  <a:lnTo>
                    <a:pt x="405" y="200"/>
                  </a:lnTo>
                  <a:lnTo>
                    <a:pt x="407" y="199"/>
                  </a:lnTo>
                  <a:lnTo>
                    <a:pt x="408" y="198"/>
                  </a:lnTo>
                  <a:lnTo>
                    <a:pt x="410" y="198"/>
                  </a:lnTo>
                  <a:lnTo>
                    <a:pt x="411" y="197"/>
                  </a:lnTo>
                  <a:lnTo>
                    <a:pt x="412" y="197"/>
                  </a:lnTo>
                  <a:lnTo>
                    <a:pt x="415" y="197"/>
                  </a:lnTo>
                  <a:lnTo>
                    <a:pt x="418" y="197"/>
                  </a:lnTo>
                  <a:lnTo>
                    <a:pt x="421" y="198"/>
                  </a:lnTo>
                  <a:lnTo>
                    <a:pt x="423" y="199"/>
                  </a:lnTo>
                  <a:lnTo>
                    <a:pt x="426" y="200"/>
                  </a:lnTo>
                  <a:lnTo>
                    <a:pt x="430" y="202"/>
                  </a:lnTo>
                  <a:lnTo>
                    <a:pt x="433" y="204"/>
                  </a:lnTo>
                  <a:lnTo>
                    <a:pt x="434" y="204"/>
                  </a:lnTo>
                  <a:lnTo>
                    <a:pt x="436" y="205"/>
                  </a:lnTo>
                  <a:lnTo>
                    <a:pt x="437" y="207"/>
                  </a:lnTo>
                  <a:lnTo>
                    <a:pt x="438" y="209"/>
                  </a:lnTo>
                  <a:lnTo>
                    <a:pt x="438" y="210"/>
                  </a:lnTo>
                  <a:lnTo>
                    <a:pt x="439" y="213"/>
                  </a:lnTo>
                  <a:lnTo>
                    <a:pt x="441" y="219"/>
                  </a:lnTo>
                  <a:lnTo>
                    <a:pt x="442" y="227"/>
                  </a:lnTo>
                  <a:lnTo>
                    <a:pt x="443" y="229"/>
                  </a:lnTo>
                  <a:lnTo>
                    <a:pt x="443" y="231"/>
                  </a:lnTo>
                  <a:lnTo>
                    <a:pt x="444" y="233"/>
                  </a:lnTo>
                  <a:lnTo>
                    <a:pt x="445" y="236"/>
                  </a:lnTo>
                  <a:lnTo>
                    <a:pt x="449" y="244"/>
                  </a:lnTo>
                  <a:lnTo>
                    <a:pt x="450" y="246"/>
                  </a:lnTo>
                  <a:lnTo>
                    <a:pt x="451" y="247"/>
                  </a:lnTo>
                  <a:lnTo>
                    <a:pt x="452" y="252"/>
                  </a:lnTo>
                  <a:lnTo>
                    <a:pt x="453" y="257"/>
                  </a:lnTo>
                  <a:lnTo>
                    <a:pt x="453" y="260"/>
                  </a:lnTo>
                  <a:lnTo>
                    <a:pt x="453" y="261"/>
                  </a:lnTo>
                  <a:lnTo>
                    <a:pt x="453" y="262"/>
                  </a:lnTo>
                  <a:lnTo>
                    <a:pt x="452" y="264"/>
                  </a:lnTo>
                  <a:lnTo>
                    <a:pt x="451" y="268"/>
                  </a:lnTo>
                  <a:lnTo>
                    <a:pt x="448" y="273"/>
                  </a:lnTo>
                  <a:lnTo>
                    <a:pt x="445" y="280"/>
                  </a:lnTo>
                  <a:lnTo>
                    <a:pt x="445" y="284"/>
                  </a:lnTo>
                  <a:lnTo>
                    <a:pt x="444" y="286"/>
                  </a:lnTo>
                  <a:lnTo>
                    <a:pt x="443" y="288"/>
                  </a:lnTo>
                  <a:lnTo>
                    <a:pt x="438" y="295"/>
                  </a:lnTo>
                  <a:lnTo>
                    <a:pt x="437" y="297"/>
                  </a:lnTo>
                  <a:lnTo>
                    <a:pt x="437" y="299"/>
                  </a:lnTo>
                  <a:lnTo>
                    <a:pt x="436" y="301"/>
                  </a:lnTo>
                  <a:lnTo>
                    <a:pt x="436" y="302"/>
                  </a:lnTo>
                  <a:lnTo>
                    <a:pt x="435" y="306"/>
                  </a:lnTo>
                  <a:lnTo>
                    <a:pt x="435" y="307"/>
                  </a:lnTo>
                  <a:lnTo>
                    <a:pt x="436" y="315"/>
                  </a:lnTo>
                  <a:lnTo>
                    <a:pt x="436" y="317"/>
                  </a:lnTo>
                  <a:lnTo>
                    <a:pt x="436" y="318"/>
                  </a:lnTo>
                  <a:lnTo>
                    <a:pt x="435" y="319"/>
                  </a:lnTo>
                  <a:lnTo>
                    <a:pt x="435" y="320"/>
                  </a:lnTo>
                  <a:lnTo>
                    <a:pt x="434" y="324"/>
                  </a:lnTo>
                  <a:lnTo>
                    <a:pt x="432" y="327"/>
                  </a:lnTo>
                  <a:lnTo>
                    <a:pt x="432" y="329"/>
                  </a:lnTo>
                  <a:lnTo>
                    <a:pt x="431" y="329"/>
                  </a:lnTo>
                  <a:lnTo>
                    <a:pt x="429" y="330"/>
                  </a:lnTo>
                  <a:lnTo>
                    <a:pt x="428" y="331"/>
                  </a:lnTo>
                  <a:lnTo>
                    <a:pt x="426" y="332"/>
                  </a:lnTo>
                  <a:lnTo>
                    <a:pt x="422" y="335"/>
                  </a:lnTo>
                  <a:lnTo>
                    <a:pt x="419" y="336"/>
                  </a:lnTo>
                  <a:lnTo>
                    <a:pt x="411" y="340"/>
                  </a:lnTo>
                  <a:lnTo>
                    <a:pt x="408" y="340"/>
                  </a:lnTo>
                  <a:lnTo>
                    <a:pt x="405" y="342"/>
                  </a:lnTo>
                  <a:lnTo>
                    <a:pt x="400" y="346"/>
                  </a:lnTo>
                  <a:lnTo>
                    <a:pt x="397" y="348"/>
                  </a:lnTo>
                  <a:lnTo>
                    <a:pt x="391" y="351"/>
                  </a:lnTo>
                  <a:lnTo>
                    <a:pt x="388" y="351"/>
                  </a:lnTo>
                  <a:lnTo>
                    <a:pt x="387" y="352"/>
                  </a:lnTo>
                  <a:lnTo>
                    <a:pt x="385" y="352"/>
                  </a:lnTo>
                  <a:lnTo>
                    <a:pt x="383" y="353"/>
                  </a:lnTo>
                  <a:lnTo>
                    <a:pt x="375" y="354"/>
                  </a:lnTo>
                  <a:lnTo>
                    <a:pt x="372" y="354"/>
                  </a:lnTo>
                  <a:lnTo>
                    <a:pt x="370" y="355"/>
                  </a:lnTo>
                  <a:lnTo>
                    <a:pt x="368" y="356"/>
                  </a:lnTo>
                  <a:lnTo>
                    <a:pt x="363" y="358"/>
                  </a:lnTo>
                  <a:lnTo>
                    <a:pt x="361" y="359"/>
                  </a:lnTo>
                  <a:lnTo>
                    <a:pt x="358" y="360"/>
                  </a:lnTo>
                  <a:lnTo>
                    <a:pt x="355" y="360"/>
                  </a:lnTo>
                  <a:lnTo>
                    <a:pt x="353" y="360"/>
                  </a:lnTo>
                  <a:lnTo>
                    <a:pt x="349" y="360"/>
                  </a:lnTo>
                  <a:lnTo>
                    <a:pt x="345" y="359"/>
                  </a:lnTo>
                  <a:lnTo>
                    <a:pt x="339" y="357"/>
                  </a:lnTo>
                  <a:lnTo>
                    <a:pt x="336" y="357"/>
                  </a:lnTo>
                  <a:lnTo>
                    <a:pt x="333" y="357"/>
                  </a:lnTo>
                  <a:lnTo>
                    <a:pt x="331" y="357"/>
                  </a:lnTo>
                  <a:lnTo>
                    <a:pt x="331" y="357"/>
                  </a:lnTo>
                  <a:lnTo>
                    <a:pt x="329" y="357"/>
                  </a:lnTo>
                  <a:lnTo>
                    <a:pt x="327" y="358"/>
                  </a:lnTo>
                  <a:lnTo>
                    <a:pt x="326" y="358"/>
                  </a:lnTo>
                  <a:lnTo>
                    <a:pt x="324" y="359"/>
                  </a:lnTo>
                  <a:lnTo>
                    <a:pt x="322" y="361"/>
                  </a:lnTo>
                  <a:lnTo>
                    <a:pt x="316" y="365"/>
                  </a:lnTo>
                  <a:lnTo>
                    <a:pt x="315" y="366"/>
                  </a:lnTo>
                  <a:lnTo>
                    <a:pt x="314" y="367"/>
                  </a:lnTo>
                  <a:lnTo>
                    <a:pt x="313" y="369"/>
                  </a:lnTo>
                  <a:lnTo>
                    <a:pt x="309" y="376"/>
                  </a:lnTo>
                  <a:lnTo>
                    <a:pt x="307" y="379"/>
                  </a:lnTo>
                  <a:lnTo>
                    <a:pt x="306" y="382"/>
                  </a:lnTo>
                  <a:lnTo>
                    <a:pt x="305" y="386"/>
                  </a:lnTo>
                  <a:lnTo>
                    <a:pt x="305" y="390"/>
                  </a:lnTo>
                  <a:lnTo>
                    <a:pt x="304" y="394"/>
                  </a:lnTo>
                  <a:lnTo>
                    <a:pt x="304" y="399"/>
                  </a:lnTo>
                  <a:lnTo>
                    <a:pt x="304" y="404"/>
                  </a:lnTo>
                  <a:lnTo>
                    <a:pt x="304" y="408"/>
                  </a:lnTo>
                  <a:lnTo>
                    <a:pt x="305" y="412"/>
                  </a:lnTo>
                  <a:lnTo>
                    <a:pt x="306" y="417"/>
                  </a:lnTo>
                  <a:lnTo>
                    <a:pt x="307" y="419"/>
                  </a:lnTo>
                  <a:lnTo>
                    <a:pt x="311" y="432"/>
                  </a:lnTo>
                  <a:lnTo>
                    <a:pt x="311" y="435"/>
                  </a:lnTo>
                  <a:lnTo>
                    <a:pt x="312" y="437"/>
                  </a:lnTo>
                  <a:lnTo>
                    <a:pt x="312" y="439"/>
                  </a:lnTo>
                  <a:lnTo>
                    <a:pt x="312" y="440"/>
                  </a:lnTo>
                  <a:lnTo>
                    <a:pt x="311" y="442"/>
                  </a:lnTo>
                  <a:lnTo>
                    <a:pt x="310" y="442"/>
                  </a:lnTo>
                  <a:lnTo>
                    <a:pt x="309" y="443"/>
                  </a:lnTo>
                  <a:lnTo>
                    <a:pt x="309" y="444"/>
                  </a:lnTo>
                  <a:lnTo>
                    <a:pt x="306" y="446"/>
                  </a:lnTo>
                  <a:lnTo>
                    <a:pt x="305" y="447"/>
                  </a:lnTo>
                  <a:lnTo>
                    <a:pt x="303" y="447"/>
                  </a:lnTo>
                  <a:lnTo>
                    <a:pt x="301" y="448"/>
                  </a:lnTo>
                  <a:lnTo>
                    <a:pt x="298" y="448"/>
                  </a:lnTo>
                  <a:lnTo>
                    <a:pt x="295" y="447"/>
                  </a:lnTo>
                  <a:lnTo>
                    <a:pt x="292" y="447"/>
                  </a:lnTo>
                  <a:lnTo>
                    <a:pt x="286" y="445"/>
                  </a:lnTo>
                  <a:lnTo>
                    <a:pt x="284" y="445"/>
                  </a:lnTo>
                  <a:lnTo>
                    <a:pt x="283" y="445"/>
                  </a:lnTo>
                  <a:lnTo>
                    <a:pt x="281" y="445"/>
                  </a:lnTo>
                  <a:lnTo>
                    <a:pt x="280" y="446"/>
                  </a:lnTo>
                  <a:lnTo>
                    <a:pt x="278" y="446"/>
                  </a:lnTo>
                  <a:lnTo>
                    <a:pt x="277" y="447"/>
                  </a:lnTo>
                  <a:lnTo>
                    <a:pt x="276" y="448"/>
                  </a:lnTo>
                  <a:lnTo>
                    <a:pt x="274" y="451"/>
                  </a:lnTo>
                  <a:lnTo>
                    <a:pt x="273" y="453"/>
                  </a:lnTo>
                  <a:lnTo>
                    <a:pt x="269" y="457"/>
                  </a:lnTo>
                  <a:lnTo>
                    <a:pt x="265" y="462"/>
                  </a:lnTo>
                  <a:lnTo>
                    <a:pt x="263" y="464"/>
                  </a:lnTo>
                  <a:lnTo>
                    <a:pt x="258" y="469"/>
                  </a:lnTo>
                  <a:lnTo>
                    <a:pt x="256" y="471"/>
                  </a:lnTo>
                  <a:lnTo>
                    <a:pt x="254" y="473"/>
                  </a:lnTo>
                  <a:lnTo>
                    <a:pt x="252" y="477"/>
                  </a:lnTo>
                  <a:lnTo>
                    <a:pt x="251" y="480"/>
                  </a:lnTo>
                  <a:lnTo>
                    <a:pt x="250" y="482"/>
                  </a:lnTo>
                  <a:lnTo>
                    <a:pt x="248" y="483"/>
                  </a:lnTo>
                  <a:lnTo>
                    <a:pt x="245" y="485"/>
                  </a:lnTo>
                  <a:lnTo>
                    <a:pt x="240" y="488"/>
                  </a:lnTo>
                  <a:lnTo>
                    <a:pt x="236" y="490"/>
                  </a:lnTo>
                  <a:lnTo>
                    <a:pt x="231" y="492"/>
                  </a:lnTo>
                  <a:lnTo>
                    <a:pt x="229" y="493"/>
                  </a:lnTo>
                  <a:lnTo>
                    <a:pt x="228" y="494"/>
                  </a:lnTo>
                  <a:lnTo>
                    <a:pt x="219" y="495"/>
                  </a:lnTo>
                  <a:lnTo>
                    <a:pt x="215" y="496"/>
                  </a:lnTo>
                  <a:lnTo>
                    <a:pt x="213" y="497"/>
                  </a:lnTo>
                  <a:lnTo>
                    <a:pt x="211" y="498"/>
                  </a:lnTo>
                  <a:lnTo>
                    <a:pt x="209" y="498"/>
                  </a:lnTo>
                  <a:lnTo>
                    <a:pt x="208" y="499"/>
                  </a:lnTo>
                  <a:lnTo>
                    <a:pt x="206" y="500"/>
                  </a:lnTo>
                  <a:lnTo>
                    <a:pt x="205" y="501"/>
                  </a:lnTo>
                  <a:lnTo>
                    <a:pt x="204" y="503"/>
                  </a:lnTo>
                  <a:lnTo>
                    <a:pt x="203" y="504"/>
                  </a:lnTo>
                  <a:lnTo>
                    <a:pt x="202" y="506"/>
                  </a:lnTo>
                  <a:lnTo>
                    <a:pt x="202" y="508"/>
                  </a:lnTo>
                  <a:lnTo>
                    <a:pt x="203" y="510"/>
                  </a:lnTo>
                  <a:lnTo>
                    <a:pt x="203" y="510"/>
                  </a:lnTo>
                  <a:lnTo>
                    <a:pt x="204" y="510"/>
                  </a:lnTo>
                  <a:lnTo>
                    <a:pt x="203" y="510"/>
                  </a:lnTo>
                  <a:lnTo>
                    <a:pt x="203" y="511"/>
                  </a:lnTo>
                  <a:lnTo>
                    <a:pt x="202" y="510"/>
                  </a:lnTo>
                  <a:lnTo>
                    <a:pt x="199" y="510"/>
                  </a:lnTo>
                  <a:lnTo>
                    <a:pt x="198" y="510"/>
                  </a:lnTo>
                  <a:lnTo>
                    <a:pt x="197" y="510"/>
                  </a:lnTo>
                  <a:lnTo>
                    <a:pt x="196" y="510"/>
                  </a:lnTo>
                  <a:lnTo>
                    <a:pt x="195" y="510"/>
                  </a:lnTo>
                  <a:lnTo>
                    <a:pt x="195" y="510"/>
                  </a:lnTo>
                  <a:lnTo>
                    <a:pt x="194" y="510"/>
                  </a:lnTo>
                  <a:lnTo>
                    <a:pt x="192" y="507"/>
                  </a:lnTo>
                  <a:lnTo>
                    <a:pt x="192" y="506"/>
                  </a:lnTo>
                  <a:lnTo>
                    <a:pt x="191" y="506"/>
                  </a:lnTo>
                  <a:lnTo>
                    <a:pt x="190" y="506"/>
                  </a:lnTo>
                  <a:lnTo>
                    <a:pt x="186" y="507"/>
                  </a:lnTo>
                  <a:lnTo>
                    <a:pt x="183" y="509"/>
                  </a:lnTo>
                  <a:lnTo>
                    <a:pt x="181" y="510"/>
                  </a:lnTo>
                  <a:lnTo>
                    <a:pt x="175" y="511"/>
                  </a:lnTo>
                  <a:lnTo>
                    <a:pt x="172" y="512"/>
                  </a:lnTo>
                  <a:lnTo>
                    <a:pt x="170" y="513"/>
                  </a:lnTo>
                  <a:lnTo>
                    <a:pt x="166" y="516"/>
                  </a:lnTo>
                  <a:lnTo>
                    <a:pt x="162" y="518"/>
                  </a:lnTo>
                  <a:lnTo>
                    <a:pt x="161" y="519"/>
                  </a:lnTo>
                  <a:lnTo>
                    <a:pt x="159" y="520"/>
                  </a:lnTo>
                  <a:lnTo>
                    <a:pt x="159" y="519"/>
                  </a:lnTo>
                  <a:lnTo>
                    <a:pt x="157" y="517"/>
                  </a:lnTo>
                  <a:lnTo>
                    <a:pt x="156" y="516"/>
                  </a:lnTo>
                  <a:lnTo>
                    <a:pt x="155" y="514"/>
                  </a:lnTo>
                  <a:lnTo>
                    <a:pt x="153" y="510"/>
                  </a:lnTo>
                  <a:lnTo>
                    <a:pt x="151" y="505"/>
                  </a:lnTo>
                  <a:lnTo>
                    <a:pt x="150" y="501"/>
                  </a:lnTo>
                  <a:lnTo>
                    <a:pt x="149" y="498"/>
                  </a:lnTo>
                  <a:lnTo>
                    <a:pt x="149" y="494"/>
                  </a:lnTo>
                  <a:lnTo>
                    <a:pt x="148" y="487"/>
                  </a:lnTo>
                  <a:lnTo>
                    <a:pt x="147" y="484"/>
                  </a:lnTo>
                  <a:lnTo>
                    <a:pt x="146" y="482"/>
                  </a:lnTo>
                  <a:lnTo>
                    <a:pt x="145" y="476"/>
                  </a:lnTo>
                  <a:lnTo>
                    <a:pt x="144" y="474"/>
                  </a:lnTo>
                  <a:lnTo>
                    <a:pt x="143" y="469"/>
                  </a:lnTo>
                  <a:lnTo>
                    <a:pt x="143" y="465"/>
                  </a:lnTo>
                  <a:lnTo>
                    <a:pt x="143" y="462"/>
                  </a:lnTo>
                  <a:lnTo>
                    <a:pt x="143" y="455"/>
                  </a:lnTo>
                  <a:lnTo>
                    <a:pt x="143" y="452"/>
                  </a:lnTo>
                  <a:lnTo>
                    <a:pt x="143" y="450"/>
                  </a:lnTo>
                  <a:lnTo>
                    <a:pt x="143" y="447"/>
                  </a:lnTo>
                  <a:lnTo>
                    <a:pt x="143" y="446"/>
                  </a:lnTo>
                  <a:lnTo>
                    <a:pt x="142" y="445"/>
                  </a:lnTo>
                  <a:lnTo>
                    <a:pt x="141" y="443"/>
                  </a:lnTo>
                  <a:lnTo>
                    <a:pt x="140" y="442"/>
                  </a:lnTo>
                  <a:lnTo>
                    <a:pt x="138" y="440"/>
                  </a:lnTo>
                  <a:lnTo>
                    <a:pt x="133" y="434"/>
                  </a:lnTo>
                  <a:lnTo>
                    <a:pt x="129" y="431"/>
                  </a:lnTo>
                  <a:lnTo>
                    <a:pt x="127" y="429"/>
                  </a:lnTo>
                  <a:lnTo>
                    <a:pt x="126" y="426"/>
                  </a:lnTo>
                  <a:lnTo>
                    <a:pt x="124" y="423"/>
                  </a:lnTo>
                  <a:lnTo>
                    <a:pt x="119" y="413"/>
                  </a:lnTo>
                  <a:lnTo>
                    <a:pt x="118" y="410"/>
                  </a:lnTo>
                  <a:lnTo>
                    <a:pt x="117" y="406"/>
                  </a:lnTo>
                  <a:lnTo>
                    <a:pt x="116" y="404"/>
                  </a:lnTo>
                  <a:lnTo>
                    <a:pt x="115" y="402"/>
                  </a:lnTo>
                  <a:lnTo>
                    <a:pt x="114" y="400"/>
                  </a:lnTo>
                  <a:lnTo>
                    <a:pt x="113" y="399"/>
                  </a:lnTo>
                  <a:lnTo>
                    <a:pt x="112" y="397"/>
                  </a:lnTo>
                  <a:lnTo>
                    <a:pt x="105" y="393"/>
                  </a:lnTo>
                  <a:lnTo>
                    <a:pt x="103" y="391"/>
                  </a:lnTo>
                  <a:lnTo>
                    <a:pt x="97" y="386"/>
                  </a:lnTo>
                  <a:lnTo>
                    <a:pt x="94" y="385"/>
                  </a:lnTo>
                  <a:lnTo>
                    <a:pt x="93" y="384"/>
                  </a:lnTo>
                  <a:lnTo>
                    <a:pt x="92" y="382"/>
                  </a:lnTo>
                  <a:lnTo>
                    <a:pt x="91" y="380"/>
                  </a:lnTo>
                  <a:lnTo>
                    <a:pt x="90" y="378"/>
                  </a:lnTo>
                  <a:lnTo>
                    <a:pt x="89" y="376"/>
                  </a:lnTo>
                  <a:lnTo>
                    <a:pt x="88" y="374"/>
                  </a:lnTo>
                  <a:lnTo>
                    <a:pt x="87" y="372"/>
                  </a:lnTo>
                  <a:lnTo>
                    <a:pt x="87" y="370"/>
                  </a:lnTo>
                  <a:lnTo>
                    <a:pt x="87" y="367"/>
                  </a:lnTo>
                  <a:lnTo>
                    <a:pt x="87" y="364"/>
                  </a:lnTo>
                  <a:lnTo>
                    <a:pt x="87" y="363"/>
                  </a:lnTo>
                  <a:lnTo>
                    <a:pt x="88" y="357"/>
                  </a:lnTo>
                  <a:lnTo>
                    <a:pt x="89" y="355"/>
                  </a:lnTo>
                  <a:lnTo>
                    <a:pt x="89" y="352"/>
                  </a:lnTo>
                  <a:lnTo>
                    <a:pt x="88" y="351"/>
                  </a:lnTo>
                  <a:lnTo>
                    <a:pt x="88" y="348"/>
                  </a:lnTo>
                  <a:lnTo>
                    <a:pt x="87" y="345"/>
                  </a:lnTo>
                  <a:lnTo>
                    <a:pt x="86" y="343"/>
                  </a:lnTo>
                  <a:lnTo>
                    <a:pt x="85" y="341"/>
                  </a:lnTo>
                  <a:lnTo>
                    <a:pt x="83" y="340"/>
                  </a:lnTo>
                  <a:lnTo>
                    <a:pt x="81" y="339"/>
                  </a:lnTo>
                  <a:lnTo>
                    <a:pt x="80" y="338"/>
                  </a:lnTo>
                  <a:lnTo>
                    <a:pt x="76" y="335"/>
                  </a:lnTo>
                  <a:lnTo>
                    <a:pt x="64" y="329"/>
                  </a:lnTo>
                  <a:lnTo>
                    <a:pt x="59" y="327"/>
                  </a:lnTo>
                  <a:lnTo>
                    <a:pt x="54" y="325"/>
                  </a:lnTo>
                  <a:lnTo>
                    <a:pt x="50" y="322"/>
                  </a:lnTo>
                  <a:lnTo>
                    <a:pt x="47" y="320"/>
                  </a:lnTo>
                  <a:lnTo>
                    <a:pt x="45" y="317"/>
                  </a:lnTo>
                  <a:lnTo>
                    <a:pt x="41" y="315"/>
                  </a:lnTo>
                  <a:lnTo>
                    <a:pt x="41" y="314"/>
                  </a:lnTo>
                  <a:lnTo>
                    <a:pt x="40" y="314"/>
                  </a:lnTo>
                  <a:lnTo>
                    <a:pt x="41" y="314"/>
                  </a:lnTo>
                  <a:lnTo>
                    <a:pt x="41" y="313"/>
                  </a:lnTo>
                  <a:lnTo>
                    <a:pt x="51" y="309"/>
                  </a:lnTo>
                  <a:lnTo>
                    <a:pt x="58" y="306"/>
                  </a:lnTo>
                  <a:lnTo>
                    <a:pt x="61" y="305"/>
                  </a:lnTo>
                  <a:lnTo>
                    <a:pt x="65" y="303"/>
                  </a:lnTo>
                  <a:lnTo>
                    <a:pt x="67" y="302"/>
                  </a:lnTo>
                  <a:lnTo>
                    <a:pt x="68" y="301"/>
                  </a:lnTo>
                  <a:lnTo>
                    <a:pt x="69" y="299"/>
                  </a:lnTo>
                  <a:lnTo>
                    <a:pt x="69" y="298"/>
                  </a:lnTo>
                  <a:lnTo>
                    <a:pt x="70" y="297"/>
                  </a:lnTo>
                  <a:lnTo>
                    <a:pt x="70" y="296"/>
                  </a:lnTo>
                  <a:lnTo>
                    <a:pt x="70" y="295"/>
                  </a:lnTo>
                  <a:lnTo>
                    <a:pt x="70" y="294"/>
                  </a:lnTo>
                  <a:lnTo>
                    <a:pt x="69" y="291"/>
                  </a:lnTo>
                  <a:lnTo>
                    <a:pt x="69" y="288"/>
                  </a:lnTo>
                  <a:lnTo>
                    <a:pt x="67" y="286"/>
                  </a:lnTo>
                  <a:lnTo>
                    <a:pt x="65" y="283"/>
                  </a:lnTo>
                  <a:lnTo>
                    <a:pt x="63" y="280"/>
                  </a:lnTo>
                  <a:lnTo>
                    <a:pt x="59" y="275"/>
                  </a:lnTo>
                  <a:lnTo>
                    <a:pt x="54" y="268"/>
                  </a:lnTo>
                  <a:lnTo>
                    <a:pt x="50" y="263"/>
                  </a:lnTo>
                  <a:lnTo>
                    <a:pt x="49" y="261"/>
                  </a:lnTo>
                  <a:lnTo>
                    <a:pt x="47" y="258"/>
                  </a:lnTo>
                  <a:lnTo>
                    <a:pt x="44" y="251"/>
                  </a:lnTo>
                  <a:lnTo>
                    <a:pt x="41" y="245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5"/>
                  </a:lnTo>
                  <a:lnTo>
                    <a:pt x="36" y="232"/>
                  </a:lnTo>
                  <a:lnTo>
                    <a:pt x="36" y="230"/>
                  </a:lnTo>
                  <a:lnTo>
                    <a:pt x="36" y="227"/>
                  </a:lnTo>
                  <a:lnTo>
                    <a:pt x="36" y="224"/>
                  </a:lnTo>
                  <a:lnTo>
                    <a:pt x="37" y="219"/>
                  </a:lnTo>
                  <a:lnTo>
                    <a:pt x="39" y="215"/>
                  </a:lnTo>
                  <a:lnTo>
                    <a:pt x="40" y="211"/>
                  </a:lnTo>
                  <a:lnTo>
                    <a:pt x="42" y="205"/>
                  </a:lnTo>
                  <a:lnTo>
                    <a:pt x="43" y="202"/>
                  </a:lnTo>
                  <a:lnTo>
                    <a:pt x="43" y="199"/>
                  </a:lnTo>
                  <a:lnTo>
                    <a:pt x="44" y="197"/>
                  </a:lnTo>
                  <a:lnTo>
                    <a:pt x="44" y="196"/>
                  </a:lnTo>
                  <a:lnTo>
                    <a:pt x="43" y="194"/>
                  </a:lnTo>
                  <a:lnTo>
                    <a:pt x="43" y="193"/>
                  </a:lnTo>
                  <a:lnTo>
                    <a:pt x="42" y="191"/>
                  </a:lnTo>
                  <a:lnTo>
                    <a:pt x="41" y="188"/>
                  </a:lnTo>
                  <a:lnTo>
                    <a:pt x="40" y="185"/>
                  </a:lnTo>
                  <a:lnTo>
                    <a:pt x="38" y="182"/>
                  </a:lnTo>
                  <a:lnTo>
                    <a:pt x="33" y="171"/>
                  </a:lnTo>
                  <a:lnTo>
                    <a:pt x="32" y="170"/>
                  </a:lnTo>
                  <a:lnTo>
                    <a:pt x="31" y="167"/>
                  </a:lnTo>
                  <a:lnTo>
                    <a:pt x="31" y="165"/>
                  </a:lnTo>
                  <a:lnTo>
                    <a:pt x="31" y="162"/>
                  </a:lnTo>
                  <a:lnTo>
                    <a:pt x="31" y="159"/>
                  </a:lnTo>
                  <a:lnTo>
                    <a:pt x="31" y="153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0" y="145"/>
                  </a:lnTo>
                  <a:lnTo>
                    <a:pt x="27" y="136"/>
                  </a:lnTo>
                  <a:lnTo>
                    <a:pt x="26" y="129"/>
                  </a:lnTo>
                  <a:lnTo>
                    <a:pt x="24" y="123"/>
                  </a:lnTo>
                  <a:lnTo>
                    <a:pt x="24" y="117"/>
                  </a:lnTo>
                  <a:lnTo>
                    <a:pt x="24" y="113"/>
                  </a:lnTo>
                  <a:lnTo>
                    <a:pt x="23" y="110"/>
                  </a:lnTo>
                  <a:lnTo>
                    <a:pt x="23" y="92"/>
                  </a:lnTo>
                  <a:lnTo>
                    <a:pt x="22" y="79"/>
                  </a:lnTo>
                  <a:lnTo>
                    <a:pt x="22" y="76"/>
                  </a:lnTo>
                  <a:lnTo>
                    <a:pt x="23" y="72"/>
                  </a:lnTo>
                  <a:lnTo>
                    <a:pt x="24" y="62"/>
                  </a:lnTo>
                  <a:lnTo>
                    <a:pt x="24" y="58"/>
                  </a:lnTo>
                  <a:lnTo>
                    <a:pt x="24" y="55"/>
                  </a:lnTo>
                  <a:lnTo>
                    <a:pt x="24" y="51"/>
                  </a:lnTo>
                  <a:lnTo>
                    <a:pt x="24" y="49"/>
                  </a:lnTo>
                  <a:lnTo>
                    <a:pt x="23" y="47"/>
                  </a:lnTo>
                  <a:lnTo>
                    <a:pt x="22" y="45"/>
                  </a:lnTo>
                  <a:lnTo>
                    <a:pt x="20" y="42"/>
                  </a:lnTo>
                  <a:lnTo>
                    <a:pt x="17" y="36"/>
                  </a:lnTo>
                  <a:lnTo>
                    <a:pt x="11" y="27"/>
                  </a:lnTo>
                  <a:lnTo>
                    <a:pt x="8" y="23"/>
                  </a:lnTo>
                  <a:lnTo>
                    <a:pt x="6" y="20"/>
                  </a:lnTo>
                  <a:lnTo>
                    <a:pt x="3" y="15"/>
                  </a:lnTo>
                  <a:lnTo>
                    <a:pt x="2" y="11"/>
                  </a:lnTo>
                  <a:lnTo>
                    <a:pt x="1" y="8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8" name="Freeform 51">
              <a:extLst>
                <a:ext uri="{FF2B5EF4-FFF2-40B4-BE49-F238E27FC236}">
                  <a16:creationId xmlns:a16="http://schemas.microsoft.com/office/drawing/2014/main" id="{F5B4E33D-2622-4B49-BADE-A5ACEEDFC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" y="2222"/>
              <a:ext cx="500" cy="370"/>
            </a:xfrm>
            <a:custGeom>
              <a:avLst/>
              <a:gdLst>
                <a:gd name="T0" fmla="*/ 283 w 500"/>
                <a:gd name="T1" fmla="*/ 14 h 370"/>
                <a:gd name="T2" fmla="*/ 298 w 500"/>
                <a:gd name="T3" fmla="*/ 13 h 370"/>
                <a:gd name="T4" fmla="*/ 324 w 500"/>
                <a:gd name="T5" fmla="*/ 15 h 370"/>
                <a:gd name="T6" fmla="*/ 355 w 500"/>
                <a:gd name="T7" fmla="*/ 30 h 370"/>
                <a:gd name="T8" fmla="*/ 382 w 500"/>
                <a:gd name="T9" fmla="*/ 22 h 370"/>
                <a:gd name="T10" fmla="*/ 400 w 500"/>
                <a:gd name="T11" fmla="*/ 16 h 370"/>
                <a:gd name="T12" fmla="*/ 414 w 500"/>
                <a:gd name="T13" fmla="*/ 24 h 370"/>
                <a:gd name="T14" fmla="*/ 418 w 500"/>
                <a:gd name="T15" fmla="*/ 48 h 370"/>
                <a:gd name="T16" fmla="*/ 433 w 500"/>
                <a:gd name="T17" fmla="*/ 74 h 370"/>
                <a:gd name="T18" fmla="*/ 433 w 500"/>
                <a:gd name="T19" fmla="*/ 109 h 370"/>
                <a:gd name="T20" fmla="*/ 447 w 500"/>
                <a:gd name="T21" fmla="*/ 135 h 370"/>
                <a:gd name="T22" fmla="*/ 444 w 500"/>
                <a:gd name="T23" fmla="*/ 149 h 370"/>
                <a:gd name="T24" fmla="*/ 459 w 500"/>
                <a:gd name="T25" fmla="*/ 168 h 370"/>
                <a:gd name="T26" fmla="*/ 484 w 500"/>
                <a:gd name="T27" fmla="*/ 192 h 370"/>
                <a:gd name="T28" fmla="*/ 500 w 500"/>
                <a:gd name="T29" fmla="*/ 202 h 370"/>
                <a:gd name="T30" fmla="*/ 497 w 500"/>
                <a:gd name="T31" fmla="*/ 270 h 370"/>
                <a:gd name="T32" fmla="*/ 489 w 500"/>
                <a:gd name="T33" fmla="*/ 282 h 370"/>
                <a:gd name="T34" fmla="*/ 457 w 500"/>
                <a:gd name="T35" fmla="*/ 281 h 370"/>
                <a:gd name="T36" fmla="*/ 443 w 500"/>
                <a:gd name="T37" fmla="*/ 284 h 370"/>
                <a:gd name="T38" fmla="*/ 444 w 500"/>
                <a:gd name="T39" fmla="*/ 304 h 370"/>
                <a:gd name="T40" fmla="*/ 447 w 500"/>
                <a:gd name="T41" fmla="*/ 335 h 370"/>
                <a:gd name="T42" fmla="*/ 428 w 500"/>
                <a:gd name="T43" fmla="*/ 338 h 370"/>
                <a:gd name="T44" fmla="*/ 402 w 500"/>
                <a:gd name="T45" fmla="*/ 329 h 370"/>
                <a:gd name="T46" fmla="*/ 390 w 500"/>
                <a:gd name="T47" fmla="*/ 315 h 370"/>
                <a:gd name="T48" fmla="*/ 382 w 500"/>
                <a:gd name="T49" fmla="*/ 316 h 370"/>
                <a:gd name="T50" fmla="*/ 363 w 500"/>
                <a:gd name="T51" fmla="*/ 346 h 370"/>
                <a:gd name="T52" fmla="*/ 352 w 500"/>
                <a:gd name="T53" fmla="*/ 363 h 370"/>
                <a:gd name="T54" fmla="*/ 339 w 500"/>
                <a:gd name="T55" fmla="*/ 370 h 370"/>
                <a:gd name="T56" fmla="*/ 308 w 500"/>
                <a:gd name="T57" fmla="*/ 359 h 370"/>
                <a:gd name="T58" fmla="*/ 287 w 500"/>
                <a:gd name="T59" fmla="*/ 347 h 370"/>
                <a:gd name="T60" fmla="*/ 278 w 500"/>
                <a:gd name="T61" fmla="*/ 328 h 370"/>
                <a:gd name="T62" fmla="*/ 281 w 500"/>
                <a:gd name="T63" fmla="*/ 311 h 370"/>
                <a:gd name="T64" fmla="*/ 262 w 500"/>
                <a:gd name="T65" fmla="*/ 305 h 370"/>
                <a:gd name="T66" fmla="*/ 237 w 500"/>
                <a:gd name="T67" fmla="*/ 291 h 370"/>
                <a:gd name="T68" fmla="*/ 218 w 500"/>
                <a:gd name="T69" fmla="*/ 283 h 370"/>
                <a:gd name="T70" fmla="*/ 212 w 500"/>
                <a:gd name="T71" fmla="*/ 268 h 370"/>
                <a:gd name="T72" fmla="*/ 184 w 500"/>
                <a:gd name="T73" fmla="*/ 258 h 370"/>
                <a:gd name="T74" fmla="*/ 162 w 500"/>
                <a:gd name="T75" fmla="*/ 240 h 370"/>
                <a:gd name="T76" fmla="*/ 140 w 500"/>
                <a:gd name="T77" fmla="*/ 228 h 370"/>
                <a:gd name="T78" fmla="*/ 119 w 500"/>
                <a:gd name="T79" fmla="*/ 227 h 370"/>
                <a:gd name="T80" fmla="*/ 91 w 500"/>
                <a:gd name="T81" fmla="*/ 226 h 370"/>
                <a:gd name="T82" fmla="*/ 73 w 500"/>
                <a:gd name="T83" fmla="*/ 223 h 370"/>
                <a:gd name="T84" fmla="*/ 25 w 500"/>
                <a:gd name="T85" fmla="*/ 187 h 370"/>
                <a:gd name="T86" fmla="*/ 1 w 500"/>
                <a:gd name="T87" fmla="*/ 157 h 370"/>
                <a:gd name="T88" fmla="*/ 4 w 500"/>
                <a:gd name="T89" fmla="*/ 128 h 370"/>
                <a:gd name="T90" fmla="*/ 21 w 500"/>
                <a:gd name="T91" fmla="*/ 101 h 370"/>
                <a:gd name="T92" fmla="*/ 22 w 500"/>
                <a:gd name="T93" fmla="*/ 81 h 370"/>
                <a:gd name="T94" fmla="*/ 21 w 500"/>
                <a:gd name="T95" fmla="*/ 68 h 370"/>
                <a:gd name="T96" fmla="*/ 31 w 500"/>
                <a:gd name="T97" fmla="*/ 67 h 370"/>
                <a:gd name="T98" fmla="*/ 66 w 500"/>
                <a:gd name="T99" fmla="*/ 73 h 370"/>
                <a:gd name="T100" fmla="*/ 98 w 500"/>
                <a:gd name="T101" fmla="*/ 64 h 370"/>
                <a:gd name="T102" fmla="*/ 118 w 500"/>
                <a:gd name="T103" fmla="*/ 46 h 370"/>
                <a:gd name="T104" fmla="*/ 135 w 500"/>
                <a:gd name="T105" fmla="*/ 32 h 370"/>
                <a:gd name="T106" fmla="*/ 167 w 500"/>
                <a:gd name="T107" fmla="*/ 27 h 370"/>
                <a:gd name="T108" fmla="*/ 190 w 500"/>
                <a:gd name="T109" fmla="*/ 16 h 370"/>
                <a:gd name="T110" fmla="*/ 216 w 500"/>
                <a:gd name="T111" fmla="*/ 24 h 370"/>
                <a:gd name="T112" fmla="*/ 234 w 500"/>
                <a:gd name="T113" fmla="*/ 26 h 370"/>
                <a:gd name="T114" fmla="*/ 250 w 500"/>
                <a:gd name="T115" fmla="*/ 15 h 370"/>
                <a:gd name="T116" fmla="*/ 266 w 500"/>
                <a:gd name="T117" fmla="*/ 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0" h="370">
                  <a:moveTo>
                    <a:pt x="266" y="1"/>
                  </a:moveTo>
                  <a:lnTo>
                    <a:pt x="267" y="2"/>
                  </a:lnTo>
                  <a:lnTo>
                    <a:pt x="268" y="3"/>
                  </a:lnTo>
                  <a:lnTo>
                    <a:pt x="269" y="4"/>
                  </a:lnTo>
                  <a:lnTo>
                    <a:pt x="273" y="8"/>
                  </a:lnTo>
                  <a:lnTo>
                    <a:pt x="278" y="11"/>
                  </a:lnTo>
                  <a:lnTo>
                    <a:pt x="281" y="12"/>
                  </a:lnTo>
                  <a:lnTo>
                    <a:pt x="283" y="14"/>
                  </a:lnTo>
                  <a:lnTo>
                    <a:pt x="284" y="15"/>
                  </a:lnTo>
                  <a:lnTo>
                    <a:pt x="285" y="15"/>
                  </a:lnTo>
                  <a:lnTo>
                    <a:pt x="286" y="15"/>
                  </a:lnTo>
                  <a:lnTo>
                    <a:pt x="288" y="15"/>
                  </a:lnTo>
                  <a:lnTo>
                    <a:pt x="289" y="15"/>
                  </a:lnTo>
                  <a:lnTo>
                    <a:pt x="291" y="15"/>
                  </a:lnTo>
                  <a:lnTo>
                    <a:pt x="296" y="13"/>
                  </a:lnTo>
                  <a:lnTo>
                    <a:pt x="298" y="13"/>
                  </a:lnTo>
                  <a:lnTo>
                    <a:pt x="302" y="12"/>
                  </a:lnTo>
                  <a:lnTo>
                    <a:pt x="306" y="12"/>
                  </a:lnTo>
                  <a:lnTo>
                    <a:pt x="307" y="12"/>
                  </a:lnTo>
                  <a:lnTo>
                    <a:pt x="309" y="12"/>
                  </a:lnTo>
                  <a:lnTo>
                    <a:pt x="316" y="13"/>
                  </a:lnTo>
                  <a:lnTo>
                    <a:pt x="320" y="14"/>
                  </a:lnTo>
                  <a:lnTo>
                    <a:pt x="322" y="14"/>
                  </a:lnTo>
                  <a:lnTo>
                    <a:pt x="324" y="15"/>
                  </a:lnTo>
                  <a:lnTo>
                    <a:pt x="327" y="16"/>
                  </a:lnTo>
                  <a:lnTo>
                    <a:pt x="333" y="19"/>
                  </a:lnTo>
                  <a:lnTo>
                    <a:pt x="337" y="21"/>
                  </a:lnTo>
                  <a:lnTo>
                    <a:pt x="345" y="26"/>
                  </a:lnTo>
                  <a:lnTo>
                    <a:pt x="349" y="28"/>
                  </a:lnTo>
                  <a:lnTo>
                    <a:pt x="352" y="29"/>
                  </a:lnTo>
                  <a:lnTo>
                    <a:pt x="353" y="30"/>
                  </a:lnTo>
                  <a:lnTo>
                    <a:pt x="355" y="30"/>
                  </a:lnTo>
                  <a:lnTo>
                    <a:pt x="357" y="31"/>
                  </a:lnTo>
                  <a:lnTo>
                    <a:pt x="360" y="31"/>
                  </a:lnTo>
                  <a:lnTo>
                    <a:pt x="363" y="31"/>
                  </a:lnTo>
                  <a:lnTo>
                    <a:pt x="365" y="31"/>
                  </a:lnTo>
                  <a:lnTo>
                    <a:pt x="368" y="30"/>
                  </a:lnTo>
                  <a:lnTo>
                    <a:pt x="370" y="29"/>
                  </a:lnTo>
                  <a:lnTo>
                    <a:pt x="375" y="26"/>
                  </a:lnTo>
                  <a:lnTo>
                    <a:pt x="382" y="22"/>
                  </a:lnTo>
                  <a:lnTo>
                    <a:pt x="384" y="21"/>
                  </a:lnTo>
                  <a:lnTo>
                    <a:pt x="388" y="18"/>
                  </a:lnTo>
                  <a:lnTo>
                    <a:pt x="390" y="17"/>
                  </a:lnTo>
                  <a:lnTo>
                    <a:pt x="391" y="17"/>
                  </a:lnTo>
                  <a:lnTo>
                    <a:pt x="392" y="16"/>
                  </a:lnTo>
                  <a:lnTo>
                    <a:pt x="395" y="16"/>
                  </a:lnTo>
                  <a:lnTo>
                    <a:pt x="398" y="16"/>
                  </a:lnTo>
                  <a:lnTo>
                    <a:pt x="400" y="16"/>
                  </a:lnTo>
                  <a:lnTo>
                    <a:pt x="403" y="17"/>
                  </a:lnTo>
                  <a:lnTo>
                    <a:pt x="405" y="18"/>
                  </a:lnTo>
                  <a:lnTo>
                    <a:pt x="407" y="18"/>
                  </a:lnTo>
                  <a:lnTo>
                    <a:pt x="408" y="19"/>
                  </a:lnTo>
                  <a:lnTo>
                    <a:pt x="409" y="21"/>
                  </a:lnTo>
                  <a:lnTo>
                    <a:pt x="412" y="23"/>
                  </a:lnTo>
                  <a:lnTo>
                    <a:pt x="413" y="24"/>
                  </a:lnTo>
                  <a:lnTo>
                    <a:pt x="414" y="24"/>
                  </a:lnTo>
                  <a:lnTo>
                    <a:pt x="414" y="28"/>
                  </a:lnTo>
                  <a:lnTo>
                    <a:pt x="414" y="33"/>
                  </a:lnTo>
                  <a:lnTo>
                    <a:pt x="414" y="37"/>
                  </a:lnTo>
                  <a:lnTo>
                    <a:pt x="415" y="40"/>
                  </a:lnTo>
                  <a:lnTo>
                    <a:pt x="415" y="42"/>
                  </a:lnTo>
                  <a:lnTo>
                    <a:pt x="416" y="44"/>
                  </a:lnTo>
                  <a:lnTo>
                    <a:pt x="416" y="45"/>
                  </a:lnTo>
                  <a:lnTo>
                    <a:pt x="418" y="48"/>
                  </a:lnTo>
                  <a:lnTo>
                    <a:pt x="421" y="53"/>
                  </a:lnTo>
                  <a:lnTo>
                    <a:pt x="425" y="58"/>
                  </a:lnTo>
                  <a:lnTo>
                    <a:pt x="430" y="64"/>
                  </a:lnTo>
                  <a:lnTo>
                    <a:pt x="431" y="66"/>
                  </a:lnTo>
                  <a:lnTo>
                    <a:pt x="432" y="67"/>
                  </a:lnTo>
                  <a:lnTo>
                    <a:pt x="432" y="69"/>
                  </a:lnTo>
                  <a:lnTo>
                    <a:pt x="433" y="72"/>
                  </a:lnTo>
                  <a:lnTo>
                    <a:pt x="433" y="74"/>
                  </a:lnTo>
                  <a:lnTo>
                    <a:pt x="434" y="78"/>
                  </a:lnTo>
                  <a:lnTo>
                    <a:pt x="434" y="78"/>
                  </a:lnTo>
                  <a:lnTo>
                    <a:pt x="435" y="80"/>
                  </a:lnTo>
                  <a:lnTo>
                    <a:pt x="434" y="84"/>
                  </a:lnTo>
                  <a:lnTo>
                    <a:pt x="434" y="90"/>
                  </a:lnTo>
                  <a:lnTo>
                    <a:pt x="433" y="96"/>
                  </a:lnTo>
                  <a:lnTo>
                    <a:pt x="433" y="106"/>
                  </a:lnTo>
                  <a:lnTo>
                    <a:pt x="433" y="109"/>
                  </a:lnTo>
                  <a:lnTo>
                    <a:pt x="434" y="112"/>
                  </a:lnTo>
                  <a:lnTo>
                    <a:pt x="434" y="114"/>
                  </a:lnTo>
                  <a:lnTo>
                    <a:pt x="435" y="117"/>
                  </a:lnTo>
                  <a:lnTo>
                    <a:pt x="437" y="120"/>
                  </a:lnTo>
                  <a:lnTo>
                    <a:pt x="438" y="122"/>
                  </a:lnTo>
                  <a:lnTo>
                    <a:pt x="439" y="124"/>
                  </a:lnTo>
                  <a:lnTo>
                    <a:pt x="446" y="134"/>
                  </a:lnTo>
                  <a:lnTo>
                    <a:pt x="447" y="135"/>
                  </a:lnTo>
                  <a:lnTo>
                    <a:pt x="448" y="136"/>
                  </a:lnTo>
                  <a:lnTo>
                    <a:pt x="448" y="137"/>
                  </a:lnTo>
                  <a:lnTo>
                    <a:pt x="448" y="138"/>
                  </a:lnTo>
                  <a:lnTo>
                    <a:pt x="448" y="140"/>
                  </a:lnTo>
                  <a:lnTo>
                    <a:pt x="447" y="142"/>
                  </a:lnTo>
                  <a:lnTo>
                    <a:pt x="445" y="146"/>
                  </a:lnTo>
                  <a:lnTo>
                    <a:pt x="444" y="148"/>
                  </a:lnTo>
                  <a:lnTo>
                    <a:pt x="444" y="149"/>
                  </a:lnTo>
                  <a:lnTo>
                    <a:pt x="444" y="150"/>
                  </a:lnTo>
                  <a:lnTo>
                    <a:pt x="444" y="151"/>
                  </a:lnTo>
                  <a:lnTo>
                    <a:pt x="445" y="152"/>
                  </a:lnTo>
                  <a:lnTo>
                    <a:pt x="446" y="155"/>
                  </a:lnTo>
                  <a:lnTo>
                    <a:pt x="448" y="157"/>
                  </a:lnTo>
                  <a:lnTo>
                    <a:pt x="452" y="160"/>
                  </a:lnTo>
                  <a:lnTo>
                    <a:pt x="456" y="165"/>
                  </a:lnTo>
                  <a:lnTo>
                    <a:pt x="459" y="168"/>
                  </a:lnTo>
                  <a:lnTo>
                    <a:pt x="467" y="177"/>
                  </a:lnTo>
                  <a:lnTo>
                    <a:pt x="470" y="180"/>
                  </a:lnTo>
                  <a:lnTo>
                    <a:pt x="475" y="183"/>
                  </a:lnTo>
                  <a:lnTo>
                    <a:pt x="477" y="184"/>
                  </a:lnTo>
                  <a:lnTo>
                    <a:pt x="478" y="186"/>
                  </a:lnTo>
                  <a:lnTo>
                    <a:pt x="481" y="190"/>
                  </a:lnTo>
                  <a:lnTo>
                    <a:pt x="483" y="191"/>
                  </a:lnTo>
                  <a:lnTo>
                    <a:pt x="484" y="192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88" y="193"/>
                  </a:lnTo>
                  <a:lnTo>
                    <a:pt x="491" y="194"/>
                  </a:lnTo>
                  <a:lnTo>
                    <a:pt x="497" y="195"/>
                  </a:lnTo>
                  <a:lnTo>
                    <a:pt x="499" y="195"/>
                  </a:lnTo>
                  <a:lnTo>
                    <a:pt x="499" y="199"/>
                  </a:lnTo>
                  <a:lnTo>
                    <a:pt x="500" y="202"/>
                  </a:lnTo>
                  <a:lnTo>
                    <a:pt x="500" y="214"/>
                  </a:lnTo>
                  <a:lnTo>
                    <a:pt x="500" y="221"/>
                  </a:lnTo>
                  <a:lnTo>
                    <a:pt x="500" y="229"/>
                  </a:lnTo>
                  <a:lnTo>
                    <a:pt x="500" y="240"/>
                  </a:lnTo>
                  <a:lnTo>
                    <a:pt x="500" y="244"/>
                  </a:lnTo>
                  <a:lnTo>
                    <a:pt x="500" y="253"/>
                  </a:lnTo>
                  <a:lnTo>
                    <a:pt x="499" y="260"/>
                  </a:lnTo>
                  <a:lnTo>
                    <a:pt x="497" y="270"/>
                  </a:lnTo>
                  <a:lnTo>
                    <a:pt x="496" y="272"/>
                  </a:lnTo>
                  <a:lnTo>
                    <a:pt x="495" y="275"/>
                  </a:lnTo>
                  <a:lnTo>
                    <a:pt x="494" y="277"/>
                  </a:lnTo>
                  <a:lnTo>
                    <a:pt x="493" y="278"/>
                  </a:lnTo>
                  <a:lnTo>
                    <a:pt x="492" y="280"/>
                  </a:lnTo>
                  <a:lnTo>
                    <a:pt x="491" y="281"/>
                  </a:lnTo>
                  <a:lnTo>
                    <a:pt x="489" y="282"/>
                  </a:lnTo>
                  <a:lnTo>
                    <a:pt x="489" y="282"/>
                  </a:lnTo>
                  <a:lnTo>
                    <a:pt x="487" y="283"/>
                  </a:lnTo>
                  <a:lnTo>
                    <a:pt x="486" y="284"/>
                  </a:lnTo>
                  <a:lnTo>
                    <a:pt x="483" y="284"/>
                  </a:lnTo>
                  <a:lnTo>
                    <a:pt x="480" y="284"/>
                  </a:lnTo>
                  <a:lnTo>
                    <a:pt x="469" y="282"/>
                  </a:lnTo>
                  <a:lnTo>
                    <a:pt x="463" y="281"/>
                  </a:lnTo>
                  <a:lnTo>
                    <a:pt x="460" y="281"/>
                  </a:lnTo>
                  <a:lnTo>
                    <a:pt x="457" y="281"/>
                  </a:lnTo>
                  <a:lnTo>
                    <a:pt x="455" y="281"/>
                  </a:lnTo>
                  <a:lnTo>
                    <a:pt x="453" y="281"/>
                  </a:lnTo>
                  <a:lnTo>
                    <a:pt x="451" y="281"/>
                  </a:lnTo>
                  <a:lnTo>
                    <a:pt x="450" y="281"/>
                  </a:lnTo>
                  <a:lnTo>
                    <a:pt x="448" y="282"/>
                  </a:lnTo>
                  <a:lnTo>
                    <a:pt x="446" y="282"/>
                  </a:lnTo>
                  <a:lnTo>
                    <a:pt x="444" y="283"/>
                  </a:lnTo>
                  <a:lnTo>
                    <a:pt x="443" y="284"/>
                  </a:lnTo>
                  <a:lnTo>
                    <a:pt x="443" y="285"/>
                  </a:lnTo>
                  <a:lnTo>
                    <a:pt x="442" y="286"/>
                  </a:lnTo>
                  <a:lnTo>
                    <a:pt x="441" y="288"/>
                  </a:lnTo>
                  <a:lnTo>
                    <a:pt x="441" y="290"/>
                  </a:lnTo>
                  <a:lnTo>
                    <a:pt x="441" y="292"/>
                  </a:lnTo>
                  <a:lnTo>
                    <a:pt x="442" y="294"/>
                  </a:lnTo>
                  <a:lnTo>
                    <a:pt x="443" y="301"/>
                  </a:lnTo>
                  <a:lnTo>
                    <a:pt x="444" y="304"/>
                  </a:lnTo>
                  <a:lnTo>
                    <a:pt x="447" y="316"/>
                  </a:lnTo>
                  <a:lnTo>
                    <a:pt x="450" y="326"/>
                  </a:lnTo>
                  <a:lnTo>
                    <a:pt x="450" y="328"/>
                  </a:lnTo>
                  <a:lnTo>
                    <a:pt x="450" y="329"/>
                  </a:lnTo>
                  <a:lnTo>
                    <a:pt x="450" y="331"/>
                  </a:lnTo>
                  <a:lnTo>
                    <a:pt x="449" y="333"/>
                  </a:lnTo>
                  <a:lnTo>
                    <a:pt x="448" y="334"/>
                  </a:lnTo>
                  <a:lnTo>
                    <a:pt x="447" y="335"/>
                  </a:lnTo>
                  <a:lnTo>
                    <a:pt x="446" y="336"/>
                  </a:lnTo>
                  <a:lnTo>
                    <a:pt x="445" y="337"/>
                  </a:lnTo>
                  <a:lnTo>
                    <a:pt x="443" y="337"/>
                  </a:lnTo>
                  <a:lnTo>
                    <a:pt x="442" y="338"/>
                  </a:lnTo>
                  <a:lnTo>
                    <a:pt x="441" y="338"/>
                  </a:lnTo>
                  <a:lnTo>
                    <a:pt x="441" y="338"/>
                  </a:lnTo>
                  <a:lnTo>
                    <a:pt x="437" y="338"/>
                  </a:lnTo>
                  <a:lnTo>
                    <a:pt x="428" y="338"/>
                  </a:lnTo>
                  <a:lnTo>
                    <a:pt x="425" y="337"/>
                  </a:lnTo>
                  <a:lnTo>
                    <a:pt x="422" y="337"/>
                  </a:lnTo>
                  <a:lnTo>
                    <a:pt x="419" y="336"/>
                  </a:lnTo>
                  <a:lnTo>
                    <a:pt x="415" y="335"/>
                  </a:lnTo>
                  <a:lnTo>
                    <a:pt x="410" y="333"/>
                  </a:lnTo>
                  <a:lnTo>
                    <a:pt x="407" y="332"/>
                  </a:lnTo>
                  <a:lnTo>
                    <a:pt x="404" y="330"/>
                  </a:lnTo>
                  <a:lnTo>
                    <a:pt x="402" y="329"/>
                  </a:lnTo>
                  <a:lnTo>
                    <a:pt x="400" y="328"/>
                  </a:lnTo>
                  <a:lnTo>
                    <a:pt x="398" y="327"/>
                  </a:lnTo>
                  <a:lnTo>
                    <a:pt x="398" y="325"/>
                  </a:lnTo>
                  <a:lnTo>
                    <a:pt x="397" y="323"/>
                  </a:lnTo>
                  <a:lnTo>
                    <a:pt x="395" y="321"/>
                  </a:lnTo>
                  <a:lnTo>
                    <a:pt x="392" y="316"/>
                  </a:lnTo>
                  <a:lnTo>
                    <a:pt x="391" y="316"/>
                  </a:lnTo>
                  <a:lnTo>
                    <a:pt x="390" y="315"/>
                  </a:lnTo>
                  <a:lnTo>
                    <a:pt x="389" y="314"/>
                  </a:lnTo>
                  <a:lnTo>
                    <a:pt x="388" y="313"/>
                  </a:lnTo>
                  <a:lnTo>
                    <a:pt x="387" y="313"/>
                  </a:lnTo>
                  <a:lnTo>
                    <a:pt x="387" y="313"/>
                  </a:lnTo>
                  <a:lnTo>
                    <a:pt x="386" y="314"/>
                  </a:lnTo>
                  <a:lnTo>
                    <a:pt x="384" y="314"/>
                  </a:lnTo>
                  <a:lnTo>
                    <a:pt x="383" y="315"/>
                  </a:lnTo>
                  <a:lnTo>
                    <a:pt x="382" y="316"/>
                  </a:lnTo>
                  <a:lnTo>
                    <a:pt x="379" y="318"/>
                  </a:lnTo>
                  <a:lnTo>
                    <a:pt x="375" y="321"/>
                  </a:lnTo>
                  <a:lnTo>
                    <a:pt x="374" y="324"/>
                  </a:lnTo>
                  <a:lnTo>
                    <a:pt x="373" y="326"/>
                  </a:lnTo>
                  <a:lnTo>
                    <a:pt x="370" y="329"/>
                  </a:lnTo>
                  <a:lnTo>
                    <a:pt x="368" y="333"/>
                  </a:lnTo>
                  <a:lnTo>
                    <a:pt x="365" y="339"/>
                  </a:lnTo>
                  <a:lnTo>
                    <a:pt x="363" y="346"/>
                  </a:lnTo>
                  <a:lnTo>
                    <a:pt x="362" y="347"/>
                  </a:lnTo>
                  <a:lnTo>
                    <a:pt x="361" y="350"/>
                  </a:lnTo>
                  <a:lnTo>
                    <a:pt x="360" y="351"/>
                  </a:lnTo>
                  <a:lnTo>
                    <a:pt x="356" y="355"/>
                  </a:lnTo>
                  <a:lnTo>
                    <a:pt x="355" y="356"/>
                  </a:lnTo>
                  <a:lnTo>
                    <a:pt x="354" y="358"/>
                  </a:lnTo>
                  <a:lnTo>
                    <a:pt x="352" y="361"/>
                  </a:lnTo>
                  <a:lnTo>
                    <a:pt x="352" y="363"/>
                  </a:lnTo>
                  <a:lnTo>
                    <a:pt x="351" y="364"/>
                  </a:lnTo>
                  <a:lnTo>
                    <a:pt x="349" y="366"/>
                  </a:lnTo>
                  <a:lnTo>
                    <a:pt x="348" y="367"/>
                  </a:lnTo>
                  <a:lnTo>
                    <a:pt x="346" y="368"/>
                  </a:lnTo>
                  <a:lnTo>
                    <a:pt x="344" y="369"/>
                  </a:lnTo>
                  <a:lnTo>
                    <a:pt x="342" y="369"/>
                  </a:lnTo>
                  <a:lnTo>
                    <a:pt x="341" y="369"/>
                  </a:lnTo>
                  <a:lnTo>
                    <a:pt x="339" y="370"/>
                  </a:lnTo>
                  <a:lnTo>
                    <a:pt x="336" y="370"/>
                  </a:lnTo>
                  <a:lnTo>
                    <a:pt x="332" y="369"/>
                  </a:lnTo>
                  <a:lnTo>
                    <a:pt x="330" y="369"/>
                  </a:lnTo>
                  <a:lnTo>
                    <a:pt x="327" y="369"/>
                  </a:lnTo>
                  <a:lnTo>
                    <a:pt x="323" y="367"/>
                  </a:lnTo>
                  <a:lnTo>
                    <a:pt x="319" y="366"/>
                  </a:lnTo>
                  <a:lnTo>
                    <a:pt x="316" y="363"/>
                  </a:lnTo>
                  <a:lnTo>
                    <a:pt x="308" y="359"/>
                  </a:lnTo>
                  <a:lnTo>
                    <a:pt x="307" y="359"/>
                  </a:lnTo>
                  <a:lnTo>
                    <a:pt x="307" y="359"/>
                  </a:lnTo>
                  <a:lnTo>
                    <a:pt x="307" y="359"/>
                  </a:lnTo>
                  <a:lnTo>
                    <a:pt x="299" y="355"/>
                  </a:lnTo>
                  <a:lnTo>
                    <a:pt x="296" y="353"/>
                  </a:lnTo>
                  <a:lnTo>
                    <a:pt x="293" y="351"/>
                  </a:lnTo>
                  <a:lnTo>
                    <a:pt x="290" y="350"/>
                  </a:lnTo>
                  <a:lnTo>
                    <a:pt x="287" y="347"/>
                  </a:lnTo>
                  <a:lnTo>
                    <a:pt x="284" y="344"/>
                  </a:lnTo>
                  <a:lnTo>
                    <a:pt x="282" y="341"/>
                  </a:lnTo>
                  <a:lnTo>
                    <a:pt x="280" y="339"/>
                  </a:lnTo>
                  <a:lnTo>
                    <a:pt x="279" y="337"/>
                  </a:lnTo>
                  <a:lnTo>
                    <a:pt x="278" y="334"/>
                  </a:lnTo>
                  <a:lnTo>
                    <a:pt x="278" y="332"/>
                  </a:lnTo>
                  <a:lnTo>
                    <a:pt x="277" y="330"/>
                  </a:lnTo>
                  <a:lnTo>
                    <a:pt x="278" y="328"/>
                  </a:lnTo>
                  <a:lnTo>
                    <a:pt x="278" y="327"/>
                  </a:lnTo>
                  <a:lnTo>
                    <a:pt x="279" y="324"/>
                  </a:lnTo>
                  <a:lnTo>
                    <a:pt x="281" y="318"/>
                  </a:lnTo>
                  <a:lnTo>
                    <a:pt x="281" y="317"/>
                  </a:lnTo>
                  <a:lnTo>
                    <a:pt x="281" y="316"/>
                  </a:lnTo>
                  <a:lnTo>
                    <a:pt x="282" y="314"/>
                  </a:lnTo>
                  <a:lnTo>
                    <a:pt x="281" y="312"/>
                  </a:lnTo>
                  <a:lnTo>
                    <a:pt x="281" y="311"/>
                  </a:lnTo>
                  <a:lnTo>
                    <a:pt x="280" y="310"/>
                  </a:lnTo>
                  <a:lnTo>
                    <a:pt x="279" y="309"/>
                  </a:lnTo>
                  <a:lnTo>
                    <a:pt x="277" y="308"/>
                  </a:lnTo>
                  <a:lnTo>
                    <a:pt x="276" y="308"/>
                  </a:lnTo>
                  <a:lnTo>
                    <a:pt x="272" y="307"/>
                  </a:lnTo>
                  <a:lnTo>
                    <a:pt x="270" y="307"/>
                  </a:lnTo>
                  <a:lnTo>
                    <a:pt x="266" y="306"/>
                  </a:lnTo>
                  <a:lnTo>
                    <a:pt x="262" y="305"/>
                  </a:lnTo>
                  <a:lnTo>
                    <a:pt x="260" y="304"/>
                  </a:lnTo>
                  <a:lnTo>
                    <a:pt x="257" y="302"/>
                  </a:lnTo>
                  <a:lnTo>
                    <a:pt x="255" y="301"/>
                  </a:lnTo>
                  <a:lnTo>
                    <a:pt x="250" y="297"/>
                  </a:lnTo>
                  <a:lnTo>
                    <a:pt x="247" y="295"/>
                  </a:lnTo>
                  <a:lnTo>
                    <a:pt x="243" y="294"/>
                  </a:lnTo>
                  <a:lnTo>
                    <a:pt x="240" y="292"/>
                  </a:lnTo>
                  <a:lnTo>
                    <a:pt x="237" y="291"/>
                  </a:lnTo>
                  <a:lnTo>
                    <a:pt x="232" y="289"/>
                  </a:lnTo>
                  <a:lnTo>
                    <a:pt x="229" y="288"/>
                  </a:lnTo>
                  <a:lnTo>
                    <a:pt x="226" y="287"/>
                  </a:lnTo>
                  <a:lnTo>
                    <a:pt x="223" y="287"/>
                  </a:lnTo>
                  <a:lnTo>
                    <a:pt x="221" y="286"/>
                  </a:lnTo>
                  <a:lnTo>
                    <a:pt x="220" y="285"/>
                  </a:lnTo>
                  <a:lnTo>
                    <a:pt x="219" y="284"/>
                  </a:lnTo>
                  <a:lnTo>
                    <a:pt x="218" y="283"/>
                  </a:lnTo>
                  <a:lnTo>
                    <a:pt x="217" y="282"/>
                  </a:lnTo>
                  <a:lnTo>
                    <a:pt x="216" y="282"/>
                  </a:lnTo>
                  <a:lnTo>
                    <a:pt x="216" y="280"/>
                  </a:lnTo>
                  <a:lnTo>
                    <a:pt x="216" y="278"/>
                  </a:lnTo>
                  <a:lnTo>
                    <a:pt x="214" y="272"/>
                  </a:lnTo>
                  <a:lnTo>
                    <a:pt x="213" y="270"/>
                  </a:lnTo>
                  <a:lnTo>
                    <a:pt x="213" y="269"/>
                  </a:lnTo>
                  <a:lnTo>
                    <a:pt x="212" y="268"/>
                  </a:lnTo>
                  <a:lnTo>
                    <a:pt x="211" y="267"/>
                  </a:lnTo>
                  <a:lnTo>
                    <a:pt x="210" y="266"/>
                  </a:lnTo>
                  <a:lnTo>
                    <a:pt x="207" y="265"/>
                  </a:lnTo>
                  <a:lnTo>
                    <a:pt x="205" y="264"/>
                  </a:lnTo>
                  <a:lnTo>
                    <a:pt x="197" y="261"/>
                  </a:lnTo>
                  <a:lnTo>
                    <a:pt x="190" y="260"/>
                  </a:lnTo>
                  <a:lnTo>
                    <a:pt x="187" y="259"/>
                  </a:lnTo>
                  <a:lnTo>
                    <a:pt x="184" y="258"/>
                  </a:lnTo>
                  <a:lnTo>
                    <a:pt x="182" y="257"/>
                  </a:lnTo>
                  <a:lnTo>
                    <a:pt x="180" y="255"/>
                  </a:lnTo>
                  <a:lnTo>
                    <a:pt x="176" y="253"/>
                  </a:lnTo>
                  <a:lnTo>
                    <a:pt x="174" y="251"/>
                  </a:lnTo>
                  <a:lnTo>
                    <a:pt x="172" y="250"/>
                  </a:lnTo>
                  <a:lnTo>
                    <a:pt x="171" y="248"/>
                  </a:lnTo>
                  <a:lnTo>
                    <a:pt x="163" y="241"/>
                  </a:lnTo>
                  <a:lnTo>
                    <a:pt x="162" y="240"/>
                  </a:lnTo>
                  <a:lnTo>
                    <a:pt x="160" y="239"/>
                  </a:lnTo>
                  <a:lnTo>
                    <a:pt x="159" y="238"/>
                  </a:lnTo>
                  <a:lnTo>
                    <a:pt x="155" y="237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3" y="230"/>
                  </a:lnTo>
                  <a:lnTo>
                    <a:pt x="142" y="229"/>
                  </a:lnTo>
                  <a:lnTo>
                    <a:pt x="140" y="228"/>
                  </a:lnTo>
                  <a:lnTo>
                    <a:pt x="138" y="227"/>
                  </a:lnTo>
                  <a:lnTo>
                    <a:pt x="132" y="226"/>
                  </a:lnTo>
                  <a:lnTo>
                    <a:pt x="130" y="226"/>
                  </a:lnTo>
                  <a:lnTo>
                    <a:pt x="128" y="226"/>
                  </a:lnTo>
                  <a:lnTo>
                    <a:pt x="126" y="226"/>
                  </a:lnTo>
                  <a:lnTo>
                    <a:pt x="125" y="226"/>
                  </a:lnTo>
                  <a:lnTo>
                    <a:pt x="121" y="226"/>
                  </a:lnTo>
                  <a:lnTo>
                    <a:pt x="119" y="227"/>
                  </a:lnTo>
                  <a:lnTo>
                    <a:pt x="117" y="227"/>
                  </a:lnTo>
                  <a:lnTo>
                    <a:pt x="115" y="227"/>
                  </a:lnTo>
                  <a:lnTo>
                    <a:pt x="113" y="227"/>
                  </a:lnTo>
                  <a:lnTo>
                    <a:pt x="107" y="226"/>
                  </a:lnTo>
                  <a:lnTo>
                    <a:pt x="105" y="226"/>
                  </a:lnTo>
                  <a:lnTo>
                    <a:pt x="104" y="226"/>
                  </a:lnTo>
                  <a:lnTo>
                    <a:pt x="101" y="226"/>
                  </a:lnTo>
                  <a:lnTo>
                    <a:pt x="91" y="226"/>
                  </a:lnTo>
                  <a:lnTo>
                    <a:pt x="89" y="226"/>
                  </a:lnTo>
                  <a:lnTo>
                    <a:pt x="86" y="226"/>
                  </a:lnTo>
                  <a:lnTo>
                    <a:pt x="82" y="226"/>
                  </a:lnTo>
                  <a:lnTo>
                    <a:pt x="80" y="226"/>
                  </a:lnTo>
                  <a:lnTo>
                    <a:pt x="78" y="226"/>
                  </a:lnTo>
                  <a:lnTo>
                    <a:pt x="76" y="225"/>
                  </a:lnTo>
                  <a:lnTo>
                    <a:pt x="74" y="224"/>
                  </a:lnTo>
                  <a:lnTo>
                    <a:pt x="73" y="223"/>
                  </a:lnTo>
                  <a:lnTo>
                    <a:pt x="69" y="220"/>
                  </a:lnTo>
                  <a:lnTo>
                    <a:pt x="65" y="216"/>
                  </a:lnTo>
                  <a:lnTo>
                    <a:pt x="62" y="214"/>
                  </a:lnTo>
                  <a:lnTo>
                    <a:pt x="57" y="210"/>
                  </a:lnTo>
                  <a:lnTo>
                    <a:pt x="56" y="208"/>
                  </a:lnTo>
                  <a:lnTo>
                    <a:pt x="37" y="195"/>
                  </a:lnTo>
                  <a:lnTo>
                    <a:pt x="29" y="190"/>
                  </a:lnTo>
                  <a:lnTo>
                    <a:pt x="25" y="187"/>
                  </a:lnTo>
                  <a:lnTo>
                    <a:pt x="11" y="176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7"/>
                  </a:lnTo>
                  <a:lnTo>
                    <a:pt x="0" y="161"/>
                  </a:lnTo>
                  <a:lnTo>
                    <a:pt x="1" y="158"/>
                  </a:lnTo>
                  <a:lnTo>
                    <a:pt x="1" y="157"/>
                  </a:lnTo>
                  <a:lnTo>
                    <a:pt x="3" y="152"/>
                  </a:lnTo>
                  <a:lnTo>
                    <a:pt x="3" y="149"/>
                  </a:lnTo>
                  <a:lnTo>
                    <a:pt x="3" y="147"/>
                  </a:lnTo>
                  <a:lnTo>
                    <a:pt x="3" y="141"/>
                  </a:lnTo>
                  <a:lnTo>
                    <a:pt x="3" y="133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4" y="128"/>
                  </a:lnTo>
                  <a:lnTo>
                    <a:pt x="4" y="127"/>
                  </a:lnTo>
                  <a:lnTo>
                    <a:pt x="5" y="125"/>
                  </a:lnTo>
                  <a:lnTo>
                    <a:pt x="11" y="122"/>
                  </a:lnTo>
                  <a:lnTo>
                    <a:pt x="12" y="120"/>
                  </a:lnTo>
                  <a:lnTo>
                    <a:pt x="13" y="118"/>
                  </a:lnTo>
                  <a:lnTo>
                    <a:pt x="14" y="117"/>
                  </a:lnTo>
                  <a:lnTo>
                    <a:pt x="17" y="109"/>
                  </a:lnTo>
                  <a:lnTo>
                    <a:pt x="21" y="101"/>
                  </a:lnTo>
                  <a:lnTo>
                    <a:pt x="23" y="94"/>
                  </a:lnTo>
                  <a:lnTo>
                    <a:pt x="24" y="92"/>
                  </a:lnTo>
                  <a:lnTo>
                    <a:pt x="24" y="91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3" y="87"/>
                  </a:lnTo>
                  <a:lnTo>
                    <a:pt x="22" y="81"/>
                  </a:lnTo>
                  <a:lnTo>
                    <a:pt x="21" y="78"/>
                  </a:lnTo>
                  <a:lnTo>
                    <a:pt x="20" y="76"/>
                  </a:lnTo>
                  <a:lnTo>
                    <a:pt x="20" y="75"/>
                  </a:lnTo>
                  <a:lnTo>
                    <a:pt x="20" y="73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21" y="69"/>
                  </a:lnTo>
                  <a:lnTo>
                    <a:pt x="21" y="68"/>
                  </a:lnTo>
                  <a:lnTo>
                    <a:pt x="22" y="67"/>
                  </a:lnTo>
                  <a:lnTo>
                    <a:pt x="23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5" y="66"/>
                  </a:lnTo>
                  <a:lnTo>
                    <a:pt x="27" y="66"/>
                  </a:lnTo>
                  <a:lnTo>
                    <a:pt x="31" y="67"/>
                  </a:lnTo>
                  <a:lnTo>
                    <a:pt x="34" y="67"/>
                  </a:lnTo>
                  <a:lnTo>
                    <a:pt x="40" y="69"/>
                  </a:lnTo>
                  <a:lnTo>
                    <a:pt x="45" y="70"/>
                  </a:lnTo>
                  <a:lnTo>
                    <a:pt x="48" y="70"/>
                  </a:lnTo>
                  <a:lnTo>
                    <a:pt x="56" y="71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6" y="73"/>
                  </a:lnTo>
                  <a:lnTo>
                    <a:pt x="68" y="73"/>
                  </a:lnTo>
                  <a:lnTo>
                    <a:pt x="74" y="71"/>
                  </a:lnTo>
                  <a:lnTo>
                    <a:pt x="79" y="70"/>
                  </a:lnTo>
                  <a:lnTo>
                    <a:pt x="84" y="69"/>
                  </a:lnTo>
                  <a:lnTo>
                    <a:pt x="86" y="68"/>
                  </a:lnTo>
                  <a:lnTo>
                    <a:pt x="89" y="67"/>
                  </a:lnTo>
                  <a:lnTo>
                    <a:pt x="92" y="67"/>
                  </a:lnTo>
                  <a:lnTo>
                    <a:pt x="98" y="64"/>
                  </a:lnTo>
                  <a:lnTo>
                    <a:pt x="101" y="63"/>
                  </a:lnTo>
                  <a:lnTo>
                    <a:pt x="103" y="61"/>
                  </a:lnTo>
                  <a:lnTo>
                    <a:pt x="106" y="59"/>
                  </a:lnTo>
                  <a:lnTo>
                    <a:pt x="108" y="58"/>
                  </a:lnTo>
                  <a:lnTo>
                    <a:pt x="111" y="56"/>
                  </a:lnTo>
                  <a:lnTo>
                    <a:pt x="113" y="54"/>
                  </a:lnTo>
                  <a:lnTo>
                    <a:pt x="115" y="50"/>
                  </a:lnTo>
                  <a:lnTo>
                    <a:pt x="118" y="46"/>
                  </a:lnTo>
                  <a:lnTo>
                    <a:pt x="120" y="44"/>
                  </a:lnTo>
                  <a:lnTo>
                    <a:pt x="123" y="41"/>
                  </a:lnTo>
                  <a:lnTo>
                    <a:pt x="126" y="37"/>
                  </a:lnTo>
                  <a:lnTo>
                    <a:pt x="128" y="35"/>
                  </a:lnTo>
                  <a:lnTo>
                    <a:pt x="130" y="34"/>
                  </a:lnTo>
                  <a:lnTo>
                    <a:pt x="131" y="33"/>
                  </a:lnTo>
                  <a:lnTo>
                    <a:pt x="133" y="33"/>
                  </a:lnTo>
                  <a:lnTo>
                    <a:pt x="135" y="32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45" y="32"/>
                  </a:lnTo>
                  <a:lnTo>
                    <a:pt x="148" y="32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9" y="29"/>
                  </a:lnTo>
                  <a:lnTo>
                    <a:pt x="167" y="27"/>
                  </a:lnTo>
                  <a:lnTo>
                    <a:pt x="171" y="26"/>
                  </a:lnTo>
                  <a:lnTo>
                    <a:pt x="173" y="24"/>
                  </a:lnTo>
                  <a:lnTo>
                    <a:pt x="183" y="19"/>
                  </a:lnTo>
                  <a:lnTo>
                    <a:pt x="184" y="18"/>
                  </a:lnTo>
                  <a:lnTo>
                    <a:pt x="186" y="17"/>
                  </a:lnTo>
                  <a:lnTo>
                    <a:pt x="187" y="17"/>
                  </a:lnTo>
                  <a:lnTo>
                    <a:pt x="188" y="17"/>
                  </a:lnTo>
                  <a:lnTo>
                    <a:pt x="190" y="16"/>
                  </a:lnTo>
                  <a:lnTo>
                    <a:pt x="192" y="16"/>
                  </a:lnTo>
                  <a:lnTo>
                    <a:pt x="193" y="16"/>
                  </a:lnTo>
                  <a:lnTo>
                    <a:pt x="194" y="17"/>
                  </a:lnTo>
                  <a:lnTo>
                    <a:pt x="196" y="17"/>
                  </a:lnTo>
                  <a:lnTo>
                    <a:pt x="198" y="18"/>
                  </a:lnTo>
                  <a:lnTo>
                    <a:pt x="203" y="20"/>
                  </a:lnTo>
                  <a:lnTo>
                    <a:pt x="208" y="22"/>
                  </a:lnTo>
                  <a:lnTo>
                    <a:pt x="216" y="24"/>
                  </a:lnTo>
                  <a:lnTo>
                    <a:pt x="219" y="25"/>
                  </a:lnTo>
                  <a:lnTo>
                    <a:pt x="222" y="26"/>
                  </a:lnTo>
                  <a:lnTo>
                    <a:pt x="225" y="26"/>
                  </a:lnTo>
                  <a:lnTo>
                    <a:pt x="227" y="27"/>
                  </a:lnTo>
                  <a:lnTo>
                    <a:pt x="230" y="27"/>
                  </a:lnTo>
                  <a:lnTo>
                    <a:pt x="231" y="27"/>
                  </a:lnTo>
                  <a:lnTo>
                    <a:pt x="233" y="26"/>
                  </a:lnTo>
                  <a:lnTo>
                    <a:pt x="234" y="26"/>
                  </a:lnTo>
                  <a:lnTo>
                    <a:pt x="239" y="24"/>
                  </a:lnTo>
                  <a:lnTo>
                    <a:pt x="241" y="23"/>
                  </a:lnTo>
                  <a:lnTo>
                    <a:pt x="242" y="22"/>
                  </a:lnTo>
                  <a:lnTo>
                    <a:pt x="243" y="22"/>
                  </a:lnTo>
                  <a:lnTo>
                    <a:pt x="244" y="22"/>
                  </a:lnTo>
                  <a:lnTo>
                    <a:pt x="246" y="19"/>
                  </a:lnTo>
                  <a:lnTo>
                    <a:pt x="247" y="17"/>
                  </a:lnTo>
                  <a:lnTo>
                    <a:pt x="250" y="15"/>
                  </a:lnTo>
                  <a:lnTo>
                    <a:pt x="255" y="10"/>
                  </a:lnTo>
                  <a:lnTo>
                    <a:pt x="257" y="9"/>
                  </a:lnTo>
                  <a:lnTo>
                    <a:pt x="261" y="5"/>
                  </a:lnTo>
                  <a:lnTo>
                    <a:pt x="262" y="3"/>
                  </a:lnTo>
                  <a:lnTo>
                    <a:pt x="264" y="1"/>
                  </a:lnTo>
                  <a:lnTo>
                    <a:pt x="265" y="0"/>
                  </a:lnTo>
                  <a:lnTo>
                    <a:pt x="266" y="0"/>
                  </a:lnTo>
                  <a:lnTo>
                    <a:pt x="266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9" name="Freeform 52">
              <a:extLst>
                <a:ext uri="{FF2B5EF4-FFF2-40B4-BE49-F238E27FC236}">
                  <a16:creationId xmlns:a16="http://schemas.microsoft.com/office/drawing/2014/main" id="{AED7CB31-FA8D-4998-AD37-73AA5A330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4" y="2018"/>
              <a:ext cx="583" cy="277"/>
            </a:xfrm>
            <a:custGeom>
              <a:avLst/>
              <a:gdLst>
                <a:gd name="T0" fmla="*/ 323 w 583"/>
                <a:gd name="T1" fmla="*/ 16 h 277"/>
                <a:gd name="T2" fmla="*/ 336 w 583"/>
                <a:gd name="T3" fmla="*/ 42 h 277"/>
                <a:gd name="T4" fmla="*/ 357 w 583"/>
                <a:gd name="T5" fmla="*/ 43 h 277"/>
                <a:gd name="T6" fmla="*/ 386 w 583"/>
                <a:gd name="T7" fmla="*/ 25 h 277"/>
                <a:gd name="T8" fmla="*/ 415 w 583"/>
                <a:gd name="T9" fmla="*/ 8 h 277"/>
                <a:gd name="T10" fmla="*/ 459 w 583"/>
                <a:gd name="T11" fmla="*/ 17 h 277"/>
                <a:gd name="T12" fmla="*/ 472 w 583"/>
                <a:gd name="T13" fmla="*/ 25 h 277"/>
                <a:gd name="T14" fmla="*/ 483 w 583"/>
                <a:gd name="T15" fmla="*/ 58 h 277"/>
                <a:gd name="T16" fmla="*/ 494 w 583"/>
                <a:gd name="T17" fmla="*/ 69 h 277"/>
                <a:gd name="T18" fmla="*/ 522 w 583"/>
                <a:gd name="T19" fmla="*/ 75 h 277"/>
                <a:gd name="T20" fmla="*/ 538 w 583"/>
                <a:gd name="T21" fmla="*/ 98 h 277"/>
                <a:gd name="T22" fmla="*/ 565 w 583"/>
                <a:gd name="T23" fmla="*/ 110 h 277"/>
                <a:gd name="T24" fmla="*/ 581 w 583"/>
                <a:gd name="T25" fmla="*/ 138 h 277"/>
                <a:gd name="T26" fmla="*/ 563 w 583"/>
                <a:gd name="T27" fmla="*/ 171 h 277"/>
                <a:gd name="T28" fmla="*/ 547 w 583"/>
                <a:gd name="T29" fmla="*/ 169 h 277"/>
                <a:gd name="T30" fmla="*/ 543 w 583"/>
                <a:gd name="T31" fmla="*/ 190 h 277"/>
                <a:gd name="T32" fmla="*/ 523 w 583"/>
                <a:gd name="T33" fmla="*/ 210 h 277"/>
                <a:gd name="T34" fmla="*/ 515 w 583"/>
                <a:gd name="T35" fmla="*/ 227 h 277"/>
                <a:gd name="T36" fmla="*/ 504 w 583"/>
                <a:gd name="T37" fmla="*/ 223 h 277"/>
                <a:gd name="T38" fmla="*/ 486 w 583"/>
                <a:gd name="T39" fmla="*/ 221 h 277"/>
                <a:gd name="T40" fmla="*/ 456 w 583"/>
                <a:gd name="T41" fmla="*/ 235 h 277"/>
                <a:gd name="T42" fmla="*/ 423 w 583"/>
                <a:gd name="T43" fmla="*/ 220 h 277"/>
                <a:gd name="T44" fmla="*/ 394 w 583"/>
                <a:gd name="T45" fmla="*/ 217 h 277"/>
                <a:gd name="T46" fmla="*/ 377 w 583"/>
                <a:gd name="T47" fmla="*/ 216 h 277"/>
                <a:gd name="T48" fmla="*/ 360 w 583"/>
                <a:gd name="T49" fmla="*/ 205 h 277"/>
                <a:gd name="T50" fmla="*/ 339 w 583"/>
                <a:gd name="T51" fmla="*/ 226 h 277"/>
                <a:gd name="T52" fmla="*/ 321 w 583"/>
                <a:gd name="T53" fmla="*/ 230 h 277"/>
                <a:gd name="T54" fmla="*/ 289 w 583"/>
                <a:gd name="T55" fmla="*/ 220 h 277"/>
                <a:gd name="T56" fmla="*/ 267 w 583"/>
                <a:gd name="T57" fmla="*/ 230 h 277"/>
                <a:gd name="T58" fmla="*/ 231 w 583"/>
                <a:gd name="T59" fmla="*/ 236 h 277"/>
                <a:gd name="T60" fmla="*/ 211 w 583"/>
                <a:gd name="T61" fmla="*/ 254 h 277"/>
                <a:gd name="T62" fmla="*/ 185 w 583"/>
                <a:gd name="T63" fmla="*/ 271 h 277"/>
                <a:gd name="T64" fmla="*/ 152 w 583"/>
                <a:gd name="T65" fmla="*/ 275 h 277"/>
                <a:gd name="T66" fmla="*/ 120 w 583"/>
                <a:gd name="T67" fmla="*/ 269 h 277"/>
                <a:gd name="T68" fmla="*/ 109 w 583"/>
                <a:gd name="T69" fmla="*/ 249 h 277"/>
                <a:gd name="T70" fmla="*/ 82 w 583"/>
                <a:gd name="T71" fmla="*/ 232 h 277"/>
                <a:gd name="T72" fmla="*/ 73 w 583"/>
                <a:gd name="T73" fmla="*/ 214 h 277"/>
                <a:gd name="T74" fmla="*/ 65 w 583"/>
                <a:gd name="T75" fmla="*/ 203 h 277"/>
                <a:gd name="T76" fmla="*/ 44 w 583"/>
                <a:gd name="T77" fmla="*/ 195 h 277"/>
                <a:gd name="T78" fmla="*/ 26 w 583"/>
                <a:gd name="T79" fmla="*/ 185 h 277"/>
                <a:gd name="T80" fmla="*/ 9 w 583"/>
                <a:gd name="T81" fmla="*/ 178 h 277"/>
                <a:gd name="T82" fmla="*/ 0 w 583"/>
                <a:gd name="T83" fmla="*/ 163 h 277"/>
                <a:gd name="T84" fmla="*/ 15 w 583"/>
                <a:gd name="T85" fmla="*/ 152 h 277"/>
                <a:gd name="T86" fmla="*/ 10 w 583"/>
                <a:gd name="T87" fmla="*/ 142 h 277"/>
                <a:gd name="T88" fmla="*/ 25 w 583"/>
                <a:gd name="T89" fmla="*/ 127 h 277"/>
                <a:gd name="T90" fmla="*/ 32 w 583"/>
                <a:gd name="T91" fmla="*/ 104 h 277"/>
                <a:gd name="T92" fmla="*/ 27 w 583"/>
                <a:gd name="T93" fmla="*/ 93 h 277"/>
                <a:gd name="T94" fmla="*/ 34 w 583"/>
                <a:gd name="T95" fmla="*/ 85 h 277"/>
                <a:gd name="T96" fmla="*/ 49 w 583"/>
                <a:gd name="T97" fmla="*/ 78 h 277"/>
                <a:gd name="T98" fmla="*/ 62 w 583"/>
                <a:gd name="T99" fmla="*/ 86 h 277"/>
                <a:gd name="T100" fmla="*/ 85 w 583"/>
                <a:gd name="T101" fmla="*/ 79 h 277"/>
                <a:gd name="T102" fmla="*/ 110 w 583"/>
                <a:gd name="T103" fmla="*/ 62 h 277"/>
                <a:gd name="T104" fmla="*/ 124 w 583"/>
                <a:gd name="T105" fmla="*/ 45 h 277"/>
                <a:gd name="T106" fmla="*/ 150 w 583"/>
                <a:gd name="T107" fmla="*/ 36 h 277"/>
                <a:gd name="T108" fmla="*/ 167 w 583"/>
                <a:gd name="T109" fmla="*/ 45 h 277"/>
                <a:gd name="T110" fmla="*/ 198 w 583"/>
                <a:gd name="T111" fmla="*/ 46 h 277"/>
                <a:gd name="T112" fmla="*/ 227 w 583"/>
                <a:gd name="T113" fmla="*/ 53 h 277"/>
                <a:gd name="T114" fmla="*/ 255 w 583"/>
                <a:gd name="T115" fmla="*/ 45 h 277"/>
                <a:gd name="T116" fmla="*/ 277 w 583"/>
                <a:gd name="T117" fmla="*/ 33 h 277"/>
                <a:gd name="T118" fmla="*/ 292 w 583"/>
                <a:gd name="T119" fmla="*/ 1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3" h="277">
                  <a:moveTo>
                    <a:pt x="309" y="0"/>
                  </a:moveTo>
                  <a:lnTo>
                    <a:pt x="310" y="1"/>
                  </a:lnTo>
                  <a:lnTo>
                    <a:pt x="312" y="3"/>
                  </a:lnTo>
                  <a:lnTo>
                    <a:pt x="314" y="4"/>
                  </a:lnTo>
                  <a:lnTo>
                    <a:pt x="316" y="6"/>
                  </a:lnTo>
                  <a:lnTo>
                    <a:pt x="317" y="7"/>
                  </a:lnTo>
                  <a:lnTo>
                    <a:pt x="319" y="9"/>
                  </a:lnTo>
                  <a:lnTo>
                    <a:pt x="321" y="12"/>
                  </a:lnTo>
                  <a:lnTo>
                    <a:pt x="323" y="16"/>
                  </a:lnTo>
                  <a:lnTo>
                    <a:pt x="324" y="20"/>
                  </a:lnTo>
                  <a:lnTo>
                    <a:pt x="326" y="23"/>
                  </a:lnTo>
                  <a:lnTo>
                    <a:pt x="328" y="31"/>
                  </a:lnTo>
                  <a:lnTo>
                    <a:pt x="329" y="33"/>
                  </a:lnTo>
                  <a:lnTo>
                    <a:pt x="330" y="35"/>
                  </a:lnTo>
                  <a:lnTo>
                    <a:pt x="332" y="38"/>
                  </a:lnTo>
                  <a:lnTo>
                    <a:pt x="333" y="39"/>
                  </a:lnTo>
                  <a:lnTo>
                    <a:pt x="335" y="41"/>
                  </a:lnTo>
                  <a:lnTo>
                    <a:pt x="336" y="42"/>
                  </a:lnTo>
                  <a:lnTo>
                    <a:pt x="338" y="43"/>
                  </a:lnTo>
                  <a:lnTo>
                    <a:pt x="340" y="44"/>
                  </a:lnTo>
                  <a:lnTo>
                    <a:pt x="342" y="44"/>
                  </a:lnTo>
                  <a:lnTo>
                    <a:pt x="344" y="44"/>
                  </a:lnTo>
                  <a:lnTo>
                    <a:pt x="346" y="44"/>
                  </a:lnTo>
                  <a:lnTo>
                    <a:pt x="349" y="45"/>
                  </a:lnTo>
                  <a:lnTo>
                    <a:pt x="351" y="44"/>
                  </a:lnTo>
                  <a:lnTo>
                    <a:pt x="354" y="44"/>
                  </a:lnTo>
                  <a:lnTo>
                    <a:pt x="357" y="43"/>
                  </a:lnTo>
                  <a:lnTo>
                    <a:pt x="360" y="41"/>
                  </a:lnTo>
                  <a:lnTo>
                    <a:pt x="366" y="36"/>
                  </a:lnTo>
                  <a:lnTo>
                    <a:pt x="369" y="34"/>
                  </a:lnTo>
                  <a:lnTo>
                    <a:pt x="371" y="33"/>
                  </a:lnTo>
                  <a:lnTo>
                    <a:pt x="379" y="30"/>
                  </a:lnTo>
                  <a:lnTo>
                    <a:pt x="380" y="29"/>
                  </a:lnTo>
                  <a:lnTo>
                    <a:pt x="383" y="28"/>
                  </a:lnTo>
                  <a:lnTo>
                    <a:pt x="385" y="26"/>
                  </a:lnTo>
                  <a:lnTo>
                    <a:pt x="386" y="25"/>
                  </a:lnTo>
                  <a:lnTo>
                    <a:pt x="388" y="23"/>
                  </a:lnTo>
                  <a:lnTo>
                    <a:pt x="393" y="18"/>
                  </a:lnTo>
                  <a:lnTo>
                    <a:pt x="395" y="16"/>
                  </a:lnTo>
                  <a:lnTo>
                    <a:pt x="397" y="15"/>
                  </a:lnTo>
                  <a:lnTo>
                    <a:pt x="400" y="13"/>
                  </a:lnTo>
                  <a:lnTo>
                    <a:pt x="403" y="12"/>
                  </a:lnTo>
                  <a:lnTo>
                    <a:pt x="412" y="9"/>
                  </a:lnTo>
                  <a:lnTo>
                    <a:pt x="414" y="9"/>
                  </a:lnTo>
                  <a:lnTo>
                    <a:pt x="415" y="8"/>
                  </a:lnTo>
                  <a:lnTo>
                    <a:pt x="417" y="8"/>
                  </a:lnTo>
                  <a:lnTo>
                    <a:pt x="419" y="8"/>
                  </a:lnTo>
                  <a:lnTo>
                    <a:pt x="420" y="9"/>
                  </a:lnTo>
                  <a:lnTo>
                    <a:pt x="423" y="9"/>
                  </a:lnTo>
                  <a:lnTo>
                    <a:pt x="431" y="10"/>
                  </a:lnTo>
                  <a:lnTo>
                    <a:pt x="437" y="12"/>
                  </a:lnTo>
                  <a:lnTo>
                    <a:pt x="445" y="14"/>
                  </a:lnTo>
                  <a:lnTo>
                    <a:pt x="455" y="16"/>
                  </a:lnTo>
                  <a:lnTo>
                    <a:pt x="459" y="17"/>
                  </a:lnTo>
                  <a:lnTo>
                    <a:pt x="464" y="18"/>
                  </a:lnTo>
                  <a:lnTo>
                    <a:pt x="468" y="18"/>
                  </a:lnTo>
                  <a:lnTo>
                    <a:pt x="469" y="18"/>
                  </a:lnTo>
                  <a:lnTo>
                    <a:pt x="470" y="18"/>
                  </a:lnTo>
                  <a:lnTo>
                    <a:pt x="470" y="19"/>
                  </a:lnTo>
                  <a:lnTo>
                    <a:pt x="470" y="20"/>
                  </a:lnTo>
                  <a:lnTo>
                    <a:pt x="471" y="22"/>
                  </a:lnTo>
                  <a:lnTo>
                    <a:pt x="471" y="23"/>
                  </a:lnTo>
                  <a:lnTo>
                    <a:pt x="472" y="25"/>
                  </a:lnTo>
                  <a:lnTo>
                    <a:pt x="476" y="30"/>
                  </a:lnTo>
                  <a:lnTo>
                    <a:pt x="477" y="32"/>
                  </a:lnTo>
                  <a:lnTo>
                    <a:pt x="478" y="34"/>
                  </a:lnTo>
                  <a:lnTo>
                    <a:pt x="479" y="36"/>
                  </a:lnTo>
                  <a:lnTo>
                    <a:pt x="480" y="39"/>
                  </a:lnTo>
                  <a:lnTo>
                    <a:pt x="481" y="43"/>
                  </a:lnTo>
                  <a:lnTo>
                    <a:pt x="482" y="46"/>
                  </a:lnTo>
                  <a:lnTo>
                    <a:pt x="483" y="55"/>
                  </a:lnTo>
                  <a:lnTo>
                    <a:pt x="483" y="58"/>
                  </a:lnTo>
                  <a:lnTo>
                    <a:pt x="484" y="61"/>
                  </a:lnTo>
                  <a:lnTo>
                    <a:pt x="485" y="63"/>
                  </a:lnTo>
                  <a:lnTo>
                    <a:pt x="486" y="64"/>
                  </a:lnTo>
                  <a:lnTo>
                    <a:pt x="487" y="65"/>
                  </a:lnTo>
                  <a:lnTo>
                    <a:pt x="488" y="66"/>
                  </a:lnTo>
                  <a:lnTo>
                    <a:pt x="489" y="67"/>
                  </a:lnTo>
                  <a:lnTo>
                    <a:pt x="491" y="67"/>
                  </a:lnTo>
                  <a:lnTo>
                    <a:pt x="493" y="68"/>
                  </a:lnTo>
                  <a:lnTo>
                    <a:pt x="494" y="69"/>
                  </a:lnTo>
                  <a:lnTo>
                    <a:pt x="495" y="69"/>
                  </a:lnTo>
                  <a:lnTo>
                    <a:pt x="499" y="70"/>
                  </a:lnTo>
                  <a:lnTo>
                    <a:pt x="509" y="71"/>
                  </a:lnTo>
                  <a:lnTo>
                    <a:pt x="514" y="71"/>
                  </a:lnTo>
                  <a:lnTo>
                    <a:pt x="516" y="72"/>
                  </a:lnTo>
                  <a:lnTo>
                    <a:pt x="517" y="73"/>
                  </a:lnTo>
                  <a:lnTo>
                    <a:pt x="519" y="73"/>
                  </a:lnTo>
                  <a:lnTo>
                    <a:pt x="521" y="74"/>
                  </a:lnTo>
                  <a:lnTo>
                    <a:pt x="522" y="75"/>
                  </a:lnTo>
                  <a:lnTo>
                    <a:pt x="523" y="76"/>
                  </a:lnTo>
                  <a:lnTo>
                    <a:pt x="524" y="78"/>
                  </a:lnTo>
                  <a:lnTo>
                    <a:pt x="526" y="79"/>
                  </a:lnTo>
                  <a:lnTo>
                    <a:pt x="528" y="83"/>
                  </a:lnTo>
                  <a:lnTo>
                    <a:pt x="531" y="90"/>
                  </a:lnTo>
                  <a:lnTo>
                    <a:pt x="533" y="92"/>
                  </a:lnTo>
                  <a:lnTo>
                    <a:pt x="535" y="95"/>
                  </a:lnTo>
                  <a:lnTo>
                    <a:pt x="537" y="97"/>
                  </a:lnTo>
                  <a:lnTo>
                    <a:pt x="538" y="98"/>
                  </a:lnTo>
                  <a:lnTo>
                    <a:pt x="539" y="99"/>
                  </a:lnTo>
                  <a:lnTo>
                    <a:pt x="540" y="100"/>
                  </a:lnTo>
                  <a:lnTo>
                    <a:pt x="542" y="101"/>
                  </a:lnTo>
                  <a:lnTo>
                    <a:pt x="548" y="102"/>
                  </a:lnTo>
                  <a:lnTo>
                    <a:pt x="551" y="103"/>
                  </a:lnTo>
                  <a:lnTo>
                    <a:pt x="556" y="105"/>
                  </a:lnTo>
                  <a:lnTo>
                    <a:pt x="558" y="106"/>
                  </a:lnTo>
                  <a:lnTo>
                    <a:pt x="562" y="107"/>
                  </a:lnTo>
                  <a:lnTo>
                    <a:pt x="565" y="110"/>
                  </a:lnTo>
                  <a:lnTo>
                    <a:pt x="567" y="111"/>
                  </a:lnTo>
                  <a:lnTo>
                    <a:pt x="569" y="112"/>
                  </a:lnTo>
                  <a:lnTo>
                    <a:pt x="572" y="115"/>
                  </a:lnTo>
                  <a:lnTo>
                    <a:pt x="575" y="119"/>
                  </a:lnTo>
                  <a:lnTo>
                    <a:pt x="581" y="126"/>
                  </a:lnTo>
                  <a:lnTo>
                    <a:pt x="583" y="128"/>
                  </a:lnTo>
                  <a:lnTo>
                    <a:pt x="583" y="129"/>
                  </a:lnTo>
                  <a:lnTo>
                    <a:pt x="581" y="135"/>
                  </a:lnTo>
                  <a:lnTo>
                    <a:pt x="581" y="138"/>
                  </a:lnTo>
                  <a:lnTo>
                    <a:pt x="579" y="143"/>
                  </a:lnTo>
                  <a:lnTo>
                    <a:pt x="576" y="151"/>
                  </a:lnTo>
                  <a:lnTo>
                    <a:pt x="573" y="157"/>
                  </a:lnTo>
                  <a:lnTo>
                    <a:pt x="572" y="161"/>
                  </a:lnTo>
                  <a:lnTo>
                    <a:pt x="570" y="164"/>
                  </a:lnTo>
                  <a:lnTo>
                    <a:pt x="568" y="168"/>
                  </a:lnTo>
                  <a:lnTo>
                    <a:pt x="566" y="169"/>
                  </a:lnTo>
                  <a:lnTo>
                    <a:pt x="564" y="171"/>
                  </a:lnTo>
                  <a:lnTo>
                    <a:pt x="563" y="171"/>
                  </a:lnTo>
                  <a:lnTo>
                    <a:pt x="562" y="172"/>
                  </a:lnTo>
                  <a:lnTo>
                    <a:pt x="562" y="172"/>
                  </a:lnTo>
                  <a:lnTo>
                    <a:pt x="561" y="172"/>
                  </a:lnTo>
                  <a:lnTo>
                    <a:pt x="559" y="173"/>
                  </a:lnTo>
                  <a:lnTo>
                    <a:pt x="558" y="172"/>
                  </a:lnTo>
                  <a:lnTo>
                    <a:pt x="554" y="172"/>
                  </a:lnTo>
                  <a:lnTo>
                    <a:pt x="551" y="171"/>
                  </a:lnTo>
                  <a:lnTo>
                    <a:pt x="548" y="169"/>
                  </a:lnTo>
                  <a:lnTo>
                    <a:pt x="547" y="169"/>
                  </a:lnTo>
                  <a:lnTo>
                    <a:pt x="546" y="169"/>
                  </a:lnTo>
                  <a:lnTo>
                    <a:pt x="545" y="169"/>
                  </a:lnTo>
                  <a:lnTo>
                    <a:pt x="544" y="170"/>
                  </a:lnTo>
                  <a:lnTo>
                    <a:pt x="544" y="171"/>
                  </a:lnTo>
                  <a:lnTo>
                    <a:pt x="543" y="180"/>
                  </a:lnTo>
                  <a:lnTo>
                    <a:pt x="543" y="181"/>
                  </a:lnTo>
                  <a:lnTo>
                    <a:pt x="543" y="186"/>
                  </a:lnTo>
                  <a:lnTo>
                    <a:pt x="543" y="188"/>
                  </a:lnTo>
                  <a:lnTo>
                    <a:pt x="543" y="190"/>
                  </a:lnTo>
                  <a:lnTo>
                    <a:pt x="542" y="192"/>
                  </a:lnTo>
                  <a:lnTo>
                    <a:pt x="541" y="193"/>
                  </a:lnTo>
                  <a:lnTo>
                    <a:pt x="539" y="195"/>
                  </a:lnTo>
                  <a:lnTo>
                    <a:pt x="538" y="196"/>
                  </a:lnTo>
                  <a:lnTo>
                    <a:pt x="534" y="199"/>
                  </a:lnTo>
                  <a:lnTo>
                    <a:pt x="530" y="202"/>
                  </a:lnTo>
                  <a:lnTo>
                    <a:pt x="529" y="203"/>
                  </a:lnTo>
                  <a:lnTo>
                    <a:pt x="527" y="206"/>
                  </a:lnTo>
                  <a:lnTo>
                    <a:pt x="523" y="210"/>
                  </a:lnTo>
                  <a:lnTo>
                    <a:pt x="521" y="212"/>
                  </a:lnTo>
                  <a:lnTo>
                    <a:pt x="520" y="214"/>
                  </a:lnTo>
                  <a:lnTo>
                    <a:pt x="519" y="215"/>
                  </a:lnTo>
                  <a:lnTo>
                    <a:pt x="519" y="217"/>
                  </a:lnTo>
                  <a:lnTo>
                    <a:pt x="518" y="222"/>
                  </a:lnTo>
                  <a:lnTo>
                    <a:pt x="517" y="224"/>
                  </a:lnTo>
                  <a:lnTo>
                    <a:pt x="517" y="226"/>
                  </a:lnTo>
                  <a:lnTo>
                    <a:pt x="516" y="226"/>
                  </a:lnTo>
                  <a:lnTo>
                    <a:pt x="515" y="227"/>
                  </a:lnTo>
                  <a:lnTo>
                    <a:pt x="513" y="228"/>
                  </a:lnTo>
                  <a:lnTo>
                    <a:pt x="512" y="229"/>
                  </a:lnTo>
                  <a:lnTo>
                    <a:pt x="511" y="229"/>
                  </a:lnTo>
                  <a:lnTo>
                    <a:pt x="510" y="229"/>
                  </a:lnTo>
                  <a:lnTo>
                    <a:pt x="510" y="228"/>
                  </a:lnTo>
                  <a:lnTo>
                    <a:pt x="509" y="228"/>
                  </a:lnTo>
                  <a:lnTo>
                    <a:pt x="508" y="227"/>
                  </a:lnTo>
                  <a:lnTo>
                    <a:pt x="505" y="225"/>
                  </a:lnTo>
                  <a:lnTo>
                    <a:pt x="504" y="223"/>
                  </a:lnTo>
                  <a:lnTo>
                    <a:pt x="503" y="222"/>
                  </a:lnTo>
                  <a:lnTo>
                    <a:pt x="501" y="222"/>
                  </a:lnTo>
                  <a:lnTo>
                    <a:pt x="499" y="221"/>
                  </a:lnTo>
                  <a:lnTo>
                    <a:pt x="496" y="220"/>
                  </a:lnTo>
                  <a:lnTo>
                    <a:pt x="494" y="220"/>
                  </a:lnTo>
                  <a:lnTo>
                    <a:pt x="491" y="220"/>
                  </a:lnTo>
                  <a:lnTo>
                    <a:pt x="488" y="220"/>
                  </a:lnTo>
                  <a:lnTo>
                    <a:pt x="487" y="221"/>
                  </a:lnTo>
                  <a:lnTo>
                    <a:pt x="486" y="221"/>
                  </a:lnTo>
                  <a:lnTo>
                    <a:pt x="484" y="222"/>
                  </a:lnTo>
                  <a:lnTo>
                    <a:pt x="480" y="225"/>
                  </a:lnTo>
                  <a:lnTo>
                    <a:pt x="478" y="226"/>
                  </a:lnTo>
                  <a:lnTo>
                    <a:pt x="471" y="230"/>
                  </a:lnTo>
                  <a:lnTo>
                    <a:pt x="466" y="233"/>
                  </a:lnTo>
                  <a:lnTo>
                    <a:pt x="464" y="234"/>
                  </a:lnTo>
                  <a:lnTo>
                    <a:pt x="461" y="235"/>
                  </a:lnTo>
                  <a:lnTo>
                    <a:pt x="459" y="235"/>
                  </a:lnTo>
                  <a:lnTo>
                    <a:pt x="456" y="235"/>
                  </a:lnTo>
                  <a:lnTo>
                    <a:pt x="453" y="235"/>
                  </a:lnTo>
                  <a:lnTo>
                    <a:pt x="451" y="234"/>
                  </a:lnTo>
                  <a:lnTo>
                    <a:pt x="449" y="234"/>
                  </a:lnTo>
                  <a:lnTo>
                    <a:pt x="448" y="233"/>
                  </a:lnTo>
                  <a:lnTo>
                    <a:pt x="445" y="232"/>
                  </a:lnTo>
                  <a:lnTo>
                    <a:pt x="441" y="230"/>
                  </a:lnTo>
                  <a:lnTo>
                    <a:pt x="433" y="225"/>
                  </a:lnTo>
                  <a:lnTo>
                    <a:pt x="429" y="223"/>
                  </a:lnTo>
                  <a:lnTo>
                    <a:pt x="423" y="220"/>
                  </a:lnTo>
                  <a:lnTo>
                    <a:pt x="420" y="219"/>
                  </a:lnTo>
                  <a:lnTo>
                    <a:pt x="418" y="218"/>
                  </a:lnTo>
                  <a:lnTo>
                    <a:pt x="416" y="218"/>
                  </a:lnTo>
                  <a:lnTo>
                    <a:pt x="412" y="217"/>
                  </a:lnTo>
                  <a:lnTo>
                    <a:pt x="405" y="216"/>
                  </a:lnTo>
                  <a:lnTo>
                    <a:pt x="403" y="216"/>
                  </a:lnTo>
                  <a:lnTo>
                    <a:pt x="402" y="216"/>
                  </a:lnTo>
                  <a:lnTo>
                    <a:pt x="398" y="216"/>
                  </a:lnTo>
                  <a:lnTo>
                    <a:pt x="394" y="217"/>
                  </a:lnTo>
                  <a:lnTo>
                    <a:pt x="392" y="217"/>
                  </a:lnTo>
                  <a:lnTo>
                    <a:pt x="387" y="219"/>
                  </a:lnTo>
                  <a:lnTo>
                    <a:pt x="385" y="219"/>
                  </a:lnTo>
                  <a:lnTo>
                    <a:pt x="384" y="219"/>
                  </a:lnTo>
                  <a:lnTo>
                    <a:pt x="382" y="219"/>
                  </a:lnTo>
                  <a:lnTo>
                    <a:pt x="381" y="219"/>
                  </a:lnTo>
                  <a:lnTo>
                    <a:pt x="380" y="219"/>
                  </a:lnTo>
                  <a:lnTo>
                    <a:pt x="379" y="218"/>
                  </a:lnTo>
                  <a:lnTo>
                    <a:pt x="377" y="216"/>
                  </a:lnTo>
                  <a:lnTo>
                    <a:pt x="374" y="215"/>
                  </a:lnTo>
                  <a:lnTo>
                    <a:pt x="369" y="212"/>
                  </a:lnTo>
                  <a:lnTo>
                    <a:pt x="365" y="208"/>
                  </a:lnTo>
                  <a:lnTo>
                    <a:pt x="364" y="207"/>
                  </a:lnTo>
                  <a:lnTo>
                    <a:pt x="363" y="206"/>
                  </a:lnTo>
                  <a:lnTo>
                    <a:pt x="362" y="205"/>
                  </a:lnTo>
                  <a:lnTo>
                    <a:pt x="362" y="204"/>
                  </a:lnTo>
                  <a:lnTo>
                    <a:pt x="361" y="204"/>
                  </a:lnTo>
                  <a:lnTo>
                    <a:pt x="360" y="205"/>
                  </a:lnTo>
                  <a:lnTo>
                    <a:pt x="358" y="207"/>
                  </a:lnTo>
                  <a:lnTo>
                    <a:pt x="357" y="209"/>
                  </a:lnTo>
                  <a:lnTo>
                    <a:pt x="353" y="213"/>
                  </a:lnTo>
                  <a:lnTo>
                    <a:pt x="351" y="214"/>
                  </a:lnTo>
                  <a:lnTo>
                    <a:pt x="346" y="219"/>
                  </a:lnTo>
                  <a:lnTo>
                    <a:pt x="343" y="221"/>
                  </a:lnTo>
                  <a:lnTo>
                    <a:pt x="342" y="223"/>
                  </a:lnTo>
                  <a:lnTo>
                    <a:pt x="340" y="226"/>
                  </a:lnTo>
                  <a:lnTo>
                    <a:pt x="339" y="226"/>
                  </a:lnTo>
                  <a:lnTo>
                    <a:pt x="338" y="226"/>
                  </a:lnTo>
                  <a:lnTo>
                    <a:pt x="337" y="227"/>
                  </a:lnTo>
                  <a:lnTo>
                    <a:pt x="335" y="228"/>
                  </a:lnTo>
                  <a:lnTo>
                    <a:pt x="330" y="230"/>
                  </a:lnTo>
                  <a:lnTo>
                    <a:pt x="329" y="230"/>
                  </a:lnTo>
                  <a:lnTo>
                    <a:pt x="327" y="231"/>
                  </a:lnTo>
                  <a:lnTo>
                    <a:pt x="326" y="231"/>
                  </a:lnTo>
                  <a:lnTo>
                    <a:pt x="323" y="231"/>
                  </a:lnTo>
                  <a:lnTo>
                    <a:pt x="321" y="230"/>
                  </a:lnTo>
                  <a:lnTo>
                    <a:pt x="318" y="230"/>
                  </a:lnTo>
                  <a:lnTo>
                    <a:pt x="315" y="229"/>
                  </a:lnTo>
                  <a:lnTo>
                    <a:pt x="312" y="228"/>
                  </a:lnTo>
                  <a:lnTo>
                    <a:pt x="304" y="226"/>
                  </a:lnTo>
                  <a:lnTo>
                    <a:pt x="299" y="224"/>
                  </a:lnTo>
                  <a:lnTo>
                    <a:pt x="294" y="222"/>
                  </a:lnTo>
                  <a:lnTo>
                    <a:pt x="292" y="221"/>
                  </a:lnTo>
                  <a:lnTo>
                    <a:pt x="290" y="221"/>
                  </a:lnTo>
                  <a:lnTo>
                    <a:pt x="289" y="220"/>
                  </a:lnTo>
                  <a:lnTo>
                    <a:pt x="288" y="220"/>
                  </a:lnTo>
                  <a:lnTo>
                    <a:pt x="286" y="220"/>
                  </a:lnTo>
                  <a:lnTo>
                    <a:pt x="284" y="221"/>
                  </a:lnTo>
                  <a:lnTo>
                    <a:pt x="283" y="221"/>
                  </a:lnTo>
                  <a:lnTo>
                    <a:pt x="282" y="221"/>
                  </a:lnTo>
                  <a:lnTo>
                    <a:pt x="280" y="222"/>
                  </a:lnTo>
                  <a:lnTo>
                    <a:pt x="279" y="223"/>
                  </a:lnTo>
                  <a:lnTo>
                    <a:pt x="269" y="228"/>
                  </a:lnTo>
                  <a:lnTo>
                    <a:pt x="267" y="230"/>
                  </a:lnTo>
                  <a:lnTo>
                    <a:pt x="263" y="231"/>
                  </a:lnTo>
                  <a:lnTo>
                    <a:pt x="255" y="233"/>
                  </a:lnTo>
                  <a:lnTo>
                    <a:pt x="249" y="235"/>
                  </a:lnTo>
                  <a:lnTo>
                    <a:pt x="246" y="235"/>
                  </a:lnTo>
                  <a:lnTo>
                    <a:pt x="244" y="236"/>
                  </a:lnTo>
                  <a:lnTo>
                    <a:pt x="241" y="236"/>
                  </a:lnTo>
                  <a:lnTo>
                    <a:pt x="234" y="236"/>
                  </a:lnTo>
                  <a:lnTo>
                    <a:pt x="232" y="236"/>
                  </a:lnTo>
                  <a:lnTo>
                    <a:pt x="231" y="236"/>
                  </a:lnTo>
                  <a:lnTo>
                    <a:pt x="229" y="237"/>
                  </a:lnTo>
                  <a:lnTo>
                    <a:pt x="227" y="237"/>
                  </a:lnTo>
                  <a:lnTo>
                    <a:pt x="226" y="238"/>
                  </a:lnTo>
                  <a:lnTo>
                    <a:pt x="224" y="239"/>
                  </a:lnTo>
                  <a:lnTo>
                    <a:pt x="222" y="241"/>
                  </a:lnTo>
                  <a:lnTo>
                    <a:pt x="219" y="245"/>
                  </a:lnTo>
                  <a:lnTo>
                    <a:pt x="216" y="248"/>
                  </a:lnTo>
                  <a:lnTo>
                    <a:pt x="214" y="250"/>
                  </a:lnTo>
                  <a:lnTo>
                    <a:pt x="211" y="254"/>
                  </a:lnTo>
                  <a:lnTo>
                    <a:pt x="209" y="258"/>
                  </a:lnTo>
                  <a:lnTo>
                    <a:pt x="207" y="260"/>
                  </a:lnTo>
                  <a:lnTo>
                    <a:pt x="204" y="262"/>
                  </a:lnTo>
                  <a:lnTo>
                    <a:pt x="202" y="263"/>
                  </a:lnTo>
                  <a:lnTo>
                    <a:pt x="199" y="265"/>
                  </a:lnTo>
                  <a:lnTo>
                    <a:pt x="197" y="267"/>
                  </a:lnTo>
                  <a:lnTo>
                    <a:pt x="194" y="268"/>
                  </a:lnTo>
                  <a:lnTo>
                    <a:pt x="188" y="271"/>
                  </a:lnTo>
                  <a:lnTo>
                    <a:pt x="185" y="271"/>
                  </a:lnTo>
                  <a:lnTo>
                    <a:pt x="182" y="272"/>
                  </a:lnTo>
                  <a:lnTo>
                    <a:pt x="180" y="273"/>
                  </a:lnTo>
                  <a:lnTo>
                    <a:pt x="175" y="274"/>
                  </a:lnTo>
                  <a:lnTo>
                    <a:pt x="170" y="275"/>
                  </a:lnTo>
                  <a:lnTo>
                    <a:pt x="164" y="277"/>
                  </a:lnTo>
                  <a:lnTo>
                    <a:pt x="162" y="277"/>
                  </a:lnTo>
                  <a:lnTo>
                    <a:pt x="160" y="277"/>
                  </a:lnTo>
                  <a:lnTo>
                    <a:pt x="158" y="277"/>
                  </a:lnTo>
                  <a:lnTo>
                    <a:pt x="152" y="275"/>
                  </a:lnTo>
                  <a:lnTo>
                    <a:pt x="144" y="274"/>
                  </a:lnTo>
                  <a:lnTo>
                    <a:pt x="141" y="274"/>
                  </a:lnTo>
                  <a:lnTo>
                    <a:pt x="136" y="273"/>
                  </a:lnTo>
                  <a:lnTo>
                    <a:pt x="130" y="271"/>
                  </a:lnTo>
                  <a:lnTo>
                    <a:pt x="127" y="271"/>
                  </a:lnTo>
                  <a:lnTo>
                    <a:pt x="123" y="270"/>
                  </a:lnTo>
                  <a:lnTo>
                    <a:pt x="121" y="270"/>
                  </a:lnTo>
                  <a:lnTo>
                    <a:pt x="120" y="270"/>
                  </a:lnTo>
                  <a:lnTo>
                    <a:pt x="120" y="269"/>
                  </a:lnTo>
                  <a:lnTo>
                    <a:pt x="120" y="268"/>
                  </a:lnTo>
                  <a:lnTo>
                    <a:pt x="120" y="265"/>
                  </a:lnTo>
                  <a:lnTo>
                    <a:pt x="119" y="263"/>
                  </a:lnTo>
                  <a:lnTo>
                    <a:pt x="119" y="260"/>
                  </a:lnTo>
                  <a:lnTo>
                    <a:pt x="118" y="259"/>
                  </a:lnTo>
                  <a:lnTo>
                    <a:pt x="117" y="257"/>
                  </a:lnTo>
                  <a:lnTo>
                    <a:pt x="115" y="255"/>
                  </a:lnTo>
                  <a:lnTo>
                    <a:pt x="113" y="253"/>
                  </a:lnTo>
                  <a:lnTo>
                    <a:pt x="109" y="249"/>
                  </a:lnTo>
                  <a:lnTo>
                    <a:pt x="108" y="248"/>
                  </a:lnTo>
                  <a:lnTo>
                    <a:pt x="107" y="248"/>
                  </a:lnTo>
                  <a:lnTo>
                    <a:pt x="103" y="246"/>
                  </a:lnTo>
                  <a:lnTo>
                    <a:pt x="97" y="243"/>
                  </a:lnTo>
                  <a:lnTo>
                    <a:pt x="95" y="241"/>
                  </a:lnTo>
                  <a:lnTo>
                    <a:pt x="92" y="239"/>
                  </a:lnTo>
                  <a:lnTo>
                    <a:pt x="88" y="237"/>
                  </a:lnTo>
                  <a:lnTo>
                    <a:pt x="85" y="235"/>
                  </a:lnTo>
                  <a:lnTo>
                    <a:pt x="82" y="232"/>
                  </a:lnTo>
                  <a:lnTo>
                    <a:pt x="79" y="229"/>
                  </a:lnTo>
                  <a:lnTo>
                    <a:pt x="77" y="227"/>
                  </a:lnTo>
                  <a:lnTo>
                    <a:pt x="76" y="226"/>
                  </a:lnTo>
                  <a:lnTo>
                    <a:pt x="75" y="225"/>
                  </a:lnTo>
                  <a:lnTo>
                    <a:pt x="74" y="223"/>
                  </a:lnTo>
                  <a:lnTo>
                    <a:pt x="74" y="222"/>
                  </a:lnTo>
                  <a:lnTo>
                    <a:pt x="74" y="221"/>
                  </a:lnTo>
                  <a:lnTo>
                    <a:pt x="73" y="219"/>
                  </a:lnTo>
                  <a:lnTo>
                    <a:pt x="73" y="214"/>
                  </a:lnTo>
                  <a:lnTo>
                    <a:pt x="73" y="210"/>
                  </a:lnTo>
                  <a:lnTo>
                    <a:pt x="73" y="208"/>
                  </a:lnTo>
                  <a:lnTo>
                    <a:pt x="73" y="207"/>
                  </a:lnTo>
                  <a:lnTo>
                    <a:pt x="73" y="206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68" y="204"/>
                  </a:lnTo>
                  <a:lnTo>
                    <a:pt x="67" y="204"/>
                  </a:lnTo>
                  <a:lnTo>
                    <a:pt x="65" y="203"/>
                  </a:lnTo>
                  <a:lnTo>
                    <a:pt x="64" y="201"/>
                  </a:lnTo>
                  <a:lnTo>
                    <a:pt x="63" y="201"/>
                  </a:lnTo>
                  <a:lnTo>
                    <a:pt x="62" y="200"/>
                  </a:lnTo>
                  <a:lnTo>
                    <a:pt x="61" y="199"/>
                  </a:lnTo>
                  <a:lnTo>
                    <a:pt x="60" y="199"/>
                  </a:lnTo>
                  <a:lnTo>
                    <a:pt x="55" y="198"/>
                  </a:lnTo>
                  <a:lnTo>
                    <a:pt x="52" y="197"/>
                  </a:lnTo>
                  <a:lnTo>
                    <a:pt x="46" y="196"/>
                  </a:lnTo>
                  <a:lnTo>
                    <a:pt x="44" y="195"/>
                  </a:lnTo>
                  <a:lnTo>
                    <a:pt x="43" y="195"/>
                  </a:lnTo>
                  <a:lnTo>
                    <a:pt x="42" y="194"/>
                  </a:lnTo>
                  <a:lnTo>
                    <a:pt x="41" y="193"/>
                  </a:lnTo>
                  <a:lnTo>
                    <a:pt x="38" y="191"/>
                  </a:lnTo>
                  <a:lnTo>
                    <a:pt x="37" y="190"/>
                  </a:lnTo>
                  <a:lnTo>
                    <a:pt x="34" y="188"/>
                  </a:lnTo>
                  <a:lnTo>
                    <a:pt x="31" y="187"/>
                  </a:lnTo>
                  <a:lnTo>
                    <a:pt x="28" y="186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6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20" y="186"/>
                  </a:lnTo>
                  <a:lnTo>
                    <a:pt x="18" y="184"/>
                  </a:lnTo>
                  <a:lnTo>
                    <a:pt x="16" y="182"/>
                  </a:lnTo>
                  <a:lnTo>
                    <a:pt x="13" y="180"/>
                  </a:lnTo>
                  <a:lnTo>
                    <a:pt x="9" y="178"/>
                  </a:lnTo>
                  <a:lnTo>
                    <a:pt x="7" y="176"/>
                  </a:lnTo>
                  <a:lnTo>
                    <a:pt x="6" y="174"/>
                  </a:lnTo>
                  <a:lnTo>
                    <a:pt x="5" y="173"/>
                  </a:lnTo>
                  <a:lnTo>
                    <a:pt x="3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1" y="160"/>
                  </a:lnTo>
                  <a:lnTo>
                    <a:pt x="2" y="159"/>
                  </a:lnTo>
                  <a:lnTo>
                    <a:pt x="3" y="158"/>
                  </a:lnTo>
                  <a:lnTo>
                    <a:pt x="5" y="157"/>
                  </a:lnTo>
                  <a:lnTo>
                    <a:pt x="6" y="156"/>
                  </a:lnTo>
                  <a:lnTo>
                    <a:pt x="11" y="154"/>
                  </a:lnTo>
                  <a:lnTo>
                    <a:pt x="14" y="153"/>
                  </a:lnTo>
                  <a:lnTo>
                    <a:pt x="15" y="152"/>
                  </a:lnTo>
                  <a:lnTo>
                    <a:pt x="16" y="151"/>
                  </a:lnTo>
                  <a:lnTo>
                    <a:pt x="16" y="150"/>
                  </a:lnTo>
                  <a:lnTo>
                    <a:pt x="16" y="149"/>
                  </a:lnTo>
                  <a:lnTo>
                    <a:pt x="14" y="147"/>
                  </a:lnTo>
                  <a:lnTo>
                    <a:pt x="12" y="146"/>
                  </a:lnTo>
                  <a:lnTo>
                    <a:pt x="11" y="145"/>
                  </a:lnTo>
                  <a:lnTo>
                    <a:pt x="10" y="144"/>
                  </a:lnTo>
                  <a:lnTo>
                    <a:pt x="10" y="143"/>
                  </a:lnTo>
                  <a:lnTo>
                    <a:pt x="10" y="142"/>
                  </a:lnTo>
                  <a:lnTo>
                    <a:pt x="10" y="141"/>
                  </a:lnTo>
                  <a:lnTo>
                    <a:pt x="11" y="140"/>
                  </a:lnTo>
                  <a:lnTo>
                    <a:pt x="13" y="138"/>
                  </a:lnTo>
                  <a:lnTo>
                    <a:pt x="19" y="134"/>
                  </a:lnTo>
                  <a:lnTo>
                    <a:pt x="20" y="133"/>
                  </a:lnTo>
                  <a:lnTo>
                    <a:pt x="22" y="131"/>
                  </a:lnTo>
                  <a:lnTo>
                    <a:pt x="24" y="130"/>
                  </a:lnTo>
                  <a:lnTo>
                    <a:pt x="25" y="128"/>
                  </a:lnTo>
                  <a:lnTo>
                    <a:pt x="25" y="127"/>
                  </a:lnTo>
                  <a:lnTo>
                    <a:pt x="26" y="125"/>
                  </a:lnTo>
                  <a:lnTo>
                    <a:pt x="27" y="124"/>
                  </a:lnTo>
                  <a:lnTo>
                    <a:pt x="27" y="121"/>
                  </a:lnTo>
                  <a:lnTo>
                    <a:pt x="28" y="119"/>
                  </a:lnTo>
                  <a:lnTo>
                    <a:pt x="28" y="114"/>
                  </a:lnTo>
                  <a:lnTo>
                    <a:pt x="28" y="111"/>
                  </a:lnTo>
                  <a:lnTo>
                    <a:pt x="29" y="110"/>
                  </a:lnTo>
                  <a:lnTo>
                    <a:pt x="29" y="108"/>
                  </a:lnTo>
                  <a:lnTo>
                    <a:pt x="32" y="104"/>
                  </a:lnTo>
                  <a:lnTo>
                    <a:pt x="32" y="103"/>
                  </a:lnTo>
                  <a:lnTo>
                    <a:pt x="32" y="102"/>
                  </a:lnTo>
                  <a:lnTo>
                    <a:pt x="32" y="101"/>
                  </a:lnTo>
                  <a:lnTo>
                    <a:pt x="31" y="101"/>
                  </a:lnTo>
                  <a:lnTo>
                    <a:pt x="30" y="99"/>
                  </a:lnTo>
                  <a:lnTo>
                    <a:pt x="28" y="97"/>
                  </a:lnTo>
                  <a:lnTo>
                    <a:pt x="28" y="96"/>
                  </a:lnTo>
                  <a:lnTo>
                    <a:pt x="27" y="94"/>
                  </a:lnTo>
                  <a:lnTo>
                    <a:pt x="27" y="93"/>
                  </a:lnTo>
                  <a:lnTo>
                    <a:pt x="27" y="92"/>
                  </a:lnTo>
                  <a:lnTo>
                    <a:pt x="27" y="91"/>
                  </a:lnTo>
                  <a:lnTo>
                    <a:pt x="27" y="90"/>
                  </a:lnTo>
                  <a:lnTo>
                    <a:pt x="28" y="90"/>
                  </a:lnTo>
                  <a:lnTo>
                    <a:pt x="28" y="89"/>
                  </a:lnTo>
                  <a:lnTo>
                    <a:pt x="29" y="88"/>
                  </a:lnTo>
                  <a:lnTo>
                    <a:pt x="30" y="87"/>
                  </a:lnTo>
                  <a:lnTo>
                    <a:pt x="32" y="86"/>
                  </a:lnTo>
                  <a:lnTo>
                    <a:pt x="34" y="85"/>
                  </a:lnTo>
                  <a:lnTo>
                    <a:pt x="39" y="84"/>
                  </a:lnTo>
                  <a:lnTo>
                    <a:pt x="41" y="83"/>
                  </a:lnTo>
                  <a:lnTo>
                    <a:pt x="43" y="83"/>
                  </a:lnTo>
                  <a:lnTo>
                    <a:pt x="44" y="82"/>
                  </a:lnTo>
                  <a:lnTo>
                    <a:pt x="46" y="81"/>
                  </a:lnTo>
                  <a:lnTo>
                    <a:pt x="47" y="80"/>
                  </a:lnTo>
                  <a:lnTo>
                    <a:pt x="48" y="79"/>
                  </a:lnTo>
                  <a:lnTo>
                    <a:pt x="48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50" y="80"/>
                  </a:lnTo>
                  <a:lnTo>
                    <a:pt x="51" y="82"/>
                  </a:lnTo>
                  <a:lnTo>
                    <a:pt x="53" y="83"/>
                  </a:lnTo>
                  <a:lnTo>
                    <a:pt x="55" y="84"/>
                  </a:lnTo>
                  <a:lnTo>
                    <a:pt x="57" y="85"/>
                  </a:lnTo>
                  <a:lnTo>
                    <a:pt x="59" y="86"/>
                  </a:lnTo>
                  <a:lnTo>
                    <a:pt x="61" y="86"/>
                  </a:lnTo>
                  <a:lnTo>
                    <a:pt x="62" y="86"/>
                  </a:lnTo>
                  <a:lnTo>
                    <a:pt x="65" y="86"/>
                  </a:lnTo>
                  <a:lnTo>
                    <a:pt x="67" y="86"/>
                  </a:lnTo>
                  <a:lnTo>
                    <a:pt x="70" y="86"/>
                  </a:lnTo>
                  <a:lnTo>
                    <a:pt x="72" y="85"/>
                  </a:lnTo>
                  <a:lnTo>
                    <a:pt x="74" y="84"/>
                  </a:lnTo>
                  <a:lnTo>
                    <a:pt x="77" y="83"/>
                  </a:lnTo>
                  <a:lnTo>
                    <a:pt x="80" y="82"/>
                  </a:lnTo>
                  <a:lnTo>
                    <a:pt x="83" y="81"/>
                  </a:lnTo>
                  <a:lnTo>
                    <a:pt x="85" y="79"/>
                  </a:lnTo>
                  <a:lnTo>
                    <a:pt x="88" y="78"/>
                  </a:lnTo>
                  <a:lnTo>
                    <a:pt x="93" y="75"/>
                  </a:lnTo>
                  <a:lnTo>
                    <a:pt x="95" y="74"/>
                  </a:lnTo>
                  <a:lnTo>
                    <a:pt x="98" y="72"/>
                  </a:lnTo>
                  <a:lnTo>
                    <a:pt x="101" y="70"/>
                  </a:lnTo>
                  <a:lnTo>
                    <a:pt x="104" y="68"/>
                  </a:lnTo>
                  <a:lnTo>
                    <a:pt x="107" y="66"/>
                  </a:lnTo>
                  <a:lnTo>
                    <a:pt x="109" y="64"/>
                  </a:lnTo>
                  <a:lnTo>
                    <a:pt x="110" y="62"/>
                  </a:lnTo>
                  <a:lnTo>
                    <a:pt x="111" y="61"/>
                  </a:lnTo>
                  <a:lnTo>
                    <a:pt x="114" y="56"/>
                  </a:lnTo>
                  <a:lnTo>
                    <a:pt x="115" y="54"/>
                  </a:lnTo>
                  <a:lnTo>
                    <a:pt x="116" y="53"/>
                  </a:lnTo>
                  <a:lnTo>
                    <a:pt x="117" y="51"/>
                  </a:lnTo>
                  <a:lnTo>
                    <a:pt x="119" y="50"/>
                  </a:lnTo>
                  <a:lnTo>
                    <a:pt x="119" y="48"/>
                  </a:lnTo>
                  <a:lnTo>
                    <a:pt x="121" y="47"/>
                  </a:lnTo>
                  <a:lnTo>
                    <a:pt x="124" y="45"/>
                  </a:lnTo>
                  <a:lnTo>
                    <a:pt x="127" y="44"/>
                  </a:lnTo>
                  <a:lnTo>
                    <a:pt x="130" y="44"/>
                  </a:lnTo>
                  <a:lnTo>
                    <a:pt x="133" y="43"/>
                  </a:lnTo>
                  <a:lnTo>
                    <a:pt x="136" y="42"/>
                  </a:lnTo>
                  <a:lnTo>
                    <a:pt x="138" y="41"/>
                  </a:lnTo>
                  <a:lnTo>
                    <a:pt x="147" y="37"/>
                  </a:lnTo>
                  <a:lnTo>
                    <a:pt x="148" y="36"/>
                  </a:lnTo>
                  <a:lnTo>
                    <a:pt x="149" y="36"/>
                  </a:lnTo>
                  <a:lnTo>
                    <a:pt x="150" y="36"/>
                  </a:lnTo>
                  <a:lnTo>
                    <a:pt x="151" y="36"/>
                  </a:lnTo>
                  <a:lnTo>
                    <a:pt x="153" y="36"/>
                  </a:lnTo>
                  <a:lnTo>
                    <a:pt x="153" y="37"/>
                  </a:lnTo>
                  <a:lnTo>
                    <a:pt x="154" y="38"/>
                  </a:lnTo>
                  <a:lnTo>
                    <a:pt x="155" y="39"/>
                  </a:lnTo>
                  <a:lnTo>
                    <a:pt x="160" y="42"/>
                  </a:lnTo>
                  <a:lnTo>
                    <a:pt x="162" y="44"/>
                  </a:lnTo>
                  <a:lnTo>
                    <a:pt x="164" y="44"/>
                  </a:lnTo>
                  <a:lnTo>
                    <a:pt x="167" y="45"/>
                  </a:lnTo>
                  <a:lnTo>
                    <a:pt x="168" y="45"/>
                  </a:lnTo>
                  <a:lnTo>
                    <a:pt x="170" y="45"/>
                  </a:lnTo>
                  <a:lnTo>
                    <a:pt x="174" y="45"/>
                  </a:lnTo>
                  <a:lnTo>
                    <a:pt x="176" y="44"/>
                  </a:lnTo>
                  <a:lnTo>
                    <a:pt x="179" y="45"/>
                  </a:lnTo>
                  <a:lnTo>
                    <a:pt x="187" y="45"/>
                  </a:lnTo>
                  <a:lnTo>
                    <a:pt x="189" y="45"/>
                  </a:lnTo>
                  <a:lnTo>
                    <a:pt x="193" y="45"/>
                  </a:lnTo>
                  <a:lnTo>
                    <a:pt x="198" y="46"/>
                  </a:lnTo>
                  <a:lnTo>
                    <a:pt x="201" y="47"/>
                  </a:lnTo>
                  <a:lnTo>
                    <a:pt x="204" y="47"/>
                  </a:lnTo>
                  <a:lnTo>
                    <a:pt x="209" y="47"/>
                  </a:lnTo>
                  <a:lnTo>
                    <a:pt x="210" y="47"/>
                  </a:lnTo>
                  <a:lnTo>
                    <a:pt x="212" y="47"/>
                  </a:lnTo>
                  <a:lnTo>
                    <a:pt x="214" y="48"/>
                  </a:lnTo>
                  <a:lnTo>
                    <a:pt x="218" y="49"/>
                  </a:lnTo>
                  <a:lnTo>
                    <a:pt x="224" y="52"/>
                  </a:lnTo>
                  <a:lnTo>
                    <a:pt x="227" y="53"/>
                  </a:lnTo>
                  <a:lnTo>
                    <a:pt x="230" y="53"/>
                  </a:lnTo>
                  <a:lnTo>
                    <a:pt x="232" y="54"/>
                  </a:lnTo>
                  <a:lnTo>
                    <a:pt x="234" y="54"/>
                  </a:lnTo>
                  <a:lnTo>
                    <a:pt x="237" y="53"/>
                  </a:lnTo>
                  <a:lnTo>
                    <a:pt x="239" y="53"/>
                  </a:lnTo>
                  <a:lnTo>
                    <a:pt x="242" y="52"/>
                  </a:lnTo>
                  <a:lnTo>
                    <a:pt x="248" y="48"/>
                  </a:lnTo>
                  <a:lnTo>
                    <a:pt x="252" y="47"/>
                  </a:lnTo>
                  <a:lnTo>
                    <a:pt x="255" y="45"/>
                  </a:lnTo>
                  <a:lnTo>
                    <a:pt x="262" y="44"/>
                  </a:lnTo>
                  <a:lnTo>
                    <a:pt x="265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3" y="37"/>
                  </a:lnTo>
                  <a:lnTo>
                    <a:pt x="274" y="35"/>
                  </a:lnTo>
                  <a:lnTo>
                    <a:pt x="276" y="34"/>
                  </a:lnTo>
                  <a:lnTo>
                    <a:pt x="277" y="33"/>
                  </a:lnTo>
                  <a:lnTo>
                    <a:pt x="278" y="30"/>
                  </a:lnTo>
                  <a:lnTo>
                    <a:pt x="280" y="24"/>
                  </a:lnTo>
                  <a:lnTo>
                    <a:pt x="282" y="21"/>
                  </a:lnTo>
                  <a:lnTo>
                    <a:pt x="283" y="19"/>
                  </a:lnTo>
                  <a:lnTo>
                    <a:pt x="284" y="18"/>
                  </a:lnTo>
                  <a:lnTo>
                    <a:pt x="286" y="16"/>
                  </a:lnTo>
                  <a:lnTo>
                    <a:pt x="287" y="14"/>
                  </a:lnTo>
                  <a:lnTo>
                    <a:pt x="289" y="11"/>
                  </a:lnTo>
                  <a:lnTo>
                    <a:pt x="292" y="10"/>
                  </a:lnTo>
                  <a:lnTo>
                    <a:pt x="295" y="8"/>
                  </a:lnTo>
                  <a:lnTo>
                    <a:pt x="298" y="6"/>
                  </a:lnTo>
                  <a:lnTo>
                    <a:pt x="302" y="3"/>
                  </a:lnTo>
                  <a:lnTo>
                    <a:pt x="306" y="1"/>
                  </a:lnTo>
                  <a:lnTo>
                    <a:pt x="308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0" name="Freeform 53">
              <a:extLst>
                <a:ext uri="{FF2B5EF4-FFF2-40B4-BE49-F238E27FC236}">
                  <a16:creationId xmlns:a16="http://schemas.microsoft.com/office/drawing/2014/main" id="{C5330B67-29B1-4B03-8F3E-8183B3A3F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" y="2260"/>
              <a:ext cx="596" cy="455"/>
            </a:xfrm>
            <a:custGeom>
              <a:avLst/>
              <a:gdLst>
                <a:gd name="T0" fmla="*/ 247 w 596"/>
                <a:gd name="T1" fmla="*/ 72 h 455"/>
                <a:gd name="T2" fmla="*/ 233 w 596"/>
                <a:gd name="T3" fmla="*/ 81 h 455"/>
                <a:gd name="T4" fmla="*/ 244 w 596"/>
                <a:gd name="T5" fmla="*/ 93 h 455"/>
                <a:gd name="T6" fmla="*/ 275 w 596"/>
                <a:gd name="T7" fmla="*/ 123 h 455"/>
                <a:gd name="T8" fmla="*/ 298 w 596"/>
                <a:gd name="T9" fmla="*/ 128 h 455"/>
                <a:gd name="T10" fmla="*/ 309 w 596"/>
                <a:gd name="T11" fmla="*/ 131 h 455"/>
                <a:gd name="T12" fmla="*/ 339 w 596"/>
                <a:gd name="T13" fmla="*/ 132 h 455"/>
                <a:gd name="T14" fmla="*/ 355 w 596"/>
                <a:gd name="T15" fmla="*/ 151 h 455"/>
                <a:gd name="T16" fmla="*/ 367 w 596"/>
                <a:gd name="T17" fmla="*/ 165 h 455"/>
                <a:gd name="T18" fmla="*/ 384 w 596"/>
                <a:gd name="T19" fmla="*/ 151 h 455"/>
                <a:gd name="T20" fmla="*/ 420 w 596"/>
                <a:gd name="T21" fmla="*/ 125 h 455"/>
                <a:gd name="T22" fmla="*/ 449 w 596"/>
                <a:gd name="T23" fmla="*/ 127 h 455"/>
                <a:gd name="T24" fmla="*/ 496 w 596"/>
                <a:gd name="T25" fmla="*/ 129 h 455"/>
                <a:gd name="T26" fmla="*/ 508 w 596"/>
                <a:gd name="T27" fmla="*/ 126 h 455"/>
                <a:gd name="T28" fmla="*/ 513 w 596"/>
                <a:gd name="T29" fmla="*/ 154 h 455"/>
                <a:gd name="T30" fmla="*/ 532 w 596"/>
                <a:gd name="T31" fmla="*/ 195 h 455"/>
                <a:gd name="T32" fmla="*/ 554 w 596"/>
                <a:gd name="T33" fmla="*/ 223 h 455"/>
                <a:gd name="T34" fmla="*/ 560 w 596"/>
                <a:gd name="T35" fmla="*/ 252 h 455"/>
                <a:gd name="T36" fmla="*/ 560 w 596"/>
                <a:gd name="T37" fmla="*/ 270 h 455"/>
                <a:gd name="T38" fmla="*/ 582 w 596"/>
                <a:gd name="T39" fmla="*/ 277 h 455"/>
                <a:gd name="T40" fmla="*/ 591 w 596"/>
                <a:gd name="T41" fmla="*/ 295 h 455"/>
                <a:gd name="T42" fmla="*/ 595 w 596"/>
                <a:gd name="T43" fmla="*/ 303 h 455"/>
                <a:gd name="T44" fmla="*/ 594 w 596"/>
                <a:gd name="T45" fmla="*/ 326 h 455"/>
                <a:gd name="T46" fmla="*/ 583 w 596"/>
                <a:gd name="T47" fmla="*/ 339 h 455"/>
                <a:gd name="T48" fmla="*/ 569 w 596"/>
                <a:gd name="T49" fmla="*/ 352 h 455"/>
                <a:gd name="T50" fmla="*/ 564 w 596"/>
                <a:gd name="T51" fmla="*/ 376 h 455"/>
                <a:gd name="T52" fmla="*/ 571 w 596"/>
                <a:gd name="T53" fmla="*/ 394 h 455"/>
                <a:gd name="T54" fmla="*/ 566 w 596"/>
                <a:gd name="T55" fmla="*/ 415 h 455"/>
                <a:gd name="T56" fmla="*/ 546 w 596"/>
                <a:gd name="T57" fmla="*/ 424 h 455"/>
                <a:gd name="T58" fmla="*/ 493 w 596"/>
                <a:gd name="T59" fmla="*/ 401 h 455"/>
                <a:gd name="T60" fmla="*/ 460 w 596"/>
                <a:gd name="T61" fmla="*/ 395 h 455"/>
                <a:gd name="T62" fmla="*/ 430 w 596"/>
                <a:gd name="T63" fmla="*/ 393 h 455"/>
                <a:gd name="T64" fmla="*/ 393 w 596"/>
                <a:gd name="T65" fmla="*/ 396 h 455"/>
                <a:gd name="T66" fmla="*/ 373 w 596"/>
                <a:gd name="T67" fmla="*/ 399 h 455"/>
                <a:gd name="T68" fmla="*/ 358 w 596"/>
                <a:gd name="T69" fmla="*/ 437 h 455"/>
                <a:gd name="T70" fmla="*/ 321 w 596"/>
                <a:gd name="T71" fmla="*/ 435 h 455"/>
                <a:gd name="T72" fmla="*/ 292 w 596"/>
                <a:gd name="T73" fmla="*/ 437 h 455"/>
                <a:gd name="T74" fmla="*/ 274 w 596"/>
                <a:gd name="T75" fmla="*/ 437 h 455"/>
                <a:gd name="T76" fmla="*/ 255 w 596"/>
                <a:gd name="T77" fmla="*/ 455 h 455"/>
                <a:gd name="T78" fmla="*/ 235 w 596"/>
                <a:gd name="T79" fmla="*/ 436 h 455"/>
                <a:gd name="T80" fmla="*/ 193 w 596"/>
                <a:gd name="T81" fmla="*/ 411 h 455"/>
                <a:gd name="T82" fmla="*/ 159 w 596"/>
                <a:gd name="T83" fmla="*/ 395 h 455"/>
                <a:gd name="T84" fmla="*/ 127 w 596"/>
                <a:gd name="T85" fmla="*/ 361 h 455"/>
                <a:gd name="T86" fmla="*/ 75 w 596"/>
                <a:gd name="T87" fmla="*/ 338 h 455"/>
                <a:gd name="T88" fmla="*/ 47 w 596"/>
                <a:gd name="T89" fmla="*/ 330 h 455"/>
                <a:gd name="T90" fmla="*/ 17 w 596"/>
                <a:gd name="T91" fmla="*/ 322 h 455"/>
                <a:gd name="T92" fmla="*/ 4 w 596"/>
                <a:gd name="T93" fmla="*/ 299 h 455"/>
                <a:gd name="T94" fmla="*/ 6 w 596"/>
                <a:gd name="T95" fmla="*/ 278 h 455"/>
                <a:gd name="T96" fmla="*/ 2 w 596"/>
                <a:gd name="T97" fmla="*/ 246 h 455"/>
                <a:gd name="T98" fmla="*/ 19 w 596"/>
                <a:gd name="T99" fmla="*/ 243 h 455"/>
                <a:gd name="T100" fmla="*/ 50 w 596"/>
                <a:gd name="T101" fmla="*/ 243 h 455"/>
                <a:gd name="T102" fmla="*/ 59 w 596"/>
                <a:gd name="T103" fmla="*/ 206 h 455"/>
                <a:gd name="T104" fmla="*/ 60 w 596"/>
                <a:gd name="T105" fmla="*/ 149 h 455"/>
                <a:gd name="T106" fmla="*/ 58 w 596"/>
                <a:gd name="T107" fmla="*/ 123 h 455"/>
                <a:gd name="T108" fmla="*/ 62 w 596"/>
                <a:gd name="T109" fmla="*/ 108 h 455"/>
                <a:gd name="T110" fmla="*/ 90 w 596"/>
                <a:gd name="T111" fmla="*/ 95 h 455"/>
                <a:gd name="T112" fmla="*/ 99 w 596"/>
                <a:gd name="T113" fmla="*/ 76 h 455"/>
                <a:gd name="T114" fmla="*/ 105 w 596"/>
                <a:gd name="T115" fmla="*/ 49 h 455"/>
                <a:gd name="T116" fmla="*/ 127 w 596"/>
                <a:gd name="T117" fmla="*/ 51 h 455"/>
                <a:gd name="T118" fmla="*/ 149 w 596"/>
                <a:gd name="T119" fmla="*/ 56 h 455"/>
                <a:gd name="T120" fmla="*/ 166 w 596"/>
                <a:gd name="T121" fmla="*/ 32 h 455"/>
                <a:gd name="T122" fmla="*/ 190 w 596"/>
                <a:gd name="T123" fmla="*/ 15 h 455"/>
                <a:gd name="T124" fmla="*/ 192 w 596"/>
                <a:gd name="T125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6" h="455">
                  <a:moveTo>
                    <a:pt x="227" y="44"/>
                  </a:moveTo>
                  <a:lnTo>
                    <a:pt x="232" y="52"/>
                  </a:lnTo>
                  <a:lnTo>
                    <a:pt x="234" y="55"/>
                  </a:lnTo>
                  <a:lnTo>
                    <a:pt x="237" y="59"/>
                  </a:lnTo>
                  <a:lnTo>
                    <a:pt x="241" y="63"/>
                  </a:lnTo>
                  <a:lnTo>
                    <a:pt x="243" y="65"/>
                  </a:lnTo>
                  <a:lnTo>
                    <a:pt x="245" y="68"/>
                  </a:lnTo>
                  <a:lnTo>
                    <a:pt x="246" y="70"/>
                  </a:lnTo>
                  <a:lnTo>
                    <a:pt x="247" y="72"/>
                  </a:lnTo>
                  <a:lnTo>
                    <a:pt x="247" y="73"/>
                  </a:lnTo>
                  <a:lnTo>
                    <a:pt x="247" y="74"/>
                  </a:lnTo>
                  <a:lnTo>
                    <a:pt x="246" y="75"/>
                  </a:lnTo>
                  <a:lnTo>
                    <a:pt x="245" y="75"/>
                  </a:lnTo>
                  <a:lnTo>
                    <a:pt x="244" y="76"/>
                  </a:lnTo>
                  <a:lnTo>
                    <a:pt x="241" y="77"/>
                  </a:lnTo>
                  <a:lnTo>
                    <a:pt x="237" y="79"/>
                  </a:lnTo>
                  <a:lnTo>
                    <a:pt x="235" y="80"/>
                  </a:lnTo>
                  <a:lnTo>
                    <a:pt x="233" y="81"/>
                  </a:lnTo>
                  <a:lnTo>
                    <a:pt x="232" y="82"/>
                  </a:lnTo>
                  <a:lnTo>
                    <a:pt x="232" y="83"/>
                  </a:lnTo>
                  <a:lnTo>
                    <a:pt x="231" y="83"/>
                  </a:lnTo>
                  <a:lnTo>
                    <a:pt x="232" y="84"/>
                  </a:lnTo>
                  <a:lnTo>
                    <a:pt x="232" y="85"/>
                  </a:lnTo>
                  <a:lnTo>
                    <a:pt x="233" y="86"/>
                  </a:lnTo>
                  <a:lnTo>
                    <a:pt x="235" y="86"/>
                  </a:lnTo>
                  <a:lnTo>
                    <a:pt x="241" y="90"/>
                  </a:lnTo>
                  <a:lnTo>
                    <a:pt x="244" y="93"/>
                  </a:lnTo>
                  <a:lnTo>
                    <a:pt x="248" y="95"/>
                  </a:lnTo>
                  <a:lnTo>
                    <a:pt x="250" y="97"/>
                  </a:lnTo>
                  <a:lnTo>
                    <a:pt x="251" y="97"/>
                  </a:lnTo>
                  <a:lnTo>
                    <a:pt x="254" y="101"/>
                  </a:lnTo>
                  <a:lnTo>
                    <a:pt x="265" y="114"/>
                  </a:lnTo>
                  <a:lnTo>
                    <a:pt x="267" y="117"/>
                  </a:lnTo>
                  <a:lnTo>
                    <a:pt x="269" y="119"/>
                  </a:lnTo>
                  <a:lnTo>
                    <a:pt x="273" y="121"/>
                  </a:lnTo>
                  <a:lnTo>
                    <a:pt x="275" y="123"/>
                  </a:lnTo>
                  <a:lnTo>
                    <a:pt x="277" y="125"/>
                  </a:lnTo>
                  <a:lnTo>
                    <a:pt x="280" y="126"/>
                  </a:lnTo>
                  <a:lnTo>
                    <a:pt x="282" y="127"/>
                  </a:lnTo>
                  <a:lnTo>
                    <a:pt x="283" y="128"/>
                  </a:lnTo>
                  <a:lnTo>
                    <a:pt x="286" y="128"/>
                  </a:lnTo>
                  <a:lnTo>
                    <a:pt x="290" y="129"/>
                  </a:lnTo>
                  <a:lnTo>
                    <a:pt x="293" y="129"/>
                  </a:lnTo>
                  <a:lnTo>
                    <a:pt x="296" y="128"/>
                  </a:lnTo>
                  <a:lnTo>
                    <a:pt x="298" y="128"/>
                  </a:lnTo>
                  <a:lnTo>
                    <a:pt x="300" y="127"/>
                  </a:lnTo>
                  <a:lnTo>
                    <a:pt x="304" y="125"/>
                  </a:lnTo>
                  <a:lnTo>
                    <a:pt x="305" y="125"/>
                  </a:lnTo>
                  <a:lnTo>
                    <a:pt x="306" y="125"/>
                  </a:lnTo>
                  <a:lnTo>
                    <a:pt x="307" y="125"/>
                  </a:lnTo>
                  <a:lnTo>
                    <a:pt x="307" y="126"/>
                  </a:lnTo>
                  <a:lnTo>
                    <a:pt x="308" y="128"/>
                  </a:lnTo>
                  <a:lnTo>
                    <a:pt x="309" y="130"/>
                  </a:lnTo>
                  <a:lnTo>
                    <a:pt x="309" y="131"/>
                  </a:lnTo>
                  <a:lnTo>
                    <a:pt x="311" y="131"/>
                  </a:lnTo>
                  <a:lnTo>
                    <a:pt x="313" y="131"/>
                  </a:lnTo>
                  <a:lnTo>
                    <a:pt x="316" y="131"/>
                  </a:lnTo>
                  <a:lnTo>
                    <a:pt x="321" y="131"/>
                  </a:lnTo>
                  <a:lnTo>
                    <a:pt x="327" y="131"/>
                  </a:lnTo>
                  <a:lnTo>
                    <a:pt x="330" y="131"/>
                  </a:lnTo>
                  <a:lnTo>
                    <a:pt x="332" y="131"/>
                  </a:lnTo>
                  <a:lnTo>
                    <a:pt x="336" y="132"/>
                  </a:lnTo>
                  <a:lnTo>
                    <a:pt x="339" y="132"/>
                  </a:lnTo>
                  <a:lnTo>
                    <a:pt x="341" y="133"/>
                  </a:lnTo>
                  <a:lnTo>
                    <a:pt x="343" y="134"/>
                  </a:lnTo>
                  <a:lnTo>
                    <a:pt x="344" y="135"/>
                  </a:lnTo>
                  <a:lnTo>
                    <a:pt x="346" y="137"/>
                  </a:lnTo>
                  <a:lnTo>
                    <a:pt x="348" y="139"/>
                  </a:lnTo>
                  <a:lnTo>
                    <a:pt x="349" y="141"/>
                  </a:lnTo>
                  <a:lnTo>
                    <a:pt x="351" y="143"/>
                  </a:lnTo>
                  <a:lnTo>
                    <a:pt x="353" y="146"/>
                  </a:lnTo>
                  <a:lnTo>
                    <a:pt x="355" y="151"/>
                  </a:lnTo>
                  <a:lnTo>
                    <a:pt x="357" y="158"/>
                  </a:lnTo>
                  <a:lnTo>
                    <a:pt x="359" y="160"/>
                  </a:lnTo>
                  <a:lnTo>
                    <a:pt x="360" y="161"/>
                  </a:lnTo>
                  <a:lnTo>
                    <a:pt x="361" y="163"/>
                  </a:lnTo>
                  <a:lnTo>
                    <a:pt x="362" y="164"/>
                  </a:lnTo>
                  <a:lnTo>
                    <a:pt x="364" y="164"/>
                  </a:lnTo>
                  <a:lnTo>
                    <a:pt x="365" y="165"/>
                  </a:lnTo>
                  <a:lnTo>
                    <a:pt x="366" y="165"/>
                  </a:lnTo>
                  <a:lnTo>
                    <a:pt x="367" y="165"/>
                  </a:lnTo>
                  <a:lnTo>
                    <a:pt x="368" y="165"/>
                  </a:lnTo>
                  <a:lnTo>
                    <a:pt x="370" y="165"/>
                  </a:lnTo>
                  <a:lnTo>
                    <a:pt x="371" y="164"/>
                  </a:lnTo>
                  <a:lnTo>
                    <a:pt x="372" y="164"/>
                  </a:lnTo>
                  <a:lnTo>
                    <a:pt x="374" y="163"/>
                  </a:lnTo>
                  <a:lnTo>
                    <a:pt x="375" y="162"/>
                  </a:lnTo>
                  <a:lnTo>
                    <a:pt x="377" y="160"/>
                  </a:lnTo>
                  <a:lnTo>
                    <a:pt x="381" y="154"/>
                  </a:lnTo>
                  <a:lnTo>
                    <a:pt x="384" y="151"/>
                  </a:lnTo>
                  <a:lnTo>
                    <a:pt x="388" y="146"/>
                  </a:lnTo>
                  <a:lnTo>
                    <a:pt x="393" y="142"/>
                  </a:lnTo>
                  <a:lnTo>
                    <a:pt x="398" y="139"/>
                  </a:lnTo>
                  <a:lnTo>
                    <a:pt x="404" y="134"/>
                  </a:lnTo>
                  <a:lnTo>
                    <a:pt x="411" y="130"/>
                  </a:lnTo>
                  <a:lnTo>
                    <a:pt x="413" y="128"/>
                  </a:lnTo>
                  <a:lnTo>
                    <a:pt x="415" y="127"/>
                  </a:lnTo>
                  <a:lnTo>
                    <a:pt x="417" y="126"/>
                  </a:lnTo>
                  <a:lnTo>
                    <a:pt x="420" y="125"/>
                  </a:lnTo>
                  <a:lnTo>
                    <a:pt x="422" y="124"/>
                  </a:lnTo>
                  <a:lnTo>
                    <a:pt x="424" y="123"/>
                  </a:lnTo>
                  <a:lnTo>
                    <a:pt x="427" y="123"/>
                  </a:lnTo>
                  <a:lnTo>
                    <a:pt x="430" y="122"/>
                  </a:lnTo>
                  <a:lnTo>
                    <a:pt x="433" y="122"/>
                  </a:lnTo>
                  <a:lnTo>
                    <a:pt x="435" y="123"/>
                  </a:lnTo>
                  <a:lnTo>
                    <a:pt x="437" y="123"/>
                  </a:lnTo>
                  <a:lnTo>
                    <a:pt x="446" y="126"/>
                  </a:lnTo>
                  <a:lnTo>
                    <a:pt x="449" y="127"/>
                  </a:lnTo>
                  <a:lnTo>
                    <a:pt x="451" y="127"/>
                  </a:lnTo>
                  <a:lnTo>
                    <a:pt x="457" y="128"/>
                  </a:lnTo>
                  <a:lnTo>
                    <a:pt x="468" y="130"/>
                  </a:lnTo>
                  <a:lnTo>
                    <a:pt x="471" y="130"/>
                  </a:lnTo>
                  <a:lnTo>
                    <a:pt x="476" y="130"/>
                  </a:lnTo>
                  <a:lnTo>
                    <a:pt x="480" y="130"/>
                  </a:lnTo>
                  <a:lnTo>
                    <a:pt x="485" y="130"/>
                  </a:lnTo>
                  <a:lnTo>
                    <a:pt x="491" y="130"/>
                  </a:lnTo>
                  <a:lnTo>
                    <a:pt x="496" y="129"/>
                  </a:lnTo>
                  <a:lnTo>
                    <a:pt x="500" y="128"/>
                  </a:lnTo>
                  <a:lnTo>
                    <a:pt x="502" y="127"/>
                  </a:lnTo>
                  <a:lnTo>
                    <a:pt x="503" y="126"/>
                  </a:lnTo>
                  <a:lnTo>
                    <a:pt x="504" y="126"/>
                  </a:lnTo>
                  <a:lnTo>
                    <a:pt x="505" y="125"/>
                  </a:lnTo>
                  <a:lnTo>
                    <a:pt x="506" y="123"/>
                  </a:lnTo>
                  <a:lnTo>
                    <a:pt x="507" y="122"/>
                  </a:lnTo>
                  <a:lnTo>
                    <a:pt x="508" y="121"/>
                  </a:lnTo>
                  <a:lnTo>
                    <a:pt x="508" y="126"/>
                  </a:lnTo>
                  <a:lnTo>
                    <a:pt x="508" y="129"/>
                  </a:lnTo>
                  <a:lnTo>
                    <a:pt x="508" y="132"/>
                  </a:lnTo>
                  <a:lnTo>
                    <a:pt x="508" y="138"/>
                  </a:lnTo>
                  <a:lnTo>
                    <a:pt x="508" y="142"/>
                  </a:lnTo>
                  <a:lnTo>
                    <a:pt x="509" y="145"/>
                  </a:lnTo>
                  <a:lnTo>
                    <a:pt x="510" y="148"/>
                  </a:lnTo>
                  <a:lnTo>
                    <a:pt x="511" y="151"/>
                  </a:lnTo>
                  <a:lnTo>
                    <a:pt x="512" y="153"/>
                  </a:lnTo>
                  <a:lnTo>
                    <a:pt x="513" y="154"/>
                  </a:lnTo>
                  <a:lnTo>
                    <a:pt x="518" y="163"/>
                  </a:lnTo>
                  <a:lnTo>
                    <a:pt x="519" y="165"/>
                  </a:lnTo>
                  <a:lnTo>
                    <a:pt x="521" y="167"/>
                  </a:lnTo>
                  <a:lnTo>
                    <a:pt x="521" y="169"/>
                  </a:lnTo>
                  <a:lnTo>
                    <a:pt x="523" y="172"/>
                  </a:lnTo>
                  <a:lnTo>
                    <a:pt x="525" y="180"/>
                  </a:lnTo>
                  <a:lnTo>
                    <a:pt x="526" y="184"/>
                  </a:lnTo>
                  <a:lnTo>
                    <a:pt x="529" y="190"/>
                  </a:lnTo>
                  <a:lnTo>
                    <a:pt x="532" y="195"/>
                  </a:lnTo>
                  <a:lnTo>
                    <a:pt x="533" y="198"/>
                  </a:lnTo>
                  <a:lnTo>
                    <a:pt x="535" y="199"/>
                  </a:lnTo>
                  <a:lnTo>
                    <a:pt x="540" y="206"/>
                  </a:lnTo>
                  <a:lnTo>
                    <a:pt x="544" y="210"/>
                  </a:lnTo>
                  <a:lnTo>
                    <a:pt x="550" y="218"/>
                  </a:lnTo>
                  <a:lnTo>
                    <a:pt x="552" y="220"/>
                  </a:lnTo>
                  <a:lnTo>
                    <a:pt x="553" y="221"/>
                  </a:lnTo>
                  <a:lnTo>
                    <a:pt x="554" y="222"/>
                  </a:lnTo>
                  <a:lnTo>
                    <a:pt x="554" y="223"/>
                  </a:lnTo>
                  <a:lnTo>
                    <a:pt x="555" y="225"/>
                  </a:lnTo>
                  <a:lnTo>
                    <a:pt x="556" y="228"/>
                  </a:lnTo>
                  <a:lnTo>
                    <a:pt x="557" y="234"/>
                  </a:lnTo>
                  <a:lnTo>
                    <a:pt x="557" y="237"/>
                  </a:lnTo>
                  <a:lnTo>
                    <a:pt x="558" y="239"/>
                  </a:lnTo>
                  <a:lnTo>
                    <a:pt x="560" y="246"/>
                  </a:lnTo>
                  <a:lnTo>
                    <a:pt x="560" y="248"/>
                  </a:lnTo>
                  <a:lnTo>
                    <a:pt x="560" y="250"/>
                  </a:lnTo>
                  <a:lnTo>
                    <a:pt x="560" y="252"/>
                  </a:lnTo>
                  <a:lnTo>
                    <a:pt x="560" y="255"/>
                  </a:lnTo>
                  <a:lnTo>
                    <a:pt x="560" y="257"/>
                  </a:lnTo>
                  <a:lnTo>
                    <a:pt x="559" y="262"/>
                  </a:lnTo>
                  <a:lnTo>
                    <a:pt x="558" y="265"/>
                  </a:lnTo>
                  <a:lnTo>
                    <a:pt x="558" y="267"/>
                  </a:lnTo>
                  <a:lnTo>
                    <a:pt x="558" y="267"/>
                  </a:lnTo>
                  <a:lnTo>
                    <a:pt x="558" y="268"/>
                  </a:lnTo>
                  <a:lnTo>
                    <a:pt x="559" y="269"/>
                  </a:lnTo>
                  <a:lnTo>
                    <a:pt x="560" y="270"/>
                  </a:lnTo>
                  <a:lnTo>
                    <a:pt x="560" y="270"/>
                  </a:lnTo>
                  <a:lnTo>
                    <a:pt x="561" y="270"/>
                  </a:lnTo>
                  <a:lnTo>
                    <a:pt x="566" y="271"/>
                  </a:lnTo>
                  <a:lnTo>
                    <a:pt x="569" y="271"/>
                  </a:lnTo>
                  <a:lnTo>
                    <a:pt x="572" y="272"/>
                  </a:lnTo>
                  <a:lnTo>
                    <a:pt x="575" y="274"/>
                  </a:lnTo>
                  <a:lnTo>
                    <a:pt x="577" y="275"/>
                  </a:lnTo>
                  <a:lnTo>
                    <a:pt x="580" y="276"/>
                  </a:lnTo>
                  <a:lnTo>
                    <a:pt x="582" y="277"/>
                  </a:lnTo>
                  <a:lnTo>
                    <a:pt x="583" y="278"/>
                  </a:lnTo>
                  <a:lnTo>
                    <a:pt x="585" y="280"/>
                  </a:lnTo>
                  <a:lnTo>
                    <a:pt x="587" y="283"/>
                  </a:lnTo>
                  <a:lnTo>
                    <a:pt x="589" y="286"/>
                  </a:lnTo>
                  <a:lnTo>
                    <a:pt x="590" y="288"/>
                  </a:lnTo>
                  <a:lnTo>
                    <a:pt x="591" y="291"/>
                  </a:lnTo>
                  <a:lnTo>
                    <a:pt x="591" y="292"/>
                  </a:lnTo>
                  <a:lnTo>
                    <a:pt x="591" y="293"/>
                  </a:lnTo>
                  <a:lnTo>
                    <a:pt x="591" y="295"/>
                  </a:lnTo>
                  <a:lnTo>
                    <a:pt x="591" y="296"/>
                  </a:lnTo>
                  <a:lnTo>
                    <a:pt x="591" y="297"/>
                  </a:lnTo>
                  <a:lnTo>
                    <a:pt x="590" y="297"/>
                  </a:lnTo>
                  <a:lnTo>
                    <a:pt x="593" y="299"/>
                  </a:lnTo>
                  <a:lnTo>
                    <a:pt x="594" y="300"/>
                  </a:lnTo>
                  <a:lnTo>
                    <a:pt x="594" y="301"/>
                  </a:lnTo>
                  <a:lnTo>
                    <a:pt x="595" y="301"/>
                  </a:lnTo>
                  <a:lnTo>
                    <a:pt x="595" y="302"/>
                  </a:lnTo>
                  <a:lnTo>
                    <a:pt x="595" y="303"/>
                  </a:lnTo>
                  <a:lnTo>
                    <a:pt x="596" y="304"/>
                  </a:lnTo>
                  <a:lnTo>
                    <a:pt x="595" y="305"/>
                  </a:lnTo>
                  <a:lnTo>
                    <a:pt x="595" y="308"/>
                  </a:lnTo>
                  <a:lnTo>
                    <a:pt x="594" y="311"/>
                  </a:lnTo>
                  <a:lnTo>
                    <a:pt x="594" y="316"/>
                  </a:lnTo>
                  <a:lnTo>
                    <a:pt x="594" y="322"/>
                  </a:lnTo>
                  <a:lnTo>
                    <a:pt x="594" y="323"/>
                  </a:lnTo>
                  <a:lnTo>
                    <a:pt x="594" y="325"/>
                  </a:lnTo>
                  <a:lnTo>
                    <a:pt x="594" y="326"/>
                  </a:lnTo>
                  <a:lnTo>
                    <a:pt x="594" y="328"/>
                  </a:lnTo>
                  <a:lnTo>
                    <a:pt x="593" y="329"/>
                  </a:lnTo>
                  <a:lnTo>
                    <a:pt x="592" y="332"/>
                  </a:lnTo>
                  <a:lnTo>
                    <a:pt x="590" y="334"/>
                  </a:lnTo>
                  <a:lnTo>
                    <a:pt x="589" y="335"/>
                  </a:lnTo>
                  <a:lnTo>
                    <a:pt x="586" y="336"/>
                  </a:lnTo>
                  <a:lnTo>
                    <a:pt x="585" y="336"/>
                  </a:lnTo>
                  <a:lnTo>
                    <a:pt x="583" y="338"/>
                  </a:lnTo>
                  <a:lnTo>
                    <a:pt x="583" y="339"/>
                  </a:lnTo>
                  <a:lnTo>
                    <a:pt x="582" y="340"/>
                  </a:lnTo>
                  <a:lnTo>
                    <a:pt x="582" y="341"/>
                  </a:lnTo>
                  <a:lnTo>
                    <a:pt x="582" y="342"/>
                  </a:lnTo>
                  <a:lnTo>
                    <a:pt x="582" y="343"/>
                  </a:lnTo>
                  <a:lnTo>
                    <a:pt x="579" y="345"/>
                  </a:lnTo>
                  <a:lnTo>
                    <a:pt x="576" y="346"/>
                  </a:lnTo>
                  <a:lnTo>
                    <a:pt x="574" y="347"/>
                  </a:lnTo>
                  <a:lnTo>
                    <a:pt x="571" y="349"/>
                  </a:lnTo>
                  <a:lnTo>
                    <a:pt x="569" y="352"/>
                  </a:lnTo>
                  <a:lnTo>
                    <a:pt x="568" y="354"/>
                  </a:lnTo>
                  <a:lnTo>
                    <a:pt x="566" y="356"/>
                  </a:lnTo>
                  <a:lnTo>
                    <a:pt x="565" y="357"/>
                  </a:lnTo>
                  <a:lnTo>
                    <a:pt x="565" y="360"/>
                  </a:lnTo>
                  <a:lnTo>
                    <a:pt x="564" y="362"/>
                  </a:lnTo>
                  <a:lnTo>
                    <a:pt x="564" y="364"/>
                  </a:lnTo>
                  <a:lnTo>
                    <a:pt x="564" y="370"/>
                  </a:lnTo>
                  <a:lnTo>
                    <a:pt x="564" y="374"/>
                  </a:lnTo>
                  <a:lnTo>
                    <a:pt x="564" y="376"/>
                  </a:lnTo>
                  <a:lnTo>
                    <a:pt x="565" y="378"/>
                  </a:lnTo>
                  <a:lnTo>
                    <a:pt x="566" y="380"/>
                  </a:lnTo>
                  <a:lnTo>
                    <a:pt x="568" y="382"/>
                  </a:lnTo>
                  <a:lnTo>
                    <a:pt x="571" y="387"/>
                  </a:lnTo>
                  <a:lnTo>
                    <a:pt x="573" y="390"/>
                  </a:lnTo>
                  <a:lnTo>
                    <a:pt x="574" y="391"/>
                  </a:lnTo>
                  <a:lnTo>
                    <a:pt x="575" y="393"/>
                  </a:lnTo>
                  <a:lnTo>
                    <a:pt x="572" y="394"/>
                  </a:lnTo>
                  <a:lnTo>
                    <a:pt x="571" y="394"/>
                  </a:lnTo>
                  <a:lnTo>
                    <a:pt x="571" y="395"/>
                  </a:lnTo>
                  <a:lnTo>
                    <a:pt x="571" y="396"/>
                  </a:lnTo>
                  <a:lnTo>
                    <a:pt x="569" y="399"/>
                  </a:lnTo>
                  <a:lnTo>
                    <a:pt x="568" y="401"/>
                  </a:lnTo>
                  <a:lnTo>
                    <a:pt x="567" y="403"/>
                  </a:lnTo>
                  <a:lnTo>
                    <a:pt x="567" y="405"/>
                  </a:lnTo>
                  <a:lnTo>
                    <a:pt x="566" y="407"/>
                  </a:lnTo>
                  <a:lnTo>
                    <a:pt x="566" y="410"/>
                  </a:lnTo>
                  <a:lnTo>
                    <a:pt x="566" y="415"/>
                  </a:lnTo>
                  <a:lnTo>
                    <a:pt x="565" y="421"/>
                  </a:lnTo>
                  <a:lnTo>
                    <a:pt x="565" y="423"/>
                  </a:lnTo>
                  <a:lnTo>
                    <a:pt x="565" y="425"/>
                  </a:lnTo>
                  <a:lnTo>
                    <a:pt x="564" y="425"/>
                  </a:lnTo>
                  <a:lnTo>
                    <a:pt x="560" y="425"/>
                  </a:lnTo>
                  <a:lnTo>
                    <a:pt x="557" y="425"/>
                  </a:lnTo>
                  <a:lnTo>
                    <a:pt x="553" y="425"/>
                  </a:lnTo>
                  <a:lnTo>
                    <a:pt x="549" y="425"/>
                  </a:lnTo>
                  <a:lnTo>
                    <a:pt x="546" y="424"/>
                  </a:lnTo>
                  <a:lnTo>
                    <a:pt x="542" y="423"/>
                  </a:lnTo>
                  <a:lnTo>
                    <a:pt x="537" y="421"/>
                  </a:lnTo>
                  <a:lnTo>
                    <a:pt x="533" y="420"/>
                  </a:lnTo>
                  <a:lnTo>
                    <a:pt x="529" y="418"/>
                  </a:lnTo>
                  <a:lnTo>
                    <a:pt x="525" y="416"/>
                  </a:lnTo>
                  <a:lnTo>
                    <a:pt x="520" y="414"/>
                  </a:lnTo>
                  <a:lnTo>
                    <a:pt x="503" y="405"/>
                  </a:lnTo>
                  <a:lnTo>
                    <a:pt x="496" y="403"/>
                  </a:lnTo>
                  <a:lnTo>
                    <a:pt x="493" y="401"/>
                  </a:lnTo>
                  <a:lnTo>
                    <a:pt x="490" y="400"/>
                  </a:lnTo>
                  <a:lnTo>
                    <a:pt x="487" y="399"/>
                  </a:lnTo>
                  <a:lnTo>
                    <a:pt x="482" y="398"/>
                  </a:lnTo>
                  <a:lnTo>
                    <a:pt x="480" y="397"/>
                  </a:lnTo>
                  <a:lnTo>
                    <a:pt x="478" y="397"/>
                  </a:lnTo>
                  <a:lnTo>
                    <a:pt x="470" y="396"/>
                  </a:lnTo>
                  <a:lnTo>
                    <a:pt x="465" y="395"/>
                  </a:lnTo>
                  <a:lnTo>
                    <a:pt x="462" y="395"/>
                  </a:lnTo>
                  <a:lnTo>
                    <a:pt x="460" y="395"/>
                  </a:lnTo>
                  <a:lnTo>
                    <a:pt x="457" y="396"/>
                  </a:lnTo>
                  <a:lnTo>
                    <a:pt x="450" y="397"/>
                  </a:lnTo>
                  <a:lnTo>
                    <a:pt x="448" y="397"/>
                  </a:lnTo>
                  <a:lnTo>
                    <a:pt x="446" y="397"/>
                  </a:lnTo>
                  <a:lnTo>
                    <a:pt x="445" y="397"/>
                  </a:lnTo>
                  <a:lnTo>
                    <a:pt x="443" y="397"/>
                  </a:lnTo>
                  <a:lnTo>
                    <a:pt x="436" y="394"/>
                  </a:lnTo>
                  <a:lnTo>
                    <a:pt x="434" y="394"/>
                  </a:lnTo>
                  <a:lnTo>
                    <a:pt x="430" y="393"/>
                  </a:lnTo>
                  <a:lnTo>
                    <a:pt x="427" y="393"/>
                  </a:lnTo>
                  <a:lnTo>
                    <a:pt x="426" y="393"/>
                  </a:lnTo>
                  <a:lnTo>
                    <a:pt x="424" y="393"/>
                  </a:lnTo>
                  <a:lnTo>
                    <a:pt x="417" y="396"/>
                  </a:lnTo>
                  <a:lnTo>
                    <a:pt x="413" y="397"/>
                  </a:lnTo>
                  <a:lnTo>
                    <a:pt x="410" y="397"/>
                  </a:lnTo>
                  <a:lnTo>
                    <a:pt x="405" y="397"/>
                  </a:lnTo>
                  <a:lnTo>
                    <a:pt x="398" y="397"/>
                  </a:lnTo>
                  <a:lnTo>
                    <a:pt x="393" y="396"/>
                  </a:lnTo>
                  <a:lnTo>
                    <a:pt x="389" y="395"/>
                  </a:lnTo>
                  <a:lnTo>
                    <a:pt x="382" y="393"/>
                  </a:lnTo>
                  <a:lnTo>
                    <a:pt x="378" y="392"/>
                  </a:lnTo>
                  <a:lnTo>
                    <a:pt x="378" y="392"/>
                  </a:lnTo>
                  <a:lnTo>
                    <a:pt x="377" y="392"/>
                  </a:lnTo>
                  <a:lnTo>
                    <a:pt x="376" y="392"/>
                  </a:lnTo>
                  <a:lnTo>
                    <a:pt x="375" y="393"/>
                  </a:lnTo>
                  <a:lnTo>
                    <a:pt x="374" y="395"/>
                  </a:lnTo>
                  <a:lnTo>
                    <a:pt x="373" y="399"/>
                  </a:lnTo>
                  <a:lnTo>
                    <a:pt x="371" y="404"/>
                  </a:lnTo>
                  <a:lnTo>
                    <a:pt x="366" y="425"/>
                  </a:lnTo>
                  <a:lnTo>
                    <a:pt x="365" y="427"/>
                  </a:lnTo>
                  <a:lnTo>
                    <a:pt x="364" y="431"/>
                  </a:lnTo>
                  <a:lnTo>
                    <a:pt x="363" y="433"/>
                  </a:lnTo>
                  <a:lnTo>
                    <a:pt x="362" y="434"/>
                  </a:lnTo>
                  <a:lnTo>
                    <a:pt x="361" y="436"/>
                  </a:lnTo>
                  <a:lnTo>
                    <a:pt x="359" y="437"/>
                  </a:lnTo>
                  <a:lnTo>
                    <a:pt x="358" y="437"/>
                  </a:lnTo>
                  <a:lnTo>
                    <a:pt x="356" y="437"/>
                  </a:lnTo>
                  <a:lnTo>
                    <a:pt x="353" y="437"/>
                  </a:lnTo>
                  <a:lnTo>
                    <a:pt x="349" y="438"/>
                  </a:lnTo>
                  <a:lnTo>
                    <a:pt x="344" y="438"/>
                  </a:lnTo>
                  <a:lnTo>
                    <a:pt x="341" y="437"/>
                  </a:lnTo>
                  <a:lnTo>
                    <a:pt x="337" y="437"/>
                  </a:lnTo>
                  <a:lnTo>
                    <a:pt x="326" y="435"/>
                  </a:lnTo>
                  <a:lnTo>
                    <a:pt x="324" y="435"/>
                  </a:lnTo>
                  <a:lnTo>
                    <a:pt x="321" y="435"/>
                  </a:lnTo>
                  <a:lnTo>
                    <a:pt x="320" y="435"/>
                  </a:lnTo>
                  <a:lnTo>
                    <a:pt x="318" y="436"/>
                  </a:lnTo>
                  <a:lnTo>
                    <a:pt x="310" y="437"/>
                  </a:lnTo>
                  <a:lnTo>
                    <a:pt x="306" y="437"/>
                  </a:lnTo>
                  <a:lnTo>
                    <a:pt x="300" y="438"/>
                  </a:lnTo>
                  <a:lnTo>
                    <a:pt x="298" y="438"/>
                  </a:lnTo>
                  <a:lnTo>
                    <a:pt x="296" y="438"/>
                  </a:lnTo>
                  <a:lnTo>
                    <a:pt x="294" y="437"/>
                  </a:lnTo>
                  <a:lnTo>
                    <a:pt x="292" y="437"/>
                  </a:lnTo>
                  <a:lnTo>
                    <a:pt x="289" y="436"/>
                  </a:lnTo>
                  <a:lnTo>
                    <a:pt x="287" y="435"/>
                  </a:lnTo>
                  <a:lnTo>
                    <a:pt x="287" y="435"/>
                  </a:lnTo>
                  <a:lnTo>
                    <a:pt x="285" y="435"/>
                  </a:lnTo>
                  <a:lnTo>
                    <a:pt x="284" y="435"/>
                  </a:lnTo>
                  <a:lnTo>
                    <a:pt x="282" y="435"/>
                  </a:lnTo>
                  <a:lnTo>
                    <a:pt x="280" y="436"/>
                  </a:lnTo>
                  <a:lnTo>
                    <a:pt x="277" y="437"/>
                  </a:lnTo>
                  <a:lnTo>
                    <a:pt x="274" y="437"/>
                  </a:lnTo>
                  <a:lnTo>
                    <a:pt x="272" y="439"/>
                  </a:lnTo>
                  <a:lnTo>
                    <a:pt x="271" y="440"/>
                  </a:lnTo>
                  <a:lnTo>
                    <a:pt x="270" y="441"/>
                  </a:lnTo>
                  <a:lnTo>
                    <a:pt x="265" y="447"/>
                  </a:lnTo>
                  <a:lnTo>
                    <a:pt x="264" y="448"/>
                  </a:lnTo>
                  <a:lnTo>
                    <a:pt x="260" y="452"/>
                  </a:lnTo>
                  <a:lnTo>
                    <a:pt x="258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4" y="455"/>
                  </a:lnTo>
                  <a:lnTo>
                    <a:pt x="253" y="455"/>
                  </a:lnTo>
                  <a:lnTo>
                    <a:pt x="253" y="455"/>
                  </a:lnTo>
                  <a:lnTo>
                    <a:pt x="251" y="455"/>
                  </a:lnTo>
                  <a:lnTo>
                    <a:pt x="250" y="455"/>
                  </a:lnTo>
                  <a:lnTo>
                    <a:pt x="250" y="454"/>
                  </a:lnTo>
                  <a:lnTo>
                    <a:pt x="249" y="454"/>
                  </a:lnTo>
                  <a:lnTo>
                    <a:pt x="238" y="439"/>
                  </a:lnTo>
                  <a:lnTo>
                    <a:pt x="235" y="436"/>
                  </a:lnTo>
                  <a:lnTo>
                    <a:pt x="233" y="433"/>
                  </a:lnTo>
                  <a:lnTo>
                    <a:pt x="230" y="431"/>
                  </a:lnTo>
                  <a:lnTo>
                    <a:pt x="228" y="429"/>
                  </a:lnTo>
                  <a:lnTo>
                    <a:pt x="221" y="425"/>
                  </a:lnTo>
                  <a:lnTo>
                    <a:pt x="213" y="419"/>
                  </a:lnTo>
                  <a:lnTo>
                    <a:pt x="209" y="417"/>
                  </a:lnTo>
                  <a:lnTo>
                    <a:pt x="206" y="415"/>
                  </a:lnTo>
                  <a:lnTo>
                    <a:pt x="202" y="414"/>
                  </a:lnTo>
                  <a:lnTo>
                    <a:pt x="193" y="411"/>
                  </a:lnTo>
                  <a:lnTo>
                    <a:pt x="183" y="408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5"/>
                  </a:lnTo>
                  <a:lnTo>
                    <a:pt x="171" y="404"/>
                  </a:lnTo>
                  <a:lnTo>
                    <a:pt x="169" y="403"/>
                  </a:lnTo>
                  <a:lnTo>
                    <a:pt x="166" y="402"/>
                  </a:lnTo>
                  <a:lnTo>
                    <a:pt x="162" y="399"/>
                  </a:lnTo>
                  <a:lnTo>
                    <a:pt x="159" y="395"/>
                  </a:lnTo>
                  <a:lnTo>
                    <a:pt x="157" y="393"/>
                  </a:lnTo>
                  <a:lnTo>
                    <a:pt x="153" y="388"/>
                  </a:lnTo>
                  <a:lnTo>
                    <a:pt x="151" y="385"/>
                  </a:lnTo>
                  <a:lnTo>
                    <a:pt x="148" y="381"/>
                  </a:lnTo>
                  <a:lnTo>
                    <a:pt x="139" y="371"/>
                  </a:lnTo>
                  <a:lnTo>
                    <a:pt x="136" y="368"/>
                  </a:lnTo>
                  <a:lnTo>
                    <a:pt x="132" y="365"/>
                  </a:lnTo>
                  <a:lnTo>
                    <a:pt x="129" y="363"/>
                  </a:lnTo>
                  <a:lnTo>
                    <a:pt x="127" y="361"/>
                  </a:lnTo>
                  <a:lnTo>
                    <a:pt x="122" y="358"/>
                  </a:lnTo>
                  <a:lnTo>
                    <a:pt x="118" y="357"/>
                  </a:lnTo>
                  <a:lnTo>
                    <a:pt x="116" y="355"/>
                  </a:lnTo>
                  <a:lnTo>
                    <a:pt x="107" y="352"/>
                  </a:lnTo>
                  <a:lnTo>
                    <a:pt x="96" y="346"/>
                  </a:lnTo>
                  <a:lnTo>
                    <a:pt x="94" y="345"/>
                  </a:lnTo>
                  <a:lnTo>
                    <a:pt x="93" y="344"/>
                  </a:lnTo>
                  <a:lnTo>
                    <a:pt x="85" y="342"/>
                  </a:lnTo>
                  <a:lnTo>
                    <a:pt x="75" y="338"/>
                  </a:lnTo>
                  <a:lnTo>
                    <a:pt x="67" y="336"/>
                  </a:lnTo>
                  <a:lnTo>
                    <a:pt x="65" y="336"/>
                  </a:lnTo>
                  <a:lnTo>
                    <a:pt x="63" y="335"/>
                  </a:lnTo>
                  <a:lnTo>
                    <a:pt x="59" y="333"/>
                  </a:lnTo>
                  <a:lnTo>
                    <a:pt x="56" y="332"/>
                  </a:lnTo>
                  <a:lnTo>
                    <a:pt x="53" y="332"/>
                  </a:lnTo>
                  <a:lnTo>
                    <a:pt x="51" y="331"/>
                  </a:lnTo>
                  <a:lnTo>
                    <a:pt x="48" y="330"/>
                  </a:lnTo>
                  <a:lnTo>
                    <a:pt x="47" y="330"/>
                  </a:lnTo>
                  <a:lnTo>
                    <a:pt x="34" y="330"/>
                  </a:lnTo>
                  <a:lnTo>
                    <a:pt x="30" y="330"/>
                  </a:lnTo>
                  <a:lnTo>
                    <a:pt x="29" y="329"/>
                  </a:lnTo>
                  <a:lnTo>
                    <a:pt x="27" y="329"/>
                  </a:lnTo>
                  <a:lnTo>
                    <a:pt x="25" y="328"/>
                  </a:lnTo>
                  <a:lnTo>
                    <a:pt x="24" y="327"/>
                  </a:lnTo>
                  <a:lnTo>
                    <a:pt x="21" y="325"/>
                  </a:lnTo>
                  <a:lnTo>
                    <a:pt x="19" y="323"/>
                  </a:lnTo>
                  <a:lnTo>
                    <a:pt x="17" y="322"/>
                  </a:lnTo>
                  <a:lnTo>
                    <a:pt x="14" y="319"/>
                  </a:lnTo>
                  <a:lnTo>
                    <a:pt x="12" y="315"/>
                  </a:lnTo>
                  <a:lnTo>
                    <a:pt x="5" y="307"/>
                  </a:lnTo>
                  <a:lnTo>
                    <a:pt x="2" y="302"/>
                  </a:lnTo>
                  <a:lnTo>
                    <a:pt x="1" y="301"/>
                  </a:lnTo>
                  <a:lnTo>
                    <a:pt x="0" y="300"/>
                  </a:lnTo>
                  <a:lnTo>
                    <a:pt x="1" y="300"/>
                  </a:lnTo>
                  <a:lnTo>
                    <a:pt x="2" y="299"/>
                  </a:lnTo>
                  <a:lnTo>
                    <a:pt x="4" y="299"/>
                  </a:lnTo>
                  <a:lnTo>
                    <a:pt x="5" y="298"/>
                  </a:lnTo>
                  <a:lnTo>
                    <a:pt x="6" y="297"/>
                  </a:lnTo>
                  <a:lnTo>
                    <a:pt x="7" y="296"/>
                  </a:lnTo>
                  <a:lnTo>
                    <a:pt x="8" y="295"/>
                  </a:lnTo>
                  <a:lnTo>
                    <a:pt x="9" y="293"/>
                  </a:lnTo>
                  <a:lnTo>
                    <a:pt x="9" y="291"/>
                  </a:lnTo>
                  <a:lnTo>
                    <a:pt x="9" y="290"/>
                  </a:lnTo>
                  <a:lnTo>
                    <a:pt x="9" y="288"/>
                  </a:lnTo>
                  <a:lnTo>
                    <a:pt x="6" y="278"/>
                  </a:lnTo>
                  <a:lnTo>
                    <a:pt x="3" y="266"/>
                  </a:lnTo>
                  <a:lnTo>
                    <a:pt x="2" y="263"/>
                  </a:lnTo>
                  <a:lnTo>
                    <a:pt x="1" y="256"/>
                  </a:lnTo>
                  <a:lnTo>
                    <a:pt x="0" y="254"/>
                  </a:lnTo>
                  <a:lnTo>
                    <a:pt x="0" y="252"/>
                  </a:lnTo>
                  <a:lnTo>
                    <a:pt x="0" y="250"/>
                  </a:lnTo>
                  <a:lnTo>
                    <a:pt x="1" y="248"/>
                  </a:lnTo>
                  <a:lnTo>
                    <a:pt x="2" y="247"/>
                  </a:lnTo>
                  <a:lnTo>
                    <a:pt x="2" y="246"/>
                  </a:lnTo>
                  <a:lnTo>
                    <a:pt x="3" y="245"/>
                  </a:lnTo>
                  <a:lnTo>
                    <a:pt x="5" y="244"/>
                  </a:lnTo>
                  <a:lnTo>
                    <a:pt x="7" y="244"/>
                  </a:lnTo>
                  <a:lnTo>
                    <a:pt x="9" y="243"/>
                  </a:lnTo>
                  <a:lnTo>
                    <a:pt x="10" y="243"/>
                  </a:lnTo>
                  <a:lnTo>
                    <a:pt x="12" y="243"/>
                  </a:lnTo>
                  <a:lnTo>
                    <a:pt x="14" y="243"/>
                  </a:lnTo>
                  <a:lnTo>
                    <a:pt x="16" y="243"/>
                  </a:lnTo>
                  <a:lnTo>
                    <a:pt x="19" y="243"/>
                  </a:lnTo>
                  <a:lnTo>
                    <a:pt x="22" y="243"/>
                  </a:lnTo>
                  <a:lnTo>
                    <a:pt x="28" y="244"/>
                  </a:lnTo>
                  <a:lnTo>
                    <a:pt x="39" y="246"/>
                  </a:lnTo>
                  <a:lnTo>
                    <a:pt x="42" y="246"/>
                  </a:lnTo>
                  <a:lnTo>
                    <a:pt x="45" y="246"/>
                  </a:lnTo>
                  <a:lnTo>
                    <a:pt x="46" y="245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50" y="243"/>
                  </a:lnTo>
                  <a:lnTo>
                    <a:pt x="51" y="242"/>
                  </a:lnTo>
                  <a:lnTo>
                    <a:pt x="52" y="240"/>
                  </a:lnTo>
                  <a:lnTo>
                    <a:pt x="53" y="239"/>
                  </a:lnTo>
                  <a:lnTo>
                    <a:pt x="54" y="237"/>
                  </a:lnTo>
                  <a:lnTo>
                    <a:pt x="55" y="234"/>
                  </a:lnTo>
                  <a:lnTo>
                    <a:pt x="56" y="232"/>
                  </a:lnTo>
                  <a:lnTo>
                    <a:pt x="58" y="222"/>
                  </a:lnTo>
                  <a:lnTo>
                    <a:pt x="59" y="215"/>
                  </a:lnTo>
                  <a:lnTo>
                    <a:pt x="59" y="206"/>
                  </a:lnTo>
                  <a:lnTo>
                    <a:pt x="59" y="202"/>
                  </a:lnTo>
                  <a:lnTo>
                    <a:pt x="59" y="191"/>
                  </a:lnTo>
                  <a:lnTo>
                    <a:pt x="59" y="183"/>
                  </a:lnTo>
                  <a:lnTo>
                    <a:pt x="59" y="176"/>
                  </a:lnTo>
                  <a:lnTo>
                    <a:pt x="59" y="164"/>
                  </a:lnTo>
                  <a:lnTo>
                    <a:pt x="58" y="161"/>
                  </a:lnTo>
                  <a:lnTo>
                    <a:pt x="58" y="157"/>
                  </a:lnTo>
                  <a:lnTo>
                    <a:pt x="58" y="155"/>
                  </a:lnTo>
                  <a:lnTo>
                    <a:pt x="60" y="149"/>
                  </a:lnTo>
                  <a:lnTo>
                    <a:pt x="60" y="145"/>
                  </a:lnTo>
                  <a:lnTo>
                    <a:pt x="61" y="143"/>
                  </a:lnTo>
                  <a:lnTo>
                    <a:pt x="61" y="141"/>
                  </a:lnTo>
                  <a:lnTo>
                    <a:pt x="61" y="136"/>
                  </a:lnTo>
                  <a:lnTo>
                    <a:pt x="60" y="134"/>
                  </a:lnTo>
                  <a:lnTo>
                    <a:pt x="60" y="132"/>
                  </a:lnTo>
                  <a:lnTo>
                    <a:pt x="59" y="130"/>
                  </a:lnTo>
                  <a:lnTo>
                    <a:pt x="58" y="125"/>
                  </a:lnTo>
                  <a:lnTo>
                    <a:pt x="58" y="123"/>
                  </a:lnTo>
                  <a:lnTo>
                    <a:pt x="57" y="121"/>
                  </a:lnTo>
                  <a:lnTo>
                    <a:pt x="57" y="120"/>
                  </a:lnTo>
                  <a:lnTo>
                    <a:pt x="57" y="119"/>
                  </a:lnTo>
                  <a:lnTo>
                    <a:pt x="58" y="117"/>
                  </a:lnTo>
                  <a:lnTo>
                    <a:pt x="58" y="115"/>
                  </a:lnTo>
                  <a:lnTo>
                    <a:pt x="59" y="113"/>
                  </a:lnTo>
                  <a:lnTo>
                    <a:pt x="59" y="112"/>
                  </a:lnTo>
                  <a:lnTo>
                    <a:pt x="61" y="110"/>
                  </a:lnTo>
                  <a:lnTo>
                    <a:pt x="62" y="108"/>
                  </a:lnTo>
                  <a:lnTo>
                    <a:pt x="64" y="108"/>
                  </a:lnTo>
                  <a:lnTo>
                    <a:pt x="65" y="106"/>
                  </a:lnTo>
                  <a:lnTo>
                    <a:pt x="70" y="103"/>
                  </a:lnTo>
                  <a:lnTo>
                    <a:pt x="73" y="100"/>
                  </a:lnTo>
                  <a:lnTo>
                    <a:pt x="76" y="99"/>
                  </a:lnTo>
                  <a:lnTo>
                    <a:pt x="79" y="98"/>
                  </a:lnTo>
                  <a:lnTo>
                    <a:pt x="85" y="96"/>
                  </a:lnTo>
                  <a:lnTo>
                    <a:pt x="88" y="96"/>
                  </a:lnTo>
                  <a:lnTo>
                    <a:pt x="90" y="95"/>
                  </a:lnTo>
                  <a:lnTo>
                    <a:pt x="91" y="94"/>
                  </a:lnTo>
                  <a:lnTo>
                    <a:pt x="93" y="92"/>
                  </a:lnTo>
                  <a:lnTo>
                    <a:pt x="93" y="91"/>
                  </a:lnTo>
                  <a:lnTo>
                    <a:pt x="95" y="89"/>
                  </a:lnTo>
                  <a:lnTo>
                    <a:pt x="96" y="88"/>
                  </a:lnTo>
                  <a:lnTo>
                    <a:pt x="96" y="86"/>
                  </a:lnTo>
                  <a:lnTo>
                    <a:pt x="97" y="85"/>
                  </a:lnTo>
                  <a:lnTo>
                    <a:pt x="98" y="83"/>
                  </a:lnTo>
                  <a:lnTo>
                    <a:pt x="99" y="76"/>
                  </a:lnTo>
                  <a:lnTo>
                    <a:pt x="100" y="69"/>
                  </a:lnTo>
                  <a:lnTo>
                    <a:pt x="100" y="66"/>
                  </a:lnTo>
                  <a:lnTo>
                    <a:pt x="100" y="61"/>
                  </a:lnTo>
                  <a:lnTo>
                    <a:pt x="101" y="57"/>
                  </a:lnTo>
                  <a:lnTo>
                    <a:pt x="101" y="55"/>
                  </a:lnTo>
                  <a:lnTo>
                    <a:pt x="102" y="53"/>
                  </a:lnTo>
                  <a:lnTo>
                    <a:pt x="103" y="52"/>
                  </a:lnTo>
                  <a:lnTo>
                    <a:pt x="104" y="50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106" y="48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8" y="48"/>
                  </a:lnTo>
                  <a:lnTo>
                    <a:pt x="121" y="48"/>
                  </a:lnTo>
                  <a:lnTo>
                    <a:pt x="122" y="49"/>
                  </a:lnTo>
                  <a:lnTo>
                    <a:pt x="124" y="49"/>
                  </a:lnTo>
                  <a:lnTo>
                    <a:pt x="127" y="51"/>
                  </a:lnTo>
                  <a:lnTo>
                    <a:pt x="130" y="52"/>
                  </a:lnTo>
                  <a:lnTo>
                    <a:pt x="138" y="56"/>
                  </a:lnTo>
                  <a:lnTo>
                    <a:pt x="139" y="56"/>
                  </a:lnTo>
                  <a:lnTo>
                    <a:pt x="140" y="57"/>
                  </a:lnTo>
                  <a:lnTo>
                    <a:pt x="142" y="58"/>
                  </a:lnTo>
                  <a:lnTo>
                    <a:pt x="144" y="58"/>
                  </a:lnTo>
                  <a:lnTo>
                    <a:pt x="146" y="57"/>
                  </a:lnTo>
                  <a:lnTo>
                    <a:pt x="148" y="57"/>
                  </a:lnTo>
                  <a:lnTo>
                    <a:pt x="149" y="56"/>
                  </a:lnTo>
                  <a:lnTo>
                    <a:pt x="150" y="55"/>
                  </a:lnTo>
                  <a:lnTo>
                    <a:pt x="150" y="54"/>
                  </a:lnTo>
                  <a:lnTo>
                    <a:pt x="152" y="52"/>
                  </a:lnTo>
                  <a:lnTo>
                    <a:pt x="154" y="50"/>
                  </a:lnTo>
                  <a:lnTo>
                    <a:pt x="159" y="42"/>
                  </a:lnTo>
                  <a:lnTo>
                    <a:pt x="161" y="39"/>
                  </a:lnTo>
                  <a:lnTo>
                    <a:pt x="162" y="36"/>
                  </a:lnTo>
                  <a:lnTo>
                    <a:pt x="164" y="34"/>
                  </a:lnTo>
                  <a:lnTo>
                    <a:pt x="166" y="32"/>
                  </a:lnTo>
                  <a:lnTo>
                    <a:pt x="169" y="30"/>
                  </a:lnTo>
                  <a:lnTo>
                    <a:pt x="173" y="27"/>
                  </a:lnTo>
                  <a:lnTo>
                    <a:pt x="177" y="24"/>
                  </a:lnTo>
                  <a:lnTo>
                    <a:pt x="184" y="21"/>
                  </a:lnTo>
                  <a:lnTo>
                    <a:pt x="185" y="20"/>
                  </a:lnTo>
                  <a:lnTo>
                    <a:pt x="187" y="18"/>
                  </a:lnTo>
                  <a:lnTo>
                    <a:pt x="189" y="17"/>
                  </a:lnTo>
                  <a:lnTo>
                    <a:pt x="190" y="16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1" y="12"/>
                  </a:lnTo>
                  <a:lnTo>
                    <a:pt x="191" y="10"/>
                  </a:lnTo>
                  <a:lnTo>
                    <a:pt x="190" y="6"/>
                  </a:lnTo>
                  <a:lnTo>
                    <a:pt x="190" y="5"/>
                  </a:lnTo>
                  <a:lnTo>
                    <a:pt x="190" y="3"/>
                  </a:lnTo>
                  <a:lnTo>
                    <a:pt x="191" y="2"/>
                  </a:lnTo>
                  <a:lnTo>
                    <a:pt x="191" y="1"/>
                  </a:lnTo>
                  <a:lnTo>
                    <a:pt x="192" y="0"/>
                  </a:lnTo>
                  <a:lnTo>
                    <a:pt x="193" y="0"/>
                  </a:lnTo>
                  <a:lnTo>
                    <a:pt x="194" y="1"/>
                  </a:lnTo>
                  <a:lnTo>
                    <a:pt x="196" y="5"/>
                  </a:lnTo>
                  <a:lnTo>
                    <a:pt x="203" y="13"/>
                  </a:lnTo>
                  <a:lnTo>
                    <a:pt x="207" y="18"/>
                  </a:lnTo>
                  <a:lnTo>
                    <a:pt x="222" y="38"/>
                  </a:lnTo>
                  <a:lnTo>
                    <a:pt x="227" y="44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1" name="Freeform 54">
              <a:extLst>
                <a:ext uri="{FF2B5EF4-FFF2-40B4-BE49-F238E27FC236}">
                  <a16:creationId xmlns:a16="http://schemas.microsoft.com/office/drawing/2014/main" id="{142D3B13-4542-48C8-8D01-0D7B70D89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1972"/>
              <a:ext cx="621" cy="453"/>
            </a:xfrm>
            <a:custGeom>
              <a:avLst/>
              <a:gdLst>
                <a:gd name="T0" fmla="*/ 621 w 621"/>
                <a:gd name="T1" fmla="*/ 7 h 453"/>
                <a:gd name="T2" fmla="*/ 599 w 621"/>
                <a:gd name="T3" fmla="*/ 80 h 453"/>
                <a:gd name="T4" fmla="*/ 585 w 621"/>
                <a:gd name="T5" fmla="*/ 121 h 453"/>
                <a:gd name="T6" fmla="*/ 582 w 621"/>
                <a:gd name="T7" fmla="*/ 159 h 453"/>
                <a:gd name="T8" fmla="*/ 580 w 621"/>
                <a:gd name="T9" fmla="*/ 198 h 453"/>
                <a:gd name="T10" fmla="*/ 544 w 621"/>
                <a:gd name="T11" fmla="*/ 234 h 453"/>
                <a:gd name="T12" fmla="*/ 520 w 621"/>
                <a:gd name="T13" fmla="*/ 243 h 453"/>
                <a:gd name="T14" fmla="*/ 525 w 621"/>
                <a:gd name="T15" fmla="*/ 276 h 453"/>
                <a:gd name="T16" fmla="*/ 546 w 621"/>
                <a:gd name="T17" fmla="*/ 355 h 453"/>
                <a:gd name="T18" fmla="*/ 548 w 621"/>
                <a:gd name="T19" fmla="*/ 391 h 453"/>
                <a:gd name="T20" fmla="*/ 531 w 621"/>
                <a:gd name="T21" fmla="*/ 414 h 453"/>
                <a:gd name="T22" fmla="*/ 484 w 621"/>
                <a:gd name="T23" fmla="*/ 416 h 453"/>
                <a:gd name="T24" fmla="*/ 447 w 621"/>
                <a:gd name="T25" fmla="*/ 413 h 453"/>
                <a:gd name="T26" fmla="*/ 404 w 621"/>
                <a:gd name="T27" fmla="*/ 448 h 453"/>
                <a:gd name="T28" fmla="*/ 389 w 621"/>
                <a:gd name="T29" fmla="*/ 452 h 453"/>
                <a:gd name="T30" fmla="*/ 371 w 621"/>
                <a:gd name="T31" fmla="*/ 423 h 453"/>
                <a:gd name="T32" fmla="*/ 338 w 621"/>
                <a:gd name="T33" fmla="*/ 419 h 453"/>
                <a:gd name="T34" fmla="*/ 323 w 621"/>
                <a:gd name="T35" fmla="*/ 416 h 453"/>
                <a:gd name="T36" fmla="*/ 294 w 621"/>
                <a:gd name="T37" fmla="*/ 405 h 453"/>
                <a:gd name="T38" fmla="*/ 259 w 621"/>
                <a:gd name="T39" fmla="*/ 372 h 453"/>
                <a:gd name="T40" fmla="*/ 274 w 621"/>
                <a:gd name="T41" fmla="*/ 362 h 453"/>
                <a:gd name="T42" fmla="*/ 249 w 621"/>
                <a:gd name="T43" fmla="*/ 326 h 453"/>
                <a:gd name="T44" fmla="*/ 217 w 621"/>
                <a:gd name="T45" fmla="*/ 294 h 453"/>
                <a:gd name="T46" fmla="*/ 200 w 621"/>
                <a:gd name="T47" fmla="*/ 315 h 453"/>
                <a:gd name="T48" fmla="*/ 176 w 621"/>
                <a:gd name="T49" fmla="*/ 344 h 453"/>
                <a:gd name="T50" fmla="*/ 149 w 621"/>
                <a:gd name="T51" fmla="*/ 337 h 453"/>
                <a:gd name="T52" fmla="*/ 128 w 621"/>
                <a:gd name="T53" fmla="*/ 343 h 453"/>
                <a:gd name="T54" fmla="*/ 120 w 621"/>
                <a:gd name="T55" fmla="*/ 379 h 453"/>
                <a:gd name="T56" fmla="*/ 91 w 621"/>
                <a:gd name="T57" fmla="*/ 396 h 453"/>
                <a:gd name="T58" fmla="*/ 85 w 621"/>
                <a:gd name="T59" fmla="*/ 413 h 453"/>
                <a:gd name="T60" fmla="*/ 83 w 621"/>
                <a:gd name="T61" fmla="*/ 445 h 453"/>
                <a:gd name="T62" fmla="*/ 56 w 621"/>
                <a:gd name="T63" fmla="*/ 430 h 453"/>
                <a:gd name="T64" fmla="*/ 30 w 621"/>
                <a:gd name="T65" fmla="*/ 398 h 453"/>
                <a:gd name="T66" fmla="*/ 23 w 621"/>
                <a:gd name="T67" fmla="*/ 370 h 453"/>
                <a:gd name="T68" fmla="*/ 20 w 621"/>
                <a:gd name="T69" fmla="*/ 328 h 453"/>
                <a:gd name="T70" fmla="*/ 2 w 621"/>
                <a:gd name="T71" fmla="*/ 294 h 453"/>
                <a:gd name="T72" fmla="*/ 5 w 621"/>
                <a:gd name="T73" fmla="*/ 273 h 453"/>
                <a:gd name="T74" fmla="*/ 19 w 621"/>
                <a:gd name="T75" fmla="*/ 249 h 453"/>
                <a:gd name="T76" fmla="*/ 33 w 621"/>
                <a:gd name="T77" fmla="*/ 226 h 453"/>
                <a:gd name="T78" fmla="*/ 51 w 621"/>
                <a:gd name="T79" fmla="*/ 218 h 453"/>
                <a:gd name="T80" fmla="*/ 69 w 621"/>
                <a:gd name="T81" fmla="*/ 189 h 453"/>
                <a:gd name="T82" fmla="*/ 89 w 621"/>
                <a:gd name="T83" fmla="*/ 178 h 453"/>
                <a:gd name="T84" fmla="*/ 123 w 621"/>
                <a:gd name="T85" fmla="*/ 196 h 453"/>
                <a:gd name="T86" fmla="*/ 156 w 621"/>
                <a:gd name="T87" fmla="*/ 189 h 453"/>
                <a:gd name="T88" fmla="*/ 191 w 621"/>
                <a:gd name="T89" fmla="*/ 191 h 453"/>
                <a:gd name="T90" fmla="*/ 214 w 621"/>
                <a:gd name="T91" fmla="*/ 188 h 453"/>
                <a:gd name="T92" fmla="*/ 215 w 621"/>
                <a:gd name="T93" fmla="*/ 168 h 453"/>
                <a:gd name="T94" fmla="*/ 230 w 621"/>
                <a:gd name="T95" fmla="*/ 142 h 453"/>
                <a:gd name="T96" fmla="*/ 257 w 621"/>
                <a:gd name="T97" fmla="*/ 118 h 453"/>
                <a:gd name="T98" fmla="*/ 305 w 621"/>
                <a:gd name="T99" fmla="*/ 90 h 453"/>
                <a:gd name="T100" fmla="*/ 330 w 621"/>
                <a:gd name="T101" fmla="*/ 61 h 453"/>
                <a:gd name="T102" fmla="*/ 347 w 621"/>
                <a:gd name="T103" fmla="*/ 51 h 453"/>
                <a:gd name="T104" fmla="*/ 394 w 621"/>
                <a:gd name="T105" fmla="*/ 72 h 453"/>
                <a:gd name="T106" fmla="*/ 419 w 621"/>
                <a:gd name="T107" fmla="*/ 80 h 453"/>
                <a:gd name="T108" fmla="*/ 458 w 621"/>
                <a:gd name="T109" fmla="*/ 111 h 453"/>
                <a:gd name="T110" fmla="*/ 501 w 621"/>
                <a:gd name="T111" fmla="*/ 121 h 453"/>
                <a:gd name="T112" fmla="*/ 533 w 621"/>
                <a:gd name="T113" fmla="*/ 87 h 453"/>
                <a:gd name="T114" fmla="*/ 568 w 621"/>
                <a:gd name="T115" fmla="*/ 46 h 453"/>
                <a:gd name="T116" fmla="*/ 596 w 621"/>
                <a:gd name="T117" fmla="*/ 6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1" h="453">
                  <a:moveTo>
                    <a:pt x="612" y="0"/>
                  </a:moveTo>
                  <a:lnTo>
                    <a:pt x="614" y="0"/>
                  </a:lnTo>
                  <a:lnTo>
                    <a:pt x="616" y="0"/>
                  </a:lnTo>
                  <a:lnTo>
                    <a:pt x="618" y="0"/>
                  </a:lnTo>
                  <a:lnTo>
                    <a:pt x="620" y="0"/>
                  </a:lnTo>
                  <a:lnTo>
                    <a:pt x="620" y="1"/>
                  </a:lnTo>
                  <a:lnTo>
                    <a:pt x="620" y="2"/>
                  </a:lnTo>
                  <a:lnTo>
                    <a:pt x="620" y="3"/>
                  </a:lnTo>
                  <a:lnTo>
                    <a:pt x="621" y="3"/>
                  </a:lnTo>
                  <a:lnTo>
                    <a:pt x="621" y="4"/>
                  </a:lnTo>
                  <a:lnTo>
                    <a:pt x="621" y="7"/>
                  </a:lnTo>
                  <a:lnTo>
                    <a:pt x="621" y="11"/>
                  </a:lnTo>
                  <a:lnTo>
                    <a:pt x="621" y="13"/>
                  </a:lnTo>
                  <a:lnTo>
                    <a:pt x="621" y="18"/>
                  </a:lnTo>
                  <a:lnTo>
                    <a:pt x="620" y="22"/>
                  </a:lnTo>
                  <a:lnTo>
                    <a:pt x="619" y="25"/>
                  </a:lnTo>
                  <a:lnTo>
                    <a:pt x="618" y="29"/>
                  </a:lnTo>
                  <a:lnTo>
                    <a:pt x="616" y="33"/>
                  </a:lnTo>
                  <a:lnTo>
                    <a:pt x="612" y="43"/>
                  </a:lnTo>
                  <a:lnTo>
                    <a:pt x="609" y="51"/>
                  </a:lnTo>
                  <a:lnTo>
                    <a:pt x="602" y="72"/>
                  </a:lnTo>
                  <a:lnTo>
                    <a:pt x="599" y="80"/>
                  </a:lnTo>
                  <a:lnTo>
                    <a:pt x="598" y="84"/>
                  </a:lnTo>
                  <a:lnTo>
                    <a:pt x="595" y="90"/>
                  </a:lnTo>
                  <a:lnTo>
                    <a:pt x="591" y="100"/>
                  </a:lnTo>
                  <a:lnTo>
                    <a:pt x="589" y="102"/>
                  </a:lnTo>
                  <a:lnTo>
                    <a:pt x="587" y="107"/>
                  </a:lnTo>
                  <a:lnTo>
                    <a:pt x="586" y="109"/>
                  </a:lnTo>
                  <a:lnTo>
                    <a:pt x="585" y="111"/>
                  </a:lnTo>
                  <a:lnTo>
                    <a:pt x="585" y="113"/>
                  </a:lnTo>
                  <a:lnTo>
                    <a:pt x="584" y="115"/>
                  </a:lnTo>
                  <a:lnTo>
                    <a:pt x="585" y="118"/>
                  </a:lnTo>
                  <a:lnTo>
                    <a:pt x="585" y="121"/>
                  </a:lnTo>
                  <a:lnTo>
                    <a:pt x="586" y="131"/>
                  </a:lnTo>
                  <a:lnTo>
                    <a:pt x="587" y="134"/>
                  </a:lnTo>
                  <a:lnTo>
                    <a:pt x="587" y="136"/>
                  </a:lnTo>
                  <a:lnTo>
                    <a:pt x="587" y="137"/>
                  </a:lnTo>
                  <a:lnTo>
                    <a:pt x="586" y="140"/>
                  </a:lnTo>
                  <a:lnTo>
                    <a:pt x="583" y="147"/>
                  </a:lnTo>
                  <a:lnTo>
                    <a:pt x="582" y="150"/>
                  </a:lnTo>
                  <a:lnTo>
                    <a:pt x="582" y="153"/>
                  </a:lnTo>
                  <a:lnTo>
                    <a:pt x="581" y="155"/>
                  </a:lnTo>
                  <a:lnTo>
                    <a:pt x="581" y="158"/>
                  </a:lnTo>
                  <a:lnTo>
                    <a:pt x="582" y="159"/>
                  </a:lnTo>
                  <a:lnTo>
                    <a:pt x="582" y="162"/>
                  </a:lnTo>
                  <a:lnTo>
                    <a:pt x="583" y="168"/>
                  </a:lnTo>
                  <a:lnTo>
                    <a:pt x="584" y="170"/>
                  </a:lnTo>
                  <a:lnTo>
                    <a:pt x="585" y="181"/>
                  </a:lnTo>
                  <a:lnTo>
                    <a:pt x="585" y="183"/>
                  </a:lnTo>
                  <a:lnTo>
                    <a:pt x="585" y="186"/>
                  </a:lnTo>
                  <a:lnTo>
                    <a:pt x="584" y="188"/>
                  </a:lnTo>
                  <a:lnTo>
                    <a:pt x="583" y="191"/>
                  </a:lnTo>
                  <a:lnTo>
                    <a:pt x="582" y="194"/>
                  </a:lnTo>
                  <a:lnTo>
                    <a:pt x="581" y="196"/>
                  </a:lnTo>
                  <a:lnTo>
                    <a:pt x="580" y="198"/>
                  </a:lnTo>
                  <a:lnTo>
                    <a:pt x="579" y="200"/>
                  </a:lnTo>
                  <a:lnTo>
                    <a:pt x="577" y="202"/>
                  </a:lnTo>
                  <a:lnTo>
                    <a:pt x="575" y="204"/>
                  </a:lnTo>
                  <a:lnTo>
                    <a:pt x="565" y="213"/>
                  </a:lnTo>
                  <a:lnTo>
                    <a:pt x="562" y="215"/>
                  </a:lnTo>
                  <a:lnTo>
                    <a:pt x="556" y="222"/>
                  </a:lnTo>
                  <a:lnTo>
                    <a:pt x="554" y="224"/>
                  </a:lnTo>
                  <a:lnTo>
                    <a:pt x="552" y="227"/>
                  </a:lnTo>
                  <a:lnTo>
                    <a:pt x="550" y="229"/>
                  </a:lnTo>
                  <a:lnTo>
                    <a:pt x="547" y="232"/>
                  </a:lnTo>
                  <a:lnTo>
                    <a:pt x="544" y="234"/>
                  </a:lnTo>
                  <a:lnTo>
                    <a:pt x="543" y="236"/>
                  </a:lnTo>
                  <a:lnTo>
                    <a:pt x="541" y="237"/>
                  </a:lnTo>
                  <a:lnTo>
                    <a:pt x="540" y="238"/>
                  </a:lnTo>
                  <a:lnTo>
                    <a:pt x="538" y="238"/>
                  </a:lnTo>
                  <a:lnTo>
                    <a:pt x="536" y="238"/>
                  </a:lnTo>
                  <a:lnTo>
                    <a:pt x="530" y="239"/>
                  </a:lnTo>
                  <a:lnTo>
                    <a:pt x="528" y="240"/>
                  </a:lnTo>
                  <a:lnTo>
                    <a:pt x="525" y="240"/>
                  </a:lnTo>
                  <a:lnTo>
                    <a:pt x="523" y="241"/>
                  </a:lnTo>
                  <a:lnTo>
                    <a:pt x="521" y="243"/>
                  </a:lnTo>
                  <a:lnTo>
                    <a:pt x="520" y="243"/>
                  </a:lnTo>
                  <a:lnTo>
                    <a:pt x="519" y="244"/>
                  </a:lnTo>
                  <a:lnTo>
                    <a:pt x="518" y="246"/>
                  </a:lnTo>
                  <a:lnTo>
                    <a:pt x="518" y="247"/>
                  </a:lnTo>
                  <a:lnTo>
                    <a:pt x="518" y="248"/>
                  </a:lnTo>
                  <a:lnTo>
                    <a:pt x="518" y="249"/>
                  </a:lnTo>
                  <a:lnTo>
                    <a:pt x="518" y="251"/>
                  </a:lnTo>
                  <a:lnTo>
                    <a:pt x="518" y="253"/>
                  </a:lnTo>
                  <a:lnTo>
                    <a:pt x="518" y="255"/>
                  </a:lnTo>
                  <a:lnTo>
                    <a:pt x="519" y="259"/>
                  </a:lnTo>
                  <a:lnTo>
                    <a:pt x="523" y="268"/>
                  </a:lnTo>
                  <a:lnTo>
                    <a:pt x="525" y="276"/>
                  </a:lnTo>
                  <a:lnTo>
                    <a:pt x="527" y="281"/>
                  </a:lnTo>
                  <a:lnTo>
                    <a:pt x="530" y="294"/>
                  </a:lnTo>
                  <a:lnTo>
                    <a:pt x="530" y="299"/>
                  </a:lnTo>
                  <a:lnTo>
                    <a:pt x="531" y="303"/>
                  </a:lnTo>
                  <a:lnTo>
                    <a:pt x="534" y="309"/>
                  </a:lnTo>
                  <a:lnTo>
                    <a:pt x="540" y="322"/>
                  </a:lnTo>
                  <a:lnTo>
                    <a:pt x="543" y="334"/>
                  </a:lnTo>
                  <a:lnTo>
                    <a:pt x="544" y="337"/>
                  </a:lnTo>
                  <a:lnTo>
                    <a:pt x="545" y="341"/>
                  </a:lnTo>
                  <a:lnTo>
                    <a:pt x="545" y="346"/>
                  </a:lnTo>
                  <a:lnTo>
                    <a:pt x="546" y="355"/>
                  </a:lnTo>
                  <a:lnTo>
                    <a:pt x="547" y="362"/>
                  </a:lnTo>
                  <a:lnTo>
                    <a:pt x="547" y="365"/>
                  </a:lnTo>
                  <a:lnTo>
                    <a:pt x="548" y="369"/>
                  </a:lnTo>
                  <a:lnTo>
                    <a:pt x="549" y="374"/>
                  </a:lnTo>
                  <a:lnTo>
                    <a:pt x="549" y="378"/>
                  </a:lnTo>
                  <a:lnTo>
                    <a:pt x="550" y="382"/>
                  </a:lnTo>
                  <a:lnTo>
                    <a:pt x="550" y="385"/>
                  </a:lnTo>
                  <a:lnTo>
                    <a:pt x="550" y="386"/>
                  </a:lnTo>
                  <a:lnTo>
                    <a:pt x="549" y="388"/>
                  </a:lnTo>
                  <a:lnTo>
                    <a:pt x="549" y="389"/>
                  </a:lnTo>
                  <a:lnTo>
                    <a:pt x="548" y="391"/>
                  </a:lnTo>
                  <a:lnTo>
                    <a:pt x="548" y="393"/>
                  </a:lnTo>
                  <a:lnTo>
                    <a:pt x="546" y="396"/>
                  </a:lnTo>
                  <a:lnTo>
                    <a:pt x="543" y="398"/>
                  </a:lnTo>
                  <a:lnTo>
                    <a:pt x="541" y="401"/>
                  </a:lnTo>
                  <a:lnTo>
                    <a:pt x="537" y="406"/>
                  </a:lnTo>
                  <a:lnTo>
                    <a:pt x="536" y="407"/>
                  </a:lnTo>
                  <a:lnTo>
                    <a:pt x="535" y="409"/>
                  </a:lnTo>
                  <a:lnTo>
                    <a:pt x="534" y="410"/>
                  </a:lnTo>
                  <a:lnTo>
                    <a:pt x="533" y="411"/>
                  </a:lnTo>
                  <a:lnTo>
                    <a:pt x="532" y="413"/>
                  </a:lnTo>
                  <a:lnTo>
                    <a:pt x="531" y="414"/>
                  </a:lnTo>
                  <a:lnTo>
                    <a:pt x="530" y="414"/>
                  </a:lnTo>
                  <a:lnTo>
                    <a:pt x="529" y="415"/>
                  </a:lnTo>
                  <a:lnTo>
                    <a:pt x="527" y="416"/>
                  </a:lnTo>
                  <a:lnTo>
                    <a:pt x="523" y="417"/>
                  </a:lnTo>
                  <a:lnTo>
                    <a:pt x="518" y="418"/>
                  </a:lnTo>
                  <a:lnTo>
                    <a:pt x="512" y="418"/>
                  </a:lnTo>
                  <a:lnTo>
                    <a:pt x="507" y="418"/>
                  </a:lnTo>
                  <a:lnTo>
                    <a:pt x="503" y="418"/>
                  </a:lnTo>
                  <a:lnTo>
                    <a:pt x="498" y="418"/>
                  </a:lnTo>
                  <a:lnTo>
                    <a:pt x="495" y="418"/>
                  </a:lnTo>
                  <a:lnTo>
                    <a:pt x="484" y="416"/>
                  </a:lnTo>
                  <a:lnTo>
                    <a:pt x="478" y="415"/>
                  </a:lnTo>
                  <a:lnTo>
                    <a:pt x="476" y="415"/>
                  </a:lnTo>
                  <a:lnTo>
                    <a:pt x="473" y="414"/>
                  </a:lnTo>
                  <a:lnTo>
                    <a:pt x="464" y="411"/>
                  </a:lnTo>
                  <a:lnTo>
                    <a:pt x="462" y="411"/>
                  </a:lnTo>
                  <a:lnTo>
                    <a:pt x="460" y="410"/>
                  </a:lnTo>
                  <a:lnTo>
                    <a:pt x="457" y="410"/>
                  </a:lnTo>
                  <a:lnTo>
                    <a:pt x="454" y="411"/>
                  </a:lnTo>
                  <a:lnTo>
                    <a:pt x="451" y="411"/>
                  </a:lnTo>
                  <a:lnTo>
                    <a:pt x="449" y="412"/>
                  </a:lnTo>
                  <a:lnTo>
                    <a:pt x="447" y="413"/>
                  </a:lnTo>
                  <a:lnTo>
                    <a:pt x="444" y="414"/>
                  </a:lnTo>
                  <a:lnTo>
                    <a:pt x="442" y="415"/>
                  </a:lnTo>
                  <a:lnTo>
                    <a:pt x="440" y="416"/>
                  </a:lnTo>
                  <a:lnTo>
                    <a:pt x="438" y="418"/>
                  </a:lnTo>
                  <a:lnTo>
                    <a:pt x="431" y="422"/>
                  </a:lnTo>
                  <a:lnTo>
                    <a:pt x="425" y="427"/>
                  </a:lnTo>
                  <a:lnTo>
                    <a:pt x="420" y="430"/>
                  </a:lnTo>
                  <a:lnTo>
                    <a:pt x="415" y="434"/>
                  </a:lnTo>
                  <a:lnTo>
                    <a:pt x="411" y="439"/>
                  </a:lnTo>
                  <a:lnTo>
                    <a:pt x="408" y="442"/>
                  </a:lnTo>
                  <a:lnTo>
                    <a:pt x="404" y="448"/>
                  </a:lnTo>
                  <a:lnTo>
                    <a:pt x="402" y="450"/>
                  </a:lnTo>
                  <a:lnTo>
                    <a:pt x="401" y="451"/>
                  </a:lnTo>
                  <a:lnTo>
                    <a:pt x="399" y="452"/>
                  </a:lnTo>
                  <a:lnTo>
                    <a:pt x="398" y="452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4" y="453"/>
                  </a:lnTo>
                  <a:lnTo>
                    <a:pt x="393" y="453"/>
                  </a:lnTo>
                  <a:lnTo>
                    <a:pt x="392" y="453"/>
                  </a:lnTo>
                  <a:lnTo>
                    <a:pt x="391" y="452"/>
                  </a:lnTo>
                  <a:lnTo>
                    <a:pt x="389" y="452"/>
                  </a:lnTo>
                  <a:lnTo>
                    <a:pt x="388" y="451"/>
                  </a:lnTo>
                  <a:lnTo>
                    <a:pt x="387" y="449"/>
                  </a:lnTo>
                  <a:lnTo>
                    <a:pt x="386" y="448"/>
                  </a:lnTo>
                  <a:lnTo>
                    <a:pt x="384" y="446"/>
                  </a:lnTo>
                  <a:lnTo>
                    <a:pt x="382" y="439"/>
                  </a:lnTo>
                  <a:lnTo>
                    <a:pt x="380" y="434"/>
                  </a:lnTo>
                  <a:lnTo>
                    <a:pt x="378" y="431"/>
                  </a:lnTo>
                  <a:lnTo>
                    <a:pt x="376" y="429"/>
                  </a:lnTo>
                  <a:lnTo>
                    <a:pt x="375" y="427"/>
                  </a:lnTo>
                  <a:lnTo>
                    <a:pt x="373" y="425"/>
                  </a:lnTo>
                  <a:lnTo>
                    <a:pt x="371" y="423"/>
                  </a:lnTo>
                  <a:lnTo>
                    <a:pt x="370" y="422"/>
                  </a:lnTo>
                  <a:lnTo>
                    <a:pt x="368" y="421"/>
                  </a:lnTo>
                  <a:lnTo>
                    <a:pt x="366" y="420"/>
                  </a:lnTo>
                  <a:lnTo>
                    <a:pt x="363" y="420"/>
                  </a:lnTo>
                  <a:lnTo>
                    <a:pt x="359" y="419"/>
                  </a:lnTo>
                  <a:lnTo>
                    <a:pt x="357" y="419"/>
                  </a:lnTo>
                  <a:lnTo>
                    <a:pt x="354" y="419"/>
                  </a:lnTo>
                  <a:lnTo>
                    <a:pt x="348" y="419"/>
                  </a:lnTo>
                  <a:lnTo>
                    <a:pt x="343" y="419"/>
                  </a:lnTo>
                  <a:lnTo>
                    <a:pt x="340" y="419"/>
                  </a:lnTo>
                  <a:lnTo>
                    <a:pt x="338" y="419"/>
                  </a:lnTo>
                  <a:lnTo>
                    <a:pt x="336" y="419"/>
                  </a:lnTo>
                  <a:lnTo>
                    <a:pt x="336" y="418"/>
                  </a:lnTo>
                  <a:lnTo>
                    <a:pt x="335" y="416"/>
                  </a:lnTo>
                  <a:lnTo>
                    <a:pt x="334" y="414"/>
                  </a:lnTo>
                  <a:lnTo>
                    <a:pt x="334" y="413"/>
                  </a:lnTo>
                  <a:lnTo>
                    <a:pt x="333" y="413"/>
                  </a:lnTo>
                  <a:lnTo>
                    <a:pt x="332" y="413"/>
                  </a:lnTo>
                  <a:lnTo>
                    <a:pt x="331" y="413"/>
                  </a:lnTo>
                  <a:lnTo>
                    <a:pt x="327" y="415"/>
                  </a:lnTo>
                  <a:lnTo>
                    <a:pt x="325" y="416"/>
                  </a:lnTo>
                  <a:lnTo>
                    <a:pt x="323" y="416"/>
                  </a:lnTo>
                  <a:lnTo>
                    <a:pt x="320" y="417"/>
                  </a:lnTo>
                  <a:lnTo>
                    <a:pt x="317" y="417"/>
                  </a:lnTo>
                  <a:lnTo>
                    <a:pt x="313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7" y="414"/>
                  </a:lnTo>
                  <a:lnTo>
                    <a:pt x="304" y="413"/>
                  </a:lnTo>
                  <a:lnTo>
                    <a:pt x="302" y="411"/>
                  </a:lnTo>
                  <a:lnTo>
                    <a:pt x="300" y="409"/>
                  </a:lnTo>
                  <a:lnTo>
                    <a:pt x="296" y="407"/>
                  </a:lnTo>
                  <a:lnTo>
                    <a:pt x="294" y="405"/>
                  </a:lnTo>
                  <a:lnTo>
                    <a:pt x="292" y="402"/>
                  </a:lnTo>
                  <a:lnTo>
                    <a:pt x="281" y="389"/>
                  </a:lnTo>
                  <a:lnTo>
                    <a:pt x="278" y="385"/>
                  </a:lnTo>
                  <a:lnTo>
                    <a:pt x="277" y="385"/>
                  </a:lnTo>
                  <a:lnTo>
                    <a:pt x="275" y="383"/>
                  </a:lnTo>
                  <a:lnTo>
                    <a:pt x="271" y="381"/>
                  </a:lnTo>
                  <a:lnTo>
                    <a:pt x="268" y="378"/>
                  </a:lnTo>
                  <a:lnTo>
                    <a:pt x="262" y="374"/>
                  </a:lnTo>
                  <a:lnTo>
                    <a:pt x="260" y="374"/>
                  </a:lnTo>
                  <a:lnTo>
                    <a:pt x="259" y="373"/>
                  </a:lnTo>
                  <a:lnTo>
                    <a:pt x="259" y="372"/>
                  </a:lnTo>
                  <a:lnTo>
                    <a:pt x="258" y="371"/>
                  </a:lnTo>
                  <a:lnTo>
                    <a:pt x="259" y="371"/>
                  </a:lnTo>
                  <a:lnTo>
                    <a:pt x="259" y="370"/>
                  </a:lnTo>
                  <a:lnTo>
                    <a:pt x="260" y="369"/>
                  </a:lnTo>
                  <a:lnTo>
                    <a:pt x="262" y="368"/>
                  </a:lnTo>
                  <a:lnTo>
                    <a:pt x="264" y="367"/>
                  </a:lnTo>
                  <a:lnTo>
                    <a:pt x="268" y="365"/>
                  </a:lnTo>
                  <a:lnTo>
                    <a:pt x="271" y="364"/>
                  </a:lnTo>
                  <a:lnTo>
                    <a:pt x="272" y="363"/>
                  </a:lnTo>
                  <a:lnTo>
                    <a:pt x="273" y="363"/>
                  </a:lnTo>
                  <a:lnTo>
                    <a:pt x="274" y="362"/>
                  </a:lnTo>
                  <a:lnTo>
                    <a:pt x="274" y="361"/>
                  </a:lnTo>
                  <a:lnTo>
                    <a:pt x="274" y="360"/>
                  </a:lnTo>
                  <a:lnTo>
                    <a:pt x="273" y="358"/>
                  </a:lnTo>
                  <a:lnTo>
                    <a:pt x="272" y="356"/>
                  </a:lnTo>
                  <a:lnTo>
                    <a:pt x="270" y="353"/>
                  </a:lnTo>
                  <a:lnTo>
                    <a:pt x="268" y="351"/>
                  </a:lnTo>
                  <a:lnTo>
                    <a:pt x="264" y="347"/>
                  </a:lnTo>
                  <a:lnTo>
                    <a:pt x="261" y="343"/>
                  </a:lnTo>
                  <a:lnTo>
                    <a:pt x="259" y="340"/>
                  </a:lnTo>
                  <a:lnTo>
                    <a:pt x="254" y="332"/>
                  </a:lnTo>
                  <a:lnTo>
                    <a:pt x="249" y="326"/>
                  </a:lnTo>
                  <a:lnTo>
                    <a:pt x="234" y="306"/>
                  </a:lnTo>
                  <a:lnTo>
                    <a:pt x="230" y="301"/>
                  </a:lnTo>
                  <a:lnTo>
                    <a:pt x="223" y="293"/>
                  </a:lnTo>
                  <a:lnTo>
                    <a:pt x="221" y="289"/>
                  </a:lnTo>
                  <a:lnTo>
                    <a:pt x="220" y="288"/>
                  </a:lnTo>
                  <a:lnTo>
                    <a:pt x="219" y="288"/>
                  </a:lnTo>
                  <a:lnTo>
                    <a:pt x="218" y="289"/>
                  </a:lnTo>
                  <a:lnTo>
                    <a:pt x="218" y="290"/>
                  </a:lnTo>
                  <a:lnTo>
                    <a:pt x="217" y="291"/>
                  </a:lnTo>
                  <a:lnTo>
                    <a:pt x="217" y="293"/>
                  </a:lnTo>
                  <a:lnTo>
                    <a:pt x="217" y="294"/>
                  </a:lnTo>
                  <a:lnTo>
                    <a:pt x="218" y="298"/>
                  </a:lnTo>
                  <a:lnTo>
                    <a:pt x="218" y="300"/>
                  </a:lnTo>
                  <a:lnTo>
                    <a:pt x="218" y="302"/>
                  </a:lnTo>
                  <a:lnTo>
                    <a:pt x="217" y="303"/>
                  </a:lnTo>
                  <a:lnTo>
                    <a:pt x="217" y="304"/>
                  </a:lnTo>
                  <a:lnTo>
                    <a:pt x="216" y="305"/>
                  </a:lnTo>
                  <a:lnTo>
                    <a:pt x="214" y="306"/>
                  </a:lnTo>
                  <a:lnTo>
                    <a:pt x="212" y="308"/>
                  </a:lnTo>
                  <a:lnTo>
                    <a:pt x="211" y="309"/>
                  </a:lnTo>
                  <a:lnTo>
                    <a:pt x="204" y="312"/>
                  </a:lnTo>
                  <a:lnTo>
                    <a:pt x="200" y="315"/>
                  </a:lnTo>
                  <a:lnTo>
                    <a:pt x="196" y="318"/>
                  </a:lnTo>
                  <a:lnTo>
                    <a:pt x="193" y="320"/>
                  </a:lnTo>
                  <a:lnTo>
                    <a:pt x="191" y="322"/>
                  </a:lnTo>
                  <a:lnTo>
                    <a:pt x="189" y="324"/>
                  </a:lnTo>
                  <a:lnTo>
                    <a:pt x="188" y="327"/>
                  </a:lnTo>
                  <a:lnTo>
                    <a:pt x="186" y="330"/>
                  </a:lnTo>
                  <a:lnTo>
                    <a:pt x="181" y="338"/>
                  </a:lnTo>
                  <a:lnTo>
                    <a:pt x="179" y="340"/>
                  </a:lnTo>
                  <a:lnTo>
                    <a:pt x="177" y="342"/>
                  </a:lnTo>
                  <a:lnTo>
                    <a:pt x="177" y="343"/>
                  </a:lnTo>
                  <a:lnTo>
                    <a:pt x="176" y="344"/>
                  </a:lnTo>
                  <a:lnTo>
                    <a:pt x="175" y="345"/>
                  </a:lnTo>
                  <a:lnTo>
                    <a:pt x="173" y="345"/>
                  </a:lnTo>
                  <a:lnTo>
                    <a:pt x="171" y="346"/>
                  </a:lnTo>
                  <a:lnTo>
                    <a:pt x="169" y="346"/>
                  </a:lnTo>
                  <a:lnTo>
                    <a:pt x="167" y="345"/>
                  </a:lnTo>
                  <a:lnTo>
                    <a:pt x="166" y="344"/>
                  </a:lnTo>
                  <a:lnTo>
                    <a:pt x="165" y="344"/>
                  </a:lnTo>
                  <a:lnTo>
                    <a:pt x="157" y="340"/>
                  </a:lnTo>
                  <a:lnTo>
                    <a:pt x="154" y="339"/>
                  </a:lnTo>
                  <a:lnTo>
                    <a:pt x="151" y="337"/>
                  </a:lnTo>
                  <a:lnTo>
                    <a:pt x="149" y="337"/>
                  </a:lnTo>
                  <a:lnTo>
                    <a:pt x="148" y="336"/>
                  </a:lnTo>
                  <a:lnTo>
                    <a:pt x="145" y="336"/>
                  </a:lnTo>
                  <a:lnTo>
                    <a:pt x="139" y="336"/>
                  </a:lnTo>
                  <a:lnTo>
                    <a:pt x="135" y="336"/>
                  </a:lnTo>
                  <a:lnTo>
                    <a:pt x="133" y="336"/>
                  </a:lnTo>
                  <a:lnTo>
                    <a:pt x="132" y="337"/>
                  </a:lnTo>
                  <a:lnTo>
                    <a:pt x="132" y="337"/>
                  </a:lnTo>
                  <a:lnTo>
                    <a:pt x="131" y="338"/>
                  </a:lnTo>
                  <a:lnTo>
                    <a:pt x="130" y="340"/>
                  </a:lnTo>
                  <a:lnTo>
                    <a:pt x="129" y="341"/>
                  </a:lnTo>
                  <a:lnTo>
                    <a:pt x="128" y="343"/>
                  </a:lnTo>
                  <a:lnTo>
                    <a:pt x="128" y="345"/>
                  </a:lnTo>
                  <a:lnTo>
                    <a:pt x="127" y="349"/>
                  </a:lnTo>
                  <a:lnTo>
                    <a:pt x="127" y="354"/>
                  </a:lnTo>
                  <a:lnTo>
                    <a:pt x="127" y="357"/>
                  </a:lnTo>
                  <a:lnTo>
                    <a:pt x="126" y="364"/>
                  </a:lnTo>
                  <a:lnTo>
                    <a:pt x="125" y="371"/>
                  </a:lnTo>
                  <a:lnTo>
                    <a:pt x="124" y="373"/>
                  </a:lnTo>
                  <a:lnTo>
                    <a:pt x="123" y="374"/>
                  </a:lnTo>
                  <a:lnTo>
                    <a:pt x="123" y="376"/>
                  </a:lnTo>
                  <a:lnTo>
                    <a:pt x="122" y="377"/>
                  </a:lnTo>
                  <a:lnTo>
                    <a:pt x="120" y="379"/>
                  </a:lnTo>
                  <a:lnTo>
                    <a:pt x="120" y="380"/>
                  </a:lnTo>
                  <a:lnTo>
                    <a:pt x="118" y="382"/>
                  </a:lnTo>
                  <a:lnTo>
                    <a:pt x="117" y="383"/>
                  </a:lnTo>
                  <a:lnTo>
                    <a:pt x="115" y="384"/>
                  </a:lnTo>
                  <a:lnTo>
                    <a:pt x="112" y="384"/>
                  </a:lnTo>
                  <a:lnTo>
                    <a:pt x="106" y="386"/>
                  </a:lnTo>
                  <a:lnTo>
                    <a:pt x="103" y="387"/>
                  </a:lnTo>
                  <a:lnTo>
                    <a:pt x="100" y="388"/>
                  </a:lnTo>
                  <a:lnTo>
                    <a:pt x="97" y="391"/>
                  </a:lnTo>
                  <a:lnTo>
                    <a:pt x="92" y="394"/>
                  </a:lnTo>
                  <a:lnTo>
                    <a:pt x="91" y="396"/>
                  </a:lnTo>
                  <a:lnTo>
                    <a:pt x="89" y="396"/>
                  </a:lnTo>
                  <a:lnTo>
                    <a:pt x="88" y="398"/>
                  </a:lnTo>
                  <a:lnTo>
                    <a:pt x="86" y="400"/>
                  </a:lnTo>
                  <a:lnTo>
                    <a:pt x="86" y="401"/>
                  </a:lnTo>
                  <a:lnTo>
                    <a:pt x="85" y="403"/>
                  </a:lnTo>
                  <a:lnTo>
                    <a:pt x="85" y="405"/>
                  </a:lnTo>
                  <a:lnTo>
                    <a:pt x="84" y="407"/>
                  </a:lnTo>
                  <a:lnTo>
                    <a:pt x="84" y="408"/>
                  </a:lnTo>
                  <a:lnTo>
                    <a:pt x="84" y="409"/>
                  </a:lnTo>
                  <a:lnTo>
                    <a:pt x="85" y="411"/>
                  </a:lnTo>
                  <a:lnTo>
                    <a:pt x="85" y="413"/>
                  </a:lnTo>
                  <a:lnTo>
                    <a:pt x="86" y="418"/>
                  </a:lnTo>
                  <a:lnTo>
                    <a:pt x="87" y="420"/>
                  </a:lnTo>
                  <a:lnTo>
                    <a:pt x="87" y="422"/>
                  </a:lnTo>
                  <a:lnTo>
                    <a:pt x="88" y="424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87" y="433"/>
                  </a:lnTo>
                  <a:lnTo>
                    <a:pt x="87" y="437"/>
                  </a:lnTo>
                  <a:lnTo>
                    <a:pt x="85" y="443"/>
                  </a:lnTo>
                  <a:lnTo>
                    <a:pt x="85" y="445"/>
                  </a:lnTo>
                  <a:lnTo>
                    <a:pt x="83" y="445"/>
                  </a:lnTo>
                  <a:lnTo>
                    <a:pt x="77" y="444"/>
                  </a:lnTo>
                  <a:lnTo>
                    <a:pt x="74" y="443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0" y="442"/>
                  </a:lnTo>
                  <a:lnTo>
                    <a:pt x="69" y="441"/>
                  </a:lnTo>
                  <a:lnTo>
                    <a:pt x="67" y="440"/>
                  </a:lnTo>
                  <a:lnTo>
                    <a:pt x="64" y="436"/>
                  </a:lnTo>
                  <a:lnTo>
                    <a:pt x="63" y="434"/>
                  </a:lnTo>
                  <a:lnTo>
                    <a:pt x="61" y="433"/>
                  </a:lnTo>
                  <a:lnTo>
                    <a:pt x="56" y="430"/>
                  </a:lnTo>
                  <a:lnTo>
                    <a:pt x="53" y="427"/>
                  </a:lnTo>
                  <a:lnTo>
                    <a:pt x="45" y="418"/>
                  </a:lnTo>
                  <a:lnTo>
                    <a:pt x="42" y="415"/>
                  </a:lnTo>
                  <a:lnTo>
                    <a:pt x="38" y="410"/>
                  </a:lnTo>
                  <a:lnTo>
                    <a:pt x="34" y="407"/>
                  </a:lnTo>
                  <a:lnTo>
                    <a:pt x="32" y="405"/>
                  </a:lnTo>
                  <a:lnTo>
                    <a:pt x="31" y="402"/>
                  </a:lnTo>
                  <a:lnTo>
                    <a:pt x="30" y="401"/>
                  </a:lnTo>
                  <a:lnTo>
                    <a:pt x="30" y="400"/>
                  </a:lnTo>
                  <a:lnTo>
                    <a:pt x="30" y="399"/>
                  </a:lnTo>
                  <a:lnTo>
                    <a:pt x="30" y="398"/>
                  </a:lnTo>
                  <a:lnTo>
                    <a:pt x="31" y="396"/>
                  </a:lnTo>
                  <a:lnTo>
                    <a:pt x="33" y="392"/>
                  </a:lnTo>
                  <a:lnTo>
                    <a:pt x="34" y="390"/>
                  </a:lnTo>
                  <a:lnTo>
                    <a:pt x="34" y="388"/>
                  </a:lnTo>
                  <a:lnTo>
                    <a:pt x="34" y="387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2" y="384"/>
                  </a:lnTo>
                  <a:lnTo>
                    <a:pt x="25" y="374"/>
                  </a:lnTo>
                  <a:lnTo>
                    <a:pt x="24" y="372"/>
                  </a:lnTo>
                  <a:lnTo>
                    <a:pt x="23" y="370"/>
                  </a:lnTo>
                  <a:lnTo>
                    <a:pt x="21" y="367"/>
                  </a:lnTo>
                  <a:lnTo>
                    <a:pt x="20" y="364"/>
                  </a:lnTo>
                  <a:lnTo>
                    <a:pt x="20" y="362"/>
                  </a:lnTo>
                  <a:lnTo>
                    <a:pt x="19" y="359"/>
                  </a:lnTo>
                  <a:lnTo>
                    <a:pt x="19" y="356"/>
                  </a:lnTo>
                  <a:lnTo>
                    <a:pt x="19" y="346"/>
                  </a:lnTo>
                  <a:lnTo>
                    <a:pt x="20" y="340"/>
                  </a:lnTo>
                  <a:lnTo>
                    <a:pt x="20" y="334"/>
                  </a:lnTo>
                  <a:lnTo>
                    <a:pt x="21" y="330"/>
                  </a:lnTo>
                  <a:lnTo>
                    <a:pt x="20" y="328"/>
                  </a:lnTo>
                  <a:lnTo>
                    <a:pt x="20" y="328"/>
                  </a:lnTo>
                  <a:lnTo>
                    <a:pt x="19" y="324"/>
                  </a:lnTo>
                  <a:lnTo>
                    <a:pt x="19" y="322"/>
                  </a:lnTo>
                  <a:lnTo>
                    <a:pt x="18" y="319"/>
                  </a:lnTo>
                  <a:lnTo>
                    <a:pt x="18" y="317"/>
                  </a:lnTo>
                  <a:lnTo>
                    <a:pt x="17" y="316"/>
                  </a:lnTo>
                  <a:lnTo>
                    <a:pt x="16" y="314"/>
                  </a:lnTo>
                  <a:lnTo>
                    <a:pt x="11" y="308"/>
                  </a:lnTo>
                  <a:lnTo>
                    <a:pt x="7" y="303"/>
                  </a:lnTo>
                  <a:lnTo>
                    <a:pt x="4" y="298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2"/>
                  </a:lnTo>
                  <a:lnTo>
                    <a:pt x="1" y="290"/>
                  </a:lnTo>
                  <a:lnTo>
                    <a:pt x="0" y="287"/>
                  </a:lnTo>
                  <a:lnTo>
                    <a:pt x="0" y="283"/>
                  </a:lnTo>
                  <a:lnTo>
                    <a:pt x="0" y="278"/>
                  </a:lnTo>
                  <a:lnTo>
                    <a:pt x="0" y="274"/>
                  </a:lnTo>
                  <a:lnTo>
                    <a:pt x="0" y="275"/>
                  </a:lnTo>
                  <a:lnTo>
                    <a:pt x="1" y="275"/>
                  </a:lnTo>
                  <a:lnTo>
                    <a:pt x="2" y="275"/>
                  </a:lnTo>
                  <a:lnTo>
                    <a:pt x="3" y="274"/>
                  </a:lnTo>
                  <a:lnTo>
                    <a:pt x="5" y="273"/>
                  </a:lnTo>
                  <a:lnTo>
                    <a:pt x="6" y="272"/>
                  </a:lnTo>
                  <a:lnTo>
                    <a:pt x="7" y="272"/>
                  </a:lnTo>
                  <a:lnTo>
                    <a:pt x="7" y="270"/>
                  </a:lnTo>
                  <a:lnTo>
                    <a:pt x="8" y="268"/>
                  </a:lnTo>
                  <a:lnTo>
                    <a:pt x="9" y="263"/>
                  </a:lnTo>
                  <a:lnTo>
                    <a:pt x="9" y="261"/>
                  </a:lnTo>
                  <a:lnTo>
                    <a:pt x="10" y="260"/>
                  </a:lnTo>
                  <a:lnTo>
                    <a:pt x="11" y="258"/>
                  </a:lnTo>
                  <a:lnTo>
                    <a:pt x="13" y="256"/>
                  </a:lnTo>
                  <a:lnTo>
                    <a:pt x="17" y="252"/>
                  </a:lnTo>
                  <a:lnTo>
                    <a:pt x="19" y="249"/>
                  </a:lnTo>
                  <a:lnTo>
                    <a:pt x="20" y="248"/>
                  </a:lnTo>
                  <a:lnTo>
                    <a:pt x="24" y="245"/>
                  </a:lnTo>
                  <a:lnTo>
                    <a:pt x="28" y="242"/>
                  </a:lnTo>
                  <a:lnTo>
                    <a:pt x="29" y="241"/>
                  </a:lnTo>
                  <a:lnTo>
                    <a:pt x="31" y="239"/>
                  </a:lnTo>
                  <a:lnTo>
                    <a:pt x="32" y="238"/>
                  </a:lnTo>
                  <a:lnTo>
                    <a:pt x="33" y="236"/>
                  </a:lnTo>
                  <a:lnTo>
                    <a:pt x="33" y="234"/>
                  </a:lnTo>
                  <a:lnTo>
                    <a:pt x="33" y="232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4" y="217"/>
                  </a:lnTo>
                  <a:lnTo>
                    <a:pt x="34" y="216"/>
                  </a:lnTo>
                  <a:lnTo>
                    <a:pt x="35" y="215"/>
                  </a:lnTo>
                  <a:lnTo>
                    <a:pt x="36" y="215"/>
                  </a:lnTo>
                  <a:lnTo>
                    <a:pt x="37" y="215"/>
                  </a:lnTo>
                  <a:lnTo>
                    <a:pt x="38" y="215"/>
                  </a:lnTo>
                  <a:lnTo>
                    <a:pt x="41" y="217"/>
                  </a:lnTo>
                  <a:lnTo>
                    <a:pt x="44" y="218"/>
                  </a:lnTo>
                  <a:lnTo>
                    <a:pt x="48" y="218"/>
                  </a:lnTo>
                  <a:lnTo>
                    <a:pt x="49" y="219"/>
                  </a:lnTo>
                  <a:lnTo>
                    <a:pt x="51" y="218"/>
                  </a:lnTo>
                  <a:lnTo>
                    <a:pt x="52" y="218"/>
                  </a:lnTo>
                  <a:lnTo>
                    <a:pt x="52" y="218"/>
                  </a:lnTo>
                  <a:lnTo>
                    <a:pt x="53" y="217"/>
                  </a:lnTo>
                  <a:lnTo>
                    <a:pt x="54" y="217"/>
                  </a:lnTo>
                  <a:lnTo>
                    <a:pt x="56" y="215"/>
                  </a:lnTo>
                  <a:lnTo>
                    <a:pt x="58" y="214"/>
                  </a:lnTo>
                  <a:lnTo>
                    <a:pt x="60" y="210"/>
                  </a:lnTo>
                  <a:lnTo>
                    <a:pt x="62" y="207"/>
                  </a:lnTo>
                  <a:lnTo>
                    <a:pt x="63" y="203"/>
                  </a:lnTo>
                  <a:lnTo>
                    <a:pt x="66" y="197"/>
                  </a:lnTo>
                  <a:lnTo>
                    <a:pt x="69" y="189"/>
                  </a:lnTo>
                  <a:lnTo>
                    <a:pt x="71" y="184"/>
                  </a:lnTo>
                  <a:lnTo>
                    <a:pt x="71" y="181"/>
                  </a:lnTo>
                  <a:lnTo>
                    <a:pt x="73" y="175"/>
                  </a:lnTo>
                  <a:lnTo>
                    <a:pt x="73" y="174"/>
                  </a:lnTo>
                  <a:lnTo>
                    <a:pt x="74" y="173"/>
                  </a:lnTo>
                  <a:lnTo>
                    <a:pt x="75" y="173"/>
                  </a:lnTo>
                  <a:lnTo>
                    <a:pt x="76" y="173"/>
                  </a:lnTo>
                  <a:lnTo>
                    <a:pt x="78" y="174"/>
                  </a:lnTo>
                  <a:lnTo>
                    <a:pt x="82" y="175"/>
                  </a:lnTo>
                  <a:lnTo>
                    <a:pt x="86" y="176"/>
                  </a:lnTo>
                  <a:lnTo>
                    <a:pt x="89" y="178"/>
                  </a:lnTo>
                  <a:lnTo>
                    <a:pt x="93" y="179"/>
                  </a:lnTo>
                  <a:lnTo>
                    <a:pt x="97" y="181"/>
                  </a:lnTo>
                  <a:lnTo>
                    <a:pt x="100" y="183"/>
                  </a:lnTo>
                  <a:lnTo>
                    <a:pt x="103" y="185"/>
                  </a:lnTo>
                  <a:lnTo>
                    <a:pt x="110" y="192"/>
                  </a:lnTo>
                  <a:lnTo>
                    <a:pt x="114" y="193"/>
                  </a:lnTo>
                  <a:lnTo>
                    <a:pt x="116" y="194"/>
                  </a:lnTo>
                  <a:lnTo>
                    <a:pt x="117" y="195"/>
                  </a:lnTo>
                  <a:lnTo>
                    <a:pt x="119" y="196"/>
                  </a:lnTo>
                  <a:lnTo>
                    <a:pt x="120" y="196"/>
                  </a:lnTo>
                  <a:lnTo>
                    <a:pt x="123" y="196"/>
                  </a:lnTo>
                  <a:lnTo>
                    <a:pt x="126" y="196"/>
                  </a:lnTo>
                  <a:lnTo>
                    <a:pt x="132" y="195"/>
                  </a:lnTo>
                  <a:lnTo>
                    <a:pt x="140" y="193"/>
                  </a:lnTo>
                  <a:lnTo>
                    <a:pt x="142" y="192"/>
                  </a:lnTo>
                  <a:lnTo>
                    <a:pt x="144" y="192"/>
                  </a:lnTo>
                  <a:lnTo>
                    <a:pt x="151" y="189"/>
                  </a:lnTo>
                  <a:lnTo>
                    <a:pt x="152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5" y="189"/>
                  </a:lnTo>
                  <a:lnTo>
                    <a:pt x="156" y="189"/>
                  </a:lnTo>
                  <a:lnTo>
                    <a:pt x="159" y="191"/>
                  </a:lnTo>
                  <a:lnTo>
                    <a:pt x="161" y="192"/>
                  </a:lnTo>
                  <a:lnTo>
                    <a:pt x="163" y="192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71" y="192"/>
                  </a:lnTo>
                  <a:lnTo>
                    <a:pt x="178" y="191"/>
                  </a:lnTo>
                  <a:lnTo>
                    <a:pt x="183" y="190"/>
                  </a:lnTo>
                  <a:lnTo>
                    <a:pt x="186" y="190"/>
                  </a:lnTo>
                  <a:lnTo>
                    <a:pt x="189" y="190"/>
                  </a:lnTo>
                  <a:lnTo>
                    <a:pt x="191" y="191"/>
                  </a:lnTo>
                  <a:lnTo>
                    <a:pt x="200" y="192"/>
                  </a:lnTo>
                  <a:lnTo>
                    <a:pt x="203" y="193"/>
                  </a:lnTo>
                  <a:lnTo>
                    <a:pt x="206" y="193"/>
                  </a:lnTo>
                  <a:lnTo>
                    <a:pt x="208" y="193"/>
                  </a:lnTo>
                  <a:lnTo>
                    <a:pt x="210" y="193"/>
                  </a:lnTo>
                  <a:lnTo>
                    <a:pt x="211" y="192"/>
                  </a:lnTo>
                  <a:lnTo>
                    <a:pt x="212" y="192"/>
                  </a:lnTo>
                  <a:lnTo>
                    <a:pt x="213" y="192"/>
                  </a:lnTo>
                  <a:lnTo>
                    <a:pt x="213" y="191"/>
                  </a:lnTo>
                  <a:lnTo>
                    <a:pt x="214" y="189"/>
                  </a:lnTo>
                  <a:lnTo>
                    <a:pt x="214" y="188"/>
                  </a:lnTo>
                  <a:lnTo>
                    <a:pt x="213" y="186"/>
                  </a:lnTo>
                  <a:lnTo>
                    <a:pt x="213" y="183"/>
                  </a:lnTo>
                  <a:lnTo>
                    <a:pt x="211" y="179"/>
                  </a:lnTo>
                  <a:lnTo>
                    <a:pt x="211" y="177"/>
                  </a:lnTo>
                  <a:lnTo>
                    <a:pt x="211" y="176"/>
                  </a:lnTo>
                  <a:lnTo>
                    <a:pt x="211" y="174"/>
                  </a:lnTo>
                  <a:lnTo>
                    <a:pt x="212" y="172"/>
                  </a:lnTo>
                  <a:lnTo>
                    <a:pt x="212" y="171"/>
                  </a:lnTo>
                  <a:lnTo>
                    <a:pt x="213" y="170"/>
                  </a:lnTo>
                  <a:lnTo>
                    <a:pt x="213" y="170"/>
                  </a:lnTo>
                  <a:lnTo>
                    <a:pt x="215" y="168"/>
                  </a:lnTo>
                  <a:lnTo>
                    <a:pt x="217" y="166"/>
                  </a:lnTo>
                  <a:lnTo>
                    <a:pt x="221" y="163"/>
                  </a:lnTo>
                  <a:lnTo>
                    <a:pt x="224" y="160"/>
                  </a:lnTo>
                  <a:lnTo>
                    <a:pt x="226" y="158"/>
                  </a:lnTo>
                  <a:lnTo>
                    <a:pt x="228" y="157"/>
                  </a:lnTo>
                  <a:lnTo>
                    <a:pt x="228" y="155"/>
                  </a:lnTo>
                  <a:lnTo>
                    <a:pt x="229" y="153"/>
                  </a:lnTo>
                  <a:lnTo>
                    <a:pt x="230" y="151"/>
                  </a:lnTo>
                  <a:lnTo>
                    <a:pt x="230" y="150"/>
                  </a:lnTo>
                  <a:lnTo>
                    <a:pt x="230" y="144"/>
                  </a:lnTo>
                  <a:lnTo>
                    <a:pt x="230" y="142"/>
                  </a:lnTo>
                  <a:lnTo>
                    <a:pt x="231" y="140"/>
                  </a:lnTo>
                  <a:lnTo>
                    <a:pt x="231" y="139"/>
                  </a:lnTo>
                  <a:lnTo>
                    <a:pt x="232" y="136"/>
                  </a:lnTo>
                  <a:lnTo>
                    <a:pt x="234" y="135"/>
                  </a:lnTo>
                  <a:lnTo>
                    <a:pt x="235" y="133"/>
                  </a:lnTo>
                  <a:lnTo>
                    <a:pt x="237" y="130"/>
                  </a:lnTo>
                  <a:lnTo>
                    <a:pt x="240" y="128"/>
                  </a:lnTo>
                  <a:lnTo>
                    <a:pt x="243" y="126"/>
                  </a:lnTo>
                  <a:lnTo>
                    <a:pt x="249" y="123"/>
                  </a:lnTo>
                  <a:lnTo>
                    <a:pt x="252" y="121"/>
                  </a:lnTo>
                  <a:lnTo>
                    <a:pt x="257" y="118"/>
                  </a:lnTo>
                  <a:lnTo>
                    <a:pt x="264" y="113"/>
                  </a:lnTo>
                  <a:lnTo>
                    <a:pt x="267" y="111"/>
                  </a:lnTo>
                  <a:lnTo>
                    <a:pt x="268" y="110"/>
                  </a:lnTo>
                  <a:lnTo>
                    <a:pt x="274" y="107"/>
                  </a:lnTo>
                  <a:lnTo>
                    <a:pt x="280" y="103"/>
                  </a:lnTo>
                  <a:lnTo>
                    <a:pt x="288" y="101"/>
                  </a:lnTo>
                  <a:lnTo>
                    <a:pt x="290" y="100"/>
                  </a:lnTo>
                  <a:lnTo>
                    <a:pt x="292" y="97"/>
                  </a:lnTo>
                  <a:lnTo>
                    <a:pt x="294" y="96"/>
                  </a:lnTo>
                  <a:lnTo>
                    <a:pt x="299" y="93"/>
                  </a:lnTo>
                  <a:lnTo>
                    <a:pt x="305" y="90"/>
                  </a:lnTo>
                  <a:lnTo>
                    <a:pt x="308" y="89"/>
                  </a:lnTo>
                  <a:lnTo>
                    <a:pt x="312" y="87"/>
                  </a:lnTo>
                  <a:lnTo>
                    <a:pt x="315" y="84"/>
                  </a:lnTo>
                  <a:lnTo>
                    <a:pt x="317" y="82"/>
                  </a:lnTo>
                  <a:lnTo>
                    <a:pt x="319" y="80"/>
                  </a:lnTo>
                  <a:lnTo>
                    <a:pt x="321" y="79"/>
                  </a:lnTo>
                  <a:lnTo>
                    <a:pt x="323" y="76"/>
                  </a:lnTo>
                  <a:lnTo>
                    <a:pt x="325" y="74"/>
                  </a:lnTo>
                  <a:lnTo>
                    <a:pt x="325" y="71"/>
                  </a:lnTo>
                  <a:lnTo>
                    <a:pt x="327" y="68"/>
                  </a:lnTo>
                  <a:lnTo>
                    <a:pt x="330" y="61"/>
                  </a:lnTo>
                  <a:lnTo>
                    <a:pt x="332" y="57"/>
                  </a:lnTo>
                  <a:lnTo>
                    <a:pt x="333" y="56"/>
                  </a:lnTo>
                  <a:lnTo>
                    <a:pt x="335" y="55"/>
                  </a:lnTo>
                  <a:lnTo>
                    <a:pt x="336" y="54"/>
                  </a:lnTo>
                  <a:lnTo>
                    <a:pt x="337" y="53"/>
                  </a:lnTo>
                  <a:lnTo>
                    <a:pt x="338" y="52"/>
                  </a:lnTo>
                  <a:lnTo>
                    <a:pt x="340" y="51"/>
                  </a:lnTo>
                  <a:lnTo>
                    <a:pt x="342" y="51"/>
                  </a:lnTo>
                  <a:lnTo>
                    <a:pt x="343" y="50"/>
                  </a:lnTo>
                  <a:lnTo>
                    <a:pt x="345" y="50"/>
                  </a:lnTo>
                  <a:lnTo>
                    <a:pt x="347" y="51"/>
                  </a:lnTo>
                  <a:lnTo>
                    <a:pt x="349" y="51"/>
                  </a:lnTo>
                  <a:lnTo>
                    <a:pt x="351" y="52"/>
                  </a:lnTo>
                  <a:lnTo>
                    <a:pt x="354" y="53"/>
                  </a:lnTo>
                  <a:lnTo>
                    <a:pt x="357" y="55"/>
                  </a:lnTo>
                  <a:lnTo>
                    <a:pt x="359" y="56"/>
                  </a:lnTo>
                  <a:lnTo>
                    <a:pt x="364" y="59"/>
                  </a:lnTo>
                  <a:lnTo>
                    <a:pt x="369" y="62"/>
                  </a:lnTo>
                  <a:lnTo>
                    <a:pt x="374" y="65"/>
                  </a:lnTo>
                  <a:lnTo>
                    <a:pt x="379" y="67"/>
                  </a:lnTo>
                  <a:lnTo>
                    <a:pt x="391" y="71"/>
                  </a:lnTo>
                  <a:lnTo>
                    <a:pt x="394" y="72"/>
                  </a:lnTo>
                  <a:lnTo>
                    <a:pt x="398" y="74"/>
                  </a:lnTo>
                  <a:lnTo>
                    <a:pt x="402" y="74"/>
                  </a:lnTo>
                  <a:lnTo>
                    <a:pt x="405" y="75"/>
                  </a:lnTo>
                  <a:lnTo>
                    <a:pt x="405" y="75"/>
                  </a:lnTo>
                  <a:lnTo>
                    <a:pt x="406" y="74"/>
                  </a:lnTo>
                  <a:lnTo>
                    <a:pt x="407" y="74"/>
                  </a:lnTo>
                  <a:lnTo>
                    <a:pt x="408" y="74"/>
                  </a:lnTo>
                  <a:lnTo>
                    <a:pt x="410" y="75"/>
                  </a:lnTo>
                  <a:lnTo>
                    <a:pt x="412" y="76"/>
                  </a:lnTo>
                  <a:lnTo>
                    <a:pt x="416" y="78"/>
                  </a:lnTo>
                  <a:lnTo>
                    <a:pt x="419" y="80"/>
                  </a:lnTo>
                  <a:lnTo>
                    <a:pt x="423" y="83"/>
                  </a:lnTo>
                  <a:lnTo>
                    <a:pt x="427" y="86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39" y="99"/>
                  </a:lnTo>
                  <a:lnTo>
                    <a:pt x="444" y="102"/>
                  </a:lnTo>
                  <a:lnTo>
                    <a:pt x="447" y="104"/>
                  </a:lnTo>
                  <a:lnTo>
                    <a:pt x="449" y="106"/>
                  </a:lnTo>
                  <a:lnTo>
                    <a:pt x="451" y="107"/>
                  </a:lnTo>
                  <a:lnTo>
                    <a:pt x="454" y="109"/>
                  </a:lnTo>
                  <a:lnTo>
                    <a:pt x="458" y="111"/>
                  </a:lnTo>
                  <a:lnTo>
                    <a:pt x="461" y="113"/>
                  </a:lnTo>
                  <a:lnTo>
                    <a:pt x="472" y="116"/>
                  </a:lnTo>
                  <a:lnTo>
                    <a:pt x="479" y="119"/>
                  </a:lnTo>
                  <a:lnTo>
                    <a:pt x="486" y="121"/>
                  </a:lnTo>
                  <a:lnTo>
                    <a:pt x="488" y="121"/>
                  </a:lnTo>
                  <a:lnTo>
                    <a:pt x="491" y="122"/>
                  </a:lnTo>
                  <a:lnTo>
                    <a:pt x="493" y="122"/>
                  </a:lnTo>
                  <a:lnTo>
                    <a:pt x="496" y="122"/>
                  </a:lnTo>
                  <a:lnTo>
                    <a:pt x="497" y="122"/>
                  </a:lnTo>
                  <a:lnTo>
                    <a:pt x="499" y="122"/>
                  </a:lnTo>
                  <a:lnTo>
                    <a:pt x="501" y="121"/>
                  </a:lnTo>
                  <a:lnTo>
                    <a:pt x="503" y="121"/>
                  </a:lnTo>
                  <a:lnTo>
                    <a:pt x="505" y="120"/>
                  </a:lnTo>
                  <a:lnTo>
                    <a:pt x="507" y="119"/>
                  </a:lnTo>
                  <a:lnTo>
                    <a:pt x="509" y="117"/>
                  </a:lnTo>
                  <a:lnTo>
                    <a:pt x="511" y="115"/>
                  </a:lnTo>
                  <a:lnTo>
                    <a:pt x="514" y="113"/>
                  </a:lnTo>
                  <a:lnTo>
                    <a:pt x="516" y="111"/>
                  </a:lnTo>
                  <a:lnTo>
                    <a:pt x="518" y="108"/>
                  </a:lnTo>
                  <a:lnTo>
                    <a:pt x="528" y="94"/>
                  </a:lnTo>
                  <a:lnTo>
                    <a:pt x="530" y="90"/>
                  </a:lnTo>
                  <a:lnTo>
                    <a:pt x="533" y="87"/>
                  </a:lnTo>
                  <a:lnTo>
                    <a:pt x="535" y="85"/>
                  </a:lnTo>
                  <a:lnTo>
                    <a:pt x="538" y="83"/>
                  </a:lnTo>
                  <a:lnTo>
                    <a:pt x="546" y="76"/>
                  </a:lnTo>
                  <a:lnTo>
                    <a:pt x="551" y="72"/>
                  </a:lnTo>
                  <a:lnTo>
                    <a:pt x="554" y="68"/>
                  </a:lnTo>
                  <a:lnTo>
                    <a:pt x="557" y="65"/>
                  </a:lnTo>
                  <a:lnTo>
                    <a:pt x="559" y="62"/>
                  </a:lnTo>
                  <a:lnTo>
                    <a:pt x="562" y="57"/>
                  </a:lnTo>
                  <a:lnTo>
                    <a:pt x="564" y="53"/>
                  </a:lnTo>
                  <a:lnTo>
                    <a:pt x="566" y="50"/>
                  </a:lnTo>
                  <a:lnTo>
                    <a:pt x="568" y="46"/>
                  </a:lnTo>
                  <a:lnTo>
                    <a:pt x="570" y="43"/>
                  </a:lnTo>
                  <a:lnTo>
                    <a:pt x="575" y="30"/>
                  </a:lnTo>
                  <a:lnTo>
                    <a:pt x="577" y="25"/>
                  </a:lnTo>
                  <a:lnTo>
                    <a:pt x="579" y="22"/>
                  </a:lnTo>
                  <a:lnTo>
                    <a:pt x="581" y="20"/>
                  </a:lnTo>
                  <a:lnTo>
                    <a:pt x="583" y="17"/>
                  </a:lnTo>
                  <a:lnTo>
                    <a:pt x="585" y="15"/>
                  </a:lnTo>
                  <a:lnTo>
                    <a:pt x="587" y="13"/>
                  </a:lnTo>
                  <a:lnTo>
                    <a:pt x="587" y="12"/>
                  </a:lnTo>
                  <a:lnTo>
                    <a:pt x="592" y="9"/>
                  </a:lnTo>
                  <a:lnTo>
                    <a:pt x="596" y="6"/>
                  </a:lnTo>
                  <a:lnTo>
                    <a:pt x="598" y="5"/>
                  </a:lnTo>
                  <a:lnTo>
                    <a:pt x="601" y="3"/>
                  </a:lnTo>
                  <a:lnTo>
                    <a:pt x="604" y="1"/>
                  </a:lnTo>
                  <a:lnTo>
                    <a:pt x="606" y="0"/>
                  </a:lnTo>
                  <a:lnTo>
                    <a:pt x="609" y="0"/>
                  </a:lnTo>
                  <a:lnTo>
                    <a:pt x="610" y="0"/>
                  </a:lnTo>
                  <a:lnTo>
                    <a:pt x="612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2" name="Freeform 55">
              <a:extLst>
                <a:ext uri="{FF2B5EF4-FFF2-40B4-BE49-F238E27FC236}">
                  <a16:creationId xmlns:a16="http://schemas.microsoft.com/office/drawing/2014/main" id="{03EE9D32-1BFC-4944-9C2B-447ED3589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6" y="2390"/>
              <a:ext cx="551" cy="458"/>
            </a:xfrm>
            <a:custGeom>
              <a:avLst/>
              <a:gdLst>
                <a:gd name="T0" fmla="*/ 309 w 551"/>
                <a:gd name="T1" fmla="*/ 48 h 458"/>
                <a:gd name="T2" fmla="*/ 333 w 551"/>
                <a:gd name="T3" fmla="*/ 58 h 458"/>
                <a:gd name="T4" fmla="*/ 363 w 551"/>
                <a:gd name="T5" fmla="*/ 59 h 458"/>
                <a:gd name="T6" fmla="*/ 386 w 551"/>
                <a:gd name="T7" fmla="*/ 61 h 458"/>
                <a:gd name="T8" fmla="*/ 415 w 551"/>
                <a:gd name="T9" fmla="*/ 80 h 458"/>
                <a:gd name="T10" fmla="*/ 441 w 551"/>
                <a:gd name="T11" fmla="*/ 93 h 458"/>
                <a:gd name="T12" fmla="*/ 460 w 551"/>
                <a:gd name="T13" fmla="*/ 110 h 458"/>
                <a:gd name="T14" fmla="*/ 470 w 551"/>
                <a:gd name="T15" fmla="*/ 119 h 458"/>
                <a:gd name="T16" fmla="*/ 501 w 551"/>
                <a:gd name="T17" fmla="*/ 134 h 458"/>
                <a:gd name="T18" fmla="*/ 524 w 551"/>
                <a:gd name="T19" fmla="*/ 142 h 458"/>
                <a:gd name="T20" fmla="*/ 522 w 551"/>
                <a:gd name="T21" fmla="*/ 160 h 458"/>
                <a:gd name="T22" fmla="*/ 534 w 551"/>
                <a:gd name="T23" fmla="*/ 182 h 458"/>
                <a:gd name="T24" fmla="*/ 540 w 551"/>
                <a:gd name="T25" fmla="*/ 201 h 458"/>
                <a:gd name="T26" fmla="*/ 520 w 551"/>
                <a:gd name="T27" fmla="*/ 240 h 458"/>
                <a:gd name="T28" fmla="*/ 505 w 551"/>
                <a:gd name="T29" fmla="*/ 246 h 458"/>
                <a:gd name="T30" fmla="*/ 504 w 551"/>
                <a:gd name="T31" fmla="*/ 261 h 458"/>
                <a:gd name="T32" fmla="*/ 492 w 551"/>
                <a:gd name="T33" fmla="*/ 273 h 458"/>
                <a:gd name="T34" fmla="*/ 468 w 551"/>
                <a:gd name="T35" fmla="*/ 297 h 458"/>
                <a:gd name="T36" fmla="*/ 471 w 551"/>
                <a:gd name="T37" fmla="*/ 329 h 458"/>
                <a:gd name="T38" fmla="*/ 466 w 551"/>
                <a:gd name="T39" fmla="*/ 356 h 458"/>
                <a:gd name="T40" fmla="*/ 457 w 551"/>
                <a:gd name="T41" fmla="*/ 380 h 458"/>
                <a:gd name="T42" fmla="*/ 439 w 551"/>
                <a:gd name="T43" fmla="*/ 384 h 458"/>
                <a:gd name="T44" fmla="*/ 421 w 551"/>
                <a:gd name="T45" fmla="*/ 378 h 458"/>
                <a:gd name="T46" fmla="*/ 415 w 551"/>
                <a:gd name="T47" fmla="*/ 397 h 458"/>
                <a:gd name="T48" fmla="*/ 407 w 551"/>
                <a:gd name="T49" fmla="*/ 418 h 458"/>
                <a:gd name="T50" fmla="*/ 395 w 551"/>
                <a:gd name="T51" fmla="*/ 420 h 458"/>
                <a:gd name="T52" fmla="*/ 369 w 551"/>
                <a:gd name="T53" fmla="*/ 404 h 458"/>
                <a:gd name="T54" fmla="*/ 356 w 551"/>
                <a:gd name="T55" fmla="*/ 405 h 458"/>
                <a:gd name="T56" fmla="*/ 337 w 551"/>
                <a:gd name="T57" fmla="*/ 430 h 458"/>
                <a:gd name="T58" fmla="*/ 339 w 551"/>
                <a:gd name="T59" fmla="*/ 453 h 458"/>
                <a:gd name="T60" fmla="*/ 325 w 551"/>
                <a:gd name="T61" fmla="*/ 458 h 458"/>
                <a:gd name="T62" fmla="*/ 287 w 551"/>
                <a:gd name="T63" fmla="*/ 447 h 458"/>
                <a:gd name="T64" fmla="*/ 237 w 551"/>
                <a:gd name="T65" fmla="*/ 436 h 458"/>
                <a:gd name="T66" fmla="*/ 204 w 551"/>
                <a:gd name="T67" fmla="*/ 429 h 458"/>
                <a:gd name="T68" fmla="*/ 179 w 551"/>
                <a:gd name="T69" fmla="*/ 416 h 458"/>
                <a:gd name="T70" fmla="*/ 177 w 551"/>
                <a:gd name="T71" fmla="*/ 382 h 458"/>
                <a:gd name="T72" fmla="*/ 182 w 551"/>
                <a:gd name="T73" fmla="*/ 351 h 458"/>
                <a:gd name="T74" fmla="*/ 198 w 551"/>
                <a:gd name="T75" fmla="*/ 327 h 458"/>
                <a:gd name="T76" fmla="*/ 190 w 551"/>
                <a:gd name="T77" fmla="*/ 315 h 458"/>
                <a:gd name="T78" fmla="*/ 163 w 551"/>
                <a:gd name="T79" fmla="*/ 301 h 458"/>
                <a:gd name="T80" fmla="*/ 135 w 551"/>
                <a:gd name="T81" fmla="*/ 281 h 458"/>
                <a:gd name="T82" fmla="*/ 116 w 551"/>
                <a:gd name="T83" fmla="*/ 289 h 458"/>
                <a:gd name="T84" fmla="*/ 73 w 551"/>
                <a:gd name="T85" fmla="*/ 293 h 458"/>
                <a:gd name="T86" fmla="*/ 53 w 551"/>
                <a:gd name="T87" fmla="*/ 284 h 458"/>
                <a:gd name="T88" fmla="*/ 52 w 551"/>
                <a:gd name="T89" fmla="*/ 256 h 458"/>
                <a:gd name="T90" fmla="*/ 36 w 551"/>
                <a:gd name="T91" fmla="*/ 234 h 458"/>
                <a:gd name="T92" fmla="*/ 13 w 551"/>
                <a:gd name="T93" fmla="*/ 227 h 458"/>
                <a:gd name="T94" fmla="*/ 2 w 551"/>
                <a:gd name="T95" fmla="*/ 216 h 458"/>
                <a:gd name="T96" fmla="*/ 8 w 551"/>
                <a:gd name="T97" fmla="*/ 180 h 458"/>
                <a:gd name="T98" fmla="*/ 34 w 551"/>
                <a:gd name="T99" fmla="*/ 138 h 458"/>
                <a:gd name="T100" fmla="*/ 46 w 551"/>
                <a:gd name="T101" fmla="*/ 124 h 458"/>
                <a:gd name="T102" fmla="*/ 61 w 551"/>
                <a:gd name="T103" fmla="*/ 126 h 458"/>
                <a:gd name="T104" fmla="*/ 88 w 551"/>
                <a:gd name="T105" fmla="*/ 116 h 458"/>
                <a:gd name="T106" fmla="*/ 130 w 551"/>
                <a:gd name="T107" fmla="*/ 103 h 458"/>
                <a:gd name="T108" fmla="*/ 154 w 551"/>
                <a:gd name="T109" fmla="*/ 81 h 458"/>
                <a:gd name="T110" fmla="*/ 180 w 551"/>
                <a:gd name="T111" fmla="*/ 79 h 458"/>
                <a:gd name="T112" fmla="*/ 192 w 551"/>
                <a:gd name="T113" fmla="*/ 71 h 458"/>
                <a:gd name="T114" fmla="*/ 187 w 551"/>
                <a:gd name="T115" fmla="*/ 51 h 458"/>
                <a:gd name="T116" fmla="*/ 189 w 551"/>
                <a:gd name="T117" fmla="*/ 36 h 458"/>
                <a:gd name="T118" fmla="*/ 208 w 551"/>
                <a:gd name="T119" fmla="*/ 23 h 458"/>
                <a:gd name="T120" fmla="*/ 232 w 551"/>
                <a:gd name="T121" fmla="*/ 12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1" h="458">
                  <a:moveTo>
                    <a:pt x="244" y="0"/>
                  </a:moveTo>
                  <a:lnTo>
                    <a:pt x="255" y="8"/>
                  </a:lnTo>
                  <a:lnTo>
                    <a:pt x="269" y="19"/>
                  </a:lnTo>
                  <a:lnTo>
                    <a:pt x="273" y="22"/>
                  </a:lnTo>
                  <a:lnTo>
                    <a:pt x="281" y="27"/>
                  </a:lnTo>
                  <a:lnTo>
                    <a:pt x="300" y="40"/>
                  </a:lnTo>
                  <a:lnTo>
                    <a:pt x="301" y="42"/>
                  </a:lnTo>
                  <a:lnTo>
                    <a:pt x="306" y="46"/>
                  </a:lnTo>
                  <a:lnTo>
                    <a:pt x="309" y="48"/>
                  </a:lnTo>
                  <a:lnTo>
                    <a:pt x="313" y="52"/>
                  </a:lnTo>
                  <a:lnTo>
                    <a:pt x="317" y="55"/>
                  </a:lnTo>
                  <a:lnTo>
                    <a:pt x="318" y="56"/>
                  </a:lnTo>
                  <a:lnTo>
                    <a:pt x="320" y="57"/>
                  </a:lnTo>
                  <a:lnTo>
                    <a:pt x="322" y="58"/>
                  </a:lnTo>
                  <a:lnTo>
                    <a:pt x="324" y="58"/>
                  </a:lnTo>
                  <a:lnTo>
                    <a:pt x="326" y="58"/>
                  </a:lnTo>
                  <a:lnTo>
                    <a:pt x="330" y="58"/>
                  </a:lnTo>
                  <a:lnTo>
                    <a:pt x="333" y="58"/>
                  </a:lnTo>
                  <a:lnTo>
                    <a:pt x="335" y="58"/>
                  </a:lnTo>
                  <a:lnTo>
                    <a:pt x="345" y="58"/>
                  </a:lnTo>
                  <a:lnTo>
                    <a:pt x="348" y="58"/>
                  </a:lnTo>
                  <a:lnTo>
                    <a:pt x="349" y="58"/>
                  </a:lnTo>
                  <a:lnTo>
                    <a:pt x="351" y="58"/>
                  </a:lnTo>
                  <a:lnTo>
                    <a:pt x="357" y="59"/>
                  </a:lnTo>
                  <a:lnTo>
                    <a:pt x="359" y="59"/>
                  </a:lnTo>
                  <a:lnTo>
                    <a:pt x="361" y="59"/>
                  </a:lnTo>
                  <a:lnTo>
                    <a:pt x="363" y="59"/>
                  </a:lnTo>
                  <a:lnTo>
                    <a:pt x="365" y="58"/>
                  </a:lnTo>
                  <a:lnTo>
                    <a:pt x="369" y="58"/>
                  </a:lnTo>
                  <a:lnTo>
                    <a:pt x="370" y="58"/>
                  </a:lnTo>
                  <a:lnTo>
                    <a:pt x="372" y="58"/>
                  </a:lnTo>
                  <a:lnTo>
                    <a:pt x="374" y="58"/>
                  </a:lnTo>
                  <a:lnTo>
                    <a:pt x="376" y="58"/>
                  </a:lnTo>
                  <a:lnTo>
                    <a:pt x="382" y="59"/>
                  </a:lnTo>
                  <a:lnTo>
                    <a:pt x="384" y="60"/>
                  </a:lnTo>
                  <a:lnTo>
                    <a:pt x="386" y="61"/>
                  </a:lnTo>
                  <a:lnTo>
                    <a:pt x="387" y="62"/>
                  </a:lnTo>
                  <a:lnTo>
                    <a:pt x="391" y="64"/>
                  </a:lnTo>
                  <a:lnTo>
                    <a:pt x="392" y="65"/>
                  </a:lnTo>
                  <a:lnTo>
                    <a:pt x="399" y="69"/>
                  </a:lnTo>
                  <a:lnTo>
                    <a:pt x="403" y="70"/>
                  </a:lnTo>
                  <a:lnTo>
                    <a:pt x="404" y="71"/>
                  </a:lnTo>
                  <a:lnTo>
                    <a:pt x="406" y="72"/>
                  </a:lnTo>
                  <a:lnTo>
                    <a:pt x="407" y="73"/>
                  </a:lnTo>
                  <a:lnTo>
                    <a:pt x="415" y="80"/>
                  </a:lnTo>
                  <a:lnTo>
                    <a:pt x="416" y="82"/>
                  </a:lnTo>
                  <a:lnTo>
                    <a:pt x="418" y="83"/>
                  </a:lnTo>
                  <a:lnTo>
                    <a:pt x="420" y="85"/>
                  </a:lnTo>
                  <a:lnTo>
                    <a:pt x="424" y="87"/>
                  </a:lnTo>
                  <a:lnTo>
                    <a:pt x="426" y="89"/>
                  </a:lnTo>
                  <a:lnTo>
                    <a:pt x="428" y="90"/>
                  </a:lnTo>
                  <a:lnTo>
                    <a:pt x="431" y="91"/>
                  </a:lnTo>
                  <a:lnTo>
                    <a:pt x="434" y="92"/>
                  </a:lnTo>
                  <a:lnTo>
                    <a:pt x="441" y="93"/>
                  </a:lnTo>
                  <a:lnTo>
                    <a:pt x="449" y="96"/>
                  </a:lnTo>
                  <a:lnTo>
                    <a:pt x="451" y="97"/>
                  </a:lnTo>
                  <a:lnTo>
                    <a:pt x="454" y="98"/>
                  </a:lnTo>
                  <a:lnTo>
                    <a:pt x="455" y="99"/>
                  </a:lnTo>
                  <a:lnTo>
                    <a:pt x="456" y="100"/>
                  </a:lnTo>
                  <a:lnTo>
                    <a:pt x="457" y="101"/>
                  </a:lnTo>
                  <a:lnTo>
                    <a:pt x="457" y="102"/>
                  </a:lnTo>
                  <a:lnTo>
                    <a:pt x="458" y="104"/>
                  </a:lnTo>
                  <a:lnTo>
                    <a:pt x="460" y="110"/>
                  </a:lnTo>
                  <a:lnTo>
                    <a:pt x="460" y="112"/>
                  </a:lnTo>
                  <a:lnTo>
                    <a:pt x="460" y="114"/>
                  </a:lnTo>
                  <a:lnTo>
                    <a:pt x="461" y="114"/>
                  </a:lnTo>
                  <a:lnTo>
                    <a:pt x="462" y="115"/>
                  </a:lnTo>
                  <a:lnTo>
                    <a:pt x="463" y="116"/>
                  </a:lnTo>
                  <a:lnTo>
                    <a:pt x="464" y="117"/>
                  </a:lnTo>
                  <a:lnTo>
                    <a:pt x="465" y="118"/>
                  </a:lnTo>
                  <a:lnTo>
                    <a:pt x="467" y="119"/>
                  </a:lnTo>
                  <a:lnTo>
                    <a:pt x="470" y="119"/>
                  </a:lnTo>
                  <a:lnTo>
                    <a:pt x="473" y="120"/>
                  </a:lnTo>
                  <a:lnTo>
                    <a:pt x="476" y="121"/>
                  </a:lnTo>
                  <a:lnTo>
                    <a:pt x="481" y="123"/>
                  </a:lnTo>
                  <a:lnTo>
                    <a:pt x="484" y="124"/>
                  </a:lnTo>
                  <a:lnTo>
                    <a:pt x="487" y="126"/>
                  </a:lnTo>
                  <a:lnTo>
                    <a:pt x="491" y="127"/>
                  </a:lnTo>
                  <a:lnTo>
                    <a:pt x="494" y="129"/>
                  </a:lnTo>
                  <a:lnTo>
                    <a:pt x="499" y="133"/>
                  </a:lnTo>
                  <a:lnTo>
                    <a:pt x="501" y="134"/>
                  </a:lnTo>
                  <a:lnTo>
                    <a:pt x="504" y="136"/>
                  </a:lnTo>
                  <a:lnTo>
                    <a:pt x="506" y="137"/>
                  </a:lnTo>
                  <a:lnTo>
                    <a:pt x="510" y="138"/>
                  </a:lnTo>
                  <a:lnTo>
                    <a:pt x="514" y="139"/>
                  </a:lnTo>
                  <a:lnTo>
                    <a:pt x="516" y="139"/>
                  </a:lnTo>
                  <a:lnTo>
                    <a:pt x="520" y="140"/>
                  </a:lnTo>
                  <a:lnTo>
                    <a:pt x="521" y="140"/>
                  </a:lnTo>
                  <a:lnTo>
                    <a:pt x="523" y="141"/>
                  </a:lnTo>
                  <a:lnTo>
                    <a:pt x="524" y="142"/>
                  </a:lnTo>
                  <a:lnTo>
                    <a:pt x="525" y="143"/>
                  </a:lnTo>
                  <a:lnTo>
                    <a:pt x="525" y="144"/>
                  </a:lnTo>
                  <a:lnTo>
                    <a:pt x="526" y="146"/>
                  </a:lnTo>
                  <a:lnTo>
                    <a:pt x="525" y="148"/>
                  </a:lnTo>
                  <a:lnTo>
                    <a:pt x="525" y="149"/>
                  </a:lnTo>
                  <a:lnTo>
                    <a:pt x="525" y="150"/>
                  </a:lnTo>
                  <a:lnTo>
                    <a:pt x="523" y="156"/>
                  </a:lnTo>
                  <a:lnTo>
                    <a:pt x="522" y="159"/>
                  </a:lnTo>
                  <a:lnTo>
                    <a:pt x="522" y="160"/>
                  </a:lnTo>
                  <a:lnTo>
                    <a:pt x="521" y="162"/>
                  </a:lnTo>
                  <a:lnTo>
                    <a:pt x="522" y="164"/>
                  </a:lnTo>
                  <a:lnTo>
                    <a:pt x="522" y="166"/>
                  </a:lnTo>
                  <a:lnTo>
                    <a:pt x="523" y="169"/>
                  </a:lnTo>
                  <a:lnTo>
                    <a:pt x="524" y="171"/>
                  </a:lnTo>
                  <a:lnTo>
                    <a:pt x="526" y="173"/>
                  </a:lnTo>
                  <a:lnTo>
                    <a:pt x="528" y="176"/>
                  </a:lnTo>
                  <a:lnTo>
                    <a:pt x="531" y="179"/>
                  </a:lnTo>
                  <a:lnTo>
                    <a:pt x="534" y="182"/>
                  </a:lnTo>
                  <a:lnTo>
                    <a:pt x="537" y="183"/>
                  </a:lnTo>
                  <a:lnTo>
                    <a:pt x="540" y="185"/>
                  </a:lnTo>
                  <a:lnTo>
                    <a:pt x="543" y="187"/>
                  </a:lnTo>
                  <a:lnTo>
                    <a:pt x="551" y="191"/>
                  </a:lnTo>
                  <a:lnTo>
                    <a:pt x="550" y="191"/>
                  </a:lnTo>
                  <a:lnTo>
                    <a:pt x="548" y="193"/>
                  </a:lnTo>
                  <a:lnTo>
                    <a:pt x="546" y="194"/>
                  </a:lnTo>
                  <a:lnTo>
                    <a:pt x="544" y="196"/>
                  </a:lnTo>
                  <a:lnTo>
                    <a:pt x="540" y="201"/>
                  </a:lnTo>
                  <a:lnTo>
                    <a:pt x="538" y="206"/>
                  </a:lnTo>
                  <a:lnTo>
                    <a:pt x="535" y="210"/>
                  </a:lnTo>
                  <a:lnTo>
                    <a:pt x="533" y="216"/>
                  </a:lnTo>
                  <a:lnTo>
                    <a:pt x="530" y="221"/>
                  </a:lnTo>
                  <a:lnTo>
                    <a:pt x="527" y="229"/>
                  </a:lnTo>
                  <a:lnTo>
                    <a:pt x="524" y="234"/>
                  </a:lnTo>
                  <a:lnTo>
                    <a:pt x="523" y="237"/>
                  </a:lnTo>
                  <a:lnTo>
                    <a:pt x="521" y="239"/>
                  </a:lnTo>
                  <a:lnTo>
                    <a:pt x="520" y="240"/>
                  </a:lnTo>
                  <a:lnTo>
                    <a:pt x="518" y="241"/>
                  </a:lnTo>
                  <a:lnTo>
                    <a:pt x="517" y="242"/>
                  </a:lnTo>
                  <a:lnTo>
                    <a:pt x="517" y="243"/>
                  </a:lnTo>
                  <a:lnTo>
                    <a:pt x="515" y="243"/>
                  </a:lnTo>
                  <a:lnTo>
                    <a:pt x="514" y="244"/>
                  </a:lnTo>
                  <a:lnTo>
                    <a:pt x="508" y="244"/>
                  </a:lnTo>
                  <a:lnTo>
                    <a:pt x="506" y="245"/>
                  </a:lnTo>
                  <a:lnTo>
                    <a:pt x="505" y="245"/>
                  </a:lnTo>
                  <a:lnTo>
                    <a:pt x="505" y="246"/>
                  </a:lnTo>
                  <a:lnTo>
                    <a:pt x="505" y="247"/>
                  </a:lnTo>
                  <a:lnTo>
                    <a:pt x="504" y="248"/>
                  </a:lnTo>
                  <a:lnTo>
                    <a:pt x="503" y="249"/>
                  </a:lnTo>
                  <a:lnTo>
                    <a:pt x="503" y="250"/>
                  </a:lnTo>
                  <a:lnTo>
                    <a:pt x="503" y="250"/>
                  </a:lnTo>
                  <a:lnTo>
                    <a:pt x="503" y="251"/>
                  </a:lnTo>
                  <a:lnTo>
                    <a:pt x="503" y="253"/>
                  </a:lnTo>
                  <a:lnTo>
                    <a:pt x="504" y="259"/>
                  </a:lnTo>
                  <a:lnTo>
                    <a:pt x="504" y="261"/>
                  </a:lnTo>
                  <a:lnTo>
                    <a:pt x="504" y="262"/>
                  </a:lnTo>
                  <a:lnTo>
                    <a:pt x="503" y="263"/>
                  </a:lnTo>
                  <a:lnTo>
                    <a:pt x="503" y="265"/>
                  </a:lnTo>
                  <a:lnTo>
                    <a:pt x="502" y="266"/>
                  </a:lnTo>
                  <a:lnTo>
                    <a:pt x="501" y="268"/>
                  </a:lnTo>
                  <a:lnTo>
                    <a:pt x="500" y="269"/>
                  </a:lnTo>
                  <a:lnTo>
                    <a:pt x="499" y="270"/>
                  </a:lnTo>
                  <a:lnTo>
                    <a:pt x="496" y="271"/>
                  </a:lnTo>
                  <a:lnTo>
                    <a:pt x="492" y="273"/>
                  </a:lnTo>
                  <a:lnTo>
                    <a:pt x="489" y="273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78"/>
                  </a:lnTo>
                  <a:lnTo>
                    <a:pt x="482" y="280"/>
                  </a:lnTo>
                  <a:lnTo>
                    <a:pt x="472" y="289"/>
                  </a:lnTo>
                  <a:lnTo>
                    <a:pt x="471" y="292"/>
                  </a:lnTo>
                  <a:lnTo>
                    <a:pt x="469" y="295"/>
                  </a:lnTo>
                  <a:lnTo>
                    <a:pt x="468" y="297"/>
                  </a:lnTo>
                  <a:lnTo>
                    <a:pt x="467" y="300"/>
                  </a:lnTo>
                  <a:lnTo>
                    <a:pt x="467" y="302"/>
                  </a:lnTo>
                  <a:lnTo>
                    <a:pt x="467" y="306"/>
                  </a:lnTo>
                  <a:lnTo>
                    <a:pt x="467" y="307"/>
                  </a:lnTo>
                  <a:lnTo>
                    <a:pt x="467" y="310"/>
                  </a:lnTo>
                  <a:lnTo>
                    <a:pt x="470" y="321"/>
                  </a:lnTo>
                  <a:lnTo>
                    <a:pt x="470" y="324"/>
                  </a:lnTo>
                  <a:lnTo>
                    <a:pt x="471" y="327"/>
                  </a:lnTo>
                  <a:lnTo>
                    <a:pt x="471" y="329"/>
                  </a:lnTo>
                  <a:lnTo>
                    <a:pt x="471" y="333"/>
                  </a:lnTo>
                  <a:lnTo>
                    <a:pt x="471" y="336"/>
                  </a:lnTo>
                  <a:lnTo>
                    <a:pt x="470" y="339"/>
                  </a:lnTo>
                  <a:lnTo>
                    <a:pt x="470" y="341"/>
                  </a:lnTo>
                  <a:lnTo>
                    <a:pt x="469" y="341"/>
                  </a:lnTo>
                  <a:lnTo>
                    <a:pt x="467" y="346"/>
                  </a:lnTo>
                  <a:lnTo>
                    <a:pt x="466" y="349"/>
                  </a:lnTo>
                  <a:lnTo>
                    <a:pt x="466" y="352"/>
                  </a:lnTo>
                  <a:lnTo>
                    <a:pt x="466" y="356"/>
                  </a:lnTo>
                  <a:lnTo>
                    <a:pt x="466" y="358"/>
                  </a:lnTo>
                  <a:lnTo>
                    <a:pt x="465" y="360"/>
                  </a:lnTo>
                  <a:lnTo>
                    <a:pt x="465" y="363"/>
                  </a:lnTo>
                  <a:lnTo>
                    <a:pt x="464" y="365"/>
                  </a:lnTo>
                  <a:lnTo>
                    <a:pt x="463" y="369"/>
                  </a:lnTo>
                  <a:lnTo>
                    <a:pt x="461" y="372"/>
                  </a:lnTo>
                  <a:lnTo>
                    <a:pt x="460" y="375"/>
                  </a:lnTo>
                  <a:lnTo>
                    <a:pt x="459" y="378"/>
                  </a:lnTo>
                  <a:lnTo>
                    <a:pt x="457" y="380"/>
                  </a:lnTo>
                  <a:lnTo>
                    <a:pt x="456" y="383"/>
                  </a:lnTo>
                  <a:lnTo>
                    <a:pt x="454" y="385"/>
                  </a:lnTo>
                  <a:lnTo>
                    <a:pt x="451" y="387"/>
                  </a:lnTo>
                  <a:lnTo>
                    <a:pt x="449" y="389"/>
                  </a:lnTo>
                  <a:lnTo>
                    <a:pt x="449" y="389"/>
                  </a:lnTo>
                  <a:lnTo>
                    <a:pt x="445" y="386"/>
                  </a:lnTo>
                  <a:lnTo>
                    <a:pt x="443" y="386"/>
                  </a:lnTo>
                  <a:lnTo>
                    <a:pt x="442" y="385"/>
                  </a:lnTo>
                  <a:lnTo>
                    <a:pt x="439" y="384"/>
                  </a:lnTo>
                  <a:lnTo>
                    <a:pt x="437" y="384"/>
                  </a:lnTo>
                  <a:lnTo>
                    <a:pt x="434" y="383"/>
                  </a:lnTo>
                  <a:lnTo>
                    <a:pt x="432" y="383"/>
                  </a:lnTo>
                  <a:lnTo>
                    <a:pt x="430" y="382"/>
                  </a:lnTo>
                  <a:lnTo>
                    <a:pt x="427" y="381"/>
                  </a:lnTo>
                  <a:lnTo>
                    <a:pt x="425" y="380"/>
                  </a:lnTo>
                  <a:lnTo>
                    <a:pt x="423" y="379"/>
                  </a:lnTo>
                  <a:lnTo>
                    <a:pt x="422" y="379"/>
                  </a:lnTo>
                  <a:lnTo>
                    <a:pt x="421" y="378"/>
                  </a:lnTo>
                  <a:lnTo>
                    <a:pt x="419" y="377"/>
                  </a:lnTo>
                  <a:lnTo>
                    <a:pt x="417" y="375"/>
                  </a:lnTo>
                  <a:lnTo>
                    <a:pt x="416" y="375"/>
                  </a:lnTo>
                  <a:lnTo>
                    <a:pt x="415" y="375"/>
                  </a:lnTo>
                  <a:lnTo>
                    <a:pt x="415" y="376"/>
                  </a:lnTo>
                  <a:lnTo>
                    <a:pt x="415" y="378"/>
                  </a:lnTo>
                  <a:lnTo>
                    <a:pt x="415" y="381"/>
                  </a:lnTo>
                  <a:lnTo>
                    <a:pt x="415" y="392"/>
                  </a:lnTo>
                  <a:lnTo>
                    <a:pt x="415" y="397"/>
                  </a:lnTo>
                  <a:lnTo>
                    <a:pt x="415" y="401"/>
                  </a:lnTo>
                  <a:lnTo>
                    <a:pt x="414" y="405"/>
                  </a:lnTo>
                  <a:lnTo>
                    <a:pt x="414" y="407"/>
                  </a:lnTo>
                  <a:lnTo>
                    <a:pt x="413" y="409"/>
                  </a:lnTo>
                  <a:lnTo>
                    <a:pt x="412" y="410"/>
                  </a:lnTo>
                  <a:lnTo>
                    <a:pt x="411" y="412"/>
                  </a:lnTo>
                  <a:lnTo>
                    <a:pt x="410" y="414"/>
                  </a:lnTo>
                  <a:lnTo>
                    <a:pt x="408" y="416"/>
                  </a:lnTo>
                  <a:lnTo>
                    <a:pt x="407" y="418"/>
                  </a:lnTo>
                  <a:lnTo>
                    <a:pt x="406" y="419"/>
                  </a:lnTo>
                  <a:lnTo>
                    <a:pt x="404" y="420"/>
                  </a:lnTo>
                  <a:lnTo>
                    <a:pt x="403" y="420"/>
                  </a:lnTo>
                  <a:lnTo>
                    <a:pt x="403" y="420"/>
                  </a:lnTo>
                  <a:lnTo>
                    <a:pt x="401" y="421"/>
                  </a:lnTo>
                  <a:lnTo>
                    <a:pt x="400" y="421"/>
                  </a:lnTo>
                  <a:lnTo>
                    <a:pt x="398" y="421"/>
                  </a:lnTo>
                  <a:lnTo>
                    <a:pt x="396" y="421"/>
                  </a:lnTo>
                  <a:lnTo>
                    <a:pt x="395" y="420"/>
                  </a:lnTo>
                  <a:lnTo>
                    <a:pt x="392" y="420"/>
                  </a:lnTo>
                  <a:lnTo>
                    <a:pt x="390" y="419"/>
                  </a:lnTo>
                  <a:lnTo>
                    <a:pt x="387" y="417"/>
                  </a:lnTo>
                  <a:lnTo>
                    <a:pt x="383" y="415"/>
                  </a:lnTo>
                  <a:lnTo>
                    <a:pt x="376" y="409"/>
                  </a:lnTo>
                  <a:lnTo>
                    <a:pt x="375" y="409"/>
                  </a:lnTo>
                  <a:lnTo>
                    <a:pt x="371" y="405"/>
                  </a:lnTo>
                  <a:lnTo>
                    <a:pt x="369" y="405"/>
                  </a:lnTo>
                  <a:lnTo>
                    <a:pt x="369" y="404"/>
                  </a:lnTo>
                  <a:lnTo>
                    <a:pt x="368" y="403"/>
                  </a:lnTo>
                  <a:lnTo>
                    <a:pt x="366" y="403"/>
                  </a:lnTo>
                  <a:lnTo>
                    <a:pt x="365" y="403"/>
                  </a:lnTo>
                  <a:lnTo>
                    <a:pt x="363" y="403"/>
                  </a:lnTo>
                  <a:lnTo>
                    <a:pt x="362" y="403"/>
                  </a:lnTo>
                  <a:lnTo>
                    <a:pt x="360" y="403"/>
                  </a:lnTo>
                  <a:lnTo>
                    <a:pt x="359" y="404"/>
                  </a:lnTo>
                  <a:lnTo>
                    <a:pt x="358" y="404"/>
                  </a:lnTo>
                  <a:lnTo>
                    <a:pt x="356" y="405"/>
                  </a:lnTo>
                  <a:lnTo>
                    <a:pt x="354" y="407"/>
                  </a:lnTo>
                  <a:lnTo>
                    <a:pt x="351" y="410"/>
                  </a:lnTo>
                  <a:lnTo>
                    <a:pt x="348" y="414"/>
                  </a:lnTo>
                  <a:lnTo>
                    <a:pt x="345" y="419"/>
                  </a:lnTo>
                  <a:lnTo>
                    <a:pt x="342" y="422"/>
                  </a:lnTo>
                  <a:lnTo>
                    <a:pt x="339" y="426"/>
                  </a:lnTo>
                  <a:lnTo>
                    <a:pt x="338" y="428"/>
                  </a:lnTo>
                  <a:lnTo>
                    <a:pt x="338" y="429"/>
                  </a:lnTo>
                  <a:lnTo>
                    <a:pt x="337" y="430"/>
                  </a:lnTo>
                  <a:lnTo>
                    <a:pt x="337" y="431"/>
                  </a:lnTo>
                  <a:lnTo>
                    <a:pt x="337" y="432"/>
                  </a:lnTo>
                  <a:lnTo>
                    <a:pt x="337" y="434"/>
                  </a:lnTo>
                  <a:lnTo>
                    <a:pt x="337" y="437"/>
                  </a:lnTo>
                  <a:lnTo>
                    <a:pt x="340" y="448"/>
                  </a:lnTo>
                  <a:lnTo>
                    <a:pt x="340" y="450"/>
                  </a:lnTo>
                  <a:lnTo>
                    <a:pt x="340" y="451"/>
                  </a:lnTo>
                  <a:lnTo>
                    <a:pt x="339" y="452"/>
                  </a:lnTo>
                  <a:lnTo>
                    <a:pt x="339" y="453"/>
                  </a:lnTo>
                  <a:lnTo>
                    <a:pt x="338" y="453"/>
                  </a:lnTo>
                  <a:lnTo>
                    <a:pt x="338" y="454"/>
                  </a:lnTo>
                  <a:lnTo>
                    <a:pt x="337" y="454"/>
                  </a:lnTo>
                  <a:lnTo>
                    <a:pt x="336" y="455"/>
                  </a:lnTo>
                  <a:lnTo>
                    <a:pt x="335" y="455"/>
                  </a:lnTo>
                  <a:lnTo>
                    <a:pt x="332" y="456"/>
                  </a:lnTo>
                  <a:lnTo>
                    <a:pt x="328" y="458"/>
                  </a:lnTo>
                  <a:lnTo>
                    <a:pt x="327" y="458"/>
                  </a:lnTo>
                  <a:lnTo>
                    <a:pt x="325" y="458"/>
                  </a:lnTo>
                  <a:lnTo>
                    <a:pt x="323" y="458"/>
                  </a:lnTo>
                  <a:lnTo>
                    <a:pt x="320" y="457"/>
                  </a:lnTo>
                  <a:lnTo>
                    <a:pt x="312" y="455"/>
                  </a:lnTo>
                  <a:lnTo>
                    <a:pt x="308" y="454"/>
                  </a:lnTo>
                  <a:lnTo>
                    <a:pt x="306" y="454"/>
                  </a:lnTo>
                  <a:lnTo>
                    <a:pt x="298" y="450"/>
                  </a:lnTo>
                  <a:lnTo>
                    <a:pt x="293" y="449"/>
                  </a:lnTo>
                  <a:lnTo>
                    <a:pt x="290" y="448"/>
                  </a:lnTo>
                  <a:lnTo>
                    <a:pt x="287" y="447"/>
                  </a:lnTo>
                  <a:lnTo>
                    <a:pt x="283" y="446"/>
                  </a:lnTo>
                  <a:lnTo>
                    <a:pt x="280" y="446"/>
                  </a:lnTo>
                  <a:lnTo>
                    <a:pt x="268" y="445"/>
                  </a:lnTo>
                  <a:lnTo>
                    <a:pt x="263" y="445"/>
                  </a:lnTo>
                  <a:lnTo>
                    <a:pt x="259" y="444"/>
                  </a:lnTo>
                  <a:lnTo>
                    <a:pt x="255" y="443"/>
                  </a:lnTo>
                  <a:lnTo>
                    <a:pt x="252" y="443"/>
                  </a:lnTo>
                  <a:lnTo>
                    <a:pt x="248" y="442"/>
                  </a:lnTo>
                  <a:lnTo>
                    <a:pt x="237" y="436"/>
                  </a:lnTo>
                  <a:lnTo>
                    <a:pt x="228" y="432"/>
                  </a:lnTo>
                  <a:lnTo>
                    <a:pt x="221" y="430"/>
                  </a:lnTo>
                  <a:lnTo>
                    <a:pt x="218" y="429"/>
                  </a:lnTo>
                  <a:lnTo>
                    <a:pt x="216" y="429"/>
                  </a:lnTo>
                  <a:lnTo>
                    <a:pt x="214" y="429"/>
                  </a:lnTo>
                  <a:lnTo>
                    <a:pt x="212" y="428"/>
                  </a:lnTo>
                  <a:lnTo>
                    <a:pt x="210" y="428"/>
                  </a:lnTo>
                  <a:lnTo>
                    <a:pt x="208" y="428"/>
                  </a:lnTo>
                  <a:lnTo>
                    <a:pt x="204" y="429"/>
                  </a:lnTo>
                  <a:lnTo>
                    <a:pt x="197" y="430"/>
                  </a:lnTo>
                  <a:lnTo>
                    <a:pt x="193" y="430"/>
                  </a:lnTo>
                  <a:lnTo>
                    <a:pt x="192" y="430"/>
                  </a:lnTo>
                  <a:lnTo>
                    <a:pt x="191" y="430"/>
                  </a:lnTo>
                  <a:lnTo>
                    <a:pt x="190" y="429"/>
                  </a:lnTo>
                  <a:lnTo>
                    <a:pt x="188" y="427"/>
                  </a:lnTo>
                  <a:lnTo>
                    <a:pt x="187" y="425"/>
                  </a:lnTo>
                  <a:lnTo>
                    <a:pt x="182" y="420"/>
                  </a:lnTo>
                  <a:lnTo>
                    <a:pt x="179" y="416"/>
                  </a:lnTo>
                  <a:lnTo>
                    <a:pt x="176" y="412"/>
                  </a:lnTo>
                  <a:lnTo>
                    <a:pt x="176" y="409"/>
                  </a:lnTo>
                  <a:lnTo>
                    <a:pt x="175" y="408"/>
                  </a:lnTo>
                  <a:lnTo>
                    <a:pt x="175" y="407"/>
                  </a:lnTo>
                  <a:lnTo>
                    <a:pt x="174" y="404"/>
                  </a:lnTo>
                  <a:lnTo>
                    <a:pt x="174" y="400"/>
                  </a:lnTo>
                  <a:lnTo>
                    <a:pt x="174" y="398"/>
                  </a:lnTo>
                  <a:lnTo>
                    <a:pt x="174" y="396"/>
                  </a:lnTo>
                  <a:lnTo>
                    <a:pt x="177" y="382"/>
                  </a:lnTo>
                  <a:lnTo>
                    <a:pt x="177" y="379"/>
                  </a:lnTo>
                  <a:lnTo>
                    <a:pt x="177" y="376"/>
                  </a:lnTo>
                  <a:lnTo>
                    <a:pt x="178" y="370"/>
                  </a:lnTo>
                  <a:lnTo>
                    <a:pt x="178" y="365"/>
                  </a:lnTo>
                  <a:lnTo>
                    <a:pt x="178" y="363"/>
                  </a:lnTo>
                  <a:lnTo>
                    <a:pt x="179" y="360"/>
                  </a:lnTo>
                  <a:lnTo>
                    <a:pt x="180" y="356"/>
                  </a:lnTo>
                  <a:lnTo>
                    <a:pt x="181" y="353"/>
                  </a:lnTo>
                  <a:lnTo>
                    <a:pt x="182" y="351"/>
                  </a:lnTo>
                  <a:lnTo>
                    <a:pt x="184" y="348"/>
                  </a:lnTo>
                  <a:lnTo>
                    <a:pt x="185" y="345"/>
                  </a:lnTo>
                  <a:lnTo>
                    <a:pt x="187" y="342"/>
                  </a:lnTo>
                  <a:lnTo>
                    <a:pt x="188" y="340"/>
                  </a:lnTo>
                  <a:lnTo>
                    <a:pt x="194" y="333"/>
                  </a:lnTo>
                  <a:lnTo>
                    <a:pt x="196" y="331"/>
                  </a:lnTo>
                  <a:lnTo>
                    <a:pt x="197" y="329"/>
                  </a:lnTo>
                  <a:lnTo>
                    <a:pt x="198" y="328"/>
                  </a:lnTo>
                  <a:lnTo>
                    <a:pt x="198" y="327"/>
                  </a:lnTo>
                  <a:lnTo>
                    <a:pt x="198" y="326"/>
                  </a:lnTo>
                  <a:lnTo>
                    <a:pt x="197" y="325"/>
                  </a:lnTo>
                  <a:lnTo>
                    <a:pt x="197" y="323"/>
                  </a:lnTo>
                  <a:lnTo>
                    <a:pt x="196" y="321"/>
                  </a:lnTo>
                  <a:lnTo>
                    <a:pt x="194" y="318"/>
                  </a:lnTo>
                  <a:lnTo>
                    <a:pt x="193" y="317"/>
                  </a:lnTo>
                  <a:lnTo>
                    <a:pt x="192" y="316"/>
                  </a:lnTo>
                  <a:lnTo>
                    <a:pt x="191" y="316"/>
                  </a:lnTo>
                  <a:lnTo>
                    <a:pt x="190" y="315"/>
                  </a:lnTo>
                  <a:lnTo>
                    <a:pt x="189" y="314"/>
                  </a:lnTo>
                  <a:lnTo>
                    <a:pt x="187" y="313"/>
                  </a:lnTo>
                  <a:lnTo>
                    <a:pt x="186" y="312"/>
                  </a:lnTo>
                  <a:lnTo>
                    <a:pt x="179" y="310"/>
                  </a:lnTo>
                  <a:lnTo>
                    <a:pt x="176" y="309"/>
                  </a:lnTo>
                  <a:lnTo>
                    <a:pt x="171" y="307"/>
                  </a:lnTo>
                  <a:lnTo>
                    <a:pt x="166" y="304"/>
                  </a:lnTo>
                  <a:lnTo>
                    <a:pt x="164" y="303"/>
                  </a:lnTo>
                  <a:lnTo>
                    <a:pt x="163" y="301"/>
                  </a:lnTo>
                  <a:lnTo>
                    <a:pt x="161" y="300"/>
                  </a:lnTo>
                  <a:lnTo>
                    <a:pt x="158" y="296"/>
                  </a:lnTo>
                  <a:lnTo>
                    <a:pt x="156" y="295"/>
                  </a:lnTo>
                  <a:lnTo>
                    <a:pt x="154" y="293"/>
                  </a:lnTo>
                  <a:lnTo>
                    <a:pt x="152" y="292"/>
                  </a:lnTo>
                  <a:lnTo>
                    <a:pt x="147" y="288"/>
                  </a:lnTo>
                  <a:lnTo>
                    <a:pt x="139" y="283"/>
                  </a:lnTo>
                  <a:lnTo>
                    <a:pt x="137" y="282"/>
                  </a:lnTo>
                  <a:lnTo>
                    <a:pt x="135" y="281"/>
                  </a:lnTo>
                  <a:lnTo>
                    <a:pt x="134" y="281"/>
                  </a:lnTo>
                  <a:lnTo>
                    <a:pt x="133" y="281"/>
                  </a:lnTo>
                  <a:lnTo>
                    <a:pt x="132" y="281"/>
                  </a:lnTo>
                  <a:lnTo>
                    <a:pt x="131" y="281"/>
                  </a:lnTo>
                  <a:lnTo>
                    <a:pt x="130" y="282"/>
                  </a:lnTo>
                  <a:lnTo>
                    <a:pt x="123" y="286"/>
                  </a:lnTo>
                  <a:lnTo>
                    <a:pt x="121" y="287"/>
                  </a:lnTo>
                  <a:lnTo>
                    <a:pt x="119" y="288"/>
                  </a:lnTo>
                  <a:lnTo>
                    <a:pt x="116" y="289"/>
                  </a:lnTo>
                  <a:lnTo>
                    <a:pt x="112" y="290"/>
                  </a:lnTo>
                  <a:lnTo>
                    <a:pt x="107" y="291"/>
                  </a:lnTo>
                  <a:lnTo>
                    <a:pt x="102" y="291"/>
                  </a:lnTo>
                  <a:lnTo>
                    <a:pt x="95" y="292"/>
                  </a:lnTo>
                  <a:lnTo>
                    <a:pt x="85" y="293"/>
                  </a:lnTo>
                  <a:lnTo>
                    <a:pt x="84" y="294"/>
                  </a:lnTo>
                  <a:lnTo>
                    <a:pt x="81" y="294"/>
                  </a:lnTo>
                  <a:lnTo>
                    <a:pt x="75" y="294"/>
                  </a:lnTo>
                  <a:lnTo>
                    <a:pt x="73" y="293"/>
                  </a:lnTo>
                  <a:lnTo>
                    <a:pt x="71" y="293"/>
                  </a:lnTo>
                  <a:lnTo>
                    <a:pt x="69" y="292"/>
                  </a:lnTo>
                  <a:lnTo>
                    <a:pt x="66" y="292"/>
                  </a:lnTo>
                  <a:lnTo>
                    <a:pt x="62" y="290"/>
                  </a:lnTo>
                  <a:lnTo>
                    <a:pt x="60" y="289"/>
                  </a:lnTo>
                  <a:lnTo>
                    <a:pt x="58" y="288"/>
                  </a:lnTo>
                  <a:lnTo>
                    <a:pt x="56" y="287"/>
                  </a:lnTo>
                  <a:lnTo>
                    <a:pt x="55" y="285"/>
                  </a:lnTo>
                  <a:lnTo>
                    <a:pt x="53" y="284"/>
                  </a:lnTo>
                  <a:lnTo>
                    <a:pt x="52" y="284"/>
                  </a:lnTo>
                  <a:lnTo>
                    <a:pt x="51" y="282"/>
                  </a:lnTo>
                  <a:lnTo>
                    <a:pt x="52" y="277"/>
                  </a:lnTo>
                  <a:lnTo>
                    <a:pt x="53" y="274"/>
                  </a:lnTo>
                  <a:lnTo>
                    <a:pt x="53" y="262"/>
                  </a:lnTo>
                  <a:lnTo>
                    <a:pt x="53" y="261"/>
                  </a:lnTo>
                  <a:lnTo>
                    <a:pt x="53" y="259"/>
                  </a:lnTo>
                  <a:lnTo>
                    <a:pt x="53" y="258"/>
                  </a:lnTo>
                  <a:lnTo>
                    <a:pt x="52" y="256"/>
                  </a:lnTo>
                  <a:lnTo>
                    <a:pt x="51" y="252"/>
                  </a:lnTo>
                  <a:lnTo>
                    <a:pt x="50" y="250"/>
                  </a:lnTo>
                  <a:lnTo>
                    <a:pt x="47" y="245"/>
                  </a:lnTo>
                  <a:lnTo>
                    <a:pt x="44" y="239"/>
                  </a:lnTo>
                  <a:lnTo>
                    <a:pt x="43" y="238"/>
                  </a:lnTo>
                  <a:lnTo>
                    <a:pt x="41" y="236"/>
                  </a:lnTo>
                  <a:lnTo>
                    <a:pt x="40" y="235"/>
                  </a:lnTo>
                  <a:lnTo>
                    <a:pt x="39" y="234"/>
                  </a:lnTo>
                  <a:lnTo>
                    <a:pt x="36" y="234"/>
                  </a:lnTo>
                  <a:lnTo>
                    <a:pt x="33" y="233"/>
                  </a:lnTo>
                  <a:lnTo>
                    <a:pt x="30" y="233"/>
                  </a:lnTo>
                  <a:lnTo>
                    <a:pt x="26" y="232"/>
                  </a:lnTo>
                  <a:lnTo>
                    <a:pt x="24" y="232"/>
                  </a:lnTo>
                  <a:lnTo>
                    <a:pt x="23" y="232"/>
                  </a:lnTo>
                  <a:lnTo>
                    <a:pt x="21" y="231"/>
                  </a:lnTo>
                  <a:lnTo>
                    <a:pt x="17" y="228"/>
                  </a:lnTo>
                  <a:lnTo>
                    <a:pt x="15" y="228"/>
                  </a:lnTo>
                  <a:lnTo>
                    <a:pt x="13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7" y="227"/>
                  </a:lnTo>
                  <a:lnTo>
                    <a:pt x="5" y="226"/>
                  </a:lnTo>
                  <a:lnTo>
                    <a:pt x="5" y="225"/>
                  </a:lnTo>
                  <a:lnTo>
                    <a:pt x="4" y="223"/>
                  </a:lnTo>
                  <a:lnTo>
                    <a:pt x="3" y="221"/>
                  </a:lnTo>
                  <a:lnTo>
                    <a:pt x="3" y="218"/>
                  </a:lnTo>
                  <a:lnTo>
                    <a:pt x="2" y="216"/>
                  </a:lnTo>
                  <a:lnTo>
                    <a:pt x="1" y="209"/>
                  </a:lnTo>
                  <a:lnTo>
                    <a:pt x="0" y="197"/>
                  </a:lnTo>
                  <a:lnTo>
                    <a:pt x="0" y="196"/>
                  </a:lnTo>
                  <a:lnTo>
                    <a:pt x="0" y="195"/>
                  </a:lnTo>
                  <a:lnTo>
                    <a:pt x="1" y="193"/>
                  </a:lnTo>
                  <a:lnTo>
                    <a:pt x="2" y="190"/>
                  </a:lnTo>
                  <a:lnTo>
                    <a:pt x="4" y="187"/>
                  </a:lnTo>
                  <a:lnTo>
                    <a:pt x="5" y="184"/>
                  </a:lnTo>
                  <a:lnTo>
                    <a:pt x="8" y="180"/>
                  </a:lnTo>
                  <a:lnTo>
                    <a:pt x="18" y="168"/>
                  </a:lnTo>
                  <a:lnTo>
                    <a:pt x="24" y="160"/>
                  </a:lnTo>
                  <a:lnTo>
                    <a:pt x="25" y="160"/>
                  </a:lnTo>
                  <a:lnTo>
                    <a:pt x="26" y="158"/>
                  </a:lnTo>
                  <a:lnTo>
                    <a:pt x="27" y="156"/>
                  </a:lnTo>
                  <a:lnTo>
                    <a:pt x="28" y="154"/>
                  </a:lnTo>
                  <a:lnTo>
                    <a:pt x="30" y="147"/>
                  </a:lnTo>
                  <a:lnTo>
                    <a:pt x="33" y="140"/>
                  </a:lnTo>
                  <a:lnTo>
                    <a:pt x="34" y="138"/>
                  </a:lnTo>
                  <a:lnTo>
                    <a:pt x="35" y="134"/>
                  </a:lnTo>
                  <a:lnTo>
                    <a:pt x="36" y="132"/>
                  </a:lnTo>
                  <a:lnTo>
                    <a:pt x="37" y="131"/>
                  </a:lnTo>
                  <a:lnTo>
                    <a:pt x="38" y="129"/>
                  </a:lnTo>
                  <a:lnTo>
                    <a:pt x="39" y="127"/>
                  </a:lnTo>
                  <a:lnTo>
                    <a:pt x="40" y="126"/>
                  </a:lnTo>
                  <a:lnTo>
                    <a:pt x="41" y="126"/>
                  </a:lnTo>
                  <a:lnTo>
                    <a:pt x="42" y="125"/>
                  </a:lnTo>
                  <a:lnTo>
                    <a:pt x="46" y="124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2"/>
                  </a:lnTo>
                  <a:lnTo>
                    <a:pt x="53" y="122"/>
                  </a:lnTo>
                  <a:lnTo>
                    <a:pt x="54" y="123"/>
                  </a:lnTo>
                  <a:lnTo>
                    <a:pt x="55" y="123"/>
                  </a:lnTo>
                  <a:lnTo>
                    <a:pt x="58" y="125"/>
                  </a:lnTo>
                  <a:lnTo>
                    <a:pt x="59" y="125"/>
                  </a:lnTo>
                  <a:lnTo>
                    <a:pt x="61" y="126"/>
                  </a:lnTo>
                  <a:lnTo>
                    <a:pt x="62" y="126"/>
                  </a:lnTo>
                  <a:lnTo>
                    <a:pt x="65" y="126"/>
                  </a:lnTo>
                  <a:lnTo>
                    <a:pt x="67" y="126"/>
                  </a:lnTo>
                  <a:lnTo>
                    <a:pt x="69" y="126"/>
                  </a:lnTo>
                  <a:lnTo>
                    <a:pt x="71" y="125"/>
                  </a:lnTo>
                  <a:lnTo>
                    <a:pt x="73" y="124"/>
                  </a:lnTo>
                  <a:lnTo>
                    <a:pt x="75" y="123"/>
                  </a:lnTo>
                  <a:lnTo>
                    <a:pt x="85" y="117"/>
                  </a:lnTo>
                  <a:lnTo>
                    <a:pt x="88" y="116"/>
                  </a:lnTo>
                  <a:lnTo>
                    <a:pt x="92" y="114"/>
                  </a:lnTo>
                  <a:lnTo>
                    <a:pt x="95" y="114"/>
                  </a:lnTo>
                  <a:lnTo>
                    <a:pt x="105" y="111"/>
                  </a:lnTo>
                  <a:lnTo>
                    <a:pt x="114" y="108"/>
                  </a:lnTo>
                  <a:lnTo>
                    <a:pt x="119" y="106"/>
                  </a:lnTo>
                  <a:lnTo>
                    <a:pt x="120" y="106"/>
                  </a:lnTo>
                  <a:lnTo>
                    <a:pt x="126" y="105"/>
                  </a:lnTo>
                  <a:lnTo>
                    <a:pt x="128" y="104"/>
                  </a:lnTo>
                  <a:lnTo>
                    <a:pt x="130" y="103"/>
                  </a:lnTo>
                  <a:lnTo>
                    <a:pt x="132" y="103"/>
                  </a:lnTo>
                  <a:lnTo>
                    <a:pt x="140" y="98"/>
                  </a:lnTo>
                  <a:lnTo>
                    <a:pt x="142" y="97"/>
                  </a:lnTo>
                  <a:lnTo>
                    <a:pt x="142" y="96"/>
                  </a:lnTo>
                  <a:lnTo>
                    <a:pt x="143" y="95"/>
                  </a:lnTo>
                  <a:lnTo>
                    <a:pt x="145" y="93"/>
                  </a:lnTo>
                  <a:lnTo>
                    <a:pt x="150" y="87"/>
                  </a:lnTo>
                  <a:lnTo>
                    <a:pt x="153" y="83"/>
                  </a:lnTo>
                  <a:lnTo>
                    <a:pt x="154" y="81"/>
                  </a:lnTo>
                  <a:lnTo>
                    <a:pt x="155" y="80"/>
                  </a:lnTo>
                  <a:lnTo>
                    <a:pt x="157" y="80"/>
                  </a:lnTo>
                  <a:lnTo>
                    <a:pt x="158" y="79"/>
                  </a:lnTo>
                  <a:lnTo>
                    <a:pt x="160" y="79"/>
                  </a:lnTo>
                  <a:lnTo>
                    <a:pt x="162" y="78"/>
                  </a:lnTo>
                  <a:lnTo>
                    <a:pt x="166" y="79"/>
                  </a:lnTo>
                  <a:lnTo>
                    <a:pt x="175" y="79"/>
                  </a:lnTo>
                  <a:lnTo>
                    <a:pt x="177" y="79"/>
                  </a:lnTo>
                  <a:lnTo>
                    <a:pt x="180" y="79"/>
                  </a:lnTo>
                  <a:lnTo>
                    <a:pt x="182" y="79"/>
                  </a:lnTo>
                  <a:lnTo>
                    <a:pt x="184" y="78"/>
                  </a:lnTo>
                  <a:lnTo>
                    <a:pt x="186" y="78"/>
                  </a:lnTo>
                  <a:lnTo>
                    <a:pt x="187" y="77"/>
                  </a:lnTo>
                  <a:lnTo>
                    <a:pt x="188" y="76"/>
                  </a:lnTo>
                  <a:lnTo>
                    <a:pt x="190" y="74"/>
                  </a:lnTo>
                  <a:lnTo>
                    <a:pt x="191" y="73"/>
                  </a:lnTo>
                  <a:lnTo>
                    <a:pt x="191" y="72"/>
                  </a:lnTo>
                  <a:lnTo>
                    <a:pt x="192" y="71"/>
                  </a:lnTo>
                  <a:lnTo>
                    <a:pt x="192" y="70"/>
                  </a:lnTo>
                  <a:lnTo>
                    <a:pt x="193" y="69"/>
                  </a:lnTo>
                  <a:lnTo>
                    <a:pt x="193" y="68"/>
                  </a:lnTo>
                  <a:lnTo>
                    <a:pt x="193" y="67"/>
                  </a:lnTo>
                  <a:lnTo>
                    <a:pt x="193" y="65"/>
                  </a:lnTo>
                  <a:lnTo>
                    <a:pt x="192" y="63"/>
                  </a:lnTo>
                  <a:lnTo>
                    <a:pt x="192" y="61"/>
                  </a:lnTo>
                  <a:lnTo>
                    <a:pt x="190" y="57"/>
                  </a:lnTo>
                  <a:lnTo>
                    <a:pt x="187" y="51"/>
                  </a:lnTo>
                  <a:lnTo>
                    <a:pt x="187" y="49"/>
                  </a:lnTo>
                  <a:lnTo>
                    <a:pt x="187" y="46"/>
                  </a:lnTo>
                  <a:lnTo>
                    <a:pt x="187" y="45"/>
                  </a:lnTo>
                  <a:lnTo>
                    <a:pt x="187" y="43"/>
                  </a:lnTo>
                  <a:lnTo>
                    <a:pt x="187" y="42"/>
                  </a:lnTo>
                  <a:lnTo>
                    <a:pt x="187" y="40"/>
                  </a:lnTo>
                  <a:lnTo>
                    <a:pt x="188" y="39"/>
                  </a:lnTo>
                  <a:lnTo>
                    <a:pt x="188" y="37"/>
                  </a:lnTo>
                  <a:lnTo>
                    <a:pt x="189" y="36"/>
                  </a:lnTo>
                  <a:lnTo>
                    <a:pt x="191" y="35"/>
                  </a:lnTo>
                  <a:lnTo>
                    <a:pt x="193" y="32"/>
                  </a:lnTo>
                  <a:lnTo>
                    <a:pt x="197" y="29"/>
                  </a:lnTo>
                  <a:lnTo>
                    <a:pt x="198" y="28"/>
                  </a:lnTo>
                  <a:lnTo>
                    <a:pt x="199" y="26"/>
                  </a:lnTo>
                  <a:lnTo>
                    <a:pt x="201" y="25"/>
                  </a:lnTo>
                  <a:lnTo>
                    <a:pt x="203" y="24"/>
                  </a:lnTo>
                  <a:lnTo>
                    <a:pt x="206" y="24"/>
                  </a:lnTo>
                  <a:lnTo>
                    <a:pt x="208" y="23"/>
                  </a:lnTo>
                  <a:lnTo>
                    <a:pt x="210" y="22"/>
                  </a:lnTo>
                  <a:lnTo>
                    <a:pt x="216" y="22"/>
                  </a:lnTo>
                  <a:lnTo>
                    <a:pt x="218" y="21"/>
                  </a:lnTo>
                  <a:lnTo>
                    <a:pt x="220" y="21"/>
                  </a:lnTo>
                  <a:lnTo>
                    <a:pt x="221" y="20"/>
                  </a:lnTo>
                  <a:lnTo>
                    <a:pt x="223" y="19"/>
                  </a:lnTo>
                  <a:lnTo>
                    <a:pt x="224" y="18"/>
                  </a:lnTo>
                  <a:lnTo>
                    <a:pt x="226" y="17"/>
                  </a:lnTo>
                  <a:lnTo>
                    <a:pt x="232" y="12"/>
                  </a:lnTo>
                  <a:lnTo>
                    <a:pt x="238" y="8"/>
                  </a:lnTo>
                  <a:lnTo>
                    <a:pt x="240" y="6"/>
                  </a:lnTo>
                  <a:lnTo>
                    <a:pt x="241" y="4"/>
                  </a:lnTo>
                  <a:lnTo>
                    <a:pt x="243" y="2"/>
                  </a:lnTo>
                  <a:lnTo>
                    <a:pt x="244" y="1"/>
                  </a:lnTo>
                  <a:lnTo>
                    <a:pt x="244" y="1"/>
                  </a:lnTo>
                  <a:lnTo>
                    <a:pt x="244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3" name="Freeform 56">
              <a:extLst>
                <a:ext uri="{FF2B5EF4-FFF2-40B4-BE49-F238E27FC236}">
                  <a16:creationId xmlns:a16="http://schemas.microsoft.com/office/drawing/2014/main" id="{97805A5B-6936-4CFB-9ADC-FD49EB243A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8" y="2765"/>
              <a:ext cx="459" cy="541"/>
            </a:xfrm>
            <a:custGeom>
              <a:avLst/>
              <a:gdLst>
                <a:gd name="T0" fmla="*/ 420 w 459"/>
                <a:gd name="T1" fmla="*/ 60 h 541"/>
                <a:gd name="T2" fmla="*/ 455 w 459"/>
                <a:gd name="T3" fmla="*/ 108 h 541"/>
                <a:gd name="T4" fmla="*/ 452 w 459"/>
                <a:gd name="T5" fmla="*/ 141 h 541"/>
                <a:gd name="T6" fmla="*/ 434 w 459"/>
                <a:gd name="T7" fmla="*/ 153 h 541"/>
                <a:gd name="T8" fmla="*/ 415 w 459"/>
                <a:gd name="T9" fmla="*/ 155 h 541"/>
                <a:gd name="T10" fmla="*/ 424 w 459"/>
                <a:gd name="T11" fmla="*/ 179 h 541"/>
                <a:gd name="T12" fmla="*/ 455 w 459"/>
                <a:gd name="T13" fmla="*/ 219 h 541"/>
                <a:gd name="T14" fmla="*/ 425 w 459"/>
                <a:gd name="T15" fmla="*/ 232 h 541"/>
                <a:gd name="T16" fmla="*/ 397 w 459"/>
                <a:gd name="T17" fmla="*/ 235 h 541"/>
                <a:gd name="T18" fmla="*/ 380 w 459"/>
                <a:gd name="T19" fmla="*/ 241 h 541"/>
                <a:gd name="T20" fmla="*/ 372 w 459"/>
                <a:gd name="T21" fmla="*/ 269 h 541"/>
                <a:gd name="T22" fmla="*/ 365 w 459"/>
                <a:gd name="T23" fmla="*/ 284 h 541"/>
                <a:gd name="T24" fmla="*/ 366 w 459"/>
                <a:gd name="T25" fmla="*/ 299 h 541"/>
                <a:gd name="T26" fmla="*/ 348 w 459"/>
                <a:gd name="T27" fmla="*/ 315 h 541"/>
                <a:gd name="T28" fmla="*/ 354 w 459"/>
                <a:gd name="T29" fmla="*/ 351 h 541"/>
                <a:gd name="T30" fmla="*/ 339 w 459"/>
                <a:gd name="T31" fmla="*/ 363 h 541"/>
                <a:gd name="T32" fmla="*/ 309 w 459"/>
                <a:gd name="T33" fmla="*/ 345 h 541"/>
                <a:gd name="T34" fmla="*/ 296 w 459"/>
                <a:gd name="T35" fmla="*/ 350 h 541"/>
                <a:gd name="T36" fmla="*/ 289 w 459"/>
                <a:gd name="T37" fmla="*/ 370 h 541"/>
                <a:gd name="T38" fmla="*/ 295 w 459"/>
                <a:gd name="T39" fmla="*/ 403 h 541"/>
                <a:gd name="T40" fmla="*/ 308 w 459"/>
                <a:gd name="T41" fmla="*/ 440 h 541"/>
                <a:gd name="T42" fmla="*/ 306 w 459"/>
                <a:gd name="T43" fmla="*/ 477 h 541"/>
                <a:gd name="T44" fmla="*/ 298 w 459"/>
                <a:gd name="T45" fmla="*/ 520 h 541"/>
                <a:gd name="T46" fmla="*/ 269 w 459"/>
                <a:gd name="T47" fmla="*/ 539 h 541"/>
                <a:gd name="T48" fmla="*/ 238 w 459"/>
                <a:gd name="T49" fmla="*/ 510 h 541"/>
                <a:gd name="T50" fmla="*/ 238 w 459"/>
                <a:gd name="T51" fmla="*/ 494 h 541"/>
                <a:gd name="T52" fmla="*/ 221 w 459"/>
                <a:gd name="T53" fmla="*/ 487 h 541"/>
                <a:gd name="T54" fmla="*/ 185 w 459"/>
                <a:gd name="T55" fmla="*/ 498 h 541"/>
                <a:gd name="T56" fmla="*/ 145 w 459"/>
                <a:gd name="T57" fmla="*/ 494 h 541"/>
                <a:gd name="T58" fmla="*/ 102 w 459"/>
                <a:gd name="T59" fmla="*/ 482 h 541"/>
                <a:gd name="T60" fmla="*/ 70 w 459"/>
                <a:gd name="T61" fmla="*/ 451 h 541"/>
                <a:gd name="T62" fmla="*/ 69 w 459"/>
                <a:gd name="T63" fmla="*/ 407 h 541"/>
                <a:gd name="T64" fmla="*/ 57 w 459"/>
                <a:gd name="T65" fmla="*/ 388 h 541"/>
                <a:gd name="T66" fmla="*/ 15 w 459"/>
                <a:gd name="T67" fmla="*/ 392 h 541"/>
                <a:gd name="T68" fmla="*/ 0 w 459"/>
                <a:gd name="T69" fmla="*/ 386 h 541"/>
                <a:gd name="T70" fmla="*/ 13 w 459"/>
                <a:gd name="T71" fmla="*/ 339 h 541"/>
                <a:gd name="T72" fmla="*/ 26 w 459"/>
                <a:gd name="T73" fmla="*/ 316 h 541"/>
                <a:gd name="T74" fmla="*/ 56 w 459"/>
                <a:gd name="T75" fmla="*/ 317 h 541"/>
                <a:gd name="T76" fmla="*/ 76 w 459"/>
                <a:gd name="T77" fmla="*/ 267 h 541"/>
                <a:gd name="T78" fmla="*/ 80 w 459"/>
                <a:gd name="T79" fmla="*/ 249 h 541"/>
                <a:gd name="T80" fmla="*/ 93 w 459"/>
                <a:gd name="T81" fmla="*/ 237 h 541"/>
                <a:gd name="T82" fmla="*/ 97 w 459"/>
                <a:gd name="T83" fmla="*/ 213 h 541"/>
                <a:gd name="T84" fmla="*/ 114 w 459"/>
                <a:gd name="T85" fmla="*/ 202 h 541"/>
                <a:gd name="T86" fmla="*/ 96 w 459"/>
                <a:gd name="T87" fmla="*/ 178 h 541"/>
                <a:gd name="T88" fmla="*/ 102 w 459"/>
                <a:gd name="T89" fmla="*/ 155 h 541"/>
                <a:gd name="T90" fmla="*/ 89 w 459"/>
                <a:gd name="T91" fmla="*/ 114 h 541"/>
                <a:gd name="T92" fmla="*/ 105 w 459"/>
                <a:gd name="T93" fmla="*/ 72 h 541"/>
                <a:gd name="T94" fmla="*/ 135 w 459"/>
                <a:gd name="T95" fmla="*/ 55 h 541"/>
                <a:gd name="T96" fmla="*/ 186 w 459"/>
                <a:gd name="T97" fmla="*/ 67 h 541"/>
                <a:gd name="T98" fmla="*/ 236 w 459"/>
                <a:gd name="T99" fmla="*/ 75 h 541"/>
                <a:gd name="T100" fmla="*/ 274 w 459"/>
                <a:gd name="T101" fmla="*/ 80 h 541"/>
                <a:gd name="T102" fmla="*/ 275 w 459"/>
                <a:gd name="T103" fmla="*/ 57 h 541"/>
                <a:gd name="T104" fmla="*/ 294 w 459"/>
                <a:gd name="T105" fmla="*/ 30 h 541"/>
                <a:gd name="T106" fmla="*/ 309 w 459"/>
                <a:gd name="T107" fmla="*/ 30 h 541"/>
                <a:gd name="T108" fmla="*/ 339 w 459"/>
                <a:gd name="T109" fmla="*/ 46 h 541"/>
                <a:gd name="T110" fmla="*/ 352 w 459"/>
                <a:gd name="T111" fmla="*/ 32 h 541"/>
                <a:gd name="T112" fmla="*/ 357 w 459"/>
                <a:gd name="T113" fmla="*/ 2 h 541"/>
                <a:gd name="T114" fmla="*/ 380 w 459"/>
                <a:gd name="T115" fmla="*/ 1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9" h="541">
                  <a:moveTo>
                    <a:pt x="459" y="223"/>
                  </a:moveTo>
                  <a:lnTo>
                    <a:pt x="459" y="224"/>
                  </a:lnTo>
                  <a:lnTo>
                    <a:pt x="459" y="223"/>
                  </a:lnTo>
                  <a:lnTo>
                    <a:pt x="458" y="222"/>
                  </a:lnTo>
                  <a:lnTo>
                    <a:pt x="459" y="222"/>
                  </a:lnTo>
                  <a:lnTo>
                    <a:pt x="459" y="223"/>
                  </a:lnTo>
                  <a:close/>
                  <a:moveTo>
                    <a:pt x="401" y="37"/>
                  </a:moveTo>
                  <a:lnTo>
                    <a:pt x="403" y="41"/>
                  </a:lnTo>
                  <a:lnTo>
                    <a:pt x="407" y="45"/>
                  </a:lnTo>
                  <a:lnTo>
                    <a:pt x="411" y="51"/>
                  </a:lnTo>
                  <a:lnTo>
                    <a:pt x="420" y="60"/>
                  </a:lnTo>
                  <a:lnTo>
                    <a:pt x="421" y="63"/>
                  </a:lnTo>
                  <a:lnTo>
                    <a:pt x="429" y="70"/>
                  </a:lnTo>
                  <a:lnTo>
                    <a:pt x="430" y="71"/>
                  </a:lnTo>
                  <a:lnTo>
                    <a:pt x="432" y="73"/>
                  </a:lnTo>
                  <a:lnTo>
                    <a:pt x="432" y="76"/>
                  </a:lnTo>
                  <a:lnTo>
                    <a:pt x="438" y="86"/>
                  </a:lnTo>
                  <a:lnTo>
                    <a:pt x="440" y="89"/>
                  </a:lnTo>
                  <a:lnTo>
                    <a:pt x="442" y="91"/>
                  </a:lnTo>
                  <a:lnTo>
                    <a:pt x="443" y="93"/>
                  </a:lnTo>
                  <a:lnTo>
                    <a:pt x="444" y="96"/>
                  </a:lnTo>
                  <a:lnTo>
                    <a:pt x="455" y="108"/>
                  </a:lnTo>
                  <a:lnTo>
                    <a:pt x="456" y="111"/>
                  </a:lnTo>
                  <a:lnTo>
                    <a:pt x="457" y="113"/>
                  </a:lnTo>
                  <a:lnTo>
                    <a:pt x="457" y="114"/>
                  </a:lnTo>
                  <a:lnTo>
                    <a:pt x="457" y="116"/>
                  </a:lnTo>
                  <a:lnTo>
                    <a:pt x="457" y="118"/>
                  </a:lnTo>
                  <a:lnTo>
                    <a:pt x="457" y="119"/>
                  </a:lnTo>
                  <a:lnTo>
                    <a:pt x="456" y="124"/>
                  </a:lnTo>
                  <a:lnTo>
                    <a:pt x="455" y="129"/>
                  </a:lnTo>
                  <a:lnTo>
                    <a:pt x="455" y="135"/>
                  </a:lnTo>
                  <a:lnTo>
                    <a:pt x="453" y="139"/>
                  </a:lnTo>
                  <a:lnTo>
                    <a:pt x="452" y="141"/>
                  </a:lnTo>
                  <a:lnTo>
                    <a:pt x="451" y="143"/>
                  </a:lnTo>
                  <a:lnTo>
                    <a:pt x="450" y="145"/>
                  </a:lnTo>
                  <a:lnTo>
                    <a:pt x="449" y="147"/>
                  </a:lnTo>
                  <a:lnTo>
                    <a:pt x="448" y="147"/>
                  </a:lnTo>
                  <a:lnTo>
                    <a:pt x="447" y="149"/>
                  </a:lnTo>
                  <a:lnTo>
                    <a:pt x="446" y="149"/>
                  </a:lnTo>
                  <a:lnTo>
                    <a:pt x="445" y="150"/>
                  </a:lnTo>
                  <a:lnTo>
                    <a:pt x="443" y="151"/>
                  </a:lnTo>
                  <a:lnTo>
                    <a:pt x="440" y="152"/>
                  </a:lnTo>
                  <a:lnTo>
                    <a:pt x="436" y="153"/>
                  </a:lnTo>
                  <a:lnTo>
                    <a:pt x="434" y="153"/>
                  </a:lnTo>
                  <a:lnTo>
                    <a:pt x="432" y="152"/>
                  </a:lnTo>
                  <a:lnTo>
                    <a:pt x="429" y="152"/>
                  </a:lnTo>
                  <a:lnTo>
                    <a:pt x="421" y="151"/>
                  </a:lnTo>
                  <a:lnTo>
                    <a:pt x="420" y="151"/>
                  </a:lnTo>
                  <a:lnTo>
                    <a:pt x="418" y="151"/>
                  </a:lnTo>
                  <a:lnTo>
                    <a:pt x="417" y="151"/>
                  </a:lnTo>
                  <a:lnTo>
                    <a:pt x="415" y="152"/>
                  </a:lnTo>
                  <a:lnTo>
                    <a:pt x="415" y="153"/>
                  </a:lnTo>
                  <a:lnTo>
                    <a:pt x="414" y="153"/>
                  </a:lnTo>
                  <a:lnTo>
                    <a:pt x="414" y="154"/>
                  </a:lnTo>
                  <a:lnTo>
                    <a:pt x="415" y="155"/>
                  </a:lnTo>
                  <a:lnTo>
                    <a:pt x="416" y="158"/>
                  </a:lnTo>
                  <a:lnTo>
                    <a:pt x="417" y="159"/>
                  </a:lnTo>
                  <a:lnTo>
                    <a:pt x="419" y="162"/>
                  </a:lnTo>
                  <a:lnTo>
                    <a:pt x="420" y="165"/>
                  </a:lnTo>
                  <a:lnTo>
                    <a:pt x="421" y="172"/>
                  </a:lnTo>
                  <a:lnTo>
                    <a:pt x="422" y="173"/>
                  </a:lnTo>
                  <a:lnTo>
                    <a:pt x="422" y="176"/>
                  </a:lnTo>
                  <a:lnTo>
                    <a:pt x="422" y="177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8" y="181"/>
                  </a:lnTo>
                  <a:lnTo>
                    <a:pt x="430" y="181"/>
                  </a:lnTo>
                  <a:lnTo>
                    <a:pt x="431" y="182"/>
                  </a:lnTo>
                  <a:lnTo>
                    <a:pt x="433" y="185"/>
                  </a:lnTo>
                  <a:lnTo>
                    <a:pt x="435" y="189"/>
                  </a:lnTo>
                  <a:lnTo>
                    <a:pt x="437" y="192"/>
                  </a:lnTo>
                  <a:lnTo>
                    <a:pt x="445" y="204"/>
                  </a:lnTo>
                  <a:lnTo>
                    <a:pt x="449" y="210"/>
                  </a:lnTo>
                  <a:lnTo>
                    <a:pt x="454" y="215"/>
                  </a:lnTo>
                  <a:lnTo>
                    <a:pt x="456" y="219"/>
                  </a:lnTo>
                  <a:lnTo>
                    <a:pt x="455" y="219"/>
                  </a:lnTo>
                  <a:lnTo>
                    <a:pt x="455" y="219"/>
                  </a:lnTo>
                  <a:lnTo>
                    <a:pt x="453" y="219"/>
                  </a:lnTo>
                  <a:lnTo>
                    <a:pt x="451" y="220"/>
                  </a:lnTo>
                  <a:lnTo>
                    <a:pt x="443" y="226"/>
                  </a:lnTo>
                  <a:lnTo>
                    <a:pt x="441" y="227"/>
                  </a:lnTo>
                  <a:lnTo>
                    <a:pt x="439" y="228"/>
                  </a:lnTo>
                  <a:lnTo>
                    <a:pt x="437" y="229"/>
                  </a:lnTo>
                  <a:lnTo>
                    <a:pt x="432" y="231"/>
                  </a:lnTo>
                  <a:lnTo>
                    <a:pt x="429" y="231"/>
                  </a:lnTo>
                  <a:lnTo>
                    <a:pt x="427" y="232"/>
                  </a:lnTo>
                  <a:lnTo>
                    <a:pt x="425" y="232"/>
                  </a:lnTo>
                  <a:lnTo>
                    <a:pt x="423" y="232"/>
                  </a:lnTo>
                  <a:lnTo>
                    <a:pt x="421" y="232"/>
                  </a:lnTo>
                  <a:lnTo>
                    <a:pt x="420" y="232"/>
                  </a:lnTo>
                  <a:lnTo>
                    <a:pt x="414" y="230"/>
                  </a:lnTo>
                  <a:lnTo>
                    <a:pt x="411" y="230"/>
                  </a:lnTo>
                  <a:lnTo>
                    <a:pt x="409" y="230"/>
                  </a:lnTo>
                  <a:lnTo>
                    <a:pt x="407" y="230"/>
                  </a:lnTo>
                  <a:lnTo>
                    <a:pt x="404" y="231"/>
                  </a:lnTo>
                  <a:lnTo>
                    <a:pt x="402" y="232"/>
                  </a:lnTo>
                  <a:lnTo>
                    <a:pt x="400" y="233"/>
                  </a:lnTo>
                  <a:lnTo>
                    <a:pt x="397" y="235"/>
                  </a:lnTo>
                  <a:lnTo>
                    <a:pt x="394" y="236"/>
                  </a:lnTo>
                  <a:lnTo>
                    <a:pt x="393" y="237"/>
                  </a:lnTo>
                  <a:lnTo>
                    <a:pt x="391" y="237"/>
                  </a:lnTo>
                  <a:lnTo>
                    <a:pt x="390" y="237"/>
                  </a:lnTo>
                  <a:lnTo>
                    <a:pt x="389" y="238"/>
                  </a:lnTo>
                  <a:lnTo>
                    <a:pt x="387" y="238"/>
                  </a:lnTo>
                  <a:lnTo>
                    <a:pt x="386" y="238"/>
                  </a:lnTo>
                  <a:lnTo>
                    <a:pt x="385" y="239"/>
                  </a:lnTo>
                  <a:lnTo>
                    <a:pt x="382" y="239"/>
                  </a:lnTo>
                  <a:lnTo>
                    <a:pt x="381" y="240"/>
                  </a:lnTo>
                  <a:lnTo>
                    <a:pt x="380" y="241"/>
                  </a:lnTo>
                  <a:lnTo>
                    <a:pt x="379" y="241"/>
                  </a:lnTo>
                  <a:lnTo>
                    <a:pt x="379" y="242"/>
                  </a:lnTo>
                  <a:lnTo>
                    <a:pt x="378" y="245"/>
                  </a:lnTo>
                  <a:lnTo>
                    <a:pt x="378" y="248"/>
                  </a:lnTo>
                  <a:lnTo>
                    <a:pt x="377" y="255"/>
                  </a:lnTo>
                  <a:lnTo>
                    <a:pt x="377" y="258"/>
                  </a:lnTo>
                  <a:lnTo>
                    <a:pt x="376" y="260"/>
                  </a:lnTo>
                  <a:lnTo>
                    <a:pt x="375" y="263"/>
                  </a:lnTo>
                  <a:lnTo>
                    <a:pt x="375" y="264"/>
                  </a:lnTo>
                  <a:lnTo>
                    <a:pt x="375" y="266"/>
                  </a:lnTo>
                  <a:lnTo>
                    <a:pt x="372" y="269"/>
                  </a:lnTo>
                  <a:lnTo>
                    <a:pt x="371" y="270"/>
                  </a:lnTo>
                  <a:lnTo>
                    <a:pt x="370" y="271"/>
                  </a:lnTo>
                  <a:lnTo>
                    <a:pt x="367" y="272"/>
                  </a:lnTo>
                  <a:lnTo>
                    <a:pt x="366" y="272"/>
                  </a:lnTo>
                  <a:lnTo>
                    <a:pt x="366" y="273"/>
                  </a:lnTo>
                  <a:lnTo>
                    <a:pt x="365" y="274"/>
                  </a:lnTo>
                  <a:lnTo>
                    <a:pt x="365" y="275"/>
                  </a:lnTo>
                  <a:lnTo>
                    <a:pt x="365" y="277"/>
                  </a:lnTo>
                  <a:lnTo>
                    <a:pt x="365" y="280"/>
                  </a:lnTo>
                  <a:lnTo>
                    <a:pt x="365" y="283"/>
                  </a:lnTo>
                  <a:lnTo>
                    <a:pt x="365" y="284"/>
                  </a:lnTo>
                  <a:lnTo>
                    <a:pt x="365" y="286"/>
                  </a:lnTo>
                  <a:lnTo>
                    <a:pt x="365" y="288"/>
                  </a:lnTo>
                  <a:lnTo>
                    <a:pt x="366" y="289"/>
                  </a:lnTo>
                  <a:lnTo>
                    <a:pt x="367" y="292"/>
                  </a:lnTo>
                  <a:lnTo>
                    <a:pt x="368" y="294"/>
                  </a:lnTo>
                  <a:lnTo>
                    <a:pt x="368" y="294"/>
                  </a:lnTo>
                  <a:lnTo>
                    <a:pt x="368" y="295"/>
                  </a:lnTo>
                  <a:lnTo>
                    <a:pt x="368" y="296"/>
                  </a:lnTo>
                  <a:lnTo>
                    <a:pt x="367" y="297"/>
                  </a:lnTo>
                  <a:lnTo>
                    <a:pt x="367" y="298"/>
                  </a:lnTo>
                  <a:lnTo>
                    <a:pt x="366" y="299"/>
                  </a:lnTo>
                  <a:lnTo>
                    <a:pt x="365" y="300"/>
                  </a:lnTo>
                  <a:lnTo>
                    <a:pt x="364" y="301"/>
                  </a:lnTo>
                  <a:lnTo>
                    <a:pt x="364" y="302"/>
                  </a:lnTo>
                  <a:lnTo>
                    <a:pt x="359" y="304"/>
                  </a:lnTo>
                  <a:lnTo>
                    <a:pt x="357" y="306"/>
                  </a:lnTo>
                  <a:lnTo>
                    <a:pt x="354" y="306"/>
                  </a:lnTo>
                  <a:lnTo>
                    <a:pt x="353" y="308"/>
                  </a:lnTo>
                  <a:lnTo>
                    <a:pt x="351" y="310"/>
                  </a:lnTo>
                  <a:lnTo>
                    <a:pt x="350" y="312"/>
                  </a:lnTo>
                  <a:lnTo>
                    <a:pt x="349" y="313"/>
                  </a:lnTo>
                  <a:lnTo>
                    <a:pt x="348" y="315"/>
                  </a:lnTo>
                  <a:lnTo>
                    <a:pt x="348" y="317"/>
                  </a:lnTo>
                  <a:lnTo>
                    <a:pt x="348" y="318"/>
                  </a:lnTo>
                  <a:lnTo>
                    <a:pt x="348" y="320"/>
                  </a:lnTo>
                  <a:lnTo>
                    <a:pt x="349" y="323"/>
                  </a:lnTo>
                  <a:lnTo>
                    <a:pt x="350" y="328"/>
                  </a:lnTo>
                  <a:lnTo>
                    <a:pt x="353" y="336"/>
                  </a:lnTo>
                  <a:lnTo>
                    <a:pt x="353" y="340"/>
                  </a:lnTo>
                  <a:lnTo>
                    <a:pt x="354" y="344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51"/>
                  </a:lnTo>
                  <a:lnTo>
                    <a:pt x="353" y="354"/>
                  </a:lnTo>
                  <a:lnTo>
                    <a:pt x="353" y="355"/>
                  </a:lnTo>
                  <a:lnTo>
                    <a:pt x="353" y="357"/>
                  </a:lnTo>
                  <a:lnTo>
                    <a:pt x="352" y="359"/>
                  </a:lnTo>
                  <a:lnTo>
                    <a:pt x="351" y="360"/>
                  </a:lnTo>
                  <a:lnTo>
                    <a:pt x="349" y="361"/>
                  </a:lnTo>
                  <a:lnTo>
                    <a:pt x="348" y="362"/>
                  </a:lnTo>
                  <a:lnTo>
                    <a:pt x="346" y="362"/>
                  </a:lnTo>
                  <a:lnTo>
                    <a:pt x="343" y="363"/>
                  </a:lnTo>
                  <a:lnTo>
                    <a:pt x="341" y="363"/>
                  </a:lnTo>
                  <a:lnTo>
                    <a:pt x="339" y="363"/>
                  </a:lnTo>
                  <a:lnTo>
                    <a:pt x="337" y="362"/>
                  </a:lnTo>
                  <a:lnTo>
                    <a:pt x="334" y="362"/>
                  </a:lnTo>
                  <a:lnTo>
                    <a:pt x="331" y="361"/>
                  </a:lnTo>
                  <a:lnTo>
                    <a:pt x="330" y="360"/>
                  </a:lnTo>
                  <a:lnTo>
                    <a:pt x="326" y="359"/>
                  </a:lnTo>
                  <a:lnTo>
                    <a:pt x="324" y="357"/>
                  </a:lnTo>
                  <a:lnTo>
                    <a:pt x="322" y="356"/>
                  </a:lnTo>
                  <a:lnTo>
                    <a:pt x="320" y="354"/>
                  </a:lnTo>
                  <a:lnTo>
                    <a:pt x="318" y="352"/>
                  </a:lnTo>
                  <a:lnTo>
                    <a:pt x="313" y="348"/>
                  </a:lnTo>
                  <a:lnTo>
                    <a:pt x="309" y="345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3"/>
                  </a:lnTo>
                  <a:lnTo>
                    <a:pt x="304" y="343"/>
                  </a:lnTo>
                  <a:lnTo>
                    <a:pt x="303" y="343"/>
                  </a:lnTo>
                  <a:lnTo>
                    <a:pt x="301" y="344"/>
                  </a:lnTo>
                  <a:lnTo>
                    <a:pt x="300" y="345"/>
                  </a:lnTo>
                  <a:lnTo>
                    <a:pt x="299" y="346"/>
                  </a:lnTo>
                  <a:lnTo>
                    <a:pt x="298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5"/>
                  </a:lnTo>
                  <a:lnTo>
                    <a:pt x="295" y="357"/>
                  </a:lnTo>
                  <a:lnTo>
                    <a:pt x="294" y="358"/>
                  </a:lnTo>
                  <a:lnTo>
                    <a:pt x="291" y="362"/>
                  </a:lnTo>
                  <a:lnTo>
                    <a:pt x="290" y="362"/>
                  </a:lnTo>
                  <a:lnTo>
                    <a:pt x="289" y="364"/>
                  </a:lnTo>
                  <a:lnTo>
                    <a:pt x="289" y="366"/>
                  </a:lnTo>
                  <a:lnTo>
                    <a:pt x="289" y="367"/>
                  </a:lnTo>
                  <a:lnTo>
                    <a:pt x="289" y="368"/>
                  </a:lnTo>
                  <a:lnTo>
                    <a:pt x="289" y="370"/>
                  </a:lnTo>
                  <a:lnTo>
                    <a:pt x="289" y="372"/>
                  </a:lnTo>
                  <a:lnTo>
                    <a:pt x="289" y="374"/>
                  </a:lnTo>
                  <a:lnTo>
                    <a:pt x="290" y="376"/>
                  </a:lnTo>
                  <a:lnTo>
                    <a:pt x="293" y="383"/>
                  </a:lnTo>
                  <a:lnTo>
                    <a:pt x="294" y="385"/>
                  </a:lnTo>
                  <a:lnTo>
                    <a:pt x="294" y="387"/>
                  </a:lnTo>
                  <a:lnTo>
                    <a:pt x="295" y="389"/>
                  </a:lnTo>
                  <a:lnTo>
                    <a:pt x="295" y="392"/>
                  </a:lnTo>
                  <a:lnTo>
                    <a:pt x="295" y="398"/>
                  </a:lnTo>
                  <a:lnTo>
                    <a:pt x="295" y="401"/>
                  </a:lnTo>
                  <a:lnTo>
                    <a:pt x="295" y="403"/>
                  </a:lnTo>
                  <a:lnTo>
                    <a:pt x="295" y="405"/>
                  </a:lnTo>
                  <a:lnTo>
                    <a:pt x="296" y="407"/>
                  </a:lnTo>
                  <a:lnTo>
                    <a:pt x="296" y="408"/>
                  </a:lnTo>
                  <a:lnTo>
                    <a:pt x="297" y="410"/>
                  </a:lnTo>
                  <a:lnTo>
                    <a:pt x="300" y="414"/>
                  </a:lnTo>
                  <a:lnTo>
                    <a:pt x="301" y="416"/>
                  </a:lnTo>
                  <a:lnTo>
                    <a:pt x="302" y="418"/>
                  </a:lnTo>
                  <a:lnTo>
                    <a:pt x="303" y="421"/>
                  </a:lnTo>
                  <a:lnTo>
                    <a:pt x="304" y="425"/>
                  </a:lnTo>
                  <a:lnTo>
                    <a:pt x="307" y="433"/>
                  </a:lnTo>
                  <a:lnTo>
                    <a:pt x="308" y="440"/>
                  </a:lnTo>
                  <a:lnTo>
                    <a:pt x="309" y="442"/>
                  </a:lnTo>
                  <a:lnTo>
                    <a:pt x="310" y="445"/>
                  </a:lnTo>
                  <a:lnTo>
                    <a:pt x="310" y="448"/>
                  </a:lnTo>
                  <a:lnTo>
                    <a:pt x="310" y="451"/>
                  </a:lnTo>
                  <a:lnTo>
                    <a:pt x="310" y="453"/>
                  </a:lnTo>
                  <a:lnTo>
                    <a:pt x="310" y="456"/>
                  </a:lnTo>
                  <a:lnTo>
                    <a:pt x="309" y="459"/>
                  </a:lnTo>
                  <a:lnTo>
                    <a:pt x="309" y="462"/>
                  </a:lnTo>
                  <a:lnTo>
                    <a:pt x="307" y="471"/>
                  </a:lnTo>
                  <a:lnTo>
                    <a:pt x="307" y="475"/>
                  </a:lnTo>
                  <a:lnTo>
                    <a:pt x="306" y="477"/>
                  </a:lnTo>
                  <a:lnTo>
                    <a:pt x="306" y="482"/>
                  </a:lnTo>
                  <a:lnTo>
                    <a:pt x="306" y="491"/>
                  </a:lnTo>
                  <a:lnTo>
                    <a:pt x="306" y="494"/>
                  </a:lnTo>
                  <a:lnTo>
                    <a:pt x="306" y="496"/>
                  </a:lnTo>
                  <a:lnTo>
                    <a:pt x="304" y="502"/>
                  </a:lnTo>
                  <a:lnTo>
                    <a:pt x="303" y="510"/>
                  </a:lnTo>
                  <a:lnTo>
                    <a:pt x="302" y="512"/>
                  </a:lnTo>
                  <a:lnTo>
                    <a:pt x="301" y="514"/>
                  </a:lnTo>
                  <a:lnTo>
                    <a:pt x="300" y="517"/>
                  </a:lnTo>
                  <a:lnTo>
                    <a:pt x="299" y="519"/>
                  </a:lnTo>
                  <a:lnTo>
                    <a:pt x="298" y="520"/>
                  </a:lnTo>
                  <a:lnTo>
                    <a:pt x="296" y="521"/>
                  </a:lnTo>
                  <a:lnTo>
                    <a:pt x="288" y="530"/>
                  </a:lnTo>
                  <a:lnTo>
                    <a:pt x="282" y="534"/>
                  </a:lnTo>
                  <a:lnTo>
                    <a:pt x="278" y="538"/>
                  </a:lnTo>
                  <a:lnTo>
                    <a:pt x="275" y="540"/>
                  </a:lnTo>
                  <a:lnTo>
                    <a:pt x="274" y="540"/>
                  </a:lnTo>
                  <a:lnTo>
                    <a:pt x="273" y="541"/>
                  </a:lnTo>
                  <a:lnTo>
                    <a:pt x="272" y="541"/>
                  </a:lnTo>
                  <a:lnTo>
                    <a:pt x="271" y="541"/>
                  </a:lnTo>
                  <a:lnTo>
                    <a:pt x="270" y="540"/>
                  </a:lnTo>
                  <a:lnTo>
                    <a:pt x="269" y="539"/>
                  </a:lnTo>
                  <a:lnTo>
                    <a:pt x="263" y="533"/>
                  </a:lnTo>
                  <a:lnTo>
                    <a:pt x="259" y="527"/>
                  </a:lnTo>
                  <a:lnTo>
                    <a:pt x="256" y="524"/>
                  </a:lnTo>
                  <a:lnTo>
                    <a:pt x="254" y="523"/>
                  </a:lnTo>
                  <a:lnTo>
                    <a:pt x="252" y="521"/>
                  </a:lnTo>
                  <a:lnTo>
                    <a:pt x="247" y="518"/>
                  </a:lnTo>
                  <a:lnTo>
                    <a:pt x="244" y="516"/>
                  </a:lnTo>
                  <a:lnTo>
                    <a:pt x="241" y="514"/>
                  </a:lnTo>
                  <a:lnTo>
                    <a:pt x="239" y="511"/>
                  </a:lnTo>
                  <a:lnTo>
                    <a:pt x="239" y="510"/>
                  </a:lnTo>
                  <a:lnTo>
                    <a:pt x="238" y="510"/>
                  </a:lnTo>
                  <a:lnTo>
                    <a:pt x="238" y="508"/>
                  </a:lnTo>
                  <a:lnTo>
                    <a:pt x="238" y="507"/>
                  </a:lnTo>
                  <a:lnTo>
                    <a:pt x="238" y="506"/>
                  </a:lnTo>
                  <a:lnTo>
                    <a:pt x="238" y="505"/>
                  </a:lnTo>
                  <a:lnTo>
                    <a:pt x="239" y="501"/>
                  </a:lnTo>
                  <a:lnTo>
                    <a:pt x="239" y="500"/>
                  </a:lnTo>
                  <a:lnTo>
                    <a:pt x="239" y="498"/>
                  </a:lnTo>
                  <a:lnTo>
                    <a:pt x="239" y="498"/>
                  </a:lnTo>
                  <a:lnTo>
                    <a:pt x="239" y="496"/>
                  </a:lnTo>
                  <a:lnTo>
                    <a:pt x="239" y="495"/>
                  </a:lnTo>
                  <a:lnTo>
                    <a:pt x="238" y="494"/>
                  </a:lnTo>
                  <a:lnTo>
                    <a:pt x="237" y="494"/>
                  </a:lnTo>
                  <a:lnTo>
                    <a:pt x="237" y="493"/>
                  </a:lnTo>
                  <a:lnTo>
                    <a:pt x="236" y="492"/>
                  </a:lnTo>
                  <a:lnTo>
                    <a:pt x="232" y="490"/>
                  </a:lnTo>
                  <a:lnTo>
                    <a:pt x="229" y="488"/>
                  </a:lnTo>
                  <a:lnTo>
                    <a:pt x="228" y="487"/>
                  </a:lnTo>
                  <a:lnTo>
                    <a:pt x="227" y="487"/>
                  </a:lnTo>
                  <a:lnTo>
                    <a:pt x="226" y="487"/>
                  </a:lnTo>
                  <a:lnTo>
                    <a:pt x="225" y="487"/>
                  </a:lnTo>
                  <a:lnTo>
                    <a:pt x="223" y="487"/>
                  </a:lnTo>
                  <a:lnTo>
                    <a:pt x="221" y="487"/>
                  </a:lnTo>
                  <a:lnTo>
                    <a:pt x="220" y="487"/>
                  </a:lnTo>
                  <a:lnTo>
                    <a:pt x="216" y="489"/>
                  </a:lnTo>
                  <a:lnTo>
                    <a:pt x="215" y="490"/>
                  </a:lnTo>
                  <a:lnTo>
                    <a:pt x="212" y="491"/>
                  </a:lnTo>
                  <a:lnTo>
                    <a:pt x="205" y="492"/>
                  </a:lnTo>
                  <a:lnTo>
                    <a:pt x="203" y="493"/>
                  </a:lnTo>
                  <a:lnTo>
                    <a:pt x="199" y="494"/>
                  </a:lnTo>
                  <a:lnTo>
                    <a:pt x="193" y="497"/>
                  </a:lnTo>
                  <a:lnTo>
                    <a:pt x="190" y="498"/>
                  </a:lnTo>
                  <a:lnTo>
                    <a:pt x="188" y="498"/>
                  </a:lnTo>
                  <a:lnTo>
                    <a:pt x="185" y="498"/>
                  </a:lnTo>
                  <a:lnTo>
                    <a:pt x="183" y="498"/>
                  </a:lnTo>
                  <a:lnTo>
                    <a:pt x="181" y="498"/>
                  </a:lnTo>
                  <a:lnTo>
                    <a:pt x="176" y="498"/>
                  </a:lnTo>
                  <a:lnTo>
                    <a:pt x="172" y="498"/>
                  </a:lnTo>
                  <a:lnTo>
                    <a:pt x="167" y="498"/>
                  </a:lnTo>
                  <a:lnTo>
                    <a:pt x="164" y="498"/>
                  </a:lnTo>
                  <a:lnTo>
                    <a:pt x="161" y="498"/>
                  </a:lnTo>
                  <a:lnTo>
                    <a:pt x="159" y="498"/>
                  </a:lnTo>
                  <a:lnTo>
                    <a:pt x="148" y="495"/>
                  </a:lnTo>
                  <a:lnTo>
                    <a:pt x="147" y="494"/>
                  </a:lnTo>
                  <a:lnTo>
                    <a:pt x="145" y="494"/>
                  </a:lnTo>
                  <a:lnTo>
                    <a:pt x="142" y="494"/>
                  </a:lnTo>
                  <a:lnTo>
                    <a:pt x="140" y="494"/>
                  </a:lnTo>
                  <a:lnTo>
                    <a:pt x="137" y="495"/>
                  </a:lnTo>
                  <a:lnTo>
                    <a:pt x="133" y="497"/>
                  </a:lnTo>
                  <a:lnTo>
                    <a:pt x="131" y="497"/>
                  </a:lnTo>
                  <a:lnTo>
                    <a:pt x="130" y="497"/>
                  </a:lnTo>
                  <a:lnTo>
                    <a:pt x="128" y="497"/>
                  </a:lnTo>
                  <a:lnTo>
                    <a:pt x="127" y="496"/>
                  </a:lnTo>
                  <a:lnTo>
                    <a:pt x="119" y="492"/>
                  </a:lnTo>
                  <a:lnTo>
                    <a:pt x="105" y="484"/>
                  </a:lnTo>
                  <a:lnTo>
                    <a:pt x="102" y="482"/>
                  </a:lnTo>
                  <a:lnTo>
                    <a:pt x="100" y="480"/>
                  </a:lnTo>
                  <a:lnTo>
                    <a:pt x="98" y="478"/>
                  </a:lnTo>
                  <a:lnTo>
                    <a:pt x="91" y="472"/>
                  </a:lnTo>
                  <a:lnTo>
                    <a:pt x="90" y="471"/>
                  </a:lnTo>
                  <a:lnTo>
                    <a:pt x="83" y="466"/>
                  </a:lnTo>
                  <a:lnTo>
                    <a:pt x="78" y="461"/>
                  </a:lnTo>
                  <a:lnTo>
                    <a:pt x="76" y="459"/>
                  </a:lnTo>
                  <a:lnTo>
                    <a:pt x="75" y="457"/>
                  </a:lnTo>
                  <a:lnTo>
                    <a:pt x="73" y="456"/>
                  </a:lnTo>
                  <a:lnTo>
                    <a:pt x="72" y="454"/>
                  </a:lnTo>
                  <a:lnTo>
                    <a:pt x="70" y="451"/>
                  </a:lnTo>
                  <a:lnTo>
                    <a:pt x="69" y="447"/>
                  </a:lnTo>
                  <a:lnTo>
                    <a:pt x="68" y="445"/>
                  </a:lnTo>
                  <a:lnTo>
                    <a:pt x="68" y="442"/>
                  </a:lnTo>
                  <a:lnTo>
                    <a:pt x="68" y="440"/>
                  </a:lnTo>
                  <a:lnTo>
                    <a:pt x="68" y="435"/>
                  </a:lnTo>
                  <a:lnTo>
                    <a:pt x="68" y="431"/>
                  </a:lnTo>
                  <a:lnTo>
                    <a:pt x="69" y="424"/>
                  </a:lnTo>
                  <a:lnTo>
                    <a:pt x="70" y="419"/>
                  </a:lnTo>
                  <a:lnTo>
                    <a:pt x="70" y="415"/>
                  </a:lnTo>
                  <a:lnTo>
                    <a:pt x="69" y="410"/>
                  </a:lnTo>
                  <a:lnTo>
                    <a:pt x="69" y="407"/>
                  </a:lnTo>
                  <a:lnTo>
                    <a:pt x="68" y="403"/>
                  </a:lnTo>
                  <a:lnTo>
                    <a:pt x="68" y="399"/>
                  </a:lnTo>
                  <a:lnTo>
                    <a:pt x="67" y="396"/>
                  </a:lnTo>
                  <a:lnTo>
                    <a:pt x="66" y="395"/>
                  </a:lnTo>
                  <a:lnTo>
                    <a:pt x="65" y="394"/>
                  </a:lnTo>
                  <a:lnTo>
                    <a:pt x="64" y="392"/>
                  </a:lnTo>
                  <a:lnTo>
                    <a:pt x="63" y="391"/>
                  </a:lnTo>
                  <a:lnTo>
                    <a:pt x="62" y="390"/>
                  </a:lnTo>
                  <a:lnTo>
                    <a:pt x="60" y="389"/>
                  </a:lnTo>
                  <a:lnTo>
                    <a:pt x="59" y="388"/>
                  </a:lnTo>
                  <a:lnTo>
                    <a:pt x="57" y="388"/>
                  </a:lnTo>
                  <a:lnTo>
                    <a:pt x="56" y="387"/>
                  </a:lnTo>
                  <a:lnTo>
                    <a:pt x="53" y="387"/>
                  </a:lnTo>
                  <a:lnTo>
                    <a:pt x="51" y="386"/>
                  </a:lnTo>
                  <a:lnTo>
                    <a:pt x="48" y="386"/>
                  </a:lnTo>
                  <a:lnTo>
                    <a:pt x="46" y="387"/>
                  </a:lnTo>
                  <a:lnTo>
                    <a:pt x="39" y="388"/>
                  </a:lnTo>
                  <a:lnTo>
                    <a:pt x="32" y="388"/>
                  </a:lnTo>
                  <a:lnTo>
                    <a:pt x="29" y="389"/>
                  </a:lnTo>
                  <a:lnTo>
                    <a:pt x="25" y="389"/>
                  </a:lnTo>
                  <a:lnTo>
                    <a:pt x="19" y="391"/>
                  </a:lnTo>
                  <a:lnTo>
                    <a:pt x="15" y="392"/>
                  </a:lnTo>
                  <a:lnTo>
                    <a:pt x="11" y="392"/>
                  </a:lnTo>
                  <a:lnTo>
                    <a:pt x="5" y="392"/>
                  </a:lnTo>
                  <a:lnTo>
                    <a:pt x="3" y="392"/>
                  </a:lnTo>
                  <a:lnTo>
                    <a:pt x="2" y="392"/>
                  </a:lnTo>
                  <a:lnTo>
                    <a:pt x="1" y="392"/>
                  </a:lnTo>
                  <a:lnTo>
                    <a:pt x="0" y="391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0" y="388"/>
                  </a:lnTo>
                  <a:lnTo>
                    <a:pt x="0" y="387"/>
                  </a:lnTo>
                  <a:lnTo>
                    <a:pt x="0" y="386"/>
                  </a:lnTo>
                  <a:lnTo>
                    <a:pt x="3" y="380"/>
                  </a:lnTo>
                  <a:lnTo>
                    <a:pt x="6" y="375"/>
                  </a:lnTo>
                  <a:lnTo>
                    <a:pt x="9" y="369"/>
                  </a:lnTo>
                  <a:lnTo>
                    <a:pt x="11" y="363"/>
                  </a:lnTo>
                  <a:lnTo>
                    <a:pt x="11" y="360"/>
                  </a:lnTo>
                  <a:lnTo>
                    <a:pt x="12" y="356"/>
                  </a:lnTo>
                  <a:lnTo>
                    <a:pt x="12" y="352"/>
                  </a:lnTo>
                  <a:lnTo>
                    <a:pt x="12" y="347"/>
                  </a:lnTo>
                  <a:lnTo>
                    <a:pt x="12" y="345"/>
                  </a:lnTo>
                  <a:lnTo>
                    <a:pt x="13" y="342"/>
                  </a:lnTo>
                  <a:lnTo>
                    <a:pt x="13" y="339"/>
                  </a:lnTo>
                  <a:lnTo>
                    <a:pt x="14" y="335"/>
                  </a:lnTo>
                  <a:lnTo>
                    <a:pt x="16" y="329"/>
                  </a:lnTo>
                  <a:lnTo>
                    <a:pt x="18" y="324"/>
                  </a:lnTo>
                  <a:lnTo>
                    <a:pt x="19" y="322"/>
                  </a:lnTo>
                  <a:lnTo>
                    <a:pt x="20" y="321"/>
                  </a:lnTo>
                  <a:lnTo>
                    <a:pt x="21" y="319"/>
                  </a:lnTo>
                  <a:lnTo>
                    <a:pt x="22" y="319"/>
                  </a:lnTo>
                  <a:lnTo>
                    <a:pt x="23" y="318"/>
                  </a:lnTo>
                  <a:lnTo>
                    <a:pt x="23" y="317"/>
                  </a:lnTo>
                  <a:lnTo>
                    <a:pt x="24" y="317"/>
                  </a:lnTo>
                  <a:lnTo>
                    <a:pt x="26" y="316"/>
                  </a:lnTo>
                  <a:lnTo>
                    <a:pt x="27" y="316"/>
                  </a:lnTo>
                  <a:lnTo>
                    <a:pt x="29" y="316"/>
                  </a:lnTo>
                  <a:lnTo>
                    <a:pt x="30" y="315"/>
                  </a:lnTo>
                  <a:lnTo>
                    <a:pt x="32" y="316"/>
                  </a:lnTo>
                  <a:lnTo>
                    <a:pt x="36" y="317"/>
                  </a:lnTo>
                  <a:lnTo>
                    <a:pt x="38" y="317"/>
                  </a:lnTo>
                  <a:lnTo>
                    <a:pt x="48" y="317"/>
                  </a:lnTo>
                  <a:lnTo>
                    <a:pt x="51" y="317"/>
                  </a:lnTo>
                  <a:lnTo>
                    <a:pt x="53" y="317"/>
                  </a:lnTo>
                  <a:lnTo>
                    <a:pt x="55" y="317"/>
                  </a:lnTo>
                  <a:lnTo>
                    <a:pt x="56" y="317"/>
                  </a:lnTo>
                  <a:lnTo>
                    <a:pt x="57" y="316"/>
                  </a:lnTo>
                  <a:lnTo>
                    <a:pt x="57" y="314"/>
                  </a:lnTo>
                  <a:lnTo>
                    <a:pt x="57" y="313"/>
                  </a:lnTo>
                  <a:lnTo>
                    <a:pt x="60" y="305"/>
                  </a:lnTo>
                  <a:lnTo>
                    <a:pt x="61" y="299"/>
                  </a:lnTo>
                  <a:lnTo>
                    <a:pt x="63" y="294"/>
                  </a:lnTo>
                  <a:lnTo>
                    <a:pt x="64" y="290"/>
                  </a:lnTo>
                  <a:lnTo>
                    <a:pt x="70" y="275"/>
                  </a:lnTo>
                  <a:lnTo>
                    <a:pt x="72" y="272"/>
                  </a:lnTo>
                  <a:lnTo>
                    <a:pt x="75" y="268"/>
                  </a:lnTo>
                  <a:lnTo>
                    <a:pt x="76" y="267"/>
                  </a:lnTo>
                  <a:lnTo>
                    <a:pt x="77" y="265"/>
                  </a:lnTo>
                  <a:lnTo>
                    <a:pt x="78" y="263"/>
                  </a:lnTo>
                  <a:lnTo>
                    <a:pt x="78" y="260"/>
                  </a:lnTo>
                  <a:lnTo>
                    <a:pt x="78" y="259"/>
                  </a:lnTo>
                  <a:lnTo>
                    <a:pt x="78" y="255"/>
                  </a:lnTo>
                  <a:lnTo>
                    <a:pt x="78" y="253"/>
                  </a:lnTo>
                  <a:lnTo>
                    <a:pt x="79" y="252"/>
                  </a:lnTo>
                  <a:lnTo>
                    <a:pt x="79" y="251"/>
                  </a:lnTo>
                  <a:lnTo>
                    <a:pt x="80" y="25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1" y="249"/>
                  </a:lnTo>
                  <a:lnTo>
                    <a:pt x="84" y="248"/>
                  </a:lnTo>
                  <a:lnTo>
                    <a:pt x="89" y="246"/>
                  </a:lnTo>
                  <a:lnTo>
                    <a:pt x="91" y="245"/>
                  </a:lnTo>
                  <a:lnTo>
                    <a:pt x="91" y="245"/>
                  </a:lnTo>
                  <a:lnTo>
                    <a:pt x="92" y="244"/>
                  </a:lnTo>
                  <a:lnTo>
                    <a:pt x="93" y="243"/>
                  </a:lnTo>
                  <a:lnTo>
                    <a:pt x="93" y="241"/>
                  </a:lnTo>
                  <a:lnTo>
                    <a:pt x="93" y="240"/>
                  </a:lnTo>
                  <a:lnTo>
                    <a:pt x="93" y="238"/>
                  </a:lnTo>
                  <a:lnTo>
                    <a:pt x="93" y="237"/>
                  </a:lnTo>
                  <a:lnTo>
                    <a:pt x="93" y="233"/>
                  </a:lnTo>
                  <a:lnTo>
                    <a:pt x="91" y="227"/>
                  </a:lnTo>
                  <a:lnTo>
                    <a:pt x="91" y="226"/>
                  </a:lnTo>
                  <a:lnTo>
                    <a:pt x="91" y="224"/>
                  </a:lnTo>
                  <a:lnTo>
                    <a:pt x="91" y="223"/>
                  </a:lnTo>
                  <a:lnTo>
                    <a:pt x="91" y="221"/>
                  </a:lnTo>
                  <a:lnTo>
                    <a:pt x="92" y="220"/>
                  </a:lnTo>
                  <a:lnTo>
                    <a:pt x="93" y="218"/>
                  </a:lnTo>
                  <a:lnTo>
                    <a:pt x="94" y="216"/>
                  </a:lnTo>
                  <a:lnTo>
                    <a:pt x="96" y="215"/>
                  </a:lnTo>
                  <a:lnTo>
                    <a:pt x="97" y="213"/>
                  </a:lnTo>
                  <a:lnTo>
                    <a:pt x="99" y="211"/>
                  </a:lnTo>
                  <a:lnTo>
                    <a:pt x="102" y="210"/>
                  </a:lnTo>
                  <a:lnTo>
                    <a:pt x="105" y="208"/>
                  </a:lnTo>
                  <a:lnTo>
                    <a:pt x="107" y="207"/>
                  </a:lnTo>
                  <a:lnTo>
                    <a:pt x="111" y="206"/>
                  </a:lnTo>
                  <a:lnTo>
                    <a:pt x="113" y="205"/>
                  </a:lnTo>
                  <a:lnTo>
                    <a:pt x="114" y="204"/>
                  </a:lnTo>
                  <a:lnTo>
                    <a:pt x="114" y="204"/>
                  </a:lnTo>
                  <a:lnTo>
                    <a:pt x="114" y="204"/>
                  </a:lnTo>
                  <a:lnTo>
                    <a:pt x="114" y="203"/>
                  </a:lnTo>
                  <a:lnTo>
                    <a:pt x="114" y="202"/>
                  </a:lnTo>
                  <a:lnTo>
                    <a:pt x="114" y="201"/>
                  </a:lnTo>
                  <a:lnTo>
                    <a:pt x="114" y="199"/>
                  </a:lnTo>
                  <a:lnTo>
                    <a:pt x="109" y="194"/>
                  </a:lnTo>
                  <a:lnTo>
                    <a:pt x="105" y="189"/>
                  </a:lnTo>
                  <a:lnTo>
                    <a:pt x="103" y="187"/>
                  </a:lnTo>
                  <a:lnTo>
                    <a:pt x="100" y="184"/>
                  </a:lnTo>
                  <a:lnTo>
                    <a:pt x="99" y="182"/>
                  </a:lnTo>
                  <a:lnTo>
                    <a:pt x="98" y="181"/>
                  </a:lnTo>
                  <a:lnTo>
                    <a:pt x="97" y="180"/>
                  </a:lnTo>
                  <a:lnTo>
                    <a:pt x="97" y="179"/>
                  </a:lnTo>
                  <a:lnTo>
                    <a:pt x="96" y="178"/>
                  </a:lnTo>
                  <a:lnTo>
                    <a:pt x="96" y="176"/>
                  </a:lnTo>
                  <a:lnTo>
                    <a:pt x="96" y="174"/>
                  </a:lnTo>
                  <a:lnTo>
                    <a:pt x="96" y="171"/>
                  </a:lnTo>
                  <a:lnTo>
                    <a:pt x="97" y="170"/>
                  </a:lnTo>
                  <a:lnTo>
                    <a:pt x="98" y="166"/>
                  </a:lnTo>
                  <a:lnTo>
                    <a:pt x="99" y="163"/>
                  </a:lnTo>
                  <a:lnTo>
                    <a:pt x="100" y="162"/>
                  </a:lnTo>
                  <a:lnTo>
                    <a:pt x="102" y="158"/>
                  </a:lnTo>
                  <a:lnTo>
                    <a:pt x="102" y="157"/>
                  </a:lnTo>
                  <a:lnTo>
                    <a:pt x="102" y="156"/>
                  </a:lnTo>
                  <a:lnTo>
                    <a:pt x="102" y="155"/>
                  </a:lnTo>
                  <a:lnTo>
                    <a:pt x="102" y="153"/>
                  </a:lnTo>
                  <a:lnTo>
                    <a:pt x="102" y="151"/>
                  </a:lnTo>
                  <a:lnTo>
                    <a:pt x="102" y="148"/>
                  </a:lnTo>
                  <a:lnTo>
                    <a:pt x="101" y="147"/>
                  </a:lnTo>
                  <a:lnTo>
                    <a:pt x="97" y="141"/>
                  </a:lnTo>
                  <a:lnTo>
                    <a:pt x="96" y="137"/>
                  </a:lnTo>
                  <a:lnTo>
                    <a:pt x="92" y="130"/>
                  </a:lnTo>
                  <a:lnTo>
                    <a:pt x="91" y="126"/>
                  </a:lnTo>
                  <a:lnTo>
                    <a:pt x="91" y="124"/>
                  </a:lnTo>
                  <a:lnTo>
                    <a:pt x="90" y="119"/>
                  </a:lnTo>
                  <a:lnTo>
                    <a:pt x="89" y="114"/>
                  </a:lnTo>
                  <a:lnTo>
                    <a:pt x="88" y="111"/>
                  </a:lnTo>
                  <a:lnTo>
                    <a:pt x="88" y="107"/>
                  </a:lnTo>
                  <a:lnTo>
                    <a:pt x="88" y="104"/>
                  </a:lnTo>
                  <a:lnTo>
                    <a:pt x="88" y="102"/>
                  </a:lnTo>
                  <a:lnTo>
                    <a:pt x="89" y="100"/>
                  </a:lnTo>
                  <a:lnTo>
                    <a:pt x="89" y="97"/>
                  </a:lnTo>
                  <a:lnTo>
                    <a:pt x="90" y="95"/>
                  </a:lnTo>
                  <a:lnTo>
                    <a:pt x="91" y="92"/>
                  </a:lnTo>
                  <a:lnTo>
                    <a:pt x="94" y="88"/>
                  </a:lnTo>
                  <a:lnTo>
                    <a:pt x="101" y="79"/>
                  </a:lnTo>
                  <a:lnTo>
                    <a:pt x="105" y="72"/>
                  </a:lnTo>
                  <a:lnTo>
                    <a:pt x="107" y="70"/>
                  </a:lnTo>
                  <a:lnTo>
                    <a:pt x="109" y="68"/>
                  </a:lnTo>
                  <a:lnTo>
                    <a:pt x="113" y="65"/>
                  </a:lnTo>
                  <a:lnTo>
                    <a:pt x="118" y="60"/>
                  </a:lnTo>
                  <a:lnTo>
                    <a:pt x="126" y="55"/>
                  </a:lnTo>
                  <a:lnTo>
                    <a:pt x="127" y="54"/>
                  </a:lnTo>
                  <a:lnTo>
                    <a:pt x="128" y="54"/>
                  </a:lnTo>
                  <a:lnTo>
                    <a:pt x="129" y="55"/>
                  </a:lnTo>
                  <a:lnTo>
                    <a:pt x="130" y="55"/>
                  </a:lnTo>
                  <a:lnTo>
                    <a:pt x="131" y="55"/>
                  </a:lnTo>
                  <a:lnTo>
                    <a:pt x="135" y="55"/>
                  </a:lnTo>
                  <a:lnTo>
                    <a:pt x="142" y="54"/>
                  </a:lnTo>
                  <a:lnTo>
                    <a:pt x="146" y="53"/>
                  </a:lnTo>
                  <a:lnTo>
                    <a:pt x="148" y="53"/>
                  </a:lnTo>
                  <a:lnTo>
                    <a:pt x="150" y="53"/>
                  </a:lnTo>
                  <a:lnTo>
                    <a:pt x="152" y="54"/>
                  </a:lnTo>
                  <a:lnTo>
                    <a:pt x="154" y="54"/>
                  </a:lnTo>
                  <a:lnTo>
                    <a:pt x="156" y="54"/>
                  </a:lnTo>
                  <a:lnTo>
                    <a:pt x="159" y="55"/>
                  </a:lnTo>
                  <a:lnTo>
                    <a:pt x="166" y="57"/>
                  </a:lnTo>
                  <a:lnTo>
                    <a:pt x="175" y="61"/>
                  </a:lnTo>
                  <a:lnTo>
                    <a:pt x="186" y="67"/>
                  </a:lnTo>
                  <a:lnTo>
                    <a:pt x="190" y="68"/>
                  </a:lnTo>
                  <a:lnTo>
                    <a:pt x="193" y="68"/>
                  </a:lnTo>
                  <a:lnTo>
                    <a:pt x="197" y="69"/>
                  </a:lnTo>
                  <a:lnTo>
                    <a:pt x="201" y="70"/>
                  </a:lnTo>
                  <a:lnTo>
                    <a:pt x="206" y="70"/>
                  </a:lnTo>
                  <a:lnTo>
                    <a:pt x="218" y="71"/>
                  </a:lnTo>
                  <a:lnTo>
                    <a:pt x="221" y="71"/>
                  </a:lnTo>
                  <a:lnTo>
                    <a:pt x="225" y="72"/>
                  </a:lnTo>
                  <a:lnTo>
                    <a:pt x="228" y="73"/>
                  </a:lnTo>
                  <a:lnTo>
                    <a:pt x="231" y="74"/>
                  </a:lnTo>
                  <a:lnTo>
                    <a:pt x="236" y="75"/>
                  </a:lnTo>
                  <a:lnTo>
                    <a:pt x="244" y="79"/>
                  </a:lnTo>
                  <a:lnTo>
                    <a:pt x="246" y="79"/>
                  </a:lnTo>
                  <a:lnTo>
                    <a:pt x="250" y="80"/>
                  </a:lnTo>
                  <a:lnTo>
                    <a:pt x="258" y="82"/>
                  </a:lnTo>
                  <a:lnTo>
                    <a:pt x="261" y="83"/>
                  </a:lnTo>
                  <a:lnTo>
                    <a:pt x="263" y="83"/>
                  </a:lnTo>
                  <a:lnTo>
                    <a:pt x="265" y="83"/>
                  </a:lnTo>
                  <a:lnTo>
                    <a:pt x="266" y="83"/>
                  </a:lnTo>
                  <a:lnTo>
                    <a:pt x="270" y="81"/>
                  </a:lnTo>
                  <a:lnTo>
                    <a:pt x="273" y="80"/>
                  </a:lnTo>
                  <a:lnTo>
                    <a:pt x="274" y="80"/>
                  </a:lnTo>
                  <a:lnTo>
                    <a:pt x="275" y="79"/>
                  </a:lnTo>
                  <a:lnTo>
                    <a:pt x="276" y="79"/>
                  </a:lnTo>
                  <a:lnTo>
                    <a:pt x="276" y="78"/>
                  </a:lnTo>
                  <a:lnTo>
                    <a:pt x="277" y="78"/>
                  </a:lnTo>
                  <a:lnTo>
                    <a:pt x="277" y="77"/>
                  </a:lnTo>
                  <a:lnTo>
                    <a:pt x="278" y="76"/>
                  </a:lnTo>
                  <a:lnTo>
                    <a:pt x="278" y="75"/>
                  </a:lnTo>
                  <a:lnTo>
                    <a:pt x="278" y="73"/>
                  </a:lnTo>
                  <a:lnTo>
                    <a:pt x="275" y="62"/>
                  </a:lnTo>
                  <a:lnTo>
                    <a:pt x="275" y="59"/>
                  </a:lnTo>
                  <a:lnTo>
                    <a:pt x="275" y="57"/>
                  </a:lnTo>
                  <a:lnTo>
                    <a:pt x="275" y="56"/>
                  </a:lnTo>
                  <a:lnTo>
                    <a:pt x="275" y="55"/>
                  </a:lnTo>
                  <a:lnTo>
                    <a:pt x="276" y="54"/>
                  </a:lnTo>
                  <a:lnTo>
                    <a:pt x="276" y="53"/>
                  </a:lnTo>
                  <a:lnTo>
                    <a:pt x="277" y="51"/>
                  </a:lnTo>
                  <a:lnTo>
                    <a:pt x="280" y="47"/>
                  </a:lnTo>
                  <a:lnTo>
                    <a:pt x="283" y="44"/>
                  </a:lnTo>
                  <a:lnTo>
                    <a:pt x="286" y="39"/>
                  </a:lnTo>
                  <a:lnTo>
                    <a:pt x="289" y="35"/>
                  </a:lnTo>
                  <a:lnTo>
                    <a:pt x="292" y="32"/>
                  </a:lnTo>
                  <a:lnTo>
                    <a:pt x="294" y="30"/>
                  </a:lnTo>
                  <a:lnTo>
                    <a:pt x="296" y="29"/>
                  </a:lnTo>
                  <a:lnTo>
                    <a:pt x="297" y="29"/>
                  </a:lnTo>
                  <a:lnTo>
                    <a:pt x="298" y="28"/>
                  </a:lnTo>
                  <a:lnTo>
                    <a:pt x="300" y="28"/>
                  </a:lnTo>
                  <a:lnTo>
                    <a:pt x="301" y="28"/>
                  </a:lnTo>
                  <a:lnTo>
                    <a:pt x="303" y="28"/>
                  </a:lnTo>
                  <a:lnTo>
                    <a:pt x="304" y="28"/>
                  </a:lnTo>
                  <a:lnTo>
                    <a:pt x="306" y="28"/>
                  </a:lnTo>
                  <a:lnTo>
                    <a:pt x="307" y="29"/>
                  </a:lnTo>
                  <a:lnTo>
                    <a:pt x="307" y="30"/>
                  </a:lnTo>
                  <a:lnTo>
                    <a:pt x="309" y="30"/>
                  </a:lnTo>
                  <a:lnTo>
                    <a:pt x="313" y="34"/>
                  </a:lnTo>
                  <a:lnTo>
                    <a:pt x="314" y="34"/>
                  </a:lnTo>
                  <a:lnTo>
                    <a:pt x="321" y="40"/>
                  </a:lnTo>
                  <a:lnTo>
                    <a:pt x="325" y="42"/>
                  </a:lnTo>
                  <a:lnTo>
                    <a:pt x="328" y="44"/>
                  </a:lnTo>
                  <a:lnTo>
                    <a:pt x="330" y="45"/>
                  </a:lnTo>
                  <a:lnTo>
                    <a:pt x="333" y="45"/>
                  </a:lnTo>
                  <a:lnTo>
                    <a:pt x="334" y="46"/>
                  </a:lnTo>
                  <a:lnTo>
                    <a:pt x="336" y="46"/>
                  </a:lnTo>
                  <a:lnTo>
                    <a:pt x="338" y="46"/>
                  </a:lnTo>
                  <a:lnTo>
                    <a:pt x="339" y="46"/>
                  </a:lnTo>
                  <a:lnTo>
                    <a:pt x="341" y="45"/>
                  </a:lnTo>
                  <a:lnTo>
                    <a:pt x="341" y="45"/>
                  </a:lnTo>
                  <a:lnTo>
                    <a:pt x="342" y="45"/>
                  </a:lnTo>
                  <a:lnTo>
                    <a:pt x="344" y="44"/>
                  </a:lnTo>
                  <a:lnTo>
                    <a:pt x="345" y="43"/>
                  </a:lnTo>
                  <a:lnTo>
                    <a:pt x="346" y="41"/>
                  </a:lnTo>
                  <a:lnTo>
                    <a:pt x="348" y="39"/>
                  </a:lnTo>
                  <a:lnTo>
                    <a:pt x="349" y="37"/>
                  </a:lnTo>
                  <a:lnTo>
                    <a:pt x="350" y="35"/>
                  </a:lnTo>
                  <a:lnTo>
                    <a:pt x="351" y="34"/>
                  </a:lnTo>
                  <a:lnTo>
                    <a:pt x="352" y="32"/>
                  </a:lnTo>
                  <a:lnTo>
                    <a:pt x="352" y="30"/>
                  </a:lnTo>
                  <a:lnTo>
                    <a:pt x="353" y="26"/>
                  </a:lnTo>
                  <a:lnTo>
                    <a:pt x="353" y="22"/>
                  </a:lnTo>
                  <a:lnTo>
                    <a:pt x="353" y="17"/>
                  </a:lnTo>
                  <a:lnTo>
                    <a:pt x="353" y="6"/>
                  </a:lnTo>
                  <a:lnTo>
                    <a:pt x="353" y="3"/>
                  </a:lnTo>
                  <a:lnTo>
                    <a:pt x="353" y="1"/>
                  </a:lnTo>
                  <a:lnTo>
                    <a:pt x="353" y="0"/>
                  </a:lnTo>
                  <a:lnTo>
                    <a:pt x="354" y="0"/>
                  </a:lnTo>
                  <a:lnTo>
                    <a:pt x="355" y="0"/>
                  </a:lnTo>
                  <a:lnTo>
                    <a:pt x="357" y="2"/>
                  </a:lnTo>
                  <a:lnTo>
                    <a:pt x="359" y="3"/>
                  </a:lnTo>
                  <a:lnTo>
                    <a:pt x="360" y="4"/>
                  </a:lnTo>
                  <a:lnTo>
                    <a:pt x="361" y="4"/>
                  </a:lnTo>
                  <a:lnTo>
                    <a:pt x="363" y="5"/>
                  </a:lnTo>
                  <a:lnTo>
                    <a:pt x="365" y="6"/>
                  </a:lnTo>
                  <a:lnTo>
                    <a:pt x="368" y="7"/>
                  </a:lnTo>
                  <a:lnTo>
                    <a:pt x="370" y="8"/>
                  </a:lnTo>
                  <a:lnTo>
                    <a:pt x="372" y="8"/>
                  </a:lnTo>
                  <a:lnTo>
                    <a:pt x="375" y="9"/>
                  </a:lnTo>
                  <a:lnTo>
                    <a:pt x="377" y="9"/>
                  </a:lnTo>
                  <a:lnTo>
                    <a:pt x="380" y="10"/>
                  </a:lnTo>
                  <a:lnTo>
                    <a:pt x="381" y="11"/>
                  </a:lnTo>
                  <a:lnTo>
                    <a:pt x="383" y="11"/>
                  </a:lnTo>
                  <a:lnTo>
                    <a:pt x="387" y="14"/>
                  </a:lnTo>
                  <a:lnTo>
                    <a:pt x="393" y="23"/>
                  </a:lnTo>
                  <a:lnTo>
                    <a:pt x="398" y="34"/>
                  </a:lnTo>
                  <a:lnTo>
                    <a:pt x="401" y="37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4" name="Freeform 57">
              <a:extLst>
                <a:ext uri="{FF2B5EF4-FFF2-40B4-BE49-F238E27FC236}">
                  <a16:creationId xmlns:a16="http://schemas.microsoft.com/office/drawing/2014/main" id="{9A2C433B-39FC-4555-AC3C-CA3DE7238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8" y="2671"/>
              <a:ext cx="416" cy="480"/>
            </a:xfrm>
            <a:custGeom>
              <a:avLst/>
              <a:gdLst>
                <a:gd name="T0" fmla="*/ 103 w 416"/>
                <a:gd name="T1" fmla="*/ 29 h 480"/>
                <a:gd name="T2" fmla="*/ 148 w 416"/>
                <a:gd name="T3" fmla="*/ 27 h 480"/>
                <a:gd name="T4" fmla="*/ 179 w 416"/>
                <a:gd name="T5" fmla="*/ 26 h 480"/>
                <a:gd name="T6" fmla="*/ 203 w 416"/>
                <a:gd name="T7" fmla="*/ 35 h 480"/>
                <a:gd name="T8" fmla="*/ 214 w 416"/>
                <a:gd name="T9" fmla="*/ 19 h 480"/>
                <a:gd name="T10" fmla="*/ 226 w 416"/>
                <a:gd name="T11" fmla="*/ 10 h 480"/>
                <a:gd name="T12" fmla="*/ 251 w 416"/>
                <a:gd name="T13" fmla="*/ 10 h 480"/>
                <a:gd name="T14" fmla="*/ 271 w 416"/>
                <a:gd name="T15" fmla="*/ 3 h 480"/>
                <a:gd name="T16" fmla="*/ 291 w 416"/>
                <a:gd name="T17" fmla="*/ 12 h 480"/>
                <a:gd name="T18" fmla="*/ 334 w 416"/>
                <a:gd name="T19" fmla="*/ 8 h 480"/>
                <a:gd name="T20" fmla="*/ 353 w 416"/>
                <a:gd name="T21" fmla="*/ 0 h 480"/>
                <a:gd name="T22" fmla="*/ 381 w 416"/>
                <a:gd name="T23" fmla="*/ 20 h 480"/>
                <a:gd name="T24" fmla="*/ 408 w 416"/>
                <a:gd name="T25" fmla="*/ 34 h 480"/>
                <a:gd name="T26" fmla="*/ 416 w 416"/>
                <a:gd name="T27" fmla="*/ 46 h 480"/>
                <a:gd name="T28" fmla="*/ 400 w 416"/>
                <a:gd name="T29" fmla="*/ 70 h 480"/>
                <a:gd name="T30" fmla="*/ 395 w 416"/>
                <a:gd name="T31" fmla="*/ 101 h 480"/>
                <a:gd name="T32" fmla="*/ 397 w 416"/>
                <a:gd name="T33" fmla="*/ 135 h 480"/>
                <a:gd name="T34" fmla="*/ 389 w 416"/>
                <a:gd name="T35" fmla="*/ 162 h 480"/>
                <a:gd name="T36" fmla="*/ 368 w 416"/>
                <a:gd name="T37" fmla="*/ 196 h 480"/>
                <a:gd name="T38" fmla="*/ 376 w 416"/>
                <a:gd name="T39" fmla="*/ 231 h 480"/>
                <a:gd name="T40" fmla="*/ 382 w 416"/>
                <a:gd name="T41" fmla="*/ 252 h 480"/>
                <a:gd name="T42" fmla="*/ 377 w 416"/>
                <a:gd name="T43" fmla="*/ 273 h 480"/>
                <a:gd name="T44" fmla="*/ 394 w 416"/>
                <a:gd name="T45" fmla="*/ 295 h 480"/>
                <a:gd name="T46" fmla="*/ 385 w 416"/>
                <a:gd name="T47" fmla="*/ 302 h 480"/>
                <a:gd name="T48" fmla="*/ 371 w 416"/>
                <a:gd name="T49" fmla="*/ 317 h 480"/>
                <a:gd name="T50" fmla="*/ 373 w 416"/>
                <a:gd name="T51" fmla="*/ 337 h 480"/>
                <a:gd name="T52" fmla="*/ 360 w 416"/>
                <a:gd name="T53" fmla="*/ 344 h 480"/>
                <a:gd name="T54" fmla="*/ 356 w 416"/>
                <a:gd name="T55" fmla="*/ 361 h 480"/>
                <a:gd name="T56" fmla="*/ 337 w 416"/>
                <a:gd name="T57" fmla="*/ 408 h 480"/>
                <a:gd name="T58" fmla="*/ 312 w 416"/>
                <a:gd name="T59" fmla="*/ 410 h 480"/>
                <a:gd name="T60" fmla="*/ 301 w 416"/>
                <a:gd name="T61" fmla="*/ 413 h 480"/>
                <a:gd name="T62" fmla="*/ 292 w 416"/>
                <a:gd name="T63" fmla="*/ 441 h 480"/>
                <a:gd name="T64" fmla="*/ 280 w 416"/>
                <a:gd name="T65" fmla="*/ 480 h 480"/>
                <a:gd name="T66" fmla="*/ 234 w 416"/>
                <a:gd name="T67" fmla="*/ 467 h 480"/>
                <a:gd name="T68" fmla="*/ 210 w 416"/>
                <a:gd name="T69" fmla="*/ 477 h 480"/>
                <a:gd name="T70" fmla="*/ 194 w 416"/>
                <a:gd name="T71" fmla="*/ 472 h 480"/>
                <a:gd name="T72" fmla="*/ 176 w 416"/>
                <a:gd name="T73" fmla="*/ 453 h 480"/>
                <a:gd name="T74" fmla="*/ 153 w 416"/>
                <a:gd name="T75" fmla="*/ 447 h 480"/>
                <a:gd name="T76" fmla="*/ 155 w 416"/>
                <a:gd name="T77" fmla="*/ 438 h 480"/>
                <a:gd name="T78" fmla="*/ 157 w 416"/>
                <a:gd name="T79" fmla="*/ 424 h 480"/>
                <a:gd name="T80" fmla="*/ 132 w 416"/>
                <a:gd name="T81" fmla="*/ 412 h 480"/>
                <a:gd name="T82" fmla="*/ 107 w 416"/>
                <a:gd name="T83" fmla="*/ 396 h 480"/>
                <a:gd name="T84" fmla="*/ 76 w 416"/>
                <a:gd name="T85" fmla="*/ 406 h 480"/>
                <a:gd name="T86" fmla="*/ 58 w 416"/>
                <a:gd name="T87" fmla="*/ 400 h 480"/>
                <a:gd name="T88" fmla="*/ 23 w 416"/>
                <a:gd name="T89" fmla="*/ 371 h 480"/>
                <a:gd name="T90" fmla="*/ 13 w 416"/>
                <a:gd name="T91" fmla="*/ 346 h 480"/>
                <a:gd name="T92" fmla="*/ 25 w 416"/>
                <a:gd name="T93" fmla="*/ 322 h 480"/>
                <a:gd name="T94" fmla="*/ 18 w 416"/>
                <a:gd name="T95" fmla="*/ 308 h 480"/>
                <a:gd name="T96" fmla="*/ 1 w 416"/>
                <a:gd name="T97" fmla="*/ 290 h 480"/>
                <a:gd name="T98" fmla="*/ 7 w 416"/>
                <a:gd name="T99" fmla="*/ 258 h 480"/>
                <a:gd name="T100" fmla="*/ 9 w 416"/>
                <a:gd name="T101" fmla="*/ 232 h 480"/>
                <a:gd name="T102" fmla="*/ 23 w 416"/>
                <a:gd name="T103" fmla="*/ 189 h 480"/>
                <a:gd name="T104" fmla="*/ 24 w 416"/>
                <a:gd name="T105" fmla="*/ 154 h 480"/>
                <a:gd name="T106" fmla="*/ 13 w 416"/>
                <a:gd name="T107" fmla="*/ 129 h 480"/>
                <a:gd name="T108" fmla="*/ 21 w 416"/>
                <a:gd name="T109" fmla="*/ 120 h 480"/>
                <a:gd name="T110" fmla="*/ 31 w 416"/>
                <a:gd name="T111" fmla="*/ 108 h 480"/>
                <a:gd name="T112" fmla="*/ 30 w 416"/>
                <a:gd name="T113" fmla="*/ 86 h 480"/>
                <a:gd name="T114" fmla="*/ 35 w 416"/>
                <a:gd name="T115" fmla="*/ 68 h 480"/>
                <a:gd name="T116" fmla="*/ 40 w 416"/>
                <a:gd name="T117" fmla="*/ 56 h 480"/>
                <a:gd name="T118" fmla="*/ 69 w 416"/>
                <a:gd name="T119" fmla="*/ 51 h 480"/>
                <a:gd name="T120" fmla="*/ 64 w 416"/>
                <a:gd name="T121" fmla="*/ 37 h 480"/>
                <a:gd name="T122" fmla="*/ 70 w 416"/>
                <a:gd name="T123" fmla="*/ 24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6" h="480">
                  <a:moveTo>
                    <a:pt x="81" y="20"/>
                  </a:moveTo>
                  <a:lnTo>
                    <a:pt x="82" y="20"/>
                  </a:lnTo>
                  <a:lnTo>
                    <a:pt x="84" y="22"/>
                  </a:lnTo>
                  <a:lnTo>
                    <a:pt x="86" y="24"/>
                  </a:lnTo>
                  <a:lnTo>
                    <a:pt x="87" y="25"/>
                  </a:lnTo>
                  <a:lnTo>
                    <a:pt x="92" y="26"/>
                  </a:lnTo>
                  <a:lnTo>
                    <a:pt x="96" y="27"/>
                  </a:lnTo>
                  <a:lnTo>
                    <a:pt x="99" y="28"/>
                  </a:lnTo>
                  <a:lnTo>
                    <a:pt x="103" y="29"/>
                  </a:lnTo>
                  <a:lnTo>
                    <a:pt x="121" y="32"/>
                  </a:lnTo>
                  <a:lnTo>
                    <a:pt x="123" y="32"/>
                  </a:lnTo>
                  <a:lnTo>
                    <a:pt x="125" y="32"/>
                  </a:lnTo>
                  <a:lnTo>
                    <a:pt x="129" y="32"/>
                  </a:lnTo>
                  <a:lnTo>
                    <a:pt x="134" y="32"/>
                  </a:lnTo>
                  <a:lnTo>
                    <a:pt x="137" y="31"/>
                  </a:lnTo>
                  <a:lnTo>
                    <a:pt x="142" y="30"/>
                  </a:lnTo>
                  <a:lnTo>
                    <a:pt x="144" y="29"/>
                  </a:lnTo>
                  <a:lnTo>
                    <a:pt x="148" y="27"/>
                  </a:lnTo>
                  <a:lnTo>
                    <a:pt x="163" y="22"/>
                  </a:lnTo>
                  <a:lnTo>
                    <a:pt x="164" y="22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1"/>
                  </a:lnTo>
                  <a:lnTo>
                    <a:pt x="170" y="22"/>
                  </a:lnTo>
                  <a:lnTo>
                    <a:pt x="176" y="24"/>
                  </a:lnTo>
                  <a:lnTo>
                    <a:pt x="179" y="26"/>
                  </a:lnTo>
                  <a:lnTo>
                    <a:pt x="182" y="26"/>
                  </a:lnTo>
                  <a:lnTo>
                    <a:pt x="188" y="27"/>
                  </a:lnTo>
                  <a:lnTo>
                    <a:pt x="190" y="28"/>
                  </a:lnTo>
                  <a:lnTo>
                    <a:pt x="192" y="29"/>
                  </a:lnTo>
                  <a:lnTo>
                    <a:pt x="194" y="30"/>
                  </a:lnTo>
                  <a:lnTo>
                    <a:pt x="199" y="33"/>
                  </a:lnTo>
                  <a:lnTo>
                    <a:pt x="200" y="34"/>
                  </a:lnTo>
                  <a:lnTo>
                    <a:pt x="202" y="35"/>
                  </a:lnTo>
                  <a:lnTo>
                    <a:pt x="203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4"/>
                  </a:lnTo>
                  <a:lnTo>
                    <a:pt x="207" y="33"/>
                  </a:lnTo>
                  <a:lnTo>
                    <a:pt x="208" y="32"/>
                  </a:lnTo>
                  <a:lnTo>
                    <a:pt x="210" y="29"/>
                  </a:lnTo>
                  <a:lnTo>
                    <a:pt x="212" y="26"/>
                  </a:lnTo>
                  <a:lnTo>
                    <a:pt x="214" y="19"/>
                  </a:lnTo>
                  <a:lnTo>
                    <a:pt x="214" y="18"/>
                  </a:lnTo>
                  <a:lnTo>
                    <a:pt x="215" y="17"/>
                  </a:lnTo>
                  <a:lnTo>
                    <a:pt x="217" y="15"/>
                  </a:lnTo>
                  <a:lnTo>
                    <a:pt x="221" y="13"/>
                  </a:lnTo>
                  <a:lnTo>
                    <a:pt x="222" y="12"/>
                  </a:lnTo>
                  <a:lnTo>
                    <a:pt x="223" y="11"/>
                  </a:lnTo>
                  <a:lnTo>
                    <a:pt x="224" y="11"/>
                  </a:lnTo>
                  <a:lnTo>
                    <a:pt x="225" y="10"/>
                  </a:lnTo>
                  <a:lnTo>
                    <a:pt x="226" y="10"/>
                  </a:lnTo>
                  <a:lnTo>
                    <a:pt x="228" y="10"/>
                  </a:lnTo>
                  <a:lnTo>
                    <a:pt x="231" y="10"/>
                  </a:lnTo>
                  <a:lnTo>
                    <a:pt x="236" y="12"/>
                  </a:lnTo>
                  <a:lnTo>
                    <a:pt x="239" y="12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46" y="11"/>
                  </a:lnTo>
                  <a:lnTo>
                    <a:pt x="249" y="11"/>
                  </a:lnTo>
                  <a:lnTo>
                    <a:pt x="251" y="10"/>
                  </a:lnTo>
                  <a:lnTo>
                    <a:pt x="253" y="9"/>
                  </a:lnTo>
                  <a:lnTo>
                    <a:pt x="256" y="8"/>
                  </a:lnTo>
                  <a:lnTo>
                    <a:pt x="257" y="7"/>
                  </a:lnTo>
                  <a:lnTo>
                    <a:pt x="261" y="5"/>
                  </a:lnTo>
                  <a:lnTo>
                    <a:pt x="269" y="1"/>
                  </a:lnTo>
                  <a:lnTo>
                    <a:pt x="269" y="0"/>
                  </a:lnTo>
                  <a:lnTo>
                    <a:pt x="269" y="1"/>
                  </a:lnTo>
                  <a:lnTo>
                    <a:pt x="270" y="3"/>
                  </a:lnTo>
                  <a:lnTo>
                    <a:pt x="271" y="3"/>
                  </a:lnTo>
                  <a:lnTo>
                    <a:pt x="273" y="4"/>
                  </a:lnTo>
                  <a:lnTo>
                    <a:pt x="274" y="6"/>
                  </a:lnTo>
                  <a:lnTo>
                    <a:pt x="276" y="7"/>
                  </a:lnTo>
                  <a:lnTo>
                    <a:pt x="278" y="8"/>
                  </a:lnTo>
                  <a:lnTo>
                    <a:pt x="280" y="9"/>
                  </a:lnTo>
                  <a:lnTo>
                    <a:pt x="284" y="11"/>
                  </a:lnTo>
                  <a:lnTo>
                    <a:pt x="287" y="11"/>
                  </a:lnTo>
                  <a:lnTo>
                    <a:pt x="289" y="12"/>
                  </a:lnTo>
                  <a:lnTo>
                    <a:pt x="291" y="12"/>
                  </a:lnTo>
                  <a:lnTo>
                    <a:pt x="293" y="13"/>
                  </a:lnTo>
                  <a:lnTo>
                    <a:pt x="299" y="13"/>
                  </a:lnTo>
                  <a:lnTo>
                    <a:pt x="302" y="13"/>
                  </a:lnTo>
                  <a:lnTo>
                    <a:pt x="303" y="12"/>
                  </a:lnTo>
                  <a:lnTo>
                    <a:pt x="313" y="11"/>
                  </a:lnTo>
                  <a:lnTo>
                    <a:pt x="320" y="10"/>
                  </a:lnTo>
                  <a:lnTo>
                    <a:pt x="325" y="10"/>
                  </a:lnTo>
                  <a:lnTo>
                    <a:pt x="330" y="9"/>
                  </a:lnTo>
                  <a:lnTo>
                    <a:pt x="334" y="8"/>
                  </a:lnTo>
                  <a:lnTo>
                    <a:pt x="337" y="7"/>
                  </a:lnTo>
                  <a:lnTo>
                    <a:pt x="339" y="6"/>
                  </a:lnTo>
                  <a:lnTo>
                    <a:pt x="341" y="5"/>
                  </a:lnTo>
                  <a:lnTo>
                    <a:pt x="348" y="1"/>
                  </a:lnTo>
                  <a:lnTo>
                    <a:pt x="349" y="0"/>
                  </a:lnTo>
                  <a:lnTo>
                    <a:pt x="350" y="0"/>
                  </a:lnTo>
                  <a:lnTo>
                    <a:pt x="351" y="0"/>
                  </a:lnTo>
                  <a:lnTo>
                    <a:pt x="352" y="0"/>
                  </a:lnTo>
                  <a:lnTo>
                    <a:pt x="353" y="0"/>
                  </a:lnTo>
                  <a:lnTo>
                    <a:pt x="355" y="1"/>
                  </a:lnTo>
                  <a:lnTo>
                    <a:pt x="357" y="2"/>
                  </a:lnTo>
                  <a:lnTo>
                    <a:pt x="365" y="7"/>
                  </a:lnTo>
                  <a:lnTo>
                    <a:pt x="370" y="11"/>
                  </a:lnTo>
                  <a:lnTo>
                    <a:pt x="372" y="12"/>
                  </a:lnTo>
                  <a:lnTo>
                    <a:pt x="374" y="14"/>
                  </a:lnTo>
                  <a:lnTo>
                    <a:pt x="376" y="15"/>
                  </a:lnTo>
                  <a:lnTo>
                    <a:pt x="379" y="19"/>
                  </a:lnTo>
                  <a:lnTo>
                    <a:pt x="381" y="20"/>
                  </a:lnTo>
                  <a:lnTo>
                    <a:pt x="382" y="22"/>
                  </a:lnTo>
                  <a:lnTo>
                    <a:pt x="384" y="23"/>
                  </a:lnTo>
                  <a:lnTo>
                    <a:pt x="389" y="26"/>
                  </a:lnTo>
                  <a:lnTo>
                    <a:pt x="394" y="28"/>
                  </a:lnTo>
                  <a:lnTo>
                    <a:pt x="397" y="29"/>
                  </a:lnTo>
                  <a:lnTo>
                    <a:pt x="404" y="31"/>
                  </a:lnTo>
                  <a:lnTo>
                    <a:pt x="405" y="32"/>
                  </a:lnTo>
                  <a:lnTo>
                    <a:pt x="407" y="33"/>
                  </a:lnTo>
                  <a:lnTo>
                    <a:pt x="408" y="34"/>
                  </a:lnTo>
                  <a:lnTo>
                    <a:pt x="409" y="35"/>
                  </a:lnTo>
                  <a:lnTo>
                    <a:pt x="410" y="35"/>
                  </a:lnTo>
                  <a:lnTo>
                    <a:pt x="411" y="36"/>
                  </a:lnTo>
                  <a:lnTo>
                    <a:pt x="412" y="37"/>
                  </a:lnTo>
                  <a:lnTo>
                    <a:pt x="414" y="40"/>
                  </a:lnTo>
                  <a:lnTo>
                    <a:pt x="415" y="42"/>
                  </a:lnTo>
                  <a:lnTo>
                    <a:pt x="415" y="44"/>
                  </a:lnTo>
                  <a:lnTo>
                    <a:pt x="416" y="45"/>
                  </a:lnTo>
                  <a:lnTo>
                    <a:pt x="416" y="46"/>
                  </a:lnTo>
                  <a:lnTo>
                    <a:pt x="416" y="47"/>
                  </a:lnTo>
                  <a:lnTo>
                    <a:pt x="415" y="48"/>
                  </a:lnTo>
                  <a:lnTo>
                    <a:pt x="414" y="50"/>
                  </a:lnTo>
                  <a:lnTo>
                    <a:pt x="412" y="52"/>
                  </a:lnTo>
                  <a:lnTo>
                    <a:pt x="406" y="59"/>
                  </a:lnTo>
                  <a:lnTo>
                    <a:pt x="405" y="61"/>
                  </a:lnTo>
                  <a:lnTo>
                    <a:pt x="403" y="64"/>
                  </a:lnTo>
                  <a:lnTo>
                    <a:pt x="402" y="67"/>
                  </a:lnTo>
                  <a:lnTo>
                    <a:pt x="400" y="70"/>
                  </a:lnTo>
                  <a:lnTo>
                    <a:pt x="399" y="72"/>
                  </a:lnTo>
                  <a:lnTo>
                    <a:pt x="398" y="75"/>
                  </a:lnTo>
                  <a:lnTo>
                    <a:pt x="397" y="79"/>
                  </a:lnTo>
                  <a:lnTo>
                    <a:pt x="396" y="82"/>
                  </a:lnTo>
                  <a:lnTo>
                    <a:pt x="396" y="84"/>
                  </a:lnTo>
                  <a:lnTo>
                    <a:pt x="396" y="89"/>
                  </a:lnTo>
                  <a:lnTo>
                    <a:pt x="395" y="95"/>
                  </a:lnTo>
                  <a:lnTo>
                    <a:pt x="395" y="98"/>
                  </a:lnTo>
                  <a:lnTo>
                    <a:pt x="395" y="101"/>
                  </a:lnTo>
                  <a:lnTo>
                    <a:pt x="392" y="115"/>
                  </a:lnTo>
                  <a:lnTo>
                    <a:pt x="392" y="117"/>
                  </a:lnTo>
                  <a:lnTo>
                    <a:pt x="392" y="119"/>
                  </a:lnTo>
                  <a:lnTo>
                    <a:pt x="392" y="123"/>
                  </a:lnTo>
                  <a:lnTo>
                    <a:pt x="393" y="126"/>
                  </a:lnTo>
                  <a:lnTo>
                    <a:pt x="393" y="127"/>
                  </a:lnTo>
                  <a:lnTo>
                    <a:pt x="394" y="128"/>
                  </a:lnTo>
                  <a:lnTo>
                    <a:pt x="394" y="131"/>
                  </a:lnTo>
                  <a:lnTo>
                    <a:pt x="397" y="135"/>
                  </a:lnTo>
                  <a:lnTo>
                    <a:pt x="400" y="139"/>
                  </a:lnTo>
                  <a:lnTo>
                    <a:pt x="405" y="144"/>
                  </a:lnTo>
                  <a:lnTo>
                    <a:pt x="406" y="146"/>
                  </a:lnTo>
                  <a:lnTo>
                    <a:pt x="408" y="148"/>
                  </a:lnTo>
                  <a:lnTo>
                    <a:pt x="407" y="148"/>
                  </a:lnTo>
                  <a:lnTo>
                    <a:pt x="406" y="149"/>
                  </a:lnTo>
                  <a:lnTo>
                    <a:pt x="398" y="154"/>
                  </a:lnTo>
                  <a:lnTo>
                    <a:pt x="393" y="159"/>
                  </a:lnTo>
                  <a:lnTo>
                    <a:pt x="389" y="162"/>
                  </a:lnTo>
                  <a:lnTo>
                    <a:pt x="387" y="164"/>
                  </a:lnTo>
                  <a:lnTo>
                    <a:pt x="385" y="166"/>
                  </a:lnTo>
                  <a:lnTo>
                    <a:pt x="381" y="173"/>
                  </a:lnTo>
                  <a:lnTo>
                    <a:pt x="374" y="182"/>
                  </a:lnTo>
                  <a:lnTo>
                    <a:pt x="371" y="186"/>
                  </a:lnTo>
                  <a:lnTo>
                    <a:pt x="370" y="189"/>
                  </a:lnTo>
                  <a:lnTo>
                    <a:pt x="369" y="191"/>
                  </a:lnTo>
                  <a:lnTo>
                    <a:pt x="369" y="194"/>
                  </a:lnTo>
                  <a:lnTo>
                    <a:pt x="368" y="196"/>
                  </a:lnTo>
                  <a:lnTo>
                    <a:pt x="368" y="198"/>
                  </a:lnTo>
                  <a:lnTo>
                    <a:pt x="368" y="201"/>
                  </a:lnTo>
                  <a:lnTo>
                    <a:pt x="368" y="205"/>
                  </a:lnTo>
                  <a:lnTo>
                    <a:pt x="369" y="208"/>
                  </a:lnTo>
                  <a:lnTo>
                    <a:pt x="370" y="213"/>
                  </a:lnTo>
                  <a:lnTo>
                    <a:pt x="371" y="218"/>
                  </a:lnTo>
                  <a:lnTo>
                    <a:pt x="371" y="220"/>
                  </a:lnTo>
                  <a:lnTo>
                    <a:pt x="372" y="224"/>
                  </a:lnTo>
                  <a:lnTo>
                    <a:pt x="376" y="231"/>
                  </a:lnTo>
                  <a:lnTo>
                    <a:pt x="377" y="235"/>
                  </a:lnTo>
                  <a:lnTo>
                    <a:pt x="381" y="241"/>
                  </a:lnTo>
                  <a:lnTo>
                    <a:pt x="382" y="242"/>
                  </a:lnTo>
                  <a:lnTo>
                    <a:pt x="382" y="245"/>
                  </a:lnTo>
                  <a:lnTo>
                    <a:pt x="382" y="247"/>
                  </a:lnTo>
                  <a:lnTo>
                    <a:pt x="382" y="249"/>
                  </a:lnTo>
                  <a:lnTo>
                    <a:pt x="382" y="250"/>
                  </a:lnTo>
                  <a:lnTo>
                    <a:pt x="382" y="251"/>
                  </a:lnTo>
                  <a:lnTo>
                    <a:pt x="382" y="252"/>
                  </a:lnTo>
                  <a:lnTo>
                    <a:pt x="380" y="256"/>
                  </a:lnTo>
                  <a:lnTo>
                    <a:pt x="379" y="257"/>
                  </a:lnTo>
                  <a:lnTo>
                    <a:pt x="378" y="260"/>
                  </a:lnTo>
                  <a:lnTo>
                    <a:pt x="377" y="264"/>
                  </a:lnTo>
                  <a:lnTo>
                    <a:pt x="376" y="265"/>
                  </a:lnTo>
                  <a:lnTo>
                    <a:pt x="376" y="268"/>
                  </a:lnTo>
                  <a:lnTo>
                    <a:pt x="376" y="270"/>
                  </a:lnTo>
                  <a:lnTo>
                    <a:pt x="376" y="272"/>
                  </a:lnTo>
                  <a:lnTo>
                    <a:pt x="377" y="273"/>
                  </a:lnTo>
                  <a:lnTo>
                    <a:pt x="377" y="274"/>
                  </a:lnTo>
                  <a:lnTo>
                    <a:pt x="378" y="275"/>
                  </a:lnTo>
                  <a:lnTo>
                    <a:pt x="379" y="276"/>
                  </a:lnTo>
                  <a:lnTo>
                    <a:pt x="380" y="278"/>
                  </a:lnTo>
                  <a:lnTo>
                    <a:pt x="383" y="281"/>
                  </a:lnTo>
                  <a:lnTo>
                    <a:pt x="385" y="283"/>
                  </a:lnTo>
                  <a:lnTo>
                    <a:pt x="389" y="288"/>
                  </a:lnTo>
                  <a:lnTo>
                    <a:pt x="394" y="293"/>
                  </a:lnTo>
                  <a:lnTo>
                    <a:pt x="394" y="295"/>
                  </a:lnTo>
                  <a:lnTo>
                    <a:pt x="394" y="296"/>
                  </a:lnTo>
                  <a:lnTo>
                    <a:pt x="394" y="297"/>
                  </a:lnTo>
                  <a:lnTo>
                    <a:pt x="394" y="298"/>
                  </a:lnTo>
                  <a:lnTo>
                    <a:pt x="394" y="298"/>
                  </a:lnTo>
                  <a:lnTo>
                    <a:pt x="394" y="298"/>
                  </a:lnTo>
                  <a:lnTo>
                    <a:pt x="393" y="299"/>
                  </a:lnTo>
                  <a:lnTo>
                    <a:pt x="391" y="300"/>
                  </a:lnTo>
                  <a:lnTo>
                    <a:pt x="387" y="301"/>
                  </a:lnTo>
                  <a:lnTo>
                    <a:pt x="385" y="302"/>
                  </a:lnTo>
                  <a:lnTo>
                    <a:pt x="382" y="304"/>
                  </a:lnTo>
                  <a:lnTo>
                    <a:pt x="379" y="305"/>
                  </a:lnTo>
                  <a:lnTo>
                    <a:pt x="377" y="307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3" y="312"/>
                  </a:lnTo>
                  <a:lnTo>
                    <a:pt x="372" y="314"/>
                  </a:lnTo>
                  <a:lnTo>
                    <a:pt x="371" y="315"/>
                  </a:lnTo>
                  <a:lnTo>
                    <a:pt x="371" y="317"/>
                  </a:lnTo>
                  <a:lnTo>
                    <a:pt x="371" y="318"/>
                  </a:lnTo>
                  <a:lnTo>
                    <a:pt x="371" y="320"/>
                  </a:lnTo>
                  <a:lnTo>
                    <a:pt x="371" y="321"/>
                  </a:lnTo>
                  <a:lnTo>
                    <a:pt x="373" y="327"/>
                  </a:lnTo>
                  <a:lnTo>
                    <a:pt x="373" y="331"/>
                  </a:lnTo>
                  <a:lnTo>
                    <a:pt x="373" y="332"/>
                  </a:lnTo>
                  <a:lnTo>
                    <a:pt x="373" y="334"/>
                  </a:lnTo>
                  <a:lnTo>
                    <a:pt x="373" y="335"/>
                  </a:lnTo>
                  <a:lnTo>
                    <a:pt x="373" y="337"/>
                  </a:lnTo>
                  <a:lnTo>
                    <a:pt x="372" y="338"/>
                  </a:lnTo>
                  <a:lnTo>
                    <a:pt x="371" y="339"/>
                  </a:lnTo>
                  <a:lnTo>
                    <a:pt x="371" y="339"/>
                  </a:lnTo>
                  <a:lnTo>
                    <a:pt x="369" y="340"/>
                  </a:lnTo>
                  <a:lnTo>
                    <a:pt x="364" y="342"/>
                  </a:lnTo>
                  <a:lnTo>
                    <a:pt x="361" y="343"/>
                  </a:lnTo>
                  <a:lnTo>
                    <a:pt x="360" y="343"/>
                  </a:lnTo>
                  <a:lnTo>
                    <a:pt x="360" y="343"/>
                  </a:lnTo>
                  <a:lnTo>
                    <a:pt x="360" y="344"/>
                  </a:lnTo>
                  <a:lnTo>
                    <a:pt x="359" y="345"/>
                  </a:lnTo>
                  <a:lnTo>
                    <a:pt x="359" y="346"/>
                  </a:lnTo>
                  <a:lnTo>
                    <a:pt x="358" y="347"/>
                  </a:lnTo>
                  <a:lnTo>
                    <a:pt x="358" y="349"/>
                  </a:lnTo>
                  <a:lnTo>
                    <a:pt x="358" y="353"/>
                  </a:lnTo>
                  <a:lnTo>
                    <a:pt x="358" y="354"/>
                  </a:lnTo>
                  <a:lnTo>
                    <a:pt x="358" y="357"/>
                  </a:lnTo>
                  <a:lnTo>
                    <a:pt x="357" y="359"/>
                  </a:lnTo>
                  <a:lnTo>
                    <a:pt x="356" y="361"/>
                  </a:lnTo>
                  <a:lnTo>
                    <a:pt x="355" y="362"/>
                  </a:lnTo>
                  <a:lnTo>
                    <a:pt x="352" y="366"/>
                  </a:lnTo>
                  <a:lnTo>
                    <a:pt x="350" y="369"/>
                  </a:lnTo>
                  <a:lnTo>
                    <a:pt x="344" y="384"/>
                  </a:lnTo>
                  <a:lnTo>
                    <a:pt x="343" y="388"/>
                  </a:lnTo>
                  <a:lnTo>
                    <a:pt x="341" y="393"/>
                  </a:lnTo>
                  <a:lnTo>
                    <a:pt x="340" y="399"/>
                  </a:lnTo>
                  <a:lnTo>
                    <a:pt x="337" y="407"/>
                  </a:lnTo>
                  <a:lnTo>
                    <a:pt x="337" y="408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1"/>
                  </a:lnTo>
                  <a:lnTo>
                    <a:pt x="333" y="411"/>
                  </a:lnTo>
                  <a:lnTo>
                    <a:pt x="331" y="411"/>
                  </a:lnTo>
                  <a:lnTo>
                    <a:pt x="328" y="411"/>
                  </a:lnTo>
                  <a:lnTo>
                    <a:pt x="318" y="411"/>
                  </a:lnTo>
                  <a:lnTo>
                    <a:pt x="316" y="411"/>
                  </a:lnTo>
                  <a:lnTo>
                    <a:pt x="312" y="410"/>
                  </a:lnTo>
                  <a:lnTo>
                    <a:pt x="310" y="409"/>
                  </a:lnTo>
                  <a:lnTo>
                    <a:pt x="309" y="410"/>
                  </a:lnTo>
                  <a:lnTo>
                    <a:pt x="307" y="410"/>
                  </a:lnTo>
                  <a:lnTo>
                    <a:pt x="306" y="410"/>
                  </a:lnTo>
                  <a:lnTo>
                    <a:pt x="304" y="411"/>
                  </a:lnTo>
                  <a:lnTo>
                    <a:pt x="303" y="411"/>
                  </a:lnTo>
                  <a:lnTo>
                    <a:pt x="303" y="412"/>
                  </a:lnTo>
                  <a:lnTo>
                    <a:pt x="302" y="413"/>
                  </a:lnTo>
                  <a:lnTo>
                    <a:pt x="301" y="413"/>
                  </a:lnTo>
                  <a:lnTo>
                    <a:pt x="300" y="415"/>
                  </a:lnTo>
                  <a:lnTo>
                    <a:pt x="299" y="416"/>
                  </a:lnTo>
                  <a:lnTo>
                    <a:pt x="298" y="418"/>
                  </a:lnTo>
                  <a:lnTo>
                    <a:pt x="296" y="423"/>
                  </a:lnTo>
                  <a:lnTo>
                    <a:pt x="294" y="429"/>
                  </a:lnTo>
                  <a:lnTo>
                    <a:pt x="293" y="433"/>
                  </a:lnTo>
                  <a:lnTo>
                    <a:pt x="293" y="436"/>
                  </a:lnTo>
                  <a:lnTo>
                    <a:pt x="292" y="439"/>
                  </a:lnTo>
                  <a:lnTo>
                    <a:pt x="292" y="441"/>
                  </a:lnTo>
                  <a:lnTo>
                    <a:pt x="292" y="446"/>
                  </a:lnTo>
                  <a:lnTo>
                    <a:pt x="292" y="450"/>
                  </a:lnTo>
                  <a:lnTo>
                    <a:pt x="291" y="454"/>
                  </a:lnTo>
                  <a:lnTo>
                    <a:pt x="291" y="457"/>
                  </a:lnTo>
                  <a:lnTo>
                    <a:pt x="289" y="463"/>
                  </a:lnTo>
                  <a:lnTo>
                    <a:pt x="286" y="469"/>
                  </a:lnTo>
                  <a:lnTo>
                    <a:pt x="283" y="474"/>
                  </a:lnTo>
                  <a:lnTo>
                    <a:pt x="280" y="480"/>
                  </a:lnTo>
                  <a:lnTo>
                    <a:pt x="280" y="480"/>
                  </a:lnTo>
                  <a:lnTo>
                    <a:pt x="278" y="479"/>
                  </a:lnTo>
                  <a:lnTo>
                    <a:pt x="273" y="478"/>
                  </a:lnTo>
                  <a:lnTo>
                    <a:pt x="267" y="475"/>
                  </a:lnTo>
                  <a:lnTo>
                    <a:pt x="257" y="472"/>
                  </a:lnTo>
                  <a:lnTo>
                    <a:pt x="253" y="471"/>
                  </a:lnTo>
                  <a:lnTo>
                    <a:pt x="240" y="468"/>
                  </a:lnTo>
                  <a:lnTo>
                    <a:pt x="237" y="468"/>
                  </a:lnTo>
                  <a:lnTo>
                    <a:pt x="235" y="467"/>
                  </a:lnTo>
                  <a:lnTo>
                    <a:pt x="234" y="467"/>
                  </a:lnTo>
                  <a:lnTo>
                    <a:pt x="233" y="467"/>
                  </a:lnTo>
                  <a:lnTo>
                    <a:pt x="231" y="468"/>
                  </a:lnTo>
                  <a:lnTo>
                    <a:pt x="229" y="468"/>
                  </a:lnTo>
                  <a:lnTo>
                    <a:pt x="226" y="469"/>
                  </a:lnTo>
                  <a:lnTo>
                    <a:pt x="220" y="473"/>
                  </a:lnTo>
                  <a:lnTo>
                    <a:pt x="217" y="474"/>
                  </a:lnTo>
                  <a:lnTo>
                    <a:pt x="214" y="475"/>
                  </a:lnTo>
                  <a:lnTo>
                    <a:pt x="212" y="476"/>
                  </a:lnTo>
                  <a:lnTo>
                    <a:pt x="210" y="477"/>
                  </a:lnTo>
                  <a:lnTo>
                    <a:pt x="209" y="477"/>
                  </a:lnTo>
                  <a:lnTo>
                    <a:pt x="207" y="477"/>
                  </a:lnTo>
                  <a:lnTo>
                    <a:pt x="205" y="477"/>
                  </a:lnTo>
                  <a:lnTo>
                    <a:pt x="203" y="476"/>
                  </a:lnTo>
                  <a:lnTo>
                    <a:pt x="201" y="476"/>
                  </a:lnTo>
                  <a:lnTo>
                    <a:pt x="199" y="475"/>
                  </a:lnTo>
                  <a:lnTo>
                    <a:pt x="197" y="474"/>
                  </a:lnTo>
                  <a:lnTo>
                    <a:pt x="195" y="473"/>
                  </a:lnTo>
                  <a:lnTo>
                    <a:pt x="194" y="472"/>
                  </a:lnTo>
                  <a:lnTo>
                    <a:pt x="192" y="470"/>
                  </a:lnTo>
                  <a:lnTo>
                    <a:pt x="191" y="469"/>
                  </a:lnTo>
                  <a:lnTo>
                    <a:pt x="189" y="468"/>
                  </a:lnTo>
                  <a:lnTo>
                    <a:pt x="185" y="461"/>
                  </a:lnTo>
                  <a:lnTo>
                    <a:pt x="182" y="458"/>
                  </a:lnTo>
                  <a:lnTo>
                    <a:pt x="180" y="456"/>
                  </a:lnTo>
                  <a:lnTo>
                    <a:pt x="178" y="455"/>
                  </a:lnTo>
                  <a:lnTo>
                    <a:pt x="178" y="454"/>
                  </a:lnTo>
                  <a:lnTo>
                    <a:pt x="176" y="453"/>
                  </a:lnTo>
                  <a:lnTo>
                    <a:pt x="174" y="451"/>
                  </a:lnTo>
                  <a:lnTo>
                    <a:pt x="173" y="451"/>
                  </a:lnTo>
                  <a:lnTo>
                    <a:pt x="171" y="450"/>
                  </a:lnTo>
                  <a:lnTo>
                    <a:pt x="169" y="450"/>
                  </a:lnTo>
                  <a:lnTo>
                    <a:pt x="166" y="449"/>
                  </a:lnTo>
                  <a:lnTo>
                    <a:pt x="159" y="448"/>
                  </a:lnTo>
                  <a:lnTo>
                    <a:pt x="157" y="448"/>
                  </a:lnTo>
                  <a:lnTo>
                    <a:pt x="155" y="447"/>
                  </a:lnTo>
                  <a:lnTo>
                    <a:pt x="153" y="447"/>
                  </a:lnTo>
                  <a:lnTo>
                    <a:pt x="151" y="446"/>
                  </a:lnTo>
                  <a:lnTo>
                    <a:pt x="150" y="445"/>
                  </a:lnTo>
                  <a:lnTo>
                    <a:pt x="149" y="445"/>
                  </a:lnTo>
                  <a:lnTo>
                    <a:pt x="148" y="444"/>
                  </a:lnTo>
                  <a:lnTo>
                    <a:pt x="148" y="443"/>
                  </a:lnTo>
                  <a:lnTo>
                    <a:pt x="149" y="442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5" y="438"/>
                  </a:lnTo>
                  <a:lnTo>
                    <a:pt x="155" y="437"/>
                  </a:lnTo>
                  <a:lnTo>
                    <a:pt x="156" y="436"/>
                  </a:lnTo>
                  <a:lnTo>
                    <a:pt x="157" y="434"/>
                  </a:lnTo>
                  <a:lnTo>
                    <a:pt x="157" y="433"/>
                  </a:lnTo>
                  <a:lnTo>
                    <a:pt x="158" y="431"/>
                  </a:lnTo>
                  <a:lnTo>
                    <a:pt x="158" y="429"/>
                  </a:lnTo>
                  <a:lnTo>
                    <a:pt x="158" y="427"/>
                  </a:lnTo>
                  <a:lnTo>
                    <a:pt x="158" y="426"/>
                  </a:lnTo>
                  <a:lnTo>
                    <a:pt x="157" y="424"/>
                  </a:lnTo>
                  <a:lnTo>
                    <a:pt x="156" y="423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3" y="421"/>
                  </a:lnTo>
                  <a:lnTo>
                    <a:pt x="151" y="419"/>
                  </a:lnTo>
                  <a:lnTo>
                    <a:pt x="148" y="418"/>
                  </a:lnTo>
                  <a:lnTo>
                    <a:pt x="144" y="417"/>
                  </a:lnTo>
                  <a:lnTo>
                    <a:pt x="135" y="413"/>
                  </a:lnTo>
                  <a:lnTo>
                    <a:pt x="132" y="412"/>
                  </a:lnTo>
                  <a:lnTo>
                    <a:pt x="131" y="411"/>
                  </a:lnTo>
                  <a:lnTo>
                    <a:pt x="127" y="410"/>
                  </a:lnTo>
                  <a:lnTo>
                    <a:pt x="123" y="407"/>
                  </a:lnTo>
                  <a:lnTo>
                    <a:pt x="120" y="404"/>
                  </a:lnTo>
                  <a:lnTo>
                    <a:pt x="114" y="400"/>
                  </a:lnTo>
                  <a:lnTo>
                    <a:pt x="112" y="398"/>
                  </a:lnTo>
                  <a:lnTo>
                    <a:pt x="109" y="397"/>
                  </a:lnTo>
                  <a:lnTo>
                    <a:pt x="108" y="396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2" y="395"/>
                  </a:lnTo>
                  <a:lnTo>
                    <a:pt x="100" y="395"/>
                  </a:lnTo>
                  <a:lnTo>
                    <a:pt x="98" y="396"/>
                  </a:lnTo>
                  <a:lnTo>
                    <a:pt x="95" y="397"/>
                  </a:lnTo>
                  <a:lnTo>
                    <a:pt x="92" y="398"/>
                  </a:lnTo>
                  <a:lnTo>
                    <a:pt x="88" y="400"/>
                  </a:lnTo>
                  <a:lnTo>
                    <a:pt x="78" y="405"/>
                  </a:lnTo>
                  <a:lnTo>
                    <a:pt x="76" y="406"/>
                  </a:lnTo>
                  <a:lnTo>
                    <a:pt x="75" y="406"/>
                  </a:lnTo>
                  <a:lnTo>
                    <a:pt x="73" y="407"/>
                  </a:lnTo>
                  <a:lnTo>
                    <a:pt x="70" y="407"/>
                  </a:lnTo>
                  <a:lnTo>
                    <a:pt x="68" y="407"/>
                  </a:lnTo>
                  <a:lnTo>
                    <a:pt x="65" y="406"/>
                  </a:lnTo>
                  <a:lnTo>
                    <a:pt x="64" y="405"/>
                  </a:lnTo>
                  <a:lnTo>
                    <a:pt x="63" y="404"/>
                  </a:lnTo>
                  <a:lnTo>
                    <a:pt x="61" y="402"/>
                  </a:lnTo>
                  <a:lnTo>
                    <a:pt x="58" y="400"/>
                  </a:lnTo>
                  <a:lnTo>
                    <a:pt x="46" y="390"/>
                  </a:lnTo>
                  <a:lnTo>
                    <a:pt x="43" y="388"/>
                  </a:lnTo>
                  <a:lnTo>
                    <a:pt x="36" y="380"/>
                  </a:lnTo>
                  <a:lnTo>
                    <a:pt x="34" y="378"/>
                  </a:lnTo>
                  <a:lnTo>
                    <a:pt x="31" y="377"/>
                  </a:lnTo>
                  <a:lnTo>
                    <a:pt x="29" y="375"/>
                  </a:lnTo>
                  <a:lnTo>
                    <a:pt x="26" y="373"/>
                  </a:lnTo>
                  <a:lnTo>
                    <a:pt x="24" y="371"/>
                  </a:lnTo>
                  <a:lnTo>
                    <a:pt x="23" y="371"/>
                  </a:lnTo>
                  <a:lnTo>
                    <a:pt x="23" y="370"/>
                  </a:lnTo>
                  <a:lnTo>
                    <a:pt x="23" y="368"/>
                  </a:lnTo>
                  <a:lnTo>
                    <a:pt x="23" y="367"/>
                  </a:lnTo>
                  <a:lnTo>
                    <a:pt x="22" y="366"/>
                  </a:lnTo>
                  <a:lnTo>
                    <a:pt x="21" y="364"/>
                  </a:lnTo>
                  <a:lnTo>
                    <a:pt x="17" y="354"/>
                  </a:lnTo>
                  <a:lnTo>
                    <a:pt x="15" y="351"/>
                  </a:lnTo>
                  <a:lnTo>
                    <a:pt x="14" y="348"/>
                  </a:lnTo>
                  <a:lnTo>
                    <a:pt x="13" y="346"/>
                  </a:lnTo>
                  <a:lnTo>
                    <a:pt x="13" y="344"/>
                  </a:lnTo>
                  <a:lnTo>
                    <a:pt x="13" y="343"/>
                  </a:lnTo>
                  <a:lnTo>
                    <a:pt x="13" y="342"/>
                  </a:lnTo>
                  <a:lnTo>
                    <a:pt x="13" y="340"/>
                  </a:lnTo>
                  <a:lnTo>
                    <a:pt x="14" y="338"/>
                  </a:lnTo>
                  <a:lnTo>
                    <a:pt x="15" y="336"/>
                  </a:lnTo>
                  <a:lnTo>
                    <a:pt x="16" y="334"/>
                  </a:lnTo>
                  <a:lnTo>
                    <a:pt x="18" y="332"/>
                  </a:lnTo>
                  <a:lnTo>
                    <a:pt x="25" y="322"/>
                  </a:lnTo>
                  <a:lnTo>
                    <a:pt x="25" y="321"/>
                  </a:lnTo>
                  <a:lnTo>
                    <a:pt x="26" y="320"/>
                  </a:lnTo>
                  <a:lnTo>
                    <a:pt x="26" y="320"/>
                  </a:lnTo>
                  <a:lnTo>
                    <a:pt x="25" y="319"/>
                  </a:lnTo>
                  <a:lnTo>
                    <a:pt x="25" y="318"/>
                  </a:lnTo>
                  <a:lnTo>
                    <a:pt x="22" y="314"/>
                  </a:lnTo>
                  <a:lnTo>
                    <a:pt x="21" y="311"/>
                  </a:lnTo>
                  <a:lnTo>
                    <a:pt x="19" y="309"/>
                  </a:lnTo>
                  <a:lnTo>
                    <a:pt x="18" y="308"/>
                  </a:lnTo>
                  <a:lnTo>
                    <a:pt x="16" y="306"/>
                  </a:lnTo>
                  <a:lnTo>
                    <a:pt x="10" y="302"/>
                  </a:lnTo>
                  <a:lnTo>
                    <a:pt x="7" y="299"/>
                  </a:lnTo>
                  <a:lnTo>
                    <a:pt x="5" y="297"/>
                  </a:lnTo>
                  <a:lnTo>
                    <a:pt x="3" y="295"/>
                  </a:lnTo>
                  <a:lnTo>
                    <a:pt x="2" y="294"/>
                  </a:lnTo>
                  <a:lnTo>
                    <a:pt x="2" y="292"/>
                  </a:lnTo>
                  <a:lnTo>
                    <a:pt x="1" y="291"/>
                  </a:lnTo>
                  <a:lnTo>
                    <a:pt x="1" y="290"/>
                  </a:lnTo>
                  <a:lnTo>
                    <a:pt x="0" y="288"/>
                  </a:lnTo>
                  <a:lnTo>
                    <a:pt x="0" y="286"/>
                  </a:lnTo>
                  <a:lnTo>
                    <a:pt x="0" y="283"/>
                  </a:lnTo>
                  <a:lnTo>
                    <a:pt x="0" y="279"/>
                  </a:lnTo>
                  <a:lnTo>
                    <a:pt x="1" y="275"/>
                  </a:lnTo>
                  <a:lnTo>
                    <a:pt x="2" y="273"/>
                  </a:lnTo>
                  <a:lnTo>
                    <a:pt x="4" y="266"/>
                  </a:lnTo>
                  <a:lnTo>
                    <a:pt x="6" y="262"/>
                  </a:lnTo>
                  <a:lnTo>
                    <a:pt x="7" y="258"/>
                  </a:lnTo>
                  <a:lnTo>
                    <a:pt x="7" y="252"/>
                  </a:lnTo>
                  <a:lnTo>
                    <a:pt x="10" y="243"/>
                  </a:lnTo>
                  <a:lnTo>
                    <a:pt x="10" y="241"/>
                  </a:lnTo>
                  <a:lnTo>
                    <a:pt x="10" y="240"/>
                  </a:lnTo>
                  <a:lnTo>
                    <a:pt x="10" y="239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3"/>
                  </a:lnTo>
                  <a:lnTo>
                    <a:pt x="9" y="232"/>
                  </a:lnTo>
                  <a:lnTo>
                    <a:pt x="10" y="230"/>
                  </a:lnTo>
                  <a:lnTo>
                    <a:pt x="13" y="223"/>
                  </a:lnTo>
                  <a:lnTo>
                    <a:pt x="16" y="215"/>
                  </a:lnTo>
                  <a:lnTo>
                    <a:pt x="19" y="207"/>
                  </a:lnTo>
                  <a:lnTo>
                    <a:pt x="20" y="203"/>
                  </a:lnTo>
                  <a:lnTo>
                    <a:pt x="22" y="199"/>
                  </a:lnTo>
                  <a:lnTo>
                    <a:pt x="22" y="196"/>
                  </a:lnTo>
                  <a:lnTo>
                    <a:pt x="23" y="193"/>
                  </a:lnTo>
                  <a:lnTo>
                    <a:pt x="23" y="189"/>
                  </a:lnTo>
                  <a:lnTo>
                    <a:pt x="24" y="186"/>
                  </a:lnTo>
                  <a:lnTo>
                    <a:pt x="23" y="180"/>
                  </a:lnTo>
                  <a:lnTo>
                    <a:pt x="23" y="177"/>
                  </a:lnTo>
                  <a:lnTo>
                    <a:pt x="24" y="174"/>
                  </a:lnTo>
                  <a:lnTo>
                    <a:pt x="25" y="167"/>
                  </a:lnTo>
                  <a:lnTo>
                    <a:pt x="25" y="164"/>
                  </a:lnTo>
                  <a:lnTo>
                    <a:pt x="25" y="161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3" y="151"/>
                  </a:lnTo>
                  <a:lnTo>
                    <a:pt x="22" y="149"/>
                  </a:lnTo>
                  <a:lnTo>
                    <a:pt x="21" y="147"/>
                  </a:lnTo>
                  <a:lnTo>
                    <a:pt x="20" y="144"/>
                  </a:lnTo>
                  <a:lnTo>
                    <a:pt x="19" y="142"/>
                  </a:lnTo>
                  <a:lnTo>
                    <a:pt x="15" y="134"/>
                  </a:lnTo>
                  <a:lnTo>
                    <a:pt x="14" y="132"/>
                  </a:lnTo>
                  <a:lnTo>
                    <a:pt x="13" y="130"/>
                  </a:lnTo>
                  <a:lnTo>
                    <a:pt x="13" y="129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26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5" y="123"/>
                  </a:lnTo>
                  <a:lnTo>
                    <a:pt x="17" y="122"/>
                  </a:lnTo>
                  <a:lnTo>
                    <a:pt x="19" y="121"/>
                  </a:lnTo>
                  <a:lnTo>
                    <a:pt x="21" y="120"/>
                  </a:lnTo>
                  <a:lnTo>
                    <a:pt x="24" y="119"/>
                  </a:lnTo>
                  <a:lnTo>
                    <a:pt x="26" y="118"/>
                  </a:lnTo>
                  <a:lnTo>
                    <a:pt x="28" y="117"/>
                  </a:lnTo>
                  <a:lnTo>
                    <a:pt x="29" y="116"/>
                  </a:lnTo>
                  <a:lnTo>
                    <a:pt x="30" y="115"/>
                  </a:lnTo>
                  <a:lnTo>
                    <a:pt x="30" y="113"/>
                  </a:lnTo>
                  <a:lnTo>
                    <a:pt x="31" y="111"/>
                  </a:lnTo>
                  <a:lnTo>
                    <a:pt x="31" y="110"/>
                  </a:lnTo>
                  <a:lnTo>
                    <a:pt x="31" y="108"/>
                  </a:lnTo>
                  <a:lnTo>
                    <a:pt x="31" y="106"/>
                  </a:lnTo>
                  <a:lnTo>
                    <a:pt x="31" y="104"/>
                  </a:lnTo>
                  <a:lnTo>
                    <a:pt x="31" y="101"/>
                  </a:lnTo>
                  <a:lnTo>
                    <a:pt x="30" y="91"/>
                  </a:lnTo>
                  <a:lnTo>
                    <a:pt x="29" y="90"/>
                  </a:lnTo>
                  <a:lnTo>
                    <a:pt x="29" y="89"/>
                  </a:lnTo>
                  <a:lnTo>
                    <a:pt x="30" y="89"/>
                  </a:lnTo>
                  <a:lnTo>
                    <a:pt x="30" y="88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1" y="83"/>
                  </a:lnTo>
                  <a:lnTo>
                    <a:pt x="34" y="80"/>
                  </a:lnTo>
                  <a:lnTo>
                    <a:pt x="35" y="78"/>
                  </a:lnTo>
                  <a:lnTo>
                    <a:pt x="36" y="77"/>
                  </a:lnTo>
                  <a:lnTo>
                    <a:pt x="36" y="75"/>
                  </a:lnTo>
                  <a:lnTo>
                    <a:pt x="36" y="73"/>
                  </a:lnTo>
                  <a:lnTo>
                    <a:pt x="36" y="71"/>
                  </a:lnTo>
                  <a:lnTo>
                    <a:pt x="35" y="68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6" y="60"/>
                  </a:lnTo>
                  <a:lnTo>
                    <a:pt x="37" y="59"/>
                  </a:lnTo>
                  <a:lnTo>
                    <a:pt x="37" y="57"/>
                  </a:lnTo>
                  <a:lnTo>
                    <a:pt x="38" y="57"/>
                  </a:lnTo>
                  <a:lnTo>
                    <a:pt x="39" y="56"/>
                  </a:lnTo>
                  <a:lnTo>
                    <a:pt x="40" y="56"/>
                  </a:lnTo>
                  <a:lnTo>
                    <a:pt x="41" y="55"/>
                  </a:lnTo>
                  <a:lnTo>
                    <a:pt x="47" y="55"/>
                  </a:lnTo>
                  <a:lnTo>
                    <a:pt x="53" y="54"/>
                  </a:lnTo>
                  <a:lnTo>
                    <a:pt x="58" y="54"/>
                  </a:lnTo>
                  <a:lnTo>
                    <a:pt x="61" y="54"/>
                  </a:lnTo>
                  <a:lnTo>
                    <a:pt x="63" y="53"/>
                  </a:lnTo>
                  <a:lnTo>
                    <a:pt x="65" y="53"/>
                  </a:lnTo>
                  <a:lnTo>
                    <a:pt x="67" y="52"/>
                  </a:lnTo>
                  <a:lnTo>
                    <a:pt x="69" y="51"/>
                  </a:lnTo>
                  <a:lnTo>
                    <a:pt x="70" y="50"/>
                  </a:lnTo>
                  <a:lnTo>
                    <a:pt x="71" y="49"/>
                  </a:lnTo>
                  <a:lnTo>
                    <a:pt x="71" y="48"/>
                  </a:lnTo>
                  <a:lnTo>
                    <a:pt x="71" y="48"/>
                  </a:lnTo>
                  <a:lnTo>
                    <a:pt x="71" y="47"/>
                  </a:lnTo>
                  <a:lnTo>
                    <a:pt x="70" y="45"/>
                  </a:lnTo>
                  <a:lnTo>
                    <a:pt x="69" y="43"/>
                  </a:lnTo>
                  <a:lnTo>
                    <a:pt x="67" y="40"/>
                  </a:lnTo>
                  <a:lnTo>
                    <a:pt x="64" y="37"/>
                  </a:lnTo>
                  <a:lnTo>
                    <a:pt x="64" y="35"/>
                  </a:lnTo>
                  <a:lnTo>
                    <a:pt x="63" y="34"/>
                  </a:lnTo>
                  <a:lnTo>
                    <a:pt x="63" y="33"/>
                  </a:lnTo>
                  <a:lnTo>
                    <a:pt x="63" y="32"/>
                  </a:lnTo>
                  <a:lnTo>
                    <a:pt x="64" y="30"/>
                  </a:lnTo>
                  <a:lnTo>
                    <a:pt x="64" y="28"/>
                  </a:lnTo>
                  <a:lnTo>
                    <a:pt x="66" y="26"/>
                  </a:lnTo>
                  <a:lnTo>
                    <a:pt x="67" y="25"/>
                  </a:lnTo>
                  <a:lnTo>
                    <a:pt x="70" y="24"/>
                  </a:lnTo>
                  <a:lnTo>
                    <a:pt x="73" y="23"/>
                  </a:lnTo>
                  <a:lnTo>
                    <a:pt x="75" y="21"/>
                  </a:lnTo>
                  <a:lnTo>
                    <a:pt x="79" y="20"/>
                  </a:lnTo>
                  <a:lnTo>
                    <a:pt x="81" y="2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5" name="Freeform 58">
              <a:extLst>
                <a:ext uri="{FF2B5EF4-FFF2-40B4-BE49-F238E27FC236}">
                  <a16:creationId xmlns:a16="http://schemas.microsoft.com/office/drawing/2014/main" id="{08C0188E-9944-421E-82BA-3195FE073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5" y="2984"/>
              <a:ext cx="598" cy="491"/>
            </a:xfrm>
            <a:custGeom>
              <a:avLst/>
              <a:gdLst>
                <a:gd name="T0" fmla="*/ 271 w 598"/>
                <a:gd name="T1" fmla="*/ 6 h 491"/>
                <a:gd name="T2" fmla="*/ 293 w 598"/>
                <a:gd name="T3" fmla="*/ 30 h 491"/>
                <a:gd name="T4" fmla="*/ 325 w 598"/>
                <a:gd name="T5" fmla="*/ 19 h 491"/>
                <a:gd name="T6" fmla="*/ 348 w 598"/>
                <a:gd name="T7" fmla="*/ 39 h 491"/>
                <a:gd name="T8" fmla="*/ 371 w 598"/>
                <a:gd name="T9" fmla="*/ 49 h 491"/>
                <a:gd name="T10" fmla="*/ 391 w 598"/>
                <a:gd name="T11" fmla="*/ 41 h 491"/>
                <a:gd name="T12" fmla="*/ 423 w 598"/>
                <a:gd name="T13" fmla="*/ 76 h 491"/>
                <a:gd name="T14" fmla="*/ 450 w 598"/>
                <a:gd name="T15" fmla="*/ 91 h 491"/>
                <a:gd name="T16" fmla="*/ 477 w 598"/>
                <a:gd name="T17" fmla="*/ 101 h 491"/>
                <a:gd name="T18" fmla="*/ 505 w 598"/>
                <a:gd name="T19" fmla="*/ 87 h 491"/>
                <a:gd name="T20" fmla="*/ 536 w 598"/>
                <a:gd name="T21" fmla="*/ 106 h 491"/>
                <a:gd name="T22" fmla="*/ 548 w 598"/>
                <a:gd name="T23" fmla="*/ 126 h 491"/>
                <a:gd name="T24" fmla="*/ 578 w 598"/>
                <a:gd name="T25" fmla="*/ 136 h 491"/>
                <a:gd name="T26" fmla="*/ 581 w 598"/>
                <a:gd name="T27" fmla="*/ 166 h 491"/>
                <a:gd name="T28" fmla="*/ 598 w 598"/>
                <a:gd name="T29" fmla="*/ 193 h 491"/>
                <a:gd name="T30" fmla="*/ 576 w 598"/>
                <a:gd name="T31" fmla="*/ 214 h 491"/>
                <a:gd name="T32" fmla="*/ 574 w 598"/>
                <a:gd name="T33" fmla="*/ 240 h 491"/>
                <a:gd name="T34" fmla="*/ 558 w 598"/>
                <a:gd name="T35" fmla="*/ 256 h 491"/>
                <a:gd name="T36" fmla="*/ 575 w 598"/>
                <a:gd name="T37" fmla="*/ 283 h 491"/>
                <a:gd name="T38" fmla="*/ 581 w 598"/>
                <a:gd name="T39" fmla="*/ 299 h 491"/>
                <a:gd name="T40" fmla="*/ 563 w 598"/>
                <a:gd name="T41" fmla="*/ 318 h 491"/>
                <a:gd name="T42" fmla="*/ 520 w 598"/>
                <a:gd name="T43" fmla="*/ 334 h 491"/>
                <a:gd name="T44" fmla="*/ 498 w 598"/>
                <a:gd name="T45" fmla="*/ 351 h 491"/>
                <a:gd name="T46" fmla="*/ 480 w 598"/>
                <a:gd name="T47" fmla="*/ 372 h 491"/>
                <a:gd name="T48" fmla="*/ 424 w 598"/>
                <a:gd name="T49" fmla="*/ 371 h 491"/>
                <a:gd name="T50" fmla="*/ 393 w 598"/>
                <a:gd name="T51" fmla="*/ 383 h 491"/>
                <a:gd name="T52" fmla="*/ 366 w 598"/>
                <a:gd name="T53" fmla="*/ 364 h 491"/>
                <a:gd name="T54" fmla="*/ 343 w 598"/>
                <a:gd name="T55" fmla="*/ 367 h 491"/>
                <a:gd name="T56" fmla="*/ 320 w 598"/>
                <a:gd name="T57" fmla="*/ 381 h 491"/>
                <a:gd name="T58" fmla="*/ 301 w 598"/>
                <a:gd name="T59" fmla="*/ 393 h 491"/>
                <a:gd name="T60" fmla="*/ 276 w 598"/>
                <a:gd name="T61" fmla="*/ 408 h 491"/>
                <a:gd name="T62" fmla="*/ 235 w 598"/>
                <a:gd name="T63" fmla="*/ 431 h 491"/>
                <a:gd name="T64" fmla="*/ 197 w 598"/>
                <a:gd name="T65" fmla="*/ 462 h 491"/>
                <a:gd name="T66" fmla="*/ 177 w 598"/>
                <a:gd name="T67" fmla="*/ 474 h 491"/>
                <a:gd name="T68" fmla="*/ 137 w 598"/>
                <a:gd name="T69" fmla="*/ 468 h 491"/>
                <a:gd name="T70" fmla="*/ 116 w 598"/>
                <a:gd name="T71" fmla="*/ 491 h 491"/>
                <a:gd name="T72" fmla="*/ 90 w 598"/>
                <a:gd name="T73" fmla="*/ 480 h 491"/>
                <a:gd name="T74" fmla="*/ 71 w 598"/>
                <a:gd name="T75" fmla="*/ 485 h 491"/>
                <a:gd name="T76" fmla="*/ 46 w 598"/>
                <a:gd name="T77" fmla="*/ 459 h 491"/>
                <a:gd name="T78" fmla="*/ 18 w 598"/>
                <a:gd name="T79" fmla="*/ 434 h 491"/>
                <a:gd name="T80" fmla="*/ 0 w 598"/>
                <a:gd name="T81" fmla="*/ 426 h 491"/>
                <a:gd name="T82" fmla="*/ 25 w 598"/>
                <a:gd name="T83" fmla="*/ 392 h 491"/>
                <a:gd name="T84" fmla="*/ 40 w 598"/>
                <a:gd name="T85" fmla="*/ 354 h 491"/>
                <a:gd name="T86" fmla="*/ 68 w 598"/>
                <a:gd name="T87" fmla="*/ 334 h 491"/>
                <a:gd name="T88" fmla="*/ 88 w 598"/>
                <a:gd name="T89" fmla="*/ 321 h 491"/>
                <a:gd name="T90" fmla="*/ 119 w 598"/>
                <a:gd name="T91" fmla="*/ 277 h 491"/>
                <a:gd name="T92" fmla="*/ 123 w 598"/>
                <a:gd name="T93" fmla="*/ 229 h 491"/>
                <a:gd name="T94" fmla="*/ 109 w 598"/>
                <a:gd name="T95" fmla="*/ 188 h 491"/>
                <a:gd name="T96" fmla="*/ 102 w 598"/>
                <a:gd name="T97" fmla="*/ 153 h 491"/>
                <a:gd name="T98" fmla="*/ 109 w 598"/>
                <a:gd name="T99" fmla="*/ 131 h 491"/>
                <a:gd name="T100" fmla="*/ 126 w 598"/>
                <a:gd name="T101" fmla="*/ 129 h 491"/>
                <a:gd name="T102" fmla="*/ 156 w 598"/>
                <a:gd name="T103" fmla="*/ 144 h 491"/>
                <a:gd name="T104" fmla="*/ 167 w 598"/>
                <a:gd name="T105" fmla="*/ 125 h 491"/>
                <a:gd name="T106" fmla="*/ 166 w 598"/>
                <a:gd name="T107" fmla="*/ 89 h 491"/>
                <a:gd name="T108" fmla="*/ 181 w 598"/>
                <a:gd name="T109" fmla="*/ 75 h 491"/>
                <a:gd name="T110" fmla="*/ 179 w 598"/>
                <a:gd name="T111" fmla="*/ 54 h 491"/>
                <a:gd name="T112" fmla="*/ 191 w 598"/>
                <a:gd name="T113" fmla="*/ 29 h 491"/>
                <a:gd name="T114" fmla="*/ 204 w 598"/>
                <a:gd name="T115" fmla="*/ 18 h 491"/>
                <a:gd name="T116" fmla="*/ 234 w 598"/>
                <a:gd name="T117" fmla="*/ 13 h 491"/>
                <a:gd name="T118" fmla="*/ 268 w 598"/>
                <a:gd name="T119" fmla="*/ 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8" h="491">
                  <a:moveTo>
                    <a:pt x="268" y="0"/>
                  </a:moveTo>
                  <a:lnTo>
                    <a:pt x="268" y="0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71" y="0"/>
                  </a:lnTo>
                  <a:lnTo>
                    <a:pt x="270" y="1"/>
                  </a:lnTo>
                  <a:lnTo>
                    <a:pt x="271" y="2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1" y="5"/>
                  </a:lnTo>
                  <a:lnTo>
                    <a:pt x="271" y="6"/>
                  </a:lnTo>
                  <a:lnTo>
                    <a:pt x="270" y="7"/>
                  </a:lnTo>
                  <a:lnTo>
                    <a:pt x="271" y="7"/>
                  </a:lnTo>
                  <a:lnTo>
                    <a:pt x="271" y="9"/>
                  </a:lnTo>
                  <a:lnTo>
                    <a:pt x="273" y="11"/>
                  </a:lnTo>
                  <a:lnTo>
                    <a:pt x="274" y="13"/>
                  </a:lnTo>
                  <a:lnTo>
                    <a:pt x="276" y="15"/>
                  </a:lnTo>
                  <a:lnTo>
                    <a:pt x="278" y="18"/>
                  </a:lnTo>
                  <a:lnTo>
                    <a:pt x="279" y="19"/>
                  </a:lnTo>
                  <a:lnTo>
                    <a:pt x="290" y="28"/>
                  </a:lnTo>
                  <a:lnTo>
                    <a:pt x="291" y="29"/>
                  </a:lnTo>
                  <a:lnTo>
                    <a:pt x="292" y="30"/>
                  </a:lnTo>
                  <a:lnTo>
                    <a:pt x="293" y="30"/>
                  </a:lnTo>
                  <a:lnTo>
                    <a:pt x="295" y="30"/>
                  </a:lnTo>
                  <a:lnTo>
                    <a:pt x="297" y="31"/>
                  </a:lnTo>
                  <a:lnTo>
                    <a:pt x="300" y="31"/>
                  </a:lnTo>
                  <a:lnTo>
                    <a:pt x="302" y="30"/>
                  </a:lnTo>
                  <a:lnTo>
                    <a:pt x="304" y="30"/>
                  </a:lnTo>
                  <a:lnTo>
                    <a:pt x="308" y="29"/>
                  </a:lnTo>
                  <a:lnTo>
                    <a:pt x="312" y="27"/>
                  </a:lnTo>
                  <a:lnTo>
                    <a:pt x="314" y="25"/>
                  </a:lnTo>
                  <a:lnTo>
                    <a:pt x="320" y="21"/>
                  </a:lnTo>
                  <a:lnTo>
                    <a:pt x="322" y="20"/>
                  </a:lnTo>
                  <a:lnTo>
                    <a:pt x="323" y="19"/>
                  </a:lnTo>
                  <a:lnTo>
                    <a:pt x="325" y="19"/>
                  </a:lnTo>
                  <a:lnTo>
                    <a:pt x="326" y="19"/>
                  </a:lnTo>
                  <a:lnTo>
                    <a:pt x="328" y="19"/>
                  </a:lnTo>
                  <a:lnTo>
                    <a:pt x="330" y="19"/>
                  </a:lnTo>
                  <a:lnTo>
                    <a:pt x="332" y="19"/>
                  </a:lnTo>
                  <a:lnTo>
                    <a:pt x="335" y="19"/>
                  </a:lnTo>
                  <a:lnTo>
                    <a:pt x="337" y="21"/>
                  </a:lnTo>
                  <a:lnTo>
                    <a:pt x="338" y="22"/>
                  </a:lnTo>
                  <a:lnTo>
                    <a:pt x="339" y="23"/>
                  </a:lnTo>
                  <a:lnTo>
                    <a:pt x="340" y="24"/>
                  </a:lnTo>
                  <a:lnTo>
                    <a:pt x="340" y="25"/>
                  </a:lnTo>
                  <a:lnTo>
                    <a:pt x="343" y="30"/>
                  </a:lnTo>
                  <a:lnTo>
                    <a:pt x="348" y="39"/>
                  </a:lnTo>
                  <a:lnTo>
                    <a:pt x="352" y="43"/>
                  </a:lnTo>
                  <a:lnTo>
                    <a:pt x="354" y="45"/>
                  </a:lnTo>
                  <a:lnTo>
                    <a:pt x="356" y="47"/>
                  </a:lnTo>
                  <a:lnTo>
                    <a:pt x="357" y="48"/>
                  </a:lnTo>
                  <a:lnTo>
                    <a:pt x="359" y="49"/>
                  </a:lnTo>
                  <a:lnTo>
                    <a:pt x="361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9" y="50"/>
                  </a:lnTo>
                  <a:lnTo>
                    <a:pt x="370" y="49"/>
                  </a:lnTo>
                  <a:lnTo>
                    <a:pt x="371" y="49"/>
                  </a:lnTo>
                  <a:lnTo>
                    <a:pt x="372" y="48"/>
                  </a:lnTo>
                  <a:lnTo>
                    <a:pt x="376" y="44"/>
                  </a:lnTo>
                  <a:lnTo>
                    <a:pt x="377" y="43"/>
                  </a:lnTo>
                  <a:lnTo>
                    <a:pt x="378" y="42"/>
                  </a:lnTo>
                  <a:lnTo>
                    <a:pt x="380" y="41"/>
                  </a:lnTo>
                  <a:lnTo>
                    <a:pt x="381" y="41"/>
                  </a:lnTo>
                  <a:lnTo>
                    <a:pt x="382" y="41"/>
                  </a:lnTo>
                  <a:lnTo>
                    <a:pt x="383" y="41"/>
                  </a:lnTo>
                  <a:lnTo>
                    <a:pt x="385" y="41"/>
                  </a:lnTo>
                  <a:lnTo>
                    <a:pt x="387" y="41"/>
                  </a:lnTo>
                  <a:lnTo>
                    <a:pt x="389" y="41"/>
                  </a:lnTo>
                  <a:lnTo>
                    <a:pt x="391" y="41"/>
                  </a:lnTo>
                  <a:lnTo>
                    <a:pt x="393" y="41"/>
                  </a:lnTo>
                  <a:lnTo>
                    <a:pt x="394" y="42"/>
                  </a:lnTo>
                  <a:lnTo>
                    <a:pt x="399" y="44"/>
                  </a:lnTo>
                  <a:lnTo>
                    <a:pt x="402" y="46"/>
                  </a:lnTo>
                  <a:lnTo>
                    <a:pt x="404" y="47"/>
                  </a:lnTo>
                  <a:lnTo>
                    <a:pt x="405" y="49"/>
                  </a:lnTo>
                  <a:lnTo>
                    <a:pt x="407" y="52"/>
                  </a:lnTo>
                  <a:lnTo>
                    <a:pt x="409" y="53"/>
                  </a:lnTo>
                  <a:lnTo>
                    <a:pt x="410" y="56"/>
                  </a:lnTo>
                  <a:lnTo>
                    <a:pt x="415" y="64"/>
                  </a:lnTo>
                  <a:lnTo>
                    <a:pt x="421" y="74"/>
                  </a:lnTo>
                  <a:lnTo>
                    <a:pt x="423" y="76"/>
                  </a:lnTo>
                  <a:lnTo>
                    <a:pt x="425" y="78"/>
                  </a:lnTo>
                  <a:lnTo>
                    <a:pt x="426" y="79"/>
                  </a:lnTo>
                  <a:lnTo>
                    <a:pt x="428" y="81"/>
                  </a:lnTo>
                  <a:lnTo>
                    <a:pt x="430" y="82"/>
                  </a:lnTo>
                  <a:lnTo>
                    <a:pt x="432" y="83"/>
                  </a:lnTo>
                  <a:lnTo>
                    <a:pt x="436" y="84"/>
                  </a:lnTo>
                  <a:lnTo>
                    <a:pt x="442" y="86"/>
                  </a:lnTo>
                  <a:lnTo>
                    <a:pt x="444" y="86"/>
                  </a:lnTo>
                  <a:lnTo>
                    <a:pt x="445" y="87"/>
                  </a:lnTo>
                  <a:lnTo>
                    <a:pt x="447" y="87"/>
                  </a:lnTo>
                  <a:lnTo>
                    <a:pt x="449" y="89"/>
                  </a:lnTo>
                  <a:lnTo>
                    <a:pt x="450" y="91"/>
                  </a:lnTo>
                  <a:lnTo>
                    <a:pt x="454" y="95"/>
                  </a:lnTo>
                  <a:lnTo>
                    <a:pt x="456" y="97"/>
                  </a:lnTo>
                  <a:lnTo>
                    <a:pt x="458" y="98"/>
                  </a:lnTo>
                  <a:lnTo>
                    <a:pt x="461" y="99"/>
                  </a:lnTo>
                  <a:lnTo>
                    <a:pt x="467" y="102"/>
                  </a:lnTo>
                  <a:lnTo>
                    <a:pt x="469" y="103"/>
                  </a:lnTo>
                  <a:lnTo>
                    <a:pt x="471" y="103"/>
                  </a:lnTo>
                  <a:lnTo>
                    <a:pt x="472" y="103"/>
                  </a:lnTo>
                  <a:lnTo>
                    <a:pt x="474" y="103"/>
                  </a:lnTo>
                  <a:lnTo>
                    <a:pt x="475" y="102"/>
                  </a:lnTo>
                  <a:lnTo>
                    <a:pt x="476" y="102"/>
                  </a:lnTo>
                  <a:lnTo>
                    <a:pt x="477" y="101"/>
                  </a:lnTo>
                  <a:lnTo>
                    <a:pt x="481" y="97"/>
                  </a:lnTo>
                  <a:lnTo>
                    <a:pt x="483" y="95"/>
                  </a:lnTo>
                  <a:lnTo>
                    <a:pt x="484" y="94"/>
                  </a:lnTo>
                  <a:lnTo>
                    <a:pt x="485" y="93"/>
                  </a:lnTo>
                  <a:lnTo>
                    <a:pt x="486" y="92"/>
                  </a:lnTo>
                  <a:lnTo>
                    <a:pt x="489" y="90"/>
                  </a:lnTo>
                  <a:lnTo>
                    <a:pt x="491" y="89"/>
                  </a:lnTo>
                  <a:lnTo>
                    <a:pt x="493" y="89"/>
                  </a:lnTo>
                  <a:lnTo>
                    <a:pt x="495" y="88"/>
                  </a:lnTo>
                  <a:lnTo>
                    <a:pt x="500" y="87"/>
                  </a:lnTo>
                  <a:lnTo>
                    <a:pt x="503" y="87"/>
                  </a:lnTo>
                  <a:lnTo>
                    <a:pt x="505" y="87"/>
                  </a:lnTo>
                  <a:lnTo>
                    <a:pt x="506" y="87"/>
                  </a:lnTo>
                  <a:lnTo>
                    <a:pt x="507" y="87"/>
                  </a:lnTo>
                  <a:lnTo>
                    <a:pt x="513" y="90"/>
                  </a:lnTo>
                  <a:lnTo>
                    <a:pt x="521" y="94"/>
                  </a:lnTo>
                  <a:lnTo>
                    <a:pt x="524" y="95"/>
                  </a:lnTo>
                  <a:lnTo>
                    <a:pt x="525" y="96"/>
                  </a:lnTo>
                  <a:lnTo>
                    <a:pt x="527" y="98"/>
                  </a:lnTo>
                  <a:lnTo>
                    <a:pt x="529" y="100"/>
                  </a:lnTo>
                  <a:lnTo>
                    <a:pt x="530" y="101"/>
                  </a:lnTo>
                  <a:lnTo>
                    <a:pt x="531" y="102"/>
                  </a:lnTo>
                  <a:lnTo>
                    <a:pt x="535" y="105"/>
                  </a:lnTo>
                  <a:lnTo>
                    <a:pt x="536" y="106"/>
                  </a:lnTo>
                  <a:lnTo>
                    <a:pt x="536" y="107"/>
                  </a:lnTo>
                  <a:lnTo>
                    <a:pt x="537" y="108"/>
                  </a:lnTo>
                  <a:lnTo>
                    <a:pt x="537" y="109"/>
                  </a:lnTo>
                  <a:lnTo>
                    <a:pt x="537" y="112"/>
                  </a:lnTo>
                  <a:lnTo>
                    <a:pt x="537" y="113"/>
                  </a:lnTo>
                  <a:lnTo>
                    <a:pt x="539" y="118"/>
                  </a:lnTo>
                  <a:lnTo>
                    <a:pt x="539" y="120"/>
                  </a:lnTo>
                  <a:lnTo>
                    <a:pt x="541" y="121"/>
                  </a:lnTo>
                  <a:lnTo>
                    <a:pt x="542" y="123"/>
                  </a:lnTo>
                  <a:lnTo>
                    <a:pt x="543" y="124"/>
                  </a:lnTo>
                  <a:lnTo>
                    <a:pt x="546" y="126"/>
                  </a:lnTo>
                  <a:lnTo>
                    <a:pt x="548" y="126"/>
                  </a:lnTo>
                  <a:lnTo>
                    <a:pt x="550" y="126"/>
                  </a:lnTo>
                  <a:lnTo>
                    <a:pt x="552" y="125"/>
                  </a:lnTo>
                  <a:lnTo>
                    <a:pt x="558" y="123"/>
                  </a:lnTo>
                  <a:lnTo>
                    <a:pt x="561" y="122"/>
                  </a:lnTo>
                  <a:lnTo>
                    <a:pt x="566" y="121"/>
                  </a:lnTo>
                  <a:lnTo>
                    <a:pt x="572" y="121"/>
                  </a:lnTo>
                  <a:lnTo>
                    <a:pt x="575" y="121"/>
                  </a:lnTo>
                  <a:lnTo>
                    <a:pt x="580" y="120"/>
                  </a:lnTo>
                  <a:lnTo>
                    <a:pt x="583" y="121"/>
                  </a:lnTo>
                  <a:lnTo>
                    <a:pt x="583" y="121"/>
                  </a:lnTo>
                  <a:lnTo>
                    <a:pt x="580" y="131"/>
                  </a:lnTo>
                  <a:lnTo>
                    <a:pt x="578" y="136"/>
                  </a:lnTo>
                  <a:lnTo>
                    <a:pt x="576" y="140"/>
                  </a:lnTo>
                  <a:lnTo>
                    <a:pt x="575" y="144"/>
                  </a:lnTo>
                  <a:lnTo>
                    <a:pt x="575" y="148"/>
                  </a:lnTo>
                  <a:lnTo>
                    <a:pt x="575" y="152"/>
                  </a:lnTo>
                  <a:lnTo>
                    <a:pt x="575" y="155"/>
                  </a:lnTo>
                  <a:lnTo>
                    <a:pt x="575" y="158"/>
                  </a:lnTo>
                  <a:lnTo>
                    <a:pt x="575" y="161"/>
                  </a:lnTo>
                  <a:lnTo>
                    <a:pt x="576" y="162"/>
                  </a:lnTo>
                  <a:lnTo>
                    <a:pt x="577" y="164"/>
                  </a:lnTo>
                  <a:lnTo>
                    <a:pt x="578" y="165"/>
                  </a:lnTo>
                  <a:lnTo>
                    <a:pt x="579" y="166"/>
                  </a:lnTo>
                  <a:lnTo>
                    <a:pt x="581" y="166"/>
                  </a:lnTo>
                  <a:lnTo>
                    <a:pt x="588" y="172"/>
                  </a:lnTo>
                  <a:lnTo>
                    <a:pt x="591" y="174"/>
                  </a:lnTo>
                  <a:lnTo>
                    <a:pt x="593" y="176"/>
                  </a:lnTo>
                  <a:lnTo>
                    <a:pt x="594" y="177"/>
                  </a:lnTo>
                  <a:lnTo>
                    <a:pt x="596" y="178"/>
                  </a:lnTo>
                  <a:lnTo>
                    <a:pt x="596" y="179"/>
                  </a:lnTo>
                  <a:lnTo>
                    <a:pt x="597" y="181"/>
                  </a:lnTo>
                  <a:lnTo>
                    <a:pt x="598" y="183"/>
                  </a:lnTo>
                  <a:lnTo>
                    <a:pt x="598" y="185"/>
                  </a:lnTo>
                  <a:lnTo>
                    <a:pt x="598" y="187"/>
                  </a:lnTo>
                  <a:lnTo>
                    <a:pt x="598" y="190"/>
                  </a:lnTo>
                  <a:lnTo>
                    <a:pt x="598" y="193"/>
                  </a:lnTo>
                  <a:lnTo>
                    <a:pt x="598" y="196"/>
                  </a:lnTo>
                  <a:lnTo>
                    <a:pt x="598" y="198"/>
                  </a:lnTo>
                  <a:lnTo>
                    <a:pt x="598" y="200"/>
                  </a:lnTo>
                  <a:lnTo>
                    <a:pt x="597" y="201"/>
                  </a:lnTo>
                  <a:lnTo>
                    <a:pt x="596" y="202"/>
                  </a:lnTo>
                  <a:lnTo>
                    <a:pt x="594" y="204"/>
                  </a:lnTo>
                  <a:lnTo>
                    <a:pt x="591" y="206"/>
                  </a:lnTo>
                  <a:lnTo>
                    <a:pt x="588" y="208"/>
                  </a:lnTo>
                  <a:lnTo>
                    <a:pt x="586" y="210"/>
                  </a:lnTo>
                  <a:lnTo>
                    <a:pt x="580" y="211"/>
                  </a:lnTo>
                  <a:lnTo>
                    <a:pt x="578" y="213"/>
                  </a:lnTo>
                  <a:lnTo>
                    <a:pt x="576" y="214"/>
                  </a:lnTo>
                  <a:lnTo>
                    <a:pt x="575" y="215"/>
                  </a:lnTo>
                  <a:lnTo>
                    <a:pt x="575" y="216"/>
                  </a:lnTo>
                  <a:lnTo>
                    <a:pt x="574" y="217"/>
                  </a:lnTo>
                  <a:lnTo>
                    <a:pt x="572" y="219"/>
                  </a:lnTo>
                  <a:lnTo>
                    <a:pt x="572" y="222"/>
                  </a:lnTo>
                  <a:lnTo>
                    <a:pt x="571" y="223"/>
                  </a:lnTo>
                  <a:lnTo>
                    <a:pt x="571" y="225"/>
                  </a:lnTo>
                  <a:lnTo>
                    <a:pt x="571" y="227"/>
                  </a:lnTo>
                  <a:lnTo>
                    <a:pt x="571" y="229"/>
                  </a:lnTo>
                  <a:lnTo>
                    <a:pt x="573" y="235"/>
                  </a:lnTo>
                  <a:lnTo>
                    <a:pt x="574" y="238"/>
                  </a:lnTo>
                  <a:lnTo>
                    <a:pt x="574" y="240"/>
                  </a:lnTo>
                  <a:lnTo>
                    <a:pt x="574" y="242"/>
                  </a:lnTo>
                  <a:lnTo>
                    <a:pt x="574" y="244"/>
                  </a:lnTo>
                  <a:lnTo>
                    <a:pt x="574" y="245"/>
                  </a:lnTo>
                  <a:lnTo>
                    <a:pt x="573" y="246"/>
                  </a:lnTo>
                  <a:lnTo>
                    <a:pt x="573" y="248"/>
                  </a:lnTo>
                  <a:lnTo>
                    <a:pt x="571" y="249"/>
                  </a:lnTo>
                  <a:lnTo>
                    <a:pt x="570" y="251"/>
                  </a:lnTo>
                  <a:lnTo>
                    <a:pt x="568" y="252"/>
                  </a:lnTo>
                  <a:lnTo>
                    <a:pt x="566" y="253"/>
                  </a:lnTo>
                  <a:lnTo>
                    <a:pt x="564" y="254"/>
                  </a:lnTo>
                  <a:lnTo>
                    <a:pt x="563" y="255"/>
                  </a:lnTo>
                  <a:lnTo>
                    <a:pt x="558" y="256"/>
                  </a:lnTo>
                  <a:lnTo>
                    <a:pt x="557" y="257"/>
                  </a:lnTo>
                  <a:lnTo>
                    <a:pt x="556" y="257"/>
                  </a:lnTo>
                  <a:lnTo>
                    <a:pt x="555" y="258"/>
                  </a:lnTo>
                  <a:lnTo>
                    <a:pt x="555" y="259"/>
                  </a:lnTo>
                  <a:lnTo>
                    <a:pt x="554" y="260"/>
                  </a:lnTo>
                  <a:lnTo>
                    <a:pt x="555" y="261"/>
                  </a:lnTo>
                  <a:lnTo>
                    <a:pt x="555" y="263"/>
                  </a:lnTo>
                  <a:lnTo>
                    <a:pt x="556" y="264"/>
                  </a:lnTo>
                  <a:lnTo>
                    <a:pt x="558" y="266"/>
                  </a:lnTo>
                  <a:lnTo>
                    <a:pt x="563" y="271"/>
                  </a:lnTo>
                  <a:lnTo>
                    <a:pt x="571" y="279"/>
                  </a:lnTo>
                  <a:lnTo>
                    <a:pt x="575" y="283"/>
                  </a:lnTo>
                  <a:lnTo>
                    <a:pt x="578" y="287"/>
                  </a:lnTo>
                  <a:lnTo>
                    <a:pt x="581" y="291"/>
                  </a:lnTo>
                  <a:lnTo>
                    <a:pt x="582" y="291"/>
                  </a:lnTo>
                  <a:lnTo>
                    <a:pt x="583" y="293"/>
                  </a:lnTo>
                  <a:lnTo>
                    <a:pt x="584" y="295"/>
                  </a:lnTo>
                  <a:lnTo>
                    <a:pt x="584" y="296"/>
                  </a:lnTo>
                  <a:lnTo>
                    <a:pt x="584" y="297"/>
                  </a:lnTo>
                  <a:lnTo>
                    <a:pt x="584" y="298"/>
                  </a:lnTo>
                  <a:lnTo>
                    <a:pt x="584" y="299"/>
                  </a:lnTo>
                  <a:lnTo>
                    <a:pt x="583" y="300"/>
                  </a:lnTo>
                  <a:lnTo>
                    <a:pt x="582" y="299"/>
                  </a:lnTo>
                  <a:lnTo>
                    <a:pt x="581" y="299"/>
                  </a:lnTo>
                  <a:lnTo>
                    <a:pt x="579" y="299"/>
                  </a:lnTo>
                  <a:lnTo>
                    <a:pt x="578" y="300"/>
                  </a:lnTo>
                  <a:lnTo>
                    <a:pt x="577" y="300"/>
                  </a:lnTo>
                  <a:lnTo>
                    <a:pt x="576" y="300"/>
                  </a:lnTo>
                  <a:lnTo>
                    <a:pt x="575" y="301"/>
                  </a:lnTo>
                  <a:lnTo>
                    <a:pt x="574" y="302"/>
                  </a:lnTo>
                  <a:lnTo>
                    <a:pt x="572" y="303"/>
                  </a:lnTo>
                  <a:lnTo>
                    <a:pt x="570" y="305"/>
                  </a:lnTo>
                  <a:lnTo>
                    <a:pt x="569" y="307"/>
                  </a:lnTo>
                  <a:lnTo>
                    <a:pt x="568" y="309"/>
                  </a:lnTo>
                  <a:lnTo>
                    <a:pt x="564" y="315"/>
                  </a:lnTo>
                  <a:lnTo>
                    <a:pt x="563" y="318"/>
                  </a:lnTo>
                  <a:lnTo>
                    <a:pt x="562" y="320"/>
                  </a:lnTo>
                  <a:lnTo>
                    <a:pt x="560" y="323"/>
                  </a:lnTo>
                  <a:lnTo>
                    <a:pt x="558" y="325"/>
                  </a:lnTo>
                  <a:lnTo>
                    <a:pt x="555" y="326"/>
                  </a:lnTo>
                  <a:lnTo>
                    <a:pt x="553" y="328"/>
                  </a:lnTo>
                  <a:lnTo>
                    <a:pt x="552" y="329"/>
                  </a:lnTo>
                  <a:lnTo>
                    <a:pt x="549" y="330"/>
                  </a:lnTo>
                  <a:lnTo>
                    <a:pt x="546" y="331"/>
                  </a:lnTo>
                  <a:lnTo>
                    <a:pt x="541" y="332"/>
                  </a:lnTo>
                  <a:lnTo>
                    <a:pt x="530" y="334"/>
                  </a:lnTo>
                  <a:lnTo>
                    <a:pt x="523" y="334"/>
                  </a:lnTo>
                  <a:lnTo>
                    <a:pt x="520" y="334"/>
                  </a:lnTo>
                  <a:lnTo>
                    <a:pt x="518" y="335"/>
                  </a:lnTo>
                  <a:lnTo>
                    <a:pt x="516" y="335"/>
                  </a:lnTo>
                  <a:lnTo>
                    <a:pt x="512" y="336"/>
                  </a:lnTo>
                  <a:lnTo>
                    <a:pt x="508" y="337"/>
                  </a:lnTo>
                  <a:lnTo>
                    <a:pt x="506" y="339"/>
                  </a:lnTo>
                  <a:lnTo>
                    <a:pt x="503" y="340"/>
                  </a:lnTo>
                  <a:lnTo>
                    <a:pt x="502" y="342"/>
                  </a:lnTo>
                  <a:lnTo>
                    <a:pt x="500" y="344"/>
                  </a:lnTo>
                  <a:lnTo>
                    <a:pt x="499" y="346"/>
                  </a:lnTo>
                  <a:lnTo>
                    <a:pt x="498" y="347"/>
                  </a:lnTo>
                  <a:lnTo>
                    <a:pt x="498" y="349"/>
                  </a:lnTo>
                  <a:lnTo>
                    <a:pt x="498" y="351"/>
                  </a:lnTo>
                  <a:lnTo>
                    <a:pt x="498" y="357"/>
                  </a:lnTo>
                  <a:lnTo>
                    <a:pt x="498" y="359"/>
                  </a:lnTo>
                  <a:lnTo>
                    <a:pt x="498" y="360"/>
                  </a:lnTo>
                  <a:lnTo>
                    <a:pt x="497" y="362"/>
                  </a:lnTo>
                  <a:lnTo>
                    <a:pt x="496" y="363"/>
                  </a:lnTo>
                  <a:lnTo>
                    <a:pt x="495" y="364"/>
                  </a:lnTo>
                  <a:lnTo>
                    <a:pt x="494" y="366"/>
                  </a:lnTo>
                  <a:lnTo>
                    <a:pt x="486" y="370"/>
                  </a:lnTo>
                  <a:lnTo>
                    <a:pt x="485" y="371"/>
                  </a:lnTo>
                  <a:lnTo>
                    <a:pt x="484" y="371"/>
                  </a:lnTo>
                  <a:lnTo>
                    <a:pt x="482" y="372"/>
                  </a:lnTo>
                  <a:lnTo>
                    <a:pt x="480" y="372"/>
                  </a:lnTo>
                  <a:lnTo>
                    <a:pt x="474" y="373"/>
                  </a:lnTo>
                  <a:lnTo>
                    <a:pt x="464" y="375"/>
                  </a:lnTo>
                  <a:lnTo>
                    <a:pt x="459" y="377"/>
                  </a:lnTo>
                  <a:lnTo>
                    <a:pt x="457" y="377"/>
                  </a:lnTo>
                  <a:lnTo>
                    <a:pt x="454" y="377"/>
                  </a:lnTo>
                  <a:lnTo>
                    <a:pt x="449" y="376"/>
                  </a:lnTo>
                  <a:lnTo>
                    <a:pt x="443" y="375"/>
                  </a:lnTo>
                  <a:lnTo>
                    <a:pt x="440" y="374"/>
                  </a:lnTo>
                  <a:lnTo>
                    <a:pt x="435" y="373"/>
                  </a:lnTo>
                  <a:lnTo>
                    <a:pt x="432" y="372"/>
                  </a:lnTo>
                  <a:lnTo>
                    <a:pt x="426" y="371"/>
                  </a:lnTo>
                  <a:lnTo>
                    <a:pt x="424" y="371"/>
                  </a:lnTo>
                  <a:lnTo>
                    <a:pt x="422" y="371"/>
                  </a:lnTo>
                  <a:lnTo>
                    <a:pt x="420" y="371"/>
                  </a:lnTo>
                  <a:lnTo>
                    <a:pt x="418" y="372"/>
                  </a:lnTo>
                  <a:lnTo>
                    <a:pt x="417" y="373"/>
                  </a:lnTo>
                  <a:lnTo>
                    <a:pt x="414" y="376"/>
                  </a:lnTo>
                  <a:lnTo>
                    <a:pt x="412" y="378"/>
                  </a:lnTo>
                  <a:lnTo>
                    <a:pt x="407" y="381"/>
                  </a:lnTo>
                  <a:lnTo>
                    <a:pt x="404" y="381"/>
                  </a:lnTo>
                  <a:lnTo>
                    <a:pt x="402" y="382"/>
                  </a:lnTo>
                  <a:lnTo>
                    <a:pt x="399" y="383"/>
                  </a:lnTo>
                  <a:lnTo>
                    <a:pt x="396" y="383"/>
                  </a:lnTo>
                  <a:lnTo>
                    <a:pt x="393" y="383"/>
                  </a:lnTo>
                  <a:lnTo>
                    <a:pt x="391" y="383"/>
                  </a:lnTo>
                  <a:lnTo>
                    <a:pt x="389" y="382"/>
                  </a:lnTo>
                  <a:lnTo>
                    <a:pt x="386" y="381"/>
                  </a:lnTo>
                  <a:lnTo>
                    <a:pt x="384" y="381"/>
                  </a:lnTo>
                  <a:lnTo>
                    <a:pt x="382" y="381"/>
                  </a:lnTo>
                  <a:lnTo>
                    <a:pt x="381" y="379"/>
                  </a:lnTo>
                  <a:lnTo>
                    <a:pt x="374" y="375"/>
                  </a:lnTo>
                  <a:lnTo>
                    <a:pt x="372" y="373"/>
                  </a:lnTo>
                  <a:lnTo>
                    <a:pt x="371" y="371"/>
                  </a:lnTo>
                  <a:lnTo>
                    <a:pt x="370" y="370"/>
                  </a:lnTo>
                  <a:lnTo>
                    <a:pt x="368" y="367"/>
                  </a:lnTo>
                  <a:lnTo>
                    <a:pt x="366" y="364"/>
                  </a:lnTo>
                  <a:lnTo>
                    <a:pt x="364" y="363"/>
                  </a:lnTo>
                  <a:lnTo>
                    <a:pt x="362" y="361"/>
                  </a:lnTo>
                  <a:lnTo>
                    <a:pt x="361" y="361"/>
                  </a:lnTo>
                  <a:lnTo>
                    <a:pt x="360" y="360"/>
                  </a:lnTo>
                  <a:lnTo>
                    <a:pt x="359" y="360"/>
                  </a:lnTo>
                  <a:lnTo>
                    <a:pt x="357" y="360"/>
                  </a:lnTo>
                  <a:lnTo>
                    <a:pt x="355" y="361"/>
                  </a:lnTo>
                  <a:lnTo>
                    <a:pt x="352" y="362"/>
                  </a:lnTo>
                  <a:lnTo>
                    <a:pt x="347" y="364"/>
                  </a:lnTo>
                  <a:lnTo>
                    <a:pt x="346" y="365"/>
                  </a:lnTo>
                  <a:lnTo>
                    <a:pt x="344" y="366"/>
                  </a:lnTo>
                  <a:lnTo>
                    <a:pt x="343" y="367"/>
                  </a:lnTo>
                  <a:lnTo>
                    <a:pt x="342" y="368"/>
                  </a:lnTo>
                  <a:lnTo>
                    <a:pt x="337" y="373"/>
                  </a:lnTo>
                  <a:lnTo>
                    <a:pt x="335" y="376"/>
                  </a:lnTo>
                  <a:lnTo>
                    <a:pt x="333" y="377"/>
                  </a:lnTo>
                  <a:lnTo>
                    <a:pt x="331" y="379"/>
                  </a:lnTo>
                  <a:lnTo>
                    <a:pt x="329" y="380"/>
                  </a:lnTo>
                  <a:lnTo>
                    <a:pt x="328" y="381"/>
                  </a:lnTo>
                  <a:lnTo>
                    <a:pt x="326" y="381"/>
                  </a:lnTo>
                  <a:lnTo>
                    <a:pt x="325" y="381"/>
                  </a:lnTo>
                  <a:lnTo>
                    <a:pt x="324" y="381"/>
                  </a:lnTo>
                  <a:lnTo>
                    <a:pt x="322" y="381"/>
                  </a:lnTo>
                  <a:lnTo>
                    <a:pt x="320" y="381"/>
                  </a:lnTo>
                  <a:lnTo>
                    <a:pt x="314" y="381"/>
                  </a:lnTo>
                  <a:lnTo>
                    <a:pt x="313" y="381"/>
                  </a:lnTo>
                  <a:lnTo>
                    <a:pt x="311" y="381"/>
                  </a:lnTo>
                  <a:lnTo>
                    <a:pt x="310" y="381"/>
                  </a:lnTo>
                  <a:lnTo>
                    <a:pt x="309" y="381"/>
                  </a:lnTo>
                  <a:lnTo>
                    <a:pt x="308" y="381"/>
                  </a:lnTo>
                  <a:lnTo>
                    <a:pt x="307" y="382"/>
                  </a:lnTo>
                  <a:lnTo>
                    <a:pt x="305" y="383"/>
                  </a:lnTo>
                  <a:lnTo>
                    <a:pt x="304" y="384"/>
                  </a:lnTo>
                  <a:lnTo>
                    <a:pt x="303" y="386"/>
                  </a:lnTo>
                  <a:lnTo>
                    <a:pt x="302" y="388"/>
                  </a:lnTo>
                  <a:lnTo>
                    <a:pt x="301" y="393"/>
                  </a:lnTo>
                  <a:lnTo>
                    <a:pt x="298" y="398"/>
                  </a:lnTo>
                  <a:lnTo>
                    <a:pt x="297" y="401"/>
                  </a:lnTo>
                  <a:lnTo>
                    <a:pt x="296" y="402"/>
                  </a:lnTo>
                  <a:lnTo>
                    <a:pt x="295" y="404"/>
                  </a:lnTo>
                  <a:lnTo>
                    <a:pt x="293" y="405"/>
                  </a:lnTo>
                  <a:lnTo>
                    <a:pt x="292" y="406"/>
                  </a:lnTo>
                  <a:lnTo>
                    <a:pt x="291" y="407"/>
                  </a:lnTo>
                  <a:lnTo>
                    <a:pt x="290" y="407"/>
                  </a:lnTo>
                  <a:lnTo>
                    <a:pt x="288" y="408"/>
                  </a:lnTo>
                  <a:lnTo>
                    <a:pt x="285" y="408"/>
                  </a:lnTo>
                  <a:lnTo>
                    <a:pt x="279" y="408"/>
                  </a:lnTo>
                  <a:lnTo>
                    <a:pt x="276" y="408"/>
                  </a:lnTo>
                  <a:lnTo>
                    <a:pt x="270" y="409"/>
                  </a:lnTo>
                  <a:lnTo>
                    <a:pt x="266" y="410"/>
                  </a:lnTo>
                  <a:lnTo>
                    <a:pt x="262" y="411"/>
                  </a:lnTo>
                  <a:lnTo>
                    <a:pt x="255" y="413"/>
                  </a:lnTo>
                  <a:lnTo>
                    <a:pt x="252" y="415"/>
                  </a:lnTo>
                  <a:lnTo>
                    <a:pt x="248" y="416"/>
                  </a:lnTo>
                  <a:lnTo>
                    <a:pt x="245" y="419"/>
                  </a:lnTo>
                  <a:lnTo>
                    <a:pt x="243" y="421"/>
                  </a:lnTo>
                  <a:lnTo>
                    <a:pt x="242" y="422"/>
                  </a:lnTo>
                  <a:lnTo>
                    <a:pt x="240" y="424"/>
                  </a:lnTo>
                  <a:lnTo>
                    <a:pt x="237" y="428"/>
                  </a:lnTo>
                  <a:lnTo>
                    <a:pt x="235" y="431"/>
                  </a:lnTo>
                  <a:lnTo>
                    <a:pt x="231" y="436"/>
                  </a:lnTo>
                  <a:lnTo>
                    <a:pt x="228" y="438"/>
                  </a:lnTo>
                  <a:lnTo>
                    <a:pt x="225" y="440"/>
                  </a:lnTo>
                  <a:lnTo>
                    <a:pt x="222" y="443"/>
                  </a:lnTo>
                  <a:lnTo>
                    <a:pt x="220" y="444"/>
                  </a:lnTo>
                  <a:lnTo>
                    <a:pt x="213" y="448"/>
                  </a:lnTo>
                  <a:lnTo>
                    <a:pt x="211" y="449"/>
                  </a:lnTo>
                  <a:lnTo>
                    <a:pt x="209" y="450"/>
                  </a:lnTo>
                  <a:lnTo>
                    <a:pt x="207" y="452"/>
                  </a:lnTo>
                  <a:lnTo>
                    <a:pt x="205" y="454"/>
                  </a:lnTo>
                  <a:lnTo>
                    <a:pt x="200" y="459"/>
                  </a:lnTo>
                  <a:lnTo>
                    <a:pt x="197" y="462"/>
                  </a:lnTo>
                  <a:lnTo>
                    <a:pt x="196" y="464"/>
                  </a:lnTo>
                  <a:lnTo>
                    <a:pt x="193" y="467"/>
                  </a:lnTo>
                  <a:lnTo>
                    <a:pt x="189" y="472"/>
                  </a:lnTo>
                  <a:lnTo>
                    <a:pt x="188" y="474"/>
                  </a:lnTo>
                  <a:lnTo>
                    <a:pt x="187" y="475"/>
                  </a:lnTo>
                  <a:lnTo>
                    <a:pt x="186" y="476"/>
                  </a:lnTo>
                  <a:lnTo>
                    <a:pt x="184" y="477"/>
                  </a:lnTo>
                  <a:lnTo>
                    <a:pt x="183" y="477"/>
                  </a:lnTo>
                  <a:lnTo>
                    <a:pt x="181" y="476"/>
                  </a:lnTo>
                  <a:lnTo>
                    <a:pt x="180" y="476"/>
                  </a:lnTo>
                  <a:lnTo>
                    <a:pt x="178" y="475"/>
                  </a:lnTo>
                  <a:lnTo>
                    <a:pt x="177" y="474"/>
                  </a:lnTo>
                  <a:lnTo>
                    <a:pt x="172" y="471"/>
                  </a:lnTo>
                  <a:lnTo>
                    <a:pt x="169" y="470"/>
                  </a:lnTo>
                  <a:lnTo>
                    <a:pt x="166" y="468"/>
                  </a:lnTo>
                  <a:lnTo>
                    <a:pt x="163" y="467"/>
                  </a:lnTo>
                  <a:lnTo>
                    <a:pt x="161" y="466"/>
                  </a:lnTo>
                  <a:lnTo>
                    <a:pt x="158" y="465"/>
                  </a:lnTo>
                  <a:lnTo>
                    <a:pt x="155" y="465"/>
                  </a:lnTo>
                  <a:lnTo>
                    <a:pt x="153" y="465"/>
                  </a:lnTo>
                  <a:lnTo>
                    <a:pt x="143" y="467"/>
                  </a:lnTo>
                  <a:lnTo>
                    <a:pt x="140" y="467"/>
                  </a:lnTo>
                  <a:lnTo>
                    <a:pt x="138" y="468"/>
                  </a:lnTo>
                  <a:lnTo>
                    <a:pt x="137" y="468"/>
                  </a:lnTo>
                  <a:lnTo>
                    <a:pt x="136" y="469"/>
                  </a:lnTo>
                  <a:lnTo>
                    <a:pt x="135" y="470"/>
                  </a:lnTo>
                  <a:lnTo>
                    <a:pt x="133" y="471"/>
                  </a:lnTo>
                  <a:lnTo>
                    <a:pt x="132" y="472"/>
                  </a:lnTo>
                  <a:lnTo>
                    <a:pt x="129" y="478"/>
                  </a:lnTo>
                  <a:lnTo>
                    <a:pt x="125" y="482"/>
                  </a:lnTo>
                  <a:lnTo>
                    <a:pt x="124" y="483"/>
                  </a:lnTo>
                  <a:lnTo>
                    <a:pt x="122" y="485"/>
                  </a:lnTo>
                  <a:lnTo>
                    <a:pt x="120" y="487"/>
                  </a:lnTo>
                  <a:lnTo>
                    <a:pt x="120" y="489"/>
                  </a:lnTo>
                  <a:lnTo>
                    <a:pt x="118" y="490"/>
                  </a:lnTo>
                  <a:lnTo>
                    <a:pt x="116" y="491"/>
                  </a:lnTo>
                  <a:lnTo>
                    <a:pt x="115" y="491"/>
                  </a:lnTo>
                  <a:lnTo>
                    <a:pt x="114" y="491"/>
                  </a:lnTo>
                  <a:lnTo>
                    <a:pt x="111" y="491"/>
                  </a:lnTo>
                  <a:lnTo>
                    <a:pt x="109" y="490"/>
                  </a:lnTo>
                  <a:lnTo>
                    <a:pt x="106" y="490"/>
                  </a:lnTo>
                  <a:lnTo>
                    <a:pt x="104" y="489"/>
                  </a:lnTo>
                  <a:lnTo>
                    <a:pt x="102" y="488"/>
                  </a:lnTo>
                  <a:lnTo>
                    <a:pt x="101" y="487"/>
                  </a:lnTo>
                  <a:lnTo>
                    <a:pt x="97" y="483"/>
                  </a:lnTo>
                  <a:lnTo>
                    <a:pt x="94" y="482"/>
                  </a:lnTo>
                  <a:lnTo>
                    <a:pt x="92" y="481"/>
                  </a:lnTo>
                  <a:lnTo>
                    <a:pt x="90" y="480"/>
                  </a:lnTo>
                  <a:lnTo>
                    <a:pt x="88" y="480"/>
                  </a:lnTo>
                  <a:lnTo>
                    <a:pt x="86" y="480"/>
                  </a:lnTo>
                  <a:lnTo>
                    <a:pt x="84" y="480"/>
                  </a:lnTo>
                  <a:lnTo>
                    <a:pt x="82" y="480"/>
                  </a:lnTo>
                  <a:lnTo>
                    <a:pt x="78" y="481"/>
                  </a:lnTo>
                  <a:lnTo>
                    <a:pt x="76" y="482"/>
                  </a:lnTo>
                  <a:lnTo>
                    <a:pt x="75" y="483"/>
                  </a:lnTo>
                  <a:lnTo>
                    <a:pt x="73" y="483"/>
                  </a:lnTo>
                  <a:lnTo>
                    <a:pt x="72" y="484"/>
                  </a:lnTo>
                  <a:lnTo>
                    <a:pt x="72" y="485"/>
                  </a:lnTo>
                  <a:lnTo>
                    <a:pt x="72" y="486"/>
                  </a:lnTo>
                  <a:lnTo>
                    <a:pt x="71" y="485"/>
                  </a:lnTo>
                  <a:lnTo>
                    <a:pt x="70" y="483"/>
                  </a:lnTo>
                  <a:lnTo>
                    <a:pt x="66" y="476"/>
                  </a:lnTo>
                  <a:lnTo>
                    <a:pt x="63" y="472"/>
                  </a:lnTo>
                  <a:lnTo>
                    <a:pt x="63" y="471"/>
                  </a:lnTo>
                  <a:lnTo>
                    <a:pt x="61" y="469"/>
                  </a:lnTo>
                  <a:lnTo>
                    <a:pt x="60" y="467"/>
                  </a:lnTo>
                  <a:lnTo>
                    <a:pt x="58" y="466"/>
                  </a:lnTo>
                  <a:lnTo>
                    <a:pt x="56" y="464"/>
                  </a:lnTo>
                  <a:lnTo>
                    <a:pt x="53" y="462"/>
                  </a:lnTo>
                  <a:lnTo>
                    <a:pt x="52" y="461"/>
                  </a:lnTo>
                  <a:lnTo>
                    <a:pt x="49" y="460"/>
                  </a:lnTo>
                  <a:lnTo>
                    <a:pt x="46" y="459"/>
                  </a:lnTo>
                  <a:lnTo>
                    <a:pt x="44" y="457"/>
                  </a:lnTo>
                  <a:lnTo>
                    <a:pt x="38" y="454"/>
                  </a:lnTo>
                  <a:lnTo>
                    <a:pt x="34" y="453"/>
                  </a:lnTo>
                  <a:lnTo>
                    <a:pt x="31" y="451"/>
                  </a:lnTo>
                  <a:lnTo>
                    <a:pt x="29" y="449"/>
                  </a:lnTo>
                  <a:lnTo>
                    <a:pt x="28" y="448"/>
                  </a:lnTo>
                  <a:lnTo>
                    <a:pt x="26" y="446"/>
                  </a:lnTo>
                  <a:lnTo>
                    <a:pt x="25" y="444"/>
                  </a:lnTo>
                  <a:lnTo>
                    <a:pt x="21" y="438"/>
                  </a:lnTo>
                  <a:lnTo>
                    <a:pt x="20" y="437"/>
                  </a:lnTo>
                  <a:lnTo>
                    <a:pt x="19" y="435"/>
                  </a:lnTo>
                  <a:lnTo>
                    <a:pt x="18" y="434"/>
                  </a:lnTo>
                  <a:lnTo>
                    <a:pt x="16" y="433"/>
                  </a:lnTo>
                  <a:lnTo>
                    <a:pt x="15" y="432"/>
                  </a:lnTo>
                  <a:lnTo>
                    <a:pt x="13" y="432"/>
                  </a:lnTo>
                  <a:lnTo>
                    <a:pt x="12" y="431"/>
                  </a:lnTo>
                  <a:lnTo>
                    <a:pt x="9" y="431"/>
                  </a:lnTo>
                  <a:lnTo>
                    <a:pt x="5" y="430"/>
                  </a:lnTo>
                  <a:lnTo>
                    <a:pt x="3" y="430"/>
                  </a:lnTo>
                  <a:lnTo>
                    <a:pt x="2" y="430"/>
                  </a:lnTo>
                  <a:lnTo>
                    <a:pt x="1" y="429"/>
                  </a:lnTo>
                  <a:lnTo>
                    <a:pt x="0" y="428"/>
                  </a:lnTo>
                  <a:lnTo>
                    <a:pt x="0" y="427"/>
                  </a:lnTo>
                  <a:lnTo>
                    <a:pt x="0" y="426"/>
                  </a:lnTo>
                  <a:lnTo>
                    <a:pt x="0" y="423"/>
                  </a:lnTo>
                  <a:lnTo>
                    <a:pt x="1" y="421"/>
                  </a:lnTo>
                  <a:lnTo>
                    <a:pt x="2" y="419"/>
                  </a:lnTo>
                  <a:lnTo>
                    <a:pt x="4" y="415"/>
                  </a:lnTo>
                  <a:lnTo>
                    <a:pt x="6" y="412"/>
                  </a:lnTo>
                  <a:lnTo>
                    <a:pt x="10" y="409"/>
                  </a:lnTo>
                  <a:lnTo>
                    <a:pt x="11" y="407"/>
                  </a:lnTo>
                  <a:lnTo>
                    <a:pt x="15" y="404"/>
                  </a:lnTo>
                  <a:lnTo>
                    <a:pt x="21" y="397"/>
                  </a:lnTo>
                  <a:lnTo>
                    <a:pt x="23" y="395"/>
                  </a:lnTo>
                  <a:lnTo>
                    <a:pt x="24" y="393"/>
                  </a:lnTo>
                  <a:lnTo>
                    <a:pt x="25" y="392"/>
                  </a:lnTo>
                  <a:lnTo>
                    <a:pt x="26" y="389"/>
                  </a:lnTo>
                  <a:lnTo>
                    <a:pt x="28" y="383"/>
                  </a:lnTo>
                  <a:lnTo>
                    <a:pt x="29" y="381"/>
                  </a:lnTo>
                  <a:lnTo>
                    <a:pt x="29" y="379"/>
                  </a:lnTo>
                  <a:lnTo>
                    <a:pt x="34" y="372"/>
                  </a:lnTo>
                  <a:lnTo>
                    <a:pt x="35" y="370"/>
                  </a:lnTo>
                  <a:lnTo>
                    <a:pt x="36" y="369"/>
                  </a:lnTo>
                  <a:lnTo>
                    <a:pt x="37" y="368"/>
                  </a:lnTo>
                  <a:lnTo>
                    <a:pt x="37" y="365"/>
                  </a:lnTo>
                  <a:lnTo>
                    <a:pt x="39" y="358"/>
                  </a:lnTo>
                  <a:lnTo>
                    <a:pt x="40" y="356"/>
                  </a:lnTo>
                  <a:lnTo>
                    <a:pt x="40" y="354"/>
                  </a:lnTo>
                  <a:lnTo>
                    <a:pt x="40" y="352"/>
                  </a:lnTo>
                  <a:lnTo>
                    <a:pt x="43" y="347"/>
                  </a:lnTo>
                  <a:lnTo>
                    <a:pt x="46" y="343"/>
                  </a:lnTo>
                  <a:lnTo>
                    <a:pt x="47" y="341"/>
                  </a:lnTo>
                  <a:lnTo>
                    <a:pt x="48" y="340"/>
                  </a:lnTo>
                  <a:lnTo>
                    <a:pt x="49" y="339"/>
                  </a:lnTo>
                  <a:lnTo>
                    <a:pt x="50" y="338"/>
                  </a:lnTo>
                  <a:lnTo>
                    <a:pt x="52" y="338"/>
                  </a:lnTo>
                  <a:lnTo>
                    <a:pt x="53" y="337"/>
                  </a:lnTo>
                  <a:lnTo>
                    <a:pt x="59" y="336"/>
                  </a:lnTo>
                  <a:lnTo>
                    <a:pt x="63" y="335"/>
                  </a:lnTo>
                  <a:lnTo>
                    <a:pt x="68" y="334"/>
                  </a:lnTo>
                  <a:lnTo>
                    <a:pt x="72" y="332"/>
                  </a:lnTo>
                  <a:lnTo>
                    <a:pt x="74" y="330"/>
                  </a:lnTo>
                  <a:lnTo>
                    <a:pt x="76" y="328"/>
                  </a:lnTo>
                  <a:lnTo>
                    <a:pt x="78" y="326"/>
                  </a:lnTo>
                  <a:lnTo>
                    <a:pt x="81" y="323"/>
                  </a:lnTo>
                  <a:lnTo>
                    <a:pt x="82" y="322"/>
                  </a:lnTo>
                  <a:lnTo>
                    <a:pt x="83" y="321"/>
                  </a:lnTo>
                  <a:lnTo>
                    <a:pt x="84" y="322"/>
                  </a:lnTo>
                  <a:lnTo>
                    <a:pt x="85" y="322"/>
                  </a:lnTo>
                  <a:lnTo>
                    <a:pt x="86" y="322"/>
                  </a:lnTo>
                  <a:lnTo>
                    <a:pt x="87" y="321"/>
                  </a:lnTo>
                  <a:lnTo>
                    <a:pt x="88" y="321"/>
                  </a:lnTo>
                  <a:lnTo>
                    <a:pt x="91" y="319"/>
                  </a:lnTo>
                  <a:lnTo>
                    <a:pt x="95" y="315"/>
                  </a:lnTo>
                  <a:lnTo>
                    <a:pt x="101" y="311"/>
                  </a:lnTo>
                  <a:lnTo>
                    <a:pt x="109" y="302"/>
                  </a:lnTo>
                  <a:lnTo>
                    <a:pt x="111" y="301"/>
                  </a:lnTo>
                  <a:lnTo>
                    <a:pt x="112" y="300"/>
                  </a:lnTo>
                  <a:lnTo>
                    <a:pt x="113" y="298"/>
                  </a:lnTo>
                  <a:lnTo>
                    <a:pt x="114" y="295"/>
                  </a:lnTo>
                  <a:lnTo>
                    <a:pt x="115" y="293"/>
                  </a:lnTo>
                  <a:lnTo>
                    <a:pt x="116" y="291"/>
                  </a:lnTo>
                  <a:lnTo>
                    <a:pt x="117" y="283"/>
                  </a:lnTo>
                  <a:lnTo>
                    <a:pt x="119" y="277"/>
                  </a:lnTo>
                  <a:lnTo>
                    <a:pt x="119" y="275"/>
                  </a:lnTo>
                  <a:lnTo>
                    <a:pt x="119" y="272"/>
                  </a:lnTo>
                  <a:lnTo>
                    <a:pt x="119" y="263"/>
                  </a:lnTo>
                  <a:lnTo>
                    <a:pt x="119" y="258"/>
                  </a:lnTo>
                  <a:lnTo>
                    <a:pt x="120" y="256"/>
                  </a:lnTo>
                  <a:lnTo>
                    <a:pt x="120" y="252"/>
                  </a:lnTo>
                  <a:lnTo>
                    <a:pt x="122" y="243"/>
                  </a:lnTo>
                  <a:lnTo>
                    <a:pt x="122" y="240"/>
                  </a:lnTo>
                  <a:lnTo>
                    <a:pt x="123" y="237"/>
                  </a:lnTo>
                  <a:lnTo>
                    <a:pt x="123" y="234"/>
                  </a:lnTo>
                  <a:lnTo>
                    <a:pt x="123" y="232"/>
                  </a:lnTo>
                  <a:lnTo>
                    <a:pt x="123" y="229"/>
                  </a:lnTo>
                  <a:lnTo>
                    <a:pt x="123" y="226"/>
                  </a:lnTo>
                  <a:lnTo>
                    <a:pt x="122" y="223"/>
                  </a:lnTo>
                  <a:lnTo>
                    <a:pt x="121" y="221"/>
                  </a:lnTo>
                  <a:lnTo>
                    <a:pt x="120" y="214"/>
                  </a:lnTo>
                  <a:lnTo>
                    <a:pt x="117" y="206"/>
                  </a:lnTo>
                  <a:lnTo>
                    <a:pt x="116" y="202"/>
                  </a:lnTo>
                  <a:lnTo>
                    <a:pt x="115" y="199"/>
                  </a:lnTo>
                  <a:lnTo>
                    <a:pt x="114" y="197"/>
                  </a:lnTo>
                  <a:lnTo>
                    <a:pt x="113" y="195"/>
                  </a:lnTo>
                  <a:lnTo>
                    <a:pt x="110" y="191"/>
                  </a:lnTo>
                  <a:lnTo>
                    <a:pt x="109" y="189"/>
                  </a:lnTo>
                  <a:lnTo>
                    <a:pt x="109" y="188"/>
                  </a:lnTo>
                  <a:lnTo>
                    <a:pt x="108" y="186"/>
                  </a:lnTo>
                  <a:lnTo>
                    <a:pt x="108" y="184"/>
                  </a:lnTo>
                  <a:lnTo>
                    <a:pt x="108" y="182"/>
                  </a:lnTo>
                  <a:lnTo>
                    <a:pt x="108" y="179"/>
                  </a:lnTo>
                  <a:lnTo>
                    <a:pt x="108" y="173"/>
                  </a:lnTo>
                  <a:lnTo>
                    <a:pt x="108" y="170"/>
                  </a:lnTo>
                  <a:lnTo>
                    <a:pt x="107" y="168"/>
                  </a:lnTo>
                  <a:lnTo>
                    <a:pt x="107" y="166"/>
                  </a:lnTo>
                  <a:lnTo>
                    <a:pt x="106" y="164"/>
                  </a:lnTo>
                  <a:lnTo>
                    <a:pt x="103" y="157"/>
                  </a:lnTo>
                  <a:lnTo>
                    <a:pt x="102" y="155"/>
                  </a:lnTo>
                  <a:lnTo>
                    <a:pt x="102" y="153"/>
                  </a:lnTo>
                  <a:lnTo>
                    <a:pt x="102" y="151"/>
                  </a:lnTo>
                  <a:lnTo>
                    <a:pt x="102" y="149"/>
                  </a:lnTo>
                  <a:lnTo>
                    <a:pt x="102" y="148"/>
                  </a:lnTo>
                  <a:lnTo>
                    <a:pt x="102" y="147"/>
                  </a:lnTo>
                  <a:lnTo>
                    <a:pt x="102" y="145"/>
                  </a:lnTo>
                  <a:lnTo>
                    <a:pt x="103" y="143"/>
                  </a:lnTo>
                  <a:lnTo>
                    <a:pt x="104" y="143"/>
                  </a:lnTo>
                  <a:lnTo>
                    <a:pt x="107" y="139"/>
                  </a:lnTo>
                  <a:lnTo>
                    <a:pt x="108" y="138"/>
                  </a:lnTo>
                  <a:lnTo>
                    <a:pt x="108" y="136"/>
                  </a:lnTo>
                  <a:lnTo>
                    <a:pt x="109" y="132"/>
                  </a:lnTo>
                  <a:lnTo>
                    <a:pt x="109" y="131"/>
                  </a:lnTo>
                  <a:lnTo>
                    <a:pt x="110" y="130"/>
                  </a:lnTo>
                  <a:lnTo>
                    <a:pt x="111" y="129"/>
                  </a:lnTo>
                  <a:lnTo>
                    <a:pt x="112" y="127"/>
                  </a:lnTo>
                  <a:lnTo>
                    <a:pt x="113" y="126"/>
                  </a:lnTo>
                  <a:lnTo>
                    <a:pt x="114" y="125"/>
                  </a:lnTo>
                  <a:lnTo>
                    <a:pt x="116" y="124"/>
                  </a:lnTo>
                  <a:lnTo>
                    <a:pt x="117" y="124"/>
                  </a:lnTo>
                  <a:lnTo>
                    <a:pt x="119" y="124"/>
                  </a:lnTo>
                  <a:lnTo>
                    <a:pt x="120" y="124"/>
                  </a:lnTo>
                  <a:lnTo>
                    <a:pt x="120" y="124"/>
                  </a:lnTo>
                  <a:lnTo>
                    <a:pt x="122" y="126"/>
                  </a:lnTo>
                  <a:lnTo>
                    <a:pt x="126" y="129"/>
                  </a:lnTo>
                  <a:lnTo>
                    <a:pt x="131" y="133"/>
                  </a:lnTo>
                  <a:lnTo>
                    <a:pt x="133" y="135"/>
                  </a:lnTo>
                  <a:lnTo>
                    <a:pt x="135" y="137"/>
                  </a:lnTo>
                  <a:lnTo>
                    <a:pt x="137" y="138"/>
                  </a:lnTo>
                  <a:lnTo>
                    <a:pt x="139" y="140"/>
                  </a:lnTo>
                  <a:lnTo>
                    <a:pt x="143" y="141"/>
                  </a:lnTo>
                  <a:lnTo>
                    <a:pt x="144" y="142"/>
                  </a:lnTo>
                  <a:lnTo>
                    <a:pt x="147" y="143"/>
                  </a:lnTo>
                  <a:lnTo>
                    <a:pt x="150" y="143"/>
                  </a:lnTo>
                  <a:lnTo>
                    <a:pt x="152" y="144"/>
                  </a:lnTo>
                  <a:lnTo>
                    <a:pt x="154" y="144"/>
                  </a:lnTo>
                  <a:lnTo>
                    <a:pt x="156" y="144"/>
                  </a:lnTo>
                  <a:lnTo>
                    <a:pt x="159" y="143"/>
                  </a:lnTo>
                  <a:lnTo>
                    <a:pt x="161" y="143"/>
                  </a:lnTo>
                  <a:lnTo>
                    <a:pt x="162" y="142"/>
                  </a:lnTo>
                  <a:lnTo>
                    <a:pt x="164" y="141"/>
                  </a:lnTo>
                  <a:lnTo>
                    <a:pt x="165" y="140"/>
                  </a:lnTo>
                  <a:lnTo>
                    <a:pt x="166" y="138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7" y="132"/>
                  </a:lnTo>
                  <a:lnTo>
                    <a:pt x="167" y="131"/>
                  </a:lnTo>
                  <a:lnTo>
                    <a:pt x="167" y="129"/>
                  </a:lnTo>
                  <a:lnTo>
                    <a:pt x="167" y="125"/>
                  </a:lnTo>
                  <a:lnTo>
                    <a:pt x="166" y="121"/>
                  </a:lnTo>
                  <a:lnTo>
                    <a:pt x="166" y="117"/>
                  </a:lnTo>
                  <a:lnTo>
                    <a:pt x="163" y="109"/>
                  </a:lnTo>
                  <a:lnTo>
                    <a:pt x="162" y="104"/>
                  </a:lnTo>
                  <a:lnTo>
                    <a:pt x="161" y="101"/>
                  </a:lnTo>
                  <a:lnTo>
                    <a:pt x="161" y="99"/>
                  </a:lnTo>
                  <a:lnTo>
                    <a:pt x="161" y="98"/>
                  </a:lnTo>
                  <a:lnTo>
                    <a:pt x="161" y="96"/>
                  </a:lnTo>
                  <a:lnTo>
                    <a:pt x="162" y="94"/>
                  </a:lnTo>
                  <a:lnTo>
                    <a:pt x="163" y="93"/>
                  </a:lnTo>
                  <a:lnTo>
                    <a:pt x="164" y="91"/>
                  </a:lnTo>
                  <a:lnTo>
                    <a:pt x="166" y="89"/>
                  </a:lnTo>
                  <a:lnTo>
                    <a:pt x="167" y="87"/>
                  </a:lnTo>
                  <a:lnTo>
                    <a:pt x="170" y="87"/>
                  </a:lnTo>
                  <a:lnTo>
                    <a:pt x="172" y="85"/>
                  </a:lnTo>
                  <a:lnTo>
                    <a:pt x="177" y="83"/>
                  </a:lnTo>
                  <a:lnTo>
                    <a:pt x="177" y="82"/>
                  </a:lnTo>
                  <a:lnTo>
                    <a:pt x="178" y="81"/>
                  </a:lnTo>
                  <a:lnTo>
                    <a:pt x="179" y="80"/>
                  </a:lnTo>
                  <a:lnTo>
                    <a:pt x="180" y="79"/>
                  </a:lnTo>
                  <a:lnTo>
                    <a:pt x="180" y="78"/>
                  </a:lnTo>
                  <a:lnTo>
                    <a:pt x="181" y="77"/>
                  </a:lnTo>
                  <a:lnTo>
                    <a:pt x="181" y="76"/>
                  </a:lnTo>
                  <a:lnTo>
                    <a:pt x="181" y="75"/>
                  </a:lnTo>
                  <a:lnTo>
                    <a:pt x="181" y="75"/>
                  </a:lnTo>
                  <a:lnTo>
                    <a:pt x="180" y="73"/>
                  </a:lnTo>
                  <a:lnTo>
                    <a:pt x="179" y="70"/>
                  </a:lnTo>
                  <a:lnTo>
                    <a:pt x="178" y="69"/>
                  </a:lnTo>
                  <a:lnTo>
                    <a:pt x="178" y="67"/>
                  </a:lnTo>
                  <a:lnTo>
                    <a:pt x="178" y="65"/>
                  </a:lnTo>
                  <a:lnTo>
                    <a:pt x="178" y="64"/>
                  </a:lnTo>
                  <a:lnTo>
                    <a:pt x="178" y="61"/>
                  </a:lnTo>
                  <a:lnTo>
                    <a:pt x="178" y="58"/>
                  </a:lnTo>
                  <a:lnTo>
                    <a:pt x="178" y="56"/>
                  </a:lnTo>
                  <a:lnTo>
                    <a:pt x="178" y="55"/>
                  </a:lnTo>
                  <a:lnTo>
                    <a:pt x="179" y="54"/>
                  </a:lnTo>
                  <a:lnTo>
                    <a:pt x="179" y="53"/>
                  </a:lnTo>
                  <a:lnTo>
                    <a:pt x="180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5" y="50"/>
                  </a:lnTo>
                  <a:lnTo>
                    <a:pt x="188" y="47"/>
                  </a:lnTo>
                  <a:lnTo>
                    <a:pt x="188" y="45"/>
                  </a:lnTo>
                  <a:lnTo>
                    <a:pt x="188" y="44"/>
                  </a:lnTo>
                  <a:lnTo>
                    <a:pt x="189" y="41"/>
                  </a:lnTo>
                  <a:lnTo>
                    <a:pt x="190" y="39"/>
                  </a:lnTo>
                  <a:lnTo>
                    <a:pt x="190" y="36"/>
                  </a:lnTo>
                  <a:lnTo>
                    <a:pt x="191" y="29"/>
                  </a:lnTo>
                  <a:lnTo>
                    <a:pt x="191" y="26"/>
                  </a:lnTo>
                  <a:lnTo>
                    <a:pt x="192" y="23"/>
                  </a:lnTo>
                  <a:lnTo>
                    <a:pt x="192" y="22"/>
                  </a:lnTo>
                  <a:lnTo>
                    <a:pt x="193" y="22"/>
                  </a:lnTo>
                  <a:lnTo>
                    <a:pt x="194" y="21"/>
                  </a:lnTo>
                  <a:lnTo>
                    <a:pt x="195" y="20"/>
                  </a:lnTo>
                  <a:lnTo>
                    <a:pt x="198" y="20"/>
                  </a:lnTo>
                  <a:lnTo>
                    <a:pt x="199" y="19"/>
                  </a:lnTo>
                  <a:lnTo>
                    <a:pt x="200" y="19"/>
                  </a:lnTo>
                  <a:lnTo>
                    <a:pt x="202" y="19"/>
                  </a:lnTo>
                  <a:lnTo>
                    <a:pt x="203" y="18"/>
                  </a:lnTo>
                  <a:lnTo>
                    <a:pt x="204" y="18"/>
                  </a:lnTo>
                  <a:lnTo>
                    <a:pt x="206" y="18"/>
                  </a:lnTo>
                  <a:lnTo>
                    <a:pt x="207" y="17"/>
                  </a:lnTo>
                  <a:lnTo>
                    <a:pt x="210" y="16"/>
                  </a:lnTo>
                  <a:lnTo>
                    <a:pt x="213" y="14"/>
                  </a:lnTo>
                  <a:lnTo>
                    <a:pt x="215" y="13"/>
                  </a:lnTo>
                  <a:lnTo>
                    <a:pt x="217" y="12"/>
                  </a:lnTo>
                  <a:lnTo>
                    <a:pt x="220" y="11"/>
                  </a:lnTo>
                  <a:lnTo>
                    <a:pt x="222" y="11"/>
                  </a:lnTo>
                  <a:lnTo>
                    <a:pt x="224" y="11"/>
                  </a:lnTo>
                  <a:lnTo>
                    <a:pt x="227" y="11"/>
                  </a:lnTo>
                  <a:lnTo>
                    <a:pt x="233" y="13"/>
                  </a:lnTo>
                  <a:lnTo>
                    <a:pt x="234" y="13"/>
                  </a:lnTo>
                  <a:lnTo>
                    <a:pt x="236" y="13"/>
                  </a:lnTo>
                  <a:lnTo>
                    <a:pt x="238" y="13"/>
                  </a:lnTo>
                  <a:lnTo>
                    <a:pt x="240" y="13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50" y="10"/>
                  </a:lnTo>
                  <a:lnTo>
                    <a:pt x="252" y="9"/>
                  </a:lnTo>
                  <a:lnTo>
                    <a:pt x="254" y="8"/>
                  </a:lnTo>
                  <a:lnTo>
                    <a:pt x="256" y="7"/>
                  </a:lnTo>
                  <a:lnTo>
                    <a:pt x="264" y="1"/>
                  </a:lnTo>
                  <a:lnTo>
                    <a:pt x="266" y="0"/>
                  </a:lnTo>
                  <a:lnTo>
                    <a:pt x="268" y="0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6" name="Freeform 59">
              <a:extLst>
                <a:ext uri="{FF2B5EF4-FFF2-40B4-BE49-F238E27FC236}">
                  <a16:creationId xmlns:a16="http://schemas.microsoft.com/office/drawing/2014/main" id="{7C1A1591-BF5C-4FEC-99BF-F18F46BD7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2535"/>
              <a:ext cx="502" cy="575"/>
            </a:xfrm>
            <a:custGeom>
              <a:avLst/>
              <a:gdLst>
                <a:gd name="T0" fmla="*/ 195 w 502"/>
                <a:gd name="T1" fmla="*/ 15 h 575"/>
                <a:gd name="T2" fmla="*/ 236 w 502"/>
                <a:gd name="T3" fmla="*/ 25 h 575"/>
                <a:gd name="T4" fmla="*/ 263 w 502"/>
                <a:gd name="T5" fmla="*/ 54 h 575"/>
                <a:gd name="T6" fmla="*/ 301 w 502"/>
                <a:gd name="T7" fmla="*/ 61 h 575"/>
                <a:gd name="T8" fmla="*/ 363 w 502"/>
                <a:gd name="T9" fmla="*/ 86 h 575"/>
                <a:gd name="T10" fmla="*/ 402 w 502"/>
                <a:gd name="T11" fmla="*/ 127 h 575"/>
                <a:gd name="T12" fmla="*/ 449 w 502"/>
                <a:gd name="T13" fmla="*/ 144 h 575"/>
                <a:gd name="T14" fmla="*/ 484 w 502"/>
                <a:gd name="T15" fmla="*/ 188 h 575"/>
                <a:gd name="T16" fmla="*/ 479 w 502"/>
                <a:gd name="T17" fmla="*/ 220 h 575"/>
                <a:gd name="T18" fmla="*/ 500 w 502"/>
                <a:gd name="T19" fmla="*/ 238 h 575"/>
                <a:gd name="T20" fmla="*/ 493 w 502"/>
                <a:gd name="T21" fmla="*/ 264 h 575"/>
                <a:gd name="T22" fmla="*/ 467 w 502"/>
                <a:gd name="T23" fmla="*/ 277 h 575"/>
                <a:gd name="T24" fmla="*/ 466 w 502"/>
                <a:gd name="T25" fmla="*/ 286 h 575"/>
                <a:gd name="T26" fmla="*/ 477 w 502"/>
                <a:gd name="T27" fmla="*/ 320 h 575"/>
                <a:gd name="T28" fmla="*/ 463 w 502"/>
                <a:gd name="T29" fmla="*/ 329 h 575"/>
                <a:gd name="T30" fmla="*/ 450 w 502"/>
                <a:gd name="T31" fmla="*/ 313 h 575"/>
                <a:gd name="T32" fmla="*/ 426 w 502"/>
                <a:gd name="T33" fmla="*/ 321 h 575"/>
                <a:gd name="T34" fmla="*/ 430 w 502"/>
                <a:gd name="T35" fmla="*/ 336 h 575"/>
                <a:gd name="T36" fmla="*/ 438 w 502"/>
                <a:gd name="T37" fmla="*/ 347 h 575"/>
                <a:gd name="T38" fmla="*/ 405 w 502"/>
                <a:gd name="T39" fmla="*/ 358 h 575"/>
                <a:gd name="T40" fmla="*/ 382 w 502"/>
                <a:gd name="T41" fmla="*/ 381 h 575"/>
                <a:gd name="T42" fmla="*/ 366 w 502"/>
                <a:gd name="T43" fmla="*/ 410 h 575"/>
                <a:gd name="T44" fmla="*/ 363 w 502"/>
                <a:gd name="T45" fmla="*/ 449 h 575"/>
                <a:gd name="T46" fmla="*/ 389 w 502"/>
                <a:gd name="T47" fmla="*/ 473 h 575"/>
                <a:gd name="T48" fmla="*/ 387 w 502"/>
                <a:gd name="T49" fmla="*/ 484 h 575"/>
                <a:gd name="T50" fmla="*/ 409 w 502"/>
                <a:gd name="T51" fmla="*/ 497 h 575"/>
                <a:gd name="T52" fmla="*/ 393 w 502"/>
                <a:gd name="T53" fmla="*/ 527 h 575"/>
                <a:gd name="T54" fmla="*/ 403 w 502"/>
                <a:gd name="T55" fmla="*/ 552 h 575"/>
                <a:gd name="T56" fmla="*/ 391 w 502"/>
                <a:gd name="T57" fmla="*/ 568 h 575"/>
                <a:gd name="T58" fmla="*/ 348 w 502"/>
                <a:gd name="T59" fmla="*/ 575 h 575"/>
                <a:gd name="T60" fmla="*/ 336 w 502"/>
                <a:gd name="T61" fmla="*/ 556 h 575"/>
                <a:gd name="T62" fmla="*/ 307 w 502"/>
                <a:gd name="T63" fmla="*/ 536 h 575"/>
                <a:gd name="T64" fmla="*/ 284 w 502"/>
                <a:gd name="T65" fmla="*/ 543 h 575"/>
                <a:gd name="T66" fmla="*/ 261 w 502"/>
                <a:gd name="T67" fmla="*/ 548 h 575"/>
                <a:gd name="T68" fmla="*/ 232 w 502"/>
                <a:gd name="T69" fmla="*/ 532 h 575"/>
                <a:gd name="T70" fmla="*/ 205 w 502"/>
                <a:gd name="T71" fmla="*/ 498 h 575"/>
                <a:gd name="T72" fmla="*/ 182 w 502"/>
                <a:gd name="T73" fmla="*/ 490 h 575"/>
                <a:gd name="T74" fmla="*/ 166 w 502"/>
                <a:gd name="T75" fmla="*/ 499 h 575"/>
                <a:gd name="T76" fmla="*/ 140 w 502"/>
                <a:gd name="T77" fmla="*/ 473 h 575"/>
                <a:gd name="T78" fmla="*/ 122 w 502"/>
                <a:gd name="T79" fmla="*/ 469 h 575"/>
                <a:gd name="T80" fmla="*/ 92 w 502"/>
                <a:gd name="T81" fmla="*/ 479 h 575"/>
                <a:gd name="T82" fmla="*/ 71 w 502"/>
                <a:gd name="T83" fmla="*/ 455 h 575"/>
                <a:gd name="T84" fmla="*/ 70 w 502"/>
                <a:gd name="T85" fmla="*/ 449 h 575"/>
                <a:gd name="T86" fmla="*/ 37 w 502"/>
                <a:gd name="T87" fmla="*/ 409 h 575"/>
                <a:gd name="T88" fmla="*/ 28 w 502"/>
                <a:gd name="T89" fmla="*/ 385 h 575"/>
                <a:gd name="T90" fmla="*/ 47 w 502"/>
                <a:gd name="T91" fmla="*/ 383 h 575"/>
                <a:gd name="T92" fmla="*/ 65 w 502"/>
                <a:gd name="T93" fmla="*/ 371 h 575"/>
                <a:gd name="T94" fmla="*/ 68 w 502"/>
                <a:gd name="T95" fmla="*/ 338 h 575"/>
                <a:gd name="T96" fmla="*/ 33 w 502"/>
                <a:gd name="T97" fmla="*/ 290 h 575"/>
                <a:gd name="T98" fmla="*/ 7 w 502"/>
                <a:gd name="T99" fmla="*/ 238 h 575"/>
                <a:gd name="T100" fmla="*/ 17 w 502"/>
                <a:gd name="T101" fmla="*/ 207 h 575"/>
                <a:gd name="T102" fmla="*/ 21 w 502"/>
                <a:gd name="T103" fmla="*/ 176 h 575"/>
                <a:gd name="T104" fmla="*/ 34 w 502"/>
                <a:gd name="T105" fmla="*/ 133 h 575"/>
                <a:gd name="T106" fmla="*/ 54 w 502"/>
                <a:gd name="T107" fmla="*/ 118 h 575"/>
                <a:gd name="T108" fmla="*/ 56 w 502"/>
                <a:gd name="T109" fmla="*/ 101 h 575"/>
                <a:gd name="T110" fmla="*/ 74 w 502"/>
                <a:gd name="T111" fmla="*/ 92 h 575"/>
                <a:gd name="T112" fmla="*/ 101 w 502"/>
                <a:gd name="T113" fmla="*/ 46 h 575"/>
                <a:gd name="T114" fmla="*/ 134 w 502"/>
                <a:gd name="T115" fmla="*/ 57 h 575"/>
                <a:gd name="T116" fmla="*/ 150 w 502"/>
                <a:gd name="T117" fmla="*/ 43 h 575"/>
                <a:gd name="T118" fmla="*/ 170 w 502"/>
                <a:gd name="T119" fmla="*/ 8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2" h="575">
                  <a:moveTo>
                    <a:pt x="182" y="0"/>
                  </a:moveTo>
                  <a:lnTo>
                    <a:pt x="183" y="0"/>
                  </a:lnTo>
                  <a:lnTo>
                    <a:pt x="184" y="1"/>
                  </a:lnTo>
                  <a:lnTo>
                    <a:pt x="185" y="2"/>
                  </a:lnTo>
                  <a:lnTo>
                    <a:pt x="186" y="3"/>
                  </a:lnTo>
                  <a:lnTo>
                    <a:pt x="187" y="3"/>
                  </a:lnTo>
                  <a:lnTo>
                    <a:pt x="190" y="8"/>
                  </a:lnTo>
                  <a:lnTo>
                    <a:pt x="192" y="10"/>
                  </a:lnTo>
                  <a:lnTo>
                    <a:pt x="193" y="12"/>
                  </a:lnTo>
                  <a:lnTo>
                    <a:pt x="193" y="14"/>
                  </a:lnTo>
                  <a:lnTo>
                    <a:pt x="195" y="15"/>
                  </a:lnTo>
                  <a:lnTo>
                    <a:pt x="197" y="16"/>
                  </a:lnTo>
                  <a:lnTo>
                    <a:pt x="199" y="17"/>
                  </a:lnTo>
                  <a:lnTo>
                    <a:pt x="202" y="19"/>
                  </a:lnTo>
                  <a:lnTo>
                    <a:pt x="205" y="20"/>
                  </a:lnTo>
                  <a:lnTo>
                    <a:pt x="210" y="22"/>
                  </a:lnTo>
                  <a:lnTo>
                    <a:pt x="214" y="23"/>
                  </a:lnTo>
                  <a:lnTo>
                    <a:pt x="217" y="24"/>
                  </a:lnTo>
                  <a:lnTo>
                    <a:pt x="220" y="24"/>
                  </a:lnTo>
                  <a:lnTo>
                    <a:pt x="223" y="25"/>
                  </a:lnTo>
                  <a:lnTo>
                    <a:pt x="232" y="25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7"/>
                  </a:lnTo>
                  <a:lnTo>
                    <a:pt x="241" y="32"/>
                  </a:lnTo>
                  <a:lnTo>
                    <a:pt x="248" y="40"/>
                  </a:lnTo>
                  <a:lnTo>
                    <a:pt x="250" y="44"/>
                  </a:lnTo>
                  <a:lnTo>
                    <a:pt x="253" y="47"/>
                  </a:lnTo>
                  <a:lnTo>
                    <a:pt x="255" y="48"/>
                  </a:lnTo>
                  <a:lnTo>
                    <a:pt x="257" y="50"/>
                  </a:lnTo>
                  <a:lnTo>
                    <a:pt x="260" y="52"/>
                  </a:lnTo>
                  <a:lnTo>
                    <a:pt x="261" y="53"/>
                  </a:lnTo>
                  <a:lnTo>
                    <a:pt x="263" y="54"/>
                  </a:lnTo>
                  <a:lnTo>
                    <a:pt x="265" y="54"/>
                  </a:lnTo>
                  <a:lnTo>
                    <a:pt x="266" y="55"/>
                  </a:lnTo>
                  <a:lnTo>
                    <a:pt x="270" y="55"/>
                  </a:lnTo>
                  <a:lnTo>
                    <a:pt x="283" y="55"/>
                  </a:lnTo>
                  <a:lnTo>
                    <a:pt x="284" y="55"/>
                  </a:lnTo>
                  <a:lnTo>
                    <a:pt x="287" y="56"/>
                  </a:lnTo>
                  <a:lnTo>
                    <a:pt x="289" y="57"/>
                  </a:lnTo>
                  <a:lnTo>
                    <a:pt x="292" y="57"/>
                  </a:lnTo>
                  <a:lnTo>
                    <a:pt x="295" y="58"/>
                  </a:lnTo>
                  <a:lnTo>
                    <a:pt x="299" y="60"/>
                  </a:lnTo>
                  <a:lnTo>
                    <a:pt x="301" y="61"/>
                  </a:lnTo>
                  <a:lnTo>
                    <a:pt x="303" y="61"/>
                  </a:lnTo>
                  <a:lnTo>
                    <a:pt x="311" y="63"/>
                  </a:lnTo>
                  <a:lnTo>
                    <a:pt x="321" y="67"/>
                  </a:lnTo>
                  <a:lnTo>
                    <a:pt x="329" y="69"/>
                  </a:lnTo>
                  <a:lnTo>
                    <a:pt x="330" y="70"/>
                  </a:lnTo>
                  <a:lnTo>
                    <a:pt x="332" y="71"/>
                  </a:lnTo>
                  <a:lnTo>
                    <a:pt x="343" y="77"/>
                  </a:lnTo>
                  <a:lnTo>
                    <a:pt x="352" y="80"/>
                  </a:lnTo>
                  <a:lnTo>
                    <a:pt x="354" y="82"/>
                  </a:lnTo>
                  <a:lnTo>
                    <a:pt x="358" y="83"/>
                  </a:lnTo>
                  <a:lnTo>
                    <a:pt x="363" y="86"/>
                  </a:lnTo>
                  <a:lnTo>
                    <a:pt x="365" y="88"/>
                  </a:lnTo>
                  <a:lnTo>
                    <a:pt x="368" y="90"/>
                  </a:lnTo>
                  <a:lnTo>
                    <a:pt x="372" y="93"/>
                  </a:lnTo>
                  <a:lnTo>
                    <a:pt x="375" y="96"/>
                  </a:lnTo>
                  <a:lnTo>
                    <a:pt x="384" y="106"/>
                  </a:lnTo>
                  <a:lnTo>
                    <a:pt x="387" y="110"/>
                  </a:lnTo>
                  <a:lnTo>
                    <a:pt x="389" y="113"/>
                  </a:lnTo>
                  <a:lnTo>
                    <a:pt x="393" y="118"/>
                  </a:lnTo>
                  <a:lnTo>
                    <a:pt x="395" y="120"/>
                  </a:lnTo>
                  <a:lnTo>
                    <a:pt x="398" y="124"/>
                  </a:lnTo>
                  <a:lnTo>
                    <a:pt x="402" y="127"/>
                  </a:lnTo>
                  <a:lnTo>
                    <a:pt x="405" y="128"/>
                  </a:lnTo>
                  <a:lnTo>
                    <a:pt x="407" y="129"/>
                  </a:lnTo>
                  <a:lnTo>
                    <a:pt x="409" y="130"/>
                  </a:lnTo>
                  <a:lnTo>
                    <a:pt x="411" y="131"/>
                  </a:lnTo>
                  <a:lnTo>
                    <a:pt x="416" y="132"/>
                  </a:lnTo>
                  <a:lnTo>
                    <a:pt x="419" y="133"/>
                  </a:lnTo>
                  <a:lnTo>
                    <a:pt x="429" y="136"/>
                  </a:lnTo>
                  <a:lnTo>
                    <a:pt x="438" y="139"/>
                  </a:lnTo>
                  <a:lnTo>
                    <a:pt x="442" y="140"/>
                  </a:lnTo>
                  <a:lnTo>
                    <a:pt x="445" y="142"/>
                  </a:lnTo>
                  <a:lnTo>
                    <a:pt x="449" y="144"/>
                  </a:lnTo>
                  <a:lnTo>
                    <a:pt x="457" y="150"/>
                  </a:lnTo>
                  <a:lnTo>
                    <a:pt x="464" y="154"/>
                  </a:lnTo>
                  <a:lnTo>
                    <a:pt x="466" y="156"/>
                  </a:lnTo>
                  <a:lnTo>
                    <a:pt x="469" y="158"/>
                  </a:lnTo>
                  <a:lnTo>
                    <a:pt x="471" y="161"/>
                  </a:lnTo>
                  <a:lnTo>
                    <a:pt x="474" y="164"/>
                  </a:lnTo>
                  <a:lnTo>
                    <a:pt x="485" y="179"/>
                  </a:lnTo>
                  <a:lnTo>
                    <a:pt x="486" y="179"/>
                  </a:lnTo>
                  <a:lnTo>
                    <a:pt x="485" y="182"/>
                  </a:lnTo>
                  <a:lnTo>
                    <a:pt x="485" y="184"/>
                  </a:lnTo>
                  <a:lnTo>
                    <a:pt x="484" y="188"/>
                  </a:lnTo>
                  <a:lnTo>
                    <a:pt x="483" y="193"/>
                  </a:lnTo>
                  <a:lnTo>
                    <a:pt x="482" y="196"/>
                  </a:lnTo>
                  <a:lnTo>
                    <a:pt x="477" y="207"/>
                  </a:lnTo>
                  <a:lnTo>
                    <a:pt x="477" y="209"/>
                  </a:lnTo>
                  <a:lnTo>
                    <a:pt x="477" y="211"/>
                  </a:lnTo>
                  <a:lnTo>
                    <a:pt x="476" y="212"/>
                  </a:lnTo>
                  <a:lnTo>
                    <a:pt x="476" y="213"/>
                  </a:lnTo>
                  <a:lnTo>
                    <a:pt x="477" y="214"/>
                  </a:lnTo>
                  <a:lnTo>
                    <a:pt x="477" y="217"/>
                  </a:lnTo>
                  <a:lnTo>
                    <a:pt x="478" y="218"/>
                  </a:lnTo>
                  <a:lnTo>
                    <a:pt x="479" y="220"/>
                  </a:lnTo>
                  <a:lnTo>
                    <a:pt x="481" y="222"/>
                  </a:lnTo>
                  <a:lnTo>
                    <a:pt x="484" y="224"/>
                  </a:lnTo>
                  <a:lnTo>
                    <a:pt x="486" y="225"/>
                  </a:lnTo>
                  <a:lnTo>
                    <a:pt x="492" y="229"/>
                  </a:lnTo>
                  <a:lnTo>
                    <a:pt x="495" y="230"/>
                  </a:lnTo>
                  <a:lnTo>
                    <a:pt x="496" y="231"/>
                  </a:lnTo>
                  <a:lnTo>
                    <a:pt x="497" y="232"/>
                  </a:lnTo>
                  <a:lnTo>
                    <a:pt x="498" y="233"/>
                  </a:lnTo>
                  <a:lnTo>
                    <a:pt x="499" y="234"/>
                  </a:lnTo>
                  <a:lnTo>
                    <a:pt x="500" y="236"/>
                  </a:lnTo>
                  <a:lnTo>
                    <a:pt x="500" y="238"/>
                  </a:lnTo>
                  <a:lnTo>
                    <a:pt x="501" y="240"/>
                  </a:lnTo>
                  <a:lnTo>
                    <a:pt x="501" y="241"/>
                  </a:lnTo>
                  <a:lnTo>
                    <a:pt x="502" y="243"/>
                  </a:lnTo>
                  <a:lnTo>
                    <a:pt x="502" y="245"/>
                  </a:lnTo>
                  <a:lnTo>
                    <a:pt x="501" y="248"/>
                  </a:lnTo>
                  <a:lnTo>
                    <a:pt x="501" y="250"/>
                  </a:lnTo>
                  <a:lnTo>
                    <a:pt x="500" y="252"/>
                  </a:lnTo>
                  <a:lnTo>
                    <a:pt x="500" y="255"/>
                  </a:lnTo>
                  <a:lnTo>
                    <a:pt x="498" y="258"/>
                  </a:lnTo>
                  <a:lnTo>
                    <a:pt x="496" y="261"/>
                  </a:lnTo>
                  <a:lnTo>
                    <a:pt x="493" y="264"/>
                  </a:lnTo>
                  <a:lnTo>
                    <a:pt x="490" y="269"/>
                  </a:lnTo>
                  <a:lnTo>
                    <a:pt x="488" y="271"/>
                  </a:lnTo>
                  <a:lnTo>
                    <a:pt x="484" y="274"/>
                  </a:lnTo>
                  <a:lnTo>
                    <a:pt x="482" y="275"/>
                  </a:lnTo>
                  <a:lnTo>
                    <a:pt x="480" y="276"/>
                  </a:lnTo>
                  <a:lnTo>
                    <a:pt x="479" y="277"/>
                  </a:lnTo>
                  <a:lnTo>
                    <a:pt x="477" y="277"/>
                  </a:lnTo>
                  <a:lnTo>
                    <a:pt x="475" y="278"/>
                  </a:lnTo>
                  <a:lnTo>
                    <a:pt x="473" y="278"/>
                  </a:lnTo>
                  <a:lnTo>
                    <a:pt x="472" y="278"/>
                  </a:lnTo>
                  <a:lnTo>
                    <a:pt x="467" y="277"/>
                  </a:lnTo>
                  <a:lnTo>
                    <a:pt x="466" y="277"/>
                  </a:lnTo>
                  <a:lnTo>
                    <a:pt x="465" y="277"/>
                  </a:lnTo>
                  <a:lnTo>
                    <a:pt x="464" y="277"/>
                  </a:lnTo>
                  <a:lnTo>
                    <a:pt x="464" y="278"/>
                  </a:lnTo>
                  <a:lnTo>
                    <a:pt x="463" y="279"/>
                  </a:lnTo>
                  <a:lnTo>
                    <a:pt x="463" y="280"/>
                  </a:lnTo>
                  <a:lnTo>
                    <a:pt x="464" y="281"/>
                  </a:lnTo>
                  <a:lnTo>
                    <a:pt x="464" y="283"/>
                  </a:lnTo>
                  <a:lnTo>
                    <a:pt x="465" y="284"/>
                  </a:lnTo>
                  <a:lnTo>
                    <a:pt x="466" y="286"/>
                  </a:lnTo>
                  <a:lnTo>
                    <a:pt x="466" y="286"/>
                  </a:lnTo>
                  <a:lnTo>
                    <a:pt x="468" y="289"/>
                  </a:lnTo>
                  <a:lnTo>
                    <a:pt x="471" y="291"/>
                  </a:lnTo>
                  <a:lnTo>
                    <a:pt x="473" y="293"/>
                  </a:lnTo>
                  <a:lnTo>
                    <a:pt x="478" y="297"/>
                  </a:lnTo>
                  <a:lnTo>
                    <a:pt x="482" y="300"/>
                  </a:lnTo>
                  <a:lnTo>
                    <a:pt x="484" y="301"/>
                  </a:lnTo>
                  <a:lnTo>
                    <a:pt x="485" y="302"/>
                  </a:lnTo>
                  <a:lnTo>
                    <a:pt x="486" y="302"/>
                  </a:lnTo>
                  <a:lnTo>
                    <a:pt x="485" y="304"/>
                  </a:lnTo>
                  <a:lnTo>
                    <a:pt x="481" y="311"/>
                  </a:lnTo>
                  <a:lnTo>
                    <a:pt x="477" y="320"/>
                  </a:lnTo>
                  <a:lnTo>
                    <a:pt x="477" y="321"/>
                  </a:lnTo>
                  <a:lnTo>
                    <a:pt x="476" y="323"/>
                  </a:lnTo>
                  <a:lnTo>
                    <a:pt x="475" y="325"/>
                  </a:lnTo>
                  <a:lnTo>
                    <a:pt x="473" y="327"/>
                  </a:lnTo>
                  <a:lnTo>
                    <a:pt x="472" y="328"/>
                  </a:lnTo>
                  <a:lnTo>
                    <a:pt x="471" y="328"/>
                  </a:lnTo>
                  <a:lnTo>
                    <a:pt x="469" y="329"/>
                  </a:lnTo>
                  <a:lnTo>
                    <a:pt x="467" y="330"/>
                  </a:lnTo>
                  <a:lnTo>
                    <a:pt x="466" y="330"/>
                  </a:lnTo>
                  <a:lnTo>
                    <a:pt x="464" y="329"/>
                  </a:lnTo>
                  <a:lnTo>
                    <a:pt x="463" y="329"/>
                  </a:lnTo>
                  <a:lnTo>
                    <a:pt x="462" y="329"/>
                  </a:lnTo>
                  <a:lnTo>
                    <a:pt x="461" y="328"/>
                  </a:lnTo>
                  <a:lnTo>
                    <a:pt x="460" y="328"/>
                  </a:lnTo>
                  <a:lnTo>
                    <a:pt x="459" y="326"/>
                  </a:lnTo>
                  <a:lnTo>
                    <a:pt x="457" y="324"/>
                  </a:lnTo>
                  <a:lnTo>
                    <a:pt x="456" y="321"/>
                  </a:lnTo>
                  <a:lnTo>
                    <a:pt x="454" y="318"/>
                  </a:lnTo>
                  <a:lnTo>
                    <a:pt x="453" y="316"/>
                  </a:lnTo>
                  <a:lnTo>
                    <a:pt x="452" y="315"/>
                  </a:lnTo>
                  <a:lnTo>
                    <a:pt x="451" y="314"/>
                  </a:lnTo>
                  <a:lnTo>
                    <a:pt x="450" y="313"/>
                  </a:lnTo>
                  <a:lnTo>
                    <a:pt x="449" y="313"/>
                  </a:lnTo>
                  <a:lnTo>
                    <a:pt x="446" y="312"/>
                  </a:lnTo>
                  <a:lnTo>
                    <a:pt x="443" y="312"/>
                  </a:lnTo>
                  <a:lnTo>
                    <a:pt x="442" y="312"/>
                  </a:lnTo>
                  <a:lnTo>
                    <a:pt x="439" y="313"/>
                  </a:lnTo>
                  <a:lnTo>
                    <a:pt x="437" y="314"/>
                  </a:lnTo>
                  <a:lnTo>
                    <a:pt x="434" y="315"/>
                  </a:lnTo>
                  <a:lnTo>
                    <a:pt x="432" y="317"/>
                  </a:lnTo>
                  <a:lnTo>
                    <a:pt x="430" y="319"/>
                  </a:lnTo>
                  <a:lnTo>
                    <a:pt x="428" y="320"/>
                  </a:lnTo>
                  <a:lnTo>
                    <a:pt x="426" y="321"/>
                  </a:lnTo>
                  <a:lnTo>
                    <a:pt x="422" y="325"/>
                  </a:lnTo>
                  <a:lnTo>
                    <a:pt x="421" y="327"/>
                  </a:lnTo>
                  <a:lnTo>
                    <a:pt x="420" y="329"/>
                  </a:lnTo>
                  <a:lnTo>
                    <a:pt x="420" y="330"/>
                  </a:lnTo>
                  <a:lnTo>
                    <a:pt x="419" y="331"/>
                  </a:lnTo>
                  <a:lnTo>
                    <a:pt x="420" y="332"/>
                  </a:lnTo>
                  <a:lnTo>
                    <a:pt x="420" y="332"/>
                  </a:lnTo>
                  <a:lnTo>
                    <a:pt x="420" y="333"/>
                  </a:lnTo>
                  <a:lnTo>
                    <a:pt x="421" y="333"/>
                  </a:lnTo>
                  <a:lnTo>
                    <a:pt x="423" y="334"/>
                  </a:lnTo>
                  <a:lnTo>
                    <a:pt x="430" y="336"/>
                  </a:lnTo>
                  <a:lnTo>
                    <a:pt x="432" y="337"/>
                  </a:lnTo>
                  <a:lnTo>
                    <a:pt x="433" y="337"/>
                  </a:lnTo>
                  <a:lnTo>
                    <a:pt x="434" y="338"/>
                  </a:lnTo>
                  <a:lnTo>
                    <a:pt x="435" y="339"/>
                  </a:lnTo>
                  <a:lnTo>
                    <a:pt x="437" y="340"/>
                  </a:lnTo>
                  <a:lnTo>
                    <a:pt x="438" y="341"/>
                  </a:lnTo>
                  <a:lnTo>
                    <a:pt x="439" y="343"/>
                  </a:lnTo>
                  <a:lnTo>
                    <a:pt x="439" y="343"/>
                  </a:lnTo>
                  <a:lnTo>
                    <a:pt x="439" y="344"/>
                  </a:lnTo>
                  <a:lnTo>
                    <a:pt x="439" y="346"/>
                  </a:lnTo>
                  <a:lnTo>
                    <a:pt x="438" y="347"/>
                  </a:lnTo>
                  <a:lnTo>
                    <a:pt x="437" y="349"/>
                  </a:lnTo>
                  <a:lnTo>
                    <a:pt x="436" y="351"/>
                  </a:lnTo>
                  <a:lnTo>
                    <a:pt x="435" y="352"/>
                  </a:lnTo>
                  <a:lnTo>
                    <a:pt x="434" y="353"/>
                  </a:lnTo>
                  <a:lnTo>
                    <a:pt x="432" y="354"/>
                  </a:lnTo>
                  <a:lnTo>
                    <a:pt x="430" y="354"/>
                  </a:lnTo>
                  <a:lnTo>
                    <a:pt x="426" y="355"/>
                  </a:lnTo>
                  <a:lnTo>
                    <a:pt x="420" y="356"/>
                  </a:lnTo>
                  <a:lnTo>
                    <a:pt x="416" y="357"/>
                  </a:lnTo>
                  <a:lnTo>
                    <a:pt x="409" y="357"/>
                  </a:lnTo>
                  <a:lnTo>
                    <a:pt x="405" y="358"/>
                  </a:lnTo>
                  <a:lnTo>
                    <a:pt x="402" y="359"/>
                  </a:lnTo>
                  <a:lnTo>
                    <a:pt x="399" y="360"/>
                  </a:lnTo>
                  <a:lnTo>
                    <a:pt x="397" y="362"/>
                  </a:lnTo>
                  <a:lnTo>
                    <a:pt x="395" y="364"/>
                  </a:lnTo>
                  <a:lnTo>
                    <a:pt x="393" y="365"/>
                  </a:lnTo>
                  <a:lnTo>
                    <a:pt x="392" y="366"/>
                  </a:lnTo>
                  <a:lnTo>
                    <a:pt x="390" y="367"/>
                  </a:lnTo>
                  <a:lnTo>
                    <a:pt x="388" y="370"/>
                  </a:lnTo>
                  <a:lnTo>
                    <a:pt x="387" y="372"/>
                  </a:lnTo>
                  <a:lnTo>
                    <a:pt x="386" y="375"/>
                  </a:lnTo>
                  <a:lnTo>
                    <a:pt x="382" y="381"/>
                  </a:lnTo>
                  <a:lnTo>
                    <a:pt x="381" y="384"/>
                  </a:lnTo>
                  <a:lnTo>
                    <a:pt x="379" y="386"/>
                  </a:lnTo>
                  <a:lnTo>
                    <a:pt x="375" y="391"/>
                  </a:lnTo>
                  <a:lnTo>
                    <a:pt x="373" y="394"/>
                  </a:lnTo>
                  <a:lnTo>
                    <a:pt x="371" y="396"/>
                  </a:lnTo>
                  <a:lnTo>
                    <a:pt x="370" y="399"/>
                  </a:lnTo>
                  <a:lnTo>
                    <a:pt x="368" y="401"/>
                  </a:lnTo>
                  <a:lnTo>
                    <a:pt x="367" y="403"/>
                  </a:lnTo>
                  <a:lnTo>
                    <a:pt x="366" y="405"/>
                  </a:lnTo>
                  <a:lnTo>
                    <a:pt x="366" y="408"/>
                  </a:lnTo>
                  <a:lnTo>
                    <a:pt x="366" y="410"/>
                  </a:lnTo>
                  <a:lnTo>
                    <a:pt x="366" y="417"/>
                  </a:lnTo>
                  <a:lnTo>
                    <a:pt x="365" y="422"/>
                  </a:lnTo>
                  <a:lnTo>
                    <a:pt x="365" y="425"/>
                  </a:lnTo>
                  <a:lnTo>
                    <a:pt x="363" y="431"/>
                  </a:lnTo>
                  <a:lnTo>
                    <a:pt x="362" y="439"/>
                  </a:lnTo>
                  <a:lnTo>
                    <a:pt x="362" y="442"/>
                  </a:lnTo>
                  <a:lnTo>
                    <a:pt x="362" y="444"/>
                  </a:lnTo>
                  <a:lnTo>
                    <a:pt x="362" y="445"/>
                  </a:lnTo>
                  <a:lnTo>
                    <a:pt x="362" y="446"/>
                  </a:lnTo>
                  <a:lnTo>
                    <a:pt x="362" y="448"/>
                  </a:lnTo>
                  <a:lnTo>
                    <a:pt x="363" y="449"/>
                  </a:lnTo>
                  <a:lnTo>
                    <a:pt x="363" y="451"/>
                  </a:lnTo>
                  <a:lnTo>
                    <a:pt x="364" y="452"/>
                  </a:lnTo>
                  <a:lnTo>
                    <a:pt x="366" y="454"/>
                  </a:lnTo>
                  <a:lnTo>
                    <a:pt x="375" y="460"/>
                  </a:lnTo>
                  <a:lnTo>
                    <a:pt x="387" y="468"/>
                  </a:lnTo>
                  <a:lnTo>
                    <a:pt x="388" y="469"/>
                  </a:lnTo>
                  <a:lnTo>
                    <a:pt x="389" y="470"/>
                  </a:lnTo>
                  <a:lnTo>
                    <a:pt x="389" y="471"/>
                  </a:lnTo>
                  <a:lnTo>
                    <a:pt x="390" y="472"/>
                  </a:lnTo>
                  <a:lnTo>
                    <a:pt x="389" y="472"/>
                  </a:lnTo>
                  <a:lnTo>
                    <a:pt x="389" y="473"/>
                  </a:lnTo>
                  <a:lnTo>
                    <a:pt x="388" y="474"/>
                  </a:lnTo>
                  <a:lnTo>
                    <a:pt x="386" y="476"/>
                  </a:lnTo>
                  <a:lnTo>
                    <a:pt x="385" y="477"/>
                  </a:lnTo>
                  <a:lnTo>
                    <a:pt x="384" y="478"/>
                  </a:lnTo>
                  <a:lnTo>
                    <a:pt x="384" y="479"/>
                  </a:lnTo>
                  <a:lnTo>
                    <a:pt x="384" y="479"/>
                  </a:lnTo>
                  <a:lnTo>
                    <a:pt x="384" y="480"/>
                  </a:lnTo>
                  <a:lnTo>
                    <a:pt x="384" y="481"/>
                  </a:lnTo>
                  <a:lnTo>
                    <a:pt x="385" y="482"/>
                  </a:lnTo>
                  <a:lnTo>
                    <a:pt x="386" y="483"/>
                  </a:lnTo>
                  <a:lnTo>
                    <a:pt x="387" y="484"/>
                  </a:lnTo>
                  <a:lnTo>
                    <a:pt x="389" y="485"/>
                  </a:lnTo>
                  <a:lnTo>
                    <a:pt x="391" y="486"/>
                  </a:lnTo>
                  <a:lnTo>
                    <a:pt x="394" y="487"/>
                  </a:lnTo>
                  <a:lnTo>
                    <a:pt x="397" y="488"/>
                  </a:lnTo>
                  <a:lnTo>
                    <a:pt x="403" y="490"/>
                  </a:lnTo>
                  <a:lnTo>
                    <a:pt x="404" y="490"/>
                  </a:lnTo>
                  <a:lnTo>
                    <a:pt x="406" y="490"/>
                  </a:lnTo>
                  <a:lnTo>
                    <a:pt x="407" y="491"/>
                  </a:lnTo>
                  <a:lnTo>
                    <a:pt x="408" y="493"/>
                  </a:lnTo>
                  <a:lnTo>
                    <a:pt x="409" y="495"/>
                  </a:lnTo>
                  <a:lnTo>
                    <a:pt x="409" y="497"/>
                  </a:lnTo>
                  <a:lnTo>
                    <a:pt x="409" y="499"/>
                  </a:lnTo>
                  <a:lnTo>
                    <a:pt x="409" y="501"/>
                  </a:lnTo>
                  <a:lnTo>
                    <a:pt x="408" y="503"/>
                  </a:lnTo>
                  <a:lnTo>
                    <a:pt x="407" y="505"/>
                  </a:lnTo>
                  <a:lnTo>
                    <a:pt x="405" y="509"/>
                  </a:lnTo>
                  <a:lnTo>
                    <a:pt x="402" y="513"/>
                  </a:lnTo>
                  <a:lnTo>
                    <a:pt x="399" y="516"/>
                  </a:lnTo>
                  <a:lnTo>
                    <a:pt x="396" y="521"/>
                  </a:lnTo>
                  <a:lnTo>
                    <a:pt x="394" y="524"/>
                  </a:lnTo>
                  <a:lnTo>
                    <a:pt x="393" y="525"/>
                  </a:lnTo>
                  <a:lnTo>
                    <a:pt x="393" y="527"/>
                  </a:lnTo>
                  <a:lnTo>
                    <a:pt x="392" y="529"/>
                  </a:lnTo>
                  <a:lnTo>
                    <a:pt x="392" y="531"/>
                  </a:lnTo>
                  <a:lnTo>
                    <a:pt x="392" y="533"/>
                  </a:lnTo>
                  <a:lnTo>
                    <a:pt x="392" y="535"/>
                  </a:lnTo>
                  <a:lnTo>
                    <a:pt x="393" y="537"/>
                  </a:lnTo>
                  <a:lnTo>
                    <a:pt x="394" y="539"/>
                  </a:lnTo>
                  <a:lnTo>
                    <a:pt x="395" y="541"/>
                  </a:lnTo>
                  <a:lnTo>
                    <a:pt x="396" y="543"/>
                  </a:lnTo>
                  <a:lnTo>
                    <a:pt x="401" y="549"/>
                  </a:lnTo>
                  <a:lnTo>
                    <a:pt x="402" y="551"/>
                  </a:lnTo>
                  <a:lnTo>
                    <a:pt x="403" y="552"/>
                  </a:lnTo>
                  <a:lnTo>
                    <a:pt x="403" y="554"/>
                  </a:lnTo>
                  <a:lnTo>
                    <a:pt x="403" y="556"/>
                  </a:lnTo>
                  <a:lnTo>
                    <a:pt x="403" y="557"/>
                  </a:lnTo>
                  <a:lnTo>
                    <a:pt x="403" y="558"/>
                  </a:lnTo>
                  <a:lnTo>
                    <a:pt x="402" y="559"/>
                  </a:lnTo>
                  <a:lnTo>
                    <a:pt x="402" y="560"/>
                  </a:lnTo>
                  <a:lnTo>
                    <a:pt x="400" y="562"/>
                  </a:lnTo>
                  <a:lnTo>
                    <a:pt x="399" y="564"/>
                  </a:lnTo>
                  <a:lnTo>
                    <a:pt x="397" y="565"/>
                  </a:lnTo>
                  <a:lnTo>
                    <a:pt x="394" y="567"/>
                  </a:lnTo>
                  <a:lnTo>
                    <a:pt x="391" y="568"/>
                  </a:lnTo>
                  <a:lnTo>
                    <a:pt x="389" y="568"/>
                  </a:lnTo>
                  <a:lnTo>
                    <a:pt x="383" y="570"/>
                  </a:lnTo>
                  <a:lnTo>
                    <a:pt x="380" y="569"/>
                  </a:lnTo>
                  <a:lnTo>
                    <a:pt x="375" y="570"/>
                  </a:lnTo>
                  <a:lnTo>
                    <a:pt x="372" y="570"/>
                  </a:lnTo>
                  <a:lnTo>
                    <a:pt x="366" y="570"/>
                  </a:lnTo>
                  <a:lnTo>
                    <a:pt x="361" y="571"/>
                  </a:lnTo>
                  <a:lnTo>
                    <a:pt x="358" y="572"/>
                  </a:lnTo>
                  <a:lnTo>
                    <a:pt x="352" y="574"/>
                  </a:lnTo>
                  <a:lnTo>
                    <a:pt x="350" y="575"/>
                  </a:lnTo>
                  <a:lnTo>
                    <a:pt x="348" y="575"/>
                  </a:lnTo>
                  <a:lnTo>
                    <a:pt x="346" y="575"/>
                  </a:lnTo>
                  <a:lnTo>
                    <a:pt x="343" y="573"/>
                  </a:lnTo>
                  <a:lnTo>
                    <a:pt x="342" y="572"/>
                  </a:lnTo>
                  <a:lnTo>
                    <a:pt x="341" y="570"/>
                  </a:lnTo>
                  <a:lnTo>
                    <a:pt x="339" y="569"/>
                  </a:lnTo>
                  <a:lnTo>
                    <a:pt x="339" y="567"/>
                  </a:lnTo>
                  <a:lnTo>
                    <a:pt x="337" y="562"/>
                  </a:lnTo>
                  <a:lnTo>
                    <a:pt x="337" y="561"/>
                  </a:lnTo>
                  <a:lnTo>
                    <a:pt x="337" y="558"/>
                  </a:lnTo>
                  <a:lnTo>
                    <a:pt x="337" y="557"/>
                  </a:lnTo>
                  <a:lnTo>
                    <a:pt x="336" y="556"/>
                  </a:lnTo>
                  <a:lnTo>
                    <a:pt x="336" y="555"/>
                  </a:lnTo>
                  <a:lnTo>
                    <a:pt x="335" y="554"/>
                  </a:lnTo>
                  <a:lnTo>
                    <a:pt x="331" y="551"/>
                  </a:lnTo>
                  <a:lnTo>
                    <a:pt x="330" y="550"/>
                  </a:lnTo>
                  <a:lnTo>
                    <a:pt x="329" y="549"/>
                  </a:lnTo>
                  <a:lnTo>
                    <a:pt x="327" y="547"/>
                  </a:lnTo>
                  <a:lnTo>
                    <a:pt x="325" y="545"/>
                  </a:lnTo>
                  <a:lnTo>
                    <a:pt x="324" y="544"/>
                  </a:lnTo>
                  <a:lnTo>
                    <a:pt x="321" y="543"/>
                  </a:lnTo>
                  <a:lnTo>
                    <a:pt x="313" y="539"/>
                  </a:lnTo>
                  <a:lnTo>
                    <a:pt x="307" y="536"/>
                  </a:lnTo>
                  <a:lnTo>
                    <a:pt x="306" y="536"/>
                  </a:lnTo>
                  <a:lnTo>
                    <a:pt x="305" y="536"/>
                  </a:lnTo>
                  <a:lnTo>
                    <a:pt x="303" y="536"/>
                  </a:lnTo>
                  <a:lnTo>
                    <a:pt x="300" y="536"/>
                  </a:lnTo>
                  <a:lnTo>
                    <a:pt x="295" y="537"/>
                  </a:lnTo>
                  <a:lnTo>
                    <a:pt x="293" y="538"/>
                  </a:lnTo>
                  <a:lnTo>
                    <a:pt x="291" y="538"/>
                  </a:lnTo>
                  <a:lnTo>
                    <a:pt x="289" y="539"/>
                  </a:lnTo>
                  <a:lnTo>
                    <a:pt x="286" y="541"/>
                  </a:lnTo>
                  <a:lnTo>
                    <a:pt x="285" y="542"/>
                  </a:lnTo>
                  <a:lnTo>
                    <a:pt x="284" y="543"/>
                  </a:lnTo>
                  <a:lnTo>
                    <a:pt x="283" y="544"/>
                  </a:lnTo>
                  <a:lnTo>
                    <a:pt x="281" y="546"/>
                  </a:lnTo>
                  <a:lnTo>
                    <a:pt x="277" y="550"/>
                  </a:lnTo>
                  <a:lnTo>
                    <a:pt x="276" y="551"/>
                  </a:lnTo>
                  <a:lnTo>
                    <a:pt x="275" y="551"/>
                  </a:lnTo>
                  <a:lnTo>
                    <a:pt x="274" y="552"/>
                  </a:lnTo>
                  <a:lnTo>
                    <a:pt x="272" y="552"/>
                  </a:lnTo>
                  <a:lnTo>
                    <a:pt x="271" y="552"/>
                  </a:lnTo>
                  <a:lnTo>
                    <a:pt x="269" y="552"/>
                  </a:lnTo>
                  <a:lnTo>
                    <a:pt x="267" y="551"/>
                  </a:lnTo>
                  <a:lnTo>
                    <a:pt x="261" y="548"/>
                  </a:lnTo>
                  <a:lnTo>
                    <a:pt x="258" y="547"/>
                  </a:lnTo>
                  <a:lnTo>
                    <a:pt x="256" y="546"/>
                  </a:lnTo>
                  <a:lnTo>
                    <a:pt x="254" y="544"/>
                  </a:lnTo>
                  <a:lnTo>
                    <a:pt x="250" y="540"/>
                  </a:lnTo>
                  <a:lnTo>
                    <a:pt x="249" y="538"/>
                  </a:lnTo>
                  <a:lnTo>
                    <a:pt x="247" y="536"/>
                  </a:lnTo>
                  <a:lnTo>
                    <a:pt x="245" y="536"/>
                  </a:lnTo>
                  <a:lnTo>
                    <a:pt x="244" y="535"/>
                  </a:lnTo>
                  <a:lnTo>
                    <a:pt x="242" y="535"/>
                  </a:lnTo>
                  <a:lnTo>
                    <a:pt x="236" y="533"/>
                  </a:lnTo>
                  <a:lnTo>
                    <a:pt x="232" y="532"/>
                  </a:lnTo>
                  <a:lnTo>
                    <a:pt x="230" y="531"/>
                  </a:lnTo>
                  <a:lnTo>
                    <a:pt x="228" y="530"/>
                  </a:lnTo>
                  <a:lnTo>
                    <a:pt x="226" y="528"/>
                  </a:lnTo>
                  <a:lnTo>
                    <a:pt x="225" y="527"/>
                  </a:lnTo>
                  <a:lnTo>
                    <a:pt x="223" y="525"/>
                  </a:lnTo>
                  <a:lnTo>
                    <a:pt x="221" y="523"/>
                  </a:lnTo>
                  <a:lnTo>
                    <a:pt x="215" y="513"/>
                  </a:lnTo>
                  <a:lnTo>
                    <a:pt x="210" y="505"/>
                  </a:lnTo>
                  <a:lnTo>
                    <a:pt x="209" y="502"/>
                  </a:lnTo>
                  <a:lnTo>
                    <a:pt x="207" y="501"/>
                  </a:lnTo>
                  <a:lnTo>
                    <a:pt x="205" y="498"/>
                  </a:lnTo>
                  <a:lnTo>
                    <a:pt x="204" y="496"/>
                  </a:lnTo>
                  <a:lnTo>
                    <a:pt x="202" y="495"/>
                  </a:lnTo>
                  <a:lnTo>
                    <a:pt x="199" y="493"/>
                  </a:lnTo>
                  <a:lnTo>
                    <a:pt x="194" y="491"/>
                  </a:lnTo>
                  <a:lnTo>
                    <a:pt x="193" y="490"/>
                  </a:lnTo>
                  <a:lnTo>
                    <a:pt x="191" y="490"/>
                  </a:lnTo>
                  <a:lnTo>
                    <a:pt x="189" y="490"/>
                  </a:lnTo>
                  <a:lnTo>
                    <a:pt x="187" y="490"/>
                  </a:lnTo>
                  <a:lnTo>
                    <a:pt x="185" y="490"/>
                  </a:lnTo>
                  <a:lnTo>
                    <a:pt x="183" y="490"/>
                  </a:lnTo>
                  <a:lnTo>
                    <a:pt x="182" y="490"/>
                  </a:lnTo>
                  <a:lnTo>
                    <a:pt x="181" y="490"/>
                  </a:lnTo>
                  <a:lnTo>
                    <a:pt x="180" y="490"/>
                  </a:lnTo>
                  <a:lnTo>
                    <a:pt x="178" y="491"/>
                  </a:lnTo>
                  <a:lnTo>
                    <a:pt x="177" y="492"/>
                  </a:lnTo>
                  <a:lnTo>
                    <a:pt x="176" y="493"/>
                  </a:lnTo>
                  <a:lnTo>
                    <a:pt x="172" y="497"/>
                  </a:lnTo>
                  <a:lnTo>
                    <a:pt x="171" y="498"/>
                  </a:lnTo>
                  <a:lnTo>
                    <a:pt x="170" y="498"/>
                  </a:lnTo>
                  <a:lnTo>
                    <a:pt x="169" y="499"/>
                  </a:lnTo>
                  <a:lnTo>
                    <a:pt x="168" y="499"/>
                  </a:lnTo>
                  <a:lnTo>
                    <a:pt x="166" y="499"/>
                  </a:lnTo>
                  <a:lnTo>
                    <a:pt x="164" y="499"/>
                  </a:lnTo>
                  <a:lnTo>
                    <a:pt x="161" y="499"/>
                  </a:lnTo>
                  <a:lnTo>
                    <a:pt x="159" y="498"/>
                  </a:lnTo>
                  <a:lnTo>
                    <a:pt x="157" y="497"/>
                  </a:lnTo>
                  <a:lnTo>
                    <a:pt x="156" y="496"/>
                  </a:lnTo>
                  <a:lnTo>
                    <a:pt x="154" y="494"/>
                  </a:lnTo>
                  <a:lnTo>
                    <a:pt x="152" y="492"/>
                  </a:lnTo>
                  <a:lnTo>
                    <a:pt x="148" y="488"/>
                  </a:lnTo>
                  <a:lnTo>
                    <a:pt x="143" y="479"/>
                  </a:lnTo>
                  <a:lnTo>
                    <a:pt x="140" y="474"/>
                  </a:lnTo>
                  <a:lnTo>
                    <a:pt x="140" y="473"/>
                  </a:lnTo>
                  <a:lnTo>
                    <a:pt x="139" y="472"/>
                  </a:lnTo>
                  <a:lnTo>
                    <a:pt x="138" y="471"/>
                  </a:lnTo>
                  <a:lnTo>
                    <a:pt x="137" y="470"/>
                  </a:lnTo>
                  <a:lnTo>
                    <a:pt x="135" y="468"/>
                  </a:lnTo>
                  <a:lnTo>
                    <a:pt x="132" y="468"/>
                  </a:lnTo>
                  <a:lnTo>
                    <a:pt x="130" y="468"/>
                  </a:lnTo>
                  <a:lnTo>
                    <a:pt x="128" y="468"/>
                  </a:lnTo>
                  <a:lnTo>
                    <a:pt x="126" y="468"/>
                  </a:lnTo>
                  <a:lnTo>
                    <a:pt x="125" y="468"/>
                  </a:lnTo>
                  <a:lnTo>
                    <a:pt x="123" y="468"/>
                  </a:lnTo>
                  <a:lnTo>
                    <a:pt x="122" y="469"/>
                  </a:lnTo>
                  <a:lnTo>
                    <a:pt x="120" y="470"/>
                  </a:lnTo>
                  <a:lnTo>
                    <a:pt x="114" y="474"/>
                  </a:lnTo>
                  <a:lnTo>
                    <a:pt x="112" y="476"/>
                  </a:lnTo>
                  <a:lnTo>
                    <a:pt x="108" y="478"/>
                  </a:lnTo>
                  <a:lnTo>
                    <a:pt x="104" y="479"/>
                  </a:lnTo>
                  <a:lnTo>
                    <a:pt x="102" y="479"/>
                  </a:lnTo>
                  <a:lnTo>
                    <a:pt x="100" y="480"/>
                  </a:lnTo>
                  <a:lnTo>
                    <a:pt x="97" y="480"/>
                  </a:lnTo>
                  <a:lnTo>
                    <a:pt x="95" y="479"/>
                  </a:lnTo>
                  <a:lnTo>
                    <a:pt x="93" y="479"/>
                  </a:lnTo>
                  <a:lnTo>
                    <a:pt x="92" y="479"/>
                  </a:lnTo>
                  <a:lnTo>
                    <a:pt x="91" y="478"/>
                  </a:lnTo>
                  <a:lnTo>
                    <a:pt x="90" y="477"/>
                  </a:lnTo>
                  <a:lnTo>
                    <a:pt x="79" y="468"/>
                  </a:lnTo>
                  <a:lnTo>
                    <a:pt x="78" y="467"/>
                  </a:lnTo>
                  <a:lnTo>
                    <a:pt x="76" y="464"/>
                  </a:lnTo>
                  <a:lnTo>
                    <a:pt x="74" y="462"/>
                  </a:lnTo>
                  <a:lnTo>
                    <a:pt x="73" y="460"/>
                  </a:lnTo>
                  <a:lnTo>
                    <a:pt x="71" y="458"/>
                  </a:lnTo>
                  <a:lnTo>
                    <a:pt x="71" y="456"/>
                  </a:lnTo>
                  <a:lnTo>
                    <a:pt x="70" y="456"/>
                  </a:lnTo>
                  <a:lnTo>
                    <a:pt x="71" y="455"/>
                  </a:lnTo>
                  <a:lnTo>
                    <a:pt x="71" y="454"/>
                  </a:lnTo>
                  <a:lnTo>
                    <a:pt x="72" y="454"/>
                  </a:lnTo>
                  <a:lnTo>
                    <a:pt x="72" y="453"/>
                  </a:lnTo>
                  <a:lnTo>
                    <a:pt x="72" y="454"/>
                  </a:lnTo>
                  <a:lnTo>
                    <a:pt x="72" y="453"/>
                  </a:lnTo>
                  <a:lnTo>
                    <a:pt x="72" y="452"/>
                  </a:lnTo>
                  <a:lnTo>
                    <a:pt x="71" y="452"/>
                  </a:lnTo>
                  <a:lnTo>
                    <a:pt x="71" y="451"/>
                  </a:lnTo>
                  <a:lnTo>
                    <a:pt x="70" y="450"/>
                  </a:lnTo>
                  <a:lnTo>
                    <a:pt x="71" y="449"/>
                  </a:lnTo>
                  <a:lnTo>
                    <a:pt x="70" y="449"/>
                  </a:lnTo>
                  <a:lnTo>
                    <a:pt x="69" y="449"/>
                  </a:lnTo>
                  <a:lnTo>
                    <a:pt x="67" y="445"/>
                  </a:lnTo>
                  <a:lnTo>
                    <a:pt x="62" y="440"/>
                  </a:lnTo>
                  <a:lnTo>
                    <a:pt x="58" y="434"/>
                  </a:lnTo>
                  <a:lnTo>
                    <a:pt x="50" y="422"/>
                  </a:lnTo>
                  <a:lnTo>
                    <a:pt x="48" y="419"/>
                  </a:lnTo>
                  <a:lnTo>
                    <a:pt x="46" y="415"/>
                  </a:lnTo>
                  <a:lnTo>
                    <a:pt x="44" y="412"/>
                  </a:lnTo>
                  <a:lnTo>
                    <a:pt x="43" y="411"/>
                  </a:lnTo>
                  <a:lnTo>
                    <a:pt x="41" y="411"/>
                  </a:lnTo>
                  <a:lnTo>
                    <a:pt x="37" y="409"/>
                  </a:lnTo>
                  <a:lnTo>
                    <a:pt x="36" y="408"/>
                  </a:lnTo>
                  <a:lnTo>
                    <a:pt x="36" y="407"/>
                  </a:lnTo>
                  <a:lnTo>
                    <a:pt x="35" y="407"/>
                  </a:lnTo>
                  <a:lnTo>
                    <a:pt x="35" y="406"/>
                  </a:lnTo>
                  <a:lnTo>
                    <a:pt x="35" y="403"/>
                  </a:lnTo>
                  <a:lnTo>
                    <a:pt x="34" y="402"/>
                  </a:lnTo>
                  <a:lnTo>
                    <a:pt x="33" y="395"/>
                  </a:lnTo>
                  <a:lnTo>
                    <a:pt x="32" y="392"/>
                  </a:lnTo>
                  <a:lnTo>
                    <a:pt x="30" y="389"/>
                  </a:lnTo>
                  <a:lnTo>
                    <a:pt x="29" y="388"/>
                  </a:lnTo>
                  <a:lnTo>
                    <a:pt x="28" y="385"/>
                  </a:lnTo>
                  <a:lnTo>
                    <a:pt x="27" y="384"/>
                  </a:lnTo>
                  <a:lnTo>
                    <a:pt x="27" y="383"/>
                  </a:lnTo>
                  <a:lnTo>
                    <a:pt x="28" y="383"/>
                  </a:lnTo>
                  <a:lnTo>
                    <a:pt x="28" y="382"/>
                  </a:lnTo>
                  <a:lnTo>
                    <a:pt x="30" y="381"/>
                  </a:lnTo>
                  <a:lnTo>
                    <a:pt x="31" y="381"/>
                  </a:lnTo>
                  <a:lnTo>
                    <a:pt x="33" y="381"/>
                  </a:lnTo>
                  <a:lnTo>
                    <a:pt x="34" y="381"/>
                  </a:lnTo>
                  <a:lnTo>
                    <a:pt x="42" y="382"/>
                  </a:lnTo>
                  <a:lnTo>
                    <a:pt x="45" y="382"/>
                  </a:lnTo>
                  <a:lnTo>
                    <a:pt x="47" y="383"/>
                  </a:lnTo>
                  <a:lnTo>
                    <a:pt x="49" y="383"/>
                  </a:lnTo>
                  <a:lnTo>
                    <a:pt x="53" y="382"/>
                  </a:lnTo>
                  <a:lnTo>
                    <a:pt x="56" y="381"/>
                  </a:lnTo>
                  <a:lnTo>
                    <a:pt x="58" y="380"/>
                  </a:lnTo>
                  <a:lnTo>
                    <a:pt x="59" y="379"/>
                  </a:lnTo>
                  <a:lnTo>
                    <a:pt x="60" y="379"/>
                  </a:lnTo>
                  <a:lnTo>
                    <a:pt x="61" y="377"/>
                  </a:lnTo>
                  <a:lnTo>
                    <a:pt x="62" y="377"/>
                  </a:lnTo>
                  <a:lnTo>
                    <a:pt x="63" y="375"/>
                  </a:lnTo>
                  <a:lnTo>
                    <a:pt x="64" y="373"/>
                  </a:lnTo>
                  <a:lnTo>
                    <a:pt x="65" y="371"/>
                  </a:lnTo>
                  <a:lnTo>
                    <a:pt x="66" y="369"/>
                  </a:lnTo>
                  <a:lnTo>
                    <a:pt x="68" y="365"/>
                  </a:lnTo>
                  <a:lnTo>
                    <a:pt x="68" y="359"/>
                  </a:lnTo>
                  <a:lnTo>
                    <a:pt x="69" y="354"/>
                  </a:lnTo>
                  <a:lnTo>
                    <a:pt x="70" y="349"/>
                  </a:lnTo>
                  <a:lnTo>
                    <a:pt x="70" y="348"/>
                  </a:lnTo>
                  <a:lnTo>
                    <a:pt x="70" y="346"/>
                  </a:lnTo>
                  <a:lnTo>
                    <a:pt x="70" y="344"/>
                  </a:lnTo>
                  <a:lnTo>
                    <a:pt x="70" y="343"/>
                  </a:lnTo>
                  <a:lnTo>
                    <a:pt x="69" y="341"/>
                  </a:lnTo>
                  <a:lnTo>
                    <a:pt x="68" y="338"/>
                  </a:lnTo>
                  <a:lnTo>
                    <a:pt x="57" y="326"/>
                  </a:lnTo>
                  <a:lnTo>
                    <a:pt x="56" y="323"/>
                  </a:lnTo>
                  <a:lnTo>
                    <a:pt x="55" y="321"/>
                  </a:lnTo>
                  <a:lnTo>
                    <a:pt x="53" y="319"/>
                  </a:lnTo>
                  <a:lnTo>
                    <a:pt x="51" y="316"/>
                  </a:lnTo>
                  <a:lnTo>
                    <a:pt x="45" y="306"/>
                  </a:lnTo>
                  <a:lnTo>
                    <a:pt x="45" y="303"/>
                  </a:lnTo>
                  <a:lnTo>
                    <a:pt x="43" y="301"/>
                  </a:lnTo>
                  <a:lnTo>
                    <a:pt x="42" y="300"/>
                  </a:lnTo>
                  <a:lnTo>
                    <a:pt x="34" y="293"/>
                  </a:lnTo>
                  <a:lnTo>
                    <a:pt x="33" y="290"/>
                  </a:lnTo>
                  <a:lnTo>
                    <a:pt x="24" y="281"/>
                  </a:lnTo>
                  <a:lnTo>
                    <a:pt x="20" y="275"/>
                  </a:lnTo>
                  <a:lnTo>
                    <a:pt x="16" y="271"/>
                  </a:lnTo>
                  <a:lnTo>
                    <a:pt x="14" y="267"/>
                  </a:lnTo>
                  <a:lnTo>
                    <a:pt x="11" y="264"/>
                  </a:lnTo>
                  <a:lnTo>
                    <a:pt x="6" y="253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2" y="242"/>
                  </a:lnTo>
                  <a:lnTo>
                    <a:pt x="5" y="240"/>
                  </a:lnTo>
                  <a:lnTo>
                    <a:pt x="7" y="238"/>
                  </a:lnTo>
                  <a:lnTo>
                    <a:pt x="8" y="235"/>
                  </a:lnTo>
                  <a:lnTo>
                    <a:pt x="10" y="233"/>
                  </a:lnTo>
                  <a:lnTo>
                    <a:pt x="11" y="230"/>
                  </a:lnTo>
                  <a:lnTo>
                    <a:pt x="12" y="227"/>
                  </a:lnTo>
                  <a:lnTo>
                    <a:pt x="14" y="224"/>
                  </a:lnTo>
                  <a:lnTo>
                    <a:pt x="15" y="220"/>
                  </a:lnTo>
                  <a:lnTo>
                    <a:pt x="16" y="218"/>
                  </a:lnTo>
                  <a:lnTo>
                    <a:pt x="16" y="215"/>
                  </a:lnTo>
                  <a:lnTo>
                    <a:pt x="17" y="213"/>
                  </a:lnTo>
                  <a:lnTo>
                    <a:pt x="17" y="211"/>
                  </a:lnTo>
                  <a:lnTo>
                    <a:pt x="17" y="207"/>
                  </a:lnTo>
                  <a:lnTo>
                    <a:pt x="17" y="204"/>
                  </a:lnTo>
                  <a:lnTo>
                    <a:pt x="18" y="201"/>
                  </a:lnTo>
                  <a:lnTo>
                    <a:pt x="20" y="196"/>
                  </a:lnTo>
                  <a:lnTo>
                    <a:pt x="21" y="196"/>
                  </a:lnTo>
                  <a:lnTo>
                    <a:pt x="21" y="194"/>
                  </a:lnTo>
                  <a:lnTo>
                    <a:pt x="22" y="191"/>
                  </a:lnTo>
                  <a:lnTo>
                    <a:pt x="22" y="188"/>
                  </a:lnTo>
                  <a:lnTo>
                    <a:pt x="22" y="184"/>
                  </a:lnTo>
                  <a:lnTo>
                    <a:pt x="22" y="182"/>
                  </a:lnTo>
                  <a:lnTo>
                    <a:pt x="21" y="179"/>
                  </a:lnTo>
                  <a:lnTo>
                    <a:pt x="21" y="176"/>
                  </a:lnTo>
                  <a:lnTo>
                    <a:pt x="18" y="165"/>
                  </a:lnTo>
                  <a:lnTo>
                    <a:pt x="18" y="162"/>
                  </a:lnTo>
                  <a:lnTo>
                    <a:pt x="18" y="161"/>
                  </a:lnTo>
                  <a:lnTo>
                    <a:pt x="18" y="157"/>
                  </a:lnTo>
                  <a:lnTo>
                    <a:pt x="18" y="155"/>
                  </a:lnTo>
                  <a:lnTo>
                    <a:pt x="19" y="152"/>
                  </a:lnTo>
                  <a:lnTo>
                    <a:pt x="20" y="150"/>
                  </a:lnTo>
                  <a:lnTo>
                    <a:pt x="22" y="147"/>
                  </a:lnTo>
                  <a:lnTo>
                    <a:pt x="23" y="144"/>
                  </a:lnTo>
                  <a:lnTo>
                    <a:pt x="33" y="135"/>
                  </a:lnTo>
                  <a:lnTo>
                    <a:pt x="34" y="133"/>
                  </a:lnTo>
                  <a:lnTo>
                    <a:pt x="35" y="132"/>
                  </a:lnTo>
                  <a:lnTo>
                    <a:pt x="38" y="130"/>
                  </a:lnTo>
                  <a:lnTo>
                    <a:pt x="40" y="128"/>
                  </a:lnTo>
                  <a:lnTo>
                    <a:pt x="43" y="128"/>
                  </a:lnTo>
                  <a:lnTo>
                    <a:pt x="47" y="126"/>
                  </a:lnTo>
                  <a:lnTo>
                    <a:pt x="50" y="125"/>
                  </a:lnTo>
                  <a:lnTo>
                    <a:pt x="51" y="124"/>
                  </a:lnTo>
                  <a:lnTo>
                    <a:pt x="52" y="123"/>
                  </a:lnTo>
                  <a:lnTo>
                    <a:pt x="53" y="121"/>
                  </a:lnTo>
                  <a:lnTo>
                    <a:pt x="54" y="120"/>
                  </a:lnTo>
                  <a:lnTo>
                    <a:pt x="54" y="118"/>
                  </a:lnTo>
                  <a:lnTo>
                    <a:pt x="55" y="117"/>
                  </a:lnTo>
                  <a:lnTo>
                    <a:pt x="55" y="116"/>
                  </a:lnTo>
                  <a:lnTo>
                    <a:pt x="55" y="114"/>
                  </a:lnTo>
                  <a:lnTo>
                    <a:pt x="54" y="108"/>
                  </a:lnTo>
                  <a:lnTo>
                    <a:pt x="54" y="106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4"/>
                  </a:lnTo>
                  <a:lnTo>
                    <a:pt x="55" y="103"/>
                  </a:lnTo>
                  <a:lnTo>
                    <a:pt x="56" y="102"/>
                  </a:lnTo>
                  <a:lnTo>
                    <a:pt x="56" y="101"/>
                  </a:lnTo>
                  <a:lnTo>
                    <a:pt x="56" y="100"/>
                  </a:lnTo>
                  <a:lnTo>
                    <a:pt x="57" y="100"/>
                  </a:lnTo>
                  <a:lnTo>
                    <a:pt x="59" y="99"/>
                  </a:lnTo>
                  <a:lnTo>
                    <a:pt x="65" y="99"/>
                  </a:lnTo>
                  <a:lnTo>
                    <a:pt x="66" y="98"/>
                  </a:lnTo>
                  <a:lnTo>
                    <a:pt x="68" y="98"/>
                  </a:lnTo>
                  <a:lnTo>
                    <a:pt x="68" y="97"/>
                  </a:lnTo>
                  <a:lnTo>
                    <a:pt x="69" y="96"/>
                  </a:lnTo>
                  <a:lnTo>
                    <a:pt x="71" y="95"/>
                  </a:lnTo>
                  <a:lnTo>
                    <a:pt x="72" y="94"/>
                  </a:lnTo>
                  <a:lnTo>
                    <a:pt x="74" y="92"/>
                  </a:lnTo>
                  <a:lnTo>
                    <a:pt x="75" y="89"/>
                  </a:lnTo>
                  <a:lnTo>
                    <a:pt x="78" y="84"/>
                  </a:lnTo>
                  <a:lnTo>
                    <a:pt x="81" y="76"/>
                  </a:lnTo>
                  <a:lnTo>
                    <a:pt x="84" y="71"/>
                  </a:lnTo>
                  <a:lnTo>
                    <a:pt x="86" y="65"/>
                  </a:lnTo>
                  <a:lnTo>
                    <a:pt x="89" y="61"/>
                  </a:lnTo>
                  <a:lnTo>
                    <a:pt x="91" y="56"/>
                  </a:lnTo>
                  <a:lnTo>
                    <a:pt x="95" y="51"/>
                  </a:lnTo>
                  <a:lnTo>
                    <a:pt x="97" y="49"/>
                  </a:lnTo>
                  <a:lnTo>
                    <a:pt x="99" y="48"/>
                  </a:lnTo>
                  <a:lnTo>
                    <a:pt x="101" y="46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3" y="46"/>
                  </a:lnTo>
                  <a:lnTo>
                    <a:pt x="111" y="50"/>
                  </a:lnTo>
                  <a:lnTo>
                    <a:pt x="114" y="53"/>
                  </a:lnTo>
                  <a:lnTo>
                    <a:pt x="118" y="54"/>
                  </a:lnTo>
                  <a:lnTo>
                    <a:pt x="122" y="56"/>
                  </a:lnTo>
                  <a:lnTo>
                    <a:pt x="125" y="56"/>
                  </a:lnTo>
                  <a:lnTo>
                    <a:pt x="127" y="56"/>
                  </a:lnTo>
                  <a:lnTo>
                    <a:pt x="131" y="57"/>
                  </a:lnTo>
                  <a:lnTo>
                    <a:pt x="134" y="57"/>
                  </a:lnTo>
                  <a:lnTo>
                    <a:pt x="136" y="56"/>
                  </a:lnTo>
                  <a:lnTo>
                    <a:pt x="137" y="56"/>
                  </a:lnTo>
                  <a:lnTo>
                    <a:pt x="139" y="56"/>
                  </a:lnTo>
                  <a:lnTo>
                    <a:pt x="141" y="55"/>
                  </a:lnTo>
                  <a:lnTo>
                    <a:pt x="143" y="54"/>
                  </a:lnTo>
                  <a:lnTo>
                    <a:pt x="144" y="53"/>
                  </a:lnTo>
                  <a:lnTo>
                    <a:pt x="146" y="51"/>
                  </a:lnTo>
                  <a:lnTo>
                    <a:pt x="147" y="50"/>
                  </a:lnTo>
                  <a:lnTo>
                    <a:pt x="147" y="48"/>
                  </a:lnTo>
                  <a:lnTo>
                    <a:pt x="149" y="45"/>
                  </a:lnTo>
                  <a:lnTo>
                    <a:pt x="150" y="43"/>
                  </a:lnTo>
                  <a:lnTo>
                    <a:pt x="151" y="42"/>
                  </a:lnTo>
                  <a:lnTo>
                    <a:pt x="155" y="38"/>
                  </a:lnTo>
                  <a:lnTo>
                    <a:pt x="156" y="37"/>
                  </a:lnTo>
                  <a:lnTo>
                    <a:pt x="157" y="34"/>
                  </a:lnTo>
                  <a:lnTo>
                    <a:pt x="158" y="33"/>
                  </a:lnTo>
                  <a:lnTo>
                    <a:pt x="160" y="26"/>
                  </a:lnTo>
                  <a:lnTo>
                    <a:pt x="163" y="20"/>
                  </a:lnTo>
                  <a:lnTo>
                    <a:pt x="165" y="16"/>
                  </a:lnTo>
                  <a:lnTo>
                    <a:pt x="168" y="13"/>
                  </a:lnTo>
                  <a:lnTo>
                    <a:pt x="169" y="11"/>
                  </a:lnTo>
                  <a:lnTo>
                    <a:pt x="170" y="8"/>
                  </a:lnTo>
                  <a:lnTo>
                    <a:pt x="174" y="5"/>
                  </a:lnTo>
                  <a:lnTo>
                    <a:pt x="177" y="3"/>
                  </a:lnTo>
                  <a:lnTo>
                    <a:pt x="178" y="2"/>
                  </a:lnTo>
                  <a:lnTo>
                    <a:pt x="179" y="1"/>
                  </a:lnTo>
                  <a:lnTo>
                    <a:pt x="181" y="1"/>
                  </a:lnTo>
                  <a:lnTo>
                    <a:pt x="182" y="0"/>
                  </a:lnTo>
                  <a:lnTo>
                    <a:pt x="182" y="0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7" name="Freeform 60">
              <a:extLst>
                <a:ext uri="{FF2B5EF4-FFF2-40B4-BE49-F238E27FC236}">
                  <a16:creationId xmlns:a16="http://schemas.microsoft.com/office/drawing/2014/main" id="{C3091648-64F1-479F-A322-2144BD8DA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2652"/>
              <a:ext cx="388" cy="405"/>
            </a:xfrm>
            <a:custGeom>
              <a:avLst/>
              <a:gdLst>
                <a:gd name="T0" fmla="*/ 183 w 388"/>
                <a:gd name="T1" fmla="*/ 5 h 405"/>
                <a:gd name="T2" fmla="*/ 209 w 388"/>
                <a:gd name="T3" fmla="*/ 2 h 405"/>
                <a:gd name="T4" fmla="*/ 235 w 388"/>
                <a:gd name="T5" fmla="*/ 3 h 405"/>
                <a:gd name="T6" fmla="*/ 266 w 388"/>
                <a:gd name="T7" fmla="*/ 9 h 405"/>
                <a:gd name="T8" fmla="*/ 315 w 388"/>
                <a:gd name="T9" fmla="*/ 31 h 405"/>
                <a:gd name="T10" fmla="*/ 338 w 388"/>
                <a:gd name="T11" fmla="*/ 33 h 405"/>
                <a:gd name="T12" fmla="*/ 331 w 388"/>
                <a:gd name="T13" fmla="*/ 54 h 405"/>
                <a:gd name="T14" fmla="*/ 319 w 388"/>
                <a:gd name="T15" fmla="*/ 57 h 405"/>
                <a:gd name="T16" fmla="*/ 295 w 388"/>
                <a:gd name="T17" fmla="*/ 59 h 405"/>
                <a:gd name="T18" fmla="*/ 295 w 388"/>
                <a:gd name="T19" fmla="*/ 88 h 405"/>
                <a:gd name="T20" fmla="*/ 299 w 388"/>
                <a:gd name="T21" fmla="*/ 97 h 405"/>
                <a:gd name="T22" fmla="*/ 345 w 388"/>
                <a:gd name="T23" fmla="*/ 109 h 405"/>
                <a:gd name="T24" fmla="*/ 353 w 388"/>
                <a:gd name="T25" fmla="*/ 113 h 405"/>
                <a:gd name="T26" fmla="*/ 334 w 388"/>
                <a:gd name="T27" fmla="*/ 138 h 405"/>
                <a:gd name="T28" fmla="*/ 332 w 388"/>
                <a:gd name="T29" fmla="*/ 166 h 405"/>
                <a:gd name="T30" fmla="*/ 344 w 388"/>
                <a:gd name="T31" fmla="*/ 202 h 405"/>
                <a:gd name="T32" fmla="*/ 355 w 388"/>
                <a:gd name="T33" fmla="*/ 226 h 405"/>
                <a:gd name="T34" fmla="*/ 344 w 388"/>
                <a:gd name="T35" fmla="*/ 239 h 405"/>
                <a:gd name="T36" fmla="*/ 343 w 388"/>
                <a:gd name="T37" fmla="*/ 253 h 405"/>
                <a:gd name="T38" fmla="*/ 373 w 388"/>
                <a:gd name="T39" fmla="*/ 279 h 405"/>
                <a:gd name="T40" fmla="*/ 386 w 388"/>
                <a:gd name="T41" fmla="*/ 294 h 405"/>
                <a:gd name="T42" fmla="*/ 374 w 388"/>
                <a:gd name="T43" fmla="*/ 297 h 405"/>
                <a:gd name="T44" fmla="*/ 360 w 388"/>
                <a:gd name="T45" fmla="*/ 299 h 405"/>
                <a:gd name="T46" fmla="*/ 360 w 388"/>
                <a:gd name="T47" fmla="*/ 313 h 405"/>
                <a:gd name="T48" fmla="*/ 367 w 388"/>
                <a:gd name="T49" fmla="*/ 344 h 405"/>
                <a:gd name="T50" fmla="*/ 353 w 388"/>
                <a:gd name="T51" fmla="*/ 370 h 405"/>
                <a:gd name="T52" fmla="*/ 367 w 388"/>
                <a:gd name="T53" fmla="*/ 385 h 405"/>
                <a:gd name="T54" fmla="*/ 367 w 388"/>
                <a:gd name="T55" fmla="*/ 395 h 405"/>
                <a:gd name="T56" fmla="*/ 355 w 388"/>
                <a:gd name="T57" fmla="*/ 399 h 405"/>
                <a:gd name="T58" fmla="*/ 318 w 388"/>
                <a:gd name="T59" fmla="*/ 400 h 405"/>
                <a:gd name="T60" fmla="*/ 276 w 388"/>
                <a:gd name="T61" fmla="*/ 392 h 405"/>
                <a:gd name="T62" fmla="*/ 254 w 388"/>
                <a:gd name="T63" fmla="*/ 381 h 405"/>
                <a:gd name="T64" fmla="*/ 242 w 388"/>
                <a:gd name="T65" fmla="*/ 387 h 405"/>
                <a:gd name="T66" fmla="*/ 234 w 388"/>
                <a:gd name="T67" fmla="*/ 403 h 405"/>
                <a:gd name="T68" fmla="*/ 226 w 388"/>
                <a:gd name="T69" fmla="*/ 394 h 405"/>
                <a:gd name="T70" fmla="*/ 217 w 388"/>
                <a:gd name="T71" fmla="*/ 367 h 405"/>
                <a:gd name="T72" fmla="*/ 204 w 388"/>
                <a:gd name="T73" fmla="*/ 365 h 405"/>
                <a:gd name="T74" fmla="*/ 166 w 388"/>
                <a:gd name="T75" fmla="*/ 375 h 405"/>
                <a:gd name="T76" fmla="*/ 153 w 388"/>
                <a:gd name="T77" fmla="*/ 369 h 405"/>
                <a:gd name="T78" fmla="*/ 139 w 388"/>
                <a:gd name="T79" fmla="*/ 346 h 405"/>
                <a:gd name="T80" fmla="*/ 133 w 388"/>
                <a:gd name="T81" fmla="*/ 319 h 405"/>
                <a:gd name="T82" fmla="*/ 132 w 388"/>
                <a:gd name="T83" fmla="*/ 297 h 405"/>
                <a:gd name="T84" fmla="*/ 115 w 388"/>
                <a:gd name="T85" fmla="*/ 272 h 405"/>
                <a:gd name="T86" fmla="*/ 88 w 388"/>
                <a:gd name="T87" fmla="*/ 237 h 405"/>
                <a:gd name="T88" fmla="*/ 71 w 388"/>
                <a:gd name="T89" fmla="*/ 227 h 405"/>
                <a:gd name="T90" fmla="*/ 67 w 388"/>
                <a:gd name="T91" fmla="*/ 205 h 405"/>
                <a:gd name="T92" fmla="*/ 49 w 388"/>
                <a:gd name="T93" fmla="*/ 190 h 405"/>
                <a:gd name="T94" fmla="*/ 10 w 388"/>
                <a:gd name="T95" fmla="*/ 176 h 405"/>
                <a:gd name="T96" fmla="*/ 0 w 388"/>
                <a:gd name="T97" fmla="*/ 163 h 405"/>
                <a:gd name="T98" fmla="*/ 10 w 388"/>
                <a:gd name="T99" fmla="*/ 161 h 405"/>
                <a:gd name="T100" fmla="*/ 27 w 388"/>
                <a:gd name="T101" fmla="*/ 152 h 405"/>
                <a:gd name="T102" fmla="*/ 39 w 388"/>
                <a:gd name="T103" fmla="*/ 128 h 405"/>
                <a:gd name="T104" fmla="*/ 34 w 388"/>
                <a:gd name="T105" fmla="*/ 115 h 405"/>
                <a:gd name="T106" fmla="*/ 15 w 388"/>
                <a:gd name="T107" fmla="*/ 101 h 405"/>
                <a:gd name="T108" fmla="*/ 19 w 388"/>
                <a:gd name="T109" fmla="*/ 79 h 405"/>
                <a:gd name="T110" fmla="*/ 26 w 388"/>
                <a:gd name="T111" fmla="*/ 63 h 405"/>
                <a:gd name="T112" fmla="*/ 38 w 388"/>
                <a:gd name="T113" fmla="*/ 55 h 405"/>
                <a:gd name="T114" fmla="*/ 57 w 388"/>
                <a:gd name="T115" fmla="*/ 43 h 405"/>
                <a:gd name="T116" fmla="*/ 71 w 388"/>
                <a:gd name="T117" fmla="*/ 46 h 405"/>
                <a:gd name="T118" fmla="*/ 99 w 388"/>
                <a:gd name="T119" fmla="*/ 43 h 405"/>
                <a:gd name="T120" fmla="*/ 132 w 388"/>
                <a:gd name="T121" fmla="*/ 45 h 405"/>
                <a:gd name="T122" fmla="*/ 146 w 388"/>
                <a:gd name="T123" fmla="*/ 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8" h="405">
                  <a:moveTo>
                    <a:pt x="151" y="0"/>
                  </a:moveTo>
                  <a:lnTo>
                    <a:pt x="151" y="0"/>
                  </a:lnTo>
                  <a:lnTo>
                    <a:pt x="155" y="1"/>
                  </a:lnTo>
                  <a:lnTo>
                    <a:pt x="162" y="3"/>
                  </a:lnTo>
                  <a:lnTo>
                    <a:pt x="166" y="4"/>
                  </a:lnTo>
                  <a:lnTo>
                    <a:pt x="171" y="5"/>
                  </a:lnTo>
                  <a:lnTo>
                    <a:pt x="178" y="5"/>
                  </a:lnTo>
                  <a:lnTo>
                    <a:pt x="183" y="5"/>
                  </a:lnTo>
                  <a:lnTo>
                    <a:pt x="186" y="5"/>
                  </a:lnTo>
                  <a:lnTo>
                    <a:pt x="190" y="4"/>
                  </a:lnTo>
                  <a:lnTo>
                    <a:pt x="197" y="1"/>
                  </a:lnTo>
                  <a:lnTo>
                    <a:pt x="199" y="1"/>
                  </a:lnTo>
                  <a:lnTo>
                    <a:pt x="200" y="1"/>
                  </a:lnTo>
                  <a:lnTo>
                    <a:pt x="203" y="1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16" y="5"/>
                  </a:lnTo>
                  <a:lnTo>
                    <a:pt x="218" y="5"/>
                  </a:lnTo>
                  <a:lnTo>
                    <a:pt x="219" y="5"/>
                  </a:lnTo>
                  <a:lnTo>
                    <a:pt x="221" y="5"/>
                  </a:lnTo>
                  <a:lnTo>
                    <a:pt x="223" y="5"/>
                  </a:lnTo>
                  <a:lnTo>
                    <a:pt x="230" y="4"/>
                  </a:lnTo>
                  <a:lnTo>
                    <a:pt x="233" y="3"/>
                  </a:lnTo>
                  <a:lnTo>
                    <a:pt x="235" y="3"/>
                  </a:lnTo>
                  <a:lnTo>
                    <a:pt x="238" y="3"/>
                  </a:lnTo>
                  <a:lnTo>
                    <a:pt x="243" y="4"/>
                  </a:lnTo>
                  <a:lnTo>
                    <a:pt x="251" y="5"/>
                  </a:lnTo>
                  <a:lnTo>
                    <a:pt x="253" y="5"/>
                  </a:lnTo>
                  <a:lnTo>
                    <a:pt x="255" y="6"/>
                  </a:lnTo>
                  <a:lnTo>
                    <a:pt x="260" y="7"/>
                  </a:lnTo>
                  <a:lnTo>
                    <a:pt x="263" y="8"/>
                  </a:lnTo>
                  <a:lnTo>
                    <a:pt x="266" y="9"/>
                  </a:lnTo>
                  <a:lnTo>
                    <a:pt x="269" y="11"/>
                  </a:lnTo>
                  <a:lnTo>
                    <a:pt x="276" y="13"/>
                  </a:lnTo>
                  <a:lnTo>
                    <a:pt x="293" y="22"/>
                  </a:lnTo>
                  <a:lnTo>
                    <a:pt x="298" y="24"/>
                  </a:lnTo>
                  <a:lnTo>
                    <a:pt x="302" y="26"/>
                  </a:lnTo>
                  <a:lnTo>
                    <a:pt x="306" y="28"/>
                  </a:lnTo>
                  <a:lnTo>
                    <a:pt x="310" y="29"/>
                  </a:lnTo>
                  <a:lnTo>
                    <a:pt x="315" y="31"/>
                  </a:lnTo>
                  <a:lnTo>
                    <a:pt x="319" y="32"/>
                  </a:lnTo>
                  <a:lnTo>
                    <a:pt x="322" y="33"/>
                  </a:lnTo>
                  <a:lnTo>
                    <a:pt x="326" y="33"/>
                  </a:lnTo>
                  <a:lnTo>
                    <a:pt x="330" y="33"/>
                  </a:lnTo>
                  <a:lnTo>
                    <a:pt x="333" y="33"/>
                  </a:lnTo>
                  <a:lnTo>
                    <a:pt x="337" y="33"/>
                  </a:lnTo>
                  <a:lnTo>
                    <a:pt x="338" y="33"/>
                  </a:lnTo>
                  <a:lnTo>
                    <a:pt x="338" y="33"/>
                  </a:lnTo>
                  <a:lnTo>
                    <a:pt x="336" y="35"/>
                  </a:lnTo>
                  <a:lnTo>
                    <a:pt x="335" y="37"/>
                  </a:lnTo>
                  <a:lnTo>
                    <a:pt x="334" y="40"/>
                  </a:lnTo>
                  <a:lnTo>
                    <a:pt x="333" y="43"/>
                  </a:lnTo>
                  <a:lnTo>
                    <a:pt x="333" y="50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1" y="54"/>
                  </a:lnTo>
                  <a:lnTo>
                    <a:pt x="330" y="56"/>
                  </a:lnTo>
                  <a:lnTo>
                    <a:pt x="329" y="56"/>
                  </a:lnTo>
                  <a:lnTo>
                    <a:pt x="328" y="57"/>
                  </a:lnTo>
                  <a:lnTo>
                    <a:pt x="326" y="57"/>
                  </a:lnTo>
                  <a:lnTo>
                    <a:pt x="325" y="58"/>
                  </a:lnTo>
                  <a:lnTo>
                    <a:pt x="323" y="58"/>
                  </a:lnTo>
                  <a:lnTo>
                    <a:pt x="321" y="58"/>
                  </a:lnTo>
                  <a:lnTo>
                    <a:pt x="319" y="57"/>
                  </a:lnTo>
                  <a:lnTo>
                    <a:pt x="310" y="56"/>
                  </a:lnTo>
                  <a:lnTo>
                    <a:pt x="300" y="55"/>
                  </a:lnTo>
                  <a:lnTo>
                    <a:pt x="299" y="55"/>
                  </a:lnTo>
                  <a:lnTo>
                    <a:pt x="298" y="55"/>
                  </a:lnTo>
                  <a:lnTo>
                    <a:pt x="298" y="55"/>
                  </a:lnTo>
                  <a:lnTo>
                    <a:pt x="297" y="56"/>
                  </a:lnTo>
                  <a:lnTo>
                    <a:pt x="296" y="57"/>
                  </a:lnTo>
                  <a:lnTo>
                    <a:pt x="295" y="59"/>
                  </a:lnTo>
                  <a:lnTo>
                    <a:pt x="295" y="62"/>
                  </a:lnTo>
                  <a:lnTo>
                    <a:pt x="294" y="65"/>
                  </a:lnTo>
                  <a:lnTo>
                    <a:pt x="294" y="67"/>
                  </a:lnTo>
                  <a:lnTo>
                    <a:pt x="294" y="69"/>
                  </a:lnTo>
                  <a:lnTo>
                    <a:pt x="295" y="76"/>
                  </a:lnTo>
                  <a:lnTo>
                    <a:pt x="295" y="78"/>
                  </a:lnTo>
                  <a:lnTo>
                    <a:pt x="295" y="80"/>
                  </a:lnTo>
                  <a:lnTo>
                    <a:pt x="295" y="88"/>
                  </a:lnTo>
                  <a:lnTo>
                    <a:pt x="295" y="90"/>
                  </a:lnTo>
                  <a:lnTo>
                    <a:pt x="295" y="91"/>
                  </a:lnTo>
                  <a:lnTo>
                    <a:pt x="295" y="93"/>
                  </a:lnTo>
                  <a:lnTo>
                    <a:pt x="296" y="94"/>
                  </a:lnTo>
                  <a:lnTo>
                    <a:pt x="296" y="95"/>
                  </a:lnTo>
                  <a:lnTo>
                    <a:pt x="297" y="96"/>
                  </a:lnTo>
                  <a:lnTo>
                    <a:pt x="298" y="96"/>
                  </a:lnTo>
                  <a:lnTo>
                    <a:pt x="299" y="97"/>
                  </a:lnTo>
                  <a:lnTo>
                    <a:pt x="300" y="98"/>
                  </a:lnTo>
                  <a:lnTo>
                    <a:pt x="302" y="99"/>
                  </a:lnTo>
                  <a:lnTo>
                    <a:pt x="308" y="100"/>
                  </a:lnTo>
                  <a:lnTo>
                    <a:pt x="316" y="102"/>
                  </a:lnTo>
                  <a:lnTo>
                    <a:pt x="326" y="105"/>
                  </a:lnTo>
                  <a:lnTo>
                    <a:pt x="332" y="106"/>
                  </a:lnTo>
                  <a:lnTo>
                    <a:pt x="337" y="107"/>
                  </a:lnTo>
                  <a:lnTo>
                    <a:pt x="345" y="109"/>
                  </a:lnTo>
                  <a:lnTo>
                    <a:pt x="350" y="110"/>
                  </a:lnTo>
                  <a:lnTo>
                    <a:pt x="351" y="110"/>
                  </a:lnTo>
                  <a:lnTo>
                    <a:pt x="353" y="111"/>
                  </a:lnTo>
                  <a:lnTo>
                    <a:pt x="354" y="111"/>
                  </a:lnTo>
                  <a:lnTo>
                    <a:pt x="354" y="112"/>
                  </a:lnTo>
                  <a:lnTo>
                    <a:pt x="354" y="113"/>
                  </a:lnTo>
                  <a:lnTo>
                    <a:pt x="353" y="113"/>
                  </a:lnTo>
                  <a:lnTo>
                    <a:pt x="353" y="113"/>
                  </a:lnTo>
                  <a:lnTo>
                    <a:pt x="349" y="115"/>
                  </a:lnTo>
                  <a:lnTo>
                    <a:pt x="348" y="117"/>
                  </a:lnTo>
                  <a:lnTo>
                    <a:pt x="346" y="118"/>
                  </a:lnTo>
                  <a:lnTo>
                    <a:pt x="344" y="120"/>
                  </a:lnTo>
                  <a:lnTo>
                    <a:pt x="343" y="123"/>
                  </a:lnTo>
                  <a:lnTo>
                    <a:pt x="340" y="128"/>
                  </a:lnTo>
                  <a:lnTo>
                    <a:pt x="339" y="131"/>
                  </a:lnTo>
                  <a:lnTo>
                    <a:pt x="334" y="138"/>
                  </a:lnTo>
                  <a:lnTo>
                    <a:pt x="333" y="141"/>
                  </a:lnTo>
                  <a:lnTo>
                    <a:pt x="332" y="144"/>
                  </a:lnTo>
                  <a:lnTo>
                    <a:pt x="331" y="147"/>
                  </a:lnTo>
                  <a:lnTo>
                    <a:pt x="331" y="151"/>
                  </a:lnTo>
                  <a:lnTo>
                    <a:pt x="331" y="154"/>
                  </a:lnTo>
                  <a:lnTo>
                    <a:pt x="331" y="157"/>
                  </a:lnTo>
                  <a:lnTo>
                    <a:pt x="331" y="162"/>
                  </a:lnTo>
                  <a:lnTo>
                    <a:pt x="332" y="166"/>
                  </a:lnTo>
                  <a:lnTo>
                    <a:pt x="333" y="169"/>
                  </a:lnTo>
                  <a:lnTo>
                    <a:pt x="333" y="175"/>
                  </a:lnTo>
                  <a:lnTo>
                    <a:pt x="337" y="185"/>
                  </a:lnTo>
                  <a:lnTo>
                    <a:pt x="338" y="191"/>
                  </a:lnTo>
                  <a:lnTo>
                    <a:pt x="340" y="195"/>
                  </a:lnTo>
                  <a:lnTo>
                    <a:pt x="341" y="197"/>
                  </a:lnTo>
                  <a:lnTo>
                    <a:pt x="343" y="199"/>
                  </a:lnTo>
                  <a:lnTo>
                    <a:pt x="344" y="202"/>
                  </a:lnTo>
                  <a:lnTo>
                    <a:pt x="349" y="208"/>
                  </a:lnTo>
                  <a:lnTo>
                    <a:pt x="352" y="212"/>
                  </a:lnTo>
                  <a:lnTo>
                    <a:pt x="354" y="215"/>
                  </a:lnTo>
                  <a:lnTo>
                    <a:pt x="355" y="217"/>
                  </a:lnTo>
                  <a:lnTo>
                    <a:pt x="355" y="221"/>
                  </a:lnTo>
                  <a:lnTo>
                    <a:pt x="356" y="223"/>
                  </a:lnTo>
                  <a:lnTo>
                    <a:pt x="356" y="225"/>
                  </a:lnTo>
                  <a:lnTo>
                    <a:pt x="355" y="226"/>
                  </a:lnTo>
                  <a:lnTo>
                    <a:pt x="355" y="227"/>
                  </a:lnTo>
                  <a:lnTo>
                    <a:pt x="355" y="228"/>
                  </a:lnTo>
                  <a:lnTo>
                    <a:pt x="354" y="229"/>
                  </a:lnTo>
                  <a:lnTo>
                    <a:pt x="353" y="230"/>
                  </a:lnTo>
                  <a:lnTo>
                    <a:pt x="348" y="235"/>
                  </a:lnTo>
                  <a:lnTo>
                    <a:pt x="346" y="236"/>
                  </a:lnTo>
                  <a:lnTo>
                    <a:pt x="344" y="237"/>
                  </a:lnTo>
                  <a:lnTo>
                    <a:pt x="344" y="239"/>
                  </a:lnTo>
                  <a:lnTo>
                    <a:pt x="343" y="242"/>
                  </a:lnTo>
                  <a:lnTo>
                    <a:pt x="342" y="245"/>
                  </a:lnTo>
                  <a:lnTo>
                    <a:pt x="342" y="248"/>
                  </a:lnTo>
                  <a:lnTo>
                    <a:pt x="342" y="249"/>
                  </a:lnTo>
                  <a:lnTo>
                    <a:pt x="342" y="249"/>
                  </a:lnTo>
                  <a:lnTo>
                    <a:pt x="342" y="251"/>
                  </a:lnTo>
                  <a:lnTo>
                    <a:pt x="343" y="252"/>
                  </a:lnTo>
                  <a:lnTo>
                    <a:pt x="343" y="253"/>
                  </a:lnTo>
                  <a:lnTo>
                    <a:pt x="344" y="255"/>
                  </a:lnTo>
                  <a:lnTo>
                    <a:pt x="345" y="258"/>
                  </a:lnTo>
                  <a:lnTo>
                    <a:pt x="347" y="259"/>
                  </a:lnTo>
                  <a:lnTo>
                    <a:pt x="348" y="260"/>
                  </a:lnTo>
                  <a:lnTo>
                    <a:pt x="350" y="261"/>
                  </a:lnTo>
                  <a:lnTo>
                    <a:pt x="352" y="263"/>
                  </a:lnTo>
                  <a:lnTo>
                    <a:pt x="355" y="266"/>
                  </a:lnTo>
                  <a:lnTo>
                    <a:pt x="373" y="279"/>
                  </a:lnTo>
                  <a:lnTo>
                    <a:pt x="386" y="287"/>
                  </a:lnTo>
                  <a:lnTo>
                    <a:pt x="387" y="288"/>
                  </a:lnTo>
                  <a:lnTo>
                    <a:pt x="388" y="289"/>
                  </a:lnTo>
                  <a:lnTo>
                    <a:pt x="388" y="290"/>
                  </a:lnTo>
                  <a:lnTo>
                    <a:pt x="388" y="291"/>
                  </a:lnTo>
                  <a:lnTo>
                    <a:pt x="387" y="292"/>
                  </a:lnTo>
                  <a:lnTo>
                    <a:pt x="387" y="294"/>
                  </a:lnTo>
                  <a:lnTo>
                    <a:pt x="386" y="294"/>
                  </a:lnTo>
                  <a:lnTo>
                    <a:pt x="385" y="295"/>
                  </a:lnTo>
                  <a:lnTo>
                    <a:pt x="384" y="295"/>
                  </a:lnTo>
                  <a:lnTo>
                    <a:pt x="383" y="296"/>
                  </a:lnTo>
                  <a:lnTo>
                    <a:pt x="381" y="296"/>
                  </a:lnTo>
                  <a:lnTo>
                    <a:pt x="380" y="297"/>
                  </a:lnTo>
                  <a:lnTo>
                    <a:pt x="379" y="297"/>
                  </a:lnTo>
                  <a:lnTo>
                    <a:pt x="378" y="297"/>
                  </a:lnTo>
                  <a:lnTo>
                    <a:pt x="374" y="297"/>
                  </a:lnTo>
                  <a:lnTo>
                    <a:pt x="368" y="296"/>
                  </a:lnTo>
                  <a:lnTo>
                    <a:pt x="367" y="296"/>
                  </a:lnTo>
                  <a:lnTo>
                    <a:pt x="365" y="296"/>
                  </a:lnTo>
                  <a:lnTo>
                    <a:pt x="364" y="296"/>
                  </a:lnTo>
                  <a:lnTo>
                    <a:pt x="363" y="297"/>
                  </a:lnTo>
                  <a:lnTo>
                    <a:pt x="362" y="297"/>
                  </a:lnTo>
                  <a:lnTo>
                    <a:pt x="361" y="298"/>
                  </a:lnTo>
                  <a:lnTo>
                    <a:pt x="360" y="299"/>
                  </a:lnTo>
                  <a:lnTo>
                    <a:pt x="359" y="299"/>
                  </a:lnTo>
                  <a:lnTo>
                    <a:pt x="359" y="300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9"/>
                  </a:lnTo>
                  <a:lnTo>
                    <a:pt x="360" y="313"/>
                  </a:lnTo>
                  <a:lnTo>
                    <a:pt x="363" y="322"/>
                  </a:lnTo>
                  <a:lnTo>
                    <a:pt x="365" y="328"/>
                  </a:lnTo>
                  <a:lnTo>
                    <a:pt x="367" y="333"/>
                  </a:lnTo>
                  <a:lnTo>
                    <a:pt x="367" y="337"/>
                  </a:lnTo>
                  <a:lnTo>
                    <a:pt x="367" y="339"/>
                  </a:lnTo>
                  <a:lnTo>
                    <a:pt x="367" y="340"/>
                  </a:lnTo>
                  <a:lnTo>
                    <a:pt x="367" y="342"/>
                  </a:lnTo>
                  <a:lnTo>
                    <a:pt x="367" y="344"/>
                  </a:lnTo>
                  <a:lnTo>
                    <a:pt x="359" y="353"/>
                  </a:lnTo>
                  <a:lnTo>
                    <a:pt x="358" y="355"/>
                  </a:lnTo>
                  <a:lnTo>
                    <a:pt x="356" y="358"/>
                  </a:lnTo>
                  <a:lnTo>
                    <a:pt x="355" y="362"/>
                  </a:lnTo>
                  <a:lnTo>
                    <a:pt x="354" y="364"/>
                  </a:lnTo>
                  <a:lnTo>
                    <a:pt x="353" y="366"/>
                  </a:lnTo>
                  <a:lnTo>
                    <a:pt x="353" y="369"/>
                  </a:lnTo>
                  <a:lnTo>
                    <a:pt x="353" y="370"/>
                  </a:lnTo>
                  <a:lnTo>
                    <a:pt x="354" y="372"/>
                  </a:lnTo>
                  <a:lnTo>
                    <a:pt x="355" y="373"/>
                  </a:lnTo>
                  <a:lnTo>
                    <a:pt x="355" y="375"/>
                  </a:lnTo>
                  <a:lnTo>
                    <a:pt x="357" y="377"/>
                  </a:lnTo>
                  <a:lnTo>
                    <a:pt x="358" y="378"/>
                  </a:lnTo>
                  <a:lnTo>
                    <a:pt x="364" y="383"/>
                  </a:lnTo>
                  <a:lnTo>
                    <a:pt x="367" y="385"/>
                  </a:lnTo>
                  <a:lnTo>
                    <a:pt x="367" y="385"/>
                  </a:lnTo>
                  <a:lnTo>
                    <a:pt x="368" y="386"/>
                  </a:lnTo>
                  <a:lnTo>
                    <a:pt x="368" y="387"/>
                  </a:lnTo>
                  <a:lnTo>
                    <a:pt x="369" y="388"/>
                  </a:lnTo>
                  <a:lnTo>
                    <a:pt x="369" y="390"/>
                  </a:lnTo>
                  <a:lnTo>
                    <a:pt x="369" y="391"/>
                  </a:lnTo>
                  <a:lnTo>
                    <a:pt x="368" y="392"/>
                  </a:lnTo>
                  <a:lnTo>
                    <a:pt x="367" y="394"/>
                  </a:lnTo>
                  <a:lnTo>
                    <a:pt x="367" y="395"/>
                  </a:lnTo>
                  <a:lnTo>
                    <a:pt x="365" y="396"/>
                  </a:lnTo>
                  <a:lnTo>
                    <a:pt x="363" y="396"/>
                  </a:lnTo>
                  <a:lnTo>
                    <a:pt x="362" y="396"/>
                  </a:lnTo>
                  <a:lnTo>
                    <a:pt x="361" y="396"/>
                  </a:lnTo>
                  <a:lnTo>
                    <a:pt x="360" y="396"/>
                  </a:lnTo>
                  <a:lnTo>
                    <a:pt x="358" y="397"/>
                  </a:lnTo>
                  <a:lnTo>
                    <a:pt x="356" y="398"/>
                  </a:lnTo>
                  <a:lnTo>
                    <a:pt x="355" y="399"/>
                  </a:lnTo>
                  <a:lnTo>
                    <a:pt x="353" y="399"/>
                  </a:lnTo>
                  <a:lnTo>
                    <a:pt x="349" y="400"/>
                  </a:lnTo>
                  <a:lnTo>
                    <a:pt x="346" y="400"/>
                  </a:lnTo>
                  <a:lnTo>
                    <a:pt x="342" y="400"/>
                  </a:lnTo>
                  <a:lnTo>
                    <a:pt x="330" y="399"/>
                  </a:lnTo>
                  <a:lnTo>
                    <a:pt x="327" y="399"/>
                  </a:lnTo>
                  <a:lnTo>
                    <a:pt x="324" y="399"/>
                  </a:lnTo>
                  <a:lnTo>
                    <a:pt x="318" y="400"/>
                  </a:lnTo>
                  <a:lnTo>
                    <a:pt x="314" y="400"/>
                  </a:lnTo>
                  <a:lnTo>
                    <a:pt x="308" y="400"/>
                  </a:lnTo>
                  <a:lnTo>
                    <a:pt x="305" y="399"/>
                  </a:lnTo>
                  <a:lnTo>
                    <a:pt x="298" y="398"/>
                  </a:lnTo>
                  <a:lnTo>
                    <a:pt x="288" y="396"/>
                  </a:lnTo>
                  <a:lnTo>
                    <a:pt x="284" y="395"/>
                  </a:lnTo>
                  <a:lnTo>
                    <a:pt x="279" y="393"/>
                  </a:lnTo>
                  <a:lnTo>
                    <a:pt x="276" y="392"/>
                  </a:lnTo>
                  <a:lnTo>
                    <a:pt x="274" y="390"/>
                  </a:lnTo>
                  <a:lnTo>
                    <a:pt x="270" y="388"/>
                  </a:lnTo>
                  <a:lnTo>
                    <a:pt x="265" y="385"/>
                  </a:lnTo>
                  <a:lnTo>
                    <a:pt x="264" y="384"/>
                  </a:lnTo>
                  <a:lnTo>
                    <a:pt x="261" y="383"/>
                  </a:lnTo>
                  <a:lnTo>
                    <a:pt x="258" y="382"/>
                  </a:lnTo>
                  <a:lnTo>
                    <a:pt x="256" y="381"/>
                  </a:lnTo>
                  <a:lnTo>
                    <a:pt x="254" y="381"/>
                  </a:lnTo>
                  <a:lnTo>
                    <a:pt x="251" y="380"/>
                  </a:lnTo>
                  <a:lnTo>
                    <a:pt x="248" y="380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3" y="382"/>
                  </a:lnTo>
                  <a:lnTo>
                    <a:pt x="242" y="384"/>
                  </a:lnTo>
                  <a:lnTo>
                    <a:pt x="242" y="385"/>
                  </a:lnTo>
                  <a:lnTo>
                    <a:pt x="242" y="387"/>
                  </a:lnTo>
                  <a:lnTo>
                    <a:pt x="241" y="389"/>
                  </a:lnTo>
                  <a:lnTo>
                    <a:pt x="241" y="393"/>
                  </a:lnTo>
                  <a:lnTo>
                    <a:pt x="240" y="395"/>
                  </a:lnTo>
                  <a:lnTo>
                    <a:pt x="239" y="398"/>
                  </a:lnTo>
                  <a:lnTo>
                    <a:pt x="238" y="400"/>
                  </a:lnTo>
                  <a:lnTo>
                    <a:pt x="237" y="401"/>
                  </a:lnTo>
                  <a:lnTo>
                    <a:pt x="236" y="402"/>
                  </a:lnTo>
                  <a:lnTo>
                    <a:pt x="234" y="403"/>
                  </a:lnTo>
                  <a:lnTo>
                    <a:pt x="233" y="404"/>
                  </a:lnTo>
                  <a:lnTo>
                    <a:pt x="232" y="405"/>
                  </a:lnTo>
                  <a:lnTo>
                    <a:pt x="230" y="405"/>
                  </a:lnTo>
                  <a:lnTo>
                    <a:pt x="229" y="405"/>
                  </a:lnTo>
                  <a:lnTo>
                    <a:pt x="228" y="405"/>
                  </a:lnTo>
                  <a:lnTo>
                    <a:pt x="227" y="405"/>
                  </a:lnTo>
                  <a:lnTo>
                    <a:pt x="227" y="398"/>
                  </a:lnTo>
                  <a:lnTo>
                    <a:pt x="226" y="394"/>
                  </a:lnTo>
                  <a:lnTo>
                    <a:pt x="225" y="390"/>
                  </a:lnTo>
                  <a:lnTo>
                    <a:pt x="223" y="383"/>
                  </a:lnTo>
                  <a:lnTo>
                    <a:pt x="221" y="376"/>
                  </a:lnTo>
                  <a:lnTo>
                    <a:pt x="220" y="374"/>
                  </a:lnTo>
                  <a:lnTo>
                    <a:pt x="219" y="372"/>
                  </a:lnTo>
                  <a:lnTo>
                    <a:pt x="219" y="370"/>
                  </a:lnTo>
                  <a:lnTo>
                    <a:pt x="218" y="369"/>
                  </a:lnTo>
                  <a:lnTo>
                    <a:pt x="217" y="367"/>
                  </a:lnTo>
                  <a:lnTo>
                    <a:pt x="216" y="366"/>
                  </a:lnTo>
                  <a:lnTo>
                    <a:pt x="215" y="365"/>
                  </a:lnTo>
                  <a:lnTo>
                    <a:pt x="214" y="364"/>
                  </a:lnTo>
                  <a:lnTo>
                    <a:pt x="212" y="364"/>
                  </a:lnTo>
                  <a:lnTo>
                    <a:pt x="210" y="363"/>
                  </a:lnTo>
                  <a:lnTo>
                    <a:pt x="208" y="364"/>
                  </a:lnTo>
                  <a:lnTo>
                    <a:pt x="206" y="364"/>
                  </a:lnTo>
                  <a:lnTo>
                    <a:pt x="204" y="365"/>
                  </a:lnTo>
                  <a:lnTo>
                    <a:pt x="201" y="366"/>
                  </a:lnTo>
                  <a:lnTo>
                    <a:pt x="187" y="371"/>
                  </a:lnTo>
                  <a:lnTo>
                    <a:pt x="182" y="373"/>
                  </a:lnTo>
                  <a:lnTo>
                    <a:pt x="178" y="373"/>
                  </a:lnTo>
                  <a:lnTo>
                    <a:pt x="175" y="374"/>
                  </a:lnTo>
                  <a:lnTo>
                    <a:pt x="172" y="375"/>
                  </a:lnTo>
                  <a:lnTo>
                    <a:pt x="169" y="375"/>
                  </a:lnTo>
                  <a:lnTo>
                    <a:pt x="166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1" y="374"/>
                  </a:lnTo>
                  <a:lnTo>
                    <a:pt x="159" y="374"/>
                  </a:lnTo>
                  <a:lnTo>
                    <a:pt x="158" y="373"/>
                  </a:lnTo>
                  <a:lnTo>
                    <a:pt x="156" y="372"/>
                  </a:lnTo>
                  <a:lnTo>
                    <a:pt x="154" y="370"/>
                  </a:lnTo>
                  <a:lnTo>
                    <a:pt x="153" y="369"/>
                  </a:lnTo>
                  <a:lnTo>
                    <a:pt x="152" y="367"/>
                  </a:lnTo>
                  <a:lnTo>
                    <a:pt x="150" y="363"/>
                  </a:lnTo>
                  <a:lnTo>
                    <a:pt x="148" y="362"/>
                  </a:lnTo>
                  <a:lnTo>
                    <a:pt x="143" y="355"/>
                  </a:lnTo>
                  <a:lnTo>
                    <a:pt x="141" y="352"/>
                  </a:lnTo>
                  <a:lnTo>
                    <a:pt x="139" y="350"/>
                  </a:lnTo>
                  <a:lnTo>
                    <a:pt x="139" y="348"/>
                  </a:lnTo>
                  <a:lnTo>
                    <a:pt x="139" y="346"/>
                  </a:lnTo>
                  <a:lnTo>
                    <a:pt x="139" y="344"/>
                  </a:lnTo>
                  <a:lnTo>
                    <a:pt x="138" y="335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37" y="329"/>
                  </a:lnTo>
                  <a:lnTo>
                    <a:pt x="136" y="328"/>
                  </a:lnTo>
                  <a:lnTo>
                    <a:pt x="133" y="321"/>
                  </a:lnTo>
                  <a:lnTo>
                    <a:pt x="133" y="319"/>
                  </a:lnTo>
                  <a:lnTo>
                    <a:pt x="133" y="317"/>
                  </a:lnTo>
                  <a:lnTo>
                    <a:pt x="132" y="315"/>
                  </a:lnTo>
                  <a:lnTo>
                    <a:pt x="132" y="311"/>
                  </a:lnTo>
                  <a:lnTo>
                    <a:pt x="132" y="307"/>
                  </a:lnTo>
                  <a:lnTo>
                    <a:pt x="132" y="302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2" y="297"/>
                  </a:lnTo>
                  <a:lnTo>
                    <a:pt x="131" y="294"/>
                  </a:lnTo>
                  <a:lnTo>
                    <a:pt x="130" y="293"/>
                  </a:lnTo>
                  <a:lnTo>
                    <a:pt x="129" y="291"/>
                  </a:lnTo>
                  <a:lnTo>
                    <a:pt x="127" y="288"/>
                  </a:lnTo>
                  <a:lnTo>
                    <a:pt x="125" y="284"/>
                  </a:lnTo>
                  <a:lnTo>
                    <a:pt x="117" y="277"/>
                  </a:lnTo>
                  <a:lnTo>
                    <a:pt x="116" y="275"/>
                  </a:lnTo>
                  <a:lnTo>
                    <a:pt x="115" y="272"/>
                  </a:lnTo>
                  <a:lnTo>
                    <a:pt x="113" y="270"/>
                  </a:lnTo>
                  <a:lnTo>
                    <a:pt x="112" y="268"/>
                  </a:lnTo>
                  <a:lnTo>
                    <a:pt x="107" y="260"/>
                  </a:lnTo>
                  <a:lnTo>
                    <a:pt x="105" y="257"/>
                  </a:lnTo>
                  <a:lnTo>
                    <a:pt x="102" y="252"/>
                  </a:lnTo>
                  <a:lnTo>
                    <a:pt x="97" y="247"/>
                  </a:lnTo>
                  <a:lnTo>
                    <a:pt x="93" y="241"/>
                  </a:lnTo>
                  <a:lnTo>
                    <a:pt x="88" y="237"/>
                  </a:lnTo>
                  <a:lnTo>
                    <a:pt x="85" y="236"/>
                  </a:lnTo>
                  <a:lnTo>
                    <a:pt x="83" y="234"/>
                  </a:lnTo>
                  <a:lnTo>
                    <a:pt x="82" y="233"/>
                  </a:lnTo>
                  <a:lnTo>
                    <a:pt x="77" y="232"/>
                  </a:lnTo>
                  <a:lnTo>
                    <a:pt x="75" y="231"/>
                  </a:lnTo>
                  <a:lnTo>
                    <a:pt x="73" y="230"/>
                  </a:lnTo>
                  <a:lnTo>
                    <a:pt x="72" y="228"/>
                  </a:lnTo>
                  <a:lnTo>
                    <a:pt x="71" y="227"/>
                  </a:lnTo>
                  <a:lnTo>
                    <a:pt x="71" y="226"/>
                  </a:lnTo>
                  <a:lnTo>
                    <a:pt x="71" y="224"/>
                  </a:lnTo>
                  <a:lnTo>
                    <a:pt x="70" y="223"/>
                  </a:lnTo>
                  <a:lnTo>
                    <a:pt x="70" y="219"/>
                  </a:lnTo>
                  <a:lnTo>
                    <a:pt x="69" y="214"/>
                  </a:lnTo>
                  <a:lnTo>
                    <a:pt x="69" y="212"/>
                  </a:lnTo>
                  <a:lnTo>
                    <a:pt x="68" y="208"/>
                  </a:lnTo>
                  <a:lnTo>
                    <a:pt x="67" y="205"/>
                  </a:lnTo>
                  <a:lnTo>
                    <a:pt x="66" y="203"/>
                  </a:lnTo>
                  <a:lnTo>
                    <a:pt x="64" y="198"/>
                  </a:lnTo>
                  <a:lnTo>
                    <a:pt x="62" y="196"/>
                  </a:lnTo>
                  <a:lnTo>
                    <a:pt x="60" y="195"/>
                  </a:lnTo>
                  <a:lnTo>
                    <a:pt x="59" y="193"/>
                  </a:lnTo>
                  <a:lnTo>
                    <a:pt x="56" y="192"/>
                  </a:lnTo>
                  <a:lnTo>
                    <a:pt x="53" y="191"/>
                  </a:lnTo>
                  <a:lnTo>
                    <a:pt x="49" y="190"/>
                  </a:lnTo>
                  <a:lnTo>
                    <a:pt x="46" y="189"/>
                  </a:lnTo>
                  <a:lnTo>
                    <a:pt x="42" y="188"/>
                  </a:lnTo>
                  <a:lnTo>
                    <a:pt x="23" y="185"/>
                  </a:lnTo>
                  <a:lnTo>
                    <a:pt x="22" y="185"/>
                  </a:lnTo>
                  <a:lnTo>
                    <a:pt x="21" y="184"/>
                  </a:lnTo>
                  <a:lnTo>
                    <a:pt x="19" y="183"/>
                  </a:lnTo>
                  <a:lnTo>
                    <a:pt x="15" y="180"/>
                  </a:lnTo>
                  <a:lnTo>
                    <a:pt x="10" y="176"/>
                  </a:lnTo>
                  <a:lnTo>
                    <a:pt x="8" y="174"/>
                  </a:lnTo>
                  <a:lnTo>
                    <a:pt x="5" y="172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2" y="167"/>
                  </a:lnTo>
                  <a:lnTo>
                    <a:pt x="1" y="166"/>
                  </a:lnTo>
                  <a:lnTo>
                    <a:pt x="1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1"/>
                  </a:lnTo>
                  <a:lnTo>
                    <a:pt x="1" y="160"/>
                  </a:lnTo>
                  <a:lnTo>
                    <a:pt x="2" y="160"/>
                  </a:lnTo>
                  <a:lnTo>
                    <a:pt x="3" y="160"/>
                  </a:lnTo>
                  <a:lnTo>
                    <a:pt x="4" y="160"/>
                  </a:lnTo>
                  <a:lnTo>
                    <a:pt x="9" y="161"/>
                  </a:lnTo>
                  <a:lnTo>
                    <a:pt x="10" y="161"/>
                  </a:lnTo>
                  <a:lnTo>
                    <a:pt x="12" y="161"/>
                  </a:lnTo>
                  <a:lnTo>
                    <a:pt x="14" y="160"/>
                  </a:lnTo>
                  <a:lnTo>
                    <a:pt x="16" y="160"/>
                  </a:lnTo>
                  <a:lnTo>
                    <a:pt x="17" y="159"/>
                  </a:lnTo>
                  <a:lnTo>
                    <a:pt x="19" y="158"/>
                  </a:lnTo>
                  <a:lnTo>
                    <a:pt x="21" y="157"/>
                  </a:lnTo>
                  <a:lnTo>
                    <a:pt x="25" y="154"/>
                  </a:lnTo>
                  <a:lnTo>
                    <a:pt x="27" y="152"/>
                  </a:lnTo>
                  <a:lnTo>
                    <a:pt x="30" y="147"/>
                  </a:lnTo>
                  <a:lnTo>
                    <a:pt x="33" y="144"/>
                  </a:lnTo>
                  <a:lnTo>
                    <a:pt x="35" y="141"/>
                  </a:lnTo>
                  <a:lnTo>
                    <a:pt x="37" y="138"/>
                  </a:lnTo>
                  <a:lnTo>
                    <a:pt x="37" y="135"/>
                  </a:lnTo>
                  <a:lnTo>
                    <a:pt x="38" y="133"/>
                  </a:lnTo>
                  <a:lnTo>
                    <a:pt x="38" y="131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38" y="124"/>
                  </a:lnTo>
                  <a:lnTo>
                    <a:pt x="38" y="123"/>
                  </a:lnTo>
                  <a:lnTo>
                    <a:pt x="37" y="121"/>
                  </a:lnTo>
                  <a:lnTo>
                    <a:pt x="37" y="119"/>
                  </a:lnTo>
                  <a:lnTo>
                    <a:pt x="36" y="117"/>
                  </a:lnTo>
                  <a:lnTo>
                    <a:pt x="35" y="116"/>
                  </a:lnTo>
                  <a:lnTo>
                    <a:pt x="34" y="115"/>
                  </a:lnTo>
                  <a:lnTo>
                    <a:pt x="33" y="114"/>
                  </a:lnTo>
                  <a:lnTo>
                    <a:pt x="32" y="113"/>
                  </a:lnTo>
                  <a:lnTo>
                    <a:pt x="29" y="112"/>
                  </a:lnTo>
                  <a:lnTo>
                    <a:pt x="23" y="108"/>
                  </a:lnTo>
                  <a:lnTo>
                    <a:pt x="21" y="107"/>
                  </a:lnTo>
                  <a:lnTo>
                    <a:pt x="18" y="105"/>
                  </a:lnTo>
                  <a:lnTo>
                    <a:pt x="16" y="103"/>
                  </a:lnTo>
                  <a:lnTo>
                    <a:pt x="15" y="101"/>
                  </a:lnTo>
                  <a:lnTo>
                    <a:pt x="14" y="100"/>
                  </a:lnTo>
                  <a:lnTo>
                    <a:pt x="14" y="97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4" y="94"/>
                  </a:lnTo>
                  <a:lnTo>
                    <a:pt x="14" y="92"/>
                  </a:lnTo>
                  <a:lnTo>
                    <a:pt x="14" y="90"/>
                  </a:lnTo>
                  <a:lnTo>
                    <a:pt x="19" y="79"/>
                  </a:lnTo>
                  <a:lnTo>
                    <a:pt x="20" y="76"/>
                  </a:lnTo>
                  <a:lnTo>
                    <a:pt x="21" y="71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3" y="62"/>
                  </a:lnTo>
                  <a:lnTo>
                    <a:pt x="23" y="63"/>
                  </a:lnTo>
                  <a:lnTo>
                    <a:pt x="24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7" y="63"/>
                  </a:lnTo>
                  <a:lnTo>
                    <a:pt x="28" y="63"/>
                  </a:lnTo>
                  <a:lnTo>
                    <a:pt x="29" y="62"/>
                  </a:lnTo>
                  <a:lnTo>
                    <a:pt x="31" y="61"/>
                  </a:lnTo>
                  <a:lnTo>
                    <a:pt x="33" y="60"/>
                  </a:lnTo>
                  <a:lnTo>
                    <a:pt x="37" y="56"/>
                  </a:lnTo>
                  <a:lnTo>
                    <a:pt x="38" y="55"/>
                  </a:lnTo>
                  <a:lnTo>
                    <a:pt x="43" y="49"/>
                  </a:lnTo>
                  <a:lnTo>
                    <a:pt x="44" y="48"/>
                  </a:lnTo>
                  <a:lnTo>
                    <a:pt x="45" y="47"/>
                  </a:lnTo>
                  <a:lnTo>
                    <a:pt x="47" y="45"/>
                  </a:lnTo>
                  <a:lnTo>
                    <a:pt x="50" y="45"/>
                  </a:lnTo>
                  <a:lnTo>
                    <a:pt x="53" y="44"/>
                  </a:lnTo>
                  <a:lnTo>
                    <a:pt x="55" y="43"/>
                  </a:lnTo>
                  <a:lnTo>
                    <a:pt x="57" y="43"/>
                  </a:lnTo>
                  <a:lnTo>
                    <a:pt x="58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2" y="44"/>
                  </a:lnTo>
                  <a:lnTo>
                    <a:pt x="65" y="45"/>
                  </a:lnTo>
                  <a:lnTo>
                    <a:pt x="67" y="45"/>
                  </a:lnTo>
                  <a:lnTo>
                    <a:pt x="69" y="46"/>
                  </a:lnTo>
                  <a:lnTo>
                    <a:pt x="71" y="46"/>
                  </a:lnTo>
                  <a:lnTo>
                    <a:pt x="73" y="46"/>
                  </a:lnTo>
                  <a:lnTo>
                    <a:pt x="79" y="45"/>
                  </a:lnTo>
                  <a:lnTo>
                    <a:pt x="83" y="45"/>
                  </a:lnTo>
                  <a:lnTo>
                    <a:pt x="91" y="44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7" y="43"/>
                  </a:lnTo>
                  <a:lnTo>
                    <a:pt x="99" y="43"/>
                  </a:lnTo>
                  <a:lnTo>
                    <a:pt x="110" y="45"/>
                  </a:lnTo>
                  <a:lnTo>
                    <a:pt x="114" y="45"/>
                  </a:lnTo>
                  <a:lnTo>
                    <a:pt x="117" y="46"/>
                  </a:lnTo>
                  <a:lnTo>
                    <a:pt x="122" y="46"/>
                  </a:lnTo>
                  <a:lnTo>
                    <a:pt x="126" y="45"/>
                  </a:lnTo>
                  <a:lnTo>
                    <a:pt x="129" y="45"/>
                  </a:lnTo>
                  <a:lnTo>
                    <a:pt x="131" y="45"/>
                  </a:lnTo>
                  <a:lnTo>
                    <a:pt x="132" y="45"/>
                  </a:lnTo>
                  <a:lnTo>
                    <a:pt x="134" y="44"/>
                  </a:lnTo>
                  <a:lnTo>
                    <a:pt x="135" y="42"/>
                  </a:lnTo>
                  <a:lnTo>
                    <a:pt x="136" y="41"/>
                  </a:lnTo>
                  <a:lnTo>
                    <a:pt x="137" y="39"/>
                  </a:lnTo>
                  <a:lnTo>
                    <a:pt x="138" y="35"/>
                  </a:lnTo>
                  <a:lnTo>
                    <a:pt x="139" y="33"/>
                  </a:lnTo>
                  <a:lnTo>
                    <a:pt x="144" y="12"/>
                  </a:lnTo>
                  <a:lnTo>
                    <a:pt x="146" y="7"/>
                  </a:lnTo>
                  <a:lnTo>
                    <a:pt x="147" y="3"/>
                  </a:lnTo>
                  <a:lnTo>
                    <a:pt x="148" y="1"/>
                  </a:lnTo>
                  <a:lnTo>
                    <a:pt x="149" y="0"/>
                  </a:lnTo>
                  <a:lnTo>
                    <a:pt x="150" y="0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8" name="Freeform 61">
              <a:extLst>
                <a:ext uri="{FF2B5EF4-FFF2-40B4-BE49-F238E27FC236}">
                  <a16:creationId xmlns:a16="http://schemas.microsoft.com/office/drawing/2014/main" id="{8751E035-61AD-4C48-957C-13AB91A35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1" y="3049"/>
              <a:ext cx="222" cy="211"/>
            </a:xfrm>
            <a:custGeom>
              <a:avLst/>
              <a:gdLst>
                <a:gd name="T0" fmla="*/ 130 w 222"/>
                <a:gd name="T1" fmla="*/ 4 h 211"/>
                <a:gd name="T2" fmla="*/ 141 w 222"/>
                <a:gd name="T3" fmla="*/ 4 h 211"/>
                <a:gd name="T4" fmla="*/ 145 w 222"/>
                <a:gd name="T5" fmla="*/ 9 h 211"/>
                <a:gd name="T6" fmla="*/ 148 w 222"/>
                <a:gd name="T7" fmla="*/ 6 h 211"/>
                <a:gd name="T8" fmla="*/ 151 w 222"/>
                <a:gd name="T9" fmla="*/ 0 h 211"/>
                <a:gd name="T10" fmla="*/ 162 w 222"/>
                <a:gd name="T11" fmla="*/ 7 h 211"/>
                <a:gd name="T12" fmla="*/ 156 w 222"/>
                <a:gd name="T13" fmla="*/ 10 h 211"/>
                <a:gd name="T14" fmla="*/ 151 w 222"/>
                <a:gd name="T15" fmla="*/ 16 h 211"/>
                <a:gd name="T16" fmla="*/ 150 w 222"/>
                <a:gd name="T17" fmla="*/ 22 h 211"/>
                <a:gd name="T18" fmla="*/ 154 w 222"/>
                <a:gd name="T19" fmla="*/ 33 h 211"/>
                <a:gd name="T20" fmla="*/ 165 w 222"/>
                <a:gd name="T21" fmla="*/ 54 h 211"/>
                <a:gd name="T22" fmla="*/ 179 w 222"/>
                <a:gd name="T23" fmla="*/ 71 h 211"/>
                <a:gd name="T24" fmla="*/ 186 w 222"/>
                <a:gd name="T25" fmla="*/ 80 h 211"/>
                <a:gd name="T26" fmla="*/ 193 w 222"/>
                <a:gd name="T27" fmla="*/ 80 h 211"/>
                <a:gd name="T28" fmla="*/ 213 w 222"/>
                <a:gd name="T29" fmla="*/ 66 h 211"/>
                <a:gd name="T30" fmla="*/ 219 w 222"/>
                <a:gd name="T31" fmla="*/ 64 h 211"/>
                <a:gd name="T32" fmla="*/ 222 w 222"/>
                <a:gd name="T33" fmla="*/ 67 h 211"/>
                <a:gd name="T34" fmla="*/ 219 w 222"/>
                <a:gd name="T35" fmla="*/ 90 h 211"/>
                <a:gd name="T36" fmla="*/ 216 w 222"/>
                <a:gd name="T37" fmla="*/ 113 h 211"/>
                <a:gd name="T38" fmla="*/ 208 w 222"/>
                <a:gd name="T39" fmla="*/ 130 h 211"/>
                <a:gd name="T40" fmla="*/ 207 w 222"/>
                <a:gd name="T41" fmla="*/ 144 h 211"/>
                <a:gd name="T42" fmla="*/ 210 w 222"/>
                <a:gd name="T43" fmla="*/ 168 h 211"/>
                <a:gd name="T44" fmla="*/ 212 w 222"/>
                <a:gd name="T45" fmla="*/ 182 h 211"/>
                <a:gd name="T46" fmla="*/ 206 w 222"/>
                <a:gd name="T47" fmla="*/ 194 h 211"/>
                <a:gd name="T48" fmla="*/ 189 w 222"/>
                <a:gd name="T49" fmla="*/ 206 h 211"/>
                <a:gd name="T50" fmla="*/ 175 w 222"/>
                <a:gd name="T51" fmla="*/ 210 h 211"/>
                <a:gd name="T52" fmla="*/ 156 w 222"/>
                <a:gd name="T53" fmla="*/ 210 h 211"/>
                <a:gd name="T54" fmla="*/ 155 w 222"/>
                <a:gd name="T55" fmla="*/ 206 h 211"/>
                <a:gd name="T56" fmla="*/ 157 w 222"/>
                <a:gd name="T57" fmla="*/ 189 h 211"/>
                <a:gd name="T58" fmla="*/ 155 w 222"/>
                <a:gd name="T59" fmla="*/ 182 h 211"/>
                <a:gd name="T60" fmla="*/ 140 w 222"/>
                <a:gd name="T61" fmla="*/ 183 h 211"/>
                <a:gd name="T62" fmla="*/ 130 w 222"/>
                <a:gd name="T63" fmla="*/ 180 h 211"/>
                <a:gd name="T64" fmla="*/ 122 w 222"/>
                <a:gd name="T65" fmla="*/ 168 h 211"/>
                <a:gd name="T66" fmla="*/ 118 w 222"/>
                <a:gd name="T67" fmla="*/ 163 h 211"/>
                <a:gd name="T68" fmla="*/ 106 w 222"/>
                <a:gd name="T69" fmla="*/ 162 h 211"/>
                <a:gd name="T70" fmla="*/ 99 w 222"/>
                <a:gd name="T71" fmla="*/ 160 h 211"/>
                <a:gd name="T72" fmla="*/ 83 w 222"/>
                <a:gd name="T73" fmla="*/ 151 h 211"/>
                <a:gd name="T74" fmla="*/ 67 w 222"/>
                <a:gd name="T75" fmla="*/ 143 h 211"/>
                <a:gd name="T76" fmla="*/ 42 w 222"/>
                <a:gd name="T77" fmla="*/ 122 h 211"/>
                <a:gd name="T78" fmla="*/ 25 w 222"/>
                <a:gd name="T79" fmla="*/ 117 h 211"/>
                <a:gd name="T80" fmla="*/ 14 w 222"/>
                <a:gd name="T81" fmla="*/ 112 h 211"/>
                <a:gd name="T82" fmla="*/ 2 w 222"/>
                <a:gd name="T83" fmla="*/ 95 h 211"/>
                <a:gd name="T84" fmla="*/ 0 w 222"/>
                <a:gd name="T85" fmla="*/ 85 h 211"/>
                <a:gd name="T86" fmla="*/ 7 w 222"/>
                <a:gd name="T87" fmla="*/ 62 h 211"/>
                <a:gd name="T88" fmla="*/ 11 w 222"/>
                <a:gd name="T89" fmla="*/ 36 h 211"/>
                <a:gd name="T90" fmla="*/ 15 w 222"/>
                <a:gd name="T91" fmla="*/ 27 h 211"/>
                <a:gd name="T92" fmla="*/ 20 w 222"/>
                <a:gd name="T93" fmla="*/ 22 h 211"/>
                <a:gd name="T94" fmla="*/ 33 w 222"/>
                <a:gd name="T95" fmla="*/ 22 h 211"/>
                <a:gd name="T96" fmla="*/ 47 w 222"/>
                <a:gd name="T97" fmla="*/ 33 h 211"/>
                <a:gd name="T98" fmla="*/ 56 w 222"/>
                <a:gd name="T99" fmla="*/ 47 h 211"/>
                <a:gd name="T100" fmla="*/ 66 w 222"/>
                <a:gd name="T101" fmla="*/ 56 h 211"/>
                <a:gd name="T102" fmla="*/ 72 w 222"/>
                <a:gd name="T103" fmla="*/ 57 h 211"/>
                <a:gd name="T104" fmla="*/ 82 w 222"/>
                <a:gd name="T105" fmla="*/ 49 h 211"/>
                <a:gd name="T106" fmla="*/ 92 w 222"/>
                <a:gd name="T107" fmla="*/ 44 h 211"/>
                <a:gd name="T108" fmla="*/ 97 w 222"/>
                <a:gd name="T109" fmla="*/ 35 h 211"/>
                <a:gd name="T110" fmla="*/ 107 w 222"/>
                <a:gd name="T111" fmla="*/ 23 h 211"/>
                <a:gd name="T112" fmla="*/ 126 w 222"/>
                <a:gd name="T113" fmla="*/ 3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2" h="211">
                  <a:moveTo>
                    <a:pt x="126" y="3"/>
                  </a:moveTo>
                  <a:lnTo>
                    <a:pt x="127" y="3"/>
                  </a:lnTo>
                  <a:lnTo>
                    <a:pt x="127" y="3"/>
                  </a:lnTo>
                  <a:lnTo>
                    <a:pt x="128" y="4"/>
                  </a:lnTo>
                  <a:lnTo>
                    <a:pt x="130" y="4"/>
                  </a:lnTo>
                  <a:lnTo>
                    <a:pt x="132" y="4"/>
                  </a:lnTo>
                  <a:lnTo>
                    <a:pt x="136" y="3"/>
                  </a:lnTo>
                  <a:lnTo>
                    <a:pt x="138" y="3"/>
                  </a:lnTo>
                  <a:lnTo>
                    <a:pt x="139" y="3"/>
                  </a:lnTo>
                  <a:lnTo>
                    <a:pt x="141" y="4"/>
                  </a:lnTo>
                  <a:lnTo>
                    <a:pt x="142" y="4"/>
                  </a:lnTo>
                  <a:lnTo>
                    <a:pt x="143" y="5"/>
                  </a:lnTo>
                  <a:lnTo>
                    <a:pt x="144" y="8"/>
                  </a:lnTo>
                  <a:lnTo>
                    <a:pt x="144" y="9"/>
                  </a:lnTo>
                  <a:lnTo>
                    <a:pt x="145" y="9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48" y="7"/>
                  </a:lnTo>
                  <a:lnTo>
                    <a:pt x="148" y="6"/>
                  </a:lnTo>
                  <a:lnTo>
                    <a:pt x="149" y="4"/>
                  </a:lnTo>
                  <a:lnTo>
                    <a:pt x="149" y="2"/>
                  </a:lnTo>
                  <a:lnTo>
                    <a:pt x="150" y="1"/>
                  </a:lnTo>
                  <a:lnTo>
                    <a:pt x="150" y="1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52" y="1"/>
                  </a:lnTo>
                  <a:lnTo>
                    <a:pt x="154" y="2"/>
                  </a:lnTo>
                  <a:lnTo>
                    <a:pt x="160" y="6"/>
                  </a:lnTo>
                  <a:lnTo>
                    <a:pt x="162" y="7"/>
                  </a:lnTo>
                  <a:lnTo>
                    <a:pt x="164" y="8"/>
                  </a:lnTo>
                  <a:lnTo>
                    <a:pt x="163" y="8"/>
                  </a:lnTo>
                  <a:lnTo>
                    <a:pt x="160" y="9"/>
                  </a:lnTo>
                  <a:lnTo>
                    <a:pt x="158" y="10"/>
                  </a:lnTo>
                  <a:lnTo>
                    <a:pt x="156" y="10"/>
                  </a:lnTo>
                  <a:lnTo>
                    <a:pt x="156" y="11"/>
                  </a:lnTo>
                  <a:lnTo>
                    <a:pt x="154" y="12"/>
                  </a:lnTo>
                  <a:lnTo>
                    <a:pt x="153" y="14"/>
                  </a:lnTo>
                  <a:lnTo>
                    <a:pt x="152" y="15"/>
                  </a:lnTo>
                  <a:lnTo>
                    <a:pt x="151" y="16"/>
                  </a:lnTo>
                  <a:lnTo>
                    <a:pt x="150" y="17"/>
                  </a:lnTo>
                  <a:lnTo>
                    <a:pt x="150" y="19"/>
                  </a:lnTo>
                  <a:lnTo>
                    <a:pt x="150" y="20"/>
                  </a:lnTo>
                  <a:lnTo>
                    <a:pt x="150" y="21"/>
                  </a:lnTo>
                  <a:lnTo>
                    <a:pt x="150" y="22"/>
                  </a:lnTo>
                  <a:lnTo>
                    <a:pt x="150" y="23"/>
                  </a:lnTo>
                  <a:lnTo>
                    <a:pt x="150" y="25"/>
                  </a:lnTo>
                  <a:lnTo>
                    <a:pt x="151" y="27"/>
                  </a:lnTo>
                  <a:lnTo>
                    <a:pt x="152" y="30"/>
                  </a:lnTo>
                  <a:lnTo>
                    <a:pt x="154" y="33"/>
                  </a:lnTo>
                  <a:lnTo>
                    <a:pt x="156" y="38"/>
                  </a:lnTo>
                  <a:lnTo>
                    <a:pt x="158" y="41"/>
                  </a:lnTo>
                  <a:lnTo>
                    <a:pt x="160" y="44"/>
                  </a:lnTo>
                  <a:lnTo>
                    <a:pt x="163" y="51"/>
                  </a:lnTo>
                  <a:lnTo>
                    <a:pt x="165" y="54"/>
                  </a:lnTo>
                  <a:lnTo>
                    <a:pt x="166" y="56"/>
                  </a:lnTo>
                  <a:lnTo>
                    <a:pt x="167" y="57"/>
                  </a:lnTo>
                  <a:lnTo>
                    <a:pt x="174" y="65"/>
                  </a:lnTo>
                  <a:lnTo>
                    <a:pt x="177" y="68"/>
                  </a:lnTo>
                  <a:lnTo>
                    <a:pt x="179" y="71"/>
                  </a:lnTo>
                  <a:lnTo>
                    <a:pt x="182" y="77"/>
                  </a:lnTo>
                  <a:lnTo>
                    <a:pt x="183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6" y="80"/>
                  </a:lnTo>
                  <a:lnTo>
                    <a:pt x="188" y="80"/>
                  </a:lnTo>
                  <a:lnTo>
                    <a:pt x="190" y="81"/>
                  </a:lnTo>
                  <a:lnTo>
                    <a:pt x="190" y="80"/>
                  </a:lnTo>
                  <a:lnTo>
                    <a:pt x="192" y="80"/>
                  </a:lnTo>
                  <a:lnTo>
                    <a:pt x="193" y="80"/>
                  </a:lnTo>
                  <a:lnTo>
                    <a:pt x="197" y="78"/>
                  </a:lnTo>
                  <a:lnTo>
                    <a:pt x="201" y="76"/>
                  </a:lnTo>
                  <a:lnTo>
                    <a:pt x="205" y="72"/>
                  </a:lnTo>
                  <a:lnTo>
                    <a:pt x="211" y="67"/>
                  </a:lnTo>
                  <a:lnTo>
                    <a:pt x="213" y="66"/>
                  </a:lnTo>
                  <a:lnTo>
                    <a:pt x="215" y="65"/>
                  </a:lnTo>
                  <a:lnTo>
                    <a:pt x="216" y="64"/>
                  </a:lnTo>
                  <a:lnTo>
                    <a:pt x="217" y="64"/>
                  </a:lnTo>
                  <a:lnTo>
                    <a:pt x="218" y="64"/>
                  </a:lnTo>
                  <a:lnTo>
                    <a:pt x="219" y="64"/>
                  </a:lnTo>
                  <a:lnTo>
                    <a:pt x="220" y="64"/>
                  </a:lnTo>
                  <a:lnTo>
                    <a:pt x="221" y="64"/>
                  </a:lnTo>
                  <a:lnTo>
                    <a:pt x="221" y="65"/>
                  </a:lnTo>
                  <a:lnTo>
                    <a:pt x="222" y="66"/>
                  </a:lnTo>
                  <a:lnTo>
                    <a:pt x="222" y="67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0" y="78"/>
                  </a:lnTo>
                  <a:lnTo>
                    <a:pt x="220" y="84"/>
                  </a:lnTo>
                  <a:lnTo>
                    <a:pt x="219" y="90"/>
                  </a:lnTo>
                  <a:lnTo>
                    <a:pt x="219" y="96"/>
                  </a:lnTo>
                  <a:lnTo>
                    <a:pt x="218" y="103"/>
                  </a:lnTo>
                  <a:lnTo>
                    <a:pt x="218" y="108"/>
                  </a:lnTo>
                  <a:lnTo>
                    <a:pt x="217" y="111"/>
                  </a:lnTo>
                  <a:lnTo>
                    <a:pt x="216" y="113"/>
                  </a:lnTo>
                  <a:lnTo>
                    <a:pt x="215" y="116"/>
                  </a:lnTo>
                  <a:lnTo>
                    <a:pt x="214" y="118"/>
                  </a:lnTo>
                  <a:lnTo>
                    <a:pt x="210" y="126"/>
                  </a:lnTo>
                  <a:lnTo>
                    <a:pt x="209" y="128"/>
                  </a:lnTo>
                  <a:lnTo>
                    <a:pt x="208" y="130"/>
                  </a:lnTo>
                  <a:lnTo>
                    <a:pt x="208" y="132"/>
                  </a:lnTo>
                  <a:lnTo>
                    <a:pt x="207" y="135"/>
                  </a:lnTo>
                  <a:lnTo>
                    <a:pt x="207" y="137"/>
                  </a:lnTo>
                  <a:lnTo>
                    <a:pt x="207" y="139"/>
                  </a:lnTo>
                  <a:lnTo>
                    <a:pt x="207" y="144"/>
                  </a:lnTo>
                  <a:lnTo>
                    <a:pt x="207" y="153"/>
                  </a:lnTo>
                  <a:lnTo>
                    <a:pt x="208" y="157"/>
                  </a:lnTo>
                  <a:lnTo>
                    <a:pt x="208" y="160"/>
                  </a:lnTo>
                  <a:lnTo>
                    <a:pt x="209" y="164"/>
                  </a:lnTo>
                  <a:lnTo>
                    <a:pt x="210" y="168"/>
                  </a:lnTo>
                  <a:lnTo>
                    <a:pt x="212" y="174"/>
                  </a:lnTo>
                  <a:lnTo>
                    <a:pt x="212" y="176"/>
                  </a:lnTo>
                  <a:lnTo>
                    <a:pt x="212" y="178"/>
                  </a:lnTo>
                  <a:lnTo>
                    <a:pt x="212" y="180"/>
                  </a:lnTo>
                  <a:lnTo>
                    <a:pt x="212" y="182"/>
                  </a:lnTo>
                  <a:lnTo>
                    <a:pt x="211" y="185"/>
                  </a:lnTo>
                  <a:lnTo>
                    <a:pt x="210" y="188"/>
                  </a:lnTo>
                  <a:lnTo>
                    <a:pt x="209" y="190"/>
                  </a:lnTo>
                  <a:lnTo>
                    <a:pt x="208" y="192"/>
                  </a:lnTo>
                  <a:lnTo>
                    <a:pt x="206" y="194"/>
                  </a:lnTo>
                  <a:lnTo>
                    <a:pt x="204" y="196"/>
                  </a:lnTo>
                  <a:lnTo>
                    <a:pt x="201" y="199"/>
                  </a:lnTo>
                  <a:lnTo>
                    <a:pt x="195" y="203"/>
                  </a:lnTo>
                  <a:lnTo>
                    <a:pt x="191" y="205"/>
                  </a:lnTo>
                  <a:lnTo>
                    <a:pt x="189" y="206"/>
                  </a:lnTo>
                  <a:lnTo>
                    <a:pt x="187" y="207"/>
                  </a:lnTo>
                  <a:lnTo>
                    <a:pt x="184" y="208"/>
                  </a:lnTo>
                  <a:lnTo>
                    <a:pt x="181" y="209"/>
                  </a:lnTo>
                  <a:lnTo>
                    <a:pt x="179" y="209"/>
                  </a:lnTo>
                  <a:lnTo>
                    <a:pt x="175" y="210"/>
                  </a:lnTo>
                  <a:lnTo>
                    <a:pt x="165" y="210"/>
                  </a:lnTo>
                  <a:lnTo>
                    <a:pt x="158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6" y="210"/>
                  </a:lnTo>
                  <a:lnTo>
                    <a:pt x="156" y="210"/>
                  </a:lnTo>
                  <a:lnTo>
                    <a:pt x="156" y="209"/>
                  </a:lnTo>
                  <a:lnTo>
                    <a:pt x="155" y="208"/>
                  </a:lnTo>
                  <a:lnTo>
                    <a:pt x="155" y="207"/>
                  </a:lnTo>
                  <a:lnTo>
                    <a:pt x="155" y="206"/>
                  </a:lnTo>
                  <a:lnTo>
                    <a:pt x="155" y="203"/>
                  </a:lnTo>
                  <a:lnTo>
                    <a:pt x="155" y="201"/>
                  </a:lnTo>
                  <a:lnTo>
                    <a:pt x="156" y="196"/>
                  </a:lnTo>
                  <a:lnTo>
                    <a:pt x="157" y="192"/>
                  </a:lnTo>
                  <a:lnTo>
                    <a:pt x="157" y="189"/>
                  </a:lnTo>
                  <a:lnTo>
                    <a:pt x="157" y="187"/>
                  </a:lnTo>
                  <a:lnTo>
                    <a:pt x="157" y="185"/>
                  </a:lnTo>
                  <a:lnTo>
                    <a:pt x="156" y="184"/>
                  </a:lnTo>
                  <a:lnTo>
                    <a:pt x="156" y="183"/>
                  </a:lnTo>
                  <a:lnTo>
                    <a:pt x="155" y="182"/>
                  </a:lnTo>
                  <a:lnTo>
                    <a:pt x="153" y="182"/>
                  </a:lnTo>
                  <a:lnTo>
                    <a:pt x="148" y="183"/>
                  </a:lnTo>
                  <a:lnTo>
                    <a:pt x="145" y="183"/>
                  </a:lnTo>
                  <a:lnTo>
                    <a:pt x="143" y="183"/>
                  </a:lnTo>
                  <a:lnTo>
                    <a:pt x="140" y="183"/>
                  </a:lnTo>
                  <a:lnTo>
                    <a:pt x="135" y="183"/>
                  </a:lnTo>
                  <a:lnTo>
                    <a:pt x="133" y="182"/>
                  </a:lnTo>
                  <a:lnTo>
                    <a:pt x="132" y="181"/>
                  </a:lnTo>
                  <a:lnTo>
                    <a:pt x="130" y="181"/>
                  </a:lnTo>
                  <a:lnTo>
                    <a:pt x="130" y="180"/>
                  </a:lnTo>
                  <a:lnTo>
                    <a:pt x="129" y="180"/>
                  </a:lnTo>
                  <a:lnTo>
                    <a:pt x="128" y="179"/>
                  </a:lnTo>
                  <a:lnTo>
                    <a:pt x="127" y="177"/>
                  </a:lnTo>
                  <a:lnTo>
                    <a:pt x="124" y="171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1" y="166"/>
                  </a:lnTo>
                  <a:lnTo>
                    <a:pt x="120" y="165"/>
                  </a:lnTo>
                  <a:lnTo>
                    <a:pt x="119" y="164"/>
                  </a:lnTo>
                  <a:lnTo>
                    <a:pt x="118" y="163"/>
                  </a:lnTo>
                  <a:lnTo>
                    <a:pt x="116" y="162"/>
                  </a:lnTo>
                  <a:lnTo>
                    <a:pt x="115" y="162"/>
                  </a:lnTo>
                  <a:lnTo>
                    <a:pt x="113" y="162"/>
                  </a:lnTo>
                  <a:lnTo>
                    <a:pt x="111" y="161"/>
                  </a:lnTo>
                  <a:lnTo>
                    <a:pt x="106" y="162"/>
                  </a:lnTo>
                  <a:lnTo>
                    <a:pt x="103" y="162"/>
                  </a:lnTo>
                  <a:lnTo>
                    <a:pt x="102" y="161"/>
                  </a:lnTo>
                  <a:lnTo>
                    <a:pt x="100" y="161"/>
                  </a:lnTo>
                  <a:lnTo>
                    <a:pt x="99" y="161"/>
                  </a:lnTo>
                  <a:lnTo>
                    <a:pt x="99" y="160"/>
                  </a:lnTo>
                  <a:lnTo>
                    <a:pt x="96" y="159"/>
                  </a:lnTo>
                  <a:lnTo>
                    <a:pt x="90" y="155"/>
                  </a:lnTo>
                  <a:lnTo>
                    <a:pt x="87" y="153"/>
                  </a:lnTo>
                  <a:lnTo>
                    <a:pt x="86" y="152"/>
                  </a:lnTo>
                  <a:lnTo>
                    <a:pt x="83" y="151"/>
                  </a:lnTo>
                  <a:lnTo>
                    <a:pt x="77" y="149"/>
                  </a:lnTo>
                  <a:lnTo>
                    <a:pt x="76" y="148"/>
                  </a:lnTo>
                  <a:lnTo>
                    <a:pt x="73" y="147"/>
                  </a:lnTo>
                  <a:lnTo>
                    <a:pt x="70" y="146"/>
                  </a:lnTo>
                  <a:lnTo>
                    <a:pt x="67" y="143"/>
                  </a:lnTo>
                  <a:lnTo>
                    <a:pt x="53" y="132"/>
                  </a:lnTo>
                  <a:lnTo>
                    <a:pt x="52" y="130"/>
                  </a:lnTo>
                  <a:lnTo>
                    <a:pt x="45" y="124"/>
                  </a:lnTo>
                  <a:lnTo>
                    <a:pt x="43" y="123"/>
                  </a:lnTo>
                  <a:lnTo>
                    <a:pt x="42" y="122"/>
                  </a:lnTo>
                  <a:lnTo>
                    <a:pt x="39" y="120"/>
                  </a:lnTo>
                  <a:lnTo>
                    <a:pt x="36" y="119"/>
                  </a:lnTo>
                  <a:lnTo>
                    <a:pt x="32" y="118"/>
                  </a:lnTo>
                  <a:lnTo>
                    <a:pt x="28" y="118"/>
                  </a:lnTo>
                  <a:lnTo>
                    <a:pt x="25" y="117"/>
                  </a:lnTo>
                  <a:lnTo>
                    <a:pt x="22" y="117"/>
                  </a:lnTo>
                  <a:lnTo>
                    <a:pt x="20" y="116"/>
                  </a:lnTo>
                  <a:lnTo>
                    <a:pt x="19" y="115"/>
                  </a:lnTo>
                  <a:lnTo>
                    <a:pt x="17" y="113"/>
                  </a:lnTo>
                  <a:lnTo>
                    <a:pt x="14" y="112"/>
                  </a:lnTo>
                  <a:lnTo>
                    <a:pt x="11" y="109"/>
                  </a:lnTo>
                  <a:lnTo>
                    <a:pt x="9" y="105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2" y="95"/>
                  </a:lnTo>
                  <a:lnTo>
                    <a:pt x="1" y="93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0" y="80"/>
                  </a:lnTo>
                  <a:lnTo>
                    <a:pt x="1" y="78"/>
                  </a:lnTo>
                  <a:lnTo>
                    <a:pt x="2" y="74"/>
                  </a:lnTo>
                  <a:lnTo>
                    <a:pt x="2" y="72"/>
                  </a:lnTo>
                  <a:lnTo>
                    <a:pt x="7" y="62"/>
                  </a:lnTo>
                  <a:lnTo>
                    <a:pt x="8" y="57"/>
                  </a:lnTo>
                  <a:lnTo>
                    <a:pt x="9" y="54"/>
                  </a:lnTo>
                  <a:lnTo>
                    <a:pt x="10" y="48"/>
                  </a:lnTo>
                  <a:lnTo>
                    <a:pt x="11" y="39"/>
                  </a:lnTo>
                  <a:lnTo>
                    <a:pt x="11" y="36"/>
                  </a:lnTo>
                  <a:lnTo>
                    <a:pt x="12" y="34"/>
                  </a:lnTo>
                  <a:lnTo>
                    <a:pt x="13" y="32"/>
                  </a:lnTo>
                  <a:lnTo>
                    <a:pt x="13" y="30"/>
                  </a:lnTo>
                  <a:lnTo>
                    <a:pt x="14" y="29"/>
                  </a:lnTo>
                  <a:lnTo>
                    <a:pt x="15" y="27"/>
                  </a:lnTo>
                  <a:lnTo>
                    <a:pt x="16" y="26"/>
                  </a:lnTo>
                  <a:lnTo>
                    <a:pt x="17" y="24"/>
                  </a:lnTo>
                  <a:lnTo>
                    <a:pt x="18" y="23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2" y="21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6" y="24"/>
                  </a:lnTo>
                  <a:lnTo>
                    <a:pt x="39" y="25"/>
                  </a:lnTo>
                  <a:lnTo>
                    <a:pt x="42" y="28"/>
                  </a:lnTo>
                  <a:lnTo>
                    <a:pt x="44" y="30"/>
                  </a:lnTo>
                  <a:lnTo>
                    <a:pt x="47" y="33"/>
                  </a:lnTo>
                  <a:lnTo>
                    <a:pt x="49" y="35"/>
                  </a:lnTo>
                  <a:lnTo>
                    <a:pt x="51" y="36"/>
                  </a:lnTo>
                  <a:lnTo>
                    <a:pt x="52" y="38"/>
                  </a:lnTo>
                  <a:lnTo>
                    <a:pt x="55" y="44"/>
                  </a:lnTo>
                  <a:lnTo>
                    <a:pt x="56" y="47"/>
                  </a:lnTo>
                  <a:lnTo>
                    <a:pt x="59" y="50"/>
                  </a:lnTo>
                  <a:lnTo>
                    <a:pt x="62" y="53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6" y="56"/>
                  </a:lnTo>
                  <a:lnTo>
                    <a:pt x="67" y="57"/>
                  </a:lnTo>
                  <a:lnTo>
                    <a:pt x="69" y="57"/>
                  </a:lnTo>
                  <a:lnTo>
                    <a:pt x="70" y="57"/>
                  </a:lnTo>
                  <a:lnTo>
                    <a:pt x="71" y="57"/>
                  </a:lnTo>
                  <a:lnTo>
                    <a:pt x="72" y="57"/>
                  </a:lnTo>
                  <a:lnTo>
                    <a:pt x="73" y="56"/>
                  </a:lnTo>
                  <a:lnTo>
                    <a:pt x="76" y="53"/>
                  </a:lnTo>
                  <a:lnTo>
                    <a:pt x="77" y="52"/>
                  </a:lnTo>
                  <a:lnTo>
                    <a:pt x="78" y="51"/>
                  </a:lnTo>
                  <a:lnTo>
                    <a:pt x="82" y="49"/>
                  </a:lnTo>
                  <a:lnTo>
                    <a:pt x="86" y="47"/>
                  </a:lnTo>
                  <a:lnTo>
                    <a:pt x="88" y="46"/>
                  </a:lnTo>
                  <a:lnTo>
                    <a:pt x="90" y="45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3" y="44"/>
                  </a:lnTo>
                  <a:lnTo>
                    <a:pt x="94" y="42"/>
                  </a:lnTo>
                  <a:lnTo>
                    <a:pt x="95" y="39"/>
                  </a:lnTo>
                  <a:lnTo>
                    <a:pt x="96" y="36"/>
                  </a:lnTo>
                  <a:lnTo>
                    <a:pt x="97" y="35"/>
                  </a:lnTo>
                  <a:lnTo>
                    <a:pt x="98" y="33"/>
                  </a:lnTo>
                  <a:lnTo>
                    <a:pt x="99" y="31"/>
                  </a:lnTo>
                  <a:lnTo>
                    <a:pt x="101" y="29"/>
                  </a:lnTo>
                  <a:lnTo>
                    <a:pt x="104" y="26"/>
                  </a:lnTo>
                  <a:lnTo>
                    <a:pt x="107" y="23"/>
                  </a:lnTo>
                  <a:lnTo>
                    <a:pt x="114" y="15"/>
                  </a:lnTo>
                  <a:lnTo>
                    <a:pt x="117" y="12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6" y="3"/>
                  </a:lnTo>
                  <a:close/>
                </a:path>
              </a:pathLst>
            </a:custGeom>
            <a:solidFill>
              <a:srgbClr val="296A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9" name="Freeform 62">
              <a:extLst>
                <a:ext uri="{FF2B5EF4-FFF2-40B4-BE49-F238E27FC236}">
                  <a16:creationId xmlns:a16="http://schemas.microsoft.com/office/drawing/2014/main" id="{F8B38154-051A-4F0D-8D78-EE84536D1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9" y="2837"/>
              <a:ext cx="492" cy="701"/>
            </a:xfrm>
            <a:custGeom>
              <a:avLst/>
              <a:gdLst>
                <a:gd name="T0" fmla="*/ 180 w 492"/>
                <a:gd name="T1" fmla="*/ 39 h 701"/>
                <a:gd name="T2" fmla="*/ 222 w 492"/>
                <a:gd name="T3" fmla="*/ 85 h 701"/>
                <a:gd name="T4" fmla="*/ 242 w 492"/>
                <a:gd name="T5" fmla="*/ 134 h 701"/>
                <a:gd name="T6" fmla="*/ 263 w 492"/>
                <a:gd name="T7" fmla="*/ 185 h 701"/>
                <a:gd name="T8" fmla="*/ 317 w 492"/>
                <a:gd name="T9" fmla="*/ 179 h 701"/>
                <a:gd name="T10" fmla="*/ 334 w 492"/>
                <a:gd name="T11" fmla="*/ 219 h 701"/>
                <a:gd name="T12" fmla="*/ 311 w 492"/>
                <a:gd name="T13" fmla="*/ 215 h 701"/>
                <a:gd name="T14" fmla="*/ 267 w 492"/>
                <a:gd name="T15" fmla="*/ 251 h 701"/>
                <a:gd name="T16" fmla="*/ 238 w 492"/>
                <a:gd name="T17" fmla="*/ 268 h 701"/>
                <a:gd name="T18" fmla="*/ 199 w 492"/>
                <a:gd name="T19" fmla="*/ 233 h 701"/>
                <a:gd name="T20" fmla="*/ 180 w 492"/>
                <a:gd name="T21" fmla="*/ 269 h 701"/>
                <a:gd name="T22" fmla="*/ 189 w 492"/>
                <a:gd name="T23" fmla="*/ 325 h 701"/>
                <a:gd name="T24" fmla="*/ 248 w 492"/>
                <a:gd name="T25" fmla="*/ 360 h 701"/>
                <a:gd name="T26" fmla="*/ 290 w 492"/>
                <a:gd name="T27" fmla="*/ 375 h 701"/>
                <a:gd name="T28" fmla="*/ 317 w 492"/>
                <a:gd name="T29" fmla="*/ 395 h 701"/>
                <a:gd name="T30" fmla="*/ 328 w 492"/>
                <a:gd name="T31" fmla="*/ 422 h 701"/>
                <a:gd name="T32" fmla="*/ 381 w 492"/>
                <a:gd name="T33" fmla="*/ 402 h 701"/>
                <a:gd name="T34" fmla="*/ 380 w 492"/>
                <a:gd name="T35" fmla="*/ 344 h 701"/>
                <a:gd name="T36" fmla="*/ 394 w 492"/>
                <a:gd name="T37" fmla="*/ 278 h 701"/>
                <a:gd name="T38" fmla="*/ 362 w 492"/>
                <a:gd name="T39" fmla="*/ 293 h 701"/>
                <a:gd name="T40" fmla="*/ 326 w 492"/>
                <a:gd name="T41" fmla="*/ 245 h 701"/>
                <a:gd name="T42" fmla="*/ 332 w 492"/>
                <a:gd name="T43" fmla="*/ 221 h 701"/>
                <a:gd name="T44" fmla="*/ 351 w 492"/>
                <a:gd name="T45" fmla="*/ 200 h 701"/>
                <a:gd name="T46" fmla="*/ 393 w 492"/>
                <a:gd name="T47" fmla="*/ 210 h 701"/>
                <a:gd name="T48" fmla="*/ 469 w 492"/>
                <a:gd name="T49" fmla="*/ 211 h 701"/>
                <a:gd name="T50" fmla="*/ 465 w 492"/>
                <a:gd name="T51" fmla="*/ 238 h 701"/>
                <a:gd name="T52" fmla="*/ 490 w 492"/>
                <a:gd name="T53" fmla="*/ 287 h 701"/>
                <a:gd name="T54" fmla="*/ 479 w 492"/>
                <a:gd name="T55" fmla="*/ 332 h 701"/>
                <a:gd name="T56" fmla="*/ 456 w 492"/>
                <a:gd name="T57" fmla="*/ 358 h 701"/>
                <a:gd name="T58" fmla="*/ 435 w 492"/>
                <a:gd name="T59" fmla="*/ 422 h 701"/>
                <a:gd name="T60" fmla="*/ 453 w 492"/>
                <a:gd name="T61" fmla="*/ 457 h 701"/>
                <a:gd name="T62" fmla="*/ 437 w 492"/>
                <a:gd name="T63" fmla="*/ 520 h 701"/>
                <a:gd name="T64" fmla="*/ 381 w 492"/>
                <a:gd name="T65" fmla="*/ 521 h 701"/>
                <a:gd name="T66" fmla="*/ 325 w 492"/>
                <a:gd name="T67" fmla="*/ 610 h 701"/>
                <a:gd name="T68" fmla="*/ 318 w 492"/>
                <a:gd name="T69" fmla="*/ 678 h 701"/>
                <a:gd name="T70" fmla="*/ 299 w 492"/>
                <a:gd name="T71" fmla="*/ 700 h 701"/>
                <a:gd name="T72" fmla="*/ 269 w 492"/>
                <a:gd name="T73" fmla="*/ 685 h 701"/>
                <a:gd name="T74" fmla="*/ 214 w 492"/>
                <a:gd name="T75" fmla="*/ 679 h 701"/>
                <a:gd name="T76" fmla="*/ 177 w 492"/>
                <a:gd name="T77" fmla="*/ 686 h 701"/>
                <a:gd name="T78" fmla="*/ 164 w 492"/>
                <a:gd name="T79" fmla="*/ 643 h 701"/>
                <a:gd name="T80" fmla="*/ 163 w 492"/>
                <a:gd name="T81" fmla="*/ 615 h 701"/>
                <a:gd name="T82" fmla="*/ 176 w 492"/>
                <a:gd name="T83" fmla="*/ 551 h 701"/>
                <a:gd name="T84" fmla="*/ 178 w 492"/>
                <a:gd name="T85" fmla="*/ 506 h 701"/>
                <a:gd name="T86" fmla="*/ 123 w 492"/>
                <a:gd name="T87" fmla="*/ 498 h 701"/>
                <a:gd name="T88" fmla="*/ 65 w 492"/>
                <a:gd name="T89" fmla="*/ 472 h 701"/>
                <a:gd name="T90" fmla="*/ 28 w 492"/>
                <a:gd name="T91" fmla="*/ 447 h 701"/>
                <a:gd name="T92" fmla="*/ 1 w 492"/>
                <a:gd name="T93" fmla="*/ 408 h 701"/>
                <a:gd name="T94" fmla="*/ 20 w 492"/>
                <a:gd name="T95" fmla="*/ 389 h 701"/>
                <a:gd name="T96" fmla="*/ 34 w 492"/>
                <a:gd name="T97" fmla="*/ 355 h 701"/>
                <a:gd name="T98" fmla="*/ 39 w 492"/>
                <a:gd name="T99" fmla="*/ 323 h 701"/>
                <a:gd name="T100" fmla="*/ 29 w 492"/>
                <a:gd name="T101" fmla="*/ 268 h 701"/>
                <a:gd name="T102" fmla="*/ 42 w 492"/>
                <a:gd name="T103" fmla="*/ 241 h 701"/>
                <a:gd name="T104" fmla="*/ 55 w 492"/>
                <a:gd name="T105" fmla="*/ 199 h 701"/>
                <a:gd name="T106" fmla="*/ 30 w 492"/>
                <a:gd name="T107" fmla="*/ 178 h 701"/>
                <a:gd name="T108" fmla="*/ 9 w 492"/>
                <a:gd name="T109" fmla="*/ 149 h 701"/>
                <a:gd name="T110" fmla="*/ 16 w 492"/>
                <a:gd name="T111" fmla="*/ 97 h 701"/>
                <a:gd name="T112" fmla="*/ 51 w 492"/>
                <a:gd name="T113" fmla="*/ 56 h 701"/>
                <a:gd name="T114" fmla="*/ 83 w 492"/>
                <a:gd name="T115" fmla="*/ 38 h 701"/>
                <a:gd name="T116" fmla="*/ 74 w 492"/>
                <a:gd name="T117" fmla="*/ 18 h 701"/>
                <a:gd name="T118" fmla="*/ 105 w 492"/>
                <a:gd name="T119" fmla="*/ 24 h 701"/>
                <a:gd name="T120" fmla="*/ 131 w 492"/>
                <a:gd name="T121" fmla="*/ 2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92" h="701">
                  <a:moveTo>
                    <a:pt x="151" y="3"/>
                  </a:moveTo>
                  <a:lnTo>
                    <a:pt x="155" y="4"/>
                  </a:lnTo>
                  <a:lnTo>
                    <a:pt x="158" y="5"/>
                  </a:lnTo>
                  <a:lnTo>
                    <a:pt x="162" y="6"/>
                  </a:lnTo>
                  <a:lnTo>
                    <a:pt x="165" y="7"/>
                  </a:lnTo>
                  <a:lnTo>
                    <a:pt x="168" y="8"/>
                  </a:lnTo>
                  <a:lnTo>
                    <a:pt x="169" y="10"/>
                  </a:lnTo>
                  <a:lnTo>
                    <a:pt x="171" y="11"/>
                  </a:lnTo>
                  <a:lnTo>
                    <a:pt x="173" y="13"/>
                  </a:lnTo>
                  <a:lnTo>
                    <a:pt x="175" y="18"/>
                  </a:lnTo>
                  <a:lnTo>
                    <a:pt x="176" y="20"/>
                  </a:lnTo>
                  <a:lnTo>
                    <a:pt x="177" y="23"/>
                  </a:lnTo>
                  <a:lnTo>
                    <a:pt x="178" y="27"/>
                  </a:lnTo>
                  <a:lnTo>
                    <a:pt x="178" y="29"/>
                  </a:lnTo>
                  <a:lnTo>
                    <a:pt x="179" y="34"/>
                  </a:lnTo>
                  <a:lnTo>
                    <a:pt x="179" y="38"/>
                  </a:lnTo>
                  <a:lnTo>
                    <a:pt x="180" y="39"/>
                  </a:lnTo>
                  <a:lnTo>
                    <a:pt x="180" y="41"/>
                  </a:lnTo>
                  <a:lnTo>
                    <a:pt x="180" y="42"/>
                  </a:lnTo>
                  <a:lnTo>
                    <a:pt x="181" y="43"/>
                  </a:lnTo>
                  <a:lnTo>
                    <a:pt x="182" y="45"/>
                  </a:lnTo>
                  <a:lnTo>
                    <a:pt x="184" y="46"/>
                  </a:lnTo>
                  <a:lnTo>
                    <a:pt x="186" y="47"/>
                  </a:lnTo>
                  <a:lnTo>
                    <a:pt x="191" y="48"/>
                  </a:lnTo>
                  <a:lnTo>
                    <a:pt x="192" y="49"/>
                  </a:lnTo>
                  <a:lnTo>
                    <a:pt x="194" y="51"/>
                  </a:lnTo>
                  <a:lnTo>
                    <a:pt x="197" y="52"/>
                  </a:lnTo>
                  <a:lnTo>
                    <a:pt x="202" y="56"/>
                  </a:lnTo>
                  <a:lnTo>
                    <a:pt x="206" y="62"/>
                  </a:lnTo>
                  <a:lnTo>
                    <a:pt x="211" y="67"/>
                  </a:lnTo>
                  <a:lnTo>
                    <a:pt x="214" y="72"/>
                  </a:lnTo>
                  <a:lnTo>
                    <a:pt x="216" y="75"/>
                  </a:lnTo>
                  <a:lnTo>
                    <a:pt x="221" y="83"/>
                  </a:lnTo>
                  <a:lnTo>
                    <a:pt x="222" y="85"/>
                  </a:lnTo>
                  <a:lnTo>
                    <a:pt x="224" y="87"/>
                  </a:lnTo>
                  <a:lnTo>
                    <a:pt x="225" y="90"/>
                  </a:lnTo>
                  <a:lnTo>
                    <a:pt x="226" y="92"/>
                  </a:lnTo>
                  <a:lnTo>
                    <a:pt x="234" y="99"/>
                  </a:lnTo>
                  <a:lnTo>
                    <a:pt x="236" y="103"/>
                  </a:lnTo>
                  <a:lnTo>
                    <a:pt x="238" y="106"/>
                  </a:lnTo>
                  <a:lnTo>
                    <a:pt x="239" y="108"/>
                  </a:lnTo>
                  <a:lnTo>
                    <a:pt x="240" y="109"/>
                  </a:lnTo>
                  <a:lnTo>
                    <a:pt x="241" y="112"/>
                  </a:lnTo>
                  <a:lnTo>
                    <a:pt x="241" y="114"/>
                  </a:lnTo>
                  <a:lnTo>
                    <a:pt x="241" y="115"/>
                  </a:lnTo>
                  <a:lnTo>
                    <a:pt x="241" y="117"/>
                  </a:lnTo>
                  <a:lnTo>
                    <a:pt x="241" y="122"/>
                  </a:lnTo>
                  <a:lnTo>
                    <a:pt x="241" y="126"/>
                  </a:lnTo>
                  <a:lnTo>
                    <a:pt x="241" y="130"/>
                  </a:lnTo>
                  <a:lnTo>
                    <a:pt x="242" y="132"/>
                  </a:lnTo>
                  <a:lnTo>
                    <a:pt x="242" y="134"/>
                  </a:lnTo>
                  <a:lnTo>
                    <a:pt x="242" y="136"/>
                  </a:lnTo>
                  <a:lnTo>
                    <a:pt x="245" y="143"/>
                  </a:lnTo>
                  <a:lnTo>
                    <a:pt x="246" y="144"/>
                  </a:lnTo>
                  <a:lnTo>
                    <a:pt x="247" y="146"/>
                  </a:lnTo>
                  <a:lnTo>
                    <a:pt x="247" y="148"/>
                  </a:lnTo>
                  <a:lnTo>
                    <a:pt x="247" y="150"/>
                  </a:lnTo>
                  <a:lnTo>
                    <a:pt x="248" y="159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8" y="165"/>
                  </a:lnTo>
                  <a:lnTo>
                    <a:pt x="250" y="167"/>
                  </a:lnTo>
                  <a:lnTo>
                    <a:pt x="252" y="170"/>
                  </a:lnTo>
                  <a:lnTo>
                    <a:pt x="257" y="177"/>
                  </a:lnTo>
                  <a:lnTo>
                    <a:pt x="259" y="178"/>
                  </a:lnTo>
                  <a:lnTo>
                    <a:pt x="261" y="182"/>
                  </a:lnTo>
                  <a:lnTo>
                    <a:pt x="262" y="184"/>
                  </a:lnTo>
                  <a:lnTo>
                    <a:pt x="263" y="185"/>
                  </a:lnTo>
                  <a:lnTo>
                    <a:pt x="265" y="187"/>
                  </a:lnTo>
                  <a:lnTo>
                    <a:pt x="267" y="188"/>
                  </a:lnTo>
                  <a:lnTo>
                    <a:pt x="268" y="189"/>
                  </a:lnTo>
                  <a:lnTo>
                    <a:pt x="270" y="189"/>
                  </a:lnTo>
                  <a:lnTo>
                    <a:pt x="271" y="190"/>
                  </a:lnTo>
                  <a:lnTo>
                    <a:pt x="273" y="190"/>
                  </a:lnTo>
                  <a:lnTo>
                    <a:pt x="275" y="190"/>
                  </a:lnTo>
                  <a:lnTo>
                    <a:pt x="278" y="190"/>
                  </a:lnTo>
                  <a:lnTo>
                    <a:pt x="281" y="190"/>
                  </a:lnTo>
                  <a:lnTo>
                    <a:pt x="284" y="189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6" y="186"/>
                  </a:lnTo>
                  <a:lnTo>
                    <a:pt x="310" y="181"/>
                  </a:lnTo>
                  <a:lnTo>
                    <a:pt x="313" y="180"/>
                  </a:lnTo>
                  <a:lnTo>
                    <a:pt x="315" y="179"/>
                  </a:lnTo>
                  <a:lnTo>
                    <a:pt x="317" y="179"/>
                  </a:lnTo>
                  <a:lnTo>
                    <a:pt x="319" y="178"/>
                  </a:lnTo>
                  <a:lnTo>
                    <a:pt x="321" y="179"/>
                  </a:lnTo>
                  <a:lnTo>
                    <a:pt x="323" y="179"/>
                  </a:lnTo>
                  <a:lnTo>
                    <a:pt x="324" y="180"/>
                  </a:lnTo>
                  <a:lnTo>
                    <a:pt x="325" y="181"/>
                  </a:lnTo>
                  <a:lnTo>
                    <a:pt x="326" y="182"/>
                  </a:lnTo>
                  <a:lnTo>
                    <a:pt x="327" y="184"/>
                  </a:lnTo>
                  <a:lnTo>
                    <a:pt x="328" y="185"/>
                  </a:lnTo>
                  <a:lnTo>
                    <a:pt x="328" y="187"/>
                  </a:lnTo>
                  <a:lnTo>
                    <a:pt x="329" y="189"/>
                  </a:lnTo>
                  <a:lnTo>
                    <a:pt x="330" y="191"/>
                  </a:lnTo>
                  <a:lnTo>
                    <a:pt x="332" y="198"/>
                  </a:lnTo>
                  <a:lnTo>
                    <a:pt x="334" y="205"/>
                  </a:lnTo>
                  <a:lnTo>
                    <a:pt x="335" y="209"/>
                  </a:lnTo>
                  <a:lnTo>
                    <a:pt x="336" y="213"/>
                  </a:lnTo>
                  <a:lnTo>
                    <a:pt x="336" y="220"/>
                  </a:lnTo>
                  <a:lnTo>
                    <a:pt x="334" y="219"/>
                  </a:lnTo>
                  <a:lnTo>
                    <a:pt x="332" y="218"/>
                  </a:lnTo>
                  <a:lnTo>
                    <a:pt x="326" y="214"/>
                  </a:lnTo>
                  <a:lnTo>
                    <a:pt x="324" y="213"/>
                  </a:lnTo>
                  <a:lnTo>
                    <a:pt x="323" y="212"/>
                  </a:lnTo>
                  <a:lnTo>
                    <a:pt x="322" y="213"/>
                  </a:lnTo>
                  <a:lnTo>
                    <a:pt x="321" y="214"/>
                  </a:lnTo>
                  <a:lnTo>
                    <a:pt x="321" y="216"/>
                  </a:lnTo>
                  <a:lnTo>
                    <a:pt x="320" y="218"/>
                  </a:lnTo>
                  <a:lnTo>
                    <a:pt x="320" y="219"/>
                  </a:lnTo>
                  <a:lnTo>
                    <a:pt x="319" y="221"/>
                  </a:lnTo>
                  <a:lnTo>
                    <a:pt x="317" y="221"/>
                  </a:lnTo>
                  <a:lnTo>
                    <a:pt x="316" y="221"/>
                  </a:lnTo>
                  <a:lnTo>
                    <a:pt x="316" y="220"/>
                  </a:lnTo>
                  <a:lnTo>
                    <a:pt x="315" y="217"/>
                  </a:lnTo>
                  <a:lnTo>
                    <a:pt x="314" y="216"/>
                  </a:lnTo>
                  <a:lnTo>
                    <a:pt x="313" y="216"/>
                  </a:lnTo>
                  <a:lnTo>
                    <a:pt x="311" y="215"/>
                  </a:lnTo>
                  <a:lnTo>
                    <a:pt x="310" y="215"/>
                  </a:lnTo>
                  <a:lnTo>
                    <a:pt x="308" y="215"/>
                  </a:lnTo>
                  <a:lnTo>
                    <a:pt x="304" y="216"/>
                  </a:lnTo>
                  <a:lnTo>
                    <a:pt x="302" y="216"/>
                  </a:lnTo>
                  <a:lnTo>
                    <a:pt x="300" y="216"/>
                  </a:lnTo>
                  <a:lnTo>
                    <a:pt x="299" y="215"/>
                  </a:lnTo>
                  <a:lnTo>
                    <a:pt x="298" y="215"/>
                  </a:lnTo>
                  <a:lnTo>
                    <a:pt x="289" y="224"/>
                  </a:lnTo>
                  <a:lnTo>
                    <a:pt x="286" y="227"/>
                  </a:lnTo>
                  <a:lnTo>
                    <a:pt x="279" y="235"/>
                  </a:lnTo>
                  <a:lnTo>
                    <a:pt x="276" y="238"/>
                  </a:lnTo>
                  <a:lnTo>
                    <a:pt x="273" y="241"/>
                  </a:lnTo>
                  <a:lnTo>
                    <a:pt x="271" y="243"/>
                  </a:lnTo>
                  <a:lnTo>
                    <a:pt x="270" y="245"/>
                  </a:lnTo>
                  <a:lnTo>
                    <a:pt x="269" y="247"/>
                  </a:lnTo>
                  <a:lnTo>
                    <a:pt x="268" y="248"/>
                  </a:lnTo>
                  <a:lnTo>
                    <a:pt x="267" y="251"/>
                  </a:lnTo>
                  <a:lnTo>
                    <a:pt x="266" y="254"/>
                  </a:lnTo>
                  <a:lnTo>
                    <a:pt x="265" y="256"/>
                  </a:lnTo>
                  <a:lnTo>
                    <a:pt x="264" y="256"/>
                  </a:lnTo>
                  <a:lnTo>
                    <a:pt x="262" y="257"/>
                  </a:lnTo>
                  <a:lnTo>
                    <a:pt x="260" y="258"/>
                  </a:lnTo>
                  <a:lnTo>
                    <a:pt x="258" y="259"/>
                  </a:lnTo>
                  <a:lnTo>
                    <a:pt x="254" y="261"/>
                  </a:lnTo>
                  <a:lnTo>
                    <a:pt x="250" y="263"/>
                  </a:lnTo>
                  <a:lnTo>
                    <a:pt x="249" y="264"/>
                  </a:lnTo>
                  <a:lnTo>
                    <a:pt x="248" y="265"/>
                  </a:lnTo>
                  <a:lnTo>
                    <a:pt x="245" y="268"/>
                  </a:lnTo>
                  <a:lnTo>
                    <a:pt x="244" y="269"/>
                  </a:lnTo>
                  <a:lnTo>
                    <a:pt x="243" y="269"/>
                  </a:lnTo>
                  <a:lnTo>
                    <a:pt x="242" y="269"/>
                  </a:lnTo>
                  <a:lnTo>
                    <a:pt x="241" y="269"/>
                  </a:lnTo>
                  <a:lnTo>
                    <a:pt x="239" y="269"/>
                  </a:lnTo>
                  <a:lnTo>
                    <a:pt x="238" y="268"/>
                  </a:lnTo>
                  <a:lnTo>
                    <a:pt x="237" y="268"/>
                  </a:lnTo>
                  <a:lnTo>
                    <a:pt x="237" y="268"/>
                  </a:lnTo>
                  <a:lnTo>
                    <a:pt x="234" y="265"/>
                  </a:lnTo>
                  <a:lnTo>
                    <a:pt x="231" y="262"/>
                  </a:lnTo>
                  <a:lnTo>
                    <a:pt x="228" y="259"/>
                  </a:lnTo>
                  <a:lnTo>
                    <a:pt x="227" y="256"/>
                  </a:lnTo>
                  <a:lnTo>
                    <a:pt x="224" y="250"/>
                  </a:lnTo>
                  <a:lnTo>
                    <a:pt x="223" y="248"/>
                  </a:lnTo>
                  <a:lnTo>
                    <a:pt x="221" y="247"/>
                  </a:lnTo>
                  <a:lnTo>
                    <a:pt x="219" y="245"/>
                  </a:lnTo>
                  <a:lnTo>
                    <a:pt x="216" y="242"/>
                  </a:lnTo>
                  <a:lnTo>
                    <a:pt x="214" y="240"/>
                  </a:lnTo>
                  <a:lnTo>
                    <a:pt x="211" y="237"/>
                  </a:lnTo>
                  <a:lnTo>
                    <a:pt x="208" y="236"/>
                  </a:lnTo>
                  <a:lnTo>
                    <a:pt x="205" y="234"/>
                  </a:lnTo>
                  <a:lnTo>
                    <a:pt x="203" y="234"/>
                  </a:lnTo>
                  <a:lnTo>
                    <a:pt x="199" y="233"/>
                  </a:lnTo>
                  <a:lnTo>
                    <a:pt x="196" y="233"/>
                  </a:lnTo>
                  <a:lnTo>
                    <a:pt x="194" y="233"/>
                  </a:lnTo>
                  <a:lnTo>
                    <a:pt x="192" y="234"/>
                  </a:lnTo>
                  <a:lnTo>
                    <a:pt x="191" y="234"/>
                  </a:lnTo>
                  <a:lnTo>
                    <a:pt x="190" y="235"/>
                  </a:lnTo>
                  <a:lnTo>
                    <a:pt x="189" y="236"/>
                  </a:lnTo>
                  <a:lnTo>
                    <a:pt x="188" y="238"/>
                  </a:lnTo>
                  <a:lnTo>
                    <a:pt x="187" y="239"/>
                  </a:lnTo>
                  <a:lnTo>
                    <a:pt x="186" y="241"/>
                  </a:lnTo>
                  <a:lnTo>
                    <a:pt x="185" y="242"/>
                  </a:lnTo>
                  <a:lnTo>
                    <a:pt x="185" y="244"/>
                  </a:lnTo>
                  <a:lnTo>
                    <a:pt x="184" y="246"/>
                  </a:lnTo>
                  <a:lnTo>
                    <a:pt x="183" y="248"/>
                  </a:lnTo>
                  <a:lnTo>
                    <a:pt x="183" y="251"/>
                  </a:lnTo>
                  <a:lnTo>
                    <a:pt x="182" y="260"/>
                  </a:lnTo>
                  <a:lnTo>
                    <a:pt x="181" y="266"/>
                  </a:lnTo>
                  <a:lnTo>
                    <a:pt x="180" y="269"/>
                  </a:lnTo>
                  <a:lnTo>
                    <a:pt x="179" y="274"/>
                  </a:lnTo>
                  <a:lnTo>
                    <a:pt x="174" y="284"/>
                  </a:lnTo>
                  <a:lnTo>
                    <a:pt x="174" y="286"/>
                  </a:lnTo>
                  <a:lnTo>
                    <a:pt x="173" y="290"/>
                  </a:lnTo>
                  <a:lnTo>
                    <a:pt x="172" y="292"/>
                  </a:lnTo>
                  <a:lnTo>
                    <a:pt x="172" y="297"/>
                  </a:lnTo>
                  <a:lnTo>
                    <a:pt x="172" y="300"/>
                  </a:lnTo>
                  <a:lnTo>
                    <a:pt x="172" y="302"/>
                  </a:lnTo>
                  <a:lnTo>
                    <a:pt x="172" y="303"/>
                  </a:lnTo>
                  <a:lnTo>
                    <a:pt x="173" y="305"/>
                  </a:lnTo>
                  <a:lnTo>
                    <a:pt x="174" y="307"/>
                  </a:lnTo>
                  <a:lnTo>
                    <a:pt x="175" y="309"/>
                  </a:lnTo>
                  <a:lnTo>
                    <a:pt x="177" y="312"/>
                  </a:lnTo>
                  <a:lnTo>
                    <a:pt x="181" y="317"/>
                  </a:lnTo>
                  <a:lnTo>
                    <a:pt x="183" y="321"/>
                  </a:lnTo>
                  <a:lnTo>
                    <a:pt x="186" y="324"/>
                  </a:lnTo>
                  <a:lnTo>
                    <a:pt x="189" y="325"/>
                  </a:lnTo>
                  <a:lnTo>
                    <a:pt x="191" y="327"/>
                  </a:lnTo>
                  <a:lnTo>
                    <a:pt x="192" y="328"/>
                  </a:lnTo>
                  <a:lnTo>
                    <a:pt x="194" y="329"/>
                  </a:lnTo>
                  <a:lnTo>
                    <a:pt x="197" y="329"/>
                  </a:lnTo>
                  <a:lnTo>
                    <a:pt x="200" y="330"/>
                  </a:lnTo>
                  <a:lnTo>
                    <a:pt x="204" y="330"/>
                  </a:lnTo>
                  <a:lnTo>
                    <a:pt x="208" y="331"/>
                  </a:lnTo>
                  <a:lnTo>
                    <a:pt x="211" y="332"/>
                  </a:lnTo>
                  <a:lnTo>
                    <a:pt x="214" y="334"/>
                  </a:lnTo>
                  <a:lnTo>
                    <a:pt x="215" y="335"/>
                  </a:lnTo>
                  <a:lnTo>
                    <a:pt x="217" y="336"/>
                  </a:lnTo>
                  <a:lnTo>
                    <a:pt x="224" y="342"/>
                  </a:lnTo>
                  <a:lnTo>
                    <a:pt x="225" y="344"/>
                  </a:lnTo>
                  <a:lnTo>
                    <a:pt x="239" y="355"/>
                  </a:lnTo>
                  <a:lnTo>
                    <a:pt x="242" y="358"/>
                  </a:lnTo>
                  <a:lnTo>
                    <a:pt x="245" y="359"/>
                  </a:lnTo>
                  <a:lnTo>
                    <a:pt x="248" y="360"/>
                  </a:lnTo>
                  <a:lnTo>
                    <a:pt x="249" y="361"/>
                  </a:lnTo>
                  <a:lnTo>
                    <a:pt x="255" y="363"/>
                  </a:lnTo>
                  <a:lnTo>
                    <a:pt x="258" y="364"/>
                  </a:lnTo>
                  <a:lnTo>
                    <a:pt x="259" y="365"/>
                  </a:lnTo>
                  <a:lnTo>
                    <a:pt x="262" y="367"/>
                  </a:lnTo>
                  <a:lnTo>
                    <a:pt x="268" y="371"/>
                  </a:lnTo>
                  <a:lnTo>
                    <a:pt x="271" y="372"/>
                  </a:lnTo>
                  <a:lnTo>
                    <a:pt x="271" y="373"/>
                  </a:lnTo>
                  <a:lnTo>
                    <a:pt x="272" y="373"/>
                  </a:lnTo>
                  <a:lnTo>
                    <a:pt x="274" y="373"/>
                  </a:lnTo>
                  <a:lnTo>
                    <a:pt x="275" y="374"/>
                  </a:lnTo>
                  <a:lnTo>
                    <a:pt x="278" y="374"/>
                  </a:lnTo>
                  <a:lnTo>
                    <a:pt x="283" y="373"/>
                  </a:lnTo>
                  <a:lnTo>
                    <a:pt x="285" y="374"/>
                  </a:lnTo>
                  <a:lnTo>
                    <a:pt x="287" y="374"/>
                  </a:lnTo>
                  <a:lnTo>
                    <a:pt x="288" y="374"/>
                  </a:lnTo>
                  <a:lnTo>
                    <a:pt x="290" y="375"/>
                  </a:lnTo>
                  <a:lnTo>
                    <a:pt x="291" y="376"/>
                  </a:lnTo>
                  <a:lnTo>
                    <a:pt x="292" y="377"/>
                  </a:lnTo>
                  <a:lnTo>
                    <a:pt x="293" y="378"/>
                  </a:lnTo>
                  <a:lnTo>
                    <a:pt x="294" y="379"/>
                  </a:lnTo>
                  <a:lnTo>
                    <a:pt x="294" y="380"/>
                  </a:lnTo>
                  <a:lnTo>
                    <a:pt x="296" y="383"/>
                  </a:lnTo>
                  <a:lnTo>
                    <a:pt x="299" y="389"/>
                  </a:lnTo>
                  <a:lnTo>
                    <a:pt x="300" y="391"/>
                  </a:lnTo>
                  <a:lnTo>
                    <a:pt x="301" y="392"/>
                  </a:lnTo>
                  <a:lnTo>
                    <a:pt x="302" y="392"/>
                  </a:lnTo>
                  <a:lnTo>
                    <a:pt x="302" y="393"/>
                  </a:lnTo>
                  <a:lnTo>
                    <a:pt x="304" y="393"/>
                  </a:lnTo>
                  <a:lnTo>
                    <a:pt x="305" y="394"/>
                  </a:lnTo>
                  <a:lnTo>
                    <a:pt x="307" y="395"/>
                  </a:lnTo>
                  <a:lnTo>
                    <a:pt x="312" y="395"/>
                  </a:lnTo>
                  <a:lnTo>
                    <a:pt x="315" y="395"/>
                  </a:lnTo>
                  <a:lnTo>
                    <a:pt x="317" y="395"/>
                  </a:lnTo>
                  <a:lnTo>
                    <a:pt x="320" y="395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28" y="395"/>
                  </a:lnTo>
                  <a:lnTo>
                    <a:pt x="328" y="396"/>
                  </a:lnTo>
                  <a:lnTo>
                    <a:pt x="329" y="397"/>
                  </a:lnTo>
                  <a:lnTo>
                    <a:pt x="329" y="399"/>
                  </a:lnTo>
                  <a:lnTo>
                    <a:pt x="329" y="401"/>
                  </a:lnTo>
                  <a:lnTo>
                    <a:pt x="329" y="404"/>
                  </a:lnTo>
                  <a:lnTo>
                    <a:pt x="328" y="408"/>
                  </a:lnTo>
                  <a:lnTo>
                    <a:pt x="327" y="413"/>
                  </a:lnTo>
                  <a:lnTo>
                    <a:pt x="327" y="415"/>
                  </a:lnTo>
                  <a:lnTo>
                    <a:pt x="327" y="418"/>
                  </a:lnTo>
                  <a:lnTo>
                    <a:pt x="327" y="419"/>
                  </a:lnTo>
                  <a:lnTo>
                    <a:pt x="327" y="420"/>
                  </a:lnTo>
                  <a:lnTo>
                    <a:pt x="328" y="421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9" y="423"/>
                  </a:lnTo>
                  <a:lnTo>
                    <a:pt x="330" y="423"/>
                  </a:lnTo>
                  <a:lnTo>
                    <a:pt x="337" y="422"/>
                  </a:lnTo>
                  <a:lnTo>
                    <a:pt x="347" y="422"/>
                  </a:lnTo>
                  <a:lnTo>
                    <a:pt x="351" y="421"/>
                  </a:lnTo>
                  <a:lnTo>
                    <a:pt x="353" y="421"/>
                  </a:lnTo>
                  <a:lnTo>
                    <a:pt x="356" y="420"/>
                  </a:lnTo>
                  <a:lnTo>
                    <a:pt x="359" y="419"/>
                  </a:lnTo>
                  <a:lnTo>
                    <a:pt x="361" y="418"/>
                  </a:lnTo>
                  <a:lnTo>
                    <a:pt x="363" y="417"/>
                  </a:lnTo>
                  <a:lnTo>
                    <a:pt x="367" y="415"/>
                  </a:lnTo>
                  <a:lnTo>
                    <a:pt x="373" y="411"/>
                  </a:lnTo>
                  <a:lnTo>
                    <a:pt x="376" y="408"/>
                  </a:lnTo>
                  <a:lnTo>
                    <a:pt x="378" y="406"/>
                  </a:lnTo>
                  <a:lnTo>
                    <a:pt x="380" y="404"/>
                  </a:lnTo>
                  <a:lnTo>
                    <a:pt x="381" y="402"/>
                  </a:lnTo>
                  <a:lnTo>
                    <a:pt x="382" y="400"/>
                  </a:lnTo>
                  <a:lnTo>
                    <a:pt x="383" y="397"/>
                  </a:lnTo>
                  <a:lnTo>
                    <a:pt x="384" y="394"/>
                  </a:lnTo>
                  <a:lnTo>
                    <a:pt x="384" y="392"/>
                  </a:lnTo>
                  <a:lnTo>
                    <a:pt x="384" y="390"/>
                  </a:lnTo>
                  <a:lnTo>
                    <a:pt x="384" y="388"/>
                  </a:lnTo>
                  <a:lnTo>
                    <a:pt x="384" y="386"/>
                  </a:lnTo>
                  <a:lnTo>
                    <a:pt x="382" y="380"/>
                  </a:lnTo>
                  <a:lnTo>
                    <a:pt x="381" y="376"/>
                  </a:lnTo>
                  <a:lnTo>
                    <a:pt x="380" y="372"/>
                  </a:lnTo>
                  <a:lnTo>
                    <a:pt x="380" y="369"/>
                  </a:lnTo>
                  <a:lnTo>
                    <a:pt x="379" y="365"/>
                  </a:lnTo>
                  <a:lnTo>
                    <a:pt x="379" y="356"/>
                  </a:lnTo>
                  <a:lnTo>
                    <a:pt x="379" y="351"/>
                  </a:lnTo>
                  <a:lnTo>
                    <a:pt x="379" y="349"/>
                  </a:lnTo>
                  <a:lnTo>
                    <a:pt x="379" y="347"/>
                  </a:lnTo>
                  <a:lnTo>
                    <a:pt x="380" y="344"/>
                  </a:lnTo>
                  <a:lnTo>
                    <a:pt x="380" y="342"/>
                  </a:lnTo>
                  <a:lnTo>
                    <a:pt x="381" y="340"/>
                  </a:lnTo>
                  <a:lnTo>
                    <a:pt x="382" y="338"/>
                  </a:lnTo>
                  <a:lnTo>
                    <a:pt x="386" y="330"/>
                  </a:lnTo>
                  <a:lnTo>
                    <a:pt x="387" y="328"/>
                  </a:lnTo>
                  <a:lnTo>
                    <a:pt x="388" y="325"/>
                  </a:lnTo>
                  <a:lnTo>
                    <a:pt x="389" y="323"/>
                  </a:lnTo>
                  <a:lnTo>
                    <a:pt x="390" y="320"/>
                  </a:lnTo>
                  <a:lnTo>
                    <a:pt x="390" y="315"/>
                  </a:lnTo>
                  <a:lnTo>
                    <a:pt x="391" y="308"/>
                  </a:lnTo>
                  <a:lnTo>
                    <a:pt x="391" y="302"/>
                  </a:lnTo>
                  <a:lnTo>
                    <a:pt x="392" y="296"/>
                  </a:lnTo>
                  <a:lnTo>
                    <a:pt x="392" y="290"/>
                  </a:lnTo>
                  <a:lnTo>
                    <a:pt x="394" y="282"/>
                  </a:lnTo>
                  <a:lnTo>
                    <a:pt x="394" y="280"/>
                  </a:lnTo>
                  <a:lnTo>
                    <a:pt x="394" y="279"/>
                  </a:lnTo>
                  <a:lnTo>
                    <a:pt x="394" y="278"/>
                  </a:lnTo>
                  <a:lnTo>
                    <a:pt x="393" y="277"/>
                  </a:lnTo>
                  <a:lnTo>
                    <a:pt x="393" y="276"/>
                  </a:lnTo>
                  <a:lnTo>
                    <a:pt x="392" y="276"/>
                  </a:lnTo>
                  <a:lnTo>
                    <a:pt x="391" y="276"/>
                  </a:lnTo>
                  <a:lnTo>
                    <a:pt x="390" y="276"/>
                  </a:lnTo>
                  <a:lnTo>
                    <a:pt x="389" y="276"/>
                  </a:lnTo>
                  <a:lnTo>
                    <a:pt x="388" y="276"/>
                  </a:lnTo>
                  <a:lnTo>
                    <a:pt x="387" y="277"/>
                  </a:lnTo>
                  <a:lnTo>
                    <a:pt x="385" y="278"/>
                  </a:lnTo>
                  <a:lnTo>
                    <a:pt x="383" y="279"/>
                  </a:lnTo>
                  <a:lnTo>
                    <a:pt x="377" y="284"/>
                  </a:lnTo>
                  <a:lnTo>
                    <a:pt x="373" y="288"/>
                  </a:lnTo>
                  <a:lnTo>
                    <a:pt x="369" y="290"/>
                  </a:lnTo>
                  <a:lnTo>
                    <a:pt x="365" y="292"/>
                  </a:lnTo>
                  <a:lnTo>
                    <a:pt x="364" y="292"/>
                  </a:lnTo>
                  <a:lnTo>
                    <a:pt x="362" y="292"/>
                  </a:lnTo>
                  <a:lnTo>
                    <a:pt x="362" y="293"/>
                  </a:lnTo>
                  <a:lnTo>
                    <a:pt x="360" y="292"/>
                  </a:lnTo>
                  <a:lnTo>
                    <a:pt x="358" y="292"/>
                  </a:lnTo>
                  <a:lnTo>
                    <a:pt x="357" y="291"/>
                  </a:lnTo>
                  <a:lnTo>
                    <a:pt x="356" y="290"/>
                  </a:lnTo>
                  <a:lnTo>
                    <a:pt x="355" y="290"/>
                  </a:lnTo>
                  <a:lnTo>
                    <a:pt x="354" y="289"/>
                  </a:lnTo>
                  <a:lnTo>
                    <a:pt x="351" y="283"/>
                  </a:lnTo>
                  <a:lnTo>
                    <a:pt x="349" y="280"/>
                  </a:lnTo>
                  <a:lnTo>
                    <a:pt x="346" y="277"/>
                  </a:lnTo>
                  <a:lnTo>
                    <a:pt x="339" y="269"/>
                  </a:lnTo>
                  <a:lnTo>
                    <a:pt x="338" y="268"/>
                  </a:lnTo>
                  <a:lnTo>
                    <a:pt x="337" y="266"/>
                  </a:lnTo>
                  <a:lnTo>
                    <a:pt x="335" y="263"/>
                  </a:lnTo>
                  <a:lnTo>
                    <a:pt x="332" y="256"/>
                  </a:lnTo>
                  <a:lnTo>
                    <a:pt x="330" y="253"/>
                  </a:lnTo>
                  <a:lnTo>
                    <a:pt x="328" y="250"/>
                  </a:lnTo>
                  <a:lnTo>
                    <a:pt x="326" y="245"/>
                  </a:lnTo>
                  <a:lnTo>
                    <a:pt x="324" y="242"/>
                  </a:lnTo>
                  <a:lnTo>
                    <a:pt x="323" y="239"/>
                  </a:lnTo>
                  <a:lnTo>
                    <a:pt x="322" y="237"/>
                  </a:lnTo>
                  <a:lnTo>
                    <a:pt x="322" y="235"/>
                  </a:lnTo>
                  <a:lnTo>
                    <a:pt x="322" y="234"/>
                  </a:lnTo>
                  <a:lnTo>
                    <a:pt x="322" y="233"/>
                  </a:lnTo>
                  <a:lnTo>
                    <a:pt x="322" y="232"/>
                  </a:lnTo>
                  <a:lnTo>
                    <a:pt x="322" y="231"/>
                  </a:lnTo>
                  <a:lnTo>
                    <a:pt x="322" y="229"/>
                  </a:lnTo>
                  <a:lnTo>
                    <a:pt x="323" y="228"/>
                  </a:lnTo>
                  <a:lnTo>
                    <a:pt x="324" y="227"/>
                  </a:lnTo>
                  <a:lnTo>
                    <a:pt x="325" y="226"/>
                  </a:lnTo>
                  <a:lnTo>
                    <a:pt x="326" y="224"/>
                  </a:lnTo>
                  <a:lnTo>
                    <a:pt x="328" y="223"/>
                  </a:lnTo>
                  <a:lnTo>
                    <a:pt x="328" y="222"/>
                  </a:lnTo>
                  <a:lnTo>
                    <a:pt x="330" y="222"/>
                  </a:lnTo>
                  <a:lnTo>
                    <a:pt x="332" y="221"/>
                  </a:lnTo>
                  <a:lnTo>
                    <a:pt x="335" y="220"/>
                  </a:lnTo>
                  <a:lnTo>
                    <a:pt x="336" y="220"/>
                  </a:lnTo>
                  <a:lnTo>
                    <a:pt x="337" y="220"/>
                  </a:lnTo>
                  <a:lnTo>
                    <a:pt x="338" y="220"/>
                  </a:lnTo>
                  <a:lnTo>
                    <a:pt x="339" y="220"/>
                  </a:lnTo>
                  <a:lnTo>
                    <a:pt x="341" y="220"/>
                  </a:lnTo>
                  <a:lnTo>
                    <a:pt x="342" y="219"/>
                  </a:lnTo>
                  <a:lnTo>
                    <a:pt x="343" y="218"/>
                  </a:lnTo>
                  <a:lnTo>
                    <a:pt x="345" y="217"/>
                  </a:lnTo>
                  <a:lnTo>
                    <a:pt x="346" y="216"/>
                  </a:lnTo>
                  <a:lnTo>
                    <a:pt x="347" y="215"/>
                  </a:lnTo>
                  <a:lnTo>
                    <a:pt x="348" y="213"/>
                  </a:lnTo>
                  <a:lnTo>
                    <a:pt x="349" y="210"/>
                  </a:lnTo>
                  <a:lnTo>
                    <a:pt x="350" y="208"/>
                  </a:lnTo>
                  <a:lnTo>
                    <a:pt x="350" y="204"/>
                  </a:lnTo>
                  <a:lnTo>
                    <a:pt x="351" y="202"/>
                  </a:lnTo>
                  <a:lnTo>
                    <a:pt x="351" y="200"/>
                  </a:lnTo>
                  <a:lnTo>
                    <a:pt x="351" y="199"/>
                  </a:lnTo>
                  <a:lnTo>
                    <a:pt x="352" y="197"/>
                  </a:lnTo>
                  <a:lnTo>
                    <a:pt x="353" y="196"/>
                  </a:lnTo>
                  <a:lnTo>
                    <a:pt x="355" y="196"/>
                  </a:lnTo>
                  <a:lnTo>
                    <a:pt x="357" y="195"/>
                  </a:lnTo>
                  <a:lnTo>
                    <a:pt x="360" y="195"/>
                  </a:lnTo>
                  <a:lnTo>
                    <a:pt x="363" y="196"/>
                  </a:lnTo>
                  <a:lnTo>
                    <a:pt x="365" y="196"/>
                  </a:lnTo>
                  <a:lnTo>
                    <a:pt x="367" y="197"/>
                  </a:lnTo>
                  <a:lnTo>
                    <a:pt x="370" y="198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9" y="203"/>
                  </a:lnTo>
                  <a:lnTo>
                    <a:pt x="383" y="205"/>
                  </a:lnTo>
                  <a:lnTo>
                    <a:pt x="385" y="207"/>
                  </a:lnTo>
                  <a:lnTo>
                    <a:pt x="388" y="208"/>
                  </a:lnTo>
                  <a:lnTo>
                    <a:pt x="393" y="210"/>
                  </a:lnTo>
                  <a:lnTo>
                    <a:pt x="397" y="211"/>
                  </a:lnTo>
                  <a:lnTo>
                    <a:pt x="407" y="213"/>
                  </a:lnTo>
                  <a:lnTo>
                    <a:pt x="414" y="214"/>
                  </a:lnTo>
                  <a:lnTo>
                    <a:pt x="417" y="215"/>
                  </a:lnTo>
                  <a:lnTo>
                    <a:pt x="423" y="215"/>
                  </a:lnTo>
                  <a:lnTo>
                    <a:pt x="427" y="215"/>
                  </a:lnTo>
                  <a:lnTo>
                    <a:pt x="433" y="214"/>
                  </a:lnTo>
                  <a:lnTo>
                    <a:pt x="436" y="214"/>
                  </a:lnTo>
                  <a:lnTo>
                    <a:pt x="439" y="214"/>
                  </a:lnTo>
                  <a:lnTo>
                    <a:pt x="451" y="215"/>
                  </a:lnTo>
                  <a:lnTo>
                    <a:pt x="455" y="215"/>
                  </a:lnTo>
                  <a:lnTo>
                    <a:pt x="458" y="215"/>
                  </a:lnTo>
                  <a:lnTo>
                    <a:pt x="462" y="214"/>
                  </a:lnTo>
                  <a:lnTo>
                    <a:pt x="464" y="214"/>
                  </a:lnTo>
                  <a:lnTo>
                    <a:pt x="465" y="213"/>
                  </a:lnTo>
                  <a:lnTo>
                    <a:pt x="467" y="212"/>
                  </a:lnTo>
                  <a:lnTo>
                    <a:pt x="469" y="211"/>
                  </a:lnTo>
                  <a:lnTo>
                    <a:pt x="470" y="211"/>
                  </a:lnTo>
                  <a:lnTo>
                    <a:pt x="471" y="211"/>
                  </a:lnTo>
                  <a:lnTo>
                    <a:pt x="472" y="211"/>
                  </a:lnTo>
                  <a:lnTo>
                    <a:pt x="472" y="211"/>
                  </a:lnTo>
                  <a:lnTo>
                    <a:pt x="473" y="211"/>
                  </a:lnTo>
                  <a:lnTo>
                    <a:pt x="473" y="212"/>
                  </a:lnTo>
                  <a:lnTo>
                    <a:pt x="474" y="213"/>
                  </a:lnTo>
                  <a:lnTo>
                    <a:pt x="474" y="214"/>
                  </a:lnTo>
                  <a:lnTo>
                    <a:pt x="474" y="215"/>
                  </a:lnTo>
                  <a:lnTo>
                    <a:pt x="474" y="217"/>
                  </a:lnTo>
                  <a:lnTo>
                    <a:pt x="473" y="220"/>
                  </a:lnTo>
                  <a:lnTo>
                    <a:pt x="472" y="222"/>
                  </a:lnTo>
                  <a:lnTo>
                    <a:pt x="471" y="225"/>
                  </a:lnTo>
                  <a:lnTo>
                    <a:pt x="467" y="232"/>
                  </a:lnTo>
                  <a:lnTo>
                    <a:pt x="466" y="234"/>
                  </a:lnTo>
                  <a:lnTo>
                    <a:pt x="466" y="235"/>
                  </a:lnTo>
                  <a:lnTo>
                    <a:pt x="465" y="238"/>
                  </a:lnTo>
                  <a:lnTo>
                    <a:pt x="465" y="240"/>
                  </a:lnTo>
                  <a:lnTo>
                    <a:pt x="465" y="242"/>
                  </a:lnTo>
                  <a:lnTo>
                    <a:pt x="466" y="245"/>
                  </a:lnTo>
                  <a:lnTo>
                    <a:pt x="467" y="247"/>
                  </a:lnTo>
                  <a:lnTo>
                    <a:pt x="468" y="250"/>
                  </a:lnTo>
                  <a:lnTo>
                    <a:pt x="471" y="256"/>
                  </a:lnTo>
                  <a:lnTo>
                    <a:pt x="473" y="259"/>
                  </a:lnTo>
                  <a:lnTo>
                    <a:pt x="475" y="262"/>
                  </a:lnTo>
                  <a:lnTo>
                    <a:pt x="477" y="266"/>
                  </a:lnTo>
                  <a:lnTo>
                    <a:pt x="484" y="273"/>
                  </a:lnTo>
                  <a:lnTo>
                    <a:pt x="486" y="275"/>
                  </a:lnTo>
                  <a:lnTo>
                    <a:pt x="487" y="277"/>
                  </a:lnTo>
                  <a:lnTo>
                    <a:pt x="487" y="279"/>
                  </a:lnTo>
                  <a:lnTo>
                    <a:pt x="488" y="280"/>
                  </a:lnTo>
                  <a:lnTo>
                    <a:pt x="489" y="282"/>
                  </a:lnTo>
                  <a:lnTo>
                    <a:pt x="490" y="285"/>
                  </a:lnTo>
                  <a:lnTo>
                    <a:pt x="490" y="287"/>
                  </a:lnTo>
                  <a:lnTo>
                    <a:pt x="490" y="289"/>
                  </a:lnTo>
                  <a:lnTo>
                    <a:pt x="490" y="293"/>
                  </a:lnTo>
                  <a:lnTo>
                    <a:pt x="490" y="298"/>
                  </a:lnTo>
                  <a:lnTo>
                    <a:pt x="491" y="306"/>
                  </a:lnTo>
                  <a:lnTo>
                    <a:pt x="492" y="310"/>
                  </a:lnTo>
                  <a:lnTo>
                    <a:pt x="492" y="313"/>
                  </a:lnTo>
                  <a:lnTo>
                    <a:pt x="491" y="316"/>
                  </a:lnTo>
                  <a:lnTo>
                    <a:pt x="491" y="318"/>
                  </a:lnTo>
                  <a:lnTo>
                    <a:pt x="490" y="319"/>
                  </a:lnTo>
                  <a:lnTo>
                    <a:pt x="489" y="322"/>
                  </a:lnTo>
                  <a:lnTo>
                    <a:pt x="488" y="323"/>
                  </a:lnTo>
                  <a:lnTo>
                    <a:pt x="487" y="325"/>
                  </a:lnTo>
                  <a:lnTo>
                    <a:pt x="486" y="327"/>
                  </a:lnTo>
                  <a:lnTo>
                    <a:pt x="484" y="328"/>
                  </a:lnTo>
                  <a:lnTo>
                    <a:pt x="482" y="330"/>
                  </a:lnTo>
                  <a:lnTo>
                    <a:pt x="481" y="331"/>
                  </a:lnTo>
                  <a:lnTo>
                    <a:pt x="479" y="332"/>
                  </a:lnTo>
                  <a:lnTo>
                    <a:pt x="477" y="333"/>
                  </a:lnTo>
                  <a:lnTo>
                    <a:pt x="476" y="334"/>
                  </a:lnTo>
                  <a:lnTo>
                    <a:pt x="474" y="335"/>
                  </a:lnTo>
                  <a:lnTo>
                    <a:pt x="472" y="335"/>
                  </a:lnTo>
                  <a:lnTo>
                    <a:pt x="465" y="336"/>
                  </a:lnTo>
                  <a:lnTo>
                    <a:pt x="464" y="336"/>
                  </a:lnTo>
                  <a:lnTo>
                    <a:pt x="464" y="337"/>
                  </a:lnTo>
                  <a:lnTo>
                    <a:pt x="462" y="338"/>
                  </a:lnTo>
                  <a:lnTo>
                    <a:pt x="461" y="338"/>
                  </a:lnTo>
                  <a:lnTo>
                    <a:pt x="460" y="340"/>
                  </a:lnTo>
                  <a:lnTo>
                    <a:pt x="459" y="341"/>
                  </a:lnTo>
                  <a:lnTo>
                    <a:pt x="458" y="343"/>
                  </a:lnTo>
                  <a:lnTo>
                    <a:pt x="458" y="344"/>
                  </a:lnTo>
                  <a:lnTo>
                    <a:pt x="457" y="346"/>
                  </a:lnTo>
                  <a:lnTo>
                    <a:pt x="457" y="347"/>
                  </a:lnTo>
                  <a:lnTo>
                    <a:pt x="457" y="349"/>
                  </a:lnTo>
                  <a:lnTo>
                    <a:pt x="456" y="358"/>
                  </a:lnTo>
                  <a:lnTo>
                    <a:pt x="456" y="363"/>
                  </a:lnTo>
                  <a:lnTo>
                    <a:pt x="456" y="365"/>
                  </a:lnTo>
                  <a:lnTo>
                    <a:pt x="455" y="367"/>
                  </a:lnTo>
                  <a:lnTo>
                    <a:pt x="454" y="371"/>
                  </a:lnTo>
                  <a:lnTo>
                    <a:pt x="453" y="375"/>
                  </a:lnTo>
                  <a:lnTo>
                    <a:pt x="452" y="379"/>
                  </a:lnTo>
                  <a:lnTo>
                    <a:pt x="448" y="385"/>
                  </a:lnTo>
                  <a:lnTo>
                    <a:pt x="444" y="392"/>
                  </a:lnTo>
                  <a:lnTo>
                    <a:pt x="437" y="404"/>
                  </a:lnTo>
                  <a:lnTo>
                    <a:pt x="435" y="408"/>
                  </a:lnTo>
                  <a:lnTo>
                    <a:pt x="434" y="410"/>
                  </a:lnTo>
                  <a:lnTo>
                    <a:pt x="433" y="412"/>
                  </a:lnTo>
                  <a:lnTo>
                    <a:pt x="433" y="414"/>
                  </a:lnTo>
                  <a:lnTo>
                    <a:pt x="433" y="415"/>
                  </a:lnTo>
                  <a:lnTo>
                    <a:pt x="433" y="417"/>
                  </a:lnTo>
                  <a:lnTo>
                    <a:pt x="434" y="419"/>
                  </a:lnTo>
                  <a:lnTo>
                    <a:pt x="435" y="422"/>
                  </a:lnTo>
                  <a:lnTo>
                    <a:pt x="435" y="423"/>
                  </a:lnTo>
                  <a:lnTo>
                    <a:pt x="436" y="424"/>
                  </a:lnTo>
                  <a:lnTo>
                    <a:pt x="437" y="425"/>
                  </a:lnTo>
                  <a:lnTo>
                    <a:pt x="439" y="426"/>
                  </a:lnTo>
                  <a:lnTo>
                    <a:pt x="441" y="426"/>
                  </a:lnTo>
                  <a:lnTo>
                    <a:pt x="443" y="427"/>
                  </a:lnTo>
                  <a:lnTo>
                    <a:pt x="445" y="427"/>
                  </a:lnTo>
                  <a:lnTo>
                    <a:pt x="445" y="428"/>
                  </a:lnTo>
                  <a:lnTo>
                    <a:pt x="446" y="428"/>
                  </a:lnTo>
                  <a:lnTo>
                    <a:pt x="447" y="429"/>
                  </a:lnTo>
                  <a:lnTo>
                    <a:pt x="447" y="430"/>
                  </a:lnTo>
                  <a:lnTo>
                    <a:pt x="448" y="432"/>
                  </a:lnTo>
                  <a:lnTo>
                    <a:pt x="448" y="433"/>
                  </a:lnTo>
                  <a:lnTo>
                    <a:pt x="450" y="445"/>
                  </a:lnTo>
                  <a:lnTo>
                    <a:pt x="451" y="450"/>
                  </a:lnTo>
                  <a:lnTo>
                    <a:pt x="452" y="453"/>
                  </a:lnTo>
                  <a:lnTo>
                    <a:pt x="453" y="457"/>
                  </a:lnTo>
                  <a:lnTo>
                    <a:pt x="453" y="459"/>
                  </a:lnTo>
                  <a:lnTo>
                    <a:pt x="453" y="461"/>
                  </a:lnTo>
                  <a:lnTo>
                    <a:pt x="459" y="473"/>
                  </a:lnTo>
                  <a:lnTo>
                    <a:pt x="463" y="482"/>
                  </a:lnTo>
                  <a:lnTo>
                    <a:pt x="464" y="487"/>
                  </a:lnTo>
                  <a:lnTo>
                    <a:pt x="466" y="494"/>
                  </a:lnTo>
                  <a:lnTo>
                    <a:pt x="465" y="494"/>
                  </a:lnTo>
                  <a:lnTo>
                    <a:pt x="463" y="500"/>
                  </a:lnTo>
                  <a:lnTo>
                    <a:pt x="459" y="506"/>
                  </a:lnTo>
                  <a:lnTo>
                    <a:pt x="456" y="508"/>
                  </a:lnTo>
                  <a:lnTo>
                    <a:pt x="453" y="512"/>
                  </a:lnTo>
                  <a:lnTo>
                    <a:pt x="451" y="514"/>
                  </a:lnTo>
                  <a:lnTo>
                    <a:pt x="449" y="516"/>
                  </a:lnTo>
                  <a:lnTo>
                    <a:pt x="447" y="517"/>
                  </a:lnTo>
                  <a:lnTo>
                    <a:pt x="444" y="518"/>
                  </a:lnTo>
                  <a:lnTo>
                    <a:pt x="441" y="519"/>
                  </a:lnTo>
                  <a:lnTo>
                    <a:pt x="437" y="520"/>
                  </a:lnTo>
                  <a:lnTo>
                    <a:pt x="434" y="521"/>
                  </a:lnTo>
                  <a:lnTo>
                    <a:pt x="430" y="521"/>
                  </a:lnTo>
                  <a:lnTo>
                    <a:pt x="426" y="520"/>
                  </a:lnTo>
                  <a:lnTo>
                    <a:pt x="422" y="519"/>
                  </a:lnTo>
                  <a:lnTo>
                    <a:pt x="419" y="518"/>
                  </a:lnTo>
                  <a:lnTo>
                    <a:pt x="408" y="516"/>
                  </a:lnTo>
                  <a:lnTo>
                    <a:pt x="405" y="514"/>
                  </a:lnTo>
                  <a:lnTo>
                    <a:pt x="402" y="514"/>
                  </a:lnTo>
                  <a:lnTo>
                    <a:pt x="398" y="513"/>
                  </a:lnTo>
                  <a:lnTo>
                    <a:pt x="397" y="513"/>
                  </a:lnTo>
                  <a:lnTo>
                    <a:pt x="394" y="514"/>
                  </a:lnTo>
                  <a:lnTo>
                    <a:pt x="391" y="515"/>
                  </a:lnTo>
                  <a:lnTo>
                    <a:pt x="387" y="517"/>
                  </a:lnTo>
                  <a:lnTo>
                    <a:pt x="385" y="517"/>
                  </a:lnTo>
                  <a:lnTo>
                    <a:pt x="384" y="518"/>
                  </a:lnTo>
                  <a:lnTo>
                    <a:pt x="382" y="520"/>
                  </a:lnTo>
                  <a:lnTo>
                    <a:pt x="381" y="521"/>
                  </a:lnTo>
                  <a:lnTo>
                    <a:pt x="373" y="531"/>
                  </a:lnTo>
                  <a:lnTo>
                    <a:pt x="370" y="537"/>
                  </a:lnTo>
                  <a:lnTo>
                    <a:pt x="367" y="540"/>
                  </a:lnTo>
                  <a:lnTo>
                    <a:pt x="362" y="548"/>
                  </a:lnTo>
                  <a:lnTo>
                    <a:pt x="356" y="552"/>
                  </a:lnTo>
                  <a:lnTo>
                    <a:pt x="354" y="555"/>
                  </a:lnTo>
                  <a:lnTo>
                    <a:pt x="352" y="558"/>
                  </a:lnTo>
                  <a:lnTo>
                    <a:pt x="351" y="562"/>
                  </a:lnTo>
                  <a:lnTo>
                    <a:pt x="350" y="564"/>
                  </a:lnTo>
                  <a:lnTo>
                    <a:pt x="347" y="572"/>
                  </a:lnTo>
                  <a:lnTo>
                    <a:pt x="345" y="575"/>
                  </a:lnTo>
                  <a:lnTo>
                    <a:pt x="344" y="577"/>
                  </a:lnTo>
                  <a:lnTo>
                    <a:pt x="339" y="584"/>
                  </a:lnTo>
                  <a:lnTo>
                    <a:pt x="336" y="590"/>
                  </a:lnTo>
                  <a:lnTo>
                    <a:pt x="334" y="594"/>
                  </a:lnTo>
                  <a:lnTo>
                    <a:pt x="327" y="607"/>
                  </a:lnTo>
                  <a:lnTo>
                    <a:pt x="325" y="610"/>
                  </a:lnTo>
                  <a:lnTo>
                    <a:pt x="324" y="612"/>
                  </a:lnTo>
                  <a:lnTo>
                    <a:pt x="322" y="615"/>
                  </a:lnTo>
                  <a:lnTo>
                    <a:pt x="317" y="619"/>
                  </a:lnTo>
                  <a:lnTo>
                    <a:pt x="316" y="622"/>
                  </a:lnTo>
                  <a:lnTo>
                    <a:pt x="315" y="625"/>
                  </a:lnTo>
                  <a:lnTo>
                    <a:pt x="314" y="626"/>
                  </a:lnTo>
                  <a:lnTo>
                    <a:pt x="313" y="628"/>
                  </a:lnTo>
                  <a:lnTo>
                    <a:pt x="313" y="630"/>
                  </a:lnTo>
                  <a:lnTo>
                    <a:pt x="312" y="632"/>
                  </a:lnTo>
                  <a:lnTo>
                    <a:pt x="312" y="635"/>
                  </a:lnTo>
                  <a:lnTo>
                    <a:pt x="311" y="638"/>
                  </a:lnTo>
                  <a:lnTo>
                    <a:pt x="312" y="641"/>
                  </a:lnTo>
                  <a:lnTo>
                    <a:pt x="312" y="643"/>
                  </a:lnTo>
                  <a:lnTo>
                    <a:pt x="314" y="652"/>
                  </a:lnTo>
                  <a:lnTo>
                    <a:pt x="316" y="664"/>
                  </a:lnTo>
                  <a:lnTo>
                    <a:pt x="317" y="674"/>
                  </a:lnTo>
                  <a:lnTo>
                    <a:pt x="318" y="678"/>
                  </a:lnTo>
                  <a:lnTo>
                    <a:pt x="319" y="682"/>
                  </a:lnTo>
                  <a:lnTo>
                    <a:pt x="319" y="686"/>
                  </a:lnTo>
                  <a:lnTo>
                    <a:pt x="319" y="687"/>
                  </a:lnTo>
                  <a:lnTo>
                    <a:pt x="318" y="688"/>
                  </a:lnTo>
                  <a:lnTo>
                    <a:pt x="318" y="690"/>
                  </a:lnTo>
                  <a:lnTo>
                    <a:pt x="317" y="692"/>
                  </a:lnTo>
                  <a:lnTo>
                    <a:pt x="316" y="694"/>
                  </a:lnTo>
                  <a:lnTo>
                    <a:pt x="315" y="696"/>
                  </a:lnTo>
                  <a:lnTo>
                    <a:pt x="313" y="698"/>
                  </a:lnTo>
                  <a:lnTo>
                    <a:pt x="312" y="698"/>
                  </a:lnTo>
                  <a:lnTo>
                    <a:pt x="310" y="699"/>
                  </a:lnTo>
                  <a:lnTo>
                    <a:pt x="308" y="700"/>
                  </a:lnTo>
                  <a:lnTo>
                    <a:pt x="306" y="701"/>
                  </a:lnTo>
                  <a:lnTo>
                    <a:pt x="305" y="701"/>
                  </a:lnTo>
                  <a:lnTo>
                    <a:pt x="302" y="701"/>
                  </a:lnTo>
                  <a:lnTo>
                    <a:pt x="301" y="701"/>
                  </a:lnTo>
                  <a:lnTo>
                    <a:pt x="299" y="700"/>
                  </a:lnTo>
                  <a:lnTo>
                    <a:pt x="297" y="700"/>
                  </a:lnTo>
                  <a:lnTo>
                    <a:pt x="296" y="699"/>
                  </a:lnTo>
                  <a:lnTo>
                    <a:pt x="294" y="698"/>
                  </a:lnTo>
                  <a:lnTo>
                    <a:pt x="294" y="698"/>
                  </a:lnTo>
                  <a:lnTo>
                    <a:pt x="293" y="696"/>
                  </a:lnTo>
                  <a:lnTo>
                    <a:pt x="292" y="694"/>
                  </a:lnTo>
                  <a:lnTo>
                    <a:pt x="290" y="689"/>
                  </a:lnTo>
                  <a:lnTo>
                    <a:pt x="290" y="688"/>
                  </a:lnTo>
                  <a:lnTo>
                    <a:pt x="289" y="687"/>
                  </a:lnTo>
                  <a:lnTo>
                    <a:pt x="288" y="687"/>
                  </a:lnTo>
                  <a:lnTo>
                    <a:pt x="287" y="686"/>
                  </a:lnTo>
                  <a:lnTo>
                    <a:pt x="286" y="686"/>
                  </a:lnTo>
                  <a:lnTo>
                    <a:pt x="284" y="685"/>
                  </a:lnTo>
                  <a:lnTo>
                    <a:pt x="282" y="685"/>
                  </a:lnTo>
                  <a:lnTo>
                    <a:pt x="280" y="685"/>
                  </a:lnTo>
                  <a:lnTo>
                    <a:pt x="272" y="685"/>
                  </a:lnTo>
                  <a:lnTo>
                    <a:pt x="269" y="685"/>
                  </a:lnTo>
                  <a:lnTo>
                    <a:pt x="267" y="685"/>
                  </a:lnTo>
                  <a:lnTo>
                    <a:pt x="264" y="686"/>
                  </a:lnTo>
                  <a:lnTo>
                    <a:pt x="259" y="687"/>
                  </a:lnTo>
                  <a:lnTo>
                    <a:pt x="256" y="687"/>
                  </a:lnTo>
                  <a:lnTo>
                    <a:pt x="254" y="687"/>
                  </a:lnTo>
                  <a:lnTo>
                    <a:pt x="251" y="687"/>
                  </a:lnTo>
                  <a:lnTo>
                    <a:pt x="248" y="687"/>
                  </a:lnTo>
                  <a:lnTo>
                    <a:pt x="244" y="686"/>
                  </a:lnTo>
                  <a:lnTo>
                    <a:pt x="239" y="684"/>
                  </a:lnTo>
                  <a:lnTo>
                    <a:pt x="233" y="682"/>
                  </a:lnTo>
                  <a:lnTo>
                    <a:pt x="228" y="680"/>
                  </a:lnTo>
                  <a:lnTo>
                    <a:pt x="226" y="680"/>
                  </a:lnTo>
                  <a:lnTo>
                    <a:pt x="224" y="679"/>
                  </a:lnTo>
                  <a:lnTo>
                    <a:pt x="221" y="679"/>
                  </a:lnTo>
                  <a:lnTo>
                    <a:pt x="219" y="679"/>
                  </a:lnTo>
                  <a:lnTo>
                    <a:pt x="217" y="679"/>
                  </a:lnTo>
                  <a:lnTo>
                    <a:pt x="214" y="679"/>
                  </a:lnTo>
                  <a:lnTo>
                    <a:pt x="212" y="679"/>
                  </a:lnTo>
                  <a:lnTo>
                    <a:pt x="208" y="679"/>
                  </a:lnTo>
                  <a:lnTo>
                    <a:pt x="206" y="680"/>
                  </a:lnTo>
                  <a:lnTo>
                    <a:pt x="203" y="681"/>
                  </a:lnTo>
                  <a:lnTo>
                    <a:pt x="199" y="682"/>
                  </a:lnTo>
                  <a:lnTo>
                    <a:pt x="197" y="684"/>
                  </a:lnTo>
                  <a:lnTo>
                    <a:pt x="194" y="685"/>
                  </a:lnTo>
                  <a:lnTo>
                    <a:pt x="191" y="687"/>
                  </a:lnTo>
                  <a:lnTo>
                    <a:pt x="189" y="688"/>
                  </a:lnTo>
                  <a:lnTo>
                    <a:pt x="187" y="690"/>
                  </a:lnTo>
                  <a:lnTo>
                    <a:pt x="186" y="691"/>
                  </a:lnTo>
                  <a:lnTo>
                    <a:pt x="186" y="692"/>
                  </a:lnTo>
                  <a:lnTo>
                    <a:pt x="185" y="691"/>
                  </a:lnTo>
                  <a:lnTo>
                    <a:pt x="183" y="690"/>
                  </a:lnTo>
                  <a:lnTo>
                    <a:pt x="181" y="689"/>
                  </a:lnTo>
                  <a:lnTo>
                    <a:pt x="179" y="687"/>
                  </a:lnTo>
                  <a:lnTo>
                    <a:pt x="177" y="686"/>
                  </a:lnTo>
                  <a:lnTo>
                    <a:pt x="175" y="684"/>
                  </a:lnTo>
                  <a:lnTo>
                    <a:pt x="173" y="682"/>
                  </a:lnTo>
                  <a:lnTo>
                    <a:pt x="171" y="680"/>
                  </a:lnTo>
                  <a:lnTo>
                    <a:pt x="169" y="678"/>
                  </a:lnTo>
                  <a:lnTo>
                    <a:pt x="169" y="676"/>
                  </a:lnTo>
                  <a:lnTo>
                    <a:pt x="167" y="673"/>
                  </a:lnTo>
                  <a:lnTo>
                    <a:pt x="165" y="669"/>
                  </a:lnTo>
                  <a:lnTo>
                    <a:pt x="164" y="666"/>
                  </a:lnTo>
                  <a:lnTo>
                    <a:pt x="163" y="663"/>
                  </a:lnTo>
                  <a:lnTo>
                    <a:pt x="163" y="661"/>
                  </a:lnTo>
                  <a:lnTo>
                    <a:pt x="162" y="658"/>
                  </a:lnTo>
                  <a:lnTo>
                    <a:pt x="162" y="655"/>
                  </a:lnTo>
                  <a:lnTo>
                    <a:pt x="162" y="653"/>
                  </a:lnTo>
                  <a:lnTo>
                    <a:pt x="162" y="651"/>
                  </a:lnTo>
                  <a:lnTo>
                    <a:pt x="162" y="648"/>
                  </a:lnTo>
                  <a:lnTo>
                    <a:pt x="163" y="645"/>
                  </a:lnTo>
                  <a:lnTo>
                    <a:pt x="164" y="643"/>
                  </a:lnTo>
                  <a:lnTo>
                    <a:pt x="164" y="642"/>
                  </a:lnTo>
                  <a:lnTo>
                    <a:pt x="165" y="642"/>
                  </a:lnTo>
                  <a:lnTo>
                    <a:pt x="166" y="640"/>
                  </a:lnTo>
                  <a:lnTo>
                    <a:pt x="168" y="639"/>
                  </a:lnTo>
                  <a:lnTo>
                    <a:pt x="171" y="636"/>
                  </a:lnTo>
                  <a:lnTo>
                    <a:pt x="173" y="635"/>
                  </a:lnTo>
                  <a:lnTo>
                    <a:pt x="174" y="634"/>
                  </a:lnTo>
                  <a:lnTo>
                    <a:pt x="175" y="632"/>
                  </a:lnTo>
                  <a:lnTo>
                    <a:pt x="175" y="631"/>
                  </a:lnTo>
                  <a:lnTo>
                    <a:pt x="175" y="630"/>
                  </a:lnTo>
                  <a:lnTo>
                    <a:pt x="174" y="629"/>
                  </a:lnTo>
                  <a:lnTo>
                    <a:pt x="173" y="627"/>
                  </a:lnTo>
                  <a:lnTo>
                    <a:pt x="172" y="625"/>
                  </a:lnTo>
                  <a:lnTo>
                    <a:pt x="170" y="623"/>
                  </a:lnTo>
                  <a:lnTo>
                    <a:pt x="165" y="619"/>
                  </a:lnTo>
                  <a:lnTo>
                    <a:pt x="164" y="617"/>
                  </a:lnTo>
                  <a:lnTo>
                    <a:pt x="163" y="615"/>
                  </a:lnTo>
                  <a:lnTo>
                    <a:pt x="162" y="613"/>
                  </a:lnTo>
                  <a:lnTo>
                    <a:pt x="161" y="611"/>
                  </a:lnTo>
                  <a:lnTo>
                    <a:pt x="160" y="610"/>
                  </a:lnTo>
                  <a:lnTo>
                    <a:pt x="160" y="608"/>
                  </a:lnTo>
                  <a:lnTo>
                    <a:pt x="160" y="607"/>
                  </a:lnTo>
                  <a:lnTo>
                    <a:pt x="161" y="605"/>
                  </a:lnTo>
                  <a:lnTo>
                    <a:pt x="161" y="603"/>
                  </a:lnTo>
                  <a:lnTo>
                    <a:pt x="162" y="601"/>
                  </a:lnTo>
                  <a:lnTo>
                    <a:pt x="164" y="597"/>
                  </a:lnTo>
                  <a:lnTo>
                    <a:pt x="169" y="587"/>
                  </a:lnTo>
                  <a:lnTo>
                    <a:pt x="169" y="585"/>
                  </a:lnTo>
                  <a:lnTo>
                    <a:pt x="171" y="581"/>
                  </a:lnTo>
                  <a:lnTo>
                    <a:pt x="171" y="578"/>
                  </a:lnTo>
                  <a:lnTo>
                    <a:pt x="172" y="570"/>
                  </a:lnTo>
                  <a:lnTo>
                    <a:pt x="173" y="566"/>
                  </a:lnTo>
                  <a:lnTo>
                    <a:pt x="175" y="559"/>
                  </a:lnTo>
                  <a:lnTo>
                    <a:pt x="176" y="551"/>
                  </a:lnTo>
                  <a:lnTo>
                    <a:pt x="177" y="548"/>
                  </a:lnTo>
                  <a:lnTo>
                    <a:pt x="178" y="545"/>
                  </a:lnTo>
                  <a:lnTo>
                    <a:pt x="179" y="542"/>
                  </a:lnTo>
                  <a:lnTo>
                    <a:pt x="184" y="533"/>
                  </a:lnTo>
                  <a:lnTo>
                    <a:pt x="185" y="529"/>
                  </a:lnTo>
                  <a:lnTo>
                    <a:pt x="186" y="528"/>
                  </a:lnTo>
                  <a:lnTo>
                    <a:pt x="187" y="525"/>
                  </a:lnTo>
                  <a:lnTo>
                    <a:pt x="188" y="523"/>
                  </a:lnTo>
                  <a:lnTo>
                    <a:pt x="188" y="521"/>
                  </a:lnTo>
                  <a:lnTo>
                    <a:pt x="187" y="518"/>
                  </a:lnTo>
                  <a:lnTo>
                    <a:pt x="187" y="517"/>
                  </a:lnTo>
                  <a:lnTo>
                    <a:pt x="186" y="516"/>
                  </a:lnTo>
                  <a:lnTo>
                    <a:pt x="186" y="515"/>
                  </a:lnTo>
                  <a:lnTo>
                    <a:pt x="185" y="513"/>
                  </a:lnTo>
                  <a:lnTo>
                    <a:pt x="183" y="511"/>
                  </a:lnTo>
                  <a:lnTo>
                    <a:pt x="180" y="508"/>
                  </a:lnTo>
                  <a:lnTo>
                    <a:pt x="178" y="506"/>
                  </a:lnTo>
                  <a:lnTo>
                    <a:pt x="174" y="503"/>
                  </a:lnTo>
                  <a:lnTo>
                    <a:pt x="169" y="497"/>
                  </a:lnTo>
                  <a:lnTo>
                    <a:pt x="166" y="495"/>
                  </a:lnTo>
                  <a:lnTo>
                    <a:pt x="161" y="494"/>
                  </a:lnTo>
                  <a:lnTo>
                    <a:pt x="159" y="493"/>
                  </a:lnTo>
                  <a:lnTo>
                    <a:pt x="157" y="492"/>
                  </a:lnTo>
                  <a:lnTo>
                    <a:pt x="154" y="491"/>
                  </a:lnTo>
                  <a:lnTo>
                    <a:pt x="151" y="491"/>
                  </a:lnTo>
                  <a:lnTo>
                    <a:pt x="147" y="491"/>
                  </a:lnTo>
                  <a:lnTo>
                    <a:pt x="145" y="491"/>
                  </a:lnTo>
                  <a:lnTo>
                    <a:pt x="141" y="492"/>
                  </a:lnTo>
                  <a:lnTo>
                    <a:pt x="137" y="493"/>
                  </a:lnTo>
                  <a:lnTo>
                    <a:pt x="135" y="494"/>
                  </a:lnTo>
                  <a:lnTo>
                    <a:pt x="129" y="496"/>
                  </a:lnTo>
                  <a:lnTo>
                    <a:pt x="127" y="497"/>
                  </a:lnTo>
                  <a:lnTo>
                    <a:pt x="125" y="498"/>
                  </a:lnTo>
                  <a:lnTo>
                    <a:pt x="123" y="498"/>
                  </a:lnTo>
                  <a:lnTo>
                    <a:pt x="121" y="497"/>
                  </a:lnTo>
                  <a:lnTo>
                    <a:pt x="119" y="496"/>
                  </a:lnTo>
                  <a:lnTo>
                    <a:pt x="117" y="494"/>
                  </a:lnTo>
                  <a:lnTo>
                    <a:pt x="112" y="490"/>
                  </a:lnTo>
                  <a:lnTo>
                    <a:pt x="109" y="488"/>
                  </a:lnTo>
                  <a:lnTo>
                    <a:pt x="107" y="487"/>
                  </a:lnTo>
                  <a:lnTo>
                    <a:pt x="102" y="485"/>
                  </a:lnTo>
                  <a:lnTo>
                    <a:pt x="100" y="483"/>
                  </a:lnTo>
                  <a:lnTo>
                    <a:pt x="96" y="482"/>
                  </a:lnTo>
                  <a:lnTo>
                    <a:pt x="89" y="478"/>
                  </a:lnTo>
                  <a:lnTo>
                    <a:pt x="87" y="476"/>
                  </a:lnTo>
                  <a:lnTo>
                    <a:pt x="84" y="475"/>
                  </a:lnTo>
                  <a:lnTo>
                    <a:pt x="81" y="473"/>
                  </a:lnTo>
                  <a:lnTo>
                    <a:pt x="79" y="473"/>
                  </a:lnTo>
                  <a:lnTo>
                    <a:pt x="77" y="473"/>
                  </a:lnTo>
                  <a:lnTo>
                    <a:pt x="73" y="472"/>
                  </a:lnTo>
                  <a:lnTo>
                    <a:pt x="65" y="472"/>
                  </a:lnTo>
                  <a:lnTo>
                    <a:pt x="62" y="472"/>
                  </a:lnTo>
                  <a:lnTo>
                    <a:pt x="59" y="472"/>
                  </a:lnTo>
                  <a:lnTo>
                    <a:pt x="57" y="472"/>
                  </a:lnTo>
                  <a:lnTo>
                    <a:pt x="55" y="471"/>
                  </a:lnTo>
                  <a:lnTo>
                    <a:pt x="54" y="470"/>
                  </a:lnTo>
                  <a:lnTo>
                    <a:pt x="52" y="468"/>
                  </a:lnTo>
                  <a:lnTo>
                    <a:pt x="50" y="465"/>
                  </a:lnTo>
                  <a:lnTo>
                    <a:pt x="45" y="459"/>
                  </a:lnTo>
                  <a:lnTo>
                    <a:pt x="44" y="457"/>
                  </a:lnTo>
                  <a:lnTo>
                    <a:pt x="43" y="455"/>
                  </a:lnTo>
                  <a:lnTo>
                    <a:pt x="40" y="453"/>
                  </a:lnTo>
                  <a:lnTo>
                    <a:pt x="37" y="451"/>
                  </a:lnTo>
                  <a:lnTo>
                    <a:pt x="35" y="450"/>
                  </a:lnTo>
                  <a:lnTo>
                    <a:pt x="31" y="449"/>
                  </a:lnTo>
                  <a:lnTo>
                    <a:pt x="30" y="449"/>
                  </a:lnTo>
                  <a:lnTo>
                    <a:pt x="29" y="448"/>
                  </a:lnTo>
                  <a:lnTo>
                    <a:pt x="28" y="447"/>
                  </a:lnTo>
                  <a:lnTo>
                    <a:pt x="29" y="447"/>
                  </a:lnTo>
                  <a:lnTo>
                    <a:pt x="30" y="446"/>
                  </a:lnTo>
                  <a:lnTo>
                    <a:pt x="30" y="445"/>
                  </a:lnTo>
                  <a:lnTo>
                    <a:pt x="30" y="444"/>
                  </a:lnTo>
                  <a:lnTo>
                    <a:pt x="30" y="443"/>
                  </a:lnTo>
                  <a:lnTo>
                    <a:pt x="30" y="442"/>
                  </a:lnTo>
                  <a:lnTo>
                    <a:pt x="29" y="440"/>
                  </a:lnTo>
                  <a:lnTo>
                    <a:pt x="28" y="438"/>
                  </a:lnTo>
                  <a:lnTo>
                    <a:pt x="27" y="438"/>
                  </a:lnTo>
                  <a:lnTo>
                    <a:pt x="24" y="434"/>
                  </a:lnTo>
                  <a:lnTo>
                    <a:pt x="21" y="430"/>
                  </a:lnTo>
                  <a:lnTo>
                    <a:pt x="17" y="426"/>
                  </a:lnTo>
                  <a:lnTo>
                    <a:pt x="9" y="418"/>
                  </a:lnTo>
                  <a:lnTo>
                    <a:pt x="4" y="413"/>
                  </a:lnTo>
                  <a:lnTo>
                    <a:pt x="2" y="411"/>
                  </a:lnTo>
                  <a:lnTo>
                    <a:pt x="1" y="410"/>
                  </a:lnTo>
                  <a:lnTo>
                    <a:pt x="1" y="408"/>
                  </a:lnTo>
                  <a:lnTo>
                    <a:pt x="0" y="407"/>
                  </a:lnTo>
                  <a:lnTo>
                    <a:pt x="1" y="406"/>
                  </a:lnTo>
                  <a:lnTo>
                    <a:pt x="1" y="405"/>
                  </a:lnTo>
                  <a:lnTo>
                    <a:pt x="2" y="404"/>
                  </a:lnTo>
                  <a:lnTo>
                    <a:pt x="3" y="404"/>
                  </a:lnTo>
                  <a:lnTo>
                    <a:pt x="4" y="403"/>
                  </a:lnTo>
                  <a:lnTo>
                    <a:pt x="9" y="402"/>
                  </a:lnTo>
                  <a:lnTo>
                    <a:pt x="10" y="401"/>
                  </a:lnTo>
                  <a:lnTo>
                    <a:pt x="12" y="400"/>
                  </a:lnTo>
                  <a:lnTo>
                    <a:pt x="14" y="399"/>
                  </a:lnTo>
                  <a:lnTo>
                    <a:pt x="16" y="398"/>
                  </a:lnTo>
                  <a:lnTo>
                    <a:pt x="17" y="396"/>
                  </a:lnTo>
                  <a:lnTo>
                    <a:pt x="19" y="395"/>
                  </a:lnTo>
                  <a:lnTo>
                    <a:pt x="19" y="393"/>
                  </a:lnTo>
                  <a:lnTo>
                    <a:pt x="20" y="392"/>
                  </a:lnTo>
                  <a:lnTo>
                    <a:pt x="20" y="391"/>
                  </a:lnTo>
                  <a:lnTo>
                    <a:pt x="20" y="389"/>
                  </a:lnTo>
                  <a:lnTo>
                    <a:pt x="20" y="387"/>
                  </a:lnTo>
                  <a:lnTo>
                    <a:pt x="20" y="385"/>
                  </a:lnTo>
                  <a:lnTo>
                    <a:pt x="19" y="382"/>
                  </a:lnTo>
                  <a:lnTo>
                    <a:pt x="17" y="376"/>
                  </a:lnTo>
                  <a:lnTo>
                    <a:pt x="17" y="374"/>
                  </a:lnTo>
                  <a:lnTo>
                    <a:pt x="17" y="372"/>
                  </a:lnTo>
                  <a:lnTo>
                    <a:pt x="17" y="370"/>
                  </a:lnTo>
                  <a:lnTo>
                    <a:pt x="18" y="369"/>
                  </a:lnTo>
                  <a:lnTo>
                    <a:pt x="18" y="366"/>
                  </a:lnTo>
                  <a:lnTo>
                    <a:pt x="20" y="364"/>
                  </a:lnTo>
                  <a:lnTo>
                    <a:pt x="21" y="363"/>
                  </a:lnTo>
                  <a:lnTo>
                    <a:pt x="21" y="362"/>
                  </a:lnTo>
                  <a:lnTo>
                    <a:pt x="22" y="361"/>
                  </a:lnTo>
                  <a:lnTo>
                    <a:pt x="24" y="360"/>
                  </a:lnTo>
                  <a:lnTo>
                    <a:pt x="26" y="358"/>
                  </a:lnTo>
                  <a:lnTo>
                    <a:pt x="32" y="357"/>
                  </a:lnTo>
                  <a:lnTo>
                    <a:pt x="34" y="355"/>
                  </a:lnTo>
                  <a:lnTo>
                    <a:pt x="37" y="353"/>
                  </a:lnTo>
                  <a:lnTo>
                    <a:pt x="40" y="351"/>
                  </a:lnTo>
                  <a:lnTo>
                    <a:pt x="42" y="349"/>
                  </a:lnTo>
                  <a:lnTo>
                    <a:pt x="43" y="348"/>
                  </a:lnTo>
                  <a:lnTo>
                    <a:pt x="44" y="347"/>
                  </a:lnTo>
                  <a:lnTo>
                    <a:pt x="44" y="345"/>
                  </a:lnTo>
                  <a:lnTo>
                    <a:pt x="44" y="343"/>
                  </a:lnTo>
                  <a:lnTo>
                    <a:pt x="44" y="340"/>
                  </a:lnTo>
                  <a:lnTo>
                    <a:pt x="44" y="337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4" y="330"/>
                  </a:lnTo>
                  <a:lnTo>
                    <a:pt x="43" y="328"/>
                  </a:lnTo>
                  <a:lnTo>
                    <a:pt x="42" y="326"/>
                  </a:lnTo>
                  <a:lnTo>
                    <a:pt x="42" y="325"/>
                  </a:lnTo>
                  <a:lnTo>
                    <a:pt x="40" y="324"/>
                  </a:lnTo>
                  <a:lnTo>
                    <a:pt x="39" y="323"/>
                  </a:lnTo>
                  <a:lnTo>
                    <a:pt x="37" y="321"/>
                  </a:lnTo>
                  <a:lnTo>
                    <a:pt x="34" y="319"/>
                  </a:lnTo>
                  <a:lnTo>
                    <a:pt x="27" y="313"/>
                  </a:lnTo>
                  <a:lnTo>
                    <a:pt x="25" y="313"/>
                  </a:lnTo>
                  <a:lnTo>
                    <a:pt x="24" y="312"/>
                  </a:lnTo>
                  <a:lnTo>
                    <a:pt x="23" y="311"/>
                  </a:lnTo>
                  <a:lnTo>
                    <a:pt x="22" y="309"/>
                  </a:lnTo>
                  <a:lnTo>
                    <a:pt x="21" y="308"/>
                  </a:lnTo>
                  <a:lnTo>
                    <a:pt x="21" y="305"/>
                  </a:lnTo>
                  <a:lnTo>
                    <a:pt x="21" y="302"/>
                  </a:lnTo>
                  <a:lnTo>
                    <a:pt x="21" y="299"/>
                  </a:lnTo>
                  <a:lnTo>
                    <a:pt x="21" y="295"/>
                  </a:lnTo>
                  <a:lnTo>
                    <a:pt x="21" y="291"/>
                  </a:lnTo>
                  <a:lnTo>
                    <a:pt x="22" y="287"/>
                  </a:lnTo>
                  <a:lnTo>
                    <a:pt x="24" y="283"/>
                  </a:lnTo>
                  <a:lnTo>
                    <a:pt x="26" y="278"/>
                  </a:lnTo>
                  <a:lnTo>
                    <a:pt x="29" y="268"/>
                  </a:lnTo>
                  <a:lnTo>
                    <a:pt x="29" y="268"/>
                  </a:lnTo>
                  <a:lnTo>
                    <a:pt x="35" y="266"/>
                  </a:lnTo>
                  <a:lnTo>
                    <a:pt x="37" y="266"/>
                  </a:lnTo>
                  <a:lnTo>
                    <a:pt x="40" y="265"/>
                  </a:lnTo>
                  <a:lnTo>
                    <a:pt x="43" y="263"/>
                  </a:lnTo>
                  <a:lnTo>
                    <a:pt x="45" y="262"/>
                  </a:lnTo>
                  <a:lnTo>
                    <a:pt x="46" y="260"/>
                  </a:lnTo>
                  <a:lnTo>
                    <a:pt x="48" y="258"/>
                  </a:lnTo>
                  <a:lnTo>
                    <a:pt x="48" y="257"/>
                  </a:lnTo>
                  <a:lnTo>
                    <a:pt x="49" y="256"/>
                  </a:lnTo>
                  <a:lnTo>
                    <a:pt x="49" y="255"/>
                  </a:lnTo>
                  <a:lnTo>
                    <a:pt x="49" y="254"/>
                  </a:lnTo>
                  <a:lnTo>
                    <a:pt x="49" y="252"/>
                  </a:lnTo>
                  <a:lnTo>
                    <a:pt x="49" y="250"/>
                  </a:lnTo>
                  <a:lnTo>
                    <a:pt x="48" y="249"/>
                  </a:lnTo>
                  <a:lnTo>
                    <a:pt x="47" y="247"/>
                  </a:lnTo>
                  <a:lnTo>
                    <a:pt x="42" y="241"/>
                  </a:lnTo>
                  <a:lnTo>
                    <a:pt x="41" y="239"/>
                  </a:lnTo>
                  <a:lnTo>
                    <a:pt x="40" y="237"/>
                  </a:lnTo>
                  <a:lnTo>
                    <a:pt x="39" y="235"/>
                  </a:lnTo>
                  <a:lnTo>
                    <a:pt x="38" y="233"/>
                  </a:lnTo>
                  <a:lnTo>
                    <a:pt x="38" y="231"/>
                  </a:lnTo>
                  <a:lnTo>
                    <a:pt x="38" y="229"/>
                  </a:lnTo>
                  <a:lnTo>
                    <a:pt x="38" y="227"/>
                  </a:lnTo>
                  <a:lnTo>
                    <a:pt x="39" y="225"/>
                  </a:lnTo>
                  <a:lnTo>
                    <a:pt x="39" y="223"/>
                  </a:lnTo>
                  <a:lnTo>
                    <a:pt x="40" y="222"/>
                  </a:lnTo>
                  <a:lnTo>
                    <a:pt x="42" y="219"/>
                  </a:lnTo>
                  <a:lnTo>
                    <a:pt x="45" y="214"/>
                  </a:lnTo>
                  <a:lnTo>
                    <a:pt x="48" y="211"/>
                  </a:lnTo>
                  <a:lnTo>
                    <a:pt x="51" y="207"/>
                  </a:lnTo>
                  <a:lnTo>
                    <a:pt x="53" y="203"/>
                  </a:lnTo>
                  <a:lnTo>
                    <a:pt x="54" y="201"/>
                  </a:lnTo>
                  <a:lnTo>
                    <a:pt x="55" y="199"/>
                  </a:lnTo>
                  <a:lnTo>
                    <a:pt x="55" y="197"/>
                  </a:lnTo>
                  <a:lnTo>
                    <a:pt x="55" y="195"/>
                  </a:lnTo>
                  <a:lnTo>
                    <a:pt x="55" y="193"/>
                  </a:lnTo>
                  <a:lnTo>
                    <a:pt x="54" y="191"/>
                  </a:lnTo>
                  <a:lnTo>
                    <a:pt x="53" y="189"/>
                  </a:lnTo>
                  <a:lnTo>
                    <a:pt x="52" y="188"/>
                  </a:lnTo>
                  <a:lnTo>
                    <a:pt x="50" y="188"/>
                  </a:lnTo>
                  <a:lnTo>
                    <a:pt x="49" y="188"/>
                  </a:lnTo>
                  <a:lnTo>
                    <a:pt x="43" y="186"/>
                  </a:lnTo>
                  <a:lnTo>
                    <a:pt x="40" y="185"/>
                  </a:lnTo>
                  <a:lnTo>
                    <a:pt x="37" y="184"/>
                  </a:lnTo>
                  <a:lnTo>
                    <a:pt x="35" y="183"/>
                  </a:lnTo>
                  <a:lnTo>
                    <a:pt x="33" y="182"/>
                  </a:lnTo>
                  <a:lnTo>
                    <a:pt x="32" y="181"/>
                  </a:lnTo>
                  <a:lnTo>
                    <a:pt x="31" y="180"/>
                  </a:lnTo>
                  <a:lnTo>
                    <a:pt x="30" y="179"/>
                  </a:lnTo>
                  <a:lnTo>
                    <a:pt x="30" y="178"/>
                  </a:lnTo>
                  <a:lnTo>
                    <a:pt x="30" y="177"/>
                  </a:lnTo>
                  <a:lnTo>
                    <a:pt x="30" y="177"/>
                  </a:lnTo>
                  <a:lnTo>
                    <a:pt x="30" y="176"/>
                  </a:lnTo>
                  <a:lnTo>
                    <a:pt x="31" y="175"/>
                  </a:lnTo>
                  <a:lnTo>
                    <a:pt x="32" y="174"/>
                  </a:lnTo>
                  <a:lnTo>
                    <a:pt x="34" y="172"/>
                  </a:lnTo>
                  <a:lnTo>
                    <a:pt x="35" y="171"/>
                  </a:lnTo>
                  <a:lnTo>
                    <a:pt x="35" y="170"/>
                  </a:lnTo>
                  <a:lnTo>
                    <a:pt x="36" y="170"/>
                  </a:lnTo>
                  <a:lnTo>
                    <a:pt x="35" y="169"/>
                  </a:lnTo>
                  <a:lnTo>
                    <a:pt x="35" y="168"/>
                  </a:lnTo>
                  <a:lnTo>
                    <a:pt x="34" y="167"/>
                  </a:lnTo>
                  <a:lnTo>
                    <a:pt x="33" y="166"/>
                  </a:lnTo>
                  <a:lnTo>
                    <a:pt x="21" y="158"/>
                  </a:lnTo>
                  <a:lnTo>
                    <a:pt x="12" y="152"/>
                  </a:lnTo>
                  <a:lnTo>
                    <a:pt x="10" y="150"/>
                  </a:lnTo>
                  <a:lnTo>
                    <a:pt x="9" y="149"/>
                  </a:lnTo>
                  <a:lnTo>
                    <a:pt x="9" y="147"/>
                  </a:lnTo>
                  <a:lnTo>
                    <a:pt x="8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8" y="142"/>
                  </a:lnTo>
                  <a:lnTo>
                    <a:pt x="8" y="140"/>
                  </a:lnTo>
                  <a:lnTo>
                    <a:pt x="8" y="137"/>
                  </a:lnTo>
                  <a:lnTo>
                    <a:pt x="9" y="129"/>
                  </a:lnTo>
                  <a:lnTo>
                    <a:pt x="11" y="123"/>
                  </a:lnTo>
                  <a:lnTo>
                    <a:pt x="11" y="120"/>
                  </a:lnTo>
                  <a:lnTo>
                    <a:pt x="12" y="115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3"/>
                  </a:lnTo>
                  <a:lnTo>
                    <a:pt x="13" y="101"/>
                  </a:lnTo>
                  <a:lnTo>
                    <a:pt x="14" y="99"/>
                  </a:lnTo>
                  <a:lnTo>
                    <a:pt x="16" y="97"/>
                  </a:lnTo>
                  <a:lnTo>
                    <a:pt x="17" y="94"/>
                  </a:lnTo>
                  <a:lnTo>
                    <a:pt x="19" y="92"/>
                  </a:lnTo>
                  <a:lnTo>
                    <a:pt x="21" y="89"/>
                  </a:lnTo>
                  <a:lnTo>
                    <a:pt x="25" y="84"/>
                  </a:lnTo>
                  <a:lnTo>
                    <a:pt x="27" y="82"/>
                  </a:lnTo>
                  <a:lnTo>
                    <a:pt x="28" y="79"/>
                  </a:lnTo>
                  <a:lnTo>
                    <a:pt x="32" y="73"/>
                  </a:lnTo>
                  <a:lnTo>
                    <a:pt x="33" y="70"/>
                  </a:lnTo>
                  <a:lnTo>
                    <a:pt x="34" y="68"/>
                  </a:lnTo>
                  <a:lnTo>
                    <a:pt x="36" y="65"/>
                  </a:lnTo>
                  <a:lnTo>
                    <a:pt x="38" y="64"/>
                  </a:lnTo>
                  <a:lnTo>
                    <a:pt x="39" y="63"/>
                  </a:lnTo>
                  <a:lnTo>
                    <a:pt x="41" y="62"/>
                  </a:lnTo>
                  <a:lnTo>
                    <a:pt x="43" y="60"/>
                  </a:lnTo>
                  <a:lnTo>
                    <a:pt x="45" y="58"/>
                  </a:lnTo>
                  <a:lnTo>
                    <a:pt x="48" y="57"/>
                  </a:lnTo>
                  <a:lnTo>
                    <a:pt x="51" y="56"/>
                  </a:lnTo>
                  <a:lnTo>
                    <a:pt x="55" y="55"/>
                  </a:lnTo>
                  <a:lnTo>
                    <a:pt x="62" y="55"/>
                  </a:lnTo>
                  <a:lnTo>
                    <a:pt x="66" y="54"/>
                  </a:lnTo>
                  <a:lnTo>
                    <a:pt x="72" y="53"/>
                  </a:lnTo>
                  <a:lnTo>
                    <a:pt x="76" y="52"/>
                  </a:lnTo>
                  <a:lnTo>
                    <a:pt x="78" y="52"/>
                  </a:lnTo>
                  <a:lnTo>
                    <a:pt x="80" y="51"/>
                  </a:lnTo>
                  <a:lnTo>
                    <a:pt x="81" y="50"/>
                  </a:lnTo>
                  <a:lnTo>
                    <a:pt x="82" y="49"/>
                  </a:lnTo>
                  <a:lnTo>
                    <a:pt x="83" y="47"/>
                  </a:lnTo>
                  <a:lnTo>
                    <a:pt x="84" y="45"/>
                  </a:lnTo>
                  <a:lnTo>
                    <a:pt x="85" y="44"/>
                  </a:lnTo>
                  <a:lnTo>
                    <a:pt x="85" y="42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4" y="39"/>
                  </a:lnTo>
                  <a:lnTo>
                    <a:pt x="83" y="38"/>
                  </a:lnTo>
                  <a:lnTo>
                    <a:pt x="81" y="37"/>
                  </a:lnTo>
                  <a:lnTo>
                    <a:pt x="80" y="36"/>
                  </a:lnTo>
                  <a:lnTo>
                    <a:pt x="79" y="35"/>
                  </a:lnTo>
                  <a:lnTo>
                    <a:pt x="78" y="35"/>
                  </a:lnTo>
                  <a:lnTo>
                    <a:pt x="76" y="34"/>
                  </a:lnTo>
                  <a:lnTo>
                    <a:pt x="69" y="32"/>
                  </a:lnTo>
                  <a:lnTo>
                    <a:pt x="67" y="31"/>
                  </a:lnTo>
                  <a:lnTo>
                    <a:pt x="66" y="31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5" y="29"/>
                  </a:lnTo>
                  <a:lnTo>
                    <a:pt x="66" y="28"/>
                  </a:lnTo>
                  <a:lnTo>
                    <a:pt x="66" y="27"/>
                  </a:lnTo>
                  <a:lnTo>
                    <a:pt x="67" y="25"/>
                  </a:lnTo>
                  <a:lnTo>
                    <a:pt x="68" y="23"/>
                  </a:lnTo>
                  <a:lnTo>
                    <a:pt x="72" y="19"/>
                  </a:lnTo>
                  <a:lnTo>
                    <a:pt x="74" y="18"/>
                  </a:lnTo>
                  <a:lnTo>
                    <a:pt x="76" y="17"/>
                  </a:lnTo>
                  <a:lnTo>
                    <a:pt x="78" y="15"/>
                  </a:lnTo>
                  <a:lnTo>
                    <a:pt x="80" y="13"/>
                  </a:lnTo>
                  <a:lnTo>
                    <a:pt x="83" y="12"/>
                  </a:lnTo>
                  <a:lnTo>
                    <a:pt x="85" y="11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92" y="10"/>
                  </a:lnTo>
                  <a:lnTo>
                    <a:pt x="95" y="11"/>
                  </a:lnTo>
                  <a:lnTo>
                    <a:pt x="96" y="11"/>
                  </a:lnTo>
                  <a:lnTo>
                    <a:pt x="97" y="12"/>
                  </a:lnTo>
                  <a:lnTo>
                    <a:pt x="98" y="13"/>
                  </a:lnTo>
                  <a:lnTo>
                    <a:pt x="99" y="14"/>
                  </a:lnTo>
                  <a:lnTo>
                    <a:pt x="100" y="16"/>
                  </a:lnTo>
                  <a:lnTo>
                    <a:pt x="102" y="19"/>
                  </a:lnTo>
                  <a:lnTo>
                    <a:pt x="103" y="22"/>
                  </a:lnTo>
                  <a:lnTo>
                    <a:pt x="105" y="24"/>
                  </a:lnTo>
                  <a:lnTo>
                    <a:pt x="106" y="26"/>
                  </a:lnTo>
                  <a:lnTo>
                    <a:pt x="107" y="26"/>
                  </a:lnTo>
                  <a:lnTo>
                    <a:pt x="108" y="27"/>
                  </a:lnTo>
                  <a:lnTo>
                    <a:pt x="109" y="27"/>
                  </a:lnTo>
                  <a:lnTo>
                    <a:pt x="110" y="27"/>
                  </a:lnTo>
                  <a:lnTo>
                    <a:pt x="112" y="28"/>
                  </a:lnTo>
                  <a:lnTo>
                    <a:pt x="113" y="28"/>
                  </a:lnTo>
                  <a:lnTo>
                    <a:pt x="115" y="27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5"/>
                  </a:lnTo>
                  <a:lnTo>
                    <a:pt x="121" y="23"/>
                  </a:lnTo>
                  <a:lnTo>
                    <a:pt x="122" y="21"/>
                  </a:lnTo>
                  <a:lnTo>
                    <a:pt x="123" y="19"/>
                  </a:lnTo>
                  <a:lnTo>
                    <a:pt x="123" y="18"/>
                  </a:lnTo>
                  <a:lnTo>
                    <a:pt x="127" y="9"/>
                  </a:lnTo>
                  <a:lnTo>
                    <a:pt x="131" y="2"/>
                  </a:lnTo>
                  <a:lnTo>
                    <a:pt x="132" y="0"/>
                  </a:lnTo>
                  <a:lnTo>
                    <a:pt x="151" y="3"/>
                  </a:lnTo>
                  <a:close/>
                </a:path>
              </a:pathLst>
            </a:custGeom>
            <a:solidFill>
              <a:srgbClr val="1F72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0" name="Freeform 63">
              <a:extLst>
                <a:ext uri="{FF2B5EF4-FFF2-40B4-BE49-F238E27FC236}">
                  <a16:creationId xmlns:a16="http://schemas.microsoft.com/office/drawing/2014/main" id="{7BB724E9-6C19-42B6-8291-04D10D2F9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9" y="2840"/>
              <a:ext cx="492" cy="698"/>
            </a:xfrm>
            <a:custGeom>
              <a:avLst/>
              <a:gdLst>
                <a:gd name="T0" fmla="*/ 180 w 492"/>
                <a:gd name="T1" fmla="*/ 36 h 698"/>
                <a:gd name="T2" fmla="*/ 222 w 492"/>
                <a:gd name="T3" fmla="*/ 82 h 698"/>
                <a:gd name="T4" fmla="*/ 242 w 492"/>
                <a:gd name="T5" fmla="*/ 131 h 698"/>
                <a:gd name="T6" fmla="*/ 263 w 492"/>
                <a:gd name="T7" fmla="*/ 182 h 698"/>
                <a:gd name="T8" fmla="*/ 317 w 492"/>
                <a:gd name="T9" fmla="*/ 176 h 698"/>
                <a:gd name="T10" fmla="*/ 334 w 492"/>
                <a:gd name="T11" fmla="*/ 216 h 698"/>
                <a:gd name="T12" fmla="*/ 311 w 492"/>
                <a:gd name="T13" fmla="*/ 212 h 698"/>
                <a:gd name="T14" fmla="*/ 267 w 492"/>
                <a:gd name="T15" fmla="*/ 248 h 698"/>
                <a:gd name="T16" fmla="*/ 238 w 492"/>
                <a:gd name="T17" fmla="*/ 265 h 698"/>
                <a:gd name="T18" fmla="*/ 199 w 492"/>
                <a:gd name="T19" fmla="*/ 230 h 698"/>
                <a:gd name="T20" fmla="*/ 180 w 492"/>
                <a:gd name="T21" fmla="*/ 266 h 698"/>
                <a:gd name="T22" fmla="*/ 189 w 492"/>
                <a:gd name="T23" fmla="*/ 322 h 698"/>
                <a:gd name="T24" fmla="*/ 248 w 492"/>
                <a:gd name="T25" fmla="*/ 357 h 698"/>
                <a:gd name="T26" fmla="*/ 290 w 492"/>
                <a:gd name="T27" fmla="*/ 372 h 698"/>
                <a:gd name="T28" fmla="*/ 317 w 492"/>
                <a:gd name="T29" fmla="*/ 392 h 698"/>
                <a:gd name="T30" fmla="*/ 328 w 492"/>
                <a:gd name="T31" fmla="*/ 419 h 698"/>
                <a:gd name="T32" fmla="*/ 381 w 492"/>
                <a:gd name="T33" fmla="*/ 399 h 698"/>
                <a:gd name="T34" fmla="*/ 380 w 492"/>
                <a:gd name="T35" fmla="*/ 341 h 698"/>
                <a:gd name="T36" fmla="*/ 394 w 492"/>
                <a:gd name="T37" fmla="*/ 275 h 698"/>
                <a:gd name="T38" fmla="*/ 362 w 492"/>
                <a:gd name="T39" fmla="*/ 290 h 698"/>
                <a:gd name="T40" fmla="*/ 326 w 492"/>
                <a:gd name="T41" fmla="*/ 242 h 698"/>
                <a:gd name="T42" fmla="*/ 332 w 492"/>
                <a:gd name="T43" fmla="*/ 218 h 698"/>
                <a:gd name="T44" fmla="*/ 351 w 492"/>
                <a:gd name="T45" fmla="*/ 197 h 698"/>
                <a:gd name="T46" fmla="*/ 393 w 492"/>
                <a:gd name="T47" fmla="*/ 207 h 698"/>
                <a:gd name="T48" fmla="*/ 469 w 492"/>
                <a:gd name="T49" fmla="*/ 208 h 698"/>
                <a:gd name="T50" fmla="*/ 465 w 492"/>
                <a:gd name="T51" fmla="*/ 235 h 698"/>
                <a:gd name="T52" fmla="*/ 490 w 492"/>
                <a:gd name="T53" fmla="*/ 284 h 698"/>
                <a:gd name="T54" fmla="*/ 479 w 492"/>
                <a:gd name="T55" fmla="*/ 329 h 698"/>
                <a:gd name="T56" fmla="*/ 456 w 492"/>
                <a:gd name="T57" fmla="*/ 355 h 698"/>
                <a:gd name="T58" fmla="*/ 435 w 492"/>
                <a:gd name="T59" fmla="*/ 419 h 698"/>
                <a:gd name="T60" fmla="*/ 453 w 492"/>
                <a:gd name="T61" fmla="*/ 454 h 698"/>
                <a:gd name="T62" fmla="*/ 437 w 492"/>
                <a:gd name="T63" fmla="*/ 517 h 698"/>
                <a:gd name="T64" fmla="*/ 381 w 492"/>
                <a:gd name="T65" fmla="*/ 518 h 698"/>
                <a:gd name="T66" fmla="*/ 325 w 492"/>
                <a:gd name="T67" fmla="*/ 607 h 698"/>
                <a:gd name="T68" fmla="*/ 318 w 492"/>
                <a:gd name="T69" fmla="*/ 675 h 698"/>
                <a:gd name="T70" fmla="*/ 299 w 492"/>
                <a:gd name="T71" fmla="*/ 697 h 698"/>
                <a:gd name="T72" fmla="*/ 269 w 492"/>
                <a:gd name="T73" fmla="*/ 682 h 698"/>
                <a:gd name="T74" fmla="*/ 214 w 492"/>
                <a:gd name="T75" fmla="*/ 676 h 698"/>
                <a:gd name="T76" fmla="*/ 177 w 492"/>
                <a:gd name="T77" fmla="*/ 683 h 698"/>
                <a:gd name="T78" fmla="*/ 164 w 492"/>
                <a:gd name="T79" fmla="*/ 640 h 698"/>
                <a:gd name="T80" fmla="*/ 163 w 492"/>
                <a:gd name="T81" fmla="*/ 612 h 698"/>
                <a:gd name="T82" fmla="*/ 176 w 492"/>
                <a:gd name="T83" fmla="*/ 548 h 698"/>
                <a:gd name="T84" fmla="*/ 178 w 492"/>
                <a:gd name="T85" fmla="*/ 503 h 698"/>
                <a:gd name="T86" fmla="*/ 123 w 492"/>
                <a:gd name="T87" fmla="*/ 495 h 698"/>
                <a:gd name="T88" fmla="*/ 65 w 492"/>
                <a:gd name="T89" fmla="*/ 469 h 698"/>
                <a:gd name="T90" fmla="*/ 28 w 492"/>
                <a:gd name="T91" fmla="*/ 444 h 698"/>
                <a:gd name="T92" fmla="*/ 1 w 492"/>
                <a:gd name="T93" fmla="*/ 405 h 698"/>
                <a:gd name="T94" fmla="*/ 20 w 492"/>
                <a:gd name="T95" fmla="*/ 386 h 698"/>
                <a:gd name="T96" fmla="*/ 34 w 492"/>
                <a:gd name="T97" fmla="*/ 352 h 698"/>
                <a:gd name="T98" fmla="*/ 39 w 492"/>
                <a:gd name="T99" fmla="*/ 320 h 698"/>
                <a:gd name="T100" fmla="*/ 29 w 492"/>
                <a:gd name="T101" fmla="*/ 265 h 698"/>
                <a:gd name="T102" fmla="*/ 42 w 492"/>
                <a:gd name="T103" fmla="*/ 238 h 698"/>
                <a:gd name="T104" fmla="*/ 55 w 492"/>
                <a:gd name="T105" fmla="*/ 196 h 698"/>
                <a:gd name="T106" fmla="*/ 30 w 492"/>
                <a:gd name="T107" fmla="*/ 175 h 698"/>
                <a:gd name="T108" fmla="*/ 9 w 492"/>
                <a:gd name="T109" fmla="*/ 146 h 698"/>
                <a:gd name="T110" fmla="*/ 16 w 492"/>
                <a:gd name="T111" fmla="*/ 94 h 698"/>
                <a:gd name="T112" fmla="*/ 51 w 492"/>
                <a:gd name="T113" fmla="*/ 53 h 698"/>
                <a:gd name="T114" fmla="*/ 83 w 492"/>
                <a:gd name="T115" fmla="*/ 35 h 698"/>
                <a:gd name="T116" fmla="*/ 74 w 492"/>
                <a:gd name="T117" fmla="*/ 15 h 698"/>
                <a:gd name="T118" fmla="*/ 105 w 492"/>
                <a:gd name="T119" fmla="*/ 21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92" h="698">
                  <a:moveTo>
                    <a:pt x="151" y="0"/>
                  </a:moveTo>
                  <a:lnTo>
                    <a:pt x="155" y="1"/>
                  </a:lnTo>
                  <a:lnTo>
                    <a:pt x="158" y="2"/>
                  </a:lnTo>
                  <a:lnTo>
                    <a:pt x="162" y="3"/>
                  </a:lnTo>
                  <a:lnTo>
                    <a:pt x="165" y="4"/>
                  </a:lnTo>
                  <a:lnTo>
                    <a:pt x="168" y="5"/>
                  </a:lnTo>
                  <a:lnTo>
                    <a:pt x="169" y="7"/>
                  </a:lnTo>
                  <a:lnTo>
                    <a:pt x="171" y="8"/>
                  </a:lnTo>
                  <a:lnTo>
                    <a:pt x="173" y="10"/>
                  </a:lnTo>
                  <a:lnTo>
                    <a:pt x="175" y="15"/>
                  </a:lnTo>
                  <a:lnTo>
                    <a:pt x="176" y="17"/>
                  </a:lnTo>
                  <a:lnTo>
                    <a:pt x="177" y="20"/>
                  </a:lnTo>
                  <a:lnTo>
                    <a:pt x="178" y="24"/>
                  </a:lnTo>
                  <a:lnTo>
                    <a:pt x="178" y="26"/>
                  </a:lnTo>
                  <a:lnTo>
                    <a:pt x="179" y="31"/>
                  </a:lnTo>
                  <a:lnTo>
                    <a:pt x="179" y="35"/>
                  </a:lnTo>
                  <a:lnTo>
                    <a:pt x="180" y="36"/>
                  </a:lnTo>
                  <a:lnTo>
                    <a:pt x="180" y="38"/>
                  </a:lnTo>
                  <a:lnTo>
                    <a:pt x="180" y="39"/>
                  </a:lnTo>
                  <a:lnTo>
                    <a:pt x="181" y="40"/>
                  </a:lnTo>
                  <a:lnTo>
                    <a:pt x="182" y="42"/>
                  </a:lnTo>
                  <a:lnTo>
                    <a:pt x="184" y="43"/>
                  </a:lnTo>
                  <a:lnTo>
                    <a:pt x="186" y="44"/>
                  </a:lnTo>
                  <a:lnTo>
                    <a:pt x="191" y="45"/>
                  </a:lnTo>
                  <a:lnTo>
                    <a:pt x="192" y="46"/>
                  </a:lnTo>
                  <a:lnTo>
                    <a:pt x="194" y="48"/>
                  </a:lnTo>
                  <a:lnTo>
                    <a:pt x="197" y="49"/>
                  </a:lnTo>
                  <a:lnTo>
                    <a:pt x="202" y="53"/>
                  </a:lnTo>
                  <a:lnTo>
                    <a:pt x="206" y="59"/>
                  </a:lnTo>
                  <a:lnTo>
                    <a:pt x="211" y="64"/>
                  </a:lnTo>
                  <a:lnTo>
                    <a:pt x="214" y="69"/>
                  </a:lnTo>
                  <a:lnTo>
                    <a:pt x="216" y="72"/>
                  </a:lnTo>
                  <a:lnTo>
                    <a:pt x="221" y="80"/>
                  </a:lnTo>
                  <a:lnTo>
                    <a:pt x="222" y="82"/>
                  </a:lnTo>
                  <a:lnTo>
                    <a:pt x="224" y="84"/>
                  </a:lnTo>
                  <a:lnTo>
                    <a:pt x="225" y="87"/>
                  </a:lnTo>
                  <a:lnTo>
                    <a:pt x="226" y="89"/>
                  </a:lnTo>
                  <a:lnTo>
                    <a:pt x="234" y="96"/>
                  </a:lnTo>
                  <a:lnTo>
                    <a:pt x="236" y="100"/>
                  </a:lnTo>
                  <a:lnTo>
                    <a:pt x="238" y="103"/>
                  </a:lnTo>
                  <a:lnTo>
                    <a:pt x="239" y="105"/>
                  </a:lnTo>
                  <a:lnTo>
                    <a:pt x="240" y="106"/>
                  </a:lnTo>
                  <a:lnTo>
                    <a:pt x="241" y="109"/>
                  </a:lnTo>
                  <a:lnTo>
                    <a:pt x="241" y="111"/>
                  </a:lnTo>
                  <a:lnTo>
                    <a:pt x="241" y="112"/>
                  </a:lnTo>
                  <a:lnTo>
                    <a:pt x="241" y="114"/>
                  </a:lnTo>
                  <a:lnTo>
                    <a:pt x="241" y="119"/>
                  </a:lnTo>
                  <a:lnTo>
                    <a:pt x="241" y="123"/>
                  </a:lnTo>
                  <a:lnTo>
                    <a:pt x="241" y="127"/>
                  </a:lnTo>
                  <a:lnTo>
                    <a:pt x="242" y="129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5" y="140"/>
                  </a:lnTo>
                  <a:lnTo>
                    <a:pt x="246" y="141"/>
                  </a:lnTo>
                  <a:lnTo>
                    <a:pt x="247" y="143"/>
                  </a:lnTo>
                  <a:lnTo>
                    <a:pt x="247" y="145"/>
                  </a:lnTo>
                  <a:lnTo>
                    <a:pt x="247" y="147"/>
                  </a:lnTo>
                  <a:lnTo>
                    <a:pt x="248" y="156"/>
                  </a:lnTo>
                  <a:lnTo>
                    <a:pt x="248" y="158"/>
                  </a:lnTo>
                  <a:lnTo>
                    <a:pt x="248" y="160"/>
                  </a:lnTo>
                  <a:lnTo>
                    <a:pt x="248" y="162"/>
                  </a:lnTo>
                  <a:lnTo>
                    <a:pt x="250" y="164"/>
                  </a:lnTo>
                  <a:lnTo>
                    <a:pt x="252" y="167"/>
                  </a:lnTo>
                  <a:lnTo>
                    <a:pt x="257" y="174"/>
                  </a:lnTo>
                  <a:lnTo>
                    <a:pt x="259" y="175"/>
                  </a:lnTo>
                  <a:lnTo>
                    <a:pt x="261" y="179"/>
                  </a:lnTo>
                  <a:lnTo>
                    <a:pt x="262" y="181"/>
                  </a:lnTo>
                  <a:lnTo>
                    <a:pt x="263" y="182"/>
                  </a:lnTo>
                  <a:lnTo>
                    <a:pt x="265" y="184"/>
                  </a:lnTo>
                  <a:lnTo>
                    <a:pt x="267" y="185"/>
                  </a:lnTo>
                  <a:lnTo>
                    <a:pt x="268" y="186"/>
                  </a:lnTo>
                  <a:lnTo>
                    <a:pt x="270" y="186"/>
                  </a:lnTo>
                  <a:lnTo>
                    <a:pt x="271" y="187"/>
                  </a:lnTo>
                  <a:lnTo>
                    <a:pt x="273" y="187"/>
                  </a:lnTo>
                  <a:lnTo>
                    <a:pt x="275" y="187"/>
                  </a:lnTo>
                  <a:lnTo>
                    <a:pt x="278" y="187"/>
                  </a:lnTo>
                  <a:lnTo>
                    <a:pt x="281" y="187"/>
                  </a:lnTo>
                  <a:lnTo>
                    <a:pt x="284" y="186"/>
                  </a:lnTo>
                  <a:lnTo>
                    <a:pt x="287" y="185"/>
                  </a:lnTo>
                  <a:lnTo>
                    <a:pt x="291" y="185"/>
                  </a:lnTo>
                  <a:lnTo>
                    <a:pt x="296" y="183"/>
                  </a:lnTo>
                  <a:lnTo>
                    <a:pt x="310" y="178"/>
                  </a:lnTo>
                  <a:lnTo>
                    <a:pt x="313" y="177"/>
                  </a:lnTo>
                  <a:lnTo>
                    <a:pt x="315" y="176"/>
                  </a:lnTo>
                  <a:lnTo>
                    <a:pt x="317" y="176"/>
                  </a:lnTo>
                  <a:lnTo>
                    <a:pt x="319" y="175"/>
                  </a:lnTo>
                  <a:lnTo>
                    <a:pt x="321" y="176"/>
                  </a:lnTo>
                  <a:lnTo>
                    <a:pt x="323" y="176"/>
                  </a:lnTo>
                  <a:lnTo>
                    <a:pt x="324" y="177"/>
                  </a:lnTo>
                  <a:lnTo>
                    <a:pt x="325" y="178"/>
                  </a:lnTo>
                  <a:lnTo>
                    <a:pt x="326" y="179"/>
                  </a:lnTo>
                  <a:lnTo>
                    <a:pt x="327" y="181"/>
                  </a:lnTo>
                  <a:lnTo>
                    <a:pt x="328" y="182"/>
                  </a:lnTo>
                  <a:lnTo>
                    <a:pt x="328" y="184"/>
                  </a:lnTo>
                  <a:lnTo>
                    <a:pt x="329" y="186"/>
                  </a:lnTo>
                  <a:lnTo>
                    <a:pt x="330" y="188"/>
                  </a:lnTo>
                  <a:lnTo>
                    <a:pt x="332" y="195"/>
                  </a:lnTo>
                  <a:lnTo>
                    <a:pt x="334" y="202"/>
                  </a:lnTo>
                  <a:lnTo>
                    <a:pt x="335" y="206"/>
                  </a:lnTo>
                  <a:lnTo>
                    <a:pt x="336" y="210"/>
                  </a:lnTo>
                  <a:lnTo>
                    <a:pt x="336" y="217"/>
                  </a:lnTo>
                  <a:lnTo>
                    <a:pt x="334" y="216"/>
                  </a:lnTo>
                  <a:lnTo>
                    <a:pt x="332" y="215"/>
                  </a:lnTo>
                  <a:lnTo>
                    <a:pt x="326" y="211"/>
                  </a:lnTo>
                  <a:lnTo>
                    <a:pt x="324" y="210"/>
                  </a:lnTo>
                  <a:lnTo>
                    <a:pt x="323" y="209"/>
                  </a:lnTo>
                  <a:lnTo>
                    <a:pt x="322" y="210"/>
                  </a:lnTo>
                  <a:lnTo>
                    <a:pt x="321" y="211"/>
                  </a:lnTo>
                  <a:lnTo>
                    <a:pt x="321" y="213"/>
                  </a:lnTo>
                  <a:lnTo>
                    <a:pt x="320" y="215"/>
                  </a:lnTo>
                  <a:lnTo>
                    <a:pt x="320" y="216"/>
                  </a:lnTo>
                  <a:lnTo>
                    <a:pt x="319" y="218"/>
                  </a:lnTo>
                  <a:lnTo>
                    <a:pt x="317" y="218"/>
                  </a:lnTo>
                  <a:lnTo>
                    <a:pt x="316" y="218"/>
                  </a:lnTo>
                  <a:lnTo>
                    <a:pt x="316" y="217"/>
                  </a:lnTo>
                  <a:lnTo>
                    <a:pt x="315" y="214"/>
                  </a:lnTo>
                  <a:lnTo>
                    <a:pt x="314" y="213"/>
                  </a:lnTo>
                  <a:lnTo>
                    <a:pt x="313" y="213"/>
                  </a:lnTo>
                  <a:lnTo>
                    <a:pt x="311" y="212"/>
                  </a:lnTo>
                  <a:lnTo>
                    <a:pt x="310" y="212"/>
                  </a:lnTo>
                  <a:lnTo>
                    <a:pt x="308" y="212"/>
                  </a:lnTo>
                  <a:lnTo>
                    <a:pt x="304" y="213"/>
                  </a:lnTo>
                  <a:lnTo>
                    <a:pt x="302" y="213"/>
                  </a:lnTo>
                  <a:lnTo>
                    <a:pt x="300" y="213"/>
                  </a:lnTo>
                  <a:lnTo>
                    <a:pt x="299" y="212"/>
                  </a:lnTo>
                  <a:lnTo>
                    <a:pt x="298" y="212"/>
                  </a:lnTo>
                  <a:lnTo>
                    <a:pt x="289" y="221"/>
                  </a:lnTo>
                  <a:lnTo>
                    <a:pt x="286" y="224"/>
                  </a:lnTo>
                  <a:lnTo>
                    <a:pt x="279" y="232"/>
                  </a:lnTo>
                  <a:lnTo>
                    <a:pt x="276" y="235"/>
                  </a:lnTo>
                  <a:lnTo>
                    <a:pt x="273" y="238"/>
                  </a:lnTo>
                  <a:lnTo>
                    <a:pt x="271" y="240"/>
                  </a:lnTo>
                  <a:lnTo>
                    <a:pt x="270" y="242"/>
                  </a:lnTo>
                  <a:lnTo>
                    <a:pt x="269" y="244"/>
                  </a:lnTo>
                  <a:lnTo>
                    <a:pt x="268" y="245"/>
                  </a:lnTo>
                  <a:lnTo>
                    <a:pt x="267" y="248"/>
                  </a:lnTo>
                  <a:lnTo>
                    <a:pt x="266" y="251"/>
                  </a:lnTo>
                  <a:lnTo>
                    <a:pt x="265" y="253"/>
                  </a:lnTo>
                  <a:lnTo>
                    <a:pt x="264" y="253"/>
                  </a:lnTo>
                  <a:lnTo>
                    <a:pt x="262" y="254"/>
                  </a:lnTo>
                  <a:lnTo>
                    <a:pt x="260" y="255"/>
                  </a:lnTo>
                  <a:lnTo>
                    <a:pt x="258" y="256"/>
                  </a:lnTo>
                  <a:lnTo>
                    <a:pt x="254" y="258"/>
                  </a:lnTo>
                  <a:lnTo>
                    <a:pt x="250" y="260"/>
                  </a:lnTo>
                  <a:lnTo>
                    <a:pt x="249" y="261"/>
                  </a:lnTo>
                  <a:lnTo>
                    <a:pt x="248" y="262"/>
                  </a:lnTo>
                  <a:lnTo>
                    <a:pt x="245" y="265"/>
                  </a:lnTo>
                  <a:lnTo>
                    <a:pt x="244" y="266"/>
                  </a:lnTo>
                  <a:lnTo>
                    <a:pt x="243" y="266"/>
                  </a:lnTo>
                  <a:lnTo>
                    <a:pt x="242" y="266"/>
                  </a:lnTo>
                  <a:lnTo>
                    <a:pt x="241" y="266"/>
                  </a:lnTo>
                  <a:lnTo>
                    <a:pt x="239" y="266"/>
                  </a:lnTo>
                  <a:lnTo>
                    <a:pt x="238" y="265"/>
                  </a:lnTo>
                  <a:lnTo>
                    <a:pt x="237" y="265"/>
                  </a:lnTo>
                  <a:lnTo>
                    <a:pt x="237" y="265"/>
                  </a:lnTo>
                  <a:lnTo>
                    <a:pt x="234" y="262"/>
                  </a:lnTo>
                  <a:lnTo>
                    <a:pt x="231" y="259"/>
                  </a:lnTo>
                  <a:lnTo>
                    <a:pt x="228" y="256"/>
                  </a:lnTo>
                  <a:lnTo>
                    <a:pt x="227" y="253"/>
                  </a:lnTo>
                  <a:lnTo>
                    <a:pt x="224" y="247"/>
                  </a:lnTo>
                  <a:lnTo>
                    <a:pt x="223" y="245"/>
                  </a:lnTo>
                  <a:lnTo>
                    <a:pt x="221" y="244"/>
                  </a:lnTo>
                  <a:lnTo>
                    <a:pt x="219" y="242"/>
                  </a:lnTo>
                  <a:lnTo>
                    <a:pt x="216" y="239"/>
                  </a:lnTo>
                  <a:lnTo>
                    <a:pt x="214" y="237"/>
                  </a:lnTo>
                  <a:lnTo>
                    <a:pt x="211" y="234"/>
                  </a:lnTo>
                  <a:lnTo>
                    <a:pt x="208" y="233"/>
                  </a:lnTo>
                  <a:lnTo>
                    <a:pt x="205" y="231"/>
                  </a:lnTo>
                  <a:lnTo>
                    <a:pt x="203" y="231"/>
                  </a:lnTo>
                  <a:lnTo>
                    <a:pt x="199" y="230"/>
                  </a:lnTo>
                  <a:lnTo>
                    <a:pt x="196" y="230"/>
                  </a:lnTo>
                  <a:lnTo>
                    <a:pt x="194" y="230"/>
                  </a:lnTo>
                  <a:lnTo>
                    <a:pt x="192" y="231"/>
                  </a:lnTo>
                  <a:lnTo>
                    <a:pt x="191" y="231"/>
                  </a:lnTo>
                  <a:lnTo>
                    <a:pt x="190" y="232"/>
                  </a:lnTo>
                  <a:lnTo>
                    <a:pt x="189" y="233"/>
                  </a:lnTo>
                  <a:lnTo>
                    <a:pt x="188" y="235"/>
                  </a:lnTo>
                  <a:lnTo>
                    <a:pt x="187" y="236"/>
                  </a:lnTo>
                  <a:lnTo>
                    <a:pt x="186" y="238"/>
                  </a:lnTo>
                  <a:lnTo>
                    <a:pt x="185" y="239"/>
                  </a:lnTo>
                  <a:lnTo>
                    <a:pt x="185" y="241"/>
                  </a:lnTo>
                  <a:lnTo>
                    <a:pt x="184" y="243"/>
                  </a:lnTo>
                  <a:lnTo>
                    <a:pt x="183" y="245"/>
                  </a:lnTo>
                  <a:lnTo>
                    <a:pt x="183" y="248"/>
                  </a:lnTo>
                  <a:lnTo>
                    <a:pt x="182" y="257"/>
                  </a:lnTo>
                  <a:lnTo>
                    <a:pt x="181" y="263"/>
                  </a:lnTo>
                  <a:lnTo>
                    <a:pt x="180" y="266"/>
                  </a:lnTo>
                  <a:lnTo>
                    <a:pt x="179" y="271"/>
                  </a:lnTo>
                  <a:lnTo>
                    <a:pt x="174" y="281"/>
                  </a:lnTo>
                  <a:lnTo>
                    <a:pt x="174" y="283"/>
                  </a:lnTo>
                  <a:lnTo>
                    <a:pt x="173" y="287"/>
                  </a:lnTo>
                  <a:lnTo>
                    <a:pt x="172" y="289"/>
                  </a:lnTo>
                  <a:lnTo>
                    <a:pt x="172" y="294"/>
                  </a:lnTo>
                  <a:lnTo>
                    <a:pt x="172" y="297"/>
                  </a:lnTo>
                  <a:lnTo>
                    <a:pt x="172" y="299"/>
                  </a:lnTo>
                  <a:lnTo>
                    <a:pt x="172" y="300"/>
                  </a:lnTo>
                  <a:lnTo>
                    <a:pt x="173" y="302"/>
                  </a:lnTo>
                  <a:lnTo>
                    <a:pt x="174" y="304"/>
                  </a:lnTo>
                  <a:lnTo>
                    <a:pt x="175" y="306"/>
                  </a:lnTo>
                  <a:lnTo>
                    <a:pt x="177" y="309"/>
                  </a:lnTo>
                  <a:lnTo>
                    <a:pt x="181" y="314"/>
                  </a:lnTo>
                  <a:lnTo>
                    <a:pt x="183" y="318"/>
                  </a:lnTo>
                  <a:lnTo>
                    <a:pt x="186" y="321"/>
                  </a:lnTo>
                  <a:lnTo>
                    <a:pt x="189" y="322"/>
                  </a:lnTo>
                  <a:lnTo>
                    <a:pt x="191" y="324"/>
                  </a:lnTo>
                  <a:lnTo>
                    <a:pt x="192" y="325"/>
                  </a:lnTo>
                  <a:lnTo>
                    <a:pt x="194" y="326"/>
                  </a:lnTo>
                  <a:lnTo>
                    <a:pt x="197" y="326"/>
                  </a:lnTo>
                  <a:lnTo>
                    <a:pt x="200" y="327"/>
                  </a:lnTo>
                  <a:lnTo>
                    <a:pt x="204" y="327"/>
                  </a:lnTo>
                  <a:lnTo>
                    <a:pt x="208" y="328"/>
                  </a:lnTo>
                  <a:lnTo>
                    <a:pt x="211" y="329"/>
                  </a:lnTo>
                  <a:lnTo>
                    <a:pt x="214" y="331"/>
                  </a:lnTo>
                  <a:lnTo>
                    <a:pt x="215" y="332"/>
                  </a:lnTo>
                  <a:lnTo>
                    <a:pt x="217" y="333"/>
                  </a:lnTo>
                  <a:lnTo>
                    <a:pt x="224" y="339"/>
                  </a:lnTo>
                  <a:lnTo>
                    <a:pt x="225" y="341"/>
                  </a:lnTo>
                  <a:lnTo>
                    <a:pt x="239" y="352"/>
                  </a:lnTo>
                  <a:lnTo>
                    <a:pt x="242" y="355"/>
                  </a:lnTo>
                  <a:lnTo>
                    <a:pt x="245" y="356"/>
                  </a:lnTo>
                  <a:lnTo>
                    <a:pt x="248" y="357"/>
                  </a:lnTo>
                  <a:lnTo>
                    <a:pt x="249" y="358"/>
                  </a:lnTo>
                  <a:lnTo>
                    <a:pt x="255" y="360"/>
                  </a:lnTo>
                  <a:lnTo>
                    <a:pt x="258" y="361"/>
                  </a:lnTo>
                  <a:lnTo>
                    <a:pt x="259" y="362"/>
                  </a:lnTo>
                  <a:lnTo>
                    <a:pt x="262" y="364"/>
                  </a:lnTo>
                  <a:lnTo>
                    <a:pt x="268" y="368"/>
                  </a:lnTo>
                  <a:lnTo>
                    <a:pt x="271" y="369"/>
                  </a:lnTo>
                  <a:lnTo>
                    <a:pt x="271" y="370"/>
                  </a:lnTo>
                  <a:lnTo>
                    <a:pt x="272" y="370"/>
                  </a:lnTo>
                  <a:lnTo>
                    <a:pt x="274" y="370"/>
                  </a:lnTo>
                  <a:lnTo>
                    <a:pt x="275" y="371"/>
                  </a:lnTo>
                  <a:lnTo>
                    <a:pt x="278" y="371"/>
                  </a:lnTo>
                  <a:lnTo>
                    <a:pt x="283" y="370"/>
                  </a:lnTo>
                  <a:lnTo>
                    <a:pt x="285" y="371"/>
                  </a:lnTo>
                  <a:lnTo>
                    <a:pt x="287" y="371"/>
                  </a:lnTo>
                  <a:lnTo>
                    <a:pt x="288" y="371"/>
                  </a:lnTo>
                  <a:lnTo>
                    <a:pt x="290" y="372"/>
                  </a:lnTo>
                  <a:lnTo>
                    <a:pt x="291" y="373"/>
                  </a:lnTo>
                  <a:lnTo>
                    <a:pt x="292" y="374"/>
                  </a:lnTo>
                  <a:lnTo>
                    <a:pt x="293" y="375"/>
                  </a:lnTo>
                  <a:lnTo>
                    <a:pt x="294" y="376"/>
                  </a:lnTo>
                  <a:lnTo>
                    <a:pt x="294" y="377"/>
                  </a:lnTo>
                  <a:lnTo>
                    <a:pt x="296" y="380"/>
                  </a:lnTo>
                  <a:lnTo>
                    <a:pt x="299" y="386"/>
                  </a:lnTo>
                  <a:lnTo>
                    <a:pt x="300" y="388"/>
                  </a:lnTo>
                  <a:lnTo>
                    <a:pt x="301" y="389"/>
                  </a:lnTo>
                  <a:lnTo>
                    <a:pt x="302" y="389"/>
                  </a:lnTo>
                  <a:lnTo>
                    <a:pt x="302" y="390"/>
                  </a:lnTo>
                  <a:lnTo>
                    <a:pt x="304" y="390"/>
                  </a:lnTo>
                  <a:lnTo>
                    <a:pt x="305" y="391"/>
                  </a:lnTo>
                  <a:lnTo>
                    <a:pt x="307" y="392"/>
                  </a:lnTo>
                  <a:lnTo>
                    <a:pt x="312" y="392"/>
                  </a:lnTo>
                  <a:lnTo>
                    <a:pt x="315" y="392"/>
                  </a:lnTo>
                  <a:lnTo>
                    <a:pt x="317" y="392"/>
                  </a:lnTo>
                  <a:lnTo>
                    <a:pt x="320" y="392"/>
                  </a:lnTo>
                  <a:lnTo>
                    <a:pt x="325" y="391"/>
                  </a:lnTo>
                  <a:lnTo>
                    <a:pt x="327" y="391"/>
                  </a:lnTo>
                  <a:lnTo>
                    <a:pt x="328" y="392"/>
                  </a:lnTo>
                  <a:lnTo>
                    <a:pt x="328" y="393"/>
                  </a:lnTo>
                  <a:lnTo>
                    <a:pt x="329" y="394"/>
                  </a:lnTo>
                  <a:lnTo>
                    <a:pt x="329" y="396"/>
                  </a:lnTo>
                  <a:lnTo>
                    <a:pt x="329" y="398"/>
                  </a:lnTo>
                  <a:lnTo>
                    <a:pt x="329" y="401"/>
                  </a:lnTo>
                  <a:lnTo>
                    <a:pt x="328" y="405"/>
                  </a:lnTo>
                  <a:lnTo>
                    <a:pt x="327" y="410"/>
                  </a:lnTo>
                  <a:lnTo>
                    <a:pt x="327" y="412"/>
                  </a:lnTo>
                  <a:lnTo>
                    <a:pt x="327" y="415"/>
                  </a:lnTo>
                  <a:lnTo>
                    <a:pt x="327" y="416"/>
                  </a:lnTo>
                  <a:lnTo>
                    <a:pt x="327" y="417"/>
                  </a:lnTo>
                  <a:lnTo>
                    <a:pt x="328" y="418"/>
                  </a:lnTo>
                  <a:lnTo>
                    <a:pt x="328" y="419"/>
                  </a:lnTo>
                  <a:lnTo>
                    <a:pt x="328" y="419"/>
                  </a:lnTo>
                  <a:lnTo>
                    <a:pt x="329" y="420"/>
                  </a:lnTo>
                  <a:lnTo>
                    <a:pt x="330" y="420"/>
                  </a:lnTo>
                  <a:lnTo>
                    <a:pt x="337" y="419"/>
                  </a:lnTo>
                  <a:lnTo>
                    <a:pt x="347" y="419"/>
                  </a:lnTo>
                  <a:lnTo>
                    <a:pt x="351" y="418"/>
                  </a:lnTo>
                  <a:lnTo>
                    <a:pt x="353" y="418"/>
                  </a:lnTo>
                  <a:lnTo>
                    <a:pt x="356" y="417"/>
                  </a:lnTo>
                  <a:lnTo>
                    <a:pt x="359" y="416"/>
                  </a:lnTo>
                  <a:lnTo>
                    <a:pt x="361" y="415"/>
                  </a:lnTo>
                  <a:lnTo>
                    <a:pt x="363" y="414"/>
                  </a:lnTo>
                  <a:lnTo>
                    <a:pt x="367" y="412"/>
                  </a:lnTo>
                  <a:lnTo>
                    <a:pt x="373" y="408"/>
                  </a:lnTo>
                  <a:lnTo>
                    <a:pt x="376" y="405"/>
                  </a:lnTo>
                  <a:lnTo>
                    <a:pt x="378" y="403"/>
                  </a:lnTo>
                  <a:lnTo>
                    <a:pt x="380" y="401"/>
                  </a:lnTo>
                  <a:lnTo>
                    <a:pt x="381" y="399"/>
                  </a:lnTo>
                  <a:lnTo>
                    <a:pt x="382" y="397"/>
                  </a:lnTo>
                  <a:lnTo>
                    <a:pt x="383" y="394"/>
                  </a:lnTo>
                  <a:lnTo>
                    <a:pt x="384" y="391"/>
                  </a:lnTo>
                  <a:lnTo>
                    <a:pt x="384" y="389"/>
                  </a:lnTo>
                  <a:lnTo>
                    <a:pt x="384" y="387"/>
                  </a:lnTo>
                  <a:lnTo>
                    <a:pt x="384" y="385"/>
                  </a:lnTo>
                  <a:lnTo>
                    <a:pt x="384" y="383"/>
                  </a:lnTo>
                  <a:lnTo>
                    <a:pt x="382" y="377"/>
                  </a:lnTo>
                  <a:lnTo>
                    <a:pt x="381" y="373"/>
                  </a:lnTo>
                  <a:lnTo>
                    <a:pt x="380" y="369"/>
                  </a:lnTo>
                  <a:lnTo>
                    <a:pt x="380" y="366"/>
                  </a:lnTo>
                  <a:lnTo>
                    <a:pt x="379" y="362"/>
                  </a:lnTo>
                  <a:lnTo>
                    <a:pt x="379" y="353"/>
                  </a:lnTo>
                  <a:lnTo>
                    <a:pt x="379" y="348"/>
                  </a:lnTo>
                  <a:lnTo>
                    <a:pt x="379" y="346"/>
                  </a:lnTo>
                  <a:lnTo>
                    <a:pt x="379" y="344"/>
                  </a:lnTo>
                  <a:lnTo>
                    <a:pt x="380" y="341"/>
                  </a:lnTo>
                  <a:lnTo>
                    <a:pt x="380" y="339"/>
                  </a:lnTo>
                  <a:lnTo>
                    <a:pt x="381" y="337"/>
                  </a:lnTo>
                  <a:lnTo>
                    <a:pt x="382" y="335"/>
                  </a:lnTo>
                  <a:lnTo>
                    <a:pt x="386" y="327"/>
                  </a:lnTo>
                  <a:lnTo>
                    <a:pt x="387" y="325"/>
                  </a:lnTo>
                  <a:lnTo>
                    <a:pt x="388" y="322"/>
                  </a:lnTo>
                  <a:lnTo>
                    <a:pt x="389" y="320"/>
                  </a:lnTo>
                  <a:lnTo>
                    <a:pt x="390" y="317"/>
                  </a:lnTo>
                  <a:lnTo>
                    <a:pt x="390" y="312"/>
                  </a:lnTo>
                  <a:lnTo>
                    <a:pt x="391" y="305"/>
                  </a:lnTo>
                  <a:lnTo>
                    <a:pt x="391" y="299"/>
                  </a:lnTo>
                  <a:lnTo>
                    <a:pt x="392" y="293"/>
                  </a:lnTo>
                  <a:lnTo>
                    <a:pt x="392" y="287"/>
                  </a:lnTo>
                  <a:lnTo>
                    <a:pt x="394" y="279"/>
                  </a:lnTo>
                  <a:lnTo>
                    <a:pt x="394" y="277"/>
                  </a:lnTo>
                  <a:lnTo>
                    <a:pt x="394" y="276"/>
                  </a:lnTo>
                  <a:lnTo>
                    <a:pt x="394" y="275"/>
                  </a:lnTo>
                  <a:lnTo>
                    <a:pt x="393" y="274"/>
                  </a:lnTo>
                  <a:lnTo>
                    <a:pt x="393" y="273"/>
                  </a:lnTo>
                  <a:lnTo>
                    <a:pt x="392" y="273"/>
                  </a:lnTo>
                  <a:lnTo>
                    <a:pt x="391" y="273"/>
                  </a:lnTo>
                  <a:lnTo>
                    <a:pt x="390" y="273"/>
                  </a:lnTo>
                  <a:lnTo>
                    <a:pt x="389" y="273"/>
                  </a:lnTo>
                  <a:lnTo>
                    <a:pt x="388" y="273"/>
                  </a:lnTo>
                  <a:lnTo>
                    <a:pt x="387" y="274"/>
                  </a:lnTo>
                  <a:lnTo>
                    <a:pt x="385" y="275"/>
                  </a:lnTo>
                  <a:lnTo>
                    <a:pt x="383" y="276"/>
                  </a:lnTo>
                  <a:lnTo>
                    <a:pt x="377" y="281"/>
                  </a:lnTo>
                  <a:lnTo>
                    <a:pt x="373" y="285"/>
                  </a:lnTo>
                  <a:lnTo>
                    <a:pt x="369" y="287"/>
                  </a:lnTo>
                  <a:lnTo>
                    <a:pt x="365" y="289"/>
                  </a:lnTo>
                  <a:lnTo>
                    <a:pt x="364" y="289"/>
                  </a:lnTo>
                  <a:lnTo>
                    <a:pt x="362" y="289"/>
                  </a:lnTo>
                  <a:lnTo>
                    <a:pt x="362" y="290"/>
                  </a:lnTo>
                  <a:lnTo>
                    <a:pt x="360" y="289"/>
                  </a:lnTo>
                  <a:lnTo>
                    <a:pt x="358" y="289"/>
                  </a:lnTo>
                  <a:lnTo>
                    <a:pt x="357" y="288"/>
                  </a:lnTo>
                  <a:lnTo>
                    <a:pt x="356" y="287"/>
                  </a:lnTo>
                  <a:lnTo>
                    <a:pt x="355" y="287"/>
                  </a:lnTo>
                  <a:lnTo>
                    <a:pt x="354" y="286"/>
                  </a:lnTo>
                  <a:lnTo>
                    <a:pt x="351" y="280"/>
                  </a:lnTo>
                  <a:lnTo>
                    <a:pt x="349" y="277"/>
                  </a:lnTo>
                  <a:lnTo>
                    <a:pt x="346" y="274"/>
                  </a:lnTo>
                  <a:lnTo>
                    <a:pt x="339" y="266"/>
                  </a:lnTo>
                  <a:lnTo>
                    <a:pt x="338" y="265"/>
                  </a:lnTo>
                  <a:lnTo>
                    <a:pt x="337" y="263"/>
                  </a:lnTo>
                  <a:lnTo>
                    <a:pt x="335" y="260"/>
                  </a:lnTo>
                  <a:lnTo>
                    <a:pt x="332" y="253"/>
                  </a:lnTo>
                  <a:lnTo>
                    <a:pt x="330" y="250"/>
                  </a:lnTo>
                  <a:lnTo>
                    <a:pt x="328" y="247"/>
                  </a:lnTo>
                  <a:lnTo>
                    <a:pt x="326" y="242"/>
                  </a:lnTo>
                  <a:lnTo>
                    <a:pt x="324" y="239"/>
                  </a:lnTo>
                  <a:lnTo>
                    <a:pt x="323" y="236"/>
                  </a:lnTo>
                  <a:lnTo>
                    <a:pt x="322" y="234"/>
                  </a:lnTo>
                  <a:lnTo>
                    <a:pt x="322" y="232"/>
                  </a:lnTo>
                  <a:lnTo>
                    <a:pt x="322" y="231"/>
                  </a:lnTo>
                  <a:lnTo>
                    <a:pt x="322" y="230"/>
                  </a:lnTo>
                  <a:lnTo>
                    <a:pt x="322" y="229"/>
                  </a:lnTo>
                  <a:lnTo>
                    <a:pt x="322" y="228"/>
                  </a:lnTo>
                  <a:lnTo>
                    <a:pt x="322" y="226"/>
                  </a:lnTo>
                  <a:lnTo>
                    <a:pt x="323" y="225"/>
                  </a:lnTo>
                  <a:lnTo>
                    <a:pt x="324" y="224"/>
                  </a:lnTo>
                  <a:lnTo>
                    <a:pt x="325" y="223"/>
                  </a:lnTo>
                  <a:lnTo>
                    <a:pt x="326" y="221"/>
                  </a:lnTo>
                  <a:lnTo>
                    <a:pt x="328" y="220"/>
                  </a:lnTo>
                  <a:lnTo>
                    <a:pt x="328" y="219"/>
                  </a:lnTo>
                  <a:lnTo>
                    <a:pt x="330" y="219"/>
                  </a:lnTo>
                  <a:lnTo>
                    <a:pt x="332" y="218"/>
                  </a:lnTo>
                  <a:lnTo>
                    <a:pt x="335" y="217"/>
                  </a:lnTo>
                  <a:lnTo>
                    <a:pt x="336" y="217"/>
                  </a:lnTo>
                  <a:lnTo>
                    <a:pt x="337" y="217"/>
                  </a:lnTo>
                  <a:lnTo>
                    <a:pt x="338" y="217"/>
                  </a:lnTo>
                  <a:lnTo>
                    <a:pt x="339" y="217"/>
                  </a:lnTo>
                  <a:lnTo>
                    <a:pt x="341" y="217"/>
                  </a:lnTo>
                  <a:lnTo>
                    <a:pt x="342" y="216"/>
                  </a:lnTo>
                  <a:lnTo>
                    <a:pt x="343" y="215"/>
                  </a:lnTo>
                  <a:lnTo>
                    <a:pt x="345" y="214"/>
                  </a:lnTo>
                  <a:lnTo>
                    <a:pt x="346" y="213"/>
                  </a:lnTo>
                  <a:lnTo>
                    <a:pt x="347" y="212"/>
                  </a:lnTo>
                  <a:lnTo>
                    <a:pt x="348" y="210"/>
                  </a:lnTo>
                  <a:lnTo>
                    <a:pt x="349" y="207"/>
                  </a:lnTo>
                  <a:lnTo>
                    <a:pt x="350" y="205"/>
                  </a:lnTo>
                  <a:lnTo>
                    <a:pt x="350" y="201"/>
                  </a:lnTo>
                  <a:lnTo>
                    <a:pt x="351" y="199"/>
                  </a:lnTo>
                  <a:lnTo>
                    <a:pt x="351" y="197"/>
                  </a:lnTo>
                  <a:lnTo>
                    <a:pt x="351" y="196"/>
                  </a:lnTo>
                  <a:lnTo>
                    <a:pt x="352" y="194"/>
                  </a:lnTo>
                  <a:lnTo>
                    <a:pt x="353" y="193"/>
                  </a:lnTo>
                  <a:lnTo>
                    <a:pt x="355" y="193"/>
                  </a:lnTo>
                  <a:lnTo>
                    <a:pt x="357" y="192"/>
                  </a:lnTo>
                  <a:lnTo>
                    <a:pt x="360" y="192"/>
                  </a:lnTo>
                  <a:lnTo>
                    <a:pt x="363" y="193"/>
                  </a:lnTo>
                  <a:lnTo>
                    <a:pt x="365" y="193"/>
                  </a:lnTo>
                  <a:lnTo>
                    <a:pt x="367" y="194"/>
                  </a:lnTo>
                  <a:lnTo>
                    <a:pt x="370" y="195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9" y="200"/>
                  </a:lnTo>
                  <a:lnTo>
                    <a:pt x="383" y="202"/>
                  </a:lnTo>
                  <a:lnTo>
                    <a:pt x="385" y="204"/>
                  </a:lnTo>
                  <a:lnTo>
                    <a:pt x="388" y="205"/>
                  </a:lnTo>
                  <a:lnTo>
                    <a:pt x="393" y="207"/>
                  </a:lnTo>
                  <a:lnTo>
                    <a:pt x="397" y="208"/>
                  </a:lnTo>
                  <a:lnTo>
                    <a:pt x="407" y="210"/>
                  </a:lnTo>
                  <a:lnTo>
                    <a:pt x="414" y="211"/>
                  </a:lnTo>
                  <a:lnTo>
                    <a:pt x="417" y="212"/>
                  </a:lnTo>
                  <a:lnTo>
                    <a:pt x="423" y="212"/>
                  </a:lnTo>
                  <a:lnTo>
                    <a:pt x="427" y="212"/>
                  </a:lnTo>
                  <a:lnTo>
                    <a:pt x="433" y="211"/>
                  </a:lnTo>
                  <a:lnTo>
                    <a:pt x="436" y="211"/>
                  </a:lnTo>
                  <a:lnTo>
                    <a:pt x="439" y="211"/>
                  </a:lnTo>
                  <a:lnTo>
                    <a:pt x="451" y="212"/>
                  </a:lnTo>
                  <a:lnTo>
                    <a:pt x="455" y="212"/>
                  </a:lnTo>
                  <a:lnTo>
                    <a:pt x="458" y="212"/>
                  </a:lnTo>
                  <a:lnTo>
                    <a:pt x="462" y="211"/>
                  </a:lnTo>
                  <a:lnTo>
                    <a:pt x="464" y="211"/>
                  </a:lnTo>
                  <a:lnTo>
                    <a:pt x="465" y="210"/>
                  </a:lnTo>
                  <a:lnTo>
                    <a:pt x="467" y="209"/>
                  </a:lnTo>
                  <a:lnTo>
                    <a:pt x="469" y="208"/>
                  </a:lnTo>
                  <a:lnTo>
                    <a:pt x="470" y="208"/>
                  </a:lnTo>
                  <a:lnTo>
                    <a:pt x="471" y="208"/>
                  </a:lnTo>
                  <a:lnTo>
                    <a:pt x="472" y="208"/>
                  </a:lnTo>
                  <a:lnTo>
                    <a:pt x="472" y="208"/>
                  </a:lnTo>
                  <a:lnTo>
                    <a:pt x="473" y="208"/>
                  </a:lnTo>
                  <a:lnTo>
                    <a:pt x="473" y="209"/>
                  </a:lnTo>
                  <a:lnTo>
                    <a:pt x="474" y="210"/>
                  </a:lnTo>
                  <a:lnTo>
                    <a:pt x="474" y="211"/>
                  </a:lnTo>
                  <a:lnTo>
                    <a:pt x="474" y="212"/>
                  </a:lnTo>
                  <a:lnTo>
                    <a:pt x="474" y="214"/>
                  </a:lnTo>
                  <a:lnTo>
                    <a:pt x="473" y="217"/>
                  </a:lnTo>
                  <a:lnTo>
                    <a:pt x="472" y="219"/>
                  </a:lnTo>
                  <a:lnTo>
                    <a:pt x="471" y="222"/>
                  </a:lnTo>
                  <a:lnTo>
                    <a:pt x="467" y="229"/>
                  </a:lnTo>
                  <a:lnTo>
                    <a:pt x="466" y="231"/>
                  </a:lnTo>
                  <a:lnTo>
                    <a:pt x="466" y="232"/>
                  </a:lnTo>
                  <a:lnTo>
                    <a:pt x="465" y="235"/>
                  </a:lnTo>
                  <a:lnTo>
                    <a:pt x="465" y="237"/>
                  </a:lnTo>
                  <a:lnTo>
                    <a:pt x="465" y="239"/>
                  </a:lnTo>
                  <a:lnTo>
                    <a:pt x="466" y="242"/>
                  </a:lnTo>
                  <a:lnTo>
                    <a:pt x="467" y="244"/>
                  </a:lnTo>
                  <a:lnTo>
                    <a:pt x="468" y="247"/>
                  </a:lnTo>
                  <a:lnTo>
                    <a:pt x="471" y="253"/>
                  </a:lnTo>
                  <a:lnTo>
                    <a:pt x="473" y="256"/>
                  </a:lnTo>
                  <a:lnTo>
                    <a:pt x="475" y="259"/>
                  </a:lnTo>
                  <a:lnTo>
                    <a:pt x="477" y="263"/>
                  </a:lnTo>
                  <a:lnTo>
                    <a:pt x="484" y="270"/>
                  </a:lnTo>
                  <a:lnTo>
                    <a:pt x="486" y="272"/>
                  </a:lnTo>
                  <a:lnTo>
                    <a:pt x="487" y="274"/>
                  </a:lnTo>
                  <a:lnTo>
                    <a:pt x="487" y="276"/>
                  </a:lnTo>
                  <a:lnTo>
                    <a:pt x="488" y="277"/>
                  </a:lnTo>
                  <a:lnTo>
                    <a:pt x="489" y="279"/>
                  </a:lnTo>
                  <a:lnTo>
                    <a:pt x="490" y="282"/>
                  </a:lnTo>
                  <a:lnTo>
                    <a:pt x="490" y="284"/>
                  </a:lnTo>
                  <a:lnTo>
                    <a:pt x="490" y="286"/>
                  </a:lnTo>
                  <a:lnTo>
                    <a:pt x="490" y="290"/>
                  </a:lnTo>
                  <a:lnTo>
                    <a:pt x="490" y="295"/>
                  </a:lnTo>
                  <a:lnTo>
                    <a:pt x="491" y="303"/>
                  </a:lnTo>
                  <a:lnTo>
                    <a:pt x="492" y="307"/>
                  </a:lnTo>
                  <a:lnTo>
                    <a:pt x="492" y="310"/>
                  </a:lnTo>
                  <a:lnTo>
                    <a:pt x="491" y="313"/>
                  </a:lnTo>
                  <a:lnTo>
                    <a:pt x="491" y="315"/>
                  </a:lnTo>
                  <a:lnTo>
                    <a:pt x="490" y="316"/>
                  </a:lnTo>
                  <a:lnTo>
                    <a:pt x="489" y="319"/>
                  </a:lnTo>
                  <a:lnTo>
                    <a:pt x="488" y="320"/>
                  </a:lnTo>
                  <a:lnTo>
                    <a:pt x="487" y="322"/>
                  </a:lnTo>
                  <a:lnTo>
                    <a:pt x="486" y="324"/>
                  </a:lnTo>
                  <a:lnTo>
                    <a:pt x="484" y="325"/>
                  </a:lnTo>
                  <a:lnTo>
                    <a:pt x="482" y="327"/>
                  </a:lnTo>
                  <a:lnTo>
                    <a:pt x="481" y="328"/>
                  </a:lnTo>
                  <a:lnTo>
                    <a:pt x="479" y="329"/>
                  </a:lnTo>
                  <a:lnTo>
                    <a:pt x="477" y="330"/>
                  </a:lnTo>
                  <a:lnTo>
                    <a:pt x="476" y="331"/>
                  </a:lnTo>
                  <a:lnTo>
                    <a:pt x="474" y="332"/>
                  </a:lnTo>
                  <a:lnTo>
                    <a:pt x="472" y="332"/>
                  </a:lnTo>
                  <a:lnTo>
                    <a:pt x="465" y="333"/>
                  </a:lnTo>
                  <a:lnTo>
                    <a:pt x="464" y="333"/>
                  </a:lnTo>
                  <a:lnTo>
                    <a:pt x="464" y="334"/>
                  </a:lnTo>
                  <a:lnTo>
                    <a:pt x="462" y="335"/>
                  </a:lnTo>
                  <a:lnTo>
                    <a:pt x="461" y="335"/>
                  </a:lnTo>
                  <a:lnTo>
                    <a:pt x="460" y="337"/>
                  </a:lnTo>
                  <a:lnTo>
                    <a:pt x="459" y="338"/>
                  </a:lnTo>
                  <a:lnTo>
                    <a:pt x="458" y="340"/>
                  </a:lnTo>
                  <a:lnTo>
                    <a:pt x="458" y="341"/>
                  </a:lnTo>
                  <a:lnTo>
                    <a:pt x="457" y="343"/>
                  </a:lnTo>
                  <a:lnTo>
                    <a:pt x="457" y="344"/>
                  </a:lnTo>
                  <a:lnTo>
                    <a:pt x="457" y="346"/>
                  </a:lnTo>
                  <a:lnTo>
                    <a:pt x="456" y="355"/>
                  </a:lnTo>
                  <a:lnTo>
                    <a:pt x="456" y="360"/>
                  </a:lnTo>
                  <a:lnTo>
                    <a:pt x="456" y="362"/>
                  </a:lnTo>
                  <a:lnTo>
                    <a:pt x="455" y="364"/>
                  </a:lnTo>
                  <a:lnTo>
                    <a:pt x="454" y="368"/>
                  </a:lnTo>
                  <a:lnTo>
                    <a:pt x="453" y="372"/>
                  </a:lnTo>
                  <a:lnTo>
                    <a:pt x="452" y="376"/>
                  </a:lnTo>
                  <a:lnTo>
                    <a:pt x="448" y="382"/>
                  </a:lnTo>
                  <a:lnTo>
                    <a:pt x="444" y="389"/>
                  </a:lnTo>
                  <a:lnTo>
                    <a:pt x="437" y="401"/>
                  </a:lnTo>
                  <a:lnTo>
                    <a:pt x="435" y="405"/>
                  </a:lnTo>
                  <a:lnTo>
                    <a:pt x="434" y="407"/>
                  </a:lnTo>
                  <a:lnTo>
                    <a:pt x="433" y="409"/>
                  </a:lnTo>
                  <a:lnTo>
                    <a:pt x="433" y="411"/>
                  </a:lnTo>
                  <a:lnTo>
                    <a:pt x="433" y="412"/>
                  </a:lnTo>
                  <a:lnTo>
                    <a:pt x="433" y="414"/>
                  </a:lnTo>
                  <a:lnTo>
                    <a:pt x="434" y="416"/>
                  </a:lnTo>
                  <a:lnTo>
                    <a:pt x="435" y="419"/>
                  </a:lnTo>
                  <a:lnTo>
                    <a:pt x="435" y="420"/>
                  </a:lnTo>
                  <a:lnTo>
                    <a:pt x="436" y="421"/>
                  </a:lnTo>
                  <a:lnTo>
                    <a:pt x="437" y="422"/>
                  </a:lnTo>
                  <a:lnTo>
                    <a:pt x="439" y="423"/>
                  </a:lnTo>
                  <a:lnTo>
                    <a:pt x="441" y="423"/>
                  </a:lnTo>
                  <a:lnTo>
                    <a:pt x="443" y="424"/>
                  </a:lnTo>
                  <a:lnTo>
                    <a:pt x="445" y="424"/>
                  </a:lnTo>
                  <a:lnTo>
                    <a:pt x="445" y="425"/>
                  </a:lnTo>
                  <a:lnTo>
                    <a:pt x="446" y="425"/>
                  </a:lnTo>
                  <a:lnTo>
                    <a:pt x="447" y="426"/>
                  </a:lnTo>
                  <a:lnTo>
                    <a:pt x="447" y="427"/>
                  </a:lnTo>
                  <a:lnTo>
                    <a:pt x="448" y="429"/>
                  </a:lnTo>
                  <a:lnTo>
                    <a:pt x="448" y="430"/>
                  </a:lnTo>
                  <a:lnTo>
                    <a:pt x="450" y="442"/>
                  </a:lnTo>
                  <a:lnTo>
                    <a:pt x="451" y="447"/>
                  </a:lnTo>
                  <a:lnTo>
                    <a:pt x="452" y="450"/>
                  </a:lnTo>
                  <a:lnTo>
                    <a:pt x="453" y="454"/>
                  </a:lnTo>
                  <a:lnTo>
                    <a:pt x="453" y="456"/>
                  </a:lnTo>
                  <a:lnTo>
                    <a:pt x="453" y="458"/>
                  </a:lnTo>
                  <a:lnTo>
                    <a:pt x="459" y="470"/>
                  </a:lnTo>
                  <a:lnTo>
                    <a:pt x="463" y="479"/>
                  </a:lnTo>
                  <a:lnTo>
                    <a:pt x="464" y="484"/>
                  </a:lnTo>
                  <a:lnTo>
                    <a:pt x="466" y="491"/>
                  </a:lnTo>
                  <a:lnTo>
                    <a:pt x="465" y="491"/>
                  </a:lnTo>
                  <a:lnTo>
                    <a:pt x="463" y="497"/>
                  </a:lnTo>
                  <a:lnTo>
                    <a:pt x="459" y="503"/>
                  </a:lnTo>
                  <a:lnTo>
                    <a:pt x="456" y="505"/>
                  </a:lnTo>
                  <a:lnTo>
                    <a:pt x="453" y="509"/>
                  </a:lnTo>
                  <a:lnTo>
                    <a:pt x="451" y="511"/>
                  </a:lnTo>
                  <a:lnTo>
                    <a:pt x="449" y="513"/>
                  </a:lnTo>
                  <a:lnTo>
                    <a:pt x="447" y="514"/>
                  </a:lnTo>
                  <a:lnTo>
                    <a:pt x="444" y="515"/>
                  </a:lnTo>
                  <a:lnTo>
                    <a:pt x="441" y="516"/>
                  </a:lnTo>
                  <a:lnTo>
                    <a:pt x="437" y="517"/>
                  </a:lnTo>
                  <a:lnTo>
                    <a:pt x="434" y="518"/>
                  </a:lnTo>
                  <a:lnTo>
                    <a:pt x="430" y="518"/>
                  </a:lnTo>
                  <a:lnTo>
                    <a:pt x="426" y="517"/>
                  </a:lnTo>
                  <a:lnTo>
                    <a:pt x="422" y="516"/>
                  </a:lnTo>
                  <a:lnTo>
                    <a:pt x="419" y="515"/>
                  </a:lnTo>
                  <a:lnTo>
                    <a:pt x="408" y="513"/>
                  </a:lnTo>
                  <a:lnTo>
                    <a:pt x="405" y="511"/>
                  </a:lnTo>
                  <a:lnTo>
                    <a:pt x="402" y="511"/>
                  </a:lnTo>
                  <a:lnTo>
                    <a:pt x="398" y="510"/>
                  </a:lnTo>
                  <a:lnTo>
                    <a:pt x="397" y="510"/>
                  </a:lnTo>
                  <a:lnTo>
                    <a:pt x="394" y="511"/>
                  </a:lnTo>
                  <a:lnTo>
                    <a:pt x="391" y="512"/>
                  </a:lnTo>
                  <a:lnTo>
                    <a:pt x="387" y="514"/>
                  </a:lnTo>
                  <a:lnTo>
                    <a:pt x="385" y="514"/>
                  </a:lnTo>
                  <a:lnTo>
                    <a:pt x="384" y="515"/>
                  </a:lnTo>
                  <a:lnTo>
                    <a:pt x="382" y="517"/>
                  </a:lnTo>
                  <a:lnTo>
                    <a:pt x="381" y="518"/>
                  </a:lnTo>
                  <a:lnTo>
                    <a:pt x="373" y="528"/>
                  </a:lnTo>
                  <a:lnTo>
                    <a:pt x="370" y="534"/>
                  </a:lnTo>
                  <a:lnTo>
                    <a:pt x="367" y="537"/>
                  </a:lnTo>
                  <a:lnTo>
                    <a:pt x="362" y="545"/>
                  </a:lnTo>
                  <a:lnTo>
                    <a:pt x="356" y="549"/>
                  </a:lnTo>
                  <a:lnTo>
                    <a:pt x="354" y="552"/>
                  </a:lnTo>
                  <a:lnTo>
                    <a:pt x="352" y="555"/>
                  </a:lnTo>
                  <a:lnTo>
                    <a:pt x="351" y="559"/>
                  </a:lnTo>
                  <a:lnTo>
                    <a:pt x="350" y="561"/>
                  </a:lnTo>
                  <a:lnTo>
                    <a:pt x="347" y="569"/>
                  </a:lnTo>
                  <a:lnTo>
                    <a:pt x="345" y="572"/>
                  </a:lnTo>
                  <a:lnTo>
                    <a:pt x="344" y="574"/>
                  </a:lnTo>
                  <a:lnTo>
                    <a:pt x="339" y="581"/>
                  </a:lnTo>
                  <a:lnTo>
                    <a:pt x="336" y="587"/>
                  </a:lnTo>
                  <a:lnTo>
                    <a:pt x="334" y="591"/>
                  </a:lnTo>
                  <a:lnTo>
                    <a:pt x="327" y="604"/>
                  </a:lnTo>
                  <a:lnTo>
                    <a:pt x="325" y="607"/>
                  </a:lnTo>
                  <a:lnTo>
                    <a:pt x="324" y="609"/>
                  </a:lnTo>
                  <a:lnTo>
                    <a:pt x="322" y="612"/>
                  </a:lnTo>
                  <a:lnTo>
                    <a:pt x="317" y="616"/>
                  </a:lnTo>
                  <a:lnTo>
                    <a:pt x="316" y="619"/>
                  </a:lnTo>
                  <a:lnTo>
                    <a:pt x="315" y="622"/>
                  </a:lnTo>
                  <a:lnTo>
                    <a:pt x="314" y="623"/>
                  </a:lnTo>
                  <a:lnTo>
                    <a:pt x="313" y="625"/>
                  </a:lnTo>
                  <a:lnTo>
                    <a:pt x="313" y="627"/>
                  </a:lnTo>
                  <a:lnTo>
                    <a:pt x="312" y="629"/>
                  </a:lnTo>
                  <a:lnTo>
                    <a:pt x="312" y="632"/>
                  </a:lnTo>
                  <a:lnTo>
                    <a:pt x="311" y="635"/>
                  </a:lnTo>
                  <a:lnTo>
                    <a:pt x="312" y="638"/>
                  </a:lnTo>
                  <a:lnTo>
                    <a:pt x="312" y="640"/>
                  </a:lnTo>
                  <a:lnTo>
                    <a:pt x="314" y="649"/>
                  </a:lnTo>
                  <a:lnTo>
                    <a:pt x="316" y="661"/>
                  </a:lnTo>
                  <a:lnTo>
                    <a:pt x="317" y="671"/>
                  </a:lnTo>
                  <a:lnTo>
                    <a:pt x="318" y="675"/>
                  </a:lnTo>
                  <a:lnTo>
                    <a:pt x="319" y="679"/>
                  </a:lnTo>
                  <a:lnTo>
                    <a:pt x="319" y="683"/>
                  </a:lnTo>
                  <a:lnTo>
                    <a:pt x="319" y="684"/>
                  </a:lnTo>
                  <a:lnTo>
                    <a:pt x="318" y="685"/>
                  </a:lnTo>
                  <a:lnTo>
                    <a:pt x="318" y="687"/>
                  </a:lnTo>
                  <a:lnTo>
                    <a:pt x="317" y="689"/>
                  </a:lnTo>
                  <a:lnTo>
                    <a:pt x="316" y="691"/>
                  </a:lnTo>
                  <a:lnTo>
                    <a:pt x="315" y="693"/>
                  </a:lnTo>
                  <a:lnTo>
                    <a:pt x="313" y="695"/>
                  </a:lnTo>
                  <a:lnTo>
                    <a:pt x="312" y="695"/>
                  </a:lnTo>
                  <a:lnTo>
                    <a:pt x="310" y="696"/>
                  </a:lnTo>
                  <a:lnTo>
                    <a:pt x="308" y="697"/>
                  </a:lnTo>
                  <a:lnTo>
                    <a:pt x="306" y="698"/>
                  </a:lnTo>
                  <a:lnTo>
                    <a:pt x="305" y="698"/>
                  </a:lnTo>
                  <a:lnTo>
                    <a:pt x="302" y="698"/>
                  </a:lnTo>
                  <a:lnTo>
                    <a:pt x="301" y="698"/>
                  </a:lnTo>
                  <a:lnTo>
                    <a:pt x="299" y="697"/>
                  </a:lnTo>
                  <a:lnTo>
                    <a:pt x="297" y="697"/>
                  </a:lnTo>
                  <a:lnTo>
                    <a:pt x="296" y="696"/>
                  </a:lnTo>
                  <a:lnTo>
                    <a:pt x="294" y="695"/>
                  </a:lnTo>
                  <a:lnTo>
                    <a:pt x="294" y="695"/>
                  </a:lnTo>
                  <a:lnTo>
                    <a:pt x="293" y="693"/>
                  </a:lnTo>
                  <a:lnTo>
                    <a:pt x="292" y="691"/>
                  </a:lnTo>
                  <a:lnTo>
                    <a:pt x="290" y="686"/>
                  </a:lnTo>
                  <a:lnTo>
                    <a:pt x="290" y="685"/>
                  </a:lnTo>
                  <a:lnTo>
                    <a:pt x="289" y="684"/>
                  </a:lnTo>
                  <a:lnTo>
                    <a:pt x="288" y="684"/>
                  </a:lnTo>
                  <a:lnTo>
                    <a:pt x="287" y="683"/>
                  </a:lnTo>
                  <a:lnTo>
                    <a:pt x="286" y="683"/>
                  </a:lnTo>
                  <a:lnTo>
                    <a:pt x="284" y="682"/>
                  </a:lnTo>
                  <a:lnTo>
                    <a:pt x="282" y="682"/>
                  </a:lnTo>
                  <a:lnTo>
                    <a:pt x="280" y="682"/>
                  </a:lnTo>
                  <a:lnTo>
                    <a:pt x="272" y="682"/>
                  </a:lnTo>
                  <a:lnTo>
                    <a:pt x="269" y="682"/>
                  </a:lnTo>
                  <a:lnTo>
                    <a:pt x="267" y="682"/>
                  </a:lnTo>
                  <a:lnTo>
                    <a:pt x="264" y="683"/>
                  </a:lnTo>
                  <a:lnTo>
                    <a:pt x="259" y="684"/>
                  </a:lnTo>
                  <a:lnTo>
                    <a:pt x="256" y="684"/>
                  </a:lnTo>
                  <a:lnTo>
                    <a:pt x="254" y="684"/>
                  </a:lnTo>
                  <a:lnTo>
                    <a:pt x="251" y="684"/>
                  </a:lnTo>
                  <a:lnTo>
                    <a:pt x="248" y="684"/>
                  </a:lnTo>
                  <a:lnTo>
                    <a:pt x="244" y="683"/>
                  </a:lnTo>
                  <a:lnTo>
                    <a:pt x="239" y="681"/>
                  </a:lnTo>
                  <a:lnTo>
                    <a:pt x="233" y="679"/>
                  </a:lnTo>
                  <a:lnTo>
                    <a:pt x="228" y="677"/>
                  </a:lnTo>
                  <a:lnTo>
                    <a:pt x="226" y="677"/>
                  </a:lnTo>
                  <a:lnTo>
                    <a:pt x="224" y="676"/>
                  </a:lnTo>
                  <a:lnTo>
                    <a:pt x="221" y="676"/>
                  </a:lnTo>
                  <a:lnTo>
                    <a:pt x="219" y="676"/>
                  </a:lnTo>
                  <a:lnTo>
                    <a:pt x="217" y="676"/>
                  </a:lnTo>
                  <a:lnTo>
                    <a:pt x="214" y="676"/>
                  </a:lnTo>
                  <a:lnTo>
                    <a:pt x="212" y="676"/>
                  </a:lnTo>
                  <a:lnTo>
                    <a:pt x="208" y="676"/>
                  </a:lnTo>
                  <a:lnTo>
                    <a:pt x="206" y="677"/>
                  </a:lnTo>
                  <a:lnTo>
                    <a:pt x="203" y="678"/>
                  </a:lnTo>
                  <a:lnTo>
                    <a:pt x="199" y="679"/>
                  </a:lnTo>
                  <a:lnTo>
                    <a:pt x="197" y="681"/>
                  </a:lnTo>
                  <a:lnTo>
                    <a:pt x="194" y="682"/>
                  </a:lnTo>
                  <a:lnTo>
                    <a:pt x="191" y="684"/>
                  </a:lnTo>
                  <a:lnTo>
                    <a:pt x="189" y="685"/>
                  </a:lnTo>
                  <a:lnTo>
                    <a:pt x="187" y="687"/>
                  </a:lnTo>
                  <a:lnTo>
                    <a:pt x="186" y="688"/>
                  </a:lnTo>
                  <a:lnTo>
                    <a:pt x="186" y="689"/>
                  </a:lnTo>
                  <a:lnTo>
                    <a:pt x="185" y="688"/>
                  </a:lnTo>
                  <a:lnTo>
                    <a:pt x="183" y="687"/>
                  </a:lnTo>
                  <a:lnTo>
                    <a:pt x="181" y="686"/>
                  </a:lnTo>
                  <a:lnTo>
                    <a:pt x="179" y="684"/>
                  </a:lnTo>
                  <a:lnTo>
                    <a:pt x="177" y="683"/>
                  </a:lnTo>
                  <a:lnTo>
                    <a:pt x="175" y="681"/>
                  </a:lnTo>
                  <a:lnTo>
                    <a:pt x="173" y="679"/>
                  </a:lnTo>
                  <a:lnTo>
                    <a:pt x="171" y="677"/>
                  </a:lnTo>
                  <a:lnTo>
                    <a:pt x="169" y="675"/>
                  </a:lnTo>
                  <a:lnTo>
                    <a:pt x="169" y="673"/>
                  </a:lnTo>
                  <a:lnTo>
                    <a:pt x="167" y="670"/>
                  </a:lnTo>
                  <a:lnTo>
                    <a:pt x="165" y="666"/>
                  </a:lnTo>
                  <a:lnTo>
                    <a:pt x="164" y="663"/>
                  </a:lnTo>
                  <a:lnTo>
                    <a:pt x="163" y="660"/>
                  </a:lnTo>
                  <a:lnTo>
                    <a:pt x="163" y="658"/>
                  </a:lnTo>
                  <a:lnTo>
                    <a:pt x="162" y="655"/>
                  </a:lnTo>
                  <a:lnTo>
                    <a:pt x="162" y="652"/>
                  </a:lnTo>
                  <a:lnTo>
                    <a:pt x="162" y="650"/>
                  </a:lnTo>
                  <a:lnTo>
                    <a:pt x="162" y="648"/>
                  </a:lnTo>
                  <a:lnTo>
                    <a:pt x="162" y="645"/>
                  </a:lnTo>
                  <a:lnTo>
                    <a:pt x="163" y="642"/>
                  </a:lnTo>
                  <a:lnTo>
                    <a:pt x="164" y="640"/>
                  </a:lnTo>
                  <a:lnTo>
                    <a:pt x="164" y="639"/>
                  </a:lnTo>
                  <a:lnTo>
                    <a:pt x="165" y="639"/>
                  </a:lnTo>
                  <a:lnTo>
                    <a:pt x="166" y="637"/>
                  </a:lnTo>
                  <a:lnTo>
                    <a:pt x="168" y="636"/>
                  </a:lnTo>
                  <a:lnTo>
                    <a:pt x="171" y="633"/>
                  </a:lnTo>
                  <a:lnTo>
                    <a:pt x="173" y="632"/>
                  </a:lnTo>
                  <a:lnTo>
                    <a:pt x="174" y="631"/>
                  </a:lnTo>
                  <a:lnTo>
                    <a:pt x="175" y="629"/>
                  </a:lnTo>
                  <a:lnTo>
                    <a:pt x="175" y="628"/>
                  </a:lnTo>
                  <a:lnTo>
                    <a:pt x="175" y="627"/>
                  </a:lnTo>
                  <a:lnTo>
                    <a:pt x="174" y="626"/>
                  </a:lnTo>
                  <a:lnTo>
                    <a:pt x="173" y="624"/>
                  </a:lnTo>
                  <a:lnTo>
                    <a:pt x="172" y="622"/>
                  </a:lnTo>
                  <a:lnTo>
                    <a:pt x="170" y="620"/>
                  </a:lnTo>
                  <a:lnTo>
                    <a:pt x="165" y="616"/>
                  </a:lnTo>
                  <a:lnTo>
                    <a:pt x="164" y="614"/>
                  </a:lnTo>
                  <a:lnTo>
                    <a:pt x="163" y="612"/>
                  </a:lnTo>
                  <a:lnTo>
                    <a:pt x="162" y="610"/>
                  </a:lnTo>
                  <a:lnTo>
                    <a:pt x="161" y="608"/>
                  </a:lnTo>
                  <a:lnTo>
                    <a:pt x="160" y="607"/>
                  </a:lnTo>
                  <a:lnTo>
                    <a:pt x="160" y="605"/>
                  </a:lnTo>
                  <a:lnTo>
                    <a:pt x="160" y="604"/>
                  </a:lnTo>
                  <a:lnTo>
                    <a:pt x="161" y="602"/>
                  </a:lnTo>
                  <a:lnTo>
                    <a:pt x="161" y="600"/>
                  </a:lnTo>
                  <a:lnTo>
                    <a:pt x="162" y="598"/>
                  </a:lnTo>
                  <a:lnTo>
                    <a:pt x="164" y="594"/>
                  </a:lnTo>
                  <a:lnTo>
                    <a:pt x="169" y="584"/>
                  </a:lnTo>
                  <a:lnTo>
                    <a:pt x="169" y="582"/>
                  </a:lnTo>
                  <a:lnTo>
                    <a:pt x="171" y="578"/>
                  </a:lnTo>
                  <a:lnTo>
                    <a:pt x="171" y="575"/>
                  </a:lnTo>
                  <a:lnTo>
                    <a:pt x="172" y="567"/>
                  </a:lnTo>
                  <a:lnTo>
                    <a:pt x="173" y="563"/>
                  </a:lnTo>
                  <a:lnTo>
                    <a:pt x="175" y="556"/>
                  </a:lnTo>
                  <a:lnTo>
                    <a:pt x="176" y="548"/>
                  </a:lnTo>
                  <a:lnTo>
                    <a:pt x="177" y="545"/>
                  </a:lnTo>
                  <a:lnTo>
                    <a:pt x="178" y="542"/>
                  </a:lnTo>
                  <a:lnTo>
                    <a:pt x="179" y="539"/>
                  </a:lnTo>
                  <a:lnTo>
                    <a:pt x="184" y="530"/>
                  </a:lnTo>
                  <a:lnTo>
                    <a:pt x="185" y="526"/>
                  </a:lnTo>
                  <a:lnTo>
                    <a:pt x="186" y="525"/>
                  </a:lnTo>
                  <a:lnTo>
                    <a:pt x="187" y="522"/>
                  </a:lnTo>
                  <a:lnTo>
                    <a:pt x="188" y="520"/>
                  </a:lnTo>
                  <a:lnTo>
                    <a:pt x="188" y="518"/>
                  </a:lnTo>
                  <a:lnTo>
                    <a:pt x="187" y="515"/>
                  </a:lnTo>
                  <a:lnTo>
                    <a:pt x="187" y="514"/>
                  </a:lnTo>
                  <a:lnTo>
                    <a:pt x="186" y="513"/>
                  </a:lnTo>
                  <a:lnTo>
                    <a:pt x="186" y="512"/>
                  </a:lnTo>
                  <a:lnTo>
                    <a:pt x="185" y="510"/>
                  </a:lnTo>
                  <a:lnTo>
                    <a:pt x="183" y="508"/>
                  </a:lnTo>
                  <a:lnTo>
                    <a:pt x="180" y="505"/>
                  </a:lnTo>
                  <a:lnTo>
                    <a:pt x="178" y="503"/>
                  </a:lnTo>
                  <a:lnTo>
                    <a:pt x="174" y="500"/>
                  </a:lnTo>
                  <a:lnTo>
                    <a:pt x="169" y="494"/>
                  </a:lnTo>
                  <a:lnTo>
                    <a:pt x="166" y="492"/>
                  </a:lnTo>
                  <a:lnTo>
                    <a:pt x="161" y="491"/>
                  </a:lnTo>
                  <a:lnTo>
                    <a:pt x="159" y="490"/>
                  </a:lnTo>
                  <a:lnTo>
                    <a:pt x="157" y="489"/>
                  </a:lnTo>
                  <a:lnTo>
                    <a:pt x="154" y="488"/>
                  </a:lnTo>
                  <a:lnTo>
                    <a:pt x="151" y="488"/>
                  </a:lnTo>
                  <a:lnTo>
                    <a:pt x="147" y="488"/>
                  </a:lnTo>
                  <a:lnTo>
                    <a:pt x="145" y="488"/>
                  </a:lnTo>
                  <a:lnTo>
                    <a:pt x="141" y="489"/>
                  </a:lnTo>
                  <a:lnTo>
                    <a:pt x="137" y="490"/>
                  </a:lnTo>
                  <a:lnTo>
                    <a:pt x="135" y="491"/>
                  </a:lnTo>
                  <a:lnTo>
                    <a:pt x="129" y="493"/>
                  </a:lnTo>
                  <a:lnTo>
                    <a:pt x="127" y="494"/>
                  </a:lnTo>
                  <a:lnTo>
                    <a:pt x="125" y="495"/>
                  </a:lnTo>
                  <a:lnTo>
                    <a:pt x="123" y="495"/>
                  </a:lnTo>
                  <a:lnTo>
                    <a:pt x="121" y="494"/>
                  </a:lnTo>
                  <a:lnTo>
                    <a:pt x="119" y="493"/>
                  </a:lnTo>
                  <a:lnTo>
                    <a:pt x="117" y="491"/>
                  </a:lnTo>
                  <a:lnTo>
                    <a:pt x="112" y="487"/>
                  </a:lnTo>
                  <a:lnTo>
                    <a:pt x="109" y="485"/>
                  </a:lnTo>
                  <a:lnTo>
                    <a:pt x="107" y="484"/>
                  </a:lnTo>
                  <a:lnTo>
                    <a:pt x="102" y="482"/>
                  </a:lnTo>
                  <a:lnTo>
                    <a:pt x="100" y="480"/>
                  </a:lnTo>
                  <a:lnTo>
                    <a:pt x="96" y="479"/>
                  </a:lnTo>
                  <a:lnTo>
                    <a:pt x="89" y="475"/>
                  </a:lnTo>
                  <a:lnTo>
                    <a:pt x="87" y="473"/>
                  </a:lnTo>
                  <a:lnTo>
                    <a:pt x="84" y="472"/>
                  </a:lnTo>
                  <a:lnTo>
                    <a:pt x="81" y="470"/>
                  </a:lnTo>
                  <a:lnTo>
                    <a:pt x="79" y="470"/>
                  </a:lnTo>
                  <a:lnTo>
                    <a:pt x="77" y="470"/>
                  </a:lnTo>
                  <a:lnTo>
                    <a:pt x="73" y="469"/>
                  </a:lnTo>
                  <a:lnTo>
                    <a:pt x="65" y="469"/>
                  </a:lnTo>
                  <a:lnTo>
                    <a:pt x="62" y="469"/>
                  </a:lnTo>
                  <a:lnTo>
                    <a:pt x="59" y="469"/>
                  </a:lnTo>
                  <a:lnTo>
                    <a:pt x="57" y="469"/>
                  </a:lnTo>
                  <a:lnTo>
                    <a:pt x="55" y="468"/>
                  </a:lnTo>
                  <a:lnTo>
                    <a:pt x="54" y="467"/>
                  </a:lnTo>
                  <a:lnTo>
                    <a:pt x="52" y="465"/>
                  </a:lnTo>
                  <a:lnTo>
                    <a:pt x="50" y="462"/>
                  </a:lnTo>
                  <a:lnTo>
                    <a:pt x="45" y="456"/>
                  </a:lnTo>
                  <a:lnTo>
                    <a:pt x="44" y="454"/>
                  </a:lnTo>
                  <a:lnTo>
                    <a:pt x="43" y="452"/>
                  </a:lnTo>
                  <a:lnTo>
                    <a:pt x="40" y="450"/>
                  </a:lnTo>
                  <a:lnTo>
                    <a:pt x="37" y="448"/>
                  </a:lnTo>
                  <a:lnTo>
                    <a:pt x="35" y="447"/>
                  </a:lnTo>
                  <a:lnTo>
                    <a:pt x="31" y="446"/>
                  </a:lnTo>
                  <a:lnTo>
                    <a:pt x="30" y="446"/>
                  </a:lnTo>
                  <a:lnTo>
                    <a:pt x="29" y="445"/>
                  </a:lnTo>
                  <a:lnTo>
                    <a:pt x="28" y="444"/>
                  </a:lnTo>
                  <a:lnTo>
                    <a:pt x="29" y="444"/>
                  </a:lnTo>
                  <a:lnTo>
                    <a:pt x="30" y="443"/>
                  </a:lnTo>
                  <a:lnTo>
                    <a:pt x="30" y="442"/>
                  </a:lnTo>
                  <a:lnTo>
                    <a:pt x="30" y="441"/>
                  </a:lnTo>
                  <a:lnTo>
                    <a:pt x="30" y="440"/>
                  </a:lnTo>
                  <a:lnTo>
                    <a:pt x="30" y="439"/>
                  </a:lnTo>
                  <a:lnTo>
                    <a:pt x="29" y="437"/>
                  </a:lnTo>
                  <a:lnTo>
                    <a:pt x="28" y="435"/>
                  </a:lnTo>
                  <a:lnTo>
                    <a:pt x="27" y="435"/>
                  </a:lnTo>
                  <a:lnTo>
                    <a:pt x="24" y="431"/>
                  </a:lnTo>
                  <a:lnTo>
                    <a:pt x="21" y="427"/>
                  </a:lnTo>
                  <a:lnTo>
                    <a:pt x="17" y="423"/>
                  </a:lnTo>
                  <a:lnTo>
                    <a:pt x="9" y="415"/>
                  </a:lnTo>
                  <a:lnTo>
                    <a:pt x="4" y="410"/>
                  </a:lnTo>
                  <a:lnTo>
                    <a:pt x="2" y="408"/>
                  </a:lnTo>
                  <a:lnTo>
                    <a:pt x="1" y="407"/>
                  </a:lnTo>
                  <a:lnTo>
                    <a:pt x="1" y="405"/>
                  </a:lnTo>
                  <a:lnTo>
                    <a:pt x="0" y="404"/>
                  </a:lnTo>
                  <a:lnTo>
                    <a:pt x="1" y="403"/>
                  </a:lnTo>
                  <a:lnTo>
                    <a:pt x="1" y="402"/>
                  </a:lnTo>
                  <a:lnTo>
                    <a:pt x="2" y="401"/>
                  </a:lnTo>
                  <a:lnTo>
                    <a:pt x="3" y="401"/>
                  </a:lnTo>
                  <a:lnTo>
                    <a:pt x="4" y="400"/>
                  </a:lnTo>
                  <a:lnTo>
                    <a:pt x="9" y="399"/>
                  </a:lnTo>
                  <a:lnTo>
                    <a:pt x="10" y="398"/>
                  </a:lnTo>
                  <a:lnTo>
                    <a:pt x="12" y="397"/>
                  </a:lnTo>
                  <a:lnTo>
                    <a:pt x="14" y="396"/>
                  </a:lnTo>
                  <a:lnTo>
                    <a:pt x="16" y="395"/>
                  </a:lnTo>
                  <a:lnTo>
                    <a:pt x="17" y="393"/>
                  </a:lnTo>
                  <a:lnTo>
                    <a:pt x="19" y="392"/>
                  </a:lnTo>
                  <a:lnTo>
                    <a:pt x="19" y="390"/>
                  </a:lnTo>
                  <a:lnTo>
                    <a:pt x="20" y="389"/>
                  </a:lnTo>
                  <a:lnTo>
                    <a:pt x="20" y="388"/>
                  </a:lnTo>
                  <a:lnTo>
                    <a:pt x="20" y="386"/>
                  </a:lnTo>
                  <a:lnTo>
                    <a:pt x="20" y="384"/>
                  </a:lnTo>
                  <a:lnTo>
                    <a:pt x="20" y="382"/>
                  </a:lnTo>
                  <a:lnTo>
                    <a:pt x="19" y="379"/>
                  </a:lnTo>
                  <a:lnTo>
                    <a:pt x="17" y="373"/>
                  </a:lnTo>
                  <a:lnTo>
                    <a:pt x="17" y="371"/>
                  </a:lnTo>
                  <a:lnTo>
                    <a:pt x="17" y="369"/>
                  </a:lnTo>
                  <a:lnTo>
                    <a:pt x="17" y="367"/>
                  </a:lnTo>
                  <a:lnTo>
                    <a:pt x="18" y="366"/>
                  </a:lnTo>
                  <a:lnTo>
                    <a:pt x="18" y="363"/>
                  </a:lnTo>
                  <a:lnTo>
                    <a:pt x="20" y="361"/>
                  </a:lnTo>
                  <a:lnTo>
                    <a:pt x="21" y="360"/>
                  </a:lnTo>
                  <a:lnTo>
                    <a:pt x="21" y="359"/>
                  </a:lnTo>
                  <a:lnTo>
                    <a:pt x="22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32" y="354"/>
                  </a:lnTo>
                  <a:lnTo>
                    <a:pt x="34" y="352"/>
                  </a:lnTo>
                  <a:lnTo>
                    <a:pt x="37" y="350"/>
                  </a:lnTo>
                  <a:lnTo>
                    <a:pt x="40" y="348"/>
                  </a:lnTo>
                  <a:lnTo>
                    <a:pt x="42" y="346"/>
                  </a:lnTo>
                  <a:lnTo>
                    <a:pt x="43" y="345"/>
                  </a:lnTo>
                  <a:lnTo>
                    <a:pt x="44" y="344"/>
                  </a:lnTo>
                  <a:lnTo>
                    <a:pt x="44" y="342"/>
                  </a:lnTo>
                  <a:lnTo>
                    <a:pt x="44" y="340"/>
                  </a:lnTo>
                  <a:lnTo>
                    <a:pt x="44" y="337"/>
                  </a:lnTo>
                  <a:lnTo>
                    <a:pt x="44" y="334"/>
                  </a:lnTo>
                  <a:lnTo>
                    <a:pt x="44" y="331"/>
                  </a:lnTo>
                  <a:lnTo>
                    <a:pt x="44" y="329"/>
                  </a:lnTo>
                  <a:lnTo>
                    <a:pt x="44" y="327"/>
                  </a:lnTo>
                  <a:lnTo>
                    <a:pt x="43" y="325"/>
                  </a:lnTo>
                  <a:lnTo>
                    <a:pt x="42" y="323"/>
                  </a:lnTo>
                  <a:lnTo>
                    <a:pt x="42" y="322"/>
                  </a:lnTo>
                  <a:lnTo>
                    <a:pt x="40" y="321"/>
                  </a:lnTo>
                  <a:lnTo>
                    <a:pt x="39" y="320"/>
                  </a:lnTo>
                  <a:lnTo>
                    <a:pt x="37" y="318"/>
                  </a:lnTo>
                  <a:lnTo>
                    <a:pt x="34" y="316"/>
                  </a:lnTo>
                  <a:lnTo>
                    <a:pt x="27" y="310"/>
                  </a:lnTo>
                  <a:lnTo>
                    <a:pt x="25" y="310"/>
                  </a:lnTo>
                  <a:lnTo>
                    <a:pt x="24" y="309"/>
                  </a:lnTo>
                  <a:lnTo>
                    <a:pt x="23" y="308"/>
                  </a:lnTo>
                  <a:lnTo>
                    <a:pt x="22" y="306"/>
                  </a:lnTo>
                  <a:lnTo>
                    <a:pt x="21" y="305"/>
                  </a:lnTo>
                  <a:lnTo>
                    <a:pt x="21" y="302"/>
                  </a:lnTo>
                  <a:lnTo>
                    <a:pt x="21" y="299"/>
                  </a:lnTo>
                  <a:lnTo>
                    <a:pt x="21" y="296"/>
                  </a:lnTo>
                  <a:lnTo>
                    <a:pt x="21" y="292"/>
                  </a:lnTo>
                  <a:lnTo>
                    <a:pt x="21" y="288"/>
                  </a:lnTo>
                  <a:lnTo>
                    <a:pt x="22" y="284"/>
                  </a:lnTo>
                  <a:lnTo>
                    <a:pt x="24" y="280"/>
                  </a:lnTo>
                  <a:lnTo>
                    <a:pt x="26" y="275"/>
                  </a:lnTo>
                  <a:lnTo>
                    <a:pt x="29" y="265"/>
                  </a:lnTo>
                  <a:lnTo>
                    <a:pt x="29" y="265"/>
                  </a:lnTo>
                  <a:lnTo>
                    <a:pt x="35" y="263"/>
                  </a:lnTo>
                  <a:lnTo>
                    <a:pt x="37" y="263"/>
                  </a:lnTo>
                  <a:lnTo>
                    <a:pt x="40" y="262"/>
                  </a:lnTo>
                  <a:lnTo>
                    <a:pt x="43" y="260"/>
                  </a:lnTo>
                  <a:lnTo>
                    <a:pt x="45" y="259"/>
                  </a:lnTo>
                  <a:lnTo>
                    <a:pt x="46" y="257"/>
                  </a:lnTo>
                  <a:lnTo>
                    <a:pt x="48" y="255"/>
                  </a:lnTo>
                  <a:lnTo>
                    <a:pt x="48" y="254"/>
                  </a:lnTo>
                  <a:lnTo>
                    <a:pt x="49" y="253"/>
                  </a:lnTo>
                  <a:lnTo>
                    <a:pt x="49" y="252"/>
                  </a:lnTo>
                  <a:lnTo>
                    <a:pt x="49" y="251"/>
                  </a:lnTo>
                  <a:lnTo>
                    <a:pt x="49" y="249"/>
                  </a:lnTo>
                  <a:lnTo>
                    <a:pt x="49" y="247"/>
                  </a:lnTo>
                  <a:lnTo>
                    <a:pt x="48" y="246"/>
                  </a:lnTo>
                  <a:lnTo>
                    <a:pt x="47" y="244"/>
                  </a:lnTo>
                  <a:lnTo>
                    <a:pt x="42" y="238"/>
                  </a:lnTo>
                  <a:lnTo>
                    <a:pt x="41" y="236"/>
                  </a:lnTo>
                  <a:lnTo>
                    <a:pt x="40" y="234"/>
                  </a:lnTo>
                  <a:lnTo>
                    <a:pt x="39" y="232"/>
                  </a:lnTo>
                  <a:lnTo>
                    <a:pt x="38" y="230"/>
                  </a:lnTo>
                  <a:lnTo>
                    <a:pt x="38" y="228"/>
                  </a:lnTo>
                  <a:lnTo>
                    <a:pt x="38" y="226"/>
                  </a:lnTo>
                  <a:lnTo>
                    <a:pt x="38" y="224"/>
                  </a:lnTo>
                  <a:lnTo>
                    <a:pt x="39" y="222"/>
                  </a:lnTo>
                  <a:lnTo>
                    <a:pt x="39" y="220"/>
                  </a:lnTo>
                  <a:lnTo>
                    <a:pt x="40" y="219"/>
                  </a:lnTo>
                  <a:lnTo>
                    <a:pt x="42" y="216"/>
                  </a:lnTo>
                  <a:lnTo>
                    <a:pt x="45" y="211"/>
                  </a:lnTo>
                  <a:lnTo>
                    <a:pt x="48" y="208"/>
                  </a:lnTo>
                  <a:lnTo>
                    <a:pt x="51" y="204"/>
                  </a:lnTo>
                  <a:lnTo>
                    <a:pt x="53" y="200"/>
                  </a:lnTo>
                  <a:lnTo>
                    <a:pt x="54" y="198"/>
                  </a:lnTo>
                  <a:lnTo>
                    <a:pt x="55" y="196"/>
                  </a:lnTo>
                  <a:lnTo>
                    <a:pt x="55" y="194"/>
                  </a:lnTo>
                  <a:lnTo>
                    <a:pt x="55" y="192"/>
                  </a:lnTo>
                  <a:lnTo>
                    <a:pt x="55" y="190"/>
                  </a:lnTo>
                  <a:lnTo>
                    <a:pt x="54" y="188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0" y="185"/>
                  </a:lnTo>
                  <a:lnTo>
                    <a:pt x="49" y="185"/>
                  </a:lnTo>
                  <a:lnTo>
                    <a:pt x="43" y="183"/>
                  </a:lnTo>
                  <a:lnTo>
                    <a:pt x="40" y="182"/>
                  </a:lnTo>
                  <a:lnTo>
                    <a:pt x="37" y="181"/>
                  </a:lnTo>
                  <a:lnTo>
                    <a:pt x="35" y="180"/>
                  </a:lnTo>
                  <a:lnTo>
                    <a:pt x="33" y="179"/>
                  </a:lnTo>
                  <a:lnTo>
                    <a:pt x="32" y="178"/>
                  </a:lnTo>
                  <a:lnTo>
                    <a:pt x="31" y="177"/>
                  </a:lnTo>
                  <a:lnTo>
                    <a:pt x="30" y="176"/>
                  </a:lnTo>
                  <a:lnTo>
                    <a:pt x="30" y="175"/>
                  </a:lnTo>
                  <a:lnTo>
                    <a:pt x="30" y="174"/>
                  </a:lnTo>
                  <a:lnTo>
                    <a:pt x="30" y="174"/>
                  </a:lnTo>
                  <a:lnTo>
                    <a:pt x="30" y="173"/>
                  </a:lnTo>
                  <a:lnTo>
                    <a:pt x="31" y="172"/>
                  </a:lnTo>
                  <a:lnTo>
                    <a:pt x="32" y="171"/>
                  </a:lnTo>
                  <a:lnTo>
                    <a:pt x="34" y="169"/>
                  </a:lnTo>
                  <a:lnTo>
                    <a:pt x="35" y="168"/>
                  </a:lnTo>
                  <a:lnTo>
                    <a:pt x="35" y="167"/>
                  </a:lnTo>
                  <a:lnTo>
                    <a:pt x="36" y="167"/>
                  </a:lnTo>
                  <a:lnTo>
                    <a:pt x="35" y="166"/>
                  </a:lnTo>
                  <a:lnTo>
                    <a:pt x="35" y="165"/>
                  </a:lnTo>
                  <a:lnTo>
                    <a:pt x="34" y="164"/>
                  </a:lnTo>
                  <a:lnTo>
                    <a:pt x="33" y="163"/>
                  </a:lnTo>
                  <a:lnTo>
                    <a:pt x="21" y="155"/>
                  </a:lnTo>
                  <a:lnTo>
                    <a:pt x="12" y="149"/>
                  </a:lnTo>
                  <a:lnTo>
                    <a:pt x="10" y="147"/>
                  </a:lnTo>
                  <a:lnTo>
                    <a:pt x="9" y="146"/>
                  </a:lnTo>
                  <a:lnTo>
                    <a:pt x="9" y="144"/>
                  </a:lnTo>
                  <a:lnTo>
                    <a:pt x="8" y="143"/>
                  </a:lnTo>
                  <a:lnTo>
                    <a:pt x="8" y="141"/>
                  </a:lnTo>
                  <a:lnTo>
                    <a:pt x="8" y="140"/>
                  </a:lnTo>
                  <a:lnTo>
                    <a:pt x="8" y="139"/>
                  </a:lnTo>
                  <a:lnTo>
                    <a:pt x="8" y="137"/>
                  </a:lnTo>
                  <a:lnTo>
                    <a:pt x="8" y="134"/>
                  </a:lnTo>
                  <a:lnTo>
                    <a:pt x="9" y="126"/>
                  </a:lnTo>
                  <a:lnTo>
                    <a:pt x="11" y="120"/>
                  </a:lnTo>
                  <a:lnTo>
                    <a:pt x="11" y="117"/>
                  </a:lnTo>
                  <a:lnTo>
                    <a:pt x="12" y="112"/>
                  </a:lnTo>
                  <a:lnTo>
                    <a:pt x="12" y="105"/>
                  </a:lnTo>
                  <a:lnTo>
                    <a:pt x="12" y="103"/>
                  </a:lnTo>
                  <a:lnTo>
                    <a:pt x="12" y="100"/>
                  </a:lnTo>
                  <a:lnTo>
                    <a:pt x="13" y="98"/>
                  </a:lnTo>
                  <a:lnTo>
                    <a:pt x="14" y="96"/>
                  </a:lnTo>
                  <a:lnTo>
                    <a:pt x="16" y="94"/>
                  </a:lnTo>
                  <a:lnTo>
                    <a:pt x="17" y="91"/>
                  </a:lnTo>
                  <a:lnTo>
                    <a:pt x="19" y="89"/>
                  </a:lnTo>
                  <a:lnTo>
                    <a:pt x="21" y="86"/>
                  </a:lnTo>
                  <a:lnTo>
                    <a:pt x="25" y="81"/>
                  </a:lnTo>
                  <a:lnTo>
                    <a:pt x="27" y="79"/>
                  </a:lnTo>
                  <a:lnTo>
                    <a:pt x="28" y="76"/>
                  </a:lnTo>
                  <a:lnTo>
                    <a:pt x="32" y="70"/>
                  </a:lnTo>
                  <a:lnTo>
                    <a:pt x="33" y="67"/>
                  </a:lnTo>
                  <a:lnTo>
                    <a:pt x="34" y="65"/>
                  </a:lnTo>
                  <a:lnTo>
                    <a:pt x="36" y="62"/>
                  </a:lnTo>
                  <a:lnTo>
                    <a:pt x="38" y="61"/>
                  </a:lnTo>
                  <a:lnTo>
                    <a:pt x="39" y="60"/>
                  </a:lnTo>
                  <a:lnTo>
                    <a:pt x="41" y="59"/>
                  </a:lnTo>
                  <a:lnTo>
                    <a:pt x="43" y="57"/>
                  </a:lnTo>
                  <a:lnTo>
                    <a:pt x="45" y="55"/>
                  </a:lnTo>
                  <a:lnTo>
                    <a:pt x="48" y="54"/>
                  </a:lnTo>
                  <a:lnTo>
                    <a:pt x="51" y="53"/>
                  </a:lnTo>
                  <a:lnTo>
                    <a:pt x="55" y="52"/>
                  </a:lnTo>
                  <a:lnTo>
                    <a:pt x="62" y="52"/>
                  </a:lnTo>
                  <a:lnTo>
                    <a:pt x="66" y="51"/>
                  </a:lnTo>
                  <a:lnTo>
                    <a:pt x="72" y="50"/>
                  </a:lnTo>
                  <a:lnTo>
                    <a:pt x="76" y="49"/>
                  </a:lnTo>
                  <a:lnTo>
                    <a:pt x="78" y="49"/>
                  </a:lnTo>
                  <a:lnTo>
                    <a:pt x="80" y="48"/>
                  </a:lnTo>
                  <a:lnTo>
                    <a:pt x="81" y="47"/>
                  </a:lnTo>
                  <a:lnTo>
                    <a:pt x="82" y="46"/>
                  </a:lnTo>
                  <a:lnTo>
                    <a:pt x="83" y="44"/>
                  </a:lnTo>
                  <a:lnTo>
                    <a:pt x="84" y="42"/>
                  </a:lnTo>
                  <a:lnTo>
                    <a:pt x="85" y="41"/>
                  </a:lnTo>
                  <a:lnTo>
                    <a:pt x="85" y="39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4" y="36"/>
                  </a:lnTo>
                  <a:lnTo>
                    <a:pt x="83" y="35"/>
                  </a:lnTo>
                  <a:lnTo>
                    <a:pt x="81" y="34"/>
                  </a:lnTo>
                  <a:lnTo>
                    <a:pt x="80" y="33"/>
                  </a:lnTo>
                  <a:lnTo>
                    <a:pt x="79" y="32"/>
                  </a:lnTo>
                  <a:lnTo>
                    <a:pt x="78" y="32"/>
                  </a:lnTo>
                  <a:lnTo>
                    <a:pt x="76" y="31"/>
                  </a:lnTo>
                  <a:lnTo>
                    <a:pt x="69" y="29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5" y="26"/>
                  </a:lnTo>
                  <a:lnTo>
                    <a:pt x="66" y="25"/>
                  </a:lnTo>
                  <a:lnTo>
                    <a:pt x="66" y="24"/>
                  </a:lnTo>
                  <a:lnTo>
                    <a:pt x="67" y="22"/>
                  </a:lnTo>
                  <a:lnTo>
                    <a:pt x="68" y="20"/>
                  </a:lnTo>
                  <a:lnTo>
                    <a:pt x="72" y="16"/>
                  </a:lnTo>
                  <a:lnTo>
                    <a:pt x="74" y="15"/>
                  </a:lnTo>
                  <a:lnTo>
                    <a:pt x="76" y="14"/>
                  </a:lnTo>
                  <a:lnTo>
                    <a:pt x="78" y="12"/>
                  </a:lnTo>
                  <a:lnTo>
                    <a:pt x="80" y="10"/>
                  </a:lnTo>
                  <a:lnTo>
                    <a:pt x="83" y="9"/>
                  </a:lnTo>
                  <a:lnTo>
                    <a:pt x="85" y="8"/>
                  </a:lnTo>
                  <a:lnTo>
                    <a:pt x="88" y="7"/>
                  </a:lnTo>
                  <a:lnTo>
                    <a:pt x="89" y="7"/>
                  </a:lnTo>
                  <a:lnTo>
                    <a:pt x="92" y="7"/>
                  </a:lnTo>
                  <a:lnTo>
                    <a:pt x="95" y="8"/>
                  </a:lnTo>
                  <a:lnTo>
                    <a:pt x="96" y="8"/>
                  </a:lnTo>
                  <a:lnTo>
                    <a:pt x="97" y="9"/>
                  </a:lnTo>
                  <a:lnTo>
                    <a:pt x="98" y="10"/>
                  </a:lnTo>
                  <a:lnTo>
                    <a:pt x="99" y="11"/>
                  </a:lnTo>
                  <a:lnTo>
                    <a:pt x="100" y="13"/>
                  </a:lnTo>
                  <a:lnTo>
                    <a:pt x="102" y="16"/>
                  </a:lnTo>
                  <a:lnTo>
                    <a:pt x="103" y="19"/>
                  </a:lnTo>
                  <a:lnTo>
                    <a:pt x="105" y="21"/>
                  </a:lnTo>
                  <a:lnTo>
                    <a:pt x="106" y="23"/>
                  </a:lnTo>
                  <a:lnTo>
                    <a:pt x="107" y="23"/>
                  </a:lnTo>
                  <a:lnTo>
                    <a:pt x="108" y="24"/>
                  </a:lnTo>
                  <a:lnTo>
                    <a:pt x="109" y="2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1" name="Freeform 64">
              <a:extLst>
                <a:ext uri="{FF2B5EF4-FFF2-40B4-BE49-F238E27FC236}">
                  <a16:creationId xmlns:a16="http://schemas.microsoft.com/office/drawing/2014/main" id="{C3A47BF4-20F6-4054-AC7C-3C78AF60A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2837"/>
              <a:ext cx="42" cy="28"/>
            </a:xfrm>
            <a:custGeom>
              <a:avLst/>
              <a:gdLst>
                <a:gd name="T0" fmla="*/ 0 w 42"/>
                <a:gd name="T1" fmla="*/ 27 h 28"/>
                <a:gd name="T2" fmla="*/ 1 w 42"/>
                <a:gd name="T3" fmla="*/ 27 h 28"/>
                <a:gd name="T4" fmla="*/ 3 w 42"/>
                <a:gd name="T5" fmla="*/ 28 h 28"/>
                <a:gd name="T6" fmla="*/ 4 w 42"/>
                <a:gd name="T7" fmla="*/ 28 h 28"/>
                <a:gd name="T8" fmla="*/ 6 w 42"/>
                <a:gd name="T9" fmla="*/ 27 h 28"/>
                <a:gd name="T10" fmla="*/ 8 w 42"/>
                <a:gd name="T11" fmla="*/ 26 h 28"/>
                <a:gd name="T12" fmla="*/ 9 w 42"/>
                <a:gd name="T13" fmla="*/ 26 h 28"/>
                <a:gd name="T14" fmla="*/ 10 w 42"/>
                <a:gd name="T15" fmla="*/ 25 h 28"/>
                <a:gd name="T16" fmla="*/ 12 w 42"/>
                <a:gd name="T17" fmla="*/ 23 h 28"/>
                <a:gd name="T18" fmla="*/ 13 w 42"/>
                <a:gd name="T19" fmla="*/ 21 h 28"/>
                <a:gd name="T20" fmla="*/ 14 w 42"/>
                <a:gd name="T21" fmla="*/ 19 h 28"/>
                <a:gd name="T22" fmla="*/ 14 w 42"/>
                <a:gd name="T23" fmla="*/ 18 h 28"/>
                <a:gd name="T24" fmla="*/ 18 w 42"/>
                <a:gd name="T25" fmla="*/ 9 h 28"/>
                <a:gd name="T26" fmla="*/ 22 w 42"/>
                <a:gd name="T27" fmla="*/ 2 h 28"/>
                <a:gd name="T28" fmla="*/ 23 w 42"/>
                <a:gd name="T29" fmla="*/ 0 h 28"/>
                <a:gd name="T30" fmla="*/ 42 w 42"/>
                <a:gd name="T3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28">
                  <a:moveTo>
                    <a:pt x="0" y="27"/>
                  </a:moveTo>
                  <a:lnTo>
                    <a:pt x="1" y="27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6" y="27"/>
                  </a:lnTo>
                  <a:lnTo>
                    <a:pt x="8" y="26"/>
                  </a:lnTo>
                  <a:lnTo>
                    <a:pt x="9" y="26"/>
                  </a:lnTo>
                  <a:lnTo>
                    <a:pt x="10" y="25"/>
                  </a:lnTo>
                  <a:lnTo>
                    <a:pt x="12" y="23"/>
                  </a:lnTo>
                  <a:lnTo>
                    <a:pt x="13" y="21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8" y="9"/>
                  </a:lnTo>
                  <a:lnTo>
                    <a:pt x="22" y="2"/>
                  </a:lnTo>
                  <a:lnTo>
                    <a:pt x="23" y="0"/>
                  </a:lnTo>
                  <a:lnTo>
                    <a:pt x="42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2" name="Freeform 65">
              <a:extLst>
                <a:ext uri="{FF2B5EF4-FFF2-40B4-BE49-F238E27FC236}">
                  <a16:creationId xmlns:a16="http://schemas.microsoft.com/office/drawing/2014/main" id="{1D23CBC4-CE42-42A5-B70A-C6387ADBD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2" y="3318"/>
              <a:ext cx="523" cy="520"/>
            </a:xfrm>
            <a:custGeom>
              <a:avLst/>
              <a:gdLst>
                <a:gd name="T0" fmla="*/ 364 w 523"/>
                <a:gd name="T1" fmla="*/ 30 h 520"/>
                <a:gd name="T2" fmla="*/ 373 w 523"/>
                <a:gd name="T3" fmla="*/ 68 h 520"/>
                <a:gd name="T4" fmla="*/ 392 w 523"/>
                <a:gd name="T5" fmla="*/ 83 h 520"/>
                <a:gd name="T6" fmla="*/ 394 w 523"/>
                <a:gd name="T7" fmla="*/ 121 h 520"/>
                <a:gd name="T8" fmla="*/ 393 w 523"/>
                <a:gd name="T9" fmla="*/ 143 h 520"/>
                <a:gd name="T10" fmla="*/ 404 w 523"/>
                <a:gd name="T11" fmla="*/ 157 h 520"/>
                <a:gd name="T12" fmla="*/ 385 w 523"/>
                <a:gd name="T13" fmla="*/ 162 h 520"/>
                <a:gd name="T14" fmla="*/ 377 w 523"/>
                <a:gd name="T15" fmla="*/ 181 h 520"/>
                <a:gd name="T16" fmla="*/ 384 w 523"/>
                <a:gd name="T17" fmla="*/ 226 h 520"/>
                <a:gd name="T18" fmla="*/ 410 w 523"/>
                <a:gd name="T19" fmla="*/ 262 h 520"/>
                <a:gd name="T20" fmla="*/ 429 w 523"/>
                <a:gd name="T21" fmla="*/ 285 h 520"/>
                <a:gd name="T22" fmla="*/ 455 w 523"/>
                <a:gd name="T23" fmla="*/ 281 h 520"/>
                <a:gd name="T24" fmla="*/ 473 w 523"/>
                <a:gd name="T25" fmla="*/ 286 h 520"/>
                <a:gd name="T26" fmla="*/ 503 w 523"/>
                <a:gd name="T27" fmla="*/ 306 h 520"/>
                <a:gd name="T28" fmla="*/ 523 w 523"/>
                <a:gd name="T29" fmla="*/ 308 h 520"/>
                <a:gd name="T30" fmla="*/ 505 w 523"/>
                <a:gd name="T31" fmla="*/ 331 h 520"/>
                <a:gd name="T32" fmla="*/ 461 w 523"/>
                <a:gd name="T33" fmla="*/ 402 h 520"/>
                <a:gd name="T34" fmla="*/ 437 w 523"/>
                <a:gd name="T35" fmla="*/ 455 h 520"/>
                <a:gd name="T36" fmla="*/ 424 w 523"/>
                <a:gd name="T37" fmla="*/ 502 h 520"/>
                <a:gd name="T38" fmla="*/ 408 w 523"/>
                <a:gd name="T39" fmla="*/ 520 h 520"/>
                <a:gd name="T40" fmla="*/ 398 w 523"/>
                <a:gd name="T41" fmla="*/ 514 h 520"/>
                <a:gd name="T42" fmla="*/ 391 w 523"/>
                <a:gd name="T43" fmla="*/ 465 h 520"/>
                <a:gd name="T44" fmla="*/ 382 w 523"/>
                <a:gd name="T45" fmla="*/ 422 h 520"/>
                <a:gd name="T46" fmla="*/ 362 w 523"/>
                <a:gd name="T47" fmla="*/ 408 h 520"/>
                <a:gd name="T48" fmla="*/ 333 w 523"/>
                <a:gd name="T49" fmla="*/ 413 h 520"/>
                <a:gd name="T50" fmla="*/ 278 w 523"/>
                <a:gd name="T51" fmla="*/ 413 h 520"/>
                <a:gd name="T52" fmla="*/ 251 w 523"/>
                <a:gd name="T53" fmla="*/ 397 h 520"/>
                <a:gd name="T54" fmla="*/ 223 w 523"/>
                <a:gd name="T55" fmla="*/ 389 h 520"/>
                <a:gd name="T56" fmla="*/ 202 w 523"/>
                <a:gd name="T57" fmla="*/ 384 h 520"/>
                <a:gd name="T58" fmla="*/ 194 w 523"/>
                <a:gd name="T59" fmla="*/ 352 h 520"/>
                <a:gd name="T60" fmla="*/ 178 w 523"/>
                <a:gd name="T61" fmla="*/ 336 h 520"/>
                <a:gd name="T62" fmla="*/ 147 w 523"/>
                <a:gd name="T63" fmla="*/ 334 h 520"/>
                <a:gd name="T64" fmla="*/ 102 w 523"/>
                <a:gd name="T65" fmla="*/ 313 h 520"/>
                <a:gd name="T66" fmla="*/ 87 w 523"/>
                <a:gd name="T67" fmla="*/ 308 h 520"/>
                <a:gd name="T68" fmla="*/ 50 w 523"/>
                <a:gd name="T69" fmla="*/ 311 h 520"/>
                <a:gd name="T70" fmla="*/ 30 w 523"/>
                <a:gd name="T71" fmla="*/ 305 h 520"/>
                <a:gd name="T72" fmla="*/ 6 w 523"/>
                <a:gd name="T73" fmla="*/ 289 h 520"/>
                <a:gd name="T74" fmla="*/ 0 w 523"/>
                <a:gd name="T75" fmla="*/ 258 h 520"/>
                <a:gd name="T76" fmla="*/ 8 w 523"/>
                <a:gd name="T77" fmla="*/ 229 h 520"/>
                <a:gd name="T78" fmla="*/ 13 w 523"/>
                <a:gd name="T79" fmla="*/ 210 h 520"/>
                <a:gd name="T80" fmla="*/ 35 w 523"/>
                <a:gd name="T81" fmla="*/ 198 h 520"/>
                <a:gd name="T82" fmla="*/ 60 w 523"/>
                <a:gd name="T83" fmla="*/ 201 h 520"/>
                <a:gd name="T84" fmla="*/ 94 w 523"/>
                <a:gd name="T85" fmla="*/ 204 h 520"/>
                <a:gd name="T86" fmla="*/ 116 w 523"/>
                <a:gd name="T87" fmla="*/ 206 h 520"/>
                <a:gd name="T88" fmla="*/ 126 w 523"/>
                <a:gd name="T89" fmla="*/ 219 h 520"/>
                <a:gd name="T90" fmla="*/ 142 w 523"/>
                <a:gd name="T91" fmla="*/ 215 h 520"/>
                <a:gd name="T92" fmla="*/ 144 w 523"/>
                <a:gd name="T93" fmla="*/ 193 h 520"/>
                <a:gd name="T94" fmla="*/ 140 w 523"/>
                <a:gd name="T95" fmla="*/ 147 h 520"/>
                <a:gd name="T96" fmla="*/ 161 w 523"/>
                <a:gd name="T97" fmla="*/ 113 h 520"/>
                <a:gd name="T98" fmla="*/ 181 w 523"/>
                <a:gd name="T99" fmla="*/ 74 h 520"/>
                <a:gd name="T100" fmla="*/ 212 w 523"/>
                <a:gd name="T101" fmla="*/ 36 h 520"/>
                <a:gd name="T102" fmla="*/ 246 w 523"/>
                <a:gd name="T103" fmla="*/ 37 h 520"/>
                <a:gd name="T104" fmla="*/ 276 w 523"/>
                <a:gd name="T105" fmla="*/ 35 h 520"/>
                <a:gd name="T106" fmla="*/ 294 w 523"/>
                <a:gd name="T107" fmla="*/ 15 h 520"/>
                <a:gd name="T108" fmla="*/ 306 w 523"/>
                <a:gd name="T109" fmla="*/ 25 h 520"/>
                <a:gd name="T110" fmla="*/ 325 w 523"/>
                <a:gd name="T111" fmla="*/ 17 h 520"/>
                <a:gd name="T112" fmla="*/ 344 w 523"/>
                <a:gd name="T113" fmla="*/ 12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3" h="520">
                  <a:moveTo>
                    <a:pt x="357" y="1"/>
                  </a:moveTo>
                  <a:lnTo>
                    <a:pt x="364" y="0"/>
                  </a:lnTo>
                  <a:lnTo>
                    <a:pt x="364" y="5"/>
                  </a:lnTo>
                  <a:lnTo>
                    <a:pt x="364" y="9"/>
                  </a:lnTo>
                  <a:lnTo>
                    <a:pt x="364" y="13"/>
                  </a:lnTo>
                  <a:lnTo>
                    <a:pt x="363" y="20"/>
                  </a:lnTo>
                  <a:lnTo>
                    <a:pt x="363" y="23"/>
                  </a:lnTo>
                  <a:lnTo>
                    <a:pt x="363" y="26"/>
                  </a:lnTo>
                  <a:lnTo>
                    <a:pt x="364" y="30"/>
                  </a:lnTo>
                  <a:lnTo>
                    <a:pt x="365" y="36"/>
                  </a:lnTo>
                  <a:lnTo>
                    <a:pt x="366" y="41"/>
                  </a:lnTo>
                  <a:lnTo>
                    <a:pt x="367" y="46"/>
                  </a:lnTo>
                  <a:lnTo>
                    <a:pt x="371" y="55"/>
                  </a:lnTo>
                  <a:lnTo>
                    <a:pt x="371" y="59"/>
                  </a:lnTo>
                  <a:lnTo>
                    <a:pt x="371" y="63"/>
                  </a:lnTo>
                  <a:lnTo>
                    <a:pt x="372" y="65"/>
                  </a:lnTo>
                  <a:lnTo>
                    <a:pt x="373" y="66"/>
                  </a:lnTo>
                  <a:lnTo>
                    <a:pt x="373" y="68"/>
                  </a:lnTo>
                  <a:lnTo>
                    <a:pt x="374" y="69"/>
                  </a:lnTo>
                  <a:lnTo>
                    <a:pt x="375" y="70"/>
                  </a:lnTo>
                  <a:lnTo>
                    <a:pt x="377" y="70"/>
                  </a:lnTo>
                  <a:lnTo>
                    <a:pt x="382" y="73"/>
                  </a:lnTo>
                  <a:lnTo>
                    <a:pt x="384" y="75"/>
                  </a:lnTo>
                  <a:lnTo>
                    <a:pt x="386" y="77"/>
                  </a:lnTo>
                  <a:lnTo>
                    <a:pt x="389" y="80"/>
                  </a:lnTo>
                  <a:lnTo>
                    <a:pt x="391" y="81"/>
                  </a:lnTo>
                  <a:lnTo>
                    <a:pt x="392" y="83"/>
                  </a:lnTo>
                  <a:lnTo>
                    <a:pt x="394" y="87"/>
                  </a:lnTo>
                  <a:lnTo>
                    <a:pt x="395" y="90"/>
                  </a:lnTo>
                  <a:lnTo>
                    <a:pt x="396" y="93"/>
                  </a:lnTo>
                  <a:lnTo>
                    <a:pt x="396" y="96"/>
                  </a:lnTo>
                  <a:lnTo>
                    <a:pt x="396" y="99"/>
                  </a:lnTo>
                  <a:lnTo>
                    <a:pt x="396" y="107"/>
                  </a:lnTo>
                  <a:lnTo>
                    <a:pt x="395" y="113"/>
                  </a:lnTo>
                  <a:lnTo>
                    <a:pt x="395" y="117"/>
                  </a:lnTo>
                  <a:lnTo>
                    <a:pt x="394" y="121"/>
                  </a:lnTo>
                  <a:lnTo>
                    <a:pt x="394" y="124"/>
                  </a:lnTo>
                  <a:lnTo>
                    <a:pt x="392" y="131"/>
                  </a:lnTo>
                  <a:lnTo>
                    <a:pt x="392" y="134"/>
                  </a:lnTo>
                  <a:lnTo>
                    <a:pt x="391" y="136"/>
                  </a:lnTo>
                  <a:lnTo>
                    <a:pt x="391" y="138"/>
                  </a:lnTo>
                  <a:lnTo>
                    <a:pt x="391" y="139"/>
                  </a:lnTo>
                  <a:lnTo>
                    <a:pt x="392" y="140"/>
                  </a:lnTo>
                  <a:lnTo>
                    <a:pt x="392" y="141"/>
                  </a:lnTo>
                  <a:lnTo>
                    <a:pt x="393" y="143"/>
                  </a:lnTo>
                  <a:lnTo>
                    <a:pt x="394" y="146"/>
                  </a:lnTo>
                  <a:lnTo>
                    <a:pt x="396" y="148"/>
                  </a:lnTo>
                  <a:lnTo>
                    <a:pt x="397" y="149"/>
                  </a:lnTo>
                  <a:lnTo>
                    <a:pt x="398" y="150"/>
                  </a:lnTo>
                  <a:lnTo>
                    <a:pt x="402" y="152"/>
                  </a:lnTo>
                  <a:lnTo>
                    <a:pt x="403" y="154"/>
                  </a:lnTo>
                  <a:lnTo>
                    <a:pt x="404" y="155"/>
                  </a:lnTo>
                  <a:lnTo>
                    <a:pt x="404" y="156"/>
                  </a:lnTo>
                  <a:lnTo>
                    <a:pt x="404" y="157"/>
                  </a:lnTo>
                  <a:lnTo>
                    <a:pt x="404" y="159"/>
                  </a:lnTo>
                  <a:lnTo>
                    <a:pt x="403" y="160"/>
                  </a:lnTo>
                  <a:lnTo>
                    <a:pt x="402" y="160"/>
                  </a:lnTo>
                  <a:lnTo>
                    <a:pt x="400" y="161"/>
                  </a:lnTo>
                  <a:lnTo>
                    <a:pt x="399" y="161"/>
                  </a:lnTo>
                  <a:lnTo>
                    <a:pt x="394" y="161"/>
                  </a:lnTo>
                  <a:lnTo>
                    <a:pt x="391" y="161"/>
                  </a:lnTo>
                  <a:lnTo>
                    <a:pt x="387" y="161"/>
                  </a:lnTo>
                  <a:lnTo>
                    <a:pt x="385" y="162"/>
                  </a:lnTo>
                  <a:lnTo>
                    <a:pt x="384" y="163"/>
                  </a:lnTo>
                  <a:lnTo>
                    <a:pt x="382" y="164"/>
                  </a:lnTo>
                  <a:lnTo>
                    <a:pt x="380" y="166"/>
                  </a:lnTo>
                  <a:lnTo>
                    <a:pt x="379" y="168"/>
                  </a:lnTo>
                  <a:lnTo>
                    <a:pt x="378" y="170"/>
                  </a:lnTo>
                  <a:lnTo>
                    <a:pt x="378" y="172"/>
                  </a:lnTo>
                  <a:lnTo>
                    <a:pt x="377" y="172"/>
                  </a:lnTo>
                  <a:lnTo>
                    <a:pt x="377" y="174"/>
                  </a:lnTo>
                  <a:lnTo>
                    <a:pt x="377" y="181"/>
                  </a:lnTo>
                  <a:lnTo>
                    <a:pt x="377" y="188"/>
                  </a:lnTo>
                  <a:lnTo>
                    <a:pt x="378" y="194"/>
                  </a:lnTo>
                  <a:lnTo>
                    <a:pt x="378" y="197"/>
                  </a:lnTo>
                  <a:lnTo>
                    <a:pt x="380" y="216"/>
                  </a:lnTo>
                  <a:lnTo>
                    <a:pt x="381" y="217"/>
                  </a:lnTo>
                  <a:lnTo>
                    <a:pt x="381" y="219"/>
                  </a:lnTo>
                  <a:lnTo>
                    <a:pt x="382" y="221"/>
                  </a:lnTo>
                  <a:lnTo>
                    <a:pt x="382" y="222"/>
                  </a:lnTo>
                  <a:lnTo>
                    <a:pt x="384" y="226"/>
                  </a:lnTo>
                  <a:lnTo>
                    <a:pt x="387" y="229"/>
                  </a:lnTo>
                  <a:lnTo>
                    <a:pt x="390" y="233"/>
                  </a:lnTo>
                  <a:lnTo>
                    <a:pt x="396" y="240"/>
                  </a:lnTo>
                  <a:lnTo>
                    <a:pt x="398" y="242"/>
                  </a:lnTo>
                  <a:lnTo>
                    <a:pt x="401" y="245"/>
                  </a:lnTo>
                  <a:lnTo>
                    <a:pt x="404" y="249"/>
                  </a:lnTo>
                  <a:lnTo>
                    <a:pt x="406" y="253"/>
                  </a:lnTo>
                  <a:lnTo>
                    <a:pt x="408" y="258"/>
                  </a:lnTo>
                  <a:lnTo>
                    <a:pt x="410" y="262"/>
                  </a:lnTo>
                  <a:lnTo>
                    <a:pt x="415" y="274"/>
                  </a:lnTo>
                  <a:lnTo>
                    <a:pt x="417" y="277"/>
                  </a:lnTo>
                  <a:lnTo>
                    <a:pt x="418" y="280"/>
                  </a:lnTo>
                  <a:lnTo>
                    <a:pt x="420" y="281"/>
                  </a:lnTo>
                  <a:lnTo>
                    <a:pt x="421" y="283"/>
                  </a:lnTo>
                  <a:lnTo>
                    <a:pt x="423" y="284"/>
                  </a:lnTo>
                  <a:lnTo>
                    <a:pt x="424" y="284"/>
                  </a:lnTo>
                  <a:lnTo>
                    <a:pt x="426" y="285"/>
                  </a:lnTo>
                  <a:lnTo>
                    <a:pt x="429" y="285"/>
                  </a:lnTo>
                  <a:lnTo>
                    <a:pt x="432" y="286"/>
                  </a:lnTo>
                  <a:lnTo>
                    <a:pt x="434" y="286"/>
                  </a:lnTo>
                  <a:lnTo>
                    <a:pt x="436" y="286"/>
                  </a:lnTo>
                  <a:lnTo>
                    <a:pt x="439" y="286"/>
                  </a:lnTo>
                  <a:lnTo>
                    <a:pt x="440" y="285"/>
                  </a:lnTo>
                  <a:lnTo>
                    <a:pt x="443" y="285"/>
                  </a:lnTo>
                  <a:lnTo>
                    <a:pt x="450" y="283"/>
                  </a:lnTo>
                  <a:lnTo>
                    <a:pt x="452" y="282"/>
                  </a:lnTo>
                  <a:lnTo>
                    <a:pt x="455" y="281"/>
                  </a:lnTo>
                  <a:lnTo>
                    <a:pt x="458" y="281"/>
                  </a:lnTo>
                  <a:lnTo>
                    <a:pt x="460" y="281"/>
                  </a:lnTo>
                  <a:lnTo>
                    <a:pt x="462" y="281"/>
                  </a:lnTo>
                  <a:lnTo>
                    <a:pt x="463" y="282"/>
                  </a:lnTo>
                  <a:lnTo>
                    <a:pt x="465" y="282"/>
                  </a:lnTo>
                  <a:lnTo>
                    <a:pt x="468" y="283"/>
                  </a:lnTo>
                  <a:lnTo>
                    <a:pt x="470" y="284"/>
                  </a:lnTo>
                  <a:lnTo>
                    <a:pt x="472" y="285"/>
                  </a:lnTo>
                  <a:lnTo>
                    <a:pt x="473" y="286"/>
                  </a:lnTo>
                  <a:lnTo>
                    <a:pt x="476" y="288"/>
                  </a:lnTo>
                  <a:lnTo>
                    <a:pt x="479" y="290"/>
                  </a:lnTo>
                  <a:lnTo>
                    <a:pt x="484" y="295"/>
                  </a:lnTo>
                  <a:lnTo>
                    <a:pt x="485" y="296"/>
                  </a:lnTo>
                  <a:lnTo>
                    <a:pt x="488" y="297"/>
                  </a:lnTo>
                  <a:lnTo>
                    <a:pt x="492" y="300"/>
                  </a:lnTo>
                  <a:lnTo>
                    <a:pt x="496" y="303"/>
                  </a:lnTo>
                  <a:lnTo>
                    <a:pt x="499" y="304"/>
                  </a:lnTo>
                  <a:lnTo>
                    <a:pt x="503" y="306"/>
                  </a:lnTo>
                  <a:lnTo>
                    <a:pt x="507" y="308"/>
                  </a:lnTo>
                  <a:lnTo>
                    <a:pt x="509" y="308"/>
                  </a:lnTo>
                  <a:lnTo>
                    <a:pt x="512" y="308"/>
                  </a:lnTo>
                  <a:lnTo>
                    <a:pt x="516" y="309"/>
                  </a:lnTo>
                  <a:lnTo>
                    <a:pt x="519" y="309"/>
                  </a:lnTo>
                  <a:lnTo>
                    <a:pt x="520" y="308"/>
                  </a:lnTo>
                  <a:lnTo>
                    <a:pt x="521" y="308"/>
                  </a:lnTo>
                  <a:lnTo>
                    <a:pt x="522" y="308"/>
                  </a:lnTo>
                  <a:lnTo>
                    <a:pt x="523" y="308"/>
                  </a:lnTo>
                  <a:lnTo>
                    <a:pt x="523" y="307"/>
                  </a:lnTo>
                  <a:lnTo>
                    <a:pt x="523" y="308"/>
                  </a:lnTo>
                  <a:lnTo>
                    <a:pt x="523" y="308"/>
                  </a:lnTo>
                  <a:lnTo>
                    <a:pt x="522" y="310"/>
                  </a:lnTo>
                  <a:lnTo>
                    <a:pt x="521" y="311"/>
                  </a:lnTo>
                  <a:lnTo>
                    <a:pt x="519" y="314"/>
                  </a:lnTo>
                  <a:lnTo>
                    <a:pt x="518" y="318"/>
                  </a:lnTo>
                  <a:lnTo>
                    <a:pt x="514" y="321"/>
                  </a:lnTo>
                  <a:lnTo>
                    <a:pt x="505" y="331"/>
                  </a:lnTo>
                  <a:lnTo>
                    <a:pt x="494" y="342"/>
                  </a:lnTo>
                  <a:lnTo>
                    <a:pt x="491" y="346"/>
                  </a:lnTo>
                  <a:lnTo>
                    <a:pt x="488" y="349"/>
                  </a:lnTo>
                  <a:lnTo>
                    <a:pt x="486" y="352"/>
                  </a:lnTo>
                  <a:lnTo>
                    <a:pt x="485" y="354"/>
                  </a:lnTo>
                  <a:lnTo>
                    <a:pt x="475" y="371"/>
                  </a:lnTo>
                  <a:lnTo>
                    <a:pt x="469" y="384"/>
                  </a:lnTo>
                  <a:lnTo>
                    <a:pt x="465" y="391"/>
                  </a:lnTo>
                  <a:lnTo>
                    <a:pt x="461" y="402"/>
                  </a:lnTo>
                  <a:lnTo>
                    <a:pt x="456" y="411"/>
                  </a:lnTo>
                  <a:lnTo>
                    <a:pt x="454" y="415"/>
                  </a:lnTo>
                  <a:lnTo>
                    <a:pt x="452" y="420"/>
                  </a:lnTo>
                  <a:lnTo>
                    <a:pt x="450" y="429"/>
                  </a:lnTo>
                  <a:lnTo>
                    <a:pt x="448" y="433"/>
                  </a:lnTo>
                  <a:lnTo>
                    <a:pt x="446" y="438"/>
                  </a:lnTo>
                  <a:lnTo>
                    <a:pt x="441" y="446"/>
                  </a:lnTo>
                  <a:lnTo>
                    <a:pt x="439" y="450"/>
                  </a:lnTo>
                  <a:lnTo>
                    <a:pt x="437" y="455"/>
                  </a:lnTo>
                  <a:lnTo>
                    <a:pt x="434" y="461"/>
                  </a:lnTo>
                  <a:lnTo>
                    <a:pt x="432" y="466"/>
                  </a:lnTo>
                  <a:lnTo>
                    <a:pt x="431" y="470"/>
                  </a:lnTo>
                  <a:lnTo>
                    <a:pt x="430" y="477"/>
                  </a:lnTo>
                  <a:lnTo>
                    <a:pt x="428" y="488"/>
                  </a:lnTo>
                  <a:lnTo>
                    <a:pt x="428" y="492"/>
                  </a:lnTo>
                  <a:lnTo>
                    <a:pt x="427" y="496"/>
                  </a:lnTo>
                  <a:lnTo>
                    <a:pt x="425" y="500"/>
                  </a:lnTo>
                  <a:lnTo>
                    <a:pt x="424" y="502"/>
                  </a:lnTo>
                  <a:lnTo>
                    <a:pt x="423" y="505"/>
                  </a:lnTo>
                  <a:lnTo>
                    <a:pt x="421" y="508"/>
                  </a:lnTo>
                  <a:lnTo>
                    <a:pt x="419" y="512"/>
                  </a:lnTo>
                  <a:lnTo>
                    <a:pt x="417" y="513"/>
                  </a:lnTo>
                  <a:lnTo>
                    <a:pt x="416" y="515"/>
                  </a:lnTo>
                  <a:lnTo>
                    <a:pt x="413" y="517"/>
                  </a:lnTo>
                  <a:lnTo>
                    <a:pt x="412" y="518"/>
                  </a:lnTo>
                  <a:lnTo>
                    <a:pt x="410" y="519"/>
                  </a:lnTo>
                  <a:lnTo>
                    <a:pt x="408" y="520"/>
                  </a:lnTo>
                  <a:lnTo>
                    <a:pt x="407" y="520"/>
                  </a:lnTo>
                  <a:lnTo>
                    <a:pt x="406" y="520"/>
                  </a:lnTo>
                  <a:lnTo>
                    <a:pt x="405" y="520"/>
                  </a:lnTo>
                  <a:lnTo>
                    <a:pt x="403" y="519"/>
                  </a:lnTo>
                  <a:lnTo>
                    <a:pt x="402" y="519"/>
                  </a:lnTo>
                  <a:lnTo>
                    <a:pt x="401" y="518"/>
                  </a:lnTo>
                  <a:lnTo>
                    <a:pt x="399" y="517"/>
                  </a:lnTo>
                  <a:lnTo>
                    <a:pt x="398" y="516"/>
                  </a:lnTo>
                  <a:lnTo>
                    <a:pt x="398" y="514"/>
                  </a:lnTo>
                  <a:lnTo>
                    <a:pt x="397" y="512"/>
                  </a:lnTo>
                  <a:lnTo>
                    <a:pt x="396" y="512"/>
                  </a:lnTo>
                  <a:lnTo>
                    <a:pt x="396" y="509"/>
                  </a:lnTo>
                  <a:lnTo>
                    <a:pt x="395" y="500"/>
                  </a:lnTo>
                  <a:lnTo>
                    <a:pt x="394" y="489"/>
                  </a:lnTo>
                  <a:lnTo>
                    <a:pt x="394" y="485"/>
                  </a:lnTo>
                  <a:lnTo>
                    <a:pt x="393" y="476"/>
                  </a:lnTo>
                  <a:lnTo>
                    <a:pt x="392" y="470"/>
                  </a:lnTo>
                  <a:lnTo>
                    <a:pt x="391" y="465"/>
                  </a:lnTo>
                  <a:lnTo>
                    <a:pt x="389" y="456"/>
                  </a:lnTo>
                  <a:lnTo>
                    <a:pt x="388" y="453"/>
                  </a:lnTo>
                  <a:lnTo>
                    <a:pt x="388" y="448"/>
                  </a:lnTo>
                  <a:lnTo>
                    <a:pt x="387" y="437"/>
                  </a:lnTo>
                  <a:lnTo>
                    <a:pt x="386" y="434"/>
                  </a:lnTo>
                  <a:lnTo>
                    <a:pt x="385" y="431"/>
                  </a:lnTo>
                  <a:lnTo>
                    <a:pt x="384" y="428"/>
                  </a:lnTo>
                  <a:lnTo>
                    <a:pt x="383" y="425"/>
                  </a:lnTo>
                  <a:lnTo>
                    <a:pt x="382" y="422"/>
                  </a:lnTo>
                  <a:lnTo>
                    <a:pt x="381" y="420"/>
                  </a:lnTo>
                  <a:lnTo>
                    <a:pt x="379" y="416"/>
                  </a:lnTo>
                  <a:lnTo>
                    <a:pt x="377" y="414"/>
                  </a:lnTo>
                  <a:lnTo>
                    <a:pt x="375" y="412"/>
                  </a:lnTo>
                  <a:lnTo>
                    <a:pt x="373" y="410"/>
                  </a:lnTo>
                  <a:lnTo>
                    <a:pt x="371" y="410"/>
                  </a:lnTo>
                  <a:lnTo>
                    <a:pt x="370" y="410"/>
                  </a:lnTo>
                  <a:lnTo>
                    <a:pt x="366" y="408"/>
                  </a:lnTo>
                  <a:lnTo>
                    <a:pt x="362" y="408"/>
                  </a:lnTo>
                  <a:lnTo>
                    <a:pt x="360" y="407"/>
                  </a:lnTo>
                  <a:lnTo>
                    <a:pt x="359" y="407"/>
                  </a:lnTo>
                  <a:lnTo>
                    <a:pt x="357" y="408"/>
                  </a:lnTo>
                  <a:lnTo>
                    <a:pt x="355" y="408"/>
                  </a:lnTo>
                  <a:lnTo>
                    <a:pt x="348" y="410"/>
                  </a:lnTo>
                  <a:lnTo>
                    <a:pt x="346" y="410"/>
                  </a:lnTo>
                  <a:lnTo>
                    <a:pt x="342" y="411"/>
                  </a:lnTo>
                  <a:lnTo>
                    <a:pt x="339" y="412"/>
                  </a:lnTo>
                  <a:lnTo>
                    <a:pt x="333" y="413"/>
                  </a:lnTo>
                  <a:lnTo>
                    <a:pt x="324" y="414"/>
                  </a:lnTo>
                  <a:lnTo>
                    <a:pt x="315" y="415"/>
                  </a:lnTo>
                  <a:lnTo>
                    <a:pt x="310" y="416"/>
                  </a:lnTo>
                  <a:lnTo>
                    <a:pt x="302" y="417"/>
                  </a:lnTo>
                  <a:lnTo>
                    <a:pt x="299" y="417"/>
                  </a:lnTo>
                  <a:lnTo>
                    <a:pt x="295" y="417"/>
                  </a:lnTo>
                  <a:lnTo>
                    <a:pt x="291" y="416"/>
                  </a:lnTo>
                  <a:lnTo>
                    <a:pt x="283" y="414"/>
                  </a:lnTo>
                  <a:lnTo>
                    <a:pt x="278" y="413"/>
                  </a:lnTo>
                  <a:lnTo>
                    <a:pt x="275" y="412"/>
                  </a:lnTo>
                  <a:lnTo>
                    <a:pt x="272" y="411"/>
                  </a:lnTo>
                  <a:lnTo>
                    <a:pt x="269" y="409"/>
                  </a:lnTo>
                  <a:lnTo>
                    <a:pt x="266" y="408"/>
                  </a:lnTo>
                  <a:lnTo>
                    <a:pt x="263" y="406"/>
                  </a:lnTo>
                  <a:lnTo>
                    <a:pt x="261" y="405"/>
                  </a:lnTo>
                  <a:lnTo>
                    <a:pt x="255" y="399"/>
                  </a:lnTo>
                  <a:lnTo>
                    <a:pt x="253" y="398"/>
                  </a:lnTo>
                  <a:lnTo>
                    <a:pt x="251" y="397"/>
                  </a:lnTo>
                  <a:lnTo>
                    <a:pt x="249" y="396"/>
                  </a:lnTo>
                  <a:lnTo>
                    <a:pt x="244" y="393"/>
                  </a:lnTo>
                  <a:lnTo>
                    <a:pt x="239" y="391"/>
                  </a:lnTo>
                  <a:lnTo>
                    <a:pt x="236" y="390"/>
                  </a:lnTo>
                  <a:lnTo>
                    <a:pt x="234" y="390"/>
                  </a:lnTo>
                  <a:lnTo>
                    <a:pt x="232" y="390"/>
                  </a:lnTo>
                  <a:lnTo>
                    <a:pt x="229" y="389"/>
                  </a:lnTo>
                  <a:lnTo>
                    <a:pt x="226" y="389"/>
                  </a:lnTo>
                  <a:lnTo>
                    <a:pt x="223" y="389"/>
                  </a:lnTo>
                  <a:lnTo>
                    <a:pt x="214" y="390"/>
                  </a:lnTo>
                  <a:lnTo>
                    <a:pt x="212" y="390"/>
                  </a:lnTo>
                  <a:lnTo>
                    <a:pt x="210" y="390"/>
                  </a:lnTo>
                  <a:lnTo>
                    <a:pt x="209" y="390"/>
                  </a:lnTo>
                  <a:lnTo>
                    <a:pt x="208" y="389"/>
                  </a:lnTo>
                  <a:lnTo>
                    <a:pt x="206" y="389"/>
                  </a:lnTo>
                  <a:lnTo>
                    <a:pt x="205" y="387"/>
                  </a:lnTo>
                  <a:lnTo>
                    <a:pt x="203" y="386"/>
                  </a:lnTo>
                  <a:lnTo>
                    <a:pt x="202" y="384"/>
                  </a:lnTo>
                  <a:lnTo>
                    <a:pt x="201" y="381"/>
                  </a:lnTo>
                  <a:lnTo>
                    <a:pt x="200" y="378"/>
                  </a:lnTo>
                  <a:lnTo>
                    <a:pt x="200" y="368"/>
                  </a:lnTo>
                  <a:lnTo>
                    <a:pt x="199" y="365"/>
                  </a:lnTo>
                  <a:lnTo>
                    <a:pt x="199" y="363"/>
                  </a:lnTo>
                  <a:lnTo>
                    <a:pt x="198" y="359"/>
                  </a:lnTo>
                  <a:lnTo>
                    <a:pt x="197" y="356"/>
                  </a:lnTo>
                  <a:lnTo>
                    <a:pt x="196" y="354"/>
                  </a:lnTo>
                  <a:lnTo>
                    <a:pt x="194" y="352"/>
                  </a:lnTo>
                  <a:lnTo>
                    <a:pt x="193" y="349"/>
                  </a:lnTo>
                  <a:lnTo>
                    <a:pt x="191" y="347"/>
                  </a:lnTo>
                  <a:lnTo>
                    <a:pt x="189" y="344"/>
                  </a:lnTo>
                  <a:lnTo>
                    <a:pt x="188" y="342"/>
                  </a:lnTo>
                  <a:lnTo>
                    <a:pt x="185" y="341"/>
                  </a:lnTo>
                  <a:lnTo>
                    <a:pt x="183" y="339"/>
                  </a:lnTo>
                  <a:lnTo>
                    <a:pt x="181" y="338"/>
                  </a:lnTo>
                  <a:lnTo>
                    <a:pt x="179" y="337"/>
                  </a:lnTo>
                  <a:lnTo>
                    <a:pt x="178" y="336"/>
                  </a:lnTo>
                  <a:lnTo>
                    <a:pt x="176" y="335"/>
                  </a:lnTo>
                  <a:lnTo>
                    <a:pt x="173" y="335"/>
                  </a:lnTo>
                  <a:lnTo>
                    <a:pt x="171" y="334"/>
                  </a:lnTo>
                  <a:lnTo>
                    <a:pt x="168" y="334"/>
                  </a:lnTo>
                  <a:lnTo>
                    <a:pt x="166" y="334"/>
                  </a:lnTo>
                  <a:lnTo>
                    <a:pt x="160" y="334"/>
                  </a:lnTo>
                  <a:lnTo>
                    <a:pt x="156" y="334"/>
                  </a:lnTo>
                  <a:lnTo>
                    <a:pt x="150" y="334"/>
                  </a:lnTo>
                  <a:lnTo>
                    <a:pt x="147" y="334"/>
                  </a:lnTo>
                  <a:lnTo>
                    <a:pt x="143" y="333"/>
                  </a:lnTo>
                  <a:lnTo>
                    <a:pt x="141" y="333"/>
                  </a:lnTo>
                  <a:lnTo>
                    <a:pt x="138" y="332"/>
                  </a:lnTo>
                  <a:lnTo>
                    <a:pt x="135" y="331"/>
                  </a:lnTo>
                  <a:lnTo>
                    <a:pt x="132" y="330"/>
                  </a:lnTo>
                  <a:lnTo>
                    <a:pt x="116" y="321"/>
                  </a:lnTo>
                  <a:lnTo>
                    <a:pt x="113" y="320"/>
                  </a:lnTo>
                  <a:lnTo>
                    <a:pt x="111" y="319"/>
                  </a:lnTo>
                  <a:lnTo>
                    <a:pt x="102" y="313"/>
                  </a:lnTo>
                  <a:lnTo>
                    <a:pt x="98" y="310"/>
                  </a:lnTo>
                  <a:lnTo>
                    <a:pt x="97" y="309"/>
                  </a:lnTo>
                  <a:lnTo>
                    <a:pt x="95" y="308"/>
                  </a:lnTo>
                  <a:lnTo>
                    <a:pt x="93" y="308"/>
                  </a:lnTo>
                  <a:lnTo>
                    <a:pt x="92" y="308"/>
                  </a:lnTo>
                  <a:lnTo>
                    <a:pt x="90" y="308"/>
                  </a:lnTo>
                  <a:lnTo>
                    <a:pt x="89" y="308"/>
                  </a:lnTo>
                  <a:lnTo>
                    <a:pt x="87" y="308"/>
                  </a:lnTo>
                  <a:lnTo>
                    <a:pt x="87" y="308"/>
                  </a:lnTo>
                  <a:lnTo>
                    <a:pt x="83" y="308"/>
                  </a:lnTo>
                  <a:lnTo>
                    <a:pt x="77" y="310"/>
                  </a:lnTo>
                  <a:lnTo>
                    <a:pt x="75" y="311"/>
                  </a:lnTo>
                  <a:lnTo>
                    <a:pt x="73" y="311"/>
                  </a:lnTo>
                  <a:lnTo>
                    <a:pt x="70" y="312"/>
                  </a:lnTo>
                  <a:lnTo>
                    <a:pt x="67" y="312"/>
                  </a:lnTo>
                  <a:lnTo>
                    <a:pt x="59" y="312"/>
                  </a:lnTo>
                  <a:lnTo>
                    <a:pt x="54" y="311"/>
                  </a:lnTo>
                  <a:lnTo>
                    <a:pt x="50" y="311"/>
                  </a:lnTo>
                  <a:lnTo>
                    <a:pt x="45" y="310"/>
                  </a:lnTo>
                  <a:lnTo>
                    <a:pt x="41" y="309"/>
                  </a:lnTo>
                  <a:lnTo>
                    <a:pt x="38" y="308"/>
                  </a:lnTo>
                  <a:lnTo>
                    <a:pt x="35" y="308"/>
                  </a:lnTo>
                  <a:lnTo>
                    <a:pt x="33" y="307"/>
                  </a:lnTo>
                  <a:lnTo>
                    <a:pt x="32" y="306"/>
                  </a:lnTo>
                  <a:lnTo>
                    <a:pt x="31" y="306"/>
                  </a:lnTo>
                  <a:lnTo>
                    <a:pt x="31" y="305"/>
                  </a:lnTo>
                  <a:lnTo>
                    <a:pt x="30" y="305"/>
                  </a:lnTo>
                  <a:lnTo>
                    <a:pt x="29" y="303"/>
                  </a:lnTo>
                  <a:lnTo>
                    <a:pt x="24" y="301"/>
                  </a:lnTo>
                  <a:lnTo>
                    <a:pt x="19" y="298"/>
                  </a:lnTo>
                  <a:lnTo>
                    <a:pt x="11" y="295"/>
                  </a:lnTo>
                  <a:lnTo>
                    <a:pt x="8" y="294"/>
                  </a:lnTo>
                  <a:lnTo>
                    <a:pt x="7" y="292"/>
                  </a:lnTo>
                  <a:lnTo>
                    <a:pt x="7" y="292"/>
                  </a:lnTo>
                  <a:lnTo>
                    <a:pt x="6" y="290"/>
                  </a:lnTo>
                  <a:lnTo>
                    <a:pt x="6" y="289"/>
                  </a:lnTo>
                  <a:lnTo>
                    <a:pt x="5" y="287"/>
                  </a:lnTo>
                  <a:lnTo>
                    <a:pt x="5" y="281"/>
                  </a:lnTo>
                  <a:lnTo>
                    <a:pt x="5" y="276"/>
                  </a:lnTo>
                  <a:lnTo>
                    <a:pt x="4" y="274"/>
                  </a:lnTo>
                  <a:lnTo>
                    <a:pt x="3" y="272"/>
                  </a:lnTo>
                  <a:lnTo>
                    <a:pt x="1" y="264"/>
                  </a:lnTo>
                  <a:lnTo>
                    <a:pt x="0" y="262"/>
                  </a:lnTo>
                  <a:lnTo>
                    <a:pt x="0" y="260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1" y="254"/>
                  </a:lnTo>
                  <a:lnTo>
                    <a:pt x="4" y="246"/>
                  </a:lnTo>
                  <a:lnTo>
                    <a:pt x="5" y="241"/>
                  </a:lnTo>
                  <a:lnTo>
                    <a:pt x="7" y="238"/>
                  </a:lnTo>
                  <a:lnTo>
                    <a:pt x="7" y="235"/>
                  </a:lnTo>
                  <a:lnTo>
                    <a:pt x="7" y="233"/>
                  </a:lnTo>
                  <a:lnTo>
                    <a:pt x="8" y="231"/>
                  </a:lnTo>
                  <a:lnTo>
                    <a:pt x="8" y="229"/>
                  </a:lnTo>
                  <a:lnTo>
                    <a:pt x="8" y="223"/>
                  </a:lnTo>
                  <a:lnTo>
                    <a:pt x="8" y="221"/>
                  </a:lnTo>
                  <a:lnTo>
                    <a:pt x="9" y="219"/>
                  </a:lnTo>
                  <a:lnTo>
                    <a:pt x="9" y="218"/>
                  </a:lnTo>
                  <a:lnTo>
                    <a:pt x="10" y="216"/>
                  </a:lnTo>
                  <a:lnTo>
                    <a:pt x="11" y="214"/>
                  </a:lnTo>
                  <a:lnTo>
                    <a:pt x="12" y="212"/>
                  </a:lnTo>
                  <a:lnTo>
                    <a:pt x="13" y="211"/>
                  </a:lnTo>
                  <a:lnTo>
                    <a:pt x="13" y="210"/>
                  </a:lnTo>
                  <a:lnTo>
                    <a:pt x="14" y="209"/>
                  </a:lnTo>
                  <a:lnTo>
                    <a:pt x="16" y="207"/>
                  </a:lnTo>
                  <a:lnTo>
                    <a:pt x="18" y="206"/>
                  </a:lnTo>
                  <a:lnTo>
                    <a:pt x="21" y="204"/>
                  </a:lnTo>
                  <a:lnTo>
                    <a:pt x="24" y="203"/>
                  </a:lnTo>
                  <a:lnTo>
                    <a:pt x="26" y="201"/>
                  </a:lnTo>
                  <a:lnTo>
                    <a:pt x="30" y="200"/>
                  </a:lnTo>
                  <a:lnTo>
                    <a:pt x="33" y="199"/>
                  </a:lnTo>
                  <a:lnTo>
                    <a:pt x="35" y="198"/>
                  </a:lnTo>
                  <a:lnTo>
                    <a:pt x="39" y="198"/>
                  </a:lnTo>
                  <a:lnTo>
                    <a:pt x="41" y="198"/>
                  </a:lnTo>
                  <a:lnTo>
                    <a:pt x="44" y="198"/>
                  </a:lnTo>
                  <a:lnTo>
                    <a:pt x="46" y="198"/>
                  </a:lnTo>
                  <a:lnTo>
                    <a:pt x="48" y="198"/>
                  </a:lnTo>
                  <a:lnTo>
                    <a:pt x="51" y="198"/>
                  </a:lnTo>
                  <a:lnTo>
                    <a:pt x="53" y="199"/>
                  </a:lnTo>
                  <a:lnTo>
                    <a:pt x="55" y="199"/>
                  </a:lnTo>
                  <a:lnTo>
                    <a:pt x="60" y="201"/>
                  </a:lnTo>
                  <a:lnTo>
                    <a:pt x="66" y="203"/>
                  </a:lnTo>
                  <a:lnTo>
                    <a:pt x="71" y="205"/>
                  </a:lnTo>
                  <a:lnTo>
                    <a:pt x="75" y="206"/>
                  </a:lnTo>
                  <a:lnTo>
                    <a:pt x="78" y="206"/>
                  </a:lnTo>
                  <a:lnTo>
                    <a:pt x="81" y="206"/>
                  </a:lnTo>
                  <a:lnTo>
                    <a:pt x="83" y="206"/>
                  </a:lnTo>
                  <a:lnTo>
                    <a:pt x="86" y="206"/>
                  </a:lnTo>
                  <a:lnTo>
                    <a:pt x="91" y="205"/>
                  </a:lnTo>
                  <a:lnTo>
                    <a:pt x="94" y="204"/>
                  </a:lnTo>
                  <a:lnTo>
                    <a:pt x="96" y="204"/>
                  </a:lnTo>
                  <a:lnTo>
                    <a:pt x="99" y="204"/>
                  </a:lnTo>
                  <a:lnTo>
                    <a:pt x="107" y="204"/>
                  </a:lnTo>
                  <a:lnTo>
                    <a:pt x="109" y="204"/>
                  </a:lnTo>
                  <a:lnTo>
                    <a:pt x="111" y="204"/>
                  </a:lnTo>
                  <a:lnTo>
                    <a:pt x="113" y="205"/>
                  </a:lnTo>
                  <a:lnTo>
                    <a:pt x="114" y="205"/>
                  </a:lnTo>
                  <a:lnTo>
                    <a:pt x="115" y="206"/>
                  </a:lnTo>
                  <a:lnTo>
                    <a:pt x="116" y="206"/>
                  </a:lnTo>
                  <a:lnTo>
                    <a:pt x="117" y="207"/>
                  </a:lnTo>
                  <a:lnTo>
                    <a:pt x="117" y="208"/>
                  </a:lnTo>
                  <a:lnTo>
                    <a:pt x="119" y="213"/>
                  </a:lnTo>
                  <a:lnTo>
                    <a:pt x="120" y="215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3" y="218"/>
                  </a:lnTo>
                  <a:lnTo>
                    <a:pt x="124" y="219"/>
                  </a:lnTo>
                  <a:lnTo>
                    <a:pt x="126" y="219"/>
                  </a:lnTo>
                  <a:lnTo>
                    <a:pt x="128" y="220"/>
                  </a:lnTo>
                  <a:lnTo>
                    <a:pt x="129" y="220"/>
                  </a:lnTo>
                  <a:lnTo>
                    <a:pt x="132" y="220"/>
                  </a:lnTo>
                  <a:lnTo>
                    <a:pt x="133" y="220"/>
                  </a:lnTo>
                  <a:lnTo>
                    <a:pt x="135" y="219"/>
                  </a:lnTo>
                  <a:lnTo>
                    <a:pt x="137" y="218"/>
                  </a:lnTo>
                  <a:lnTo>
                    <a:pt x="139" y="217"/>
                  </a:lnTo>
                  <a:lnTo>
                    <a:pt x="140" y="217"/>
                  </a:lnTo>
                  <a:lnTo>
                    <a:pt x="142" y="215"/>
                  </a:lnTo>
                  <a:lnTo>
                    <a:pt x="143" y="213"/>
                  </a:lnTo>
                  <a:lnTo>
                    <a:pt x="144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6" y="206"/>
                  </a:lnTo>
                  <a:lnTo>
                    <a:pt x="146" y="205"/>
                  </a:lnTo>
                  <a:lnTo>
                    <a:pt x="146" y="201"/>
                  </a:lnTo>
                  <a:lnTo>
                    <a:pt x="145" y="197"/>
                  </a:lnTo>
                  <a:lnTo>
                    <a:pt x="144" y="193"/>
                  </a:lnTo>
                  <a:lnTo>
                    <a:pt x="143" y="183"/>
                  </a:lnTo>
                  <a:lnTo>
                    <a:pt x="141" y="171"/>
                  </a:lnTo>
                  <a:lnTo>
                    <a:pt x="139" y="162"/>
                  </a:lnTo>
                  <a:lnTo>
                    <a:pt x="139" y="160"/>
                  </a:lnTo>
                  <a:lnTo>
                    <a:pt x="138" y="157"/>
                  </a:lnTo>
                  <a:lnTo>
                    <a:pt x="139" y="154"/>
                  </a:lnTo>
                  <a:lnTo>
                    <a:pt x="139" y="151"/>
                  </a:lnTo>
                  <a:lnTo>
                    <a:pt x="140" y="149"/>
                  </a:lnTo>
                  <a:lnTo>
                    <a:pt x="140" y="147"/>
                  </a:lnTo>
                  <a:lnTo>
                    <a:pt x="141" y="145"/>
                  </a:lnTo>
                  <a:lnTo>
                    <a:pt x="142" y="144"/>
                  </a:lnTo>
                  <a:lnTo>
                    <a:pt x="143" y="141"/>
                  </a:lnTo>
                  <a:lnTo>
                    <a:pt x="144" y="138"/>
                  </a:lnTo>
                  <a:lnTo>
                    <a:pt x="149" y="134"/>
                  </a:lnTo>
                  <a:lnTo>
                    <a:pt x="151" y="131"/>
                  </a:lnTo>
                  <a:lnTo>
                    <a:pt x="152" y="129"/>
                  </a:lnTo>
                  <a:lnTo>
                    <a:pt x="154" y="126"/>
                  </a:lnTo>
                  <a:lnTo>
                    <a:pt x="161" y="113"/>
                  </a:lnTo>
                  <a:lnTo>
                    <a:pt x="163" y="109"/>
                  </a:lnTo>
                  <a:lnTo>
                    <a:pt x="166" y="103"/>
                  </a:lnTo>
                  <a:lnTo>
                    <a:pt x="171" y="96"/>
                  </a:lnTo>
                  <a:lnTo>
                    <a:pt x="172" y="94"/>
                  </a:lnTo>
                  <a:lnTo>
                    <a:pt x="174" y="91"/>
                  </a:lnTo>
                  <a:lnTo>
                    <a:pt x="177" y="83"/>
                  </a:lnTo>
                  <a:lnTo>
                    <a:pt x="178" y="81"/>
                  </a:lnTo>
                  <a:lnTo>
                    <a:pt x="179" y="77"/>
                  </a:lnTo>
                  <a:lnTo>
                    <a:pt x="181" y="74"/>
                  </a:lnTo>
                  <a:lnTo>
                    <a:pt x="183" y="71"/>
                  </a:lnTo>
                  <a:lnTo>
                    <a:pt x="189" y="67"/>
                  </a:lnTo>
                  <a:lnTo>
                    <a:pt x="194" y="59"/>
                  </a:lnTo>
                  <a:lnTo>
                    <a:pt x="197" y="56"/>
                  </a:lnTo>
                  <a:lnTo>
                    <a:pt x="200" y="50"/>
                  </a:lnTo>
                  <a:lnTo>
                    <a:pt x="208" y="40"/>
                  </a:lnTo>
                  <a:lnTo>
                    <a:pt x="209" y="39"/>
                  </a:lnTo>
                  <a:lnTo>
                    <a:pt x="211" y="37"/>
                  </a:lnTo>
                  <a:lnTo>
                    <a:pt x="212" y="36"/>
                  </a:lnTo>
                  <a:lnTo>
                    <a:pt x="214" y="36"/>
                  </a:lnTo>
                  <a:lnTo>
                    <a:pt x="218" y="34"/>
                  </a:lnTo>
                  <a:lnTo>
                    <a:pt x="221" y="33"/>
                  </a:lnTo>
                  <a:lnTo>
                    <a:pt x="224" y="32"/>
                  </a:lnTo>
                  <a:lnTo>
                    <a:pt x="225" y="32"/>
                  </a:lnTo>
                  <a:lnTo>
                    <a:pt x="229" y="33"/>
                  </a:lnTo>
                  <a:lnTo>
                    <a:pt x="232" y="33"/>
                  </a:lnTo>
                  <a:lnTo>
                    <a:pt x="235" y="35"/>
                  </a:lnTo>
                  <a:lnTo>
                    <a:pt x="246" y="37"/>
                  </a:lnTo>
                  <a:lnTo>
                    <a:pt x="249" y="38"/>
                  </a:lnTo>
                  <a:lnTo>
                    <a:pt x="253" y="39"/>
                  </a:lnTo>
                  <a:lnTo>
                    <a:pt x="257" y="40"/>
                  </a:lnTo>
                  <a:lnTo>
                    <a:pt x="261" y="40"/>
                  </a:lnTo>
                  <a:lnTo>
                    <a:pt x="264" y="39"/>
                  </a:lnTo>
                  <a:lnTo>
                    <a:pt x="268" y="38"/>
                  </a:lnTo>
                  <a:lnTo>
                    <a:pt x="271" y="37"/>
                  </a:lnTo>
                  <a:lnTo>
                    <a:pt x="274" y="36"/>
                  </a:lnTo>
                  <a:lnTo>
                    <a:pt x="276" y="35"/>
                  </a:lnTo>
                  <a:lnTo>
                    <a:pt x="278" y="33"/>
                  </a:lnTo>
                  <a:lnTo>
                    <a:pt x="280" y="31"/>
                  </a:lnTo>
                  <a:lnTo>
                    <a:pt x="283" y="27"/>
                  </a:lnTo>
                  <a:lnTo>
                    <a:pt x="286" y="25"/>
                  </a:lnTo>
                  <a:lnTo>
                    <a:pt x="290" y="19"/>
                  </a:lnTo>
                  <a:lnTo>
                    <a:pt x="292" y="13"/>
                  </a:lnTo>
                  <a:lnTo>
                    <a:pt x="293" y="13"/>
                  </a:lnTo>
                  <a:lnTo>
                    <a:pt x="294" y="14"/>
                  </a:lnTo>
                  <a:lnTo>
                    <a:pt x="294" y="15"/>
                  </a:lnTo>
                  <a:lnTo>
                    <a:pt x="296" y="17"/>
                  </a:lnTo>
                  <a:lnTo>
                    <a:pt x="297" y="18"/>
                  </a:lnTo>
                  <a:lnTo>
                    <a:pt x="299" y="20"/>
                  </a:lnTo>
                  <a:lnTo>
                    <a:pt x="300" y="21"/>
                  </a:lnTo>
                  <a:lnTo>
                    <a:pt x="301" y="22"/>
                  </a:lnTo>
                  <a:lnTo>
                    <a:pt x="303" y="23"/>
                  </a:lnTo>
                  <a:lnTo>
                    <a:pt x="304" y="24"/>
                  </a:lnTo>
                  <a:lnTo>
                    <a:pt x="305" y="25"/>
                  </a:lnTo>
                  <a:lnTo>
                    <a:pt x="306" y="25"/>
                  </a:lnTo>
                  <a:lnTo>
                    <a:pt x="308" y="25"/>
                  </a:lnTo>
                  <a:lnTo>
                    <a:pt x="309" y="25"/>
                  </a:lnTo>
                  <a:lnTo>
                    <a:pt x="311" y="25"/>
                  </a:lnTo>
                  <a:lnTo>
                    <a:pt x="313" y="25"/>
                  </a:lnTo>
                  <a:lnTo>
                    <a:pt x="314" y="25"/>
                  </a:lnTo>
                  <a:lnTo>
                    <a:pt x="316" y="24"/>
                  </a:lnTo>
                  <a:lnTo>
                    <a:pt x="319" y="23"/>
                  </a:lnTo>
                  <a:lnTo>
                    <a:pt x="321" y="22"/>
                  </a:lnTo>
                  <a:lnTo>
                    <a:pt x="325" y="17"/>
                  </a:lnTo>
                  <a:lnTo>
                    <a:pt x="328" y="16"/>
                  </a:lnTo>
                  <a:lnTo>
                    <a:pt x="329" y="15"/>
                  </a:lnTo>
                  <a:lnTo>
                    <a:pt x="330" y="15"/>
                  </a:lnTo>
                  <a:lnTo>
                    <a:pt x="332" y="14"/>
                  </a:lnTo>
                  <a:lnTo>
                    <a:pt x="334" y="14"/>
                  </a:lnTo>
                  <a:lnTo>
                    <a:pt x="336" y="14"/>
                  </a:lnTo>
                  <a:lnTo>
                    <a:pt x="340" y="13"/>
                  </a:lnTo>
                  <a:lnTo>
                    <a:pt x="342" y="13"/>
                  </a:lnTo>
                  <a:lnTo>
                    <a:pt x="344" y="12"/>
                  </a:lnTo>
                  <a:lnTo>
                    <a:pt x="345" y="12"/>
                  </a:lnTo>
                  <a:lnTo>
                    <a:pt x="346" y="11"/>
                  </a:lnTo>
                  <a:lnTo>
                    <a:pt x="349" y="6"/>
                  </a:lnTo>
                  <a:lnTo>
                    <a:pt x="352" y="2"/>
                  </a:lnTo>
                  <a:lnTo>
                    <a:pt x="354" y="2"/>
                  </a:lnTo>
                  <a:lnTo>
                    <a:pt x="355" y="1"/>
                  </a:lnTo>
                  <a:lnTo>
                    <a:pt x="356" y="1"/>
                  </a:lnTo>
                  <a:lnTo>
                    <a:pt x="357" y="1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3" name="Freeform 66">
              <a:extLst>
                <a:ext uri="{FF2B5EF4-FFF2-40B4-BE49-F238E27FC236}">
                  <a16:creationId xmlns:a16="http://schemas.microsoft.com/office/drawing/2014/main" id="{F5C7AE94-2541-4E76-8966-5E6C856EB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3228"/>
              <a:ext cx="590" cy="399"/>
            </a:xfrm>
            <a:custGeom>
              <a:avLst/>
              <a:gdLst>
                <a:gd name="T0" fmla="*/ 184 w 590"/>
                <a:gd name="T1" fmla="*/ 31 h 399"/>
                <a:gd name="T2" fmla="*/ 170 w 590"/>
                <a:gd name="T3" fmla="*/ 39 h 399"/>
                <a:gd name="T4" fmla="*/ 167 w 590"/>
                <a:gd name="T5" fmla="*/ 51 h 399"/>
                <a:gd name="T6" fmla="*/ 171 w 590"/>
                <a:gd name="T7" fmla="*/ 68 h 399"/>
                <a:gd name="T8" fmla="*/ 194 w 590"/>
                <a:gd name="T9" fmla="*/ 67 h 399"/>
                <a:gd name="T10" fmla="*/ 245 w 590"/>
                <a:gd name="T11" fmla="*/ 49 h 399"/>
                <a:gd name="T12" fmla="*/ 255 w 590"/>
                <a:gd name="T13" fmla="*/ 85 h 399"/>
                <a:gd name="T14" fmla="*/ 256 w 590"/>
                <a:gd name="T15" fmla="*/ 109 h 399"/>
                <a:gd name="T16" fmla="*/ 277 w 590"/>
                <a:gd name="T17" fmla="*/ 116 h 399"/>
                <a:gd name="T18" fmla="*/ 298 w 590"/>
                <a:gd name="T19" fmla="*/ 132 h 399"/>
                <a:gd name="T20" fmla="*/ 342 w 590"/>
                <a:gd name="T21" fmla="*/ 139 h 399"/>
                <a:gd name="T22" fmla="*/ 357 w 590"/>
                <a:gd name="T23" fmla="*/ 150 h 399"/>
                <a:gd name="T24" fmla="*/ 361 w 590"/>
                <a:gd name="T25" fmla="*/ 173 h 399"/>
                <a:gd name="T26" fmla="*/ 373 w 590"/>
                <a:gd name="T27" fmla="*/ 179 h 399"/>
                <a:gd name="T28" fmla="*/ 407 w 590"/>
                <a:gd name="T29" fmla="*/ 196 h 399"/>
                <a:gd name="T30" fmla="*/ 427 w 590"/>
                <a:gd name="T31" fmla="*/ 203 h 399"/>
                <a:gd name="T32" fmla="*/ 470 w 590"/>
                <a:gd name="T33" fmla="*/ 196 h 399"/>
                <a:gd name="T34" fmla="*/ 499 w 590"/>
                <a:gd name="T35" fmla="*/ 208 h 399"/>
                <a:gd name="T36" fmla="*/ 508 w 590"/>
                <a:gd name="T37" fmla="*/ 223 h 399"/>
                <a:gd name="T38" fmla="*/ 514 w 590"/>
                <a:gd name="T39" fmla="*/ 239 h 399"/>
                <a:gd name="T40" fmla="*/ 553 w 590"/>
                <a:gd name="T41" fmla="*/ 259 h 399"/>
                <a:gd name="T42" fmla="*/ 582 w 590"/>
                <a:gd name="T43" fmla="*/ 298 h 399"/>
                <a:gd name="T44" fmla="*/ 587 w 590"/>
                <a:gd name="T45" fmla="*/ 319 h 399"/>
                <a:gd name="T46" fmla="*/ 544 w 590"/>
                <a:gd name="T47" fmla="*/ 349 h 399"/>
                <a:gd name="T48" fmla="*/ 520 w 590"/>
                <a:gd name="T49" fmla="*/ 355 h 399"/>
                <a:gd name="T50" fmla="*/ 501 w 590"/>
                <a:gd name="T51" fmla="*/ 364 h 399"/>
                <a:gd name="T52" fmla="*/ 487 w 590"/>
                <a:gd name="T53" fmla="*/ 358 h 399"/>
                <a:gd name="T54" fmla="*/ 457 w 590"/>
                <a:gd name="T55" fmla="*/ 341 h 399"/>
                <a:gd name="T56" fmla="*/ 437 w 590"/>
                <a:gd name="T57" fmla="*/ 339 h 399"/>
                <a:gd name="T58" fmla="*/ 400 w 590"/>
                <a:gd name="T59" fmla="*/ 364 h 399"/>
                <a:gd name="T60" fmla="*/ 375 w 590"/>
                <a:gd name="T61" fmla="*/ 369 h 399"/>
                <a:gd name="T62" fmla="*/ 355 w 590"/>
                <a:gd name="T63" fmla="*/ 359 h 399"/>
                <a:gd name="T64" fmla="*/ 325 w 590"/>
                <a:gd name="T65" fmla="*/ 337 h 399"/>
                <a:gd name="T66" fmla="*/ 270 w 590"/>
                <a:gd name="T67" fmla="*/ 311 h 399"/>
                <a:gd name="T68" fmla="*/ 245 w 590"/>
                <a:gd name="T69" fmla="*/ 307 h 399"/>
                <a:gd name="T70" fmla="*/ 208 w 590"/>
                <a:gd name="T71" fmla="*/ 334 h 399"/>
                <a:gd name="T72" fmla="*/ 176 w 590"/>
                <a:gd name="T73" fmla="*/ 362 h 399"/>
                <a:gd name="T74" fmla="*/ 161 w 590"/>
                <a:gd name="T75" fmla="*/ 396 h 399"/>
                <a:gd name="T76" fmla="*/ 149 w 590"/>
                <a:gd name="T77" fmla="*/ 398 h 399"/>
                <a:gd name="T78" fmla="*/ 122 w 590"/>
                <a:gd name="T79" fmla="*/ 386 h 399"/>
                <a:gd name="T80" fmla="*/ 102 w 590"/>
                <a:gd name="T81" fmla="*/ 372 h 399"/>
                <a:gd name="T82" fmla="*/ 80 w 590"/>
                <a:gd name="T83" fmla="*/ 375 h 399"/>
                <a:gd name="T84" fmla="*/ 61 w 590"/>
                <a:gd name="T85" fmla="*/ 374 h 399"/>
                <a:gd name="T86" fmla="*/ 45 w 590"/>
                <a:gd name="T87" fmla="*/ 348 h 399"/>
                <a:gd name="T88" fmla="*/ 21 w 590"/>
                <a:gd name="T89" fmla="*/ 316 h 399"/>
                <a:gd name="T90" fmla="*/ 14 w 590"/>
                <a:gd name="T91" fmla="*/ 278 h 399"/>
                <a:gd name="T92" fmla="*/ 19 w 590"/>
                <a:gd name="T93" fmla="*/ 254 h 399"/>
                <a:gd name="T94" fmla="*/ 39 w 590"/>
                <a:gd name="T95" fmla="*/ 250 h 399"/>
                <a:gd name="T96" fmla="*/ 35 w 590"/>
                <a:gd name="T97" fmla="*/ 240 h 399"/>
                <a:gd name="T98" fmla="*/ 28 w 590"/>
                <a:gd name="T99" fmla="*/ 228 h 399"/>
                <a:gd name="T100" fmla="*/ 33 w 590"/>
                <a:gd name="T101" fmla="*/ 197 h 399"/>
                <a:gd name="T102" fmla="*/ 26 w 590"/>
                <a:gd name="T103" fmla="*/ 170 h 399"/>
                <a:gd name="T104" fmla="*/ 10 w 590"/>
                <a:gd name="T105" fmla="*/ 156 h 399"/>
                <a:gd name="T106" fmla="*/ 1 w 590"/>
                <a:gd name="T107" fmla="*/ 120 h 399"/>
                <a:gd name="T108" fmla="*/ 4 w 590"/>
                <a:gd name="T109" fmla="*/ 88 h 399"/>
                <a:gd name="T110" fmla="*/ 34 w 590"/>
                <a:gd name="T111" fmla="*/ 65 h 399"/>
                <a:gd name="T112" fmla="*/ 84 w 590"/>
                <a:gd name="T113" fmla="*/ 60 h 399"/>
                <a:gd name="T114" fmla="*/ 91 w 590"/>
                <a:gd name="T115" fmla="*/ 49 h 399"/>
                <a:gd name="T116" fmla="*/ 96 w 590"/>
                <a:gd name="T117" fmla="*/ 22 h 399"/>
                <a:gd name="T118" fmla="*/ 103 w 590"/>
                <a:gd name="T119" fmla="*/ 18 h 399"/>
                <a:gd name="T120" fmla="*/ 123 w 590"/>
                <a:gd name="T121" fmla="*/ 35 h 399"/>
                <a:gd name="T122" fmla="*/ 142 w 590"/>
                <a:gd name="T123" fmla="*/ 36 h 399"/>
                <a:gd name="T124" fmla="*/ 164 w 590"/>
                <a:gd name="T125" fmla="*/ 2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0" h="399">
                  <a:moveTo>
                    <a:pt x="193" y="0"/>
                  </a:moveTo>
                  <a:lnTo>
                    <a:pt x="193" y="1"/>
                  </a:lnTo>
                  <a:lnTo>
                    <a:pt x="190" y="13"/>
                  </a:lnTo>
                  <a:lnTo>
                    <a:pt x="189" y="20"/>
                  </a:lnTo>
                  <a:lnTo>
                    <a:pt x="188" y="23"/>
                  </a:lnTo>
                  <a:lnTo>
                    <a:pt x="186" y="27"/>
                  </a:lnTo>
                  <a:lnTo>
                    <a:pt x="185" y="29"/>
                  </a:lnTo>
                  <a:lnTo>
                    <a:pt x="184" y="31"/>
                  </a:lnTo>
                  <a:lnTo>
                    <a:pt x="183" y="32"/>
                  </a:lnTo>
                  <a:lnTo>
                    <a:pt x="183" y="33"/>
                  </a:lnTo>
                  <a:lnTo>
                    <a:pt x="181" y="34"/>
                  </a:lnTo>
                  <a:lnTo>
                    <a:pt x="180" y="35"/>
                  </a:lnTo>
                  <a:lnTo>
                    <a:pt x="178" y="36"/>
                  </a:lnTo>
                  <a:lnTo>
                    <a:pt x="173" y="38"/>
                  </a:lnTo>
                  <a:lnTo>
                    <a:pt x="172" y="38"/>
                  </a:lnTo>
                  <a:lnTo>
                    <a:pt x="170" y="39"/>
                  </a:lnTo>
                  <a:lnTo>
                    <a:pt x="169" y="40"/>
                  </a:lnTo>
                  <a:lnTo>
                    <a:pt x="169" y="41"/>
                  </a:lnTo>
                  <a:lnTo>
                    <a:pt x="168" y="42"/>
                  </a:lnTo>
                  <a:lnTo>
                    <a:pt x="167" y="43"/>
                  </a:lnTo>
                  <a:lnTo>
                    <a:pt x="167" y="45"/>
                  </a:lnTo>
                  <a:lnTo>
                    <a:pt x="167" y="47"/>
                  </a:lnTo>
                  <a:lnTo>
                    <a:pt x="167" y="49"/>
                  </a:lnTo>
                  <a:lnTo>
                    <a:pt x="167" y="51"/>
                  </a:lnTo>
                  <a:lnTo>
                    <a:pt x="167" y="57"/>
                  </a:lnTo>
                  <a:lnTo>
                    <a:pt x="168" y="61"/>
                  </a:lnTo>
                  <a:lnTo>
                    <a:pt x="168" y="63"/>
                  </a:lnTo>
                  <a:lnTo>
                    <a:pt x="168" y="65"/>
                  </a:lnTo>
                  <a:lnTo>
                    <a:pt x="169" y="65"/>
                  </a:lnTo>
                  <a:lnTo>
                    <a:pt x="170" y="66"/>
                  </a:lnTo>
                  <a:lnTo>
                    <a:pt x="170" y="67"/>
                  </a:lnTo>
                  <a:lnTo>
                    <a:pt x="171" y="68"/>
                  </a:lnTo>
                  <a:lnTo>
                    <a:pt x="173" y="68"/>
                  </a:lnTo>
                  <a:lnTo>
                    <a:pt x="176" y="69"/>
                  </a:lnTo>
                  <a:lnTo>
                    <a:pt x="178" y="69"/>
                  </a:lnTo>
                  <a:lnTo>
                    <a:pt x="180" y="69"/>
                  </a:lnTo>
                  <a:lnTo>
                    <a:pt x="185" y="69"/>
                  </a:lnTo>
                  <a:lnTo>
                    <a:pt x="188" y="69"/>
                  </a:lnTo>
                  <a:lnTo>
                    <a:pt x="190" y="68"/>
                  </a:lnTo>
                  <a:lnTo>
                    <a:pt x="194" y="67"/>
                  </a:lnTo>
                  <a:lnTo>
                    <a:pt x="216" y="58"/>
                  </a:lnTo>
                  <a:lnTo>
                    <a:pt x="222" y="56"/>
                  </a:lnTo>
                  <a:lnTo>
                    <a:pt x="233" y="50"/>
                  </a:lnTo>
                  <a:lnTo>
                    <a:pt x="237" y="48"/>
                  </a:lnTo>
                  <a:lnTo>
                    <a:pt x="242" y="47"/>
                  </a:lnTo>
                  <a:lnTo>
                    <a:pt x="243" y="47"/>
                  </a:lnTo>
                  <a:lnTo>
                    <a:pt x="244" y="47"/>
                  </a:lnTo>
                  <a:lnTo>
                    <a:pt x="245" y="49"/>
                  </a:lnTo>
                  <a:lnTo>
                    <a:pt x="246" y="52"/>
                  </a:lnTo>
                  <a:lnTo>
                    <a:pt x="249" y="63"/>
                  </a:lnTo>
                  <a:lnTo>
                    <a:pt x="251" y="67"/>
                  </a:lnTo>
                  <a:lnTo>
                    <a:pt x="252" y="71"/>
                  </a:lnTo>
                  <a:lnTo>
                    <a:pt x="254" y="77"/>
                  </a:lnTo>
                  <a:lnTo>
                    <a:pt x="254" y="80"/>
                  </a:lnTo>
                  <a:lnTo>
                    <a:pt x="254" y="82"/>
                  </a:lnTo>
                  <a:lnTo>
                    <a:pt x="255" y="85"/>
                  </a:lnTo>
                  <a:lnTo>
                    <a:pt x="255" y="89"/>
                  </a:lnTo>
                  <a:lnTo>
                    <a:pt x="255" y="92"/>
                  </a:lnTo>
                  <a:lnTo>
                    <a:pt x="254" y="100"/>
                  </a:lnTo>
                  <a:lnTo>
                    <a:pt x="254" y="103"/>
                  </a:lnTo>
                  <a:lnTo>
                    <a:pt x="254" y="104"/>
                  </a:lnTo>
                  <a:lnTo>
                    <a:pt x="254" y="106"/>
                  </a:lnTo>
                  <a:lnTo>
                    <a:pt x="255" y="107"/>
                  </a:lnTo>
                  <a:lnTo>
                    <a:pt x="256" y="109"/>
                  </a:lnTo>
                  <a:lnTo>
                    <a:pt x="257" y="110"/>
                  </a:lnTo>
                  <a:lnTo>
                    <a:pt x="258" y="110"/>
                  </a:lnTo>
                  <a:lnTo>
                    <a:pt x="258" y="111"/>
                  </a:lnTo>
                  <a:lnTo>
                    <a:pt x="265" y="112"/>
                  </a:lnTo>
                  <a:lnTo>
                    <a:pt x="268" y="113"/>
                  </a:lnTo>
                  <a:lnTo>
                    <a:pt x="270" y="114"/>
                  </a:lnTo>
                  <a:lnTo>
                    <a:pt x="272" y="115"/>
                  </a:lnTo>
                  <a:lnTo>
                    <a:pt x="277" y="116"/>
                  </a:lnTo>
                  <a:lnTo>
                    <a:pt x="281" y="118"/>
                  </a:lnTo>
                  <a:lnTo>
                    <a:pt x="283" y="119"/>
                  </a:lnTo>
                  <a:lnTo>
                    <a:pt x="285" y="120"/>
                  </a:lnTo>
                  <a:lnTo>
                    <a:pt x="288" y="122"/>
                  </a:lnTo>
                  <a:lnTo>
                    <a:pt x="292" y="126"/>
                  </a:lnTo>
                  <a:lnTo>
                    <a:pt x="295" y="129"/>
                  </a:lnTo>
                  <a:lnTo>
                    <a:pt x="296" y="130"/>
                  </a:lnTo>
                  <a:lnTo>
                    <a:pt x="298" y="132"/>
                  </a:lnTo>
                  <a:lnTo>
                    <a:pt x="300" y="133"/>
                  </a:lnTo>
                  <a:lnTo>
                    <a:pt x="302" y="133"/>
                  </a:lnTo>
                  <a:lnTo>
                    <a:pt x="304" y="134"/>
                  </a:lnTo>
                  <a:lnTo>
                    <a:pt x="319" y="136"/>
                  </a:lnTo>
                  <a:lnTo>
                    <a:pt x="326" y="137"/>
                  </a:lnTo>
                  <a:lnTo>
                    <a:pt x="338" y="138"/>
                  </a:lnTo>
                  <a:lnTo>
                    <a:pt x="340" y="139"/>
                  </a:lnTo>
                  <a:lnTo>
                    <a:pt x="342" y="139"/>
                  </a:lnTo>
                  <a:lnTo>
                    <a:pt x="345" y="141"/>
                  </a:lnTo>
                  <a:lnTo>
                    <a:pt x="347" y="142"/>
                  </a:lnTo>
                  <a:lnTo>
                    <a:pt x="350" y="144"/>
                  </a:lnTo>
                  <a:lnTo>
                    <a:pt x="353" y="147"/>
                  </a:lnTo>
                  <a:lnTo>
                    <a:pt x="354" y="148"/>
                  </a:lnTo>
                  <a:lnTo>
                    <a:pt x="355" y="149"/>
                  </a:lnTo>
                  <a:lnTo>
                    <a:pt x="356" y="149"/>
                  </a:lnTo>
                  <a:lnTo>
                    <a:pt x="357" y="150"/>
                  </a:lnTo>
                  <a:lnTo>
                    <a:pt x="357" y="152"/>
                  </a:lnTo>
                  <a:lnTo>
                    <a:pt x="358" y="153"/>
                  </a:lnTo>
                  <a:lnTo>
                    <a:pt x="359" y="157"/>
                  </a:lnTo>
                  <a:lnTo>
                    <a:pt x="359" y="160"/>
                  </a:lnTo>
                  <a:lnTo>
                    <a:pt x="360" y="168"/>
                  </a:lnTo>
                  <a:lnTo>
                    <a:pt x="360" y="170"/>
                  </a:lnTo>
                  <a:lnTo>
                    <a:pt x="360" y="171"/>
                  </a:lnTo>
                  <a:lnTo>
                    <a:pt x="361" y="173"/>
                  </a:lnTo>
                  <a:lnTo>
                    <a:pt x="362" y="174"/>
                  </a:lnTo>
                  <a:lnTo>
                    <a:pt x="363" y="175"/>
                  </a:lnTo>
                  <a:lnTo>
                    <a:pt x="364" y="176"/>
                  </a:lnTo>
                  <a:lnTo>
                    <a:pt x="366" y="177"/>
                  </a:lnTo>
                  <a:lnTo>
                    <a:pt x="367" y="177"/>
                  </a:lnTo>
                  <a:lnTo>
                    <a:pt x="369" y="178"/>
                  </a:lnTo>
                  <a:lnTo>
                    <a:pt x="372" y="179"/>
                  </a:lnTo>
                  <a:lnTo>
                    <a:pt x="373" y="179"/>
                  </a:lnTo>
                  <a:lnTo>
                    <a:pt x="379" y="179"/>
                  </a:lnTo>
                  <a:lnTo>
                    <a:pt x="382" y="180"/>
                  </a:lnTo>
                  <a:lnTo>
                    <a:pt x="384" y="181"/>
                  </a:lnTo>
                  <a:lnTo>
                    <a:pt x="387" y="182"/>
                  </a:lnTo>
                  <a:lnTo>
                    <a:pt x="389" y="183"/>
                  </a:lnTo>
                  <a:lnTo>
                    <a:pt x="392" y="184"/>
                  </a:lnTo>
                  <a:lnTo>
                    <a:pt x="404" y="194"/>
                  </a:lnTo>
                  <a:lnTo>
                    <a:pt x="407" y="196"/>
                  </a:lnTo>
                  <a:lnTo>
                    <a:pt x="409" y="197"/>
                  </a:lnTo>
                  <a:lnTo>
                    <a:pt x="412" y="199"/>
                  </a:lnTo>
                  <a:lnTo>
                    <a:pt x="414" y="200"/>
                  </a:lnTo>
                  <a:lnTo>
                    <a:pt x="416" y="201"/>
                  </a:lnTo>
                  <a:lnTo>
                    <a:pt x="418" y="202"/>
                  </a:lnTo>
                  <a:lnTo>
                    <a:pt x="421" y="203"/>
                  </a:lnTo>
                  <a:lnTo>
                    <a:pt x="424" y="203"/>
                  </a:lnTo>
                  <a:lnTo>
                    <a:pt x="427" y="203"/>
                  </a:lnTo>
                  <a:lnTo>
                    <a:pt x="429" y="202"/>
                  </a:lnTo>
                  <a:lnTo>
                    <a:pt x="431" y="202"/>
                  </a:lnTo>
                  <a:lnTo>
                    <a:pt x="441" y="199"/>
                  </a:lnTo>
                  <a:lnTo>
                    <a:pt x="446" y="198"/>
                  </a:lnTo>
                  <a:lnTo>
                    <a:pt x="450" y="198"/>
                  </a:lnTo>
                  <a:lnTo>
                    <a:pt x="457" y="197"/>
                  </a:lnTo>
                  <a:lnTo>
                    <a:pt x="467" y="196"/>
                  </a:lnTo>
                  <a:lnTo>
                    <a:pt x="470" y="196"/>
                  </a:lnTo>
                  <a:lnTo>
                    <a:pt x="472" y="196"/>
                  </a:lnTo>
                  <a:lnTo>
                    <a:pt x="474" y="196"/>
                  </a:lnTo>
                  <a:lnTo>
                    <a:pt x="476" y="197"/>
                  </a:lnTo>
                  <a:lnTo>
                    <a:pt x="482" y="200"/>
                  </a:lnTo>
                  <a:lnTo>
                    <a:pt x="489" y="203"/>
                  </a:lnTo>
                  <a:lnTo>
                    <a:pt x="493" y="205"/>
                  </a:lnTo>
                  <a:lnTo>
                    <a:pt x="497" y="206"/>
                  </a:lnTo>
                  <a:lnTo>
                    <a:pt x="499" y="208"/>
                  </a:lnTo>
                  <a:lnTo>
                    <a:pt x="502" y="211"/>
                  </a:lnTo>
                  <a:lnTo>
                    <a:pt x="503" y="212"/>
                  </a:lnTo>
                  <a:lnTo>
                    <a:pt x="504" y="213"/>
                  </a:lnTo>
                  <a:lnTo>
                    <a:pt x="505" y="215"/>
                  </a:lnTo>
                  <a:lnTo>
                    <a:pt x="506" y="216"/>
                  </a:lnTo>
                  <a:lnTo>
                    <a:pt x="507" y="218"/>
                  </a:lnTo>
                  <a:lnTo>
                    <a:pt x="507" y="220"/>
                  </a:lnTo>
                  <a:lnTo>
                    <a:pt x="508" y="223"/>
                  </a:lnTo>
                  <a:lnTo>
                    <a:pt x="508" y="229"/>
                  </a:lnTo>
                  <a:lnTo>
                    <a:pt x="508" y="231"/>
                  </a:lnTo>
                  <a:lnTo>
                    <a:pt x="509" y="233"/>
                  </a:lnTo>
                  <a:lnTo>
                    <a:pt x="509" y="235"/>
                  </a:lnTo>
                  <a:lnTo>
                    <a:pt x="510" y="236"/>
                  </a:lnTo>
                  <a:lnTo>
                    <a:pt x="511" y="238"/>
                  </a:lnTo>
                  <a:lnTo>
                    <a:pt x="512" y="239"/>
                  </a:lnTo>
                  <a:lnTo>
                    <a:pt x="514" y="239"/>
                  </a:lnTo>
                  <a:lnTo>
                    <a:pt x="516" y="240"/>
                  </a:lnTo>
                  <a:lnTo>
                    <a:pt x="518" y="241"/>
                  </a:lnTo>
                  <a:lnTo>
                    <a:pt x="522" y="243"/>
                  </a:lnTo>
                  <a:lnTo>
                    <a:pt x="527" y="245"/>
                  </a:lnTo>
                  <a:lnTo>
                    <a:pt x="543" y="253"/>
                  </a:lnTo>
                  <a:lnTo>
                    <a:pt x="546" y="255"/>
                  </a:lnTo>
                  <a:lnTo>
                    <a:pt x="550" y="257"/>
                  </a:lnTo>
                  <a:lnTo>
                    <a:pt x="553" y="259"/>
                  </a:lnTo>
                  <a:lnTo>
                    <a:pt x="555" y="262"/>
                  </a:lnTo>
                  <a:lnTo>
                    <a:pt x="559" y="265"/>
                  </a:lnTo>
                  <a:lnTo>
                    <a:pt x="561" y="269"/>
                  </a:lnTo>
                  <a:lnTo>
                    <a:pt x="564" y="273"/>
                  </a:lnTo>
                  <a:lnTo>
                    <a:pt x="572" y="285"/>
                  </a:lnTo>
                  <a:lnTo>
                    <a:pt x="578" y="293"/>
                  </a:lnTo>
                  <a:lnTo>
                    <a:pt x="580" y="296"/>
                  </a:lnTo>
                  <a:lnTo>
                    <a:pt x="582" y="298"/>
                  </a:lnTo>
                  <a:lnTo>
                    <a:pt x="583" y="301"/>
                  </a:lnTo>
                  <a:lnTo>
                    <a:pt x="587" y="309"/>
                  </a:lnTo>
                  <a:lnTo>
                    <a:pt x="588" y="314"/>
                  </a:lnTo>
                  <a:lnTo>
                    <a:pt x="589" y="317"/>
                  </a:lnTo>
                  <a:lnTo>
                    <a:pt x="590" y="318"/>
                  </a:lnTo>
                  <a:lnTo>
                    <a:pt x="589" y="318"/>
                  </a:lnTo>
                  <a:lnTo>
                    <a:pt x="588" y="318"/>
                  </a:lnTo>
                  <a:lnTo>
                    <a:pt x="587" y="319"/>
                  </a:lnTo>
                  <a:lnTo>
                    <a:pt x="584" y="319"/>
                  </a:lnTo>
                  <a:lnTo>
                    <a:pt x="581" y="322"/>
                  </a:lnTo>
                  <a:lnTo>
                    <a:pt x="571" y="329"/>
                  </a:lnTo>
                  <a:lnTo>
                    <a:pt x="560" y="337"/>
                  </a:lnTo>
                  <a:lnTo>
                    <a:pt x="556" y="340"/>
                  </a:lnTo>
                  <a:lnTo>
                    <a:pt x="549" y="346"/>
                  </a:lnTo>
                  <a:lnTo>
                    <a:pt x="546" y="348"/>
                  </a:lnTo>
                  <a:lnTo>
                    <a:pt x="544" y="349"/>
                  </a:lnTo>
                  <a:lnTo>
                    <a:pt x="542" y="350"/>
                  </a:lnTo>
                  <a:lnTo>
                    <a:pt x="541" y="351"/>
                  </a:lnTo>
                  <a:lnTo>
                    <a:pt x="539" y="352"/>
                  </a:lnTo>
                  <a:lnTo>
                    <a:pt x="536" y="353"/>
                  </a:lnTo>
                  <a:lnTo>
                    <a:pt x="531" y="353"/>
                  </a:lnTo>
                  <a:lnTo>
                    <a:pt x="524" y="354"/>
                  </a:lnTo>
                  <a:lnTo>
                    <a:pt x="521" y="354"/>
                  </a:lnTo>
                  <a:lnTo>
                    <a:pt x="520" y="355"/>
                  </a:lnTo>
                  <a:lnTo>
                    <a:pt x="519" y="356"/>
                  </a:lnTo>
                  <a:lnTo>
                    <a:pt x="514" y="360"/>
                  </a:lnTo>
                  <a:lnTo>
                    <a:pt x="513" y="361"/>
                  </a:lnTo>
                  <a:lnTo>
                    <a:pt x="511" y="362"/>
                  </a:lnTo>
                  <a:lnTo>
                    <a:pt x="510" y="363"/>
                  </a:lnTo>
                  <a:lnTo>
                    <a:pt x="508" y="363"/>
                  </a:lnTo>
                  <a:lnTo>
                    <a:pt x="504" y="364"/>
                  </a:lnTo>
                  <a:lnTo>
                    <a:pt x="501" y="364"/>
                  </a:lnTo>
                  <a:lnTo>
                    <a:pt x="499" y="364"/>
                  </a:lnTo>
                  <a:lnTo>
                    <a:pt x="497" y="364"/>
                  </a:lnTo>
                  <a:lnTo>
                    <a:pt x="496" y="364"/>
                  </a:lnTo>
                  <a:lnTo>
                    <a:pt x="495" y="364"/>
                  </a:lnTo>
                  <a:lnTo>
                    <a:pt x="493" y="363"/>
                  </a:lnTo>
                  <a:lnTo>
                    <a:pt x="490" y="360"/>
                  </a:lnTo>
                  <a:lnTo>
                    <a:pt x="489" y="359"/>
                  </a:lnTo>
                  <a:lnTo>
                    <a:pt x="487" y="358"/>
                  </a:lnTo>
                  <a:lnTo>
                    <a:pt x="484" y="357"/>
                  </a:lnTo>
                  <a:lnTo>
                    <a:pt x="482" y="356"/>
                  </a:lnTo>
                  <a:lnTo>
                    <a:pt x="480" y="355"/>
                  </a:lnTo>
                  <a:lnTo>
                    <a:pt x="476" y="353"/>
                  </a:lnTo>
                  <a:lnTo>
                    <a:pt x="468" y="347"/>
                  </a:lnTo>
                  <a:lnTo>
                    <a:pt x="464" y="345"/>
                  </a:lnTo>
                  <a:lnTo>
                    <a:pt x="461" y="342"/>
                  </a:lnTo>
                  <a:lnTo>
                    <a:pt x="457" y="341"/>
                  </a:lnTo>
                  <a:lnTo>
                    <a:pt x="453" y="340"/>
                  </a:lnTo>
                  <a:lnTo>
                    <a:pt x="450" y="339"/>
                  </a:lnTo>
                  <a:lnTo>
                    <a:pt x="446" y="338"/>
                  </a:lnTo>
                  <a:lnTo>
                    <a:pt x="443" y="338"/>
                  </a:lnTo>
                  <a:lnTo>
                    <a:pt x="441" y="338"/>
                  </a:lnTo>
                  <a:lnTo>
                    <a:pt x="440" y="338"/>
                  </a:lnTo>
                  <a:lnTo>
                    <a:pt x="439" y="339"/>
                  </a:lnTo>
                  <a:lnTo>
                    <a:pt x="437" y="339"/>
                  </a:lnTo>
                  <a:lnTo>
                    <a:pt x="433" y="341"/>
                  </a:lnTo>
                  <a:lnTo>
                    <a:pt x="429" y="343"/>
                  </a:lnTo>
                  <a:lnTo>
                    <a:pt x="428" y="344"/>
                  </a:lnTo>
                  <a:lnTo>
                    <a:pt x="426" y="345"/>
                  </a:lnTo>
                  <a:lnTo>
                    <a:pt x="419" y="352"/>
                  </a:lnTo>
                  <a:lnTo>
                    <a:pt x="416" y="353"/>
                  </a:lnTo>
                  <a:lnTo>
                    <a:pt x="404" y="362"/>
                  </a:lnTo>
                  <a:lnTo>
                    <a:pt x="400" y="364"/>
                  </a:lnTo>
                  <a:lnTo>
                    <a:pt x="397" y="366"/>
                  </a:lnTo>
                  <a:lnTo>
                    <a:pt x="395" y="367"/>
                  </a:lnTo>
                  <a:lnTo>
                    <a:pt x="394" y="367"/>
                  </a:lnTo>
                  <a:lnTo>
                    <a:pt x="392" y="368"/>
                  </a:lnTo>
                  <a:lnTo>
                    <a:pt x="389" y="368"/>
                  </a:lnTo>
                  <a:lnTo>
                    <a:pt x="384" y="369"/>
                  </a:lnTo>
                  <a:lnTo>
                    <a:pt x="377" y="369"/>
                  </a:lnTo>
                  <a:lnTo>
                    <a:pt x="375" y="369"/>
                  </a:lnTo>
                  <a:lnTo>
                    <a:pt x="373" y="368"/>
                  </a:lnTo>
                  <a:lnTo>
                    <a:pt x="372" y="368"/>
                  </a:lnTo>
                  <a:lnTo>
                    <a:pt x="370" y="367"/>
                  </a:lnTo>
                  <a:lnTo>
                    <a:pt x="369" y="367"/>
                  </a:lnTo>
                  <a:lnTo>
                    <a:pt x="367" y="366"/>
                  </a:lnTo>
                  <a:lnTo>
                    <a:pt x="362" y="364"/>
                  </a:lnTo>
                  <a:lnTo>
                    <a:pt x="360" y="362"/>
                  </a:lnTo>
                  <a:lnTo>
                    <a:pt x="355" y="359"/>
                  </a:lnTo>
                  <a:lnTo>
                    <a:pt x="351" y="356"/>
                  </a:lnTo>
                  <a:lnTo>
                    <a:pt x="349" y="354"/>
                  </a:lnTo>
                  <a:lnTo>
                    <a:pt x="344" y="351"/>
                  </a:lnTo>
                  <a:lnTo>
                    <a:pt x="337" y="343"/>
                  </a:lnTo>
                  <a:lnTo>
                    <a:pt x="335" y="341"/>
                  </a:lnTo>
                  <a:lnTo>
                    <a:pt x="334" y="341"/>
                  </a:lnTo>
                  <a:lnTo>
                    <a:pt x="331" y="340"/>
                  </a:lnTo>
                  <a:lnTo>
                    <a:pt x="325" y="337"/>
                  </a:lnTo>
                  <a:lnTo>
                    <a:pt x="322" y="335"/>
                  </a:lnTo>
                  <a:lnTo>
                    <a:pt x="311" y="329"/>
                  </a:lnTo>
                  <a:lnTo>
                    <a:pt x="303" y="324"/>
                  </a:lnTo>
                  <a:lnTo>
                    <a:pt x="299" y="322"/>
                  </a:lnTo>
                  <a:lnTo>
                    <a:pt x="296" y="320"/>
                  </a:lnTo>
                  <a:lnTo>
                    <a:pt x="286" y="317"/>
                  </a:lnTo>
                  <a:lnTo>
                    <a:pt x="275" y="313"/>
                  </a:lnTo>
                  <a:lnTo>
                    <a:pt x="270" y="311"/>
                  </a:lnTo>
                  <a:lnTo>
                    <a:pt x="264" y="309"/>
                  </a:lnTo>
                  <a:lnTo>
                    <a:pt x="261" y="308"/>
                  </a:lnTo>
                  <a:lnTo>
                    <a:pt x="258" y="308"/>
                  </a:lnTo>
                  <a:lnTo>
                    <a:pt x="254" y="307"/>
                  </a:lnTo>
                  <a:lnTo>
                    <a:pt x="251" y="307"/>
                  </a:lnTo>
                  <a:lnTo>
                    <a:pt x="248" y="307"/>
                  </a:lnTo>
                  <a:lnTo>
                    <a:pt x="247" y="307"/>
                  </a:lnTo>
                  <a:lnTo>
                    <a:pt x="245" y="307"/>
                  </a:lnTo>
                  <a:lnTo>
                    <a:pt x="243" y="307"/>
                  </a:lnTo>
                  <a:lnTo>
                    <a:pt x="241" y="307"/>
                  </a:lnTo>
                  <a:lnTo>
                    <a:pt x="239" y="307"/>
                  </a:lnTo>
                  <a:lnTo>
                    <a:pt x="236" y="309"/>
                  </a:lnTo>
                  <a:lnTo>
                    <a:pt x="234" y="311"/>
                  </a:lnTo>
                  <a:lnTo>
                    <a:pt x="231" y="313"/>
                  </a:lnTo>
                  <a:lnTo>
                    <a:pt x="225" y="317"/>
                  </a:lnTo>
                  <a:lnTo>
                    <a:pt x="208" y="334"/>
                  </a:lnTo>
                  <a:lnTo>
                    <a:pt x="204" y="337"/>
                  </a:lnTo>
                  <a:lnTo>
                    <a:pt x="201" y="341"/>
                  </a:lnTo>
                  <a:lnTo>
                    <a:pt x="190" y="348"/>
                  </a:lnTo>
                  <a:lnTo>
                    <a:pt x="186" y="351"/>
                  </a:lnTo>
                  <a:lnTo>
                    <a:pt x="183" y="353"/>
                  </a:lnTo>
                  <a:lnTo>
                    <a:pt x="180" y="356"/>
                  </a:lnTo>
                  <a:lnTo>
                    <a:pt x="178" y="359"/>
                  </a:lnTo>
                  <a:lnTo>
                    <a:pt x="176" y="362"/>
                  </a:lnTo>
                  <a:lnTo>
                    <a:pt x="173" y="365"/>
                  </a:lnTo>
                  <a:lnTo>
                    <a:pt x="171" y="369"/>
                  </a:lnTo>
                  <a:lnTo>
                    <a:pt x="170" y="372"/>
                  </a:lnTo>
                  <a:lnTo>
                    <a:pt x="168" y="376"/>
                  </a:lnTo>
                  <a:lnTo>
                    <a:pt x="164" y="388"/>
                  </a:lnTo>
                  <a:lnTo>
                    <a:pt x="163" y="392"/>
                  </a:lnTo>
                  <a:lnTo>
                    <a:pt x="162" y="394"/>
                  </a:lnTo>
                  <a:lnTo>
                    <a:pt x="161" y="396"/>
                  </a:lnTo>
                  <a:lnTo>
                    <a:pt x="160" y="397"/>
                  </a:lnTo>
                  <a:lnTo>
                    <a:pt x="160" y="398"/>
                  </a:lnTo>
                  <a:lnTo>
                    <a:pt x="159" y="398"/>
                  </a:lnTo>
                  <a:lnTo>
                    <a:pt x="158" y="398"/>
                  </a:lnTo>
                  <a:lnTo>
                    <a:pt x="157" y="398"/>
                  </a:lnTo>
                  <a:lnTo>
                    <a:pt x="156" y="399"/>
                  </a:lnTo>
                  <a:lnTo>
                    <a:pt x="153" y="399"/>
                  </a:lnTo>
                  <a:lnTo>
                    <a:pt x="149" y="398"/>
                  </a:lnTo>
                  <a:lnTo>
                    <a:pt x="146" y="398"/>
                  </a:lnTo>
                  <a:lnTo>
                    <a:pt x="144" y="398"/>
                  </a:lnTo>
                  <a:lnTo>
                    <a:pt x="140" y="396"/>
                  </a:lnTo>
                  <a:lnTo>
                    <a:pt x="136" y="394"/>
                  </a:lnTo>
                  <a:lnTo>
                    <a:pt x="133" y="393"/>
                  </a:lnTo>
                  <a:lnTo>
                    <a:pt x="129" y="390"/>
                  </a:lnTo>
                  <a:lnTo>
                    <a:pt x="125" y="387"/>
                  </a:lnTo>
                  <a:lnTo>
                    <a:pt x="122" y="386"/>
                  </a:lnTo>
                  <a:lnTo>
                    <a:pt x="121" y="385"/>
                  </a:lnTo>
                  <a:lnTo>
                    <a:pt x="116" y="380"/>
                  </a:lnTo>
                  <a:lnTo>
                    <a:pt x="113" y="378"/>
                  </a:lnTo>
                  <a:lnTo>
                    <a:pt x="110" y="376"/>
                  </a:lnTo>
                  <a:lnTo>
                    <a:pt x="109" y="375"/>
                  </a:lnTo>
                  <a:lnTo>
                    <a:pt x="107" y="374"/>
                  </a:lnTo>
                  <a:lnTo>
                    <a:pt x="105" y="373"/>
                  </a:lnTo>
                  <a:lnTo>
                    <a:pt x="102" y="372"/>
                  </a:lnTo>
                  <a:lnTo>
                    <a:pt x="100" y="372"/>
                  </a:lnTo>
                  <a:lnTo>
                    <a:pt x="99" y="371"/>
                  </a:lnTo>
                  <a:lnTo>
                    <a:pt x="97" y="371"/>
                  </a:lnTo>
                  <a:lnTo>
                    <a:pt x="95" y="371"/>
                  </a:lnTo>
                  <a:lnTo>
                    <a:pt x="92" y="371"/>
                  </a:lnTo>
                  <a:lnTo>
                    <a:pt x="89" y="372"/>
                  </a:lnTo>
                  <a:lnTo>
                    <a:pt x="87" y="373"/>
                  </a:lnTo>
                  <a:lnTo>
                    <a:pt x="80" y="375"/>
                  </a:lnTo>
                  <a:lnTo>
                    <a:pt x="77" y="375"/>
                  </a:lnTo>
                  <a:lnTo>
                    <a:pt x="76" y="376"/>
                  </a:lnTo>
                  <a:lnTo>
                    <a:pt x="73" y="376"/>
                  </a:lnTo>
                  <a:lnTo>
                    <a:pt x="71" y="376"/>
                  </a:lnTo>
                  <a:lnTo>
                    <a:pt x="69" y="376"/>
                  </a:lnTo>
                  <a:lnTo>
                    <a:pt x="66" y="375"/>
                  </a:lnTo>
                  <a:lnTo>
                    <a:pt x="63" y="375"/>
                  </a:lnTo>
                  <a:lnTo>
                    <a:pt x="61" y="374"/>
                  </a:lnTo>
                  <a:lnTo>
                    <a:pt x="60" y="374"/>
                  </a:lnTo>
                  <a:lnTo>
                    <a:pt x="58" y="373"/>
                  </a:lnTo>
                  <a:lnTo>
                    <a:pt x="57" y="371"/>
                  </a:lnTo>
                  <a:lnTo>
                    <a:pt x="55" y="370"/>
                  </a:lnTo>
                  <a:lnTo>
                    <a:pt x="54" y="367"/>
                  </a:lnTo>
                  <a:lnTo>
                    <a:pt x="52" y="364"/>
                  </a:lnTo>
                  <a:lnTo>
                    <a:pt x="47" y="352"/>
                  </a:lnTo>
                  <a:lnTo>
                    <a:pt x="45" y="348"/>
                  </a:lnTo>
                  <a:lnTo>
                    <a:pt x="43" y="343"/>
                  </a:lnTo>
                  <a:lnTo>
                    <a:pt x="41" y="339"/>
                  </a:lnTo>
                  <a:lnTo>
                    <a:pt x="38" y="335"/>
                  </a:lnTo>
                  <a:lnTo>
                    <a:pt x="35" y="332"/>
                  </a:lnTo>
                  <a:lnTo>
                    <a:pt x="33" y="330"/>
                  </a:lnTo>
                  <a:lnTo>
                    <a:pt x="27" y="323"/>
                  </a:lnTo>
                  <a:lnTo>
                    <a:pt x="24" y="319"/>
                  </a:lnTo>
                  <a:lnTo>
                    <a:pt x="21" y="316"/>
                  </a:lnTo>
                  <a:lnTo>
                    <a:pt x="19" y="312"/>
                  </a:lnTo>
                  <a:lnTo>
                    <a:pt x="19" y="311"/>
                  </a:lnTo>
                  <a:lnTo>
                    <a:pt x="18" y="309"/>
                  </a:lnTo>
                  <a:lnTo>
                    <a:pt x="18" y="307"/>
                  </a:lnTo>
                  <a:lnTo>
                    <a:pt x="17" y="306"/>
                  </a:lnTo>
                  <a:lnTo>
                    <a:pt x="15" y="287"/>
                  </a:lnTo>
                  <a:lnTo>
                    <a:pt x="15" y="284"/>
                  </a:lnTo>
                  <a:lnTo>
                    <a:pt x="14" y="278"/>
                  </a:lnTo>
                  <a:lnTo>
                    <a:pt x="14" y="271"/>
                  </a:lnTo>
                  <a:lnTo>
                    <a:pt x="14" y="264"/>
                  </a:lnTo>
                  <a:lnTo>
                    <a:pt x="14" y="262"/>
                  </a:lnTo>
                  <a:lnTo>
                    <a:pt x="15" y="262"/>
                  </a:lnTo>
                  <a:lnTo>
                    <a:pt x="15" y="260"/>
                  </a:lnTo>
                  <a:lnTo>
                    <a:pt x="16" y="258"/>
                  </a:lnTo>
                  <a:lnTo>
                    <a:pt x="17" y="256"/>
                  </a:lnTo>
                  <a:lnTo>
                    <a:pt x="19" y="254"/>
                  </a:lnTo>
                  <a:lnTo>
                    <a:pt x="21" y="253"/>
                  </a:lnTo>
                  <a:lnTo>
                    <a:pt x="22" y="252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31" y="251"/>
                  </a:lnTo>
                  <a:lnTo>
                    <a:pt x="36" y="251"/>
                  </a:lnTo>
                  <a:lnTo>
                    <a:pt x="37" y="251"/>
                  </a:lnTo>
                  <a:lnTo>
                    <a:pt x="39" y="250"/>
                  </a:lnTo>
                  <a:lnTo>
                    <a:pt x="40" y="250"/>
                  </a:lnTo>
                  <a:lnTo>
                    <a:pt x="41" y="249"/>
                  </a:lnTo>
                  <a:lnTo>
                    <a:pt x="41" y="247"/>
                  </a:lnTo>
                  <a:lnTo>
                    <a:pt x="41" y="246"/>
                  </a:lnTo>
                  <a:lnTo>
                    <a:pt x="41" y="245"/>
                  </a:lnTo>
                  <a:lnTo>
                    <a:pt x="40" y="244"/>
                  </a:lnTo>
                  <a:lnTo>
                    <a:pt x="39" y="242"/>
                  </a:lnTo>
                  <a:lnTo>
                    <a:pt x="35" y="240"/>
                  </a:lnTo>
                  <a:lnTo>
                    <a:pt x="34" y="239"/>
                  </a:lnTo>
                  <a:lnTo>
                    <a:pt x="33" y="238"/>
                  </a:lnTo>
                  <a:lnTo>
                    <a:pt x="31" y="236"/>
                  </a:lnTo>
                  <a:lnTo>
                    <a:pt x="30" y="233"/>
                  </a:lnTo>
                  <a:lnTo>
                    <a:pt x="29" y="231"/>
                  </a:lnTo>
                  <a:lnTo>
                    <a:pt x="29" y="230"/>
                  </a:lnTo>
                  <a:lnTo>
                    <a:pt x="28" y="229"/>
                  </a:lnTo>
                  <a:lnTo>
                    <a:pt x="28" y="228"/>
                  </a:lnTo>
                  <a:lnTo>
                    <a:pt x="28" y="226"/>
                  </a:lnTo>
                  <a:lnTo>
                    <a:pt x="29" y="224"/>
                  </a:lnTo>
                  <a:lnTo>
                    <a:pt x="29" y="221"/>
                  </a:lnTo>
                  <a:lnTo>
                    <a:pt x="31" y="214"/>
                  </a:lnTo>
                  <a:lnTo>
                    <a:pt x="31" y="211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33" y="197"/>
                  </a:lnTo>
                  <a:lnTo>
                    <a:pt x="33" y="189"/>
                  </a:lnTo>
                  <a:lnTo>
                    <a:pt x="33" y="186"/>
                  </a:lnTo>
                  <a:lnTo>
                    <a:pt x="33" y="183"/>
                  </a:lnTo>
                  <a:lnTo>
                    <a:pt x="32" y="180"/>
                  </a:lnTo>
                  <a:lnTo>
                    <a:pt x="31" y="177"/>
                  </a:lnTo>
                  <a:lnTo>
                    <a:pt x="29" y="173"/>
                  </a:lnTo>
                  <a:lnTo>
                    <a:pt x="28" y="171"/>
                  </a:lnTo>
                  <a:lnTo>
                    <a:pt x="26" y="170"/>
                  </a:lnTo>
                  <a:lnTo>
                    <a:pt x="23" y="167"/>
                  </a:lnTo>
                  <a:lnTo>
                    <a:pt x="21" y="165"/>
                  </a:lnTo>
                  <a:lnTo>
                    <a:pt x="19" y="163"/>
                  </a:lnTo>
                  <a:lnTo>
                    <a:pt x="14" y="160"/>
                  </a:lnTo>
                  <a:lnTo>
                    <a:pt x="12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49"/>
                  </a:lnTo>
                  <a:lnTo>
                    <a:pt x="8" y="145"/>
                  </a:lnTo>
                  <a:lnTo>
                    <a:pt x="4" y="136"/>
                  </a:lnTo>
                  <a:lnTo>
                    <a:pt x="3" y="131"/>
                  </a:lnTo>
                  <a:lnTo>
                    <a:pt x="2" y="126"/>
                  </a:lnTo>
                  <a:lnTo>
                    <a:pt x="1" y="120"/>
                  </a:lnTo>
                  <a:lnTo>
                    <a:pt x="0" y="116"/>
                  </a:lnTo>
                  <a:lnTo>
                    <a:pt x="0" y="113"/>
                  </a:lnTo>
                  <a:lnTo>
                    <a:pt x="0" y="110"/>
                  </a:lnTo>
                  <a:lnTo>
                    <a:pt x="1" y="103"/>
                  </a:lnTo>
                  <a:lnTo>
                    <a:pt x="1" y="99"/>
                  </a:lnTo>
                  <a:lnTo>
                    <a:pt x="1" y="95"/>
                  </a:lnTo>
                  <a:lnTo>
                    <a:pt x="1" y="90"/>
                  </a:lnTo>
                  <a:lnTo>
                    <a:pt x="4" y="88"/>
                  </a:lnTo>
                  <a:lnTo>
                    <a:pt x="10" y="81"/>
                  </a:lnTo>
                  <a:lnTo>
                    <a:pt x="16" y="77"/>
                  </a:lnTo>
                  <a:lnTo>
                    <a:pt x="19" y="74"/>
                  </a:lnTo>
                  <a:lnTo>
                    <a:pt x="22" y="71"/>
                  </a:lnTo>
                  <a:lnTo>
                    <a:pt x="25" y="69"/>
                  </a:lnTo>
                  <a:lnTo>
                    <a:pt x="28" y="68"/>
                  </a:lnTo>
                  <a:lnTo>
                    <a:pt x="31" y="67"/>
                  </a:lnTo>
                  <a:lnTo>
                    <a:pt x="34" y="65"/>
                  </a:lnTo>
                  <a:lnTo>
                    <a:pt x="38" y="64"/>
                  </a:lnTo>
                  <a:lnTo>
                    <a:pt x="41" y="64"/>
                  </a:lnTo>
                  <a:lnTo>
                    <a:pt x="61" y="60"/>
                  </a:lnTo>
                  <a:lnTo>
                    <a:pt x="64" y="60"/>
                  </a:lnTo>
                  <a:lnTo>
                    <a:pt x="66" y="60"/>
                  </a:lnTo>
                  <a:lnTo>
                    <a:pt x="76" y="60"/>
                  </a:lnTo>
                  <a:lnTo>
                    <a:pt x="80" y="60"/>
                  </a:lnTo>
                  <a:lnTo>
                    <a:pt x="84" y="60"/>
                  </a:lnTo>
                  <a:lnTo>
                    <a:pt x="85" y="59"/>
                  </a:lnTo>
                  <a:lnTo>
                    <a:pt x="86" y="59"/>
                  </a:lnTo>
                  <a:lnTo>
                    <a:pt x="87" y="58"/>
                  </a:lnTo>
                  <a:lnTo>
                    <a:pt x="88" y="58"/>
                  </a:lnTo>
                  <a:lnTo>
                    <a:pt x="89" y="56"/>
                  </a:lnTo>
                  <a:lnTo>
                    <a:pt x="90" y="54"/>
                  </a:lnTo>
                  <a:lnTo>
                    <a:pt x="91" y="52"/>
                  </a:lnTo>
                  <a:lnTo>
                    <a:pt x="91" y="49"/>
                  </a:lnTo>
                  <a:lnTo>
                    <a:pt x="91" y="47"/>
                  </a:lnTo>
                  <a:lnTo>
                    <a:pt x="92" y="37"/>
                  </a:lnTo>
                  <a:lnTo>
                    <a:pt x="92" y="32"/>
                  </a:lnTo>
                  <a:lnTo>
                    <a:pt x="93" y="29"/>
                  </a:lnTo>
                  <a:lnTo>
                    <a:pt x="93" y="26"/>
                  </a:lnTo>
                  <a:lnTo>
                    <a:pt x="95" y="24"/>
                  </a:lnTo>
                  <a:lnTo>
                    <a:pt x="95" y="23"/>
                  </a:lnTo>
                  <a:lnTo>
                    <a:pt x="96" y="22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99" y="19"/>
                  </a:lnTo>
                  <a:lnTo>
                    <a:pt x="99" y="18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5" y="19"/>
                  </a:lnTo>
                  <a:lnTo>
                    <a:pt x="109" y="21"/>
                  </a:lnTo>
                  <a:lnTo>
                    <a:pt x="110" y="22"/>
                  </a:lnTo>
                  <a:lnTo>
                    <a:pt x="112" y="24"/>
                  </a:lnTo>
                  <a:lnTo>
                    <a:pt x="115" y="26"/>
                  </a:lnTo>
                  <a:lnTo>
                    <a:pt x="120" y="32"/>
                  </a:lnTo>
                  <a:lnTo>
                    <a:pt x="122" y="34"/>
                  </a:lnTo>
                  <a:lnTo>
                    <a:pt x="123" y="35"/>
                  </a:lnTo>
                  <a:lnTo>
                    <a:pt x="125" y="35"/>
                  </a:lnTo>
                  <a:lnTo>
                    <a:pt x="127" y="36"/>
                  </a:lnTo>
                  <a:lnTo>
                    <a:pt x="129" y="36"/>
                  </a:lnTo>
                  <a:lnTo>
                    <a:pt x="131" y="36"/>
                  </a:lnTo>
                  <a:lnTo>
                    <a:pt x="133" y="36"/>
                  </a:lnTo>
                  <a:lnTo>
                    <a:pt x="136" y="37"/>
                  </a:lnTo>
                  <a:lnTo>
                    <a:pt x="139" y="37"/>
                  </a:lnTo>
                  <a:lnTo>
                    <a:pt x="142" y="36"/>
                  </a:lnTo>
                  <a:lnTo>
                    <a:pt x="144" y="36"/>
                  </a:lnTo>
                  <a:lnTo>
                    <a:pt x="149" y="35"/>
                  </a:lnTo>
                  <a:lnTo>
                    <a:pt x="153" y="34"/>
                  </a:lnTo>
                  <a:lnTo>
                    <a:pt x="155" y="33"/>
                  </a:lnTo>
                  <a:lnTo>
                    <a:pt x="156" y="32"/>
                  </a:lnTo>
                  <a:lnTo>
                    <a:pt x="158" y="31"/>
                  </a:lnTo>
                  <a:lnTo>
                    <a:pt x="160" y="30"/>
                  </a:lnTo>
                  <a:lnTo>
                    <a:pt x="164" y="27"/>
                  </a:lnTo>
                  <a:lnTo>
                    <a:pt x="167" y="24"/>
                  </a:lnTo>
                  <a:lnTo>
                    <a:pt x="175" y="15"/>
                  </a:lnTo>
                  <a:lnTo>
                    <a:pt x="189" y="3"/>
                  </a:lnTo>
                  <a:lnTo>
                    <a:pt x="192" y="1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6BAFD6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4" name="Freeform 67">
              <a:extLst>
                <a:ext uri="{FF2B5EF4-FFF2-40B4-BE49-F238E27FC236}">
                  <a16:creationId xmlns:a16="http://schemas.microsoft.com/office/drawing/2014/main" id="{E02ED161-BDE0-4E3B-B6FF-EDE8D6AD4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2" y="2799"/>
              <a:ext cx="332" cy="544"/>
            </a:xfrm>
            <a:custGeom>
              <a:avLst/>
              <a:gdLst>
                <a:gd name="T0" fmla="*/ 125 w 332"/>
                <a:gd name="T1" fmla="*/ 12 h 544"/>
                <a:gd name="T2" fmla="*/ 145 w 332"/>
                <a:gd name="T3" fmla="*/ 38 h 544"/>
                <a:gd name="T4" fmla="*/ 156 w 332"/>
                <a:gd name="T5" fmla="*/ 56 h 544"/>
                <a:gd name="T6" fmla="*/ 168 w 332"/>
                <a:gd name="T7" fmla="*/ 89 h 544"/>
                <a:gd name="T8" fmla="*/ 183 w 332"/>
                <a:gd name="T9" fmla="*/ 108 h 544"/>
                <a:gd name="T10" fmla="*/ 197 w 332"/>
                <a:gd name="T11" fmla="*/ 124 h 544"/>
                <a:gd name="T12" fmla="*/ 204 w 332"/>
                <a:gd name="T13" fmla="*/ 123 h 544"/>
                <a:gd name="T14" fmla="*/ 211 w 332"/>
                <a:gd name="T15" fmla="*/ 116 h 544"/>
                <a:gd name="T16" fmla="*/ 213 w 332"/>
                <a:gd name="T17" fmla="*/ 137 h 544"/>
                <a:gd name="T18" fmla="*/ 209 w 332"/>
                <a:gd name="T19" fmla="*/ 167 h 544"/>
                <a:gd name="T20" fmla="*/ 240 w 332"/>
                <a:gd name="T21" fmla="*/ 183 h 544"/>
                <a:gd name="T22" fmla="*/ 277 w 332"/>
                <a:gd name="T23" fmla="*/ 204 h 544"/>
                <a:gd name="T24" fmla="*/ 289 w 332"/>
                <a:gd name="T25" fmla="*/ 237 h 544"/>
                <a:gd name="T26" fmla="*/ 285 w 332"/>
                <a:gd name="T27" fmla="*/ 290 h 544"/>
                <a:gd name="T28" fmla="*/ 287 w 332"/>
                <a:gd name="T29" fmla="*/ 318 h 544"/>
                <a:gd name="T30" fmla="*/ 299 w 332"/>
                <a:gd name="T31" fmla="*/ 361 h 544"/>
                <a:gd name="T32" fmla="*/ 300 w 332"/>
                <a:gd name="T33" fmla="*/ 376 h 544"/>
                <a:gd name="T34" fmla="*/ 323 w 332"/>
                <a:gd name="T35" fmla="*/ 377 h 544"/>
                <a:gd name="T36" fmla="*/ 331 w 332"/>
                <a:gd name="T37" fmla="*/ 383 h 544"/>
                <a:gd name="T38" fmla="*/ 327 w 332"/>
                <a:gd name="T39" fmla="*/ 408 h 544"/>
                <a:gd name="T40" fmla="*/ 306 w 332"/>
                <a:gd name="T41" fmla="*/ 427 h 544"/>
                <a:gd name="T42" fmla="*/ 270 w 332"/>
                <a:gd name="T43" fmla="*/ 453 h 544"/>
                <a:gd name="T44" fmla="*/ 247 w 332"/>
                <a:gd name="T45" fmla="*/ 465 h 544"/>
                <a:gd name="T46" fmla="*/ 228 w 332"/>
                <a:gd name="T47" fmla="*/ 464 h 544"/>
                <a:gd name="T48" fmla="*/ 208 w 332"/>
                <a:gd name="T49" fmla="*/ 448 h 544"/>
                <a:gd name="T50" fmla="*/ 200 w 332"/>
                <a:gd name="T51" fmla="*/ 449 h 544"/>
                <a:gd name="T52" fmla="*/ 194 w 332"/>
                <a:gd name="T53" fmla="*/ 476 h 544"/>
                <a:gd name="T54" fmla="*/ 188 w 332"/>
                <a:gd name="T55" fmla="*/ 488 h 544"/>
                <a:gd name="T56" fmla="*/ 141 w 332"/>
                <a:gd name="T57" fmla="*/ 493 h 544"/>
                <a:gd name="T58" fmla="*/ 113 w 332"/>
                <a:gd name="T59" fmla="*/ 510 h 544"/>
                <a:gd name="T60" fmla="*/ 89 w 332"/>
                <a:gd name="T61" fmla="*/ 525 h 544"/>
                <a:gd name="T62" fmla="*/ 72 w 332"/>
                <a:gd name="T63" fmla="*/ 533 h 544"/>
                <a:gd name="T64" fmla="*/ 54 w 332"/>
                <a:gd name="T65" fmla="*/ 544 h 544"/>
                <a:gd name="T66" fmla="*/ 43 w 332"/>
                <a:gd name="T67" fmla="*/ 542 h 544"/>
                <a:gd name="T68" fmla="*/ 33 w 332"/>
                <a:gd name="T69" fmla="*/ 532 h 544"/>
                <a:gd name="T70" fmla="*/ 18 w 332"/>
                <a:gd name="T71" fmla="*/ 488 h 544"/>
                <a:gd name="T72" fmla="*/ 12 w 332"/>
                <a:gd name="T73" fmla="*/ 465 h 544"/>
                <a:gd name="T74" fmla="*/ 1 w 332"/>
                <a:gd name="T75" fmla="*/ 457 h 544"/>
                <a:gd name="T76" fmla="*/ 11 w 332"/>
                <a:gd name="T77" fmla="*/ 430 h 544"/>
                <a:gd name="T78" fmla="*/ 23 w 332"/>
                <a:gd name="T79" fmla="*/ 396 h 544"/>
                <a:gd name="T80" fmla="*/ 28 w 332"/>
                <a:gd name="T81" fmla="*/ 376 h 544"/>
                <a:gd name="T82" fmla="*/ 44 w 332"/>
                <a:gd name="T83" fmla="*/ 371 h 544"/>
                <a:gd name="T84" fmla="*/ 56 w 332"/>
                <a:gd name="T85" fmla="*/ 360 h 544"/>
                <a:gd name="T86" fmla="*/ 57 w 332"/>
                <a:gd name="T87" fmla="*/ 331 h 544"/>
                <a:gd name="T88" fmla="*/ 53 w 332"/>
                <a:gd name="T89" fmla="*/ 313 h 544"/>
                <a:gd name="T90" fmla="*/ 33 w 332"/>
                <a:gd name="T91" fmla="*/ 283 h 544"/>
                <a:gd name="T92" fmla="*/ 39 w 332"/>
                <a:gd name="T93" fmla="*/ 260 h 544"/>
                <a:gd name="T94" fmla="*/ 39 w 332"/>
                <a:gd name="T95" fmla="*/ 249 h 544"/>
                <a:gd name="T96" fmla="*/ 45 w 332"/>
                <a:gd name="T97" fmla="*/ 244 h 544"/>
                <a:gd name="T98" fmla="*/ 34 w 332"/>
                <a:gd name="T99" fmla="*/ 231 h 544"/>
                <a:gd name="T100" fmla="*/ 30 w 332"/>
                <a:gd name="T101" fmla="*/ 217 h 544"/>
                <a:gd name="T102" fmla="*/ 43 w 332"/>
                <a:gd name="T103" fmla="*/ 192 h 544"/>
                <a:gd name="T104" fmla="*/ 34 w 332"/>
                <a:gd name="T105" fmla="*/ 158 h 544"/>
                <a:gd name="T106" fmla="*/ 39 w 332"/>
                <a:gd name="T107" fmla="*/ 150 h 544"/>
                <a:gd name="T108" fmla="*/ 56 w 332"/>
                <a:gd name="T109" fmla="*/ 150 h 544"/>
                <a:gd name="T110" fmla="*/ 64 w 332"/>
                <a:gd name="T111" fmla="*/ 144 h 544"/>
                <a:gd name="T112" fmla="*/ 82 w 332"/>
                <a:gd name="T113" fmla="*/ 118 h 544"/>
                <a:gd name="T114" fmla="*/ 98 w 332"/>
                <a:gd name="T115" fmla="*/ 89 h 544"/>
                <a:gd name="T116" fmla="*/ 98 w 332"/>
                <a:gd name="T117" fmla="*/ 73 h 544"/>
                <a:gd name="T118" fmla="*/ 88 w 332"/>
                <a:gd name="T119" fmla="*/ 53 h 544"/>
                <a:gd name="T120" fmla="*/ 66 w 332"/>
                <a:gd name="T121" fmla="*/ 25 h 544"/>
                <a:gd name="T122" fmla="*/ 94 w 332"/>
                <a:gd name="T123" fmla="*/ 5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544">
                  <a:moveTo>
                    <a:pt x="105" y="1"/>
                  </a:moveTo>
                  <a:lnTo>
                    <a:pt x="106" y="2"/>
                  </a:lnTo>
                  <a:lnTo>
                    <a:pt x="110" y="5"/>
                  </a:lnTo>
                  <a:lnTo>
                    <a:pt x="113" y="6"/>
                  </a:lnTo>
                  <a:lnTo>
                    <a:pt x="120" y="9"/>
                  </a:lnTo>
                  <a:lnTo>
                    <a:pt x="122" y="10"/>
                  </a:lnTo>
                  <a:lnTo>
                    <a:pt x="124" y="11"/>
                  </a:lnTo>
                  <a:lnTo>
                    <a:pt x="125" y="12"/>
                  </a:lnTo>
                  <a:lnTo>
                    <a:pt x="128" y="14"/>
                  </a:lnTo>
                  <a:lnTo>
                    <a:pt x="130" y="17"/>
                  </a:lnTo>
                  <a:lnTo>
                    <a:pt x="132" y="19"/>
                  </a:lnTo>
                  <a:lnTo>
                    <a:pt x="134" y="22"/>
                  </a:lnTo>
                  <a:lnTo>
                    <a:pt x="136" y="28"/>
                  </a:lnTo>
                  <a:lnTo>
                    <a:pt x="138" y="32"/>
                  </a:lnTo>
                  <a:lnTo>
                    <a:pt x="141" y="34"/>
                  </a:lnTo>
                  <a:lnTo>
                    <a:pt x="145" y="38"/>
                  </a:lnTo>
                  <a:lnTo>
                    <a:pt x="146" y="40"/>
                  </a:lnTo>
                  <a:lnTo>
                    <a:pt x="147" y="42"/>
                  </a:lnTo>
                  <a:lnTo>
                    <a:pt x="149" y="45"/>
                  </a:lnTo>
                  <a:lnTo>
                    <a:pt x="150" y="46"/>
                  </a:lnTo>
                  <a:lnTo>
                    <a:pt x="152" y="48"/>
                  </a:lnTo>
                  <a:lnTo>
                    <a:pt x="155" y="53"/>
                  </a:lnTo>
                  <a:lnTo>
                    <a:pt x="156" y="54"/>
                  </a:lnTo>
                  <a:lnTo>
                    <a:pt x="156" y="56"/>
                  </a:lnTo>
                  <a:lnTo>
                    <a:pt x="157" y="57"/>
                  </a:lnTo>
                  <a:lnTo>
                    <a:pt x="158" y="60"/>
                  </a:lnTo>
                  <a:lnTo>
                    <a:pt x="160" y="66"/>
                  </a:lnTo>
                  <a:lnTo>
                    <a:pt x="163" y="74"/>
                  </a:lnTo>
                  <a:lnTo>
                    <a:pt x="165" y="82"/>
                  </a:lnTo>
                  <a:lnTo>
                    <a:pt x="166" y="85"/>
                  </a:lnTo>
                  <a:lnTo>
                    <a:pt x="167" y="87"/>
                  </a:lnTo>
                  <a:lnTo>
                    <a:pt x="168" y="89"/>
                  </a:lnTo>
                  <a:lnTo>
                    <a:pt x="169" y="90"/>
                  </a:lnTo>
                  <a:lnTo>
                    <a:pt x="171" y="92"/>
                  </a:lnTo>
                  <a:lnTo>
                    <a:pt x="175" y="95"/>
                  </a:lnTo>
                  <a:lnTo>
                    <a:pt x="177" y="97"/>
                  </a:lnTo>
                  <a:lnTo>
                    <a:pt x="178" y="99"/>
                  </a:lnTo>
                  <a:lnTo>
                    <a:pt x="179" y="100"/>
                  </a:lnTo>
                  <a:lnTo>
                    <a:pt x="179" y="102"/>
                  </a:lnTo>
                  <a:lnTo>
                    <a:pt x="183" y="108"/>
                  </a:lnTo>
                  <a:lnTo>
                    <a:pt x="184" y="111"/>
                  </a:lnTo>
                  <a:lnTo>
                    <a:pt x="185" y="112"/>
                  </a:lnTo>
                  <a:lnTo>
                    <a:pt x="188" y="114"/>
                  </a:lnTo>
                  <a:lnTo>
                    <a:pt x="190" y="118"/>
                  </a:lnTo>
                  <a:lnTo>
                    <a:pt x="191" y="120"/>
                  </a:lnTo>
                  <a:lnTo>
                    <a:pt x="194" y="123"/>
                  </a:lnTo>
                  <a:lnTo>
                    <a:pt x="196" y="124"/>
                  </a:lnTo>
                  <a:lnTo>
                    <a:pt x="197" y="124"/>
                  </a:lnTo>
                  <a:lnTo>
                    <a:pt x="198" y="124"/>
                  </a:lnTo>
                  <a:lnTo>
                    <a:pt x="199" y="124"/>
                  </a:lnTo>
                  <a:lnTo>
                    <a:pt x="200" y="124"/>
                  </a:lnTo>
                  <a:lnTo>
                    <a:pt x="201" y="124"/>
                  </a:lnTo>
                  <a:lnTo>
                    <a:pt x="202" y="124"/>
                  </a:lnTo>
                  <a:lnTo>
                    <a:pt x="202" y="124"/>
                  </a:lnTo>
                  <a:lnTo>
                    <a:pt x="203" y="124"/>
                  </a:lnTo>
                  <a:lnTo>
                    <a:pt x="204" y="123"/>
                  </a:lnTo>
                  <a:lnTo>
                    <a:pt x="205" y="122"/>
                  </a:lnTo>
                  <a:lnTo>
                    <a:pt x="207" y="118"/>
                  </a:lnTo>
                  <a:lnTo>
                    <a:pt x="208" y="117"/>
                  </a:lnTo>
                  <a:lnTo>
                    <a:pt x="209" y="116"/>
                  </a:lnTo>
                  <a:lnTo>
                    <a:pt x="209" y="115"/>
                  </a:lnTo>
                  <a:lnTo>
                    <a:pt x="210" y="115"/>
                  </a:lnTo>
                  <a:lnTo>
                    <a:pt x="211" y="115"/>
                  </a:lnTo>
                  <a:lnTo>
                    <a:pt x="211" y="116"/>
                  </a:lnTo>
                  <a:lnTo>
                    <a:pt x="212" y="116"/>
                  </a:lnTo>
                  <a:lnTo>
                    <a:pt x="212" y="117"/>
                  </a:lnTo>
                  <a:lnTo>
                    <a:pt x="213" y="119"/>
                  </a:lnTo>
                  <a:lnTo>
                    <a:pt x="213" y="122"/>
                  </a:lnTo>
                  <a:lnTo>
                    <a:pt x="213" y="124"/>
                  </a:lnTo>
                  <a:lnTo>
                    <a:pt x="213" y="128"/>
                  </a:lnTo>
                  <a:lnTo>
                    <a:pt x="213" y="133"/>
                  </a:lnTo>
                  <a:lnTo>
                    <a:pt x="213" y="137"/>
                  </a:lnTo>
                  <a:lnTo>
                    <a:pt x="212" y="140"/>
                  </a:lnTo>
                  <a:lnTo>
                    <a:pt x="210" y="149"/>
                  </a:lnTo>
                  <a:lnTo>
                    <a:pt x="208" y="156"/>
                  </a:lnTo>
                  <a:lnTo>
                    <a:pt x="207" y="162"/>
                  </a:lnTo>
                  <a:lnTo>
                    <a:pt x="207" y="163"/>
                  </a:lnTo>
                  <a:lnTo>
                    <a:pt x="207" y="164"/>
                  </a:lnTo>
                  <a:lnTo>
                    <a:pt x="208" y="166"/>
                  </a:lnTo>
                  <a:lnTo>
                    <a:pt x="209" y="167"/>
                  </a:lnTo>
                  <a:lnTo>
                    <a:pt x="210" y="168"/>
                  </a:lnTo>
                  <a:lnTo>
                    <a:pt x="211" y="169"/>
                  </a:lnTo>
                  <a:lnTo>
                    <a:pt x="214" y="170"/>
                  </a:lnTo>
                  <a:lnTo>
                    <a:pt x="222" y="175"/>
                  </a:lnTo>
                  <a:lnTo>
                    <a:pt x="226" y="178"/>
                  </a:lnTo>
                  <a:lnTo>
                    <a:pt x="230" y="180"/>
                  </a:lnTo>
                  <a:lnTo>
                    <a:pt x="235" y="181"/>
                  </a:lnTo>
                  <a:lnTo>
                    <a:pt x="240" y="183"/>
                  </a:lnTo>
                  <a:lnTo>
                    <a:pt x="247" y="185"/>
                  </a:lnTo>
                  <a:lnTo>
                    <a:pt x="251" y="186"/>
                  </a:lnTo>
                  <a:lnTo>
                    <a:pt x="257" y="189"/>
                  </a:lnTo>
                  <a:lnTo>
                    <a:pt x="260" y="191"/>
                  </a:lnTo>
                  <a:lnTo>
                    <a:pt x="264" y="193"/>
                  </a:lnTo>
                  <a:lnTo>
                    <a:pt x="269" y="196"/>
                  </a:lnTo>
                  <a:lnTo>
                    <a:pt x="275" y="202"/>
                  </a:lnTo>
                  <a:lnTo>
                    <a:pt x="277" y="204"/>
                  </a:lnTo>
                  <a:lnTo>
                    <a:pt x="278" y="204"/>
                  </a:lnTo>
                  <a:lnTo>
                    <a:pt x="279" y="206"/>
                  </a:lnTo>
                  <a:lnTo>
                    <a:pt x="280" y="207"/>
                  </a:lnTo>
                  <a:lnTo>
                    <a:pt x="281" y="211"/>
                  </a:lnTo>
                  <a:lnTo>
                    <a:pt x="281" y="214"/>
                  </a:lnTo>
                  <a:lnTo>
                    <a:pt x="286" y="226"/>
                  </a:lnTo>
                  <a:lnTo>
                    <a:pt x="288" y="233"/>
                  </a:lnTo>
                  <a:lnTo>
                    <a:pt x="289" y="237"/>
                  </a:lnTo>
                  <a:lnTo>
                    <a:pt x="293" y="246"/>
                  </a:lnTo>
                  <a:lnTo>
                    <a:pt x="297" y="258"/>
                  </a:lnTo>
                  <a:lnTo>
                    <a:pt x="299" y="260"/>
                  </a:lnTo>
                  <a:lnTo>
                    <a:pt x="299" y="261"/>
                  </a:lnTo>
                  <a:lnTo>
                    <a:pt x="290" y="278"/>
                  </a:lnTo>
                  <a:lnTo>
                    <a:pt x="287" y="283"/>
                  </a:lnTo>
                  <a:lnTo>
                    <a:pt x="286" y="287"/>
                  </a:lnTo>
                  <a:lnTo>
                    <a:pt x="285" y="290"/>
                  </a:lnTo>
                  <a:lnTo>
                    <a:pt x="284" y="292"/>
                  </a:lnTo>
                  <a:lnTo>
                    <a:pt x="283" y="294"/>
                  </a:lnTo>
                  <a:lnTo>
                    <a:pt x="283" y="298"/>
                  </a:lnTo>
                  <a:lnTo>
                    <a:pt x="283" y="301"/>
                  </a:lnTo>
                  <a:lnTo>
                    <a:pt x="284" y="304"/>
                  </a:lnTo>
                  <a:lnTo>
                    <a:pt x="285" y="311"/>
                  </a:lnTo>
                  <a:lnTo>
                    <a:pt x="286" y="315"/>
                  </a:lnTo>
                  <a:lnTo>
                    <a:pt x="287" y="318"/>
                  </a:lnTo>
                  <a:lnTo>
                    <a:pt x="287" y="328"/>
                  </a:lnTo>
                  <a:lnTo>
                    <a:pt x="288" y="330"/>
                  </a:lnTo>
                  <a:lnTo>
                    <a:pt x="288" y="333"/>
                  </a:lnTo>
                  <a:lnTo>
                    <a:pt x="289" y="336"/>
                  </a:lnTo>
                  <a:lnTo>
                    <a:pt x="291" y="340"/>
                  </a:lnTo>
                  <a:lnTo>
                    <a:pt x="295" y="351"/>
                  </a:lnTo>
                  <a:lnTo>
                    <a:pt x="298" y="358"/>
                  </a:lnTo>
                  <a:lnTo>
                    <a:pt x="299" y="361"/>
                  </a:lnTo>
                  <a:lnTo>
                    <a:pt x="299" y="362"/>
                  </a:lnTo>
                  <a:lnTo>
                    <a:pt x="300" y="365"/>
                  </a:lnTo>
                  <a:lnTo>
                    <a:pt x="300" y="366"/>
                  </a:lnTo>
                  <a:lnTo>
                    <a:pt x="299" y="371"/>
                  </a:lnTo>
                  <a:lnTo>
                    <a:pt x="299" y="373"/>
                  </a:lnTo>
                  <a:lnTo>
                    <a:pt x="300" y="374"/>
                  </a:lnTo>
                  <a:lnTo>
                    <a:pt x="300" y="375"/>
                  </a:lnTo>
                  <a:lnTo>
                    <a:pt x="300" y="376"/>
                  </a:lnTo>
                  <a:lnTo>
                    <a:pt x="301" y="377"/>
                  </a:lnTo>
                  <a:lnTo>
                    <a:pt x="303" y="377"/>
                  </a:lnTo>
                  <a:lnTo>
                    <a:pt x="304" y="378"/>
                  </a:lnTo>
                  <a:lnTo>
                    <a:pt x="306" y="378"/>
                  </a:lnTo>
                  <a:lnTo>
                    <a:pt x="313" y="378"/>
                  </a:lnTo>
                  <a:lnTo>
                    <a:pt x="316" y="378"/>
                  </a:lnTo>
                  <a:lnTo>
                    <a:pt x="319" y="378"/>
                  </a:lnTo>
                  <a:lnTo>
                    <a:pt x="323" y="377"/>
                  </a:lnTo>
                  <a:lnTo>
                    <a:pt x="325" y="377"/>
                  </a:lnTo>
                  <a:lnTo>
                    <a:pt x="327" y="377"/>
                  </a:lnTo>
                  <a:lnTo>
                    <a:pt x="327" y="377"/>
                  </a:lnTo>
                  <a:lnTo>
                    <a:pt x="328" y="378"/>
                  </a:lnTo>
                  <a:lnTo>
                    <a:pt x="329" y="379"/>
                  </a:lnTo>
                  <a:lnTo>
                    <a:pt x="330" y="380"/>
                  </a:lnTo>
                  <a:lnTo>
                    <a:pt x="331" y="381"/>
                  </a:lnTo>
                  <a:lnTo>
                    <a:pt x="331" y="383"/>
                  </a:lnTo>
                  <a:lnTo>
                    <a:pt x="332" y="384"/>
                  </a:lnTo>
                  <a:lnTo>
                    <a:pt x="332" y="385"/>
                  </a:lnTo>
                  <a:lnTo>
                    <a:pt x="332" y="388"/>
                  </a:lnTo>
                  <a:lnTo>
                    <a:pt x="332" y="392"/>
                  </a:lnTo>
                  <a:lnTo>
                    <a:pt x="331" y="396"/>
                  </a:lnTo>
                  <a:lnTo>
                    <a:pt x="330" y="399"/>
                  </a:lnTo>
                  <a:lnTo>
                    <a:pt x="328" y="405"/>
                  </a:lnTo>
                  <a:lnTo>
                    <a:pt x="327" y="408"/>
                  </a:lnTo>
                  <a:lnTo>
                    <a:pt x="326" y="410"/>
                  </a:lnTo>
                  <a:lnTo>
                    <a:pt x="324" y="414"/>
                  </a:lnTo>
                  <a:lnTo>
                    <a:pt x="322" y="417"/>
                  </a:lnTo>
                  <a:lnTo>
                    <a:pt x="320" y="419"/>
                  </a:lnTo>
                  <a:lnTo>
                    <a:pt x="317" y="420"/>
                  </a:lnTo>
                  <a:lnTo>
                    <a:pt x="314" y="423"/>
                  </a:lnTo>
                  <a:lnTo>
                    <a:pt x="310" y="425"/>
                  </a:lnTo>
                  <a:lnTo>
                    <a:pt x="306" y="427"/>
                  </a:lnTo>
                  <a:lnTo>
                    <a:pt x="303" y="428"/>
                  </a:lnTo>
                  <a:lnTo>
                    <a:pt x="299" y="429"/>
                  </a:lnTo>
                  <a:lnTo>
                    <a:pt x="297" y="429"/>
                  </a:lnTo>
                  <a:lnTo>
                    <a:pt x="296" y="429"/>
                  </a:lnTo>
                  <a:lnTo>
                    <a:pt x="295" y="430"/>
                  </a:lnTo>
                  <a:lnTo>
                    <a:pt x="292" y="432"/>
                  </a:lnTo>
                  <a:lnTo>
                    <a:pt x="278" y="444"/>
                  </a:lnTo>
                  <a:lnTo>
                    <a:pt x="270" y="453"/>
                  </a:lnTo>
                  <a:lnTo>
                    <a:pt x="267" y="456"/>
                  </a:lnTo>
                  <a:lnTo>
                    <a:pt x="263" y="459"/>
                  </a:lnTo>
                  <a:lnTo>
                    <a:pt x="261" y="460"/>
                  </a:lnTo>
                  <a:lnTo>
                    <a:pt x="259" y="461"/>
                  </a:lnTo>
                  <a:lnTo>
                    <a:pt x="258" y="462"/>
                  </a:lnTo>
                  <a:lnTo>
                    <a:pt x="256" y="463"/>
                  </a:lnTo>
                  <a:lnTo>
                    <a:pt x="252" y="464"/>
                  </a:lnTo>
                  <a:lnTo>
                    <a:pt x="247" y="465"/>
                  </a:lnTo>
                  <a:lnTo>
                    <a:pt x="245" y="465"/>
                  </a:lnTo>
                  <a:lnTo>
                    <a:pt x="242" y="466"/>
                  </a:lnTo>
                  <a:lnTo>
                    <a:pt x="239" y="466"/>
                  </a:lnTo>
                  <a:lnTo>
                    <a:pt x="236" y="465"/>
                  </a:lnTo>
                  <a:lnTo>
                    <a:pt x="234" y="465"/>
                  </a:lnTo>
                  <a:lnTo>
                    <a:pt x="232" y="465"/>
                  </a:lnTo>
                  <a:lnTo>
                    <a:pt x="230" y="465"/>
                  </a:lnTo>
                  <a:lnTo>
                    <a:pt x="228" y="464"/>
                  </a:lnTo>
                  <a:lnTo>
                    <a:pt x="226" y="464"/>
                  </a:lnTo>
                  <a:lnTo>
                    <a:pt x="225" y="463"/>
                  </a:lnTo>
                  <a:lnTo>
                    <a:pt x="223" y="461"/>
                  </a:lnTo>
                  <a:lnTo>
                    <a:pt x="218" y="455"/>
                  </a:lnTo>
                  <a:lnTo>
                    <a:pt x="215" y="453"/>
                  </a:lnTo>
                  <a:lnTo>
                    <a:pt x="213" y="451"/>
                  </a:lnTo>
                  <a:lnTo>
                    <a:pt x="212" y="450"/>
                  </a:lnTo>
                  <a:lnTo>
                    <a:pt x="208" y="448"/>
                  </a:lnTo>
                  <a:lnTo>
                    <a:pt x="206" y="447"/>
                  </a:lnTo>
                  <a:lnTo>
                    <a:pt x="205" y="447"/>
                  </a:lnTo>
                  <a:lnTo>
                    <a:pt x="204" y="447"/>
                  </a:lnTo>
                  <a:lnTo>
                    <a:pt x="203" y="447"/>
                  </a:lnTo>
                  <a:lnTo>
                    <a:pt x="202" y="447"/>
                  </a:lnTo>
                  <a:lnTo>
                    <a:pt x="202" y="448"/>
                  </a:lnTo>
                  <a:lnTo>
                    <a:pt x="201" y="449"/>
                  </a:lnTo>
                  <a:lnTo>
                    <a:pt x="200" y="449"/>
                  </a:lnTo>
                  <a:lnTo>
                    <a:pt x="199" y="451"/>
                  </a:lnTo>
                  <a:lnTo>
                    <a:pt x="198" y="452"/>
                  </a:lnTo>
                  <a:lnTo>
                    <a:pt x="198" y="453"/>
                  </a:lnTo>
                  <a:lnTo>
                    <a:pt x="196" y="455"/>
                  </a:lnTo>
                  <a:lnTo>
                    <a:pt x="196" y="458"/>
                  </a:lnTo>
                  <a:lnTo>
                    <a:pt x="195" y="461"/>
                  </a:lnTo>
                  <a:lnTo>
                    <a:pt x="195" y="466"/>
                  </a:lnTo>
                  <a:lnTo>
                    <a:pt x="194" y="476"/>
                  </a:lnTo>
                  <a:lnTo>
                    <a:pt x="194" y="478"/>
                  </a:lnTo>
                  <a:lnTo>
                    <a:pt x="194" y="481"/>
                  </a:lnTo>
                  <a:lnTo>
                    <a:pt x="193" y="483"/>
                  </a:lnTo>
                  <a:lnTo>
                    <a:pt x="192" y="485"/>
                  </a:lnTo>
                  <a:lnTo>
                    <a:pt x="191" y="487"/>
                  </a:lnTo>
                  <a:lnTo>
                    <a:pt x="190" y="487"/>
                  </a:lnTo>
                  <a:lnTo>
                    <a:pt x="189" y="488"/>
                  </a:lnTo>
                  <a:lnTo>
                    <a:pt x="188" y="488"/>
                  </a:lnTo>
                  <a:lnTo>
                    <a:pt x="187" y="489"/>
                  </a:lnTo>
                  <a:lnTo>
                    <a:pt x="183" y="489"/>
                  </a:lnTo>
                  <a:lnTo>
                    <a:pt x="179" y="489"/>
                  </a:lnTo>
                  <a:lnTo>
                    <a:pt x="169" y="489"/>
                  </a:lnTo>
                  <a:lnTo>
                    <a:pt x="167" y="489"/>
                  </a:lnTo>
                  <a:lnTo>
                    <a:pt x="164" y="489"/>
                  </a:lnTo>
                  <a:lnTo>
                    <a:pt x="144" y="493"/>
                  </a:lnTo>
                  <a:lnTo>
                    <a:pt x="141" y="493"/>
                  </a:lnTo>
                  <a:lnTo>
                    <a:pt x="137" y="494"/>
                  </a:lnTo>
                  <a:lnTo>
                    <a:pt x="134" y="496"/>
                  </a:lnTo>
                  <a:lnTo>
                    <a:pt x="131" y="497"/>
                  </a:lnTo>
                  <a:lnTo>
                    <a:pt x="128" y="498"/>
                  </a:lnTo>
                  <a:lnTo>
                    <a:pt x="125" y="500"/>
                  </a:lnTo>
                  <a:lnTo>
                    <a:pt x="122" y="503"/>
                  </a:lnTo>
                  <a:lnTo>
                    <a:pt x="119" y="506"/>
                  </a:lnTo>
                  <a:lnTo>
                    <a:pt x="113" y="510"/>
                  </a:lnTo>
                  <a:lnTo>
                    <a:pt x="107" y="517"/>
                  </a:lnTo>
                  <a:lnTo>
                    <a:pt x="104" y="519"/>
                  </a:lnTo>
                  <a:lnTo>
                    <a:pt x="97" y="520"/>
                  </a:lnTo>
                  <a:lnTo>
                    <a:pt x="96" y="520"/>
                  </a:lnTo>
                  <a:lnTo>
                    <a:pt x="95" y="520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89" y="525"/>
                  </a:lnTo>
                  <a:lnTo>
                    <a:pt x="86" y="530"/>
                  </a:lnTo>
                  <a:lnTo>
                    <a:pt x="85" y="531"/>
                  </a:lnTo>
                  <a:lnTo>
                    <a:pt x="84" y="531"/>
                  </a:lnTo>
                  <a:lnTo>
                    <a:pt x="82" y="532"/>
                  </a:lnTo>
                  <a:lnTo>
                    <a:pt x="80" y="532"/>
                  </a:lnTo>
                  <a:lnTo>
                    <a:pt x="76" y="533"/>
                  </a:lnTo>
                  <a:lnTo>
                    <a:pt x="74" y="533"/>
                  </a:lnTo>
                  <a:lnTo>
                    <a:pt x="72" y="533"/>
                  </a:lnTo>
                  <a:lnTo>
                    <a:pt x="70" y="534"/>
                  </a:lnTo>
                  <a:lnTo>
                    <a:pt x="69" y="534"/>
                  </a:lnTo>
                  <a:lnTo>
                    <a:pt x="68" y="535"/>
                  </a:lnTo>
                  <a:lnTo>
                    <a:pt x="65" y="536"/>
                  </a:lnTo>
                  <a:lnTo>
                    <a:pt x="61" y="541"/>
                  </a:lnTo>
                  <a:lnTo>
                    <a:pt x="59" y="542"/>
                  </a:lnTo>
                  <a:lnTo>
                    <a:pt x="56" y="543"/>
                  </a:lnTo>
                  <a:lnTo>
                    <a:pt x="54" y="544"/>
                  </a:lnTo>
                  <a:lnTo>
                    <a:pt x="53" y="544"/>
                  </a:lnTo>
                  <a:lnTo>
                    <a:pt x="51" y="544"/>
                  </a:lnTo>
                  <a:lnTo>
                    <a:pt x="49" y="544"/>
                  </a:lnTo>
                  <a:lnTo>
                    <a:pt x="48" y="544"/>
                  </a:lnTo>
                  <a:lnTo>
                    <a:pt x="46" y="544"/>
                  </a:lnTo>
                  <a:lnTo>
                    <a:pt x="45" y="544"/>
                  </a:lnTo>
                  <a:lnTo>
                    <a:pt x="44" y="543"/>
                  </a:lnTo>
                  <a:lnTo>
                    <a:pt x="43" y="542"/>
                  </a:lnTo>
                  <a:lnTo>
                    <a:pt x="41" y="541"/>
                  </a:lnTo>
                  <a:lnTo>
                    <a:pt x="40" y="540"/>
                  </a:lnTo>
                  <a:lnTo>
                    <a:pt x="39" y="539"/>
                  </a:lnTo>
                  <a:lnTo>
                    <a:pt x="37" y="537"/>
                  </a:lnTo>
                  <a:lnTo>
                    <a:pt x="36" y="536"/>
                  </a:lnTo>
                  <a:lnTo>
                    <a:pt x="34" y="534"/>
                  </a:lnTo>
                  <a:lnTo>
                    <a:pt x="34" y="533"/>
                  </a:lnTo>
                  <a:lnTo>
                    <a:pt x="33" y="532"/>
                  </a:lnTo>
                  <a:lnTo>
                    <a:pt x="31" y="525"/>
                  </a:lnTo>
                  <a:lnTo>
                    <a:pt x="30" y="520"/>
                  </a:lnTo>
                  <a:lnTo>
                    <a:pt x="26" y="511"/>
                  </a:lnTo>
                  <a:lnTo>
                    <a:pt x="20" y="499"/>
                  </a:lnTo>
                  <a:lnTo>
                    <a:pt x="20" y="497"/>
                  </a:lnTo>
                  <a:lnTo>
                    <a:pt x="20" y="495"/>
                  </a:lnTo>
                  <a:lnTo>
                    <a:pt x="19" y="491"/>
                  </a:lnTo>
                  <a:lnTo>
                    <a:pt x="18" y="488"/>
                  </a:lnTo>
                  <a:lnTo>
                    <a:pt x="17" y="483"/>
                  </a:lnTo>
                  <a:lnTo>
                    <a:pt x="15" y="471"/>
                  </a:lnTo>
                  <a:lnTo>
                    <a:pt x="15" y="470"/>
                  </a:lnTo>
                  <a:lnTo>
                    <a:pt x="14" y="468"/>
                  </a:lnTo>
                  <a:lnTo>
                    <a:pt x="14" y="467"/>
                  </a:lnTo>
                  <a:lnTo>
                    <a:pt x="13" y="466"/>
                  </a:lnTo>
                  <a:lnTo>
                    <a:pt x="12" y="466"/>
                  </a:lnTo>
                  <a:lnTo>
                    <a:pt x="12" y="465"/>
                  </a:lnTo>
                  <a:lnTo>
                    <a:pt x="10" y="465"/>
                  </a:lnTo>
                  <a:lnTo>
                    <a:pt x="8" y="464"/>
                  </a:lnTo>
                  <a:lnTo>
                    <a:pt x="6" y="464"/>
                  </a:lnTo>
                  <a:lnTo>
                    <a:pt x="4" y="463"/>
                  </a:lnTo>
                  <a:lnTo>
                    <a:pt x="3" y="462"/>
                  </a:lnTo>
                  <a:lnTo>
                    <a:pt x="2" y="461"/>
                  </a:lnTo>
                  <a:lnTo>
                    <a:pt x="2" y="460"/>
                  </a:lnTo>
                  <a:lnTo>
                    <a:pt x="1" y="457"/>
                  </a:lnTo>
                  <a:lnTo>
                    <a:pt x="0" y="455"/>
                  </a:lnTo>
                  <a:lnTo>
                    <a:pt x="0" y="453"/>
                  </a:lnTo>
                  <a:lnTo>
                    <a:pt x="0" y="452"/>
                  </a:lnTo>
                  <a:lnTo>
                    <a:pt x="0" y="450"/>
                  </a:lnTo>
                  <a:lnTo>
                    <a:pt x="1" y="448"/>
                  </a:lnTo>
                  <a:lnTo>
                    <a:pt x="2" y="446"/>
                  </a:lnTo>
                  <a:lnTo>
                    <a:pt x="4" y="442"/>
                  </a:lnTo>
                  <a:lnTo>
                    <a:pt x="11" y="430"/>
                  </a:lnTo>
                  <a:lnTo>
                    <a:pt x="15" y="423"/>
                  </a:lnTo>
                  <a:lnTo>
                    <a:pt x="19" y="417"/>
                  </a:lnTo>
                  <a:lnTo>
                    <a:pt x="20" y="413"/>
                  </a:lnTo>
                  <a:lnTo>
                    <a:pt x="21" y="409"/>
                  </a:lnTo>
                  <a:lnTo>
                    <a:pt x="22" y="405"/>
                  </a:lnTo>
                  <a:lnTo>
                    <a:pt x="23" y="403"/>
                  </a:lnTo>
                  <a:lnTo>
                    <a:pt x="23" y="401"/>
                  </a:lnTo>
                  <a:lnTo>
                    <a:pt x="23" y="396"/>
                  </a:lnTo>
                  <a:lnTo>
                    <a:pt x="24" y="387"/>
                  </a:lnTo>
                  <a:lnTo>
                    <a:pt x="24" y="385"/>
                  </a:lnTo>
                  <a:lnTo>
                    <a:pt x="24" y="384"/>
                  </a:lnTo>
                  <a:lnTo>
                    <a:pt x="25" y="382"/>
                  </a:lnTo>
                  <a:lnTo>
                    <a:pt x="25" y="381"/>
                  </a:lnTo>
                  <a:lnTo>
                    <a:pt x="26" y="379"/>
                  </a:lnTo>
                  <a:lnTo>
                    <a:pt x="27" y="378"/>
                  </a:lnTo>
                  <a:lnTo>
                    <a:pt x="28" y="376"/>
                  </a:lnTo>
                  <a:lnTo>
                    <a:pt x="29" y="376"/>
                  </a:lnTo>
                  <a:lnTo>
                    <a:pt x="31" y="375"/>
                  </a:lnTo>
                  <a:lnTo>
                    <a:pt x="31" y="374"/>
                  </a:lnTo>
                  <a:lnTo>
                    <a:pt x="32" y="374"/>
                  </a:lnTo>
                  <a:lnTo>
                    <a:pt x="39" y="373"/>
                  </a:lnTo>
                  <a:lnTo>
                    <a:pt x="41" y="373"/>
                  </a:lnTo>
                  <a:lnTo>
                    <a:pt x="43" y="372"/>
                  </a:lnTo>
                  <a:lnTo>
                    <a:pt x="44" y="371"/>
                  </a:lnTo>
                  <a:lnTo>
                    <a:pt x="46" y="370"/>
                  </a:lnTo>
                  <a:lnTo>
                    <a:pt x="48" y="369"/>
                  </a:lnTo>
                  <a:lnTo>
                    <a:pt x="49" y="368"/>
                  </a:lnTo>
                  <a:lnTo>
                    <a:pt x="51" y="366"/>
                  </a:lnTo>
                  <a:lnTo>
                    <a:pt x="53" y="365"/>
                  </a:lnTo>
                  <a:lnTo>
                    <a:pt x="54" y="363"/>
                  </a:lnTo>
                  <a:lnTo>
                    <a:pt x="55" y="361"/>
                  </a:lnTo>
                  <a:lnTo>
                    <a:pt x="56" y="360"/>
                  </a:lnTo>
                  <a:lnTo>
                    <a:pt x="57" y="357"/>
                  </a:lnTo>
                  <a:lnTo>
                    <a:pt x="58" y="356"/>
                  </a:lnTo>
                  <a:lnTo>
                    <a:pt x="58" y="354"/>
                  </a:lnTo>
                  <a:lnTo>
                    <a:pt x="59" y="351"/>
                  </a:lnTo>
                  <a:lnTo>
                    <a:pt x="59" y="348"/>
                  </a:lnTo>
                  <a:lnTo>
                    <a:pt x="58" y="344"/>
                  </a:lnTo>
                  <a:lnTo>
                    <a:pt x="57" y="336"/>
                  </a:lnTo>
                  <a:lnTo>
                    <a:pt x="57" y="331"/>
                  </a:lnTo>
                  <a:lnTo>
                    <a:pt x="57" y="327"/>
                  </a:lnTo>
                  <a:lnTo>
                    <a:pt x="57" y="325"/>
                  </a:lnTo>
                  <a:lnTo>
                    <a:pt x="57" y="323"/>
                  </a:lnTo>
                  <a:lnTo>
                    <a:pt x="56" y="320"/>
                  </a:lnTo>
                  <a:lnTo>
                    <a:pt x="55" y="318"/>
                  </a:lnTo>
                  <a:lnTo>
                    <a:pt x="54" y="317"/>
                  </a:lnTo>
                  <a:lnTo>
                    <a:pt x="54" y="315"/>
                  </a:lnTo>
                  <a:lnTo>
                    <a:pt x="53" y="313"/>
                  </a:lnTo>
                  <a:lnTo>
                    <a:pt x="51" y="311"/>
                  </a:lnTo>
                  <a:lnTo>
                    <a:pt x="44" y="304"/>
                  </a:lnTo>
                  <a:lnTo>
                    <a:pt x="42" y="300"/>
                  </a:lnTo>
                  <a:lnTo>
                    <a:pt x="40" y="297"/>
                  </a:lnTo>
                  <a:lnTo>
                    <a:pt x="38" y="294"/>
                  </a:lnTo>
                  <a:lnTo>
                    <a:pt x="35" y="288"/>
                  </a:lnTo>
                  <a:lnTo>
                    <a:pt x="34" y="285"/>
                  </a:lnTo>
                  <a:lnTo>
                    <a:pt x="33" y="283"/>
                  </a:lnTo>
                  <a:lnTo>
                    <a:pt x="32" y="280"/>
                  </a:lnTo>
                  <a:lnTo>
                    <a:pt x="32" y="278"/>
                  </a:lnTo>
                  <a:lnTo>
                    <a:pt x="32" y="276"/>
                  </a:lnTo>
                  <a:lnTo>
                    <a:pt x="33" y="273"/>
                  </a:lnTo>
                  <a:lnTo>
                    <a:pt x="33" y="272"/>
                  </a:lnTo>
                  <a:lnTo>
                    <a:pt x="34" y="270"/>
                  </a:lnTo>
                  <a:lnTo>
                    <a:pt x="38" y="263"/>
                  </a:lnTo>
                  <a:lnTo>
                    <a:pt x="39" y="260"/>
                  </a:lnTo>
                  <a:lnTo>
                    <a:pt x="40" y="258"/>
                  </a:lnTo>
                  <a:lnTo>
                    <a:pt x="41" y="255"/>
                  </a:lnTo>
                  <a:lnTo>
                    <a:pt x="41" y="253"/>
                  </a:lnTo>
                  <a:lnTo>
                    <a:pt x="41" y="252"/>
                  </a:lnTo>
                  <a:lnTo>
                    <a:pt x="41" y="251"/>
                  </a:lnTo>
                  <a:lnTo>
                    <a:pt x="40" y="250"/>
                  </a:lnTo>
                  <a:lnTo>
                    <a:pt x="40" y="249"/>
                  </a:lnTo>
                  <a:lnTo>
                    <a:pt x="39" y="249"/>
                  </a:lnTo>
                  <a:lnTo>
                    <a:pt x="39" y="249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3" y="248"/>
                  </a:lnTo>
                  <a:lnTo>
                    <a:pt x="43" y="247"/>
                  </a:lnTo>
                  <a:lnTo>
                    <a:pt x="44" y="245"/>
                  </a:lnTo>
                  <a:lnTo>
                    <a:pt x="45" y="244"/>
                  </a:lnTo>
                  <a:lnTo>
                    <a:pt x="45" y="243"/>
                  </a:lnTo>
                  <a:lnTo>
                    <a:pt x="45" y="241"/>
                  </a:lnTo>
                  <a:lnTo>
                    <a:pt x="44" y="240"/>
                  </a:lnTo>
                  <a:lnTo>
                    <a:pt x="44" y="239"/>
                  </a:lnTo>
                  <a:lnTo>
                    <a:pt x="43" y="238"/>
                  </a:lnTo>
                  <a:lnTo>
                    <a:pt x="43" y="238"/>
                  </a:lnTo>
                  <a:lnTo>
                    <a:pt x="40" y="236"/>
                  </a:lnTo>
                  <a:lnTo>
                    <a:pt x="34" y="231"/>
                  </a:lnTo>
                  <a:lnTo>
                    <a:pt x="33" y="230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0" y="225"/>
                  </a:lnTo>
                  <a:lnTo>
                    <a:pt x="29" y="223"/>
                  </a:lnTo>
                  <a:lnTo>
                    <a:pt x="29" y="222"/>
                  </a:lnTo>
                  <a:lnTo>
                    <a:pt x="29" y="219"/>
                  </a:lnTo>
                  <a:lnTo>
                    <a:pt x="30" y="217"/>
                  </a:lnTo>
                  <a:lnTo>
                    <a:pt x="31" y="215"/>
                  </a:lnTo>
                  <a:lnTo>
                    <a:pt x="32" y="211"/>
                  </a:lnTo>
                  <a:lnTo>
                    <a:pt x="34" y="208"/>
                  </a:lnTo>
                  <a:lnTo>
                    <a:pt x="35" y="206"/>
                  </a:lnTo>
                  <a:lnTo>
                    <a:pt x="43" y="197"/>
                  </a:lnTo>
                  <a:lnTo>
                    <a:pt x="43" y="195"/>
                  </a:lnTo>
                  <a:lnTo>
                    <a:pt x="43" y="193"/>
                  </a:lnTo>
                  <a:lnTo>
                    <a:pt x="43" y="192"/>
                  </a:lnTo>
                  <a:lnTo>
                    <a:pt x="43" y="190"/>
                  </a:lnTo>
                  <a:lnTo>
                    <a:pt x="43" y="186"/>
                  </a:lnTo>
                  <a:lnTo>
                    <a:pt x="41" y="181"/>
                  </a:lnTo>
                  <a:lnTo>
                    <a:pt x="39" y="175"/>
                  </a:lnTo>
                  <a:lnTo>
                    <a:pt x="36" y="166"/>
                  </a:lnTo>
                  <a:lnTo>
                    <a:pt x="34" y="162"/>
                  </a:lnTo>
                  <a:lnTo>
                    <a:pt x="34" y="159"/>
                  </a:lnTo>
                  <a:lnTo>
                    <a:pt x="34" y="158"/>
                  </a:lnTo>
                  <a:lnTo>
                    <a:pt x="34" y="157"/>
                  </a:lnTo>
                  <a:lnTo>
                    <a:pt x="34" y="155"/>
                  </a:lnTo>
                  <a:lnTo>
                    <a:pt x="35" y="153"/>
                  </a:lnTo>
                  <a:lnTo>
                    <a:pt x="35" y="152"/>
                  </a:lnTo>
                  <a:lnTo>
                    <a:pt x="36" y="152"/>
                  </a:lnTo>
                  <a:lnTo>
                    <a:pt x="37" y="151"/>
                  </a:lnTo>
                  <a:lnTo>
                    <a:pt x="38" y="150"/>
                  </a:lnTo>
                  <a:lnTo>
                    <a:pt x="39" y="150"/>
                  </a:lnTo>
                  <a:lnTo>
                    <a:pt x="40" y="149"/>
                  </a:lnTo>
                  <a:lnTo>
                    <a:pt x="41" y="149"/>
                  </a:lnTo>
                  <a:lnTo>
                    <a:pt x="43" y="149"/>
                  </a:lnTo>
                  <a:lnTo>
                    <a:pt x="44" y="149"/>
                  </a:lnTo>
                  <a:lnTo>
                    <a:pt x="50" y="150"/>
                  </a:lnTo>
                  <a:lnTo>
                    <a:pt x="54" y="150"/>
                  </a:lnTo>
                  <a:lnTo>
                    <a:pt x="55" y="150"/>
                  </a:lnTo>
                  <a:lnTo>
                    <a:pt x="56" y="150"/>
                  </a:lnTo>
                  <a:lnTo>
                    <a:pt x="57" y="149"/>
                  </a:lnTo>
                  <a:lnTo>
                    <a:pt x="59" y="149"/>
                  </a:lnTo>
                  <a:lnTo>
                    <a:pt x="60" y="148"/>
                  </a:lnTo>
                  <a:lnTo>
                    <a:pt x="61" y="148"/>
                  </a:lnTo>
                  <a:lnTo>
                    <a:pt x="62" y="147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4" y="144"/>
                  </a:lnTo>
                  <a:lnTo>
                    <a:pt x="64" y="143"/>
                  </a:lnTo>
                  <a:lnTo>
                    <a:pt x="64" y="142"/>
                  </a:lnTo>
                  <a:lnTo>
                    <a:pt x="64" y="141"/>
                  </a:lnTo>
                  <a:lnTo>
                    <a:pt x="65" y="140"/>
                  </a:lnTo>
                  <a:lnTo>
                    <a:pt x="66" y="136"/>
                  </a:lnTo>
                  <a:lnTo>
                    <a:pt x="71" y="131"/>
                  </a:lnTo>
                  <a:lnTo>
                    <a:pt x="79" y="122"/>
                  </a:lnTo>
                  <a:lnTo>
                    <a:pt x="82" y="118"/>
                  </a:lnTo>
                  <a:lnTo>
                    <a:pt x="83" y="115"/>
                  </a:lnTo>
                  <a:lnTo>
                    <a:pt x="85" y="113"/>
                  </a:lnTo>
                  <a:lnTo>
                    <a:pt x="87" y="109"/>
                  </a:lnTo>
                  <a:lnTo>
                    <a:pt x="88" y="106"/>
                  </a:lnTo>
                  <a:lnTo>
                    <a:pt x="90" y="101"/>
                  </a:lnTo>
                  <a:lnTo>
                    <a:pt x="92" y="96"/>
                  </a:lnTo>
                  <a:lnTo>
                    <a:pt x="95" y="92"/>
                  </a:lnTo>
                  <a:lnTo>
                    <a:pt x="98" y="89"/>
                  </a:lnTo>
                  <a:lnTo>
                    <a:pt x="99" y="87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99" y="82"/>
                  </a:lnTo>
                  <a:lnTo>
                    <a:pt x="99" y="80"/>
                  </a:lnTo>
                  <a:lnTo>
                    <a:pt x="99" y="79"/>
                  </a:lnTo>
                  <a:lnTo>
                    <a:pt x="99" y="75"/>
                  </a:lnTo>
                  <a:lnTo>
                    <a:pt x="98" y="73"/>
                  </a:lnTo>
                  <a:lnTo>
                    <a:pt x="98" y="71"/>
                  </a:lnTo>
                  <a:lnTo>
                    <a:pt x="97" y="69"/>
                  </a:lnTo>
                  <a:lnTo>
                    <a:pt x="93" y="65"/>
                  </a:lnTo>
                  <a:lnTo>
                    <a:pt x="92" y="63"/>
                  </a:lnTo>
                  <a:lnTo>
                    <a:pt x="92" y="61"/>
                  </a:lnTo>
                  <a:lnTo>
                    <a:pt x="90" y="56"/>
                  </a:lnTo>
                  <a:lnTo>
                    <a:pt x="89" y="55"/>
                  </a:lnTo>
                  <a:lnTo>
                    <a:pt x="88" y="53"/>
                  </a:lnTo>
                  <a:lnTo>
                    <a:pt x="88" y="51"/>
                  </a:lnTo>
                  <a:lnTo>
                    <a:pt x="86" y="49"/>
                  </a:lnTo>
                  <a:lnTo>
                    <a:pt x="73" y="37"/>
                  </a:lnTo>
                  <a:lnTo>
                    <a:pt x="71" y="35"/>
                  </a:lnTo>
                  <a:lnTo>
                    <a:pt x="69" y="33"/>
                  </a:lnTo>
                  <a:lnTo>
                    <a:pt x="67" y="28"/>
                  </a:lnTo>
                  <a:lnTo>
                    <a:pt x="66" y="26"/>
                  </a:lnTo>
                  <a:lnTo>
                    <a:pt x="66" y="25"/>
                  </a:lnTo>
                  <a:lnTo>
                    <a:pt x="67" y="24"/>
                  </a:lnTo>
                  <a:lnTo>
                    <a:pt x="67" y="23"/>
                  </a:lnTo>
                  <a:lnTo>
                    <a:pt x="72" y="20"/>
                  </a:lnTo>
                  <a:lnTo>
                    <a:pt x="77" y="15"/>
                  </a:lnTo>
                  <a:lnTo>
                    <a:pt x="78" y="14"/>
                  </a:lnTo>
                  <a:lnTo>
                    <a:pt x="80" y="12"/>
                  </a:lnTo>
                  <a:lnTo>
                    <a:pt x="86" y="10"/>
                  </a:lnTo>
                  <a:lnTo>
                    <a:pt x="94" y="5"/>
                  </a:lnTo>
                  <a:lnTo>
                    <a:pt x="100" y="2"/>
                  </a:lnTo>
                  <a:lnTo>
                    <a:pt x="103" y="1"/>
                  </a:lnTo>
                  <a:lnTo>
                    <a:pt x="104" y="0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5" name="Freeform 68">
              <a:extLst>
                <a:ext uri="{FF2B5EF4-FFF2-40B4-BE49-F238E27FC236}">
                  <a16:creationId xmlns:a16="http://schemas.microsoft.com/office/drawing/2014/main" id="{C0C26978-2376-44BE-A5C4-42E0E1812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3" y="3283"/>
              <a:ext cx="720" cy="434"/>
            </a:xfrm>
            <a:custGeom>
              <a:avLst/>
              <a:gdLst>
                <a:gd name="T0" fmla="*/ 551 w 720"/>
                <a:gd name="T1" fmla="*/ 4 h 434"/>
                <a:gd name="T2" fmla="*/ 573 w 720"/>
                <a:gd name="T3" fmla="*/ 26 h 434"/>
                <a:gd name="T4" fmla="*/ 605 w 720"/>
                <a:gd name="T5" fmla="*/ 32 h 434"/>
                <a:gd name="T6" fmla="*/ 639 w 720"/>
                <a:gd name="T7" fmla="*/ 52 h 434"/>
                <a:gd name="T8" fmla="*/ 670 w 720"/>
                <a:gd name="T9" fmla="*/ 45 h 434"/>
                <a:gd name="T10" fmla="*/ 701 w 720"/>
                <a:gd name="T11" fmla="*/ 67 h 434"/>
                <a:gd name="T12" fmla="*/ 700 w 720"/>
                <a:gd name="T13" fmla="*/ 87 h 434"/>
                <a:gd name="T14" fmla="*/ 685 w 720"/>
                <a:gd name="T15" fmla="*/ 139 h 434"/>
                <a:gd name="T16" fmla="*/ 678 w 720"/>
                <a:gd name="T17" fmla="*/ 167 h 434"/>
                <a:gd name="T18" fmla="*/ 691 w 720"/>
                <a:gd name="T19" fmla="*/ 186 h 434"/>
                <a:gd name="T20" fmla="*/ 678 w 720"/>
                <a:gd name="T21" fmla="*/ 202 h 434"/>
                <a:gd name="T22" fmla="*/ 685 w 720"/>
                <a:gd name="T23" fmla="*/ 230 h 434"/>
                <a:gd name="T24" fmla="*/ 702 w 720"/>
                <a:gd name="T25" fmla="*/ 246 h 434"/>
                <a:gd name="T26" fmla="*/ 696 w 720"/>
                <a:gd name="T27" fmla="*/ 268 h 434"/>
                <a:gd name="T28" fmla="*/ 690 w 720"/>
                <a:gd name="T29" fmla="*/ 299 h 434"/>
                <a:gd name="T30" fmla="*/ 697 w 720"/>
                <a:gd name="T31" fmla="*/ 329 h 434"/>
                <a:gd name="T32" fmla="*/ 714 w 720"/>
                <a:gd name="T33" fmla="*/ 351 h 434"/>
                <a:gd name="T34" fmla="*/ 677 w 720"/>
                <a:gd name="T35" fmla="*/ 418 h 434"/>
                <a:gd name="T36" fmla="*/ 646 w 720"/>
                <a:gd name="T37" fmla="*/ 434 h 434"/>
                <a:gd name="T38" fmla="*/ 628 w 720"/>
                <a:gd name="T39" fmla="*/ 425 h 434"/>
                <a:gd name="T40" fmla="*/ 609 w 720"/>
                <a:gd name="T41" fmla="*/ 431 h 434"/>
                <a:gd name="T42" fmla="*/ 559 w 720"/>
                <a:gd name="T43" fmla="*/ 426 h 434"/>
                <a:gd name="T44" fmla="*/ 467 w 720"/>
                <a:gd name="T45" fmla="*/ 422 h 434"/>
                <a:gd name="T46" fmla="*/ 414 w 720"/>
                <a:gd name="T47" fmla="*/ 412 h 434"/>
                <a:gd name="T48" fmla="*/ 344 w 720"/>
                <a:gd name="T49" fmla="*/ 372 h 434"/>
                <a:gd name="T50" fmla="*/ 322 w 720"/>
                <a:gd name="T51" fmla="*/ 346 h 434"/>
                <a:gd name="T52" fmla="*/ 312 w 720"/>
                <a:gd name="T53" fmla="*/ 330 h 434"/>
                <a:gd name="T54" fmla="*/ 293 w 720"/>
                <a:gd name="T55" fmla="*/ 318 h 434"/>
                <a:gd name="T56" fmla="*/ 276 w 720"/>
                <a:gd name="T57" fmla="*/ 309 h 434"/>
                <a:gd name="T58" fmla="*/ 259 w 720"/>
                <a:gd name="T59" fmla="*/ 294 h 434"/>
                <a:gd name="T60" fmla="*/ 237 w 720"/>
                <a:gd name="T61" fmla="*/ 280 h 434"/>
                <a:gd name="T62" fmla="*/ 218 w 720"/>
                <a:gd name="T63" fmla="*/ 273 h 434"/>
                <a:gd name="T64" fmla="*/ 182 w 720"/>
                <a:gd name="T65" fmla="*/ 281 h 434"/>
                <a:gd name="T66" fmla="*/ 148 w 720"/>
                <a:gd name="T67" fmla="*/ 294 h 434"/>
                <a:gd name="T68" fmla="*/ 100 w 720"/>
                <a:gd name="T69" fmla="*/ 278 h 434"/>
                <a:gd name="T70" fmla="*/ 50 w 720"/>
                <a:gd name="T71" fmla="*/ 248 h 434"/>
                <a:gd name="T72" fmla="*/ 5 w 720"/>
                <a:gd name="T73" fmla="*/ 219 h 434"/>
                <a:gd name="T74" fmla="*/ 17 w 720"/>
                <a:gd name="T75" fmla="*/ 210 h 434"/>
                <a:gd name="T76" fmla="*/ 20 w 720"/>
                <a:gd name="T77" fmla="*/ 196 h 434"/>
                <a:gd name="T78" fmla="*/ 34 w 720"/>
                <a:gd name="T79" fmla="*/ 186 h 434"/>
                <a:gd name="T80" fmla="*/ 52 w 720"/>
                <a:gd name="T81" fmla="*/ 181 h 434"/>
                <a:gd name="T82" fmla="*/ 76 w 720"/>
                <a:gd name="T83" fmla="*/ 192 h 434"/>
                <a:gd name="T84" fmla="*/ 94 w 720"/>
                <a:gd name="T85" fmla="*/ 173 h 434"/>
                <a:gd name="T86" fmla="*/ 120 w 720"/>
                <a:gd name="T87" fmla="*/ 166 h 434"/>
                <a:gd name="T88" fmla="*/ 145 w 720"/>
                <a:gd name="T89" fmla="*/ 178 h 434"/>
                <a:gd name="T90" fmla="*/ 167 w 720"/>
                <a:gd name="T91" fmla="*/ 155 h 434"/>
                <a:gd name="T92" fmla="*/ 197 w 720"/>
                <a:gd name="T93" fmla="*/ 132 h 434"/>
                <a:gd name="T94" fmla="*/ 228 w 720"/>
                <a:gd name="T95" fmla="*/ 111 h 434"/>
                <a:gd name="T96" fmla="*/ 257 w 720"/>
                <a:gd name="T97" fmla="*/ 105 h 434"/>
                <a:gd name="T98" fmla="*/ 270 w 720"/>
                <a:gd name="T99" fmla="*/ 82 h 434"/>
                <a:gd name="T100" fmla="*/ 288 w 720"/>
                <a:gd name="T101" fmla="*/ 82 h 434"/>
                <a:gd name="T102" fmla="*/ 308 w 720"/>
                <a:gd name="T103" fmla="*/ 66 h 434"/>
                <a:gd name="T104" fmla="*/ 328 w 720"/>
                <a:gd name="T105" fmla="*/ 65 h 434"/>
                <a:gd name="T106" fmla="*/ 351 w 720"/>
                <a:gd name="T107" fmla="*/ 83 h 434"/>
                <a:gd name="T108" fmla="*/ 379 w 720"/>
                <a:gd name="T109" fmla="*/ 74 h 434"/>
                <a:gd name="T110" fmla="*/ 411 w 720"/>
                <a:gd name="T111" fmla="*/ 77 h 434"/>
                <a:gd name="T112" fmla="*/ 448 w 720"/>
                <a:gd name="T113" fmla="*/ 71 h 434"/>
                <a:gd name="T114" fmla="*/ 460 w 720"/>
                <a:gd name="T115" fmla="*/ 48 h 434"/>
                <a:gd name="T116" fmla="*/ 482 w 720"/>
                <a:gd name="T117" fmla="*/ 35 h 434"/>
                <a:gd name="T118" fmla="*/ 522 w 720"/>
                <a:gd name="T119" fmla="*/ 24 h 434"/>
                <a:gd name="T120" fmla="*/ 538 w 720"/>
                <a:gd name="T121" fmla="*/ 1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0" h="434">
                  <a:moveTo>
                    <a:pt x="540" y="1"/>
                  </a:moveTo>
                  <a:lnTo>
                    <a:pt x="541" y="0"/>
                  </a:lnTo>
                  <a:lnTo>
                    <a:pt x="543" y="0"/>
                  </a:lnTo>
                  <a:lnTo>
                    <a:pt x="544" y="0"/>
                  </a:lnTo>
                  <a:lnTo>
                    <a:pt x="545" y="1"/>
                  </a:lnTo>
                  <a:lnTo>
                    <a:pt x="544" y="1"/>
                  </a:lnTo>
                  <a:lnTo>
                    <a:pt x="545" y="2"/>
                  </a:lnTo>
                  <a:lnTo>
                    <a:pt x="546" y="3"/>
                  </a:lnTo>
                  <a:lnTo>
                    <a:pt x="547" y="3"/>
                  </a:lnTo>
                  <a:lnTo>
                    <a:pt x="551" y="4"/>
                  </a:lnTo>
                  <a:lnTo>
                    <a:pt x="553" y="5"/>
                  </a:lnTo>
                  <a:lnTo>
                    <a:pt x="556" y="7"/>
                  </a:lnTo>
                  <a:lnTo>
                    <a:pt x="559" y="9"/>
                  </a:lnTo>
                  <a:lnTo>
                    <a:pt x="560" y="11"/>
                  </a:lnTo>
                  <a:lnTo>
                    <a:pt x="561" y="13"/>
                  </a:lnTo>
                  <a:lnTo>
                    <a:pt x="566" y="19"/>
                  </a:lnTo>
                  <a:lnTo>
                    <a:pt x="568" y="22"/>
                  </a:lnTo>
                  <a:lnTo>
                    <a:pt x="570" y="24"/>
                  </a:lnTo>
                  <a:lnTo>
                    <a:pt x="571" y="25"/>
                  </a:lnTo>
                  <a:lnTo>
                    <a:pt x="573" y="26"/>
                  </a:lnTo>
                  <a:lnTo>
                    <a:pt x="575" y="26"/>
                  </a:lnTo>
                  <a:lnTo>
                    <a:pt x="578" y="26"/>
                  </a:lnTo>
                  <a:lnTo>
                    <a:pt x="581" y="26"/>
                  </a:lnTo>
                  <a:lnTo>
                    <a:pt x="589" y="26"/>
                  </a:lnTo>
                  <a:lnTo>
                    <a:pt x="593" y="27"/>
                  </a:lnTo>
                  <a:lnTo>
                    <a:pt x="595" y="27"/>
                  </a:lnTo>
                  <a:lnTo>
                    <a:pt x="597" y="27"/>
                  </a:lnTo>
                  <a:lnTo>
                    <a:pt x="600" y="29"/>
                  </a:lnTo>
                  <a:lnTo>
                    <a:pt x="603" y="30"/>
                  </a:lnTo>
                  <a:lnTo>
                    <a:pt x="605" y="32"/>
                  </a:lnTo>
                  <a:lnTo>
                    <a:pt x="612" y="36"/>
                  </a:lnTo>
                  <a:lnTo>
                    <a:pt x="616" y="37"/>
                  </a:lnTo>
                  <a:lnTo>
                    <a:pt x="618" y="39"/>
                  </a:lnTo>
                  <a:lnTo>
                    <a:pt x="623" y="41"/>
                  </a:lnTo>
                  <a:lnTo>
                    <a:pt x="625" y="42"/>
                  </a:lnTo>
                  <a:lnTo>
                    <a:pt x="628" y="44"/>
                  </a:lnTo>
                  <a:lnTo>
                    <a:pt x="633" y="48"/>
                  </a:lnTo>
                  <a:lnTo>
                    <a:pt x="635" y="50"/>
                  </a:lnTo>
                  <a:lnTo>
                    <a:pt x="637" y="51"/>
                  </a:lnTo>
                  <a:lnTo>
                    <a:pt x="639" y="52"/>
                  </a:lnTo>
                  <a:lnTo>
                    <a:pt x="641" y="52"/>
                  </a:lnTo>
                  <a:lnTo>
                    <a:pt x="643" y="51"/>
                  </a:lnTo>
                  <a:lnTo>
                    <a:pt x="645" y="50"/>
                  </a:lnTo>
                  <a:lnTo>
                    <a:pt x="651" y="48"/>
                  </a:lnTo>
                  <a:lnTo>
                    <a:pt x="653" y="47"/>
                  </a:lnTo>
                  <a:lnTo>
                    <a:pt x="657" y="46"/>
                  </a:lnTo>
                  <a:lnTo>
                    <a:pt x="661" y="45"/>
                  </a:lnTo>
                  <a:lnTo>
                    <a:pt x="663" y="45"/>
                  </a:lnTo>
                  <a:lnTo>
                    <a:pt x="667" y="45"/>
                  </a:lnTo>
                  <a:lnTo>
                    <a:pt x="670" y="45"/>
                  </a:lnTo>
                  <a:lnTo>
                    <a:pt x="673" y="46"/>
                  </a:lnTo>
                  <a:lnTo>
                    <a:pt x="675" y="47"/>
                  </a:lnTo>
                  <a:lnTo>
                    <a:pt x="677" y="48"/>
                  </a:lnTo>
                  <a:lnTo>
                    <a:pt x="682" y="49"/>
                  </a:lnTo>
                  <a:lnTo>
                    <a:pt x="685" y="51"/>
                  </a:lnTo>
                  <a:lnTo>
                    <a:pt x="690" y="57"/>
                  </a:lnTo>
                  <a:lnTo>
                    <a:pt x="694" y="60"/>
                  </a:lnTo>
                  <a:lnTo>
                    <a:pt x="696" y="62"/>
                  </a:lnTo>
                  <a:lnTo>
                    <a:pt x="699" y="65"/>
                  </a:lnTo>
                  <a:lnTo>
                    <a:pt x="701" y="67"/>
                  </a:lnTo>
                  <a:lnTo>
                    <a:pt x="702" y="69"/>
                  </a:lnTo>
                  <a:lnTo>
                    <a:pt x="702" y="70"/>
                  </a:lnTo>
                  <a:lnTo>
                    <a:pt x="703" y="71"/>
                  </a:lnTo>
                  <a:lnTo>
                    <a:pt x="703" y="72"/>
                  </a:lnTo>
                  <a:lnTo>
                    <a:pt x="704" y="75"/>
                  </a:lnTo>
                  <a:lnTo>
                    <a:pt x="704" y="77"/>
                  </a:lnTo>
                  <a:lnTo>
                    <a:pt x="703" y="79"/>
                  </a:lnTo>
                  <a:lnTo>
                    <a:pt x="702" y="82"/>
                  </a:lnTo>
                  <a:lnTo>
                    <a:pt x="701" y="83"/>
                  </a:lnTo>
                  <a:lnTo>
                    <a:pt x="700" y="87"/>
                  </a:lnTo>
                  <a:lnTo>
                    <a:pt x="695" y="96"/>
                  </a:lnTo>
                  <a:lnTo>
                    <a:pt x="694" y="99"/>
                  </a:lnTo>
                  <a:lnTo>
                    <a:pt x="693" y="102"/>
                  </a:lnTo>
                  <a:lnTo>
                    <a:pt x="692" y="105"/>
                  </a:lnTo>
                  <a:lnTo>
                    <a:pt x="691" y="113"/>
                  </a:lnTo>
                  <a:lnTo>
                    <a:pt x="689" y="120"/>
                  </a:lnTo>
                  <a:lnTo>
                    <a:pt x="688" y="124"/>
                  </a:lnTo>
                  <a:lnTo>
                    <a:pt x="687" y="132"/>
                  </a:lnTo>
                  <a:lnTo>
                    <a:pt x="687" y="135"/>
                  </a:lnTo>
                  <a:lnTo>
                    <a:pt x="685" y="139"/>
                  </a:lnTo>
                  <a:lnTo>
                    <a:pt x="685" y="141"/>
                  </a:lnTo>
                  <a:lnTo>
                    <a:pt x="680" y="151"/>
                  </a:lnTo>
                  <a:lnTo>
                    <a:pt x="678" y="155"/>
                  </a:lnTo>
                  <a:lnTo>
                    <a:pt x="677" y="157"/>
                  </a:lnTo>
                  <a:lnTo>
                    <a:pt x="677" y="159"/>
                  </a:lnTo>
                  <a:lnTo>
                    <a:pt x="676" y="161"/>
                  </a:lnTo>
                  <a:lnTo>
                    <a:pt x="676" y="162"/>
                  </a:lnTo>
                  <a:lnTo>
                    <a:pt x="676" y="164"/>
                  </a:lnTo>
                  <a:lnTo>
                    <a:pt x="677" y="165"/>
                  </a:lnTo>
                  <a:lnTo>
                    <a:pt x="678" y="167"/>
                  </a:lnTo>
                  <a:lnTo>
                    <a:pt x="679" y="169"/>
                  </a:lnTo>
                  <a:lnTo>
                    <a:pt x="680" y="171"/>
                  </a:lnTo>
                  <a:lnTo>
                    <a:pt x="681" y="173"/>
                  </a:lnTo>
                  <a:lnTo>
                    <a:pt x="686" y="177"/>
                  </a:lnTo>
                  <a:lnTo>
                    <a:pt x="688" y="179"/>
                  </a:lnTo>
                  <a:lnTo>
                    <a:pt x="689" y="181"/>
                  </a:lnTo>
                  <a:lnTo>
                    <a:pt x="690" y="183"/>
                  </a:lnTo>
                  <a:lnTo>
                    <a:pt x="691" y="184"/>
                  </a:lnTo>
                  <a:lnTo>
                    <a:pt x="691" y="185"/>
                  </a:lnTo>
                  <a:lnTo>
                    <a:pt x="691" y="186"/>
                  </a:lnTo>
                  <a:lnTo>
                    <a:pt x="690" y="188"/>
                  </a:lnTo>
                  <a:lnTo>
                    <a:pt x="689" y="189"/>
                  </a:lnTo>
                  <a:lnTo>
                    <a:pt x="687" y="190"/>
                  </a:lnTo>
                  <a:lnTo>
                    <a:pt x="684" y="193"/>
                  </a:lnTo>
                  <a:lnTo>
                    <a:pt x="682" y="194"/>
                  </a:lnTo>
                  <a:lnTo>
                    <a:pt x="681" y="196"/>
                  </a:lnTo>
                  <a:lnTo>
                    <a:pt x="680" y="196"/>
                  </a:lnTo>
                  <a:lnTo>
                    <a:pt x="680" y="197"/>
                  </a:lnTo>
                  <a:lnTo>
                    <a:pt x="679" y="199"/>
                  </a:lnTo>
                  <a:lnTo>
                    <a:pt x="678" y="202"/>
                  </a:lnTo>
                  <a:lnTo>
                    <a:pt x="678" y="205"/>
                  </a:lnTo>
                  <a:lnTo>
                    <a:pt x="678" y="207"/>
                  </a:lnTo>
                  <a:lnTo>
                    <a:pt x="678" y="209"/>
                  </a:lnTo>
                  <a:lnTo>
                    <a:pt x="678" y="212"/>
                  </a:lnTo>
                  <a:lnTo>
                    <a:pt x="679" y="215"/>
                  </a:lnTo>
                  <a:lnTo>
                    <a:pt x="679" y="217"/>
                  </a:lnTo>
                  <a:lnTo>
                    <a:pt x="680" y="220"/>
                  </a:lnTo>
                  <a:lnTo>
                    <a:pt x="681" y="223"/>
                  </a:lnTo>
                  <a:lnTo>
                    <a:pt x="683" y="227"/>
                  </a:lnTo>
                  <a:lnTo>
                    <a:pt x="685" y="230"/>
                  </a:lnTo>
                  <a:lnTo>
                    <a:pt x="685" y="232"/>
                  </a:lnTo>
                  <a:lnTo>
                    <a:pt x="687" y="234"/>
                  </a:lnTo>
                  <a:lnTo>
                    <a:pt x="689" y="236"/>
                  </a:lnTo>
                  <a:lnTo>
                    <a:pt x="691" y="238"/>
                  </a:lnTo>
                  <a:lnTo>
                    <a:pt x="693" y="240"/>
                  </a:lnTo>
                  <a:lnTo>
                    <a:pt x="695" y="241"/>
                  </a:lnTo>
                  <a:lnTo>
                    <a:pt x="697" y="243"/>
                  </a:lnTo>
                  <a:lnTo>
                    <a:pt x="699" y="244"/>
                  </a:lnTo>
                  <a:lnTo>
                    <a:pt x="701" y="245"/>
                  </a:lnTo>
                  <a:lnTo>
                    <a:pt x="702" y="246"/>
                  </a:lnTo>
                  <a:lnTo>
                    <a:pt x="701" y="247"/>
                  </a:lnTo>
                  <a:lnTo>
                    <a:pt x="700" y="249"/>
                  </a:lnTo>
                  <a:lnTo>
                    <a:pt x="699" y="251"/>
                  </a:lnTo>
                  <a:lnTo>
                    <a:pt x="698" y="253"/>
                  </a:lnTo>
                  <a:lnTo>
                    <a:pt x="698" y="254"/>
                  </a:lnTo>
                  <a:lnTo>
                    <a:pt x="697" y="256"/>
                  </a:lnTo>
                  <a:lnTo>
                    <a:pt x="697" y="258"/>
                  </a:lnTo>
                  <a:lnTo>
                    <a:pt x="697" y="264"/>
                  </a:lnTo>
                  <a:lnTo>
                    <a:pt x="697" y="266"/>
                  </a:lnTo>
                  <a:lnTo>
                    <a:pt x="696" y="268"/>
                  </a:lnTo>
                  <a:lnTo>
                    <a:pt x="696" y="270"/>
                  </a:lnTo>
                  <a:lnTo>
                    <a:pt x="696" y="273"/>
                  </a:lnTo>
                  <a:lnTo>
                    <a:pt x="694" y="276"/>
                  </a:lnTo>
                  <a:lnTo>
                    <a:pt x="693" y="281"/>
                  </a:lnTo>
                  <a:lnTo>
                    <a:pt x="690" y="289"/>
                  </a:lnTo>
                  <a:lnTo>
                    <a:pt x="689" y="291"/>
                  </a:lnTo>
                  <a:lnTo>
                    <a:pt x="689" y="293"/>
                  </a:lnTo>
                  <a:lnTo>
                    <a:pt x="689" y="295"/>
                  </a:lnTo>
                  <a:lnTo>
                    <a:pt x="689" y="297"/>
                  </a:lnTo>
                  <a:lnTo>
                    <a:pt x="690" y="299"/>
                  </a:lnTo>
                  <a:lnTo>
                    <a:pt x="692" y="307"/>
                  </a:lnTo>
                  <a:lnTo>
                    <a:pt x="693" y="309"/>
                  </a:lnTo>
                  <a:lnTo>
                    <a:pt x="694" y="311"/>
                  </a:lnTo>
                  <a:lnTo>
                    <a:pt x="694" y="316"/>
                  </a:lnTo>
                  <a:lnTo>
                    <a:pt x="694" y="322"/>
                  </a:lnTo>
                  <a:lnTo>
                    <a:pt x="695" y="324"/>
                  </a:lnTo>
                  <a:lnTo>
                    <a:pt x="695" y="325"/>
                  </a:lnTo>
                  <a:lnTo>
                    <a:pt x="696" y="327"/>
                  </a:lnTo>
                  <a:lnTo>
                    <a:pt x="696" y="327"/>
                  </a:lnTo>
                  <a:lnTo>
                    <a:pt x="697" y="329"/>
                  </a:lnTo>
                  <a:lnTo>
                    <a:pt x="700" y="330"/>
                  </a:lnTo>
                  <a:lnTo>
                    <a:pt x="708" y="333"/>
                  </a:lnTo>
                  <a:lnTo>
                    <a:pt x="713" y="336"/>
                  </a:lnTo>
                  <a:lnTo>
                    <a:pt x="718" y="338"/>
                  </a:lnTo>
                  <a:lnTo>
                    <a:pt x="719" y="340"/>
                  </a:lnTo>
                  <a:lnTo>
                    <a:pt x="720" y="340"/>
                  </a:lnTo>
                  <a:lnTo>
                    <a:pt x="720" y="341"/>
                  </a:lnTo>
                  <a:lnTo>
                    <a:pt x="719" y="341"/>
                  </a:lnTo>
                  <a:lnTo>
                    <a:pt x="716" y="347"/>
                  </a:lnTo>
                  <a:lnTo>
                    <a:pt x="714" y="351"/>
                  </a:lnTo>
                  <a:lnTo>
                    <a:pt x="711" y="355"/>
                  </a:lnTo>
                  <a:lnTo>
                    <a:pt x="707" y="364"/>
                  </a:lnTo>
                  <a:lnTo>
                    <a:pt x="704" y="370"/>
                  </a:lnTo>
                  <a:lnTo>
                    <a:pt x="702" y="377"/>
                  </a:lnTo>
                  <a:lnTo>
                    <a:pt x="698" y="386"/>
                  </a:lnTo>
                  <a:lnTo>
                    <a:pt x="696" y="390"/>
                  </a:lnTo>
                  <a:lnTo>
                    <a:pt x="694" y="394"/>
                  </a:lnTo>
                  <a:lnTo>
                    <a:pt x="686" y="404"/>
                  </a:lnTo>
                  <a:lnTo>
                    <a:pt x="679" y="416"/>
                  </a:lnTo>
                  <a:lnTo>
                    <a:pt x="677" y="418"/>
                  </a:lnTo>
                  <a:lnTo>
                    <a:pt x="675" y="421"/>
                  </a:lnTo>
                  <a:lnTo>
                    <a:pt x="673" y="422"/>
                  </a:lnTo>
                  <a:lnTo>
                    <a:pt x="670" y="425"/>
                  </a:lnTo>
                  <a:lnTo>
                    <a:pt x="667" y="427"/>
                  </a:lnTo>
                  <a:lnTo>
                    <a:pt x="659" y="432"/>
                  </a:lnTo>
                  <a:lnTo>
                    <a:pt x="657" y="433"/>
                  </a:lnTo>
                  <a:lnTo>
                    <a:pt x="654" y="434"/>
                  </a:lnTo>
                  <a:lnTo>
                    <a:pt x="652" y="434"/>
                  </a:lnTo>
                  <a:lnTo>
                    <a:pt x="649" y="434"/>
                  </a:lnTo>
                  <a:lnTo>
                    <a:pt x="646" y="434"/>
                  </a:lnTo>
                  <a:lnTo>
                    <a:pt x="644" y="434"/>
                  </a:lnTo>
                  <a:lnTo>
                    <a:pt x="641" y="433"/>
                  </a:lnTo>
                  <a:lnTo>
                    <a:pt x="639" y="432"/>
                  </a:lnTo>
                  <a:lnTo>
                    <a:pt x="639" y="431"/>
                  </a:lnTo>
                  <a:lnTo>
                    <a:pt x="635" y="428"/>
                  </a:lnTo>
                  <a:lnTo>
                    <a:pt x="633" y="427"/>
                  </a:lnTo>
                  <a:lnTo>
                    <a:pt x="632" y="426"/>
                  </a:lnTo>
                  <a:lnTo>
                    <a:pt x="630" y="425"/>
                  </a:lnTo>
                  <a:lnTo>
                    <a:pt x="629" y="425"/>
                  </a:lnTo>
                  <a:lnTo>
                    <a:pt x="628" y="425"/>
                  </a:lnTo>
                  <a:lnTo>
                    <a:pt x="627" y="425"/>
                  </a:lnTo>
                  <a:lnTo>
                    <a:pt x="625" y="425"/>
                  </a:lnTo>
                  <a:lnTo>
                    <a:pt x="624" y="426"/>
                  </a:lnTo>
                  <a:lnTo>
                    <a:pt x="619" y="429"/>
                  </a:lnTo>
                  <a:lnTo>
                    <a:pt x="618" y="429"/>
                  </a:lnTo>
                  <a:lnTo>
                    <a:pt x="616" y="430"/>
                  </a:lnTo>
                  <a:lnTo>
                    <a:pt x="615" y="430"/>
                  </a:lnTo>
                  <a:lnTo>
                    <a:pt x="613" y="430"/>
                  </a:lnTo>
                  <a:lnTo>
                    <a:pt x="611" y="431"/>
                  </a:lnTo>
                  <a:lnTo>
                    <a:pt x="609" y="431"/>
                  </a:lnTo>
                  <a:lnTo>
                    <a:pt x="606" y="430"/>
                  </a:lnTo>
                  <a:lnTo>
                    <a:pt x="604" y="430"/>
                  </a:lnTo>
                  <a:lnTo>
                    <a:pt x="595" y="428"/>
                  </a:lnTo>
                  <a:lnTo>
                    <a:pt x="592" y="428"/>
                  </a:lnTo>
                  <a:lnTo>
                    <a:pt x="585" y="427"/>
                  </a:lnTo>
                  <a:lnTo>
                    <a:pt x="581" y="426"/>
                  </a:lnTo>
                  <a:lnTo>
                    <a:pt x="577" y="426"/>
                  </a:lnTo>
                  <a:lnTo>
                    <a:pt x="573" y="426"/>
                  </a:lnTo>
                  <a:lnTo>
                    <a:pt x="563" y="426"/>
                  </a:lnTo>
                  <a:lnTo>
                    <a:pt x="559" y="426"/>
                  </a:lnTo>
                  <a:lnTo>
                    <a:pt x="550" y="426"/>
                  </a:lnTo>
                  <a:lnTo>
                    <a:pt x="542" y="425"/>
                  </a:lnTo>
                  <a:lnTo>
                    <a:pt x="530" y="424"/>
                  </a:lnTo>
                  <a:lnTo>
                    <a:pt x="498" y="422"/>
                  </a:lnTo>
                  <a:lnTo>
                    <a:pt x="491" y="421"/>
                  </a:lnTo>
                  <a:lnTo>
                    <a:pt x="487" y="421"/>
                  </a:lnTo>
                  <a:lnTo>
                    <a:pt x="483" y="421"/>
                  </a:lnTo>
                  <a:lnTo>
                    <a:pt x="480" y="421"/>
                  </a:lnTo>
                  <a:lnTo>
                    <a:pt x="472" y="422"/>
                  </a:lnTo>
                  <a:lnTo>
                    <a:pt x="467" y="422"/>
                  </a:lnTo>
                  <a:lnTo>
                    <a:pt x="463" y="422"/>
                  </a:lnTo>
                  <a:lnTo>
                    <a:pt x="456" y="421"/>
                  </a:lnTo>
                  <a:lnTo>
                    <a:pt x="444" y="420"/>
                  </a:lnTo>
                  <a:lnTo>
                    <a:pt x="439" y="420"/>
                  </a:lnTo>
                  <a:lnTo>
                    <a:pt x="435" y="419"/>
                  </a:lnTo>
                  <a:lnTo>
                    <a:pt x="432" y="418"/>
                  </a:lnTo>
                  <a:lnTo>
                    <a:pt x="429" y="417"/>
                  </a:lnTo>
                  <a:lnTo>
                    <a:pt x="425" y="416"/>
                  </a:lnTo>
                  <a:lnTo>
                    <a:pt x="419" y="414"/>
                  </a:lnTo>
                  <a:lnTo>
                    <a:pt x="414" y="412"/>
                  </a:lnTo>
                  <a:lnTo>
                    <a:pt x="411" y="411"/>
                  </a:lnTo>
                  <a:lnTo>
                    <a:pt x="405" y="408"/>
                  </a:lnTo>
                  <a:lnTo>
                    <a:pt x="390" y="400"/>
                  </a:lnTo>
                  <a:lnTo>
                    <a:pt x="368" y="388"/>
                  </a:lnTo>
                  <a:lnTo>
                    <a:pt x="361" y="384"/>
                  </a:lnTo>
                  <a:lnTo>
                    <a:pt x="357" y="382"/>
                  </a:lnTo>
                  <a:lnTo>
                    <a:pt x="355" y="380"/>
                  </a:lnTo>
                  <a:lnTo>
                    <a:pt x="352" y="378"/>
                  </a:lnTo>
                  <a:lnTo>
                    <a:pt x="348" y="375"/>
                  </a:lnTo>
                  <a:lnTo>
                    <a:pt x="344" y="372"/>
                  </a:lnTo>
                  <a:lnTo>
                    <a:pt x="340" y="368"/>
                  </a:lnTo>
                  <a:lnTo>
                    <a:pt x="336" y="365"/>
                  </a:lnTo>
                  <a:lnTo>
                    <a:pt x="332" y="362"/>
                  </a:lnTo>
                  <a:lnTo>
                    <a:pt x="330" y="359"/>
                  </a:lnTo>
                  <a:lnTo>
                    <a:pt x="328" y="356"/>
                  </a:lnTo>
                  <a:lnTo>
                    <a:pt x="326" y="354"/>
                  </a:lnTo>
                  <a:lnTo>
                    <a:pt x="325" y="353"/>
                  </a:lnTo>
                  <a:lnTo>
                    <a:pt x="324" y="351"/>
                  </a:lnTo>
                  <a:lnTo>
                    <a:pt x="323" y="349"/>
                  </a:lnTo>
                  <a:lnTo>
                    <a:pt x="322" y="346"/>
                  </a:lnTo>
                  <a:lnTo>
                    <a:pt x="321" y="339"/>
                  </a:lnTo>
                  <a:lnTo>
                    <a:pt x="321" y="338"/>
                  </a:lnTo>
                  <a:lnTo>
                    <a:pt x="320" y="337"/>
                  </a:lnTo>
                  <a:lnTo>
                    <a:pt x="319" y="335"/>
                  </a:lnTo>
                  <a:lnTo>
                    <a:pt x="319" y="334"/>
                  </a:lnTo>
                  <a:lnTo>
                    <a:pt x="318" y="333"/>
                  </a:lnTo>
                  <a:lnTo>
                    <a:pt x="317" y="332"/>
                  </a:lnTo>
                  <a:lnTo>
                    <a:pt x="315" y="332"/>
                  </a:lnTo>
                  <a:lnTo>
                    <a:pt x="313" y="331"/>
                  </a:lnTo>
                  <a:lnTo>
                    <a:pt x="312" y="330"/>
                  </a:lnTo>
                  <a:lnTo>
                    <a:pt x="309" y="330"/>
                  </a:lnTo>
                  <a:lnTo>
                    <a:pt x="308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298" y="322"/>
                  </a:lnTo>
                  <a:lnTo>
                    <a:pt x="298" y="320"/>
                  </a:lnTo>
                  <a:lnTo>
                    <a:pt x="296" y="320"/>
                  </a:lnTo>
                  <a:lnTo>
                    <a:pt x="293" y="318"/>
                  </a:lnTo>
                  <a:lnTo>
                    <a:pt x="291" y="318"/>
                  </a:lnTo>
                  <a:lnTo>
                    <a:pt x="289" y="317"/>
                  </a:lnTo>
                  <a:lnTo>
                    <a:pt x="282" y="315"/>
                  </a:lnTo>
                  <a:lnTo>
                    <a:pt x="281" y="314"/>
                  </a:lnTo>
                  <a:lnTo>
                    <a:pt x="279" y="314"/>
                  </a:lnTo>
                  <a:lnTo>
                    <a:pt x="278" y="313"/>
                  </a:lnTo>
                  <a:lnTo>
                    <a:pt x="278" y="312"/>
                  </a:lnTo>
                  <a:lnTo>
                    <a:pt x="277" y="311"/>
                  </a:lnTo>
                  <a:lnTo>
                    <a:pt x="277" y="309"/>
                  </a:lnTo>
                  <a:lnTo>
                    <a:pt x="276" y="309"/>
                  </a:lnTo>
                  <a:lnTo>
                    <a:pt x="275" y="308"/>
                  </a:lnTo>
                  <a:lnTo>
                    <a:pt x="275" y="306"/>
                  </a:lnTo>
                  <a:lnTo>
                    <a:pt x="273" y="305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6" y="300"/>
                  </a:lnTo>
                  <a:lnTo>
                    <a:pt x="262" y="297"/>
                  </a:lnTo>
                  <a:lnTo>
                    <a:pt x="261" y="295"/>
                  </a:lnTo>
                  <a:lnTo>
                    <a:pt x="260" y="294"/>
                  </a:lnTo>
                  <a:lnTo>
                    <a:pt x="259" y="294"/>
                  </a:lnTo>
                  <a:lnTo>
                    <a:pt x="257" y="293"/>
                  </a:lnTo>
                  <a:lnTo>
                    <a:pt x="253" y="292"/>
                  </a:lnTo>
                  <a:lnTo>
                    <a:pt x="250" y="291"/>
                  </a:lnTo>
                  <a:lnTo>
                    <a:pt x="247" y="290"/>
                  </a:lnTo>
                  <a:lnTo>
                    <a:pt x="245" y="288"/>
                  </a:lnTo>
                  <a:lnTo>
                    <a:pt x="243" y="287"/>
                  </a:lnTo>
                  <a:lnTo>
                    <a:pt x="241" y="286"/>
                  </a:lnTo>
                  <a:lnTo>
                    <a:pt x="241" y="285"/>
                  </a:lnTo>
                  <a:lnTo>
                    <a:pt x="240" y="284"/>
                  </a:lnTo>
                  <a:lnTo>
                    <a:pt x="237" y="280"/>
                  </a:lnTo>
                  <a:lnTo>
                    <a:pt x="237" y="279"/>
                  </a:lnTo>
                  <a:lnTo>
                    <a:pt x="236" y="278"/>
                  </a:lnTo>
                  <a:lnTo>
                    <a:pt x="234" y="276"/>
                  </a:lnTo>
                  <a:lnTo>
                    <a:pt x="233" y="275"/>
                  </a:lnTo>
                  <a:lnTo>
                    <a:pt x="232" y="275"/>
                  </a:lnTo>
                  <a:lnTo>
                    <a:pt x="230" y="275"/>
                  </a:lnTo>
                  <a:lnTo>
                    <a:pt x="230" y="274"/>
                  </a:lnTo>
                  <a:lnTo>
                    <a:pt x="229" y="274"/>
                  </a:lnTo>
                  <a:lnTo>
                    <a:pt x="226" y="273"/>
                  </a:lnTo>
                  <a:lnTo>
                    <a:pt x="218" y="273"/>
                  </a:lnTo>
                  <a:lnTo>
                    <a:pt x="213" y="273"/>
                  </a:lnTo>
                  <a:lnTo>
                    <a:pt x="207" y="274"/>
                  </a:lnTo>
                  <a:lnTo>
                    <a:pt x="202" y="274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1" y="276"/>
                  </a:lnTo>
                  <a:lnTo>
                    <a:pt x="189" y="277"/>
                  </a:lnTo>
                  <a:lnTo>
                    <a:pt x="187" y="277"/>
                  </a:lnTo>
                  <a:lnTo>
                    <a:pt x="185" y="279"/>
                  </a:lnTo>
                  <a:lnTo>
                    <a:pt x="182" y="281"/>
                  </a:lnTo>
                  <a:lnTo>
                    <a:pt x="173" y="287"/>
                  </a:lnTo>
                  <a:lnTo>
                    <a:pt x="170" y="289"/>
                  </a:lnTo>
                  <a:lnTo>
                    <a:pt x="168" y="290"/>
                  </a:lnTo>
                  <a:lnTo>
                    <a:pt x="165" y="291"/>
                  </a:lnTo>
                  <a:lnTo>
                    <a:pt x="163" y="292"/>
                  </a:lnTo>
                  <a:lnTo>
                    <a:pt x="162" y="293"/>
                  </a:lnTo>
                  <a:lnTo>
                    <a:pt x="159" y="293"/>
                  </a:lnTo>
                  <a:lnTo>
                    <a:pt x="155" y="294"/>
                  </a:lnTo>
                  <a:lnTo>
                    <a:pt x="152" y="294"/>
                  </a:lnTo>
                  <a:lnTo>
                    <a:pt x="148" y="294"/>
                  </a:lnTo>
                  <a:lnTo>
                    <a:pt x="144" y="294"/>
                  </a:lnTo>
                  <a:lnTo>
                    <a:pt x="138" y="293"/>
                  </a:lnTo>
                  <a:lnTo>
                    <a:pt x="122" y="291"/>
                  </a:lnTo>
                  <a:lnTo>
                    <a:pt x="118" y="290"/>
                  </a:lnTo>
                  <a:lnTo>
                    <a:pt x="116" y="289"/>
                  </a:lnTo>
                  <a:lnTo>
                    <a:pt x="114" y="288"/>
                  </a:lnTo>
                  <a:lnTo>
                    <a:pt x="110" y="286"/>
                  </a:lnTo>
                  <a:lnTo>
                    <a:pt x="106" y="284"/>
                  </a:lnTo>
                  <a:lnTo>
                    <a:pt x="103" y="281"/>
                  </a:lnTo>
                  <a:lnTo>
                    <a:pt x="100" y="278"/>
                  </a:lnTo>
                  <a:lnTo>
                    <a:pt x="89" y="269"/>
                  </a:lnTo>
                  <a:lnTo>
                    <a:pt x="86" y="266"/>
                  </a:lnTo>
                  <a:lnTo>
                    <a:pt x="83" y="264"/>
                  </a:lnTo>
                  <a:lnTo>
                    <a:pt x="81" y="263"/>
                  </a:lnTo>
                  <a:lnTo>
                    <a:pt x="78" y="261"/>
                  </a:lnTo>
                  <a:lnTo>
                    <a:pt x="69" y="257"/>
                  </a:lnTo>
                  <a:lnTo>
                    <a:pt x="61" y="252"/>
                  </a:lnTo>
                  <a:lnTo>
                    <a:pt x="58" y="251"/>
                  </a:lnTo>
                  <a:lnTo>
                    <a:pt x="54" y="249"/>
                  </a:lnTo>
                  <a:lnTo>
                    <a:pt x="50" y="248"/>
                  </a:lnTo>
                  <a:lnTo>
                    <a:pt x="46" y="247"/>
                  </a:lnTo>
                  <a:lnTo>
                    <a:pt x="30" y="244"/>
                  </a:lnTo>
                  <a:lnTo>
                    <a:pt x="26" y="243"/>
                  </a:lnTo>
                  <a:lnTo>
                    <a:pt x="22" y="242"/>
                  </a:lnTo>
                  <a:lnTo>
                    <a:pt x="17" y="241"/>
                  </a:lnTo>
                  <a:lnTo>
                    <a:pt x="14" y="240"/>
                  </a:lnTo>
                  <a:lnTo>
                    <a:pt x="0" y="234"/>
                  </a:lnTo>
                  <a:lnTo>
                    <a:pt x="0" y="231"/>
                  </a:lnTo>
                  <a:lnTo>
                    <a:pt x="2" y="229"/>
                  </a:lnTo>
                  <a:lnTo>
                    <a:pt x="5" y="219"/>
                  </a:lnTo>
                  <a:lnTo>
                    <a:pt x="6" y="218"/>
                  </a:lnTo>
                  <a:lnTo>
                    <a:pt x="7" y="217"/>
                  </a:lnTo>
                  <a:lnTo>
                    <a:pt x="7" y="216"/>
                  </a:lnTo>
                  <a:lnTo>
                    <a:pt x="9" y="216"/>
                  </a:lnTo>
                  <a:lnTo>
                    <a:pt x="11" y="215"/>
                  </a:lnTo>
                  <a:lnTo>
                    <a:pt x="12" y="214"/>
                  </a:lnTo>
                  <a:lnTo>
                    <a:pt x="14" y="212"/>
                  </a:lnTo>
                  <a:lnTo>
                    <a:pt x="16" y="211"/>
                  </a:lnTo>
                  <a:lnTo>
                    <a:pt x="16" y="210"/>
                  </a:lnTo>
                  <a:lnTo>
                    <a:pt x="17" y="210"/>
                  </a:lnTo>
                  <a:lnTo>
                    <a:pt x="16" y="210"/>
                  </a:lnTo>
                  <a:lnTo>
                    <a:pt x="15" y="209"/>
                  </a:lnTo>
                  <a:lnTo>
                    <a:pt x="15" y="208"/>
                  </a:lnTo>
                  <a:lnTo>
                    <a:pt x="15" y="207"/>
                  </a:lnTo>
                  <a:lnTo>
                    <a:pt x="15" y="207"/>
                  </a:lnTo>
                  <a:lnTo>
                    <a:pt x="18" y="204"/>
                  </a:lnTo>
                  <a:lnTo>
                    <a:pt x="19" y="203"/>
                  </a:lnTo>
                  <a:lnTo>
                    <a:pt x="20" y="200"/>
                  </a:lnTo>
                  <a:lnTo>
                    <a:pt x="20" y="199"/>
                  </a:lnTo>
                  <a:lnTo>
                    <a:pt x="20" y="196"/>
                  </a:lnTo>
                  <a:lnTo>
                    <a:pt x="21" y="196"/>
                  </a:lnTo>
                  <a:lnTo>
                    <a:pt x="22" y="196"/>
                  </a:lnTo>
                  <a:lnTo>
                    <a:pt x="25" y="195"/>
                  </a:lnTo>
                  <a:lnTo>
                    <a:pt x="26" y="195"/>
                  </a:lnTo>
                  <a:lnTo>
                    <a:pt x="27" y="194"/>
                  </a:lnTo>
                  <a:lnTo>
                    <a:pt x="28" y="194"/>
                  </a:lnTo>
                  <a:lnTo>
                    <a:pt x="29" y="193"/>
                  </a:lnTo>
                  <a:lnTo>
                    <a:pt x="33" y="189"/>
                  </a:lnTo>
                  <a:lnTo>
                    <a:pt x="34" y="187"/>
                  </a:lnTo>
                  <a:lnTo>
                    <a:pt x="34" y="186"/>
                  </a:lnTo>
                  <a:lnTo>
                    <a:pt x="34" y="185"/>
                  </a:lnTo>
                  <a:lnTo>
                    <a:pt x="35" y="184"/>
                  </a:lnTo>
                  <a:lnTo>
                    <a:pt x="37" y="184"/>
                  </a:lnTo>
                  <a:lnTo>
                    <a:pt x="38" y="183"/>
                  </a:lnTo>
                  <a:lnTo>
                    <a:pt x="40" y="182"/>
                  </a:lnTo>
                  <a:lnTo>
                    <a:pt x="44" y="181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50" y="181"/>
                  </a:lnTo>
                  <a:lnTo>
                    <a:pt x="52" y="181"/>
                  </a:lnTo>
                  <a:lnTo>
                    <a:pt x="54" y="182"/>
                  </a:lnTo>
                  <a:lnTo>
                    <a:pt x="56" y="183"/>
                  </a:lnTo>
                  <a:lnTo>
                    <a:pt x="59" y="184"/>
                  </a:lnTo>
                  <a:lnTo>
                    <a:pt x="63" y="188"/>
                  </a:lnTo>
                  <a:lnTo>
                    <a:pt x="64" y="189"/>
                  </a:lnTo>
                  <a:lnTo>
                    <a:pt x="66" y="190"/>
                  </a:lnTo>
                  <a:lnTo>
                    <a:pt x="68" y="191"/>
                  </a:lnTo>
                  <a:lnTo>
                    <a:pt x="71" y="191"/>
                  </a:lnTo>
                  <a:lnTo>
                    <a:pt x="73" y="192"/>
                  </a:lnTo>
                  <a:lnTo>
                    <a:pt x="76" y="192"/>
                  </a:lnTo>
                  <a:lnTo>
                    <a:pt x="77" y="192"/>
                  </a:lnTo>
                  <a:lnTo>
                    <a:pt x="78" y="192"/>
                  </a:lnTo>
                  <a:lnTo>
                    <a:pt x="80" y="191"/>
                  </a:lnTo>
                  <a:lnTo>
                    <a:pt x="82" y="190"/>
                  </a:lnTo>
                  <a:lnTo>
                    <a:pt x="82" y="188"/>
                  </a:lnTo>
                  <a:lnTo>
                    <a:pt x="84" y="186"/>
                  </a:lnTo>
                  <a:lnTo>
                    <a:pt x="86" y="184"/>
                  </a:lnTo>
                  <a:lnTo>
                    <a:pt x="87" y="183"/>
                  </a:lnTo>
                  <a:lnTo>
                    <a:pt x="91" y="179"/>
                  </a:lnTo>
                  <a:lnTo>
                    <a:pt x="94" y="173"/>
                  </a:lnTo>
                  <a:lnTo>
                    <a:pt x="95" y="172"/>
                  </a:lnTo>
                  <a:lnTo>
                    <a:pt x="97" y="171"/>
                  </a:lnTo>
                  <a:lnTo>
                    <a:pt x="98" y="170"/>
                  </a:lnTo>
                  <a:lnTo>
                    <a:pt x="99" y="169"/>
                  </a:lnTo>
                  <a:lnTo>
                    <a:pt x="100" y="169"/>
                  </a:lnTo>
                  <a:lnTo>
                    <a:pt x="102" y="168"/>
                  </a:lnTo>
                  <a:lnTo>
                    <a:pt x="105" y="168"/>
                  </a:lnTo>
                  <a:lnTo>
                    <a:pt x="115" y="166"/>
                  </a:lnTo>
                  <a:lnTo>
                    <a:pt x="117" y="166"/>
                  </a:lnTo>
                  <a:lnTo>
                    <a:pt x="120" y="166"/>
                  </a:lnTo>
                  <a:lnTo>
                    <a:pt x="123" y="167"/>
                  </a:lnTo>
                  <a:lnTo>
                    <a:pt x="125" y="168"/>
                  </a:lnTo>
                  <a:lnTo>
                    <a:pt x="128" y="169"/>
                  </a:lnTo>
                  <a:lnTo>
                    <a:pt x="131" y="171"/>
                  </a:lnTo>
                  <a:lnTo>
                    <a:pt x="134" y="172"/>
                  </a:lnTo>
                  <a:lnTo>
                    <a:pt x="139" y="175"/>
                  </a:lnTo>
                  <a:lnTo>
                    <a:pt x="140" y="176"/>
                  </a:lnTo>
                  <a:lnTo>
                    <a:pt x="142" y="177"/>
                  </a:lnTo>
                  <a:lnTo>
                    <a:pt x="143" y="177"/>
                  </a:lnTo>
                  <a:lnTo>
                    <a:pt x="145" y="178"/>
                  </a:lnTo>
                  <a:lnTo>
                    <a:pt x="146" y="178"/>
                  </a:lnTo>
                  <a:lnTo>
                    <a:pt x="148" y="177"/>
                  </a:lnTo>
                  <a:lnTo>
                    <a:pt x="149" y="176"/>
                  </a:lnTo>
                  <a:lnTo>
                    <a:pt x="150" y="175"/>
                  </a:lnTo>
                  <a:lnTo>
                    <a:pt x="151" y="173"/>
                  </a:lnTo>
                  <a:lnTo>
                    <a:pt x="155" y="168"/>
                  </a:lnTo>
                  <a:lnTo>
                    <a:pt x="158" y="165"/>
                  </a:lnTo>
                  <a:lnTo>
                    <a:pt x="159" y="163"/>
                  </a:lnTo>
                  <a:lnTo>
                    <a:pt x="162" y="160"/>
                  </a:lnTo>
                  <a:lnTo>
                    <a:pt x="167" y="155"/>
                  </a:lnTo>
                  <a:lnTo>
                    <a:pt x="169" y="153"/>
                  </a:lnTo>
                  <a:lnTo>
                    <a:pt x="171" y="151"/>
                  </a:lnTo>
                  <a:lnTo>
                    <a:pt x="173" y="150"/>
                  </a:lnTo>
                  <a:lnTo>
                    <a:pt x="175" y="149"/>
                  </a:lnTo>
                  <a:lnTo>
                    <a:pt x="182" y="145"/>
                  </a:lnTo>
                  <a:lnTo>
                    <a:pt x="184" y="144"/>
                  </a:lnTo>
                  <a:lnTo>
                    <a:pt x="187" y="141"/>
                  </a:lnTo>
                  <a:lnTo>
                    <a:pt x="190" y="139"/>
                  </a:lnTo>
                  <a:lnTo>
                    <a:pt x="193" y="137"/>
                  </a:lnTo>
                  <a:lnTo>
                    <a:pt x="197" y="132"/>
                  </a:lnTo>
                  <a:lnTo>
                    <a:pt x="199" y="129"/>
                  </a:lnTo>
                  <a:lnTo>
                    <a:pt x="202" y="125"/>
                  </a:lnTo>
                  <a:lnTo>
                    <a:pt x="204" y="123"/>
                  </a:lnTo>
                  <a:lnTo>
                    <a:pt x="205" y="122"/>
                  </a:lnTo>
                  <a:lnTo>
                    <a:pt x="207" y="120"/>
                  </a:lnTo>
                  <a:lnTo>
                    <a:pt x="210" y="117"/>
                  </a:lnTo>
                  <a:lnTo>
                    <a:pt x="214" y="116"/>
                  </a:lnTo>
                  <a:lnTo>
                    <a:pt x="217" y="114"/>
                  </a:lnTo>
                  <a:lnTo>
                    <a:pt x="224" y="112"/>
                  </a:lnTo>
                  <a:lnTo>
                    <a:pt x="228" y="111"/>
                  </a:lnTo>
                  <a:lnTo>
                    <a:pt x="232" y="110"/>
                  </a:lnTo>
                  <a:lnTo>
                    <a:pt x="238" y="109"/>
                  </a:lnTo>
                  <a:lnTo>
                    <a:pt x="241" y="109"/>
                  </a:lnTo>
                  <a:lnTo>
                    <a:pt x="247" y="109"/>
                  </a:lnTo>
                  <a:lnTo>
                    <a:pt x="250" y="109"/>
                  </a:lnTo>
                  <a:lnTo>
                    <a:pt x="252" y="108"/>
                  </a:lnTo>
                  <a:lnTo>
                    <a:pt x="253" y="108"/>
                  </a:lnTo>
                  <a:lnTo>
                    <a:pt x="254" y="107"/>
                  </a:lnTo>
                  <a:lnTo>
                    <a:pt x="255" y="106"/>
                  </a:lnTo>
                  <a:lnTo>
                    <a:pt x="257" y="105"/>
                  </a:lnTo>
                  <a:lnTo>
                    <a:pt x="258" y="103"/>
                  </a:lnTo>
                  <a:lnTo>
                    <a:pt x="259" y="102"/>
                  </a:lnTo>
                  <a:lnTo>
                    <a:pt x="260" y="99"/>
                  </a:lnTo>
                  <a:lnTo>
                    <a:pt x="263" y="94"/>
                  </a:lnTo>
                  <a:lnTo>
                    <a:pt x="264" y="89"/>
                  </a:lnTo>
                  <a:lnTo>
                    <a:pt x="265" y="87"/>
                  </a:lnTo>
                  <a:lnTo>
                    <a:pt x="266" y="85"/>
                  </a:lnTo>
                  <a:lnTo>
                    <a:pt x="267" y="84"/>
                  </a:lnTo>
                  <a:lnTo>
                    <a:pt x="269" y="83"/>
                  </a:lnTo>
                  <a:lnTo>
                    <a:pt x="270" y="82"/>
                  </a:lnTo>
                  <a:lnTo>
                    <a:pt x="271" y="82"/>
                  </a:lnTo>
                  <a:lnTo>
                    <a:pt x="272" y="82"/>
                  </a:lnTo>
                  <a:lnTo>
                    <a:pt x="273" y="82"/>
                  </a:lnTo>
                  <a:lnTo>
                    <a:pt x="275" y="82"/>
                  </a:lnTo>
                  <a:lnTo>
                    <a:pt x="276" y="82"/>
                  </a:lnTo>
                  <a:lnTo>
                    <a:pt x="282" y="82"/>
                  </a:lnTo>
                  <a:lnTo>
                    <a:pt x="284" y="82"/>
                  </a:lnTo>
                  <a:lnTo>
                    <a:pt x="286" y="82"/>
                  </a:lnTo>
                  <a:lnTo>
                    <a:pt x="287" y="82"/>
                  </a:lnTo>
                  <a:lnTo>
                    <a:pt x="288" y="82"/>
                  </a:lnTo>
                  <a:lnTo>
                    <a:pt x="290" y="82"/>
                  </a:lnTo>
                  <a:lnTo>
                    <a:pt x="291" y="81"/>
                  </a:lnTo>
                  <a:lnTo>
                    <a:pt x="293" y="80"/>
                  </a:lnTo>
                  <a:lnTo>
                    <a:pt x="295" y="78"/>
                  </a:lnTo>
                  <a:lnTo>
                    <a:pt x="297" y="77"/>
                  </a:lnTo>
                  <a:lnTo>
                    <a:pt x="299" y="74"/>
                  </a:lnTo>
                  <a:lnTo>
                    <a:pt x="304" y="69"/>
                  </a:lnTo>
                  <a:lnTo>
                    <a:pt x="305" y="68"/>
                  </a:lnTo>
                  <a:lnTo>
                    <a:pt x="306" y="67"/>
                  </a:lnTo>
                  <a:lnTo>
                    <a:pt x="308" y="66"/>
                  </a:lnTo>
                  <a:lnTo>
                    <a:pt x="309" y="65"/>
                  </a:lnTo>
                  <a:lnTo>
                    <a:pt x="314" y="63"/>
                  </a:lnTo>
                  <a:lnTo>
                    <a:pt x="317" y="62"/>
                  </a:lnTo>
                  <a:lnTo>
                    <a:pt x="319" y="61"/>
                  </a:lnTo>
                  <a:lnTo>
                    <a:pt x="321" y="61"/>
                  </a:lnTo>
                  <a:lnTo>
                    <a:pt x="322" y="61"/>
                  </a:lnTo>
                  <a:lnTo>
                    <a:pt x="323" y="62"/>
                  </a:lnTo>
                  <a:lnTo>
                    <a:pt x="324" y="62"/>
                  </a:lnTo>
                  <a:lnTo>
                    <a:pt x="326" y="64"/>
                  </a:lnTo>
                  <a:lnTo>
                    <a:pt x="328" y="65"/>
                  </a:lnTo>
                  <a:lnTo>
                    <a:pt x="330" y="68"/>
                  </a:lnTo>
                  <a:lnTo>
                    <a:pt x="332" y="71"/>
                  </a:lnTo>
                  <a:lnTo>
                    <a:pt x="333" y="72"/>
                  </a:lnTo>
                  <a:lnTo>
                    <a:pt x="334" y="74"/>
                  </a:lnTo>
                  <a:lnTo>
                    <a:pt x="336" y="76"/>
                  </a:lnTo>
                  <a:lnTo>
                    <a:pt x="343" y="80"/>
                  </a:lnTo>
                  <a:lnTo>
                    <a:pt x="344" y="82"/>
                  </a:lnTo>
                  <a:lnTo>
                    <a:pt x="346" y="82"/>
                  </a:lnTo>
                  <a:lnTo>
                    <a:pt x="348" y="82"/>
                  </a:lnTo>
                  <a:lnTo>
                    <a:pt x="351" y="83"/>
                  </a:lnTo>
                  <a:lnTo>
                    <a:pt x="353" y="84"/>
                  </a:lnTo>
                  <a:lnTo>
                    <a:pt x="355" y="84"/>
                  </a:lnTo>
                  <a:lnTo>
                    <a:pt x="358" y="84"/>
                  </a:lnTo>
                  <a:lnTo>
                    <a:pt x="361" y="84"/>
                  </a:lnTo>
                  <a:lnTo>
                    <a:pt x="364" y="83"/>
                  </a:lnTo>
                  <a:lnTo>
                    <a:pt x="366" y="82"/>
                  </a:lnTo>
                  <a:lnTo>
                    <a:pt x="369" y="82"/>
                  </a:lnTo>
                  <a:lnTo>
                    <a:pt x="374" y="79"/>
                  </a:lnTo>
                  <a:lnTo>
                    <a:pt x="376" y="77"/>
                  </a:lnTo>
                  <a:lnTo>
                    <a:pt x="379" y="74"/>
                  </a:lnTo>
                  <a:lnTo>
                    <a:pt x="380" y="73"/>
                  </a:lnTo>
                  <a:lnTo>
                    <a:pt x="382" y="72"/>
                  </a:lnTo>
                  <a:lnTo>
                    <a:pt x="384" y="72"/>
                  </a:lnTo>
                  <a:lnTo>
                    <a:pt x="386" y="72"/>
                  </a:lnTo>
                  <a:lnTo>
                    <a:pt x="388" y="72"/>
                  </a:lnTo>
                  <a:lnTo>
                    <a:pt x="394" y="73"/>
                  </a:lnTo>
                  <a:lnTo>
                    <a:pt x="397" y="74"/>
                  </a:lnTo>
                  <a:lnTo>
                    <a:pt x="402" y="75"/>
                  </a:lnTo>
                  <a:lnTo>
                    <a:pt x="405" y="76"/>
                  </a:lnTo>
                  <a:lnTo>
                    <a:pt x="411" y="77"/>
                  </a:lnTo>
                  <a:lnTo>
                    <a:pt x="416" y="78"/>
                  </a:lnTo>
                  <a:lnTo>
                    <a:pt x="419" y="78"/>
                  </a:lnTo>
                  <a:lnTo>
                    <a:pt x="421" y="78"/>
                  </a:lnTo>
                  <a:lnTo>
                    <a:pt x="426" y="76"/>
                  </a:lnTo>
                  <a:lnTo>
                    <a:pt x="436" y="74"/>
                  </a:lnTo>
                  <a:lnTo>
                    <a:pt x="442" y="73"/>
                  </a:lnTo>
                  <a:lnTo>
                    <a:pt x="444" y="73"/>
                  </a:lnTo>
                  <a:lnTo>
                    <a:pt x="446" y="72"/>
                  </a:lnTo>
                  <a:lnTo>
                    <a:pt x="447" y="72"/>
                  </a:lnTo>
                  <a:lnTo>
                    <a:pt x="448" y="71"/>
                  </a:lnTo>
                  <a:lnTo>
                    <a:pt x="456" y="67"/>
                  </a:lnTo>
                  <a:lnTo>
                    <a:pt x="457" y="65"/>
                  </a:lnTo>
                  <a:lnTo>
                    <a:pt x="458" y="64"/>
                  </a:lnTo>
                  <a:lnTo>
                    <a:pt x="459" y="63"/>
                  </a:lnTo>
                  <a:lnTo>
                    <a:pt x="460" y="61"/>
                  </a:lnTo>
                  <a:lnTo>
                    <a:pt x="460" y="60"/>
                  </a:lnTo>
                  <a:lnTo>
                    <a:pt x="460" y="58"/>
                  </a:lnTo>
                  <a:lnTo>
                    <a:pt x="460" y="52"/>
                  </a:lnTo>
                  <a:lnTo>
                    <a:pt x="460" y="50"/>
                  </a:lnTo>
                  <a:lnTo>
                    <a:pt x="460" y="48"/>
                  </a:lnTo>
                  <a:lnTo>
                    <a:pt x="461" y="47"/>
                  </a:lnTo>
                  <a:lnTo>
                    <a:pt x="462" y="45"/>
                  </a:lnTo>
                  <a:lnTo>
                    <a:pt x="464" y="43"/>
                  </a:lnTo>
                  <a:lnTo>
                    <a:pt x="465" y="41"/>
                  </a:lnTo>
                  <a:lnTo>
                    <a:pt x="468" y="40"/>
                  </a:lnTo>
                  <a:lnTo>
                    <a:pt x="470" y="38"/>
                  </a:lnTo>
                  <a:lnTo>
                    <a:pt x="474" y="37"/>
                  </a:lnTo>
                  <a:lnTo>
                    <a:pt x="478" y="36"/>
                  </a:lnTo>
                  <a:lnTo>
                    <a:pt x="480" y="36"/>
                  </a:lnTo>
                  <a:lnTo>
                    <a:pt x="482" y="35"/>
                  </a:lnTo>
                  <a:lnTo>
                    <a:pt x="485" y="35"/>
                  </a:lnTo>
                  <a:lnTo>
                    <a:pt x="492" y="35"/>
                  </a:lnTo>
                  <a:lnTo>
                    <a:pt x="503" y="33"/>
                  </a:lnTo>
                  <a:lnTo>
                    <a:pt x="508" y="32"/>
                  </a:lnTo>
                  <a:lnTo>
                    <a:pt x="511" y="31"/>
                  </a:lnTo>
                  <a:lnTo>
                    <a:pt x="514" y="30"/>
                  </a:lnTo>
                  <a:lnTo>
                    <a:pt x="515" y="29"/>
                  </a:lnTo>
                  <a:lnTo>
                    <a:pt x="517" y="27"/>
                  </a:lnTo>
                  <a:lnTo>
                    <a:pt x="520" y="26"/>
                  </a:lnTo>
                  <a:lnTo>
                    <a:pt x="522" y="24"/>
                  </a:lnTo>
                  <a:lnTo>
                    <a:pt x="524" y="21"/>
                  </a:lnTo>
                  <a:lnTo>
                    <a:pt x="525" y="19"/>
                  </a:lnTo>
                  <a:lnTo>
                    <a:pt x="526" y="16"/>
                  </a:lnTo>
                  <a:lnTo>
                    <a:pt x="530" y="10"/>
                  </a:lnTo>
                  <a:lnTo>
                    <a:pt x="531" y="8"/>
                  </a:lnTo>
                  <a:lnTo>
                    <a:pt x="532" y="6"/>
                  </a:lnTo>
                  <a:lnTo>
                    <a:pt x="534" y="4"/>
                  </a:lnTo>
                  <a:lnTo>
                    <a:pt x="536" y="3"/>
                  </a:lnTo>
                  <a:lnTo>
                    <a:pt x="537" y="2"/>
                  </a:lnTo>
                  <a:lnTo>
                    <a:pt x="538" y="1"/>
                  </a:lnTo>
                  <a:lnTo>
                    <a:pt x="539" y="1"/>
                  </a:lnTo>
                  <a:lnTo>
                    <a:pt x="540" y="1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6" name="Freeform 69">
              <a:extLst>
                <a:ext uri="{FF2B5EF4-FFF2-40B4-BE49-F238E27FC236}">
                  <a16:creationId xmlns:a16="http://schemas.microsoft.com/office/drawing/2014/main" id="{31316F7D-2A5C-4737-B798-4D59E460D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" y="1677"/>
              <a:ext cx="430" cy="404"/>
            </a:xfrm>
            <a:custGeom>
              <a:avLst/>
              <a:gdLst>
                <a:gd name="T0" fmla="*/ 48 w 430"/>
                <a:gd name="T1" fmla="*/ 13 h 404"/>
                <a:gd name="T2" fmla="*/ 80 w 430"/>
                <a:gd name="T3" fmla="*/ 29 h 404"/>
                <a:gd name="T4" fmla="*/ 103 w 430"/>
                <a:gd name="T5" fmla="*/ 31 h 404"/>
                <a:gd name="T6" fmla="*/ 143 w 430"/>
                <a:gd name="T7" fmla="*/ 45 h 404"/>
                <a:gd name="T8" fmla="*/ 174 w 430"/>
                <a:gd name="T9" fmla="*/ 51 h 404"/>
                <a:gd name="T10" fmla="*/ 202 w 430"/>
                <a:gd name="T11" fmla="*/ 67 h 404"/>
                <a:gd name="T12" fmla="*/ 219 w 430"/>
                <a:gd name="T13" fmla="*/ 71 h 404"/>
                <a:gd name="T14" fmla="*/ 243 w 430"/>
                <a:gd name="T15" fmla="*/ 71 h 404"/>
                <a:gd name="T16" fmla="*/ 251 w 430"/>
                <a:gd name="T17" fmla="*/ 79 h 404"/>
                <a:gd name="T18" fmla="*/ 268 w 430"/>
                <a:gd name="T19" fmla="*/ 110 h 404"/>
                <a:gd name="T20" fmla="*/ 288 w 430"/>
                <a:gd name="T21" fmla="*/ 129 h 404"/>
                <a:gd name="T22" fmla="*/ 310 w 430"/>
                <a:gd name="T23" fmla="*/ 140 h 404"/>
                <a:gd name="T24" fmla="*/ 326 w 430"/>
                <a:gd name="T25" fmla="*/ 143 h 404"/>
                <a:gd name="T26" fmla="*/ 351 w 430"/>
                <a:gd name="T27" fmla="*/ 139 h 404"/>
                <a:gd name="T28" fmla="*/ 359 w 430"/>
                <a:gd name="T29" fmla="*/ 140 h 404"/>
                <a:gd name="T30" fmla="*/ 366 w 430"/>
                <a:gd name="T31" fmla="*/ 159 h 404"/>
                <a:gd name="T32" fmla="*/ 365 w 430"/>
                <a:gd name="T33" fmla="*/ 191 h 404"/>
                <a:gd name="T34" fmla="*/ 370 w 430"/>
                <a:gd name="T35" fmla="*/ 201 h 404"/>
                <a:gd name="T36" fmla="*/ 377 w 430"/>
                <a:gd name="T37" fmla="*/ 201 h 404"/>
                <a:gd name="T38" fmla="*/ 390 w 430"/>
                <a:gd name="T39" fmla="*/ 192 h 404"/>
                <a:gd name="T40" fmla="*/ 406 w 430"/>
                <a:gd name="T41" fmla="*/ 193 h 404"/>
                <a:gd name="T42" fmla="*/ 422 w 430"/>
                <a:gd name="T43" fmla="*/ 202 h 404"/>
                <a:gd name="T44" fmla="*/ 429 w 430"/>
                <a:gd name="T45" fmla="*/ 214 h 404"/>
                <a:gd name="T46" fmla="*/ 428 w 430"/>
                <a:gd name="T47" fmla="*/ 247 h 404"/>
                <a:gd name="T48" fmla="*/ 423 w 430"/>
                <a:gd name="T49" fmla="*/ 266 h 404"/>
                <a:gd name="T50" fmla="*/ 415 w 430"/>
                <a:gd name="T51" fmla="*/ 270 h 404"/>
                <a:gd name="T52" fmla="*/ 396 w 430"/>
                <a:gd name="T53" fmla="*/ 267 h 404"/>
                <a:gd name="T54" fmla="*/ 380 w 430"/>
                <a:gd name="T55" fmla="*/ 279 h 404"/>
                <a:gd name="T56" fmla="*/ 359 w 430"/>
                <a:gd name="T57" fmla="*/ 298 h 404"/>
                <a:gd name="T58" fmla="*/ 341 w 430"/>
                <a:gd name="T59" fmla="*/ 308 h 404"/>
                <a:gd name="T60" fmla="*/ 321 w 430"/>
                <a:gd name="T61" fmla="*/ 327 h 404"/>
                <a:gd name="T62" fmla="*/ 294 w 430"/>
                <a:gd name="T63" fmla="*/ 363 h 404"/>
                <a:gd name="T64" fmla="*/ 287 w 430"/>
                <a:gd name="T65" fmla="*/ 391 h 404"/>
                <a:gd name="T66" fmla="*/ 277 w 430"/>
                <a:gd name="T67" fmla="*/ 404 h 404"/>
                <a:gd name="T68" fmla="*/ 256 w 430"/>
                <a:gd name="T69" fmla="*/ 397 h 404"/>
                <a:gd name="T70" fmla="*/ 230 w 430"/>
                <a:gd name="T71" fmla="*/ 379 h 404"/>
                <a:gd name="T72" fmla="*/ 210 w 430"/>
                <a:gd name="T73" fmla="*/ 352 h 404"/>
                <a:gd name="T74" fmla="*/ 196 w 430"/>
                <a:gd name="T75" fmla="*/ 341 h 404"/>
                <a:gd name="T76" fmla="*/ 162 w 430"/>
                <a:gd name="T77" fmla="*/ 339 h 404"/>
                <a:gd name="T78" fmla="*/ 147 w 430"/>
                <a:gd name="T79" fmla="*/ 333 h 404"/>
                <a:gd name="T80" fmla="*/ 128 w 430"/>
                <a:gd name="T81" fmla="*/ 307 h 404"/>
                <a:gd name="T82" fmla="*/ 117 w 430"/>
                <a:gd name="T83" fmla="*/ 270 h 404"/>
                <a:gd name="T84" fmla="*/ 118 w 430"/>
                <a:gd name="T85" fmla="*/ 257 h 404"/>
                <a:gd name="T86" fmla="*/ 113 w 430"/>
                <a:gd name="T87" fmla="*/ 226 h 404"/>
                <a:gd name="T88" fmla="*/ 115 w 430"/>
                <a:gd name="T89" fmla="*/ 199 h 404"/>
                <a:gd name="T90" fmla="*/ 104 w 430"/>
                <a:gd name="T91" fmla="*/ 178 h 404"/>
                <a:gd name="T92" fmla="*/ 77 w 430"/>
                <a:gd name="T93" fmla="*/ 161 h 404"/>
                <a:gd name="T94" fmla="*/ 60 w 430"/>
                <a:gd name="T95" fmla="*/ 149 h 404"/>
                <a:gd name="T96" fmla="*/ 45 w 430"/>
                <a:gd name="T97" fmla="*/ 114 h 404"/>
                <a:gd name="T98" fmla="*/ 32 w 430"/>
                <a:gd name="T99" fmla="*/ 79 h 404"/>
                <a:gd name="T100" fmla="*/ 18 w 430"/>
                <a:gd name="T101" fmla="*/ 65 h 404"/>
                <a:gd name="T102" fmla="*/ 1 w 430"/>
                <a:gd name="T103" fmla="*/ 48 h 404"/>
                <a:gd name="T104" fmla="*/ 2 w 430"/>
                <a:gd name="T105" fmla="*/ 31 h 404"/>
                <a:gd name="T106" fmla="*/ 15 w 430"/>
                <a:gd name="T107" fmla="*/ 10 h 404"/>
                <a:gd name="T108" fmla="*/ 29 w 430"/>
                <a:gd name="T10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0" h="404">
                  <a:moveTo>
                    <a:pt x="29" y="0"/>
                  </a:moveTo>
                  <a:lnTo>
                    <a:pt x="30" y="1"/>
                  </a:lnTo>
                  <a:lnTo>
                    <a:pt x="33" y="3"/>
                  </a:lnTo>
                  <a:lnTo>
                    <a:pt x="37" y="7"/>
                  </a:lnTo>
                  <a:lnTo>
                    <a:pt x="42" y="10"/>
                  </a:lnTo>
                  <a:lnTo>
                    <a:pt x="48" y="13"/>
                  </a:lnTo>
                  <a:lnTo>
                    <a:pt x="60" y="20"/>
                  </a:lnTo>
                  <a:lnTo>
                    <a:pt x="66" y="23"/>
                  </a:lnTo>
                  <a:lnTo>
                    <a:pt x="72" y="26"/>
                  </a:lnTo>
                  <a:lnTo>
                    <a:pt x="74" y="27"/>
                  </a:lnTo>
                  <a:lnTo>
                    <a:pt x="77" y="28"/>
                  </a:lnTo>
                  <a:lnTo>
                    <a:pt x="80" y="29"/>
                  </a:lnTo>
                  <a:lnTo>
                    <a:pt x="82" y="30"/>
                  </a:lnTo>
                  <a:lnTo>
                    <a:pt x="86" y="30"/>
                  </a:lnTo>
                  <a:lnTo>
                    <a:pt x="94" y="30"/>
                  </a:lnTo>
                  <a:lnTo>
                    <a:pt x="96" y="30"/>
                  </a:lnTo>
                  <a:lnTo>
                    <a:pt x="99" y="30"/>
                  </a:lnTo>
                  <a:lnTo>
                    <a:pt x="103" y="31"/>
                  </a:lnTo>
                  <a:lnTo>
                    <a:pt x="113" y="34"/>
                  </a:lnTo>
                  <a:lnTo>
                    <a:pt x="116" y="34"/>
                  </a:lnTo>
                  <a:lnTo>
                    <a:pt x="119" y="35"/>
                  </a:lnTo>
                  <a:lnTo>
                    <a:pt x="135" y="42"/>
                  </a:lnTo>
                  <a:lnTo>
                    <a:pt x="139" y="44"/>
                  </a:lnTo>
                  <a:lnTo>
                    <a:pt x="143" y="45"/>
                  </a:lnTo>
                  <a:lnTo>
                    <a:pt x="149" y="46"/>
                  </a:lnTo>
                  <a:lnTo>
                    <a:pt x="155" y="48"/>
                  </a:lnTo>
                  <a:lnTo>
                    <a:pt x="160" y="49"/>
                  </a:lnTo>
                  <a:lnTo>
                    <a:pt x="168" y="50"/>
                  </a:lnTo>
                  <a:lnTo>
                    <a:pt x="172" y="50"/>
                  </a:lnTo>
                  <a:lnTo>
                    <a:pt x="174" y="51"/>
                  </a:lnTo>
                  <a:lnTo>
                    <a:pt x="177" y="52"/>
                  </a:lnTo>
                  <a:lnTo>
                    <a:pt x="180" y="54"/>
                  </a:lnTo>
                  <a:lnTo>
                    <a:pt x="183" y="55"/>
                  </a:lnTo>
                  <a:lnTo>
                    <a:pt x="186" y="58"/>
                  </a:lnTo>
                  <a:lnTo>
                    <a:pt x="188" y="59"/>
                  </a:lnTo>
                  <a:lnTo>
                    <a:pt x="202" y="67"/>
                  </a:lnTo>
                  <a:lnTo>
                    <a:pt x="204" y="68"/>
                  </a:lnTo>
                  <a:lnTo>
                    <a:pt x="207" y="69"/>
                  </a:lnTo>
                  <a:lnTo>
                    <a:pt x="210" y="70"/>
                  </a:lnTo>
                  <a:lnTo>
                    <a:pt x="213" y="71"/>
                  </a:lnTo>
                  <a:lnTo>
                    <a:pt x="215" y="71"/>
                  </a:lnTo>
                  <a:lnTo>
                    <a:pt x="219" y="71"/>
                  </a:lnTo>
                  <a:lnTo>
                    <a:pt x="223" y="71"/>
                  </a:lnTo>
                  <a:lnTo>
                    <a:pt x="233" y="70"/>
                  </a:lnTo>
                  <a:lnTo>
                    <a:pt x="238" y="70"/>
                  </a:lnTo>
                  <a:lnTo>
                    <a:pt x="240" y="70"/>
                  </a:lnTo>
                  <a:lnTo>
                    <a:pt x="241" y="70"/>
                  </a:lnTo>
                  <a:lnTo>
                    <a:pt x="243" y="71"/>
                  </a:lnTo>
                  <a:lnTo>
                    <a:pt x="245" y="72"/>
                  </a:lnTo>
                  <a:lnTo>
                    <a:pt x="246" y="73"/>
                  </a:lnTo>
                  <a:lnTo>
                    <a:pt x="247" y="74"/>
                  </a:lnTo>
                  <a:lnTo>
                    <a:pt x="249" y="75"/>
                  </a:lnTo>
                  <a:lnTo>
                    <a:pt x="250" y="77"/>
                  </a:lnTo>
                  <a:lnTo>
                    <a:pt x="251" y="79"/>
                  </a:lnTo>
                  <a:lnTo>
                    <a:pt x="255" y="90"/>
                  </a:lnTo>
                  <a:lnTo>
                    <a:pt x="258" y="94"/>
                  </a:lnTo>
                  <a:lnTo>
                    <a:pt x="260" y="98"/>
                  </a:lnTo>
                  <a:lnTo>
                    <a:pt x="263" y="102"/>
                  </a:lnTo>
                  <a:lnTo>
                    <a:pt x="265" y="106"/>
                  </a:lnTo>
                  <a:lnTo>
                    <a:pt x="268" y="110"/>
                  </a:lnTo>
                  <a:lnTo>
                    <a:pt x="271" y="113"/>
                  </a:lnTo>
                  <a:lnTo>
                    <a:pt x="274" y="116"/>
                  </a:lnTo>
                  <a:lnTo>
                    <a:pt x="277" y="119"/>
                  </a:lnTo>
                  <a:lnTo>
                    <a:pt x="280" y="122"/>
                  </a:lnTo>
                  <a:lnTo>
                    <a:pt x="285" y="125"/>
                  </a:lnTo>
                  <a:lnTo>
                    <a:pt x="288" y="129"/>
                  </a:lnTo>
                  <a:lnTo>
                    <a:pt x="292" y="131"/>
                  </a:lnTo>
                  <a:lnTo>
                    <a:pt x="295" y="133"/>
                  </a:lnTo>
                  <a:lnTo>
                    <a:pt x="298" y="135"/>
                  </a:lnTo>
                  <a:lnTo>
                    <a:pt x="302" y="136"/>
                  </a:lnTo>
                  <a:lnTo>
                    <a:pt x="307" y="138"/>
                  </a:lnTo>
                  <a:lnTo>
                    <a:pt x="310" y="140"/>
                  </a:lnTo>
                  <a:lnTo>
                    <a:pt x="312" y="141"/>
                  </a:lnTo>
                  <a:lnTo>
                    <a:pt x="315" y="142"/>
                  </a:lnTo>
                  <a:lnTo>
                    <a:pt x="317" y="142"/>
                  </a:lnTo>
                  <a:lnTo>
                    <a:pt x="321" y="143"/>
                  </a:lnTo>
                  <a:lnTo>
                    <a:pt x="323" y="143"/>
                  </a:lnTo>
                  <a:lnTo>
                    <a:pt x="326" y="143"/>
                  </a:lnTo>
                  <a:lnTo>
                    <a:pt x="329" y="143"/>
                  </a:lnTo>
                  <a:lnTo>
                    <a:pt x="332" y="143"/>
                  </a:lnTo>
                  <a:lnTo>
                    <a:pt x="335" y="142"/>
                  </a:lnTo>
                  <a:lnTo>
                    <a:pt x="338" y="141"/>
                  </a:lnTo>
                  <a:lnTo>
                    <a:pt x="348" y="139"/>
                  </a:lnTo>
                  <a:lnTo>
                    <a:pt x="351" y="139"/>
                  </a:lnTo>
                  <a:lnTo>
                    <a:pt x="353" y="139"/>
                  </a:lnTo>
                  <a:lnTo>
                    <a:pt x="355" y="139"/>
                  </a:lnTo>
                  <a:lnTo>
                    <a:pt x="357" y="139"/>
                  </a:lnTo>
                  <a:lnTo>
                    <a:pt x="358" y="139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60" y="141"/>
                  </a:lnTo>
                  <a:lnTo>
                    <a:pt x="361" y="142"/>
                  </a:lnTo>
                  <a:lnTo>
                    <a:pt x="362" y="143"/>
                  </a:lnTo>
                  <a:lnTo>
                    <a:pt x="363" y="149"/>
                  </a:lnTo>
                  <a:lnTo>
                    <a:pt x="366" y="157"/>
                  </a:lnTo>
                  <a:lnTo>
                    <a:pt x="366" y="159"/>
                  </a:lnTo>
                  <a:lnTo>
                    <a:pt x="366" y="160"/>
                  </a:lnTo>
                  <a:lnTo>
                    <a:pt x="366" y="163"/>
                  </a:lnTo>
                  <a:lnTo>
                    <a:pt x="366" y="166"/>
                  </a:lnTo>
                  <a:lnTo>
                    <a:pt x="365" y="185"/>
                  </a:lnTo>
                  <a:lnTo>
                    <a:pt x="365" y="188"/>
                  </a:lnTo>
                  <a:lnTo>
                    <a:pt x="365" y="191"/>
                  </a:lnTo>
                  <a:lnTo>
                    <a:pt x="366" y="194"/>
                  </a:lnTo>
                  <a:lnTo>
                    <a:pt x="366" y="197"/>
                  </a:lnTo>
                  <a:lnTo>
                    <a:pt x="367" y="198"/>
                  </a:lnTo>
                  <a:lnTo>
                    <a:pt x="368" y="200"/>
                  </a:lnTo>
                  <a:lnTo>
                    <a:pt x="369" y="201"/>
                  </a:lnTo>
                  <a:lnTo>
                    <a:pt x="370" y="201"/>
                  </a:lnTo>
                  <a:lnTo>
                    <a:pt x="371" y="202"/>
                  </a:lnTo>
                  <a:lnTo>
                    <a:pt x="372" y="203"/>
                  </a:lnTo>
                  <a:lnTo>
                    <a:pt x="374" y="203"/>
                  </a:lnTo>
                  <a:lnTo>
                    <a:pt x="375" y="202"/>
                  </a:lnTo>
                  <a:lnTo>
                    <a:pt x="376" y="201"/>
                  </a:lnTo>
                  <a:lnTo>
                    <a:pt x="377" y="201"/>
                  </a:lnTo>
                  <a:lnTo>
                    <a:pt x="381" y="196"/>
                  </a:lnTo>
                  <a:lnTo>
                    <a:pt x="384" y="194"/>
                  </a:lnTo>
                  <a:lnTo>
                    <a:pt x="385" y="193"/>
                  </a:lnTo>
                  <a:lnTo>
                    <a:pt x="387" y="193"/>
                  </a:lnTo>
                  <a:lnTo>
                    <a:pt x="389" y="193"/>
                  </a:lnTo>
                  <a:lnTo>
                    <a:pt x="390" y="192"/>
                  </a:lnTo>
                  <a:lnTo>
                    <a:pt x="394" y="192"/>
                  </a:lnTo>
                  <a:lnTo>
                    <a:pt x="396" y="192"/>
                  </a:lnTo>
                  <a:lnTo>
                    <a:pt x="398" y="192"/>
                  </a:lnTo>
                  <a:lnTo>
                    <a:pt x="401" y="192"/>
                  </a:lnTo>
                  <a:lnTo>
                    <a:pt x="404" y="193"/>
                  </a:lnTo>
                  <a:lnTo>
                    <a:pt x="406" y="193"/>
                  </a:lnTo>
                  <a:lnTo>
                    <a:pt x="409" y="194"/>
                  </a:lnTo>
                  <a:lnTo>
                    <a:pt x="412" y="195"/>
                  </a:lnTo>
                  <a:lnTo>
                    <a:pt x="414" y="197"/>
                  </a:lnTo>
                  <a:lnTo>
                    <a:pt x="417" y="198"/>
                  </a:lnTo>
                  <a:lnTo>
                    <a:pt x="419" y="200"/>
                  </a:lnTo>
                  <a:lnTo>
                    <a:pt x="422" y="202"/>
                  </a:lnTo>
                  <a:lnTo>
                    <a:pt x="423" y="203"/>
                  </a:lnTo>
                  <a:lnTo>
                    <a:pt x="424" y="204"/>
                  </a:lnTo>
                  <a:lnTo>
                    <a:pt x="426" y="207"/>
                  </a:lnTo>
                  <a:lnTo>
                    <a:pt x="427" y="209"/>
                  </a:lnTo>
                  <a:lnTo>
                    <a:pt x="428" y="212"/>
                  </a:lnTo>
                  <a:lnTo>
                    <a:pt x="429" y="214"/>
                  </a:lnTo>
                  <a:lnTo>
                    <a:pt x="430" y="216"/>
                  </a:lnTo>
                  <a:lnTo>
                    <a:pt x="430" y="218"/>
                  </a:lnTo>
                  <a:lnTo>
                    <a:pt x="430" y="219"/>
                  </a:lnTo>
                  <a:lnTo>
                    <a:pt x="430" y="219"/>
                  </a:lnTo>
                  <a:lnTo>
                    <a:pt x="429" y="241"/>
                  </a:lnTo>
                  <a:lnTo>
                    <a:pt x="428" y="247"/>
                  </a:lnTo>
                  <a:lnTo>
                    <a:pt x="428" y="251"/>
                  </a:lnTo>
                  <a:lnTo>
                    <a:pt x="427" y="256"/>
                  </a:lnTo>
                  <a:lnTo>
                    <a:pt x="426" y="261"/>
                  </a:lnTo>
                  <a:lnTo>
                    <a:pt x="424" y="263"/>
                  </a:lnTo>
                  <a:lnTo>
                    <a:pt x="423" y="265"/>
                  </a:lnTo>
                  <a:lnTo>
                    <a:pt x="423" y="266"/>
                  </a:lnTo>
                  <a:lnTo>
                    <a:pt x="423" y="267"/>
                  </a:lnTo>
                  <a:lnTo>
                    <a:pt x="422" y="267"/>
                  </a:lnTo>
                  <a:lnTo>
                    <a:pt x="421" y="268"/>
                  </a:lnTo>
                  <a:lnTo>
                    <a:pt x="420" y="269"/>
                  </a:lnTo>
                  <a:lnTo>
                    <a:pt x="418" y="269"/>
                  </a:lnTo>
                  <a:lnTo>
                    <a:pt x="415" y="270"/>
                  </a:lnTo>
                  <a:lnTo>
                    <a:pt x="412" y="270"/>
                  </a:lnTo>
                  <a:lnTo>
                    <a:pt x="409" y="269"/>
                  </a:lnTo>
                  <a:lnTo>
                    <a:pt x="406" y="269"/>
                  </a:lnTo>
                  <a:lnTo>
                    <a:pt x="401" y="268"/>
                  </a:lnTo>
                  <a:lnTo>
                    <a:pt x="398" y="267"/>
                  </a:lnTo>
                  <a:lnTo>
                    <a:pt x="396" y="267"/>
                  </a:lnTo>
                  <a:lnTo>
                    <a:pt x="394" y="267"/>
                  </a:lnTo>
                  <a:lnTo>
                    <a:pt x="392" y="268"/>
                  </a:lnTo>
                  <a:lnTo>
                    <a:pt x="390" y="269"/>
                  </a:lnTo>
                  <a:lnTo>
                    <a:pt x="389" y="271"/>
                  </a:lnTo>
                  <a:lnTo>
                    <a:pt x="386" y="273"/>
                  </a:lnTo>
                  <a:lnTo>
                    <a:pt x="380" y="279"/>
                  </a:lnTo>
                  <a:lnTo>
                    <a:pt x="372" y="289"/>
                  </a:lnTo>
                  <a:lnTo>
                    <a:pt x="369" y="292"/>
                  </a:lnTo>
                  <a:lnTo>
                    <a:pt x="367" y="294"/>
                  </a:lnTo>
                  <a:lnTo>
                    <a:pt x="365" y="295"/>
                  </a:lnTo>
                  <a:lnTo>
                    <a:pt x="362" y="297"/>
                  </a:lnTo>
                  <a:lnTo>
                    <a:pt x="359" y="298"/>
                  </a:lnTo>
                  <a:lnTo>
                    <a:pt x="353" y="301"/>
                  </a:lnTo>
                  <a:lnTo>
                    <a:pt x="351" y="302"/>
                  </a:lnTo>
                  <a:lnTo>
                    <a:pt x="348" y="304"/>
                  </a:lnTo>
                  <a:lnTo>
                    <a:pt x="345" y="305"/>
                  </a:lnTo>
                  <a:lnTo>
                    <a:pt x="343" y="306"/>
                  </a:lnTo>
                  <a:lnTo>
                    <a:pt x="341" y="308"/>
                  </a:lnTo>
                  <a:lnTo>
                    <a:pt x="335" y="315"/>
                  </a:lnTo>
                  <a:lnTo>
                    <a:pt x="332" y="317"/>
                  </a:lnTo>
                  <a:lnTo>
                    <a:pt x="331" y="318"/>
                  </a:lnTo>
                  <a:lnTo>
                    <a:pt x="326" y="322"/>
                  </a:lnTo>
                  <a:lnTo>
                    <a:pt x="323" y="324"/>
                  </a:lnTo>
                  <a:lnTo>
                    <a:pt x="321" y="327"/>
                  </a:lnTo>
                  <a:lnTo>
                    <a:pt x="316" y="332"/>
                  </a:lnTo>
                  <a:lnTo>
                    <a:pt x="302" y="349"/>
                  </a:lnTo>
                  <a:lnTo>
                    <a:pt x="298" y="353"/>
                  </a:lnTo>
                  <a:lnTo>
                    <a:pt x="297" y="357"/>
                  </a:lnTo>
                  <a:lnTo>
                    <a:pt x="295" y="360"/>
                  </a:lnTo>
                  <a:lnTo>
                    <a:pt x="294" y="363"/>
                  </a:lnTo>
                  <a:lnTo>
                    <a:pt x="293" y="366"/>
                  </a:lnTo>
                  <a:lnTo>
                    <a:pt x="291" y="375"/>
                  </a:lnTo>
                  <a:lnTo>
                    <a:pt x="290" y="381"/>
                  </a:lnTo>
                  <a:lnTo>
                    <a:pt x="289" y="385"/>
                  </a:lnTo>
                  <a:lnTo>
                    <a:pt x="288" y="388"/>
                  </a:lnTo>
                  <a:lnTo>
                    <a:pt x="287" y="391"/>
                  </a:lnTo>
                  <a:lnTo>
                    <a:pt x="286" y="393"/>
                  </a:lnTo>
                  <a:lnTo>
                    <a:pt x="285" y="395"/>
                  </a:lnTo>
                  <a:lnTo>
                    <a:pt x="283" y="397"/>
                  </a:lnTo>
                  <a:lnTo>
                    <a:pt x="281" y="400"/>
                  </a:lnTo>
                  <a:lnTo>
                    <a:pt x="279" y="402"/>
                  </a:lnTo>
                  <a:lnTo>
                    <a:pt x="277" y="404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2" y="403"/>
                  </a:lnTo>
                  <a:lnTo>
                    <a:pt x="267" y="401"/>
                  </a:lnTo>
                  <a:lnTo>
                    <a:pt x="262" y="399"/>
                  </a:lnTo>
                  <a:lnTo>
                    <a:pt x="256" y="397"/>
                  </a:lnTo>
                  <a:lnTo>
                    <a:pt x="251" y="394"/>
                  </a:lnTo>
                  <a:lnTo>
                    <a:pt x="245" y="390"/>
                  </a:lnTo>
                  <a:lnTo>
                    <a:pt x="237" y="385"/>
                  </a:lnTo>
                  <a:lnTo>
                    <a:pt x="233" y="382"/>
                  </a:lnTo>
                  <a:lnTo>
                    <a:pt x="231" y="381"/>
                  </a:lnTo>
                  <a:lnTo>
                    <a:pt x="230" y="379"/>
                  </a:lnTo>
                  <a:lnTo>
                    <a:pt x="228" y="376"/>
                  </a:lnTo>
                  <a:lnTo>
                    <a:pt x="226" y="374"/>
                  </a:lnTo>
                  <a:lnTo>
                    <a:pt x="224" y="372"/>
                  </a:lnTo>
                  <a:lnTo>
                    <a:pt x="220" y="367"/>
                  </a:lnTo>
                  <a:lnTo>
                    <a:pt x="212" y="356"/>
                  </a:lnTo>
                  <a:lnTo>
                    <a:pt x="210" y="352"/>
                  </a:lnTo>
                  <a:lnTo>
                    <a:pt x="208" y="351"/>
                  </a:lnTo>
                  <a:lnTo>
                    <a:pt x="207" y="349"/>
                  </a:lnTo>
                  <a:lnTo>
                    <a:pt x="204" y="346"/>
                  </a:lnTo>
                  <a:lnTo>
                    <a:pt x="201" y="344"/>
                  </a:lnTo>
                  <a:lnTo>
                    <a:pt x="198" y="342"/>
                  </a:lnTo>
                  <a:lnTo>
                    <a:pt x="196" y="341"/>
                  </a:lnTo>
                  <a:lnTo>
                    <a:pt x="194" y="340"/>
                  </a:lnTo>
                  <a:lnTo>
                    <a:pt x="193" y="340"/>
                  </a:lnTo>
                  <a:lnTo>
                    <a:pt x="188" y="340"/>
                  </a:lnTo>
                  <a:lnTo>
                    <a:pt x="185" y="339"/>
                  </a:lnTo>
                  <a:lnTo>
                    <a:pt x="163" y="339"/>
                  </a:lnTo>
                  <a:lnTo>
                    <a:pt x="162" y="339"/>
                  </a:lnTo>
                  <a:lnTo>
                    <a:pt x="158" y="338"/>
                  </a:lnTo>
                  <a:lnTo>
                    <a:pt x="154" y="337"/>
                  </a:lnTo>
                  <a:lnTo>
                    <a:pt x="151" y="336"/>
                  </a:lnTo>
                  <a:lnTo>
                    <a:pt x="150" y="335"/>
                  </a:lnTo>
                  <a:lnTo>
                    <a:pt x="148" y="334"/>
                  </a:lnTo>
                  <a:lnTo>
                    <a:pt x="147" y="333"/>
                  </a:lnTo>
                  <a:lnTo>
                    <a:pt x="146" y="332"/>
                  </a:lnTo>
                  <a:lnTo>
                    <a:pt x="142" y="327"/>
                  </a:lnTo>
                  <a:lnTo>
                    <a:pt x="134" y="317"/>
                  </a:lnTo>
                  <a:lnTo>
                    <a:pt x="130" y="312"/>
                  </a:lnTo>
                  <a:lnTo>
                    <a:pt x="128" y="309"/>
                  </a:lnTo>
                  <a:lnTo>
                    <a:pt x="128" y="307"/>
                  </a:lnTo>
                  <a:lnTo>
                    <a:pt x="127" y="305"/>
                  </a:lnTo>
                  <a:lnTo>
                    <a:pt x="125" y="295"/>
                  </a:lnTo>
                  <a:lnTo>
                    <a:pt x="124" y="290"/>
                  </a:lnTo>
                  <a:lnTo>
                    <a:pt x="117" y="272"/>
                  </a:lnTo>
                  <a:lnTo>
                    <a:pt x="116" y="270"/>
                  </a:lnTo>
                  <a:lnTo>
                    <a:pt x="117" y="270"/>
                  </a:lnTo>
                  <a:lnTo>
                    <a:pt x="117" y="269"/>
                  </a:lnTo>
                  <a:lnTo>
                    <a:pt x="118" y="267"/>
                  </a:lnTo>
                  <a:lnTo>
                    <a:pt x="118" y="266"/>
                  </a:lnTo>
                  <a:lnTo>
                    <a:pt x="119" y="263"/>
                  </a:lnTo>
                  <a:lnTo>
                    <a:pt x="118" y="261"/>
                  </a:lnTo>
                  <a:lnTo>
                    <a:pt x="118" y="257"/>
                  </a:lnTo>
                  <a:lnTo>
                    <a:pt x="118" y="255"/>
                  </a:lnTo>
                  <a:lnTo>
                    <a:pt x="116" y="243"/>
                  </a:lnTo>
                  <a:lnTo>
                    <a:pt x="114" y="236"/>
                  </a:lnTo>
                  <a:lnTo>
                    <a:pt x="113" y="231"/>
                  </a:lnTo>
                  <a:lnTo>
                    <a:pt x="113" y="227"/>
                  </a:lnTo>
                  <a:lnTo>
                    <a:pt x="113" y="226"/>
                  </a:lnTo>
                  <a:lnTo>
                    <a:pt x="113" y="223"/>
                  </a:lnTo>
                  <a:lnTo>
                    <a:pt x="115" y="215"/>
                  </a:lnTo>
                  <a:lnTo>
                    <a:pt x="115" y="211"/>
                  </a:lnTo>
                  <a:lnTo>
                    <a:pt x="116" y="207"/>
                  </a:lnTo>
                  <a:lnTo>
                    <a:pt x="116" y="203"/>
                  </a:lnTo>
                  <a:lnTo>
                    <a:pt x="115" y="199"/>
                  </a:lnTo>
                  <a:lnTo>
                    <a:pt x="114" y="195"/>
                  </a:lnTo>
                  <a:lnTo>
                    <a:pt x="113" y="192"/>
                  </a:lnTo>
                  <a:lnTo>
                    <a:pt x="111" y="188"/>
                  </a:lnTo>
                  <a:lnTo>
                    <a:pt x="109" y="184"/>
                  </a:lnTo>
                  <a:lnTo>
                    <a:pt x="106" y="181"/>
                  </a:lnTo>
                  <a:lnTo>
                    <a:pt x="104" y="178"/>
                  </a:lnTo>
                  <a:lnTo>
                    <a:pt x="102" y="176"/>
                  </a:lnTo>
                  <a:lnTo>
                    <a:pt x="101" y="175"/>
                  </a:lnTo>
                  <a:lnTo>
                    <a:pt x="98" y="173"/>
                  </a:lnTo>
                  <a:lnTo>
                    <a:pt x="94" y="171"/>
                  </a:lnTo>
                  <a:lnTo>
                    <a:pt x="80" y="162"/>
                  </a:lnTo>
                  <a:lnTo>
                    <a:pt x="77" y="161"/>
                  </a:lnTo>
                  <a:lnTo>
                    <a:pt x="71" y="159"/>
                  </a:lnTo>
                  <a:lnTo>
                    <a:pt x="68" y="157"/>
                  </a:lnTo>
                  <a:lnTo>
                    <a:pt x="66" y="155"/>
                  </a:lnTo>
                  <a:lnTo>
                    <a:pt x="64" y="153"/>
                  </a:lnTo>
                  <a:lnTo>
                    <a:pt x="62" y="151"/>
                  </a:lnTo>
                  <a:lnTo>
                    <a:pt x="60" y="149"/>
                  </a:lnTo>
                  <a:lnTo>
                    <a:pt x="59" y="147"/>
                  </a:lnTo>
                  <a:lnTo>
                    <a:pt x="58" y="145"/>
                  </a:lnTo>
                  <a:lnTo>
                    <a:pt x="56" y="142"/>
                  </a:lnTo>
                  <a:lnTo>
                    <a:pt x="55" y="140"/>
                  </a:lnTo>
                  <a:lnTo>
                    <a:pt x="50" y="127"/>
                  </a:lnTo>
                  <a:lnTo>
                    <a:pt x="45" y="114"/>
                  </a:lnTo>
                  <a:lnTo>
                    <a:pt x="42" y="108"/>
                  </a:lnTo>
                  <a:lnTo>
                    <a:pt x="40" y="102"/>
                  </a:lnTo>
                  <a:lnTo>
                    <a:pt x="37" y="93"/>
                  </a:lnTo>
                  <a:lnTo>
                    <a:pt x="36" y="87"/>
                  </a:lnTo>
                  <a:lnTo>
                    <a:pt x="34" y="83"/>
                  </a:lnTo>
                  <a:lnTo>
                    <a:pt x="32" y="79"/>
                  </a:lnTo>
                  <a:lnTo>
                    <a:pt x="30" y="78"/>
                  </a:lnTo>
                  <a:lnTo>
                    <a:pt x="29" y="76"/>
                  </a:lnTo>
                  <a:lnTo>
                    <a:pt x="27" y="74"/>
                  </a:lnTo>
                  <a:lnTo>
                    <a:pt x="25" y="72"/>
                  </a:lnTo>
                  <a:lnTo>
                    <a:pt x="24" y="70"/>
                  </a:lnTo>
                  <a:lnTo>
                    <a:pt x="18" y="65"/>
                  </a:lnTo>
                  <a:lnTo>
                    <a:pt x="9" y="57"/>
                  </a:lnTo>
                  <a:lnTo>
                    <a:pt x="7" y="56"/>
                  </a:lnTo>
                  <a:lnTo>
                    <a:pt x="5" y="54"/>
                  </a:lnTo>
                  <a:lnTo>
                    <a:pt x="3" y="52"/>
                  </a:lnTo>
                  <a:lnTo>
                    <a:pt x="2" y="50"/>
                  </a:lnTo>
                  <a:lnTo>
                    <a:pt x="1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1"/>
                  </a:lnTo>
                  <a:lnTo>
                    <a:pt x="0" y="37"/>
                  </a:lnTo>
                  <a:lnTo>
                    <a:pt x="1" y="34"/>
                  </a:lnTo>
                  <a:lnTo>
                    <a:pt x="2" y="31"/>
                  </a:lnTo>
                  <a:lnTo>
                    <a:pt x="3" y="27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0" y="16"/>
                  </a:lnTo>
                  <a:lnTo>
                    <a:pt x="13" y="12"/>
                  </a:lnTo>
                  <a:lnTo>
                    <a:pt x="15" y="10"/>
                  </a:lnTo>
                  <a:lnTo>
                    <a:pt x="17" y="7"/>
                  </a:lnTo>
                  <a:lnTo>
                    <a:pt x="21" y="5"/>
                  </a:lnTo>
                  <a:lnTo>
                    <a:pt x="25" y="2"/>
                  </a:lnTo>
                  <a:lnTo>
                    <a:pt x="26" y="1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7" name="Freeform 70">
              <a:extLst>
                <a:ext uri="{FF2B5EF4-FFF2-40B4-BE49-F238E27FC236}">
                  <a16:creationId xmlns:a16="http://schemas.microsoft.com/office/drawing/2014/main" id="{82B1F647-0A6C-4836-B359-30B2B5D91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" y="2347"/>
              <a:ext cx="665" cy="517"/>
            </a:xfrm>
            <a:custGeom>
              <a:avLst/>
              <a:gdLst>
                <a:gd name="T0" fmla="*/ 265 w 665"/>
                <a:gd name="T1" fmla="*/ 31 h 517"/>
                <a:gd name="T2" fmla="*/ 292 w 665"/>
                <a:gd name="T3" fmla="*/ 29 h 517"/>
                <a:gd name="T4" fmla="*/ 293 w 665"/>
                <a:gd name="T5" fmla="*/ 58 h 517"/>
                <a:gd name="T6" fmla="*/ 324 w 665"/>
                <a:gd name="T7" fmla="*/ 63 h 517"/>
                <a:gd name="T8" fmla="*/ 363 w 665"/>
                <a:gd name="T9" fmla="*/ 29 h 517"/>
                <a:gd name="T10" fmla="*/ 398 w 665"/>
                <a:gd name="T11" fmla="*/ 19 h 517"/>
                <a:gd name="T12" fmla="*/ 411 w 665"/>
                <a:gd name="T13" fmla="*/ 36 h 517"/>
                <a:gd name="T14" fmla="*/ 413 w 665"/>
                <a:gd name="T15" fmla="*/ 85 h 517"/>
                <a:gd name="T16" fmla="*/ 432 w 665"/>
                <a:gd name="T17" fmla="*/ 77 h 517"/>
                <a:gd name="T18" fmla="*/ 454 w 665"/>
                <a:gd name="T19" fmla="*/ 54 h 517"/>
                <a:gd name="T20" fmla="*/ 469 w 665"/>
                <a:gd name="T21" fmla="*/ 50 h 517"/>
                <a:gd name="T22" fmla="*/ 471 w 665"/>
                <a:gd name="T23" fmla="*/ 9 h 517"/>
                <a:gd name="T24" fmla="*/ 485 w 665"/>
                <a:gd name="T25" fmla="*/ 6 h 517"/>
                <a:gd name="T26" fmla="*/ 498 w 665"/>
                <a:gd name="T27" fmla="*/ 47 h 517"/>
                <a:gd name="T28" fmla="*/ 514 w 665"/>
                <a:gd name="T29" fmla="*/ 84 h 517"/>
                <a:gd name="T30" fmla="*/ 529 w 665"/>
                <a:gd name="T31" fmla="*/ 98 h 517"/>
                <a:gd name="T32" fmla="*/ 558 w 665"/>
                <a:gd name="T33" fmla="*/ 129 h 517"/>
                <a:gd name="T34" fmla="*/ 610 w 665"/>
                <a:gd name="T35" fmla="*/ 136 h 517"/>
                <a:gd name="T36" fmla="*/ 653 w 665"/>
                <a:gd name="T37" fmla="*/ 130 h 517"/>
                <a:gd name="T38" fmla="*/ 660 w 665"/>
                <a:gd name="T39" fmla="*/ 173 h 517"/>
                <a:gd name="T40" fmla="*/ 659 w 665"/>
                <a:gd name="T41" fmla="*/ 211 h 517"/>
                <a:gd name="T42" fmla="*/ 645 w 665"/>
                <a:gd name="T43" fmla="*/ 231 h 517"/>
                <a:gd name="T44" fmla="*/ 605 w 665"/>
                <a:gd name="T45" fmla="*/ 282 h 517"/>
                <a:gd name="T46" fmla="*/ 605 w 665"/>
                <a:gd name="T47" fmla="*/ 302 h 517"/>
                <a:gd name="T48" fmla="*/ 615 w 665"/>
                <a:gd name="T49" fmla="*/ 345 h 517"/>
                <a:gd name="T50" fmla="*/ 603 w 665"/>
                <a:gd name="T51" fmla="*/ 352 h 517"/>
                <a:gd name="T52" fmla="*/ 556 w 665"/>
                <a:gd name="T53" fmla="*/ 372 h 517"/>
                <a:gd name="T54" fmla="*/ 529 w 665"/>
                <a:gd name="T55" fmla="*/ 366 h 517"/>
                <a:gd name="T56" fmla="*/ 510 w 665"/>
                <a:gd name="T57" fmla="*/ 361 h 517"/>
                <a:gd name="T58" fmla="*/ 488 w 665"/>
                <a:gd name="T59" fmla="*/ 375 h 517"/>
                <a:gd name="T60" fmla="*/ 481 w 665"/>
                <a:gd name="T61" fmla="*/ 410 h 517"/>
                <a:gd name="T62" fmla="*/ 446 w 665"/>
                <a:gd name="T63" fmla="*/ 414 h 517"/>
                <a:gd name="T64" fmla="*/ 417 w 665"/>
                <a:gd name="T65" fmla="*/ 424 h 517"/>
                <a:gd name="T66" fmla="*/ 384 w 665"/>
                <a:gd name="T67" fmla="*/ 461 h 517"/>
                <a:gd name="T68" fmla="*/ 387 w 665"/>
                <a:gd name="T69" fmla="*/ 489 h 517"/>
                <a:gd name="T70" fmla="*/ 391 w 665"/>
                <a:gd name="T71" fmla="*/ 514 h 517"/>
                <a:gd name="T72" fmla="*/ 356 w 665"/>
                <a:gd name="T73" fmla="*/ 506 h 517"/>
                <a:gd name="T74" fmla="*/ 332 w 665"/>
                <a:gd name="T75" fmla="*/ 489 h 517"/>
                <a:gd name="T76" fmla="*/ 278 w 665"/>
                <a:gd name="T77" fmla="*/ 408 h 517"/>
                <a:gd name="T78" fmla="*/ 252 w 665"/>
                <a:gd name="T79" fmla="*/ 393 h 517"/>
                <a:gd name="T80" fmla="*/ 227 w 665"/>
                <a:gd name="T81" fmla="*/ 403 h 517"/>
                <a:gd name="T82" fmla="*/ 195 w 665"/>
                <a:gd name="T83" fmla="*/ 384 h 517"/>
                <a:gd name="T84" fmla="*/ 158 w 665"/>
                <a:gd name="T85" fmla="*/ 368 h 517"/>
                <a:gd name="T86" fmla="*/ 119 w 665"/>
                <a:gd name="T87" fmla="*/ 312 h 517"/>
                <a:gd name="T88" fmla="*/ 97 w 665"/>
                <a:gd name="T89" fmla="*/ 285 h 517"/>
                <a:gd name="T90" fmla="*/ 69 w 665"/>
                <a:gd name="T91" fmla="*/ 266 h 517"/>
                <a:gd name="T92" fmla="*/ 55 w 665"/>
                <a:gd name="T93" fmla="*/ 266 h 517"/>
                <a:gd name="T94" fmla="*/ 26 w 665"/>
                <a:gd name="T95" fmla="*/ 248 h 517"/>
                <a:gd name="T96" fmla="*/ 7 w 665"/>
                <a:gd name="T97" fmla="*/ 256 h 517"/>
                <a:gd name="T98" fmla="*/ 10 w 665"/>
                <a:gd name="T99" fmla="*/ 245 h 517"/>
                <a:gd name="T100" fmla="*/ 13 w 665"/>
                <a:gd name="T101" fmla="*/ 216 h 517"/>
                <a:gd name="T102" fmla="*/ 23 w 665"/>
                <a:gd name="T103" fmla="*/ 201 h 517"/>
                <a:gd name="T104" fmla="*/ 72 w 665"/>
                <a:gd name="T105" fmla="*/ 187 h 517"/>
                <a:gd name="T106" fmla="*/ 96 w 665"/>
                <a:gd name="T107" fmla="*/ 192 h 517"/>
                <a:gd name="T108" fmla="*/ 123 w 665"/>
                <a:gd name="T109" fmla="*/ 165 h 517"/>
                <a:gd name="T110" fmla="*/ 129 w 665"/>
                <a:gd name="T111" fmla="*/ 123 h 517"/>
                <a:gd name="T112" fmla="*/ 150 w 665"/>
                <a:gd name="T113" fmla="*/ 85 h 517"/>
                <a:gd name="T114" fmla="*/ 165 w 665"/>
                <a:gd name="T115" fmla="*/ 40 h 517"/>
                <a:gd name="T116" fmla="*/ 181 w 665"/>
                <a:gd name="T117" fmla="*/ 21 h 517"/>
                <a:gd name="T118" fmla="*/ 209 w 665"/>
                <a:gd name="T119" fmla="*/ 33 h 517"/>
                <a:gd name="T120" fmla="*/ 230 w 665"/>
                <a:gd name="T121" fmla="*/ 8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65" h="517">
                  <a:moveTo>
                    <a:pt x="237" y="0"/>
                  </a:moveTo>
                  <a:lnTo>
                    <a:pt x="238" y="1"/>
                  </a:lnTo>
                  <a:lnTo>
                    <a:pt x="238" y="0"/>
                  </a:lnTo>
                  <a:lnTo>
                    <a:pt x="239" y="1"/>
                  </a:lnTo>
                  <a:lnTo>
                    <a:pt x="240" y="3"/>
                  </a:lnTo>
                  <a:lnTo>
                    <a:pt x="246" y="10"/>
                  </a:lnTo>
                  <a:lnTo>
                    <a:pt x="252" y="17"/>
                  </a:lnTo>
                  <a:lnTo>
                    <a:pt x="258" y="24"/>
                  </a:lnTo>
                  <a:lnTo>
                    <a:pt x="261" y="27"/>
                  </a:lnTo>
                  <a:lnTo>
                    <a:pt x="262" y="28"/>
                  </a:lnTo>
                  <a:lnTo>
                    <a:pt x="263" y="30"/>
                  </a:lnTo>
                  <a:lnTo>
                    <a:pt x="265" y="31"/>
                  </a:lnTo>
                  <a:lnTo>
                    <a:pt x="266" y="32"/>
                  </a:lnTo>
                  <a:lnTo>
                    <a:pt x="268" y="33"/>
                  </a:lnTo>
                  <a:lnTo>
                    <a:pt x="270" y="33"/>
                  </a:lnTo>
                  <a:lnTo>
                    <a:pt x="272" y="33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82" y="32"/>
                  </a:lnTo>
                  <a:lnTo>
                    <a:pt x="284" y="31"/>
                  </a:lnTo>
                  <a:lnTo>
                    <a:pt x="287" y="30"/>
                  </a:lnTo>
                  <a:lnTo>
                    <a:pt x="289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3" y="30"/>
                  </a:lnTo>
                  <a:lnTo>
                    <a:pt x="294" y="31"/>
                  </a:lnTo>
                  <a:lnTo>
                    <a:pt x="294" y="32"/>
                  </a:lnTo>
                  <a:lnTo>
                    <a:pt x="294" y="33"/>
                  </a:lnTo>
                  <a:lnTo>
                    <a:pt x="294" y="35"/>
                  </a:lnTo>
                  <a:lnTo>
                    <a:pt x="294" y="38"/>
                  </a:lnTo>
                  <a:lnTo>
                    <a:pt x="294" y="40"/>
                  </a:lnTo>
                  <a:lnTo>
                    <a:pt x="292" y="48"/>
                  </a:lnTo>
                  <a:lnTo>
                    <a:pt x="292" y="51"/>
                  </a:lnTo>
                  <a:lnTo>
                    <a:pt x="292" y="55"/>
                  </a:lnTo>
                  <a:lnTo>
                    <a:pt x="292" y="56"/>
                  </a:lnTo>
                  <a:lnTo>
                    <a:pt x="293" y="58"/>
                  </a:lnTo>
                  <a:lnTo>
                    <a:pt x="293" y="59"/>
                  </a:lnTo>
                  <a:lnTo>
                    <a:pt x="294" y="61"/>
                  </a:lnTo>
                  <a:lnTo>
                    <a:pt x="295" y="62"/>
                  </a:lnTo>
                  <a:lnTo>
                    <a:pt x="296" y="63"/>
                  </a:lnTo>
                  <a:lnTo>
                    <a:pt x="296" y="63"/>
                  </a:lnTo>
                  <a:lnTo>
                    <a:pt x="297" y="64"/>
                  </a:lnTo>
                  <a:lnTo>
                    <a:pt x="299" y="64"/>
                  </a:lnTo>
                  <a:lnTo>
                    <a:pt x="302" y="64"/>
                  </a:lnTo>
                  <a:lnTo>
                    <a:pt x="310" y="64"/>
                  </a:lnTo>
                  <a:lnTo>
                    <a:pt x="319" y="64"/>
                  </a:lnTo>
                  <a:lnTo>
                    <a:pt x="321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7" y="61"/>
                  </a:lnTo>
                  <a:lnTo>
                    <a:pt x="328" y="59"/>
                  </a:lnTo>
                  <a:lnTo>
                    <a:pt x="330" y="55"/>
                  </a:lnTo>
                  <a:lnTo>
                    <a:pt x="331" y="54"/>
                  </a:lnTo>
                  <a:lnTo>
                    <a:pt x="333" y="52"/>
                  </a:lnTo>
                  <a:lnTo>
                    <a:pt x="336" y="49"/>
                  </a:lnTo>
                  <a:lnTo>
                    <a:pt x="339" y="47"/>
                  </a:lnTo>
                  <a:lnTo>
                    <a:pt x="346" y="42"/>
                  </a:lnTo>
                  <a:lnTo>
                    <a:pt x="354" y="35"/>
                  </a:lnTo>
                  <a:lnTo>
                    <a:pt x="358" y="33"/>
                  </a:lnTo>
                  <a:lnTo>
                    <a:pt x="363" y="29"/>
                  </a:lnTo>
                  <a:lnTo>
                    <a:pt x="365" y="27"/>
                  </a:lnTo>
                  <a:lnTo>
                    <a:pt x="367" y="26"/>
                  </a:lnTo>
                  <a:lnTo>
                    <a:pt x="370" y="25"/>
                  </a:lnTo>
                  <a:lnTo>
                    <a:pt x="374" y="23"/>
                  </a:lnTo>
                  <a:lnTo>
                    <a:pt x="378" y="21"/>
                  </a:lnTo>
                  <a:lnTo>
                    <a:pt x="380" y="21"/>
                  </a:lnTo>
                  <a:lnTo>
                    <a:pt x="381" y="21"/>
                  </a:lnTo>
                  <a:lnTo>
                    <a:pt x="386" y="20"/>
                  </a:lnTo>
                  <a:lnTo>
                    <a:pt x="391" y="19"/>
                  </a:lnTo>
                  <a:lnTo>
                    <a:pt x="394" y="19"/>
                  </a:lnTo>
                  <a:lnTo>
                    <a:pt x="396" y="19"/>
                  </a:lnTo>
                  <a:lnTo>
                    <a:pt x="398" y="19"/>
                  </a:lnTo>
                  <a:lnTo>
                    <a:pt x="399" y="20"/>
                  </a:lnTo>
                  <a:lnTo>
                    <a:pt x="400" y="20"/>
                  </a:lnTo>
                  <a:lnTo>
                    <a:pt x="402" y="21"/>
                  </a:lnTo>
                  <a:lnTo>
                    <a:pt x="405" y="22"/>
                  </a:lnTo>
                  <a:lnTo>
                    <a:pt x="407" y="24"/>
                  </a:lnTo>
                  <a:lnTo>
                    <a:pt x="408" y="25"/>
                  </a:lnTo>
                  <a:lnTo>
                    <a:pt x="409" y="27"/>
                  </a:lnTo>
                  <a:lnTo>
                    <a:pt x="410" y="30"/>
                  </a:lnTo>
                  <a:lnTo>
                    <a:pt x="410" y="32"/>
                  </a:lnTo>
                  <a:lnTo>
                    <a:pt x="411" y="33"/>
                  </a:lnTo>
                  <a:lnTo>
                    <a:pt x="411" y="34"/>
                  </a:lnTo>
                  <a:lnTo>
                    <a:pt x="411" y="36"/>
                  </a:lnTo>
                  <a:lnTo>
                    <a:pt x="410" y="42"/>
                  </a:lnTo>
                  <a:lnTo>
                    <a:pt x="410" y="47"/>
                  </a:lnTo>
                  <a:lnTo>
                    <a:pt x="407" y="57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6" y="68"/>
                  </a:lnTo>
                  <a:lnTo>
                    <a:pt x="407" y="71"/>
                  </a:lnTo>
                  <a:lnTo>
                    <a:pt x="407" y="73"/>
                  </a:lnTo>
                  <a:lnTo>
                    <a:pt x="408" y="76"/>
                  </a:lnTo>
                  <a:lnTo>
                    <a:pt x="410" y="79"/>
                  </a:lnTo>
                  <a:lnTo>
                    <a:pt x="411" y="82"/>
                  </a:lnTo>
                  <a:lnTo>
                    <a:pt x="413" y="85"/>
                  </a:lnTo>
                  <a:lnTo>
                    <a:pt x="415" y="87"/>
                  </a:lnTo>
                  <a:lnTo>
                    <a:pt x="417" y="88"/>
                  </a:lnTo>
                  <a:lnTo>
                    <a:pt x="419" y="89"/>
                  </a:lnTo>
                  <a:lnTo>
                    <a:pt x="421" y="89"/>
                  </a:lnTo>
                  <a:lnTo>
                    <a:pt x="421" y="89"/>
                  </a:lnTo>
                  <a:lnTo>
                    <a:pt x="422" y="89"/>
                  </a:lnTo>
                  <a:lnTo>
                    <a:pt x="423" y="88"/>
                  </a:lnTo>
                  <a:lnTo>
                    <a:pt x="424" y="87"/>
                  </a:lnTo>
                  <a:lnTo>
                    <a:pt x="426" y="85"/>
                  </a:lnTo>
                  <a:lnTo>
                    <a:pt x="430" y="80"/>
                  </a:lnTo>
                  <a:lnTo>
                    <a:pt x="431" y="78"/>
                  </a:lnTo>
                  <a:lnTo>
                    <a:pt x="432" y="77"/>
                  </a:lnTo>
                  <a:lnTo>
                    <a:pt x="437" y="71"/>
                  </a:lnTo>
                  <a:lnTo>
                    <a:pt x="439" y="69"/>
                  </a:lnTo>
                  <a:lnTo>
                    <a:pt x="440" y="68"/>
                  </a:lnTo>
                  <a:lnTo>
                    <a:pt x="441" y="67"/>
                  </a:lnTo>
                  <a:lnTo>
                    <a:pt x="442" y="63"/>
                  </a:lnTo>
                  <a:lnTo>
                    <a:pt x="443" y="61"/>
                  </a:lnTo>
                  <a:lnTo>
                    <a:pt x="444" y="60"/>
                  </a:lnTo>
                  <a:lnTo>
                    <a:pt x="445" y="58"/>
                  </a:lnTo>
                  <a:lnTo>
                    <a:pt x="446" y="57"/>
                  </a:lnTo>
                  <a:lnTo>
                    <a:pt x="448" y="56"/>
                  </a:lnTo>
                  <a:lnTo>
                    <a:pt x="453" y="55"/>
                  </a:lnTo>
                  <a:lnTo>
                    <a:pt x="454" y="54"/>
                  </a:lnTo>
                  <a:lnTo>
                    <a:pt x="455" y="52"/>
                  </a:lnTo>
                  <a:lnTo>
                    <a:pt x="456" y="51"/>
                  </a:lnTo>
                  <a:lnTo>
                    <a:pt x="457" y="51"/>
                  </a:lnTo>
                  <a:lnTo>
                    <a:pt x="458" y="51"/>
                  </a:lnTo>
                  <a:lnTo>
                    <a:pt x="459" y="51"/>
                  </a:lnTo>
                  <a:lnTo>
                    <a:pt x="460" y="51"/>
                  </a:lnTo>
                  <a:lnTo>
                    <a:pt x="463" y="52"/>
                  </a:lnTo>
                  <a:lnTo>
                    <a:pt x="464" y="53"/>
                  </a:lnTo>
                  <a:lnTo>
                    <a:pt x="465" y="52"/>
                  </a:lnTo>
                  <a:lnTo>
                    <a:pt x="466" y="52"/>
                  </a:lnTo>
                  <a:lnTo>
                    <a:pt x="467" y="52"/>
                  </a:lnTo>
                  <a:lnTo>
                    <a:pt x="469" y="50"/>
                  </a:lnTo>
                  <a:lnTo>
                    <a:pt x="471" y="49"/>
                  </a:lnTo>
                  <a:lnTo>
                    <a:pt x="473" y="47"/>
                  </a:lnTo>
                  <a:lnTo>
                    <a:pt x="475" y="44"/>
                  </a:lnTo>
                  <a:lnTo>
                    <a:pt x="476" y="43"/>
                  </a:lnTo>
                  <a:lnTo>
                    <a:pt x="477" y="41"/>
                  </a:lnTo>
                  <a:lnTo>
                    <a:pt x="477" y="38"/>
                  </a:lnTo>
                  <a:lnTo>
                    <a:pt x="477" y="35"/>
                  </a:lnTo>
                  <a:lnTo>
                    <a:pt x="477" y="34"/>
                  </a:lnTo>
                  <a:lnTo>
                    <a:pt x="476" y="32"/>
                  </a:lnTo>
                  <a:lnTo>
                    <a:pt x="471" y="14"/>
                  </a:lnTo>
                  <a:lnTo>
                    <a:pt x="471" y="10"/>
                  </a:lnTo>
                  <a:lnTo>
                    <a:pt x="471" y="9"/>
                  </a:lnTo>
                  <a:lnTo>
                    <a:pt x="471" y="8"/>
                  </a:lnTo>
                  <a:lnTo>
                    <a:pt x="471" y="7"/>
                  </a:lnTo>
                  <a:lnTo>
                    <a:pt x="472" y="5"/>
                  </a:lnTo>
                  <a:lnTo>
                    <a:pt x="473" y="4"/>
                  </a:lnTo>
                  <a:lnTo>
                    <a:pt x="475" y="3"/>
                  </a:lnTo>
                  <a:lnTo>
                    <a:pt x="476" y="3"/>
                  </a:lnTo>
                  <a:lnTo>
                    <a:pt x="478" y="2"/>
                  </a:lnTo>
                  <a:lnTo>
                    <a:pt x="479" y="3"/>
                  </a:lnTo>
                  <a:lnTo>
                    <a:pt x="481" y="3"/>
                  </a:lnTo>
                  <a:lnTo>
                    <a:pt x="483" y="4"/>
                  </a:lnTo>
                  <a:lnTo>
                    <a:pt x="484" y="5"/>
                  </a:lnTo>
                  <a:lnTo>
                    <a:pt x="485" y="6"/>
                  </a:lnTo>
                  <a:lnTo>
                    <a:pt x="486" y="7"/>
                  </a:lnTo>
                  <a:lnTo>
                    <a:pt x="488" y="10"/>
                  </a:lnTo>
                  <a:lnTo>
                    <a:pt x="490" y="15"/>
                  </a:lnTo>
                  <a:lnTo>
                    <a:pt x="493" y="21"/>
                  </a:lnTo>
                  <a:lnTo>
                    <a:pt x="495" y="23"/>
                  </a:lnTo>
                  <a:lnTo>
                    <a:pt x="496" y="28"/>
                  </a:lnTo>
                  <a:lnTo>
                    <a:pt x="497" y="29"/>
                  </a:lnTo>
                  <a:lnTo>
                    <a:pt x="497" y="32"/>
                  </a:lnTo>
                  <a:lnTo>
                    <a:pt x="498" y="35"/>
                  </a:lnTo>
                  <a:lnTo>
                    <a:pt x="498" y="41"/>
                  </a:lnTo>
                  <a:lnTo>
                    <a:pt x="498" y="44"/>
                  </a:lnTo>
                  <a:lnTo>
                    <a:pt x="498" y="47"/>
                  </a:lnTo>
                  <a:lnTo>
                    <a:pt x="499" y="50"/>
                  </a:lnTo>
                  <a:lnTo>
                    <a:pt x="500" y="53"/>
                  </a:lnTo>
                  <a:lnTo>
                    <a:pt x="501" y="55"/>
                  </a:lnTo>
                  <a:lnTo>
                    <a:pt x="504" y="62"/>
                  </a:lnTo>
                  <a:lnTo>
                    <a:pt x="506" y="64"/>
                  </a:lnTo>
                  <a:lnTo>
                    <a:pt x="509" y="67"/>
                  </a:lnTo>
                  <a:lnTo>
                    <a:pt x="510" y="69"/>
                  </a:lnTo>
                  <a:lnTo>
                    <a:pt x="511" y="72"/>
                  </a:lnTo>
                  <a:lnTo>
                    <a:pt x="512" y="77"/>
                  </a:lnTo>
                  <a:lnTo>
                    <a:pt x="512" y="79"/>
                  </a:lnTo>
                  <a:lnTo>
                    <a:pt x="513" y="81"/>
                  </a:lnTo>
                  <a:lnTo>
                    <a:pt x="514" y="84"/>
                  </a:lnTo>
                  <a:lnTo>
                    <a:pt x="515" y="86"/>
                  </a:lnTo>
                  <a:lnTo>
                    <a:pt x="516" y="87"/>
                  </a:lnTo>
                  <a:lnTo>
                    <a:pt x="518" y="89"/>
                  </a:lnTo>
                  <a:lnTo>
                    <a:pt x="520" y="90"/>
                  </a:lnTo>
                  <a:lnTo>
                    <a:pt x="523" y="92"/>
                  </a:lnTo>
                  <a:lnTo>
                    <a:pt x="525" y="93"/>
                  </a:lnTo>
                  <a:lnTo>
                    <a:pt x="528" y="95"/>
                  </a:lnTo>
                  <a:lnTo>
                    <a:pt x="529" y="95"/>
                  </a:lnTo>
                  <a:lnTo>
                    <a:pt x="530" y="95"/>
                  </a:lnTo>
                  <a:lnTo>
                    <a:pt x="530" y="96"/>
                  </a:lnTo>
                  <a:lnTo>
                    <a:pt x="529" y="97"/>
                  </a:lnTo>
                  <a:lnTo>
                    <a:pt x="529" y="98"/>
                  </a:lnTo>
                  <a:lnTo>
                    <a:pt x="529" y="99"/>
                  </a:lnTo>
                  <a:lnTo>
                    <a:pt x="530" y="101"/>
                  </a:lnTo>
                  <a:lnTo>
                    <a:pt x="531" y="104"/>
                  </a:lnTo>
                  <a:lnTo>
                    <a:pt x="532" y="107"/>
                  </a:lnTo>
                  <a:lnTo>
                    <a:pt x="534" y="109"/>
                  </a:lnTo>
                  <a:lnTo>
                    <a:pt x="535" y="111"/>
                  </a:lnTo>
                  <a:lnTo>
                    <a:pt x="537" y="113"/>
                  </a:lnTo>
                  <a:lnTo>
                    <a:pt x="539" y="115"/>
                  </a:lnTo>
                  <a:lnTo>
                    <a:pt x="549" y="122"/>
                  </a:lnTo>
                  <a:lnTo>
                    <a:pt x="551" y="123"/>
                  </a:lnTo>
                  <a:lnTo>
                    <a:pt x="557" y="128"/>
                  </a:lnTo>
                  <a:lnTo>
                    <a:pt x="558" y="129"/>
                  </a:lnTo>
                  <a:lnTo>
                    <a:pt x="560" y="131"/>
                  </a:lnTo>
                  <a:lnTo>
                    <a:pt x="564" y="133"/>
                  </a:lnTo>
                  <a:lnTo>
                    <a:pt x="572" y="136"/>
                  </a:lnTo>
                  <a:lnTo>
                    <a:pt x="577" y="138"/>
                  </a:lnTo>
                  <a:lnTo>
                    <a:pt x="580" y="139"/>
                  </a:lnTo>
                  <a:lnTo>
                    <a:pt x="584" y="140"/>
                  </a:lnTo>
                  <a:lnTo>
                    <a:pt x="591" y="141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9" y="141"/>
                  </a:lnTo>
                  <a:lnTo>
                    <a:pt x="604" y="138"/>
                  </a:lnTo>
                  <a:lnTo>
                    <a:pt x="610" y="136"/>
                  </a:lnTo>
                  <a:lnTo>
                    <a:pt x="616" y="134"/>
                  </a:lnTo>
                  <a:lnTo>
                    <a:pt x="628" y="130"/>
                  </a:lnTo>
                  <a:lnTo>
                    <a:pt x="633" y="128"/>
                  </a:lnTo>
                  <a:lnTo>
                    <a:pt x="640" y="126"/>
                  </a:lnTo>
                  <a:lnTo>
                    <a:pt x="644" y="126"/>
                  </a:lnTo>
                  <a:lnTo>
                    <a:pt x="645" y="126"/>
                  </a:lnTo>
                  <a:lnTo>
                    <a:pt x="647" y="126"/>
                  </a:lnTo>
                  <a:lnTo>
                    <a:pt x="648" y="126"/>
                  </a:lnTo>
                  <a:lnTo>
                    <a:pt x="649" y="127"/>
                  </a:lnTo>
                  <a:lnTo>
                    <a:pt x="651" y="128"/>
                  </a:lnTo>
                  <a:lnTo>
                    <a:pt x="652" y="129"/>
                  </a:lnTo>
                  <a:lnTo>
                    <a:pt x="653" y="130"/>
                  </a:lnTo>
                  <a:lnTo>
                    <a:pt x="654" y="132"/>
                  </a:lnTo>
                  <a:lnTo>
                    <a:pt x="656" y="134"/>
                  </a:lnTo>
                  <a:lnTo>
                    <a:pt x="657" y="135"/>
                  </a:lnTo>
                  <a:lnTo>
                    <a:pt x="658" y="137"/>
                  </a:lnTo>
                  <a:lnTo>
                    <a:pt x="659" y="139"/>
                  </a:lnTo>
                  <a:lnTo>
                    <a:pt x="660" y="141"/>
                  </a:lnTo>
                  <a:lnTo>
                    <a:pt x="660" y="145"/>
                  </a:lnTo>
                  <a:lnTo>
                    <a:pt x="662" y="153"/>
                  </a:lnTo>
                  <a:lnTo>
                    <a:pt x="664" y="160"/>
                  </a:lnTo>
                  <a:lnTo>
                    <a:pt x="665" y="168"/>
                  </a:lnTo>
                  <a:lnTo>
                    <a:pt x="663" y="170"/>
                  </a:lnTo>
                  <a:lnTo>
                    <a:pt x="660" y="173"/>
                  </a:lnTo>
                  <a:lnTo>
                    <a:pt x="660" y="175"/>
                  </a:lnTo>
                  <a:lnTo>
                    <a:pt x="659" y="177"/>
                  </a:lnTo>
                  <a:lnTo>
                    <a:pt x="657" y="180"/>
                  </a:lnTo>
                  <a:lnTo>
                    <a:pt x="656" y="181"/>
                  </a:lnTo>
                  <a:lnTo>
                    <a:pt x="655" y="185"/>
                  </a:lnTo>
                  <a:lnTo>
                    <a:pt x="654" y="188"/>
                  </a:lnTo>
                  <a:lnTo>
                    <a:pt x="654" y="191"/>
                  </a:lnTo>
                  <a:lnTo>
                    <a:pt x="654" y="192"/>
                  </a:lnTo>
                  <a:lnTo>
                    <a:pt x="654" y="193"/>
                  </a:lnTo>
                  <a:lnTo>
                    <a:pt x="655" y="200"/>
                  </a:lnTo>
                  <a:lnTo>
                    <a:pt x="658" y="205"/>
                  </a:lnTo>
                  <a:lnTo>
                    <a:pt x="659" y="211"/>
                  </a:lnTo>
                  <a:lnTo>
                    <a:pt x="659" y="212"/>
                  </a:lnTo>
                  <a:lnTo>
                    <a:pt x="659" y="213"/>
                  </a:lnTo>
                  <a:lnTo>
                    <a:pt x="658" y="219"/>
                  </a:lnTo>
                  <a:lnTo>
                    <a:pt x="658" y="220"/>
                  </a:lnTo>
                  <a:lnTo>
                    <a:pt x="658" y="219"/>
                  </a:lnTo>
                  <a:lnTo>
                    <a:pt x="657" y="219"/>
                  </a:lnTo>
                  <a:lnTo>
                    <a:pt x="655" y="219"/>
                  </a:lnTo>
                  <a:lnTo>
                    <a:pt x="654" y="219"/>
                  </a:lnTo>
                  <a:lnTo>
                    <a:pt x="654" y="220"/>
                  </a:lnTo>
                  <a:lnTo>
                    <a:pt x="652" y="221"/>
                  </a:lnTo>
                  <a:lnTo>
                    <a:pt x="648" y="228"/>
                  </a:lnTo>
                  <a:lnTo>
                    <a:pt x="645" y="231"/>
                  </a:lnTo>
                  <a:lnTo>
                    <a:pt x="637" y="239"/>
                  </a:lnTo>
                  <a:lnTo>
                    <a:pt x="630" y="248"/>
                  </a:lnTo>
                  <a:lnTo>
                    <a:pt x="626" y="254"/>
                  </a:lnTo>
                  <a:lnTo>
                    <a:pt x="622" y="259"/>
                  </a:lnTo>
                  <a:lnTo>
                    <a:pt x="620" y="263"/>
                  </a:lnTo>
                  <a:lnTo>
                    <a:pt x="617" y="267"/>
                  </a:lnTo>
                  <a:lnTo>
                    <a:pt x="614" y="274"/>
                  </a:lnTo>
                  <a:lnTo>
                    <a:pt x="613" y="276"/>
                  </a:lnTo>
                  <a:lnTo>
                    <a:pt x="612" y="277"/>
                  </a:lnTo>
                  <a:lnTo>
                    <a:pt x="610" y="279"/>
                  </a:lnTo>
                  <a:lnTo>
                    <a:pt x="609" y="280"/>
                  </a:lnTo>
                  <a:lnTo>
                    <a:pt x="605" y="282"/>
                  </a:lnTo>
                  <a:lnTo>
                    <a:pt x="603" y="282"/>
                  </a:lnTo>
                  <a:lnTo>
                    <a:pt x="603" y="283"/>
                  </a:lnTo>
                  <a:lnTo>
                    <a:pt x="602" y="285"/>
                  </a:lnTo>
                  <a:lnTo>
                    <a:pt x="601" y="286"/>
                  </a:lnTo>
                  <a:lnTo>
                    <a:pt x="601" y="287"/>
                  </a:lnTo>
                  <a:lnTo>
                    <a:pt x="600" y="289"/>
                  </a:lnTo>
                  <a:lnTo>
                    <a:pt x="600" y="291"/>
                  </a:lnTo>
                  <a:lnTo>
                    <a:pt x="600" y="292"/>
                  </a:lnTo>
                  <a:lnTo>
                    <a:pt x="601" y="293"/>
                  </a:lnTo>
                  <a:lnTo>
                    <a:pt x="602" y="295"/>
                  </a:lnTo>
                  <a:lnTo>
                    <a:pt x="603" y="300"/>
                  </a:lnTo>
                  <a:lnTo>
                    <a:pt x="605" y="302"/>
                  </a:lnTo>
                  <a:lnTo>
                    <a:pt x="608" y="310"/>
                  </a:lnTo>
                  <a:lnTo>
                    <a:pt x="613" y="323"/>
                  </a:lnTo>
                  <a:lnTo>
                    <a:pt x="615" y="328"/>
                  </a:lnTo>
                  <a:lnTo>
                    <a:pt x="616" y="331"/>
                  </a:lnTo>
                  <a:lnTo>
                    <a:pt x="616" y="333"/>
                  </a:lnTo>
                  <a:lnTo>
                    <a:pt x="616" y="335"/>
                  </a:lnTo>
                  <a:lnTo>
                    <a:pt x="616" y="337"/>
                  </a:lnTo>
                  <a:lnTo>
                    <a:pt x="616" y="338"/>
                  </a:lnTo>
                  <a:lnTo>
                    <a:pt x="616" y="340"/>
                  </a:lnTo>
                  <a:lnTo>
                    <a:pt x="615" y="343"/>
                  </a:lnTo>
                  <a:lnTo>
                    <a:pt x="615" y="344"/>
                  </a:lnTo>
                  <a:lnTo>
                    <a:pt x="615" y="345"/>
                  </a:lnTo>
                  <a:lnTo>
                    <a:pt x="614" y="345"/>
                  </a:lnTo>
                  <a:lnTo>
                    <a:pt x="614" y="345"/>
                  </a:lnTo>
                  <a:lnTo>
                    <a:pt x="613" y="344"/>
                  </a:lnTo>
                  <a:lnTo>
                    <a:pt x="612" y="343"/>
                  </a:lnTo>
                  <a:lnTo>
                    <a:pt x="611" y="343"/>
                  </a:lnTo>
                  <a:lnTo>
                    <a:pt x="611" y="344"/>
                  </a:lnTo>
                  <a:lnTo>
                    <a:pt x="609" y="348"/>
                  </a:lnTo>
                  <a:lnTo>
                    <a:pt x="609" y="349"/>
                  </a:lnTo>
                  <a:lnTo>
                    <a:pt x="608" y="350"/>
                  </a:lnTo>
                  <a:lnTo>
                    <a:pt x="606" y="351"/>
                  </a:lnTo>
                  <a:lnTo>
                    <a:pt x="605" y="351"/>
                  </a:lnTo>
                  <a:lnTo>
                    <a:pt x="603" y="352"/>
                  </a:lnTo>
                  <a:lnTo>
                    <a:pt x="596" y="354"/>
                  </a:lnTo>
                  <a:lnTo>
                    <a:pt x="594" y="355"/>
                  </a:lnTo>
                  <a:lnTo>
                    <a:pt x="590" y="357"/>
                  </a:lnTo>
                  <a:lnTo>
                    <a:pt x="583" y="358"/>
                  </a:lnTo>
                  <a:lnTo>
                    <a:pt x="579" y="360"/>
                  </a:lnTo>
                  <a:lnTo>
                    <a:pt x="576" y="361"/>
                  </a:lnTo>
                  <a:lnTo>
                    <a:pt x="572" y="363"/>
                  </a:lnTo>
                  <a:lnTo>
                    <a:pt x="569" y="365"/>
                  </a:lnTo>
                  <a:lnTo>
                    <a:pt x="562" y="370"/>
                  </a:lnTo>
                  <a:lnTo>
                    <a:pt x="558" y="371"/>
                  </a:lnTo>
                  <a:lnTo>
                    <a:pt x="557" y="372"/>
                  </a:lnTo>
                  <a:lnTo>
                    <a:pt x="556" y="372"/>
                  </a:lnTo>
                  <a:lnTo>
                    <a:pt x="554" y="372"/>
                  </a:lnTo>
                  <a:lnTo>
                    <a:pt x="552" y="373"/>
                  </a:lnTo>
                  <a:lnTo>
                    <a:pt x="550" y="373"/>
                  </a:lnTo>
                  <a:lnTo>
                    <a:pt x="548" y="373"/>
                  </a:lnTo>
                  <a:lnTo>
                    <a:pt x="546" y="373"/>
                  </a:lnTo>
                  <a:lnTo>
                    <a:pt x="545" y="373"/>
                  </a:lnTo>
                  <a:lnTo>
                    <a:pt x="542" y="372"/>
                  </a:lnTo>
                  <a:lnTo>
                    <a:pt x="537" y="371"/>
                  </a:lnTo>
                  <a:lnTo>
                    <a:pt x="535" y="370"/>
                  </a:lnTo>
                  <a:lnTo>
                    <a:pt x="533" y="368"/>
                  </a:lnTo>
                  <a:lnTo>
                    <a:pt x="531" y="367"/>
                  </a:lnTo>
                  <a:lnTo>
                    <a:pt x="529" y="366"/>
                  </a:lnTo>
                  <a:lnTo>
                    <a:pt x="527" y="364"/>
                  </a:lnTo>
                  <a:lnTo>
                    <a:pt x="526" y="363"/>
                  </a:lnTo>
                  <a:lnTo>
                    <a:pt x="524" y="362"/>
                  </a:lnTo>
                  <a:lnTo>
                    <a:pt x="524" y="361"/>
                  </a:lnTo>
                  <a:lnTo>
                    <a:pt x="523" y="358"/>
                  </a:lnTo>
                  <a:lnTo>
                    <a:pt x="523" y="357"/>
                  </a:lnTo>
                  <a:lnTo>
                    <a:pt x="522" y="357"/>
                  </a:lnTo>
                  <a:lnTo>
                    <a:pt x="521" y="357"/>
                  </a:lnTo>
                  <a:lnTo>
                    <a:pt x="520" y="358"/>
                  </a:lnTo>
                  <a:lnTo>
                    <a:pt x="514" y="361"/>
                  </a:lnTo>
                  <a:lnTo>
                    <a:pt x="512" y="361"/>
                  </a:lnTo>
                  <a:lnTo>
                    <a:pt x="510" y="361"/>
                  </a:lnTo>
                  <a:lnTo>
                    <a:pt x="504" y="362"/>
                  </a:lnTo>
                  <a:lnTo>
                    <a:pt x="501" y="362"/>
                  </a:lnTo>
                  <a:lnTo>
                    <a:pt x="498" y="363"/>
                  </a:lnTo>
                  <a:lnTo>
                    <a:pt x="497" y="364"/>
                  </a:lnTo>
                  <a:lnTo>
                    <a:pt x="495" y="365"/>
                  </a:lnTo>
                  <a:lnTo>
                    <a:pt x="494" y="365"/>
                  </a:lnTo>
                  <a:lnTo>
                    <a:pt x="493" y="367"/>
                  </a:lnTo>
                  <a:lnTo>
                    <a:pt x="491" y="368"/>
                  </a:lnTo>
                  <a:lnTo>
                    <a:pt x="490" y="370"/>
                  </a:lnTo>
                  <a:lnTo>
                    <a:pt x="489" y="371"/>
                  </a:lnTo>
                  <a:lnTo>
                    <a:pt x="489" y="372"/>
                  </a:lnTo>
                  <a:lnTo>
                    <a:pt x="488" y="375"/>
                  </a:lnTo>
                  <a:lnTo>
                    <a:pt x="487" y="377"/>
                  </a:lnTo>
                  <a:lnTo>
                    <a:pt x="486" y="380"/>
                  </a:lnTo>
                  <a:lnTo>
                    <a:pt x="486" y="383"/>
                  </a:lnTo>
                  <a:lnTo>
                    <a:pt x="486" y="384"/>
                  </a:lnTo>
                  <a:lnTo>
                    <a:pt x="487" y="395"/>
                  </a:lnTo>
                  <a:lnTo>
                    <a:pt x="487" y="398"/>
                  </a:lnTo>
                  <a:lnTo>
                    <a:pt x="487" y="401"/>
                  </a:lnTo>
                  <a:lnTo>
                    <a:pt x="486" y="403"/>
                  </a:lnTo>
                  <a:lnTo>
                    <a:pt x="485" y="406"/>
                  </a:lnTo>
                  <a:lnTo>
                    <a:pt x="484" y="406"/>
                  </a:lnTo>
                  <a:lnTo>
                    <a:pt x="483" y="408"/>
                  </a:lnTo>
                  <a:lnTo>
                    <a:pt x="481" y="410"/>
                  </a:lnTo>
                  <a:lnTo>
                    <a:pt x="479" y="411"/>
                  </a:lnTo>
                  <a:lnTo>
                    <a:pt x="478" y="411"/>
                  </a:lnTo>
                  <a:lnTo>
                    <a:pt x="477" y="412"/>
                  </a:lnTo>
                  <a:lnTo>
                    <a:pt x="475" y="412"/>
                  </a:lnTo>
                  <a:lnTo>
                    <a:pt x="473" y="412"/>
                  </a:lnTo>
                  <a:lnTo>
                    <a:pt x="472" y="412"/>
                  </a:lnTo>
                  <a:lnTo>
                    <a:pt x="466" y="411"/>
                  </a:lnTo>
                  <a:lnTo>
                    <a:pt x="463" y="411"/>
                  </a:lnTo>
                  <a:lnTo>
                    <a:pt x="458" y="411"/>
                  </a:lnTo>
                  <a:lnTo>
                    <a:pt x="455" y="412"/>
                  </a:lnTo>
                  <a:lnTo>
                    <a:pt x="451" y="413"/>
                  </a:lnTo>
                  <a:lnTo>
                    <a:pt x="446" y="414"/>
                  </a:lnTo>
                  <a:lnTo>
                    <a:pt x="444" y="415"/>
                  </a:lnTo>
                  <a:lnTo>
                    <a:pt x="436" y="418"/>
                  </a:lnTo>
                  <a:lnTo>
                    <a:pt x="432" y="418"/>
                  </a:lnTo>
                  <a:lnTo>
                    <a:pt x="431" y="419"/>
                  </a:lnTo>
                  <a:lnTo>
                    <a:pt x="429" y="419"/>
                  </a:lnTo>
                  <a:lnTo>
                    <a:pt x="424" y="420"/>
                  </a:lnTo>
                  <a:lnTo>
                    <a:pt x="422" y="420"/>
                  </a:lnTo>
                  <a:lnTo>
                    <a:pt x="421" y="421"/>
                  </a:lnTo>
                  <a:lnTo>
                    <a:pt x="419" y="422"/>
                  </a:lnTo>
                  <a:lnTo>
                    <a:pt x="418" y="422"/>
                  </a:lnTo>
                  <a:lnTo>
                    <a:pt x="417" y="423"/>
                  </a:lnTo>
                  <a:lnTo>
                    <a:pt x="417" y="424"/>
                  </a:lnTo>
                  <a:lnTo>
                    <a:pt x="416" y="425"/>
                  </a:lnTo>
                  <a:lnTo>
                    <a:pt x="415" y="427"/>
                  </a:lnTo>
                  <a:lnTo>
                    <a:pt x="412" y="434"/>
                  </a:lnTo>
                  <a:lnTo>
                    <a:pt x="411" y="437"/>
                  </a:lnTo>
                  <a:lnTo>
                    <a:pt x="410" y="440"/>
                  </a:lnTo>
                  <a:lnTo>
                    <a:pt x="408" y="441"/>
                  </a:lnTo>
                  <a:lnTo>
                    <a:pt x="406" y="444"/>
                  </a:lnTo>
                  <a:lnTo>
                    <a:pt x="402" y="447"/>
                  </a:lnTo>
                  <a:lnTo>
                    <a:pt x="398" y="450"/>
                  </a:lnTo>
                  <a:lnTo>
                    <a:pt x="391" y="454"/>
                  </a:lnTo>
                  <a:lnTo>
                    <a:pt x="387" y="457"/>
                  </a:lnTo>
                  <a:lnTo>
                    <a:pt x="384" y="461"/>
                  </a:lnTo>
                  <a:lnTo>
                    <a:pt x="383" y="463"/>
                  </a:lnTo>
                  <a:lnTo>
                    <a:pt x="382" y="463"/>
                  </a:lnTo>
                  <a:lnTo>
                    <a:pt x="381" y="465"/>
                  </a:lnTo>
                  <a:lnTo>
                    <a:pt x="380" y="466"/>
                  </a:lnTo>
                  <a:lnTo>
                    <a:pt x="380" y="468"/>
                  </a:lnTo>
                  <a:lnTo>
                    <a:pt x="379" y="470"/>
                  </a:lnTo>
                  <a:lnTo>
                    <a:pt x="379" y="472"/>
                  </a:lnTo>
                  <a:lnTo>
                    <a:pt x="380" y="474"/>
                  </a:lnTo>
                  <a:lnTo>
                    <a:pt x="380" y="476"/>
                  </a:lnTo>
                  <a:lnTo>
                    <a:pt x="381" y="479"/>
                  </a:lnTo>
                  <a:lnTo>
                    <a:pt x="382" y="481"/>
                  </a:lnTo>
                  <a:lnTo>
                    <a:pt x="387" y="489"/>
                  </a:lnTo>
                  <a:lnTo>
                    <a:pt x="390" y="495"/>
                  </a:lnTo>
                  <a:lnTo>
                    <a:pt x="391" y="497"/>
                  </a:lnTo>
                  <a:lnTo>
                    <a:pt x="392" y="499"/>
                  </a:lnTo>
                  <a:lnTo>
                    <a:pt x="393" y="502"/>
                  </a:lnTo>
                  <a:lnTo>
                    <a:pt x="394" y="504"/>
                  </a:lnTo>
                  <a:lnTo>
                    <a:pt x="394" y="506"/>
                  </a:lnTo>
                  <a:lnTo>
                    <a:pt x="394" y="508"/>
                  </a:lnTo>
                  <a:lnTo>
                    <a:pt x="394" y="508"/>
                  </a:lnTo>
                  <a:lnTo>
                    <a:pt x="393" y="510"/>
                  </a:lnTo>
                  <a:lnTo>
                    <a:pt x="393" y="511"/>
                  </a:lnTo>
                  <a:lnTo>
                    <a:pt x="392" y="513"/>
                  </a:lnTo>
                  <a:lnTo>
                    <a:pt x="391" y="514"/>
                  </a:lnTo>
                  <a:lnTo>
                    <a:pt x="390" y="515"/>
                  </a:lnTo>
                  <a:lnTo>
                    <a:pt x="389" y="516"/>
                  </a:lnTo>
                  <a:lnTo>
                    <a:pt x="388" y="517"/>
                  </a:lnTo>
                  <a:lnTo>
                    <a:pt x="387" y="517"/>
                  </a:lnTo>
                  <a:lnTo>
                    <a:pt x="387" y="516"/>
                  </a:lnTo>
                  <a:lnTo>
                    <a:pt x="382" y="514"/>
                  </a:lnTo>
                  <a:lnTo>
                    <a:pt x="376" y="512"/>
                  </a:lnTo>
                  <a:lnTo>
                    <a:pt x="366" y="508"/>
                  </a:lnTo>
                  <a:lnTo>
                    <a:pt x="364" y="508"/>
                  </a:lnTo>
                  <a:lnTo>
                    <a:pt x="361" y="507"/>
                  </a:lnTo>
                  <a:lnTo>
                    <a:pt x="359" y="507"/>
                  </a:lnTo>
                  <a:lnTo>
                    <a:pt x="356" y="506"/>
                  </a:lnTo>
                  <a:lnTo>
                    <a:pt x="354" y="507"/>
                  </a:lnTo>
                  <a:lnTo>
                    <a:pt x="353" y="507"/>
                  </a:lnTo>
                  <a:lnTo>
                    <a:pt x="351" y="507"/>
                  </a:lnTo>
                  <a:lnTo>
                    <a:pt x="349" y="508"/>
                  </a:lnTo>
                  <a:lnTo>
                    <a:pt x="348" y="508"/>
                  </a:lnTo>
                  <a:lnTo>
                    <a:pt x="348" y="508"/>
                  </a:lnTo>
                  <a:lnTo>
                    <a:pt x="347" y="508"/>
                  </a:lnTo>
                  <a:lnTo>
                    <a:pt x="343" y="505"/>
                  </a:lnTo>
                  <a:lnTo>
                    <a:pt x="341" y="501"/>
                  </a:lnTo>
                  <a:lnTo>
                    <a:pt x="337" y="497"/>
                  </a:lnTo>
                  <a:lnTo>
                    <a:pt x="334" y="493"/>
                  </a:lnTo>
                  <a:lnTo>
                    <a:pt x="332" y="489"/>
                  </a:lnTo>
                  <a:lnTo>
                    <a:pt x="328" y="480"/>
                  </a:lnTo>
                  <a:lnTo>
                    <a:pt x="320" y="467"/>
                  </a:lnTo>
                  <a:lnTo>
                    <a:pt x="315" y="457"/>
                  </a:lnTo>
                  <a:lnTo>
                    <a:pt x="305" y="439"/>
                  </a:lnTo>
                  <a:lnTo>
                    <a:pt x="303" y="436"/>
                  </a:lnTo>
                  <a:lnTo>
                    <a:pt x="301" y="433"/>
                  </a:lnTo>
                  <a:lnTo>
                    <a:pt x="298" y="429"/>
                  </a:lnTo>
                  <a:lnTo>
                    <a:pt x="292" y="421"/>
                  </a:lnTo>
                  <a:lnTo>
                    <a:pt x="289" y="419"/>
                  </a:lnTo>
                  <a:lnTo>
                    <a:pt x="284" y="415"/>
                  </a:lnTo>
                  <a:lnTo>
                    <a:pt x="281" y="412"/>
                  </a:lnTo>
                  <a:lnTo>
                    <a:pt x="278" y="408"/>
                  </a:lnTo>
                  <a:lnTo>
                    <a:pt x="271" y="399"/>
                  </a:lnTo>
                  <a:lnTo>
                    <a:pt x="269" y="396"/>
                  </a:lnTo>
                  <a:lnTo>
                    <a:pt x="267" y="395"/>
                  </a:lnTo>
                  <a:lnTo>
                    <a:pt x="265" y="394"/>
                  </a:lnTo>
                  <a:lnTo>
                    <a:pt x="264" y="394"/>
                  </a:lnTo>
                  <a:lnTo>
                    <a:pt x="262" y="393"/>
                  </a:lnTo>
                  <a:lnTo>
                    <a:pt x="261" y="392"/>
                  </a:lnTo>
                  <a:lnTo>
                    <a:pt x="260" y="392"/>
                  </a:lnTo>
                  <a:lnTo>
                    <a:pt x="258" y="392"/>
                  </a:lnTo>
                  <a:lnTo>
                    <a:pt x="257" y="392"/>
                  </a:lnTo>
                  <a:lnTo>
                    <a:pt x="255" y="392"/>
                  </a:lnTo>
                  <a:lnTo>
                    <a:pt x="252" y="393"/>
                  </a:lnTo>
                  <a:lnTo>
                    <a:pt x="250" y="394"/>
                  </a:lnTo>
                  <a:lnTo>
                    <a:pt x="247" y="395"/>
                  </a:lnTo>
                  <a:lnTo>
                    <a:pt x="245" y="396"/>
                  </a:lnTo>
                  <a:lnTo>
                    <a:pt x="241" y="398"/>
                  </a:lnTo>
                  <a:lnTo>
                    <a:pt x="236" y="402"/>
                  </a:lnTo>
                  <a:lnTo>
                    <a:pt x="234" y="403"/>
                  </a:lnTo>
                  <a:lnTo>
                    <a:pt x="233" y="404"/>
                  </a:lnTo>
                  <a:lnTo>
                    <a:pt x="231" y="404"/>
                  </a:lnTo>
                  <a:lnTo>
                    <a:pt x="230" y="404"/>
                  </a:lnTo>
                  <a:lnTo>
                    <a:pt x="229" y="404"/>
                  </a:lnTo>
                  <a:lnTo>
                    <a:pt x="228" y="403"/>
                  </a:lnTo>
                  <a:lnTo>
                    <a:pt x="227" y="403"/>
                  </a:lnTo>
                  <a:lnTo>
                    <a:pt x="226" y="402"/>
                  </a:lnTo>
                  <a:lnTo>
                    <a:pt x="224" y="401"/>
                  </a:lnTo>
                  <a:lnTo>
                    <a:pt x="222" y="399"/>
                  </a:lnTo>
                  <a:lnTo>
                    <a:pt x="218" y="396"/>
                  </a:lnTo>
                  <a:lnTo>
                    <a:pt x="213" y="392"/>
                  </a:lnTo>
                  <a:lnTo>
                    <a:pt x="211" y="390"/>
                  </a:lnTo>
                  <a:lnTo>
                    <a:pt x="209" y="389"/>
                  </a:lnTo>
                  <a:lnTo>
                    <a:pt x="206" y="387"/>
                  </a:lnTo>
                  <a:lnTo>
                    <a:pt x="204" y="386"/>
                  </a:lnTo>
                  <a:lnTo>
                    <a:pt x="201" y="385"/>
                  </a:lnTo>
                  <a:lnTo>
                    <a:pt x="198" y="384"/>
                  </a:lnTo>
                  <a:lnTo>
                    <a:pt x="195" y="384"/>
                  </a:lnTo>
                  <a:lnTo>
                    <a:pt x="192" y="384"/>
                  </a:lnTo>
                  <a:lnTo>
                    <a:pt x="183" y="384"/>
                  </a:lnTo>
                  <a:lnTo>
                    <a:pt x="182" y="383"/>
                  </a:lnTo>
                  <a:lnTo>
                    <a:pt x="180" y="383"/>
                  </a:lnTo>
                  <a:lnTo>
                    <a:pt x="177" y="382"/>
                  </a:lnTo>
                  <a:lnTo>
                    <a:pt x="174" y="381"/>
                  </a:lnTo>
                  <a:lnTo>
                    <a:pt x="171" y="380"/>
                  </a:lnTo>
                  <a:lnTo>
                    <a:pt x="168" y="378"/>
                  </a:lnTo>
                  <a:lnTo>
                    <a:pt x="166" y="376"/>
                  </a:lnTo>
                  <a:lnTo>
                    <a:pt x="162" y="373"/>
                  </a:lnTo>
                  <a:lnTo>
                    <a:pt x="160" y="371"/>
                  </a:lnTo>
                  <a:lnTo>
                    <a:pt x="158" y="368"/>
                  </a:lnTo>
                  <a:lnTo>
                    <a:pt x="153" y="360"/>
                  </a:lnTo>
                  <a:lnTo>
                    <a:pt x="151" y="357"/>
                  </a:lnTo>
                  <a:lnTo>
                    <a:pt x="139" y="336"/>
                  </a:lnTo>
                  <a:lnTo>
                    <a:pt x="138" y="333"/>
                  </a:lnTo>
                  <a:lnTo>
                    <a:pt x="137" y="331"/>
                  </a:lnTo>
                  <a:lnTo>
                    <a:pt x="136" y="329"/>
                  </a:lnTo>
                  <a:lnTo>
                    <a:pt x="134" y="328"/>
                  </a:lnTo>
                  <a:lnTo>
                    <a:pt x="127" y="323"/>
                  </a:lnTo>
                  <a:lnTo>
                    <a:pt x="125" y="321"/>
                  </a:lnTo>
                  <a:lnTo>
                    <a:pt x="123" y="317"/>
                  </a:lnTo>
                  <a:lnTo>
                    <a:pt x="121" y="315"/>
                  </a:lnTo>
                  <a:lnTo>
                    <a:pt x="119" y="312"/>
                  </a:lnTo>
                  <a:lnTo>
                    <a:pt x="117" y="309"/>
                  </a:lnTo>
                  <a:lnTo>
                    <a:pt x="115" y="304"/>
                  </a:lnTo>
                  <a:lnTo>
                    <a:pt x="114" y="299"/>
                  </a:lnTo>
                  <a:lnTo>
                    <a:pt x="112" y="296"/>
                  </a:lnTo>
                  <a:lnTo>
                    <a:pt x="111" y="295"/>
                  </a:lnTo>
                  <a:lnTo>
                    <a:pt x="110" y="293"/>
                  </a:lnTo>
                  <a:lnTo>
                    <a:pt x="108" y="292"/>
                  </a:lnTo>
                  <a:lnTo>
                    <a:pt x="106" y="290"/>
                  </a:lnTo>
                  <a:lnTo>
                    <a:pt x="103" y="288"/>
                  </a:lnTo>
                  <a:lnTo>
                    <a:pt x="102" y="287"/>
                  </a:lnTo>
                  <a:lnTo>
                    <a:pt x="100" y="286"/>
                  </a:lnTo>
                  <a:lnTo>
                    <a:pt x="97" y="285"/>
                  </a:lnTo>
                  <a:lnTo>
                    <a:pt x="90" y="284"/>
                  </a:lnTo>
                  <a:lnTo>
                    <a:pt x="85" y="283"/>
                  </a:lnTo>
                  <a:lnTo>
                    <a:pt x="83" y="282"/>
                  </a:lnTo>
                  <a:lnTo>
                    <a:pt x="82" y="282"/>
                  </a:lnTo>
                  <a:lnTo>
                    <a:pt x="80" y="281"/>
                  </a:lnTo>
                  <a:lnTo>
                    <a:pt x="80" y="281"/>
                  </a:lnTo>
                  <a:lnTo>
                    <a:pt x="77" y="279"/>
                  </a:lnTo>
                  <a:lnTo>
                    <a:pt x="75" y="276"/>
                  </a:lnTo>
                  <a:lnTo>
                    <a:pt x="74" y="275"/>
                  </a:lnTo>
                  <a:lnTo>
                    <a:pt x="73" y="273"/>
                  </a:lnTo>
                  <a:lnTo>
                    <a:pt x="70" y="267"/>
                  </a:lnTo>
                  <a:lnTo>
                    <a:pt x="69" y="266"/>
                  </a:lnTo>
                  <a:lnTo>
                    <a:pt x="68" y="265"/>
                  </a:lnTo>
                  <a:lnTo>
                    <a:pt x="68" y="264"/>
                  </a:lnTo>
                  <a:lnTo>
                    <a:pt x="67" y="263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1" y="263"/>
                  </a:lnTo>
                  <a:lnTo>
                    <a:pt x="60" y="263"/>
                  </a:lnTo>
                  <a:lnTo>
                    <a:pt x="57" y="265"/>
                  </a:lnTo>
                  <a:lnTo>
                    <a:pt x="57" y="266"/>
                  </a:lnTo>
                  <a:lnTo>
                    <a:pt x="55" y="266"/>
                  </a:lnTo>
                  <a:lnTo>
                    <a:pt x="54" y="266"/>
                  </a:lnTo>
                  <a:lnTo>
                    <a:pt x="52" y="265"/>
                  </a:lnTo>
                  <a:lnTo>
                    <a:pt x="47" y="262"/>
                  </a:lnTo>
                  <a:lnTo>
                    <a:pt x="40" y="259"/>
                  </a:lnTo>
                  <a:lnTo>
                    <a:pt x="37" y="257"/>
                  </a:lnTo>
                  <a:lnTo>
                    <a:pt x="34" y="255"/>
                  </a:lnTo>
                  <a:lnTo>
                    <a:pt x="31" y="253"/>
                  </a:lnTo>
                  <a:lnTo>
                    <a:pt x="29" y="251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2" y="250"/>
                  </a:lnTo>
                  <a:lnTo>
                    <a:pt x="20" y="251"/>
                  </a:lnTo>
                  <a:lnTo>
                    <a:pt x="19" y="251"/>
                  </a:lnTo>
                  <a:lnTo>
                    <a:pt x="17" y="251"/>
                  </a:lnTo>
                  <a:lnTo>
                    <a:pt x="17" y="252"/>
                  </a:lnTo>
                  <a:lnTo>
                    <a:pt x="15" y="253"/>
                  </a:lnTo>
                  <a:lnTo>
                    <a:pt x="13" y="254"/>
                  </a:lnTo>
                  <a:lnTo>
                    <a:pt x="12" y="255"/>
                  </a:lnTo>
                  <a:lnTo>
                    <a:pt x="10" y="255"/>
                  </a:lnTo>
                  <a:lnTo>
                    <a:pt x="7" y="256"/>
                  </a:lnTo>
                  <a:lnTo>
                    <a:pt x="3" y="256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0" y="254"/>
                  </a:lnTo>
                  <a:lnTo>
                    <a:pt x="0" y="253"/>
                  </a:lnTo>
                  <a:lnTo>
                    <a:pt x="1" y="252"/>
                  </a:lnTo>
                  <a:lnTo>
                    <a:pt x="1" y="251"/>
                  </a:lnTo>
                  <a:lnTo>
                    <a:pt x="3" y="249"/>
                  </a:lnTo>
                  <a:lnTo>
                    <a:pt x="4" y="249"/>
                  </a:lnTo>
                  <a:lnTo>
                    <a:pt x="7" y="248"/>
                  </a:lnTo>
                  <a:lnTo>
                    <a:pt x="8" y="247"/>
                  </a:lnTo>
                  <a:lnTo>
                    <a:pt x="10" y="245"/>
                  </a:lnTo>
                  <a:lnTo>
                    <a:pt x="11" y="242"/>
                  </a:lnTo>
                  <a:lnTo>
                    <a:pt x="12" y="241"/>
                  </a:lnTo>
                  <a:lnTo>
                    <a:pt x="12" y="239"/>
                  </a:lnTo>
                  <a:lnTo>
                    <a:pt x="12" y="238"/>
                  </a:lnTo>
                  <a:lnTo>
                    <a:pt x="12" y="236"/>
                  </a:lnTo>
                  <a:lnTo>
                    <a:pt x="12" y="235"/>
                  </a:lnTo>
                  <a:lnTo>
                    <a:pt x="12" y="229"/>
                  </a:lnTo>
                  <a:lnTo>
                    <a:pt x="12" y="224"/>
                  </a:lnTo>
                  <a:lnTo>
                    <a:pt x="13" y="221"/>
                  </a:lnTo>
                  <a:lnTo>
                    <a:pt x="13" y="218"/>
                  </a:lnTo>
                  <a:lnTo>
                    <a:pt x="14" y="217"/>
                  </a:lnTo>
                  <a:lnTo>
                    <a:pt x="13" y="216"/>
                  </a:lnTo>
                  <a:lnTo>
                    <a:pt x="13" y="215"/>
                  </a:lnTo>
                  <a:lnTo>
                    <a:pt x="13" y="214"/>
                  </a:lnTo>
                  <a:lnTo>
                    <a:pt x="12" y="214"/>
                  </a:lnTo>
                  <a:lnTo>
                    <a:pt x="12" y="213"/>
                  </a:lnTo>
                  <a:lnTo>
                    <a:pt x="11" y="212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2" y="208"/>
                  </a:lnTo>
                  <a:lnTo>
                    <a:pt x="13" y="207"/>
                  </a:lnTo>
                  <a:lnTo>
                    <a:pt x="18" y="204"/>
                  </a:lnTo>
                  <a:lnTo>
                    <a:pt x="20" y="203"/>
                  </a:lnTo>
                  <a:lnTo>
                    <a:pt x="23" y="201"/>
                  </a:lnTo>
                  <a:lnTo>
                    <a:pt x="25" y="199"/>
                  </a:lnTo>
                  <a:lnTo>
                    <a:pt x="28" y="198"/>
                  </a:lnTo>
                  <a:lnTo>
                    <a:pt x="31" y="197"/>
                  </a:lnTo>
                  <a:lnTo>
                    <a:pt x="39" y="194"/>
                  </a:lnTo>
                  <a:lnTo>
                    <a:pt x="42" y="193"/>
                  </a:lnTo>
                  <a:lnTo>
                    <a:pt x="45" y="192"/>
                  </a:lnTo>
                  <a:lnTo>
                    <a:pt x="51" y="189"/>
                  </a:lnTo>
                  <a:lnTo>
                    <a:pt x="55" y="188"/>
                  </a:lnTo>
                  <a:lnTo>
                    <a:pt x="57" y="187"/>
                  </a:lnTo>
                  <a:lnTo>
                    <a:pt x="61" y="187"/>
                  </a:lnTo>
                  <a:lnTo>
                    <a:pt x="69" y="187"/>
                  </a:lnTo>
                  <a:lnTo>
                    <a:pt x="72" y="187"/>
                  </a:lnTo>
                  <a:lnTo>
                    <a:pt x="74" y="188"/>
                  </a:lnTo>
                  <a:lnTo>
                    <a:pt x="77" y="188"/>
                  </a:lnTo>
                  <a:lnTo>
                    <a:pt x="79" y="189"/>
                  </a:lnTo>
                  <a:lnTo>
                    <a:pt x="80" y="190"/>
                  </a:lnTo>
                  <a:lnTo>
                    <a:pt x="86" y="192"/>
                  </a:lnTo>
                  <a:lnTo>
                    <a:pt x="88" y="193"/>
                  </a:lnTo>
                  <a:lnTo>
                    <a:pt x="89" y="193"/>
                  </a:lnTo>
                  <a:lnTo>
                    <a:pt x="90" y="193"/>
                  </a:lnTo>
                  <a:lnTo>
                    <a:pt x="91" y="193"/>
                  </a:lnTo>
                  <a:lnTo>
                    <a:pt x="92" y="193"/>
                  </a:lnTo>
                  <a:lnTo>
                    <a:pt x="94" y="193"/>
                  </a:lnTo>
                  <a:lnTo>
                    <a:pt x="96" y="192"/>
                  </a:lnTo>
                  <a:lnTo>
                    <a:pt x="98" y="191"/>
                  </a:lnTo>
                  <a:lnTo>
                    <a:pt x="100" y="191"/>
                  </a:lnTo>
                  <a:lnTo>
                    <a:pt x="103" y="189"/>
                  </a:lnTo>
                  <a:lnTo>
                    <a:pt x="110" y="183"/>
                  </a:lnTo>
                  <a:lnTo>
                    <a:pt x="113" y="181"/>
                  </a:lnTo>
                  <a:lnTo>
                    <a:pt x="114" y="180"/>
                  </a:lnTo>
                  <a:lnTo>
                    <a:pt x="116" y="177"/>
                  </a:lnTo>
                  <a:lnTo>
                    <a:pt x="118" y="174"/>
                  </a:lnTo>
                  <a:lnTo>
                    <a:pt x="120" y="172"/>
                  </a:lnTo>
                  <a:lnTo>
                    <a:pt x="121" y="170"/>
                  </a:lnTo>
                  <a:lnTo>
                    <a:pt x="122" y="168"/>
                  </a:lnTo>
                  <a:lnTo>
                    <a:pt x="123" y="165"/>
                  </a:lnTo>
                  <a:lnTo>
                    <a:pt x="124" y="163"/>
                  </a:lnTo>
                  <a:lnTo>
                    <a:pt x="125" y="161"/>
                  </a:lnTo>
                  <a:lnTo>
                    <a:pt x="125" y="159"/>
                  </a:lnTo>
                  <a:lnTo>
                    <a:pt x="125" y="156"/>
                  </a:lnTo>
                  <a:lnTo>
                    <a:pt x="125" y="154"/>
                  </a:lnTo>
                  <a:lnTo>
                    <a:pt x="123" y="146"/>
                  </a:lnTo>
                  <a:lnTo>
                    <a:pt x="123" y="143"/>
                  </a:lnTo>
                  <a:lnTo>
                    <a:pt x="123" y="139"/>
                  </a:lnTo>
                  <a:lnTo>
                    <a:pt x="124" y="135"/>
                  </a:lnTo>
                  <a:lnTo>
                    <a:pt x="125" y="132"/>
                  </a:lnTo>
                  <a:lnTo>
                    <a:pt x="127" y="126"/>
                  </a:lnTo>
                  <a:lnTo>
                    <a:pt x="129" y="123"/>
                  </a:lnTo>
                  <a:lnTo>
                    <a:pt x="131" y="121"/>
                  </a:lnTo>
                  <a:lnTo>
                    <a:pt x="133" y="118"/>
                  </a:lnTo>
                  <a:lnTo>
                    <a:pt x="138" y="111"/>
                  </a:lnTo>
                  <a:lnTo>
                    <a:pt x="141" y="107"/>
                  </a:lnTo>
                  <a:lnTo>
                    <a:pt x="143" y="104"/>
                  </a:lnTo>
                  <a:lnTo>
                    <a:pt x="145" y="101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7" y="92"/>
                  </a:lnTo>
                  <a:lnTo>
                    <a:pt x="148" y="89"/>
                  </a:lnTo>
                  <a:lnTo>
                    <a:pt x="148" y="88"/>
                  </a:lnTo>
                  <a:lnTo>
                    <a:pt x="150" y="85"/>
                  </a:lnTo>
                  <a:lnTo>
                    <a:pt x="151" y="84"/>
                  </a:lnTo>
                  <a:lnTo>
                    <a:pt x="151" y="82"/>
                  </a:lnTo>
                  <a:lnTo>
                    <a:pt x="152" y="80"/>
                  </a:lnTo>
                  <a:lnTo>
                    <a:pt x="153" y="78"/>
                  </a:lnTo>
                  <a:lnTo>
                    <a:pt x="153" y="71"/>
                  </a:lnTo>
                  <a:lnTo>
                    <a:pt x="154" y="67"/>
                  </a:lnTo>
                  <a:lnTo>
                    <a:pt x="155" y="64"/>
                  </a:lnTo>
                  <a:lnTo>
                    <a:pt x="155" y="61"/>
                  </a:lnTo>
                  <a:lnTo>
                    <a:pt x="157" y="58"/>
                  </a:lnTo>
                  <a:lnTo>
                    <a:pt x="159" y="52"/>
                  </a:lnTo>
                  <a:lnTo>
                    <a:pt x="161" y="47"/>
                  </a:lnTo>
                  <a:lnTo>
                    <a:pt x="165" y="40"/>
                  </a:lnTo>
                  <a:lnTo>
                    <a:pt x="166" y="38"/>
                  </a:lnTo>
                  <a:lnTo>
                    <a:pt x="167" y="35"/>
                  </a:lnTo>
                  <a:lnTo>
                    <a:pt x="168" y="31"/>
                  </a:lnTo>
                  <a:lnTo>
                    <a:pt x="169" y="28"/>
                  </a:lnTo>
                  <a:lnTo>
                    <a:pt x="170" y="26"/>
                  </a:lnTo>
                  <a:lnTo>
                    <a:pt x="171" y="24"/>
                  </a:lnTo>
                  <a:lnTo>
                    <a:pt x="171" y="22"/>
                  </a:lnTo>
                  <a:lnTo>
                    <a:pt x="173" y="21"/>
                  </a:lnTo>
                  <a:lnTo>
                    <a:pt x="174" y="21"/>
                  </a:lnTo>
                  <a:lnTo>
                    <a:pt x="176" y="21"/>
                  </a:lnTo>
                  <a:lnTo>
                    <a:pt x="178" y="21"/>
                  </a:lnTo>
                  <a:lnTo>
                    <a:pt x="181" y="21"/>
                  </a:lnTo>
                  <a:lnTo>
                    <a:pt x="183" y="21"/>
                  </a:lnTo>
                  <a:lnTo>
                    <a:pt x="186" y="21"/>
                  </a:lnTo>
                  <a:lnTo>
                    <a:pt x="190" y="22"/>
                  </a:lnTo>
                  <a:lnTo>
                    <a:pt x="193" y="22"/>
                  </a:lnTo>
                  <a:lnTo>
                    <a:pt x="194" y="23"/>
                  </a:lnTo>
                  <a:lnTo>
                    <a:pt x="196" y="24"/>
                  </a:lnTo>
                  <a:lnTo>
                    <a:pt x="197" y="25"/>
                  </a:lnTo>
                  <a:lnTo>
                    <a:pt x="199" y="26"/>
                  </a:lnTo>
                  <a:lnTo>
                    <a:pt x="205" y="30"/>
                  </a:lnTo>
                  <a:lnTo>
                    <a:pt x="206" y="31"/>
                  </a:lnTo>
                  <a:lnTo>
                    <a:pt x="208" y="32"/>
                  </a:lnTo>
                  <a:lnTo>
                    <a:pt x="209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3" y="32"/>
                  </a:lnTo>
                  <a:lnTo>
                    <a:pt x="215" y="31"/>
                  </a:lnTo>
                  <a:lnTo>
                    <a:pt x="216" y="30"/>
                  </a:lnTo>
                  <a:lnTo>
                    <a:pt x="217" y="29"/>
                  </a:lnTo>
                  <a:lnTo>
                    <a:pt x="218" y="28"/>
                  </a:lnTo>
                  <a:lnTo>
                    <a:pt x="219" y="27"/>
                  </a:lnTo>
                  <a:lnTo>
                    <a:pt x="221" y="24"/>
                  </a:lnTo>
                  <a:lnTo>
                    <a:pt x="222" y="22"/>
                  </a:lnTo>
                  <a:lnTo>
                    <a:pt x="228" y="12"/>
                  </a:lnTo>
                  <a:lnTo>
                    <a:pt x="230" y="8"/>
                  </a:lnTo>
                  <a:lnTo>
                    <a:pt x="232" y="6"/>
                  </a:lnTo>
                  <a:lnTo>
                    <a:pt x="234" y="3"/>
                  </a:lnTo>
                  <a:lnTo>
                    <a:pt x="236" y="1"/>
                  </a:lnTo>
                  <a:lnTo>
                    <a:pt x="236" y="0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8" name="Freeform 71">
              <a:extLst>
                <a:ext uri="{FF2B5EF4-FFF2-40B4-BE49-F238E27FC236}">
                  <a16:creationId xmlns:a16="http://schemas.microsoft.com/office/drawing/2014/main" id="{1BCF5B82-380B-45FF-AD7A-1740BDAFB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2" y="2595"/>
              <a:ext cx="408" cy="469"/>
            </a:xfrm>
            <a:custGeom>
              <a:avLst/>
              <a:gdLst>
                <a:gd name="T0" fmla="*/ 101 w 408"/>
                <a:gd name="T1" fmla="*/ 11 h 469"/>
                <a:gd name="T2" fmla="*/ 124 w 408"/>
                <a:gd name="T3" fmla="*/ 14 h 469"/>
                <a:gd name="T4" fmla="*/ 134 w 408"/>
                <a:gd name="T5" fmla="*/ 25 h 469"/>
                <a:gd name="T6" fmla="*/ 151 w 408"/>
                <a:gd name="T7" fmla="*/ 36 h 469"/>
                <a:gd name="T8" fmla="*/ 173 w 408"/>
                <a:gd name="T9" fmla="*/ 48 h 469"/>
                <a:gd name="T10" fmla="*/ 195 w 408"/>
                <a:gd name="T11" fmla="*/ 80 h 469"/>
                <a:gd name="T12" fmla="*/ 223 w 408"/>
                <a:gd name="T13" fmla="*/ 125 h 469"/>
                <a:gd name="T14" fmla="*/ 253 w 408"/>
                <a:gd name="T15" fmla="*/ 136 h 469"/>
                <a:gd name="T16" fmla="*/ 279 w 408"/>
                <a:gd name="T17" fmla="*/ 148 h 469"/>
                <a:gd name="T18" fmla="*/ 294 w 408"/>
                <a:gd name="T19" fmla="*/ 156 h 469"/>
                <a:gd name="T20" fmla="*/ 318 w 408"/>
                <a:gd name="T21" fmla="*/ 144 h 469"/>
                <a:gd name="T22" fmla="*/ 332 w 408"/>
                <a:gd name="T23" fmla="*/ 151 h 469"/>
                <a:gd name="T24" fmla="*/ 366 w 408"/>
                <a:gd name="T25" fmla="*/ 191 h 469"/>
                <a:gd name="T26" fmla="*/ 408 w 408"/>
                <a:gd name="T27" fmla="*/ 260 h 469"/>
                <a:gd name="T28" fmla="*/ 393 w 408"/>
                <a:gd name="T29" fmla="*/ 271 h 469"/>
                <a:gd name="T30" fmla="*/ 398 w 408"/>
                <a:gd name="T31" fmla="*/ 289 h 469"/>
                <a:gd name="T32" fmla="*/ 381 w 408"/>
                <a:gd name="T33" fmla="*/ 307 h 469"/>
                <a:gd name="T34" fmla="*/ 383 w 408"/>
                <a:gd name="T35" fmla="*/ 344 h 469"/>
                <a:gd name="T36" fmla="*/ 383 w 408"/>
                <a:gd name="T37" fmla="*/ 389 h 469"/>
                <a:gd name="T38" fmla="*/ 402 w 408"/>
                <a:gd name="T39" fmla="*/ 428 h 469"/>
                <a:gd name="T40" fmla="*/ 392 w 408"/>
                <a:gd name="T41" fmla="*/ 437 h 469"/>
                <a:gd name="T42" fmla="*/ 368 w 408"/>
                <a:gd name="T43" fmla="*/ 444 h 469"/>
                <a:gd name="T44" fmla="*/ 354 w 408"/>
                <a:gd name="T45" fmla="*/ 442 h 469"/>
                <a:gd name="T46" fmla="*/ 344 w 408"/>
                <a:gd name="T47" fmla="*/ 458 h 469"/>
                <a:gd name="T48" fmla="*/ 337 w 408"/>
                <a:gd name="T49" fmla="*/ 469 h 469"/>
                <a:gd name="T50" fmla="*/ 319 w 408"/>
                <a:gd name="T51" fmla="*/ 441 h 469"/>
                <a:gd name="T52" fmla="*/ 305 w 408"/>
                <a:gd name="T53" fmla="*/ 406 h 469"/>
                <a:gd name="T54" fmla="*/ 260 w 408"/>
                <a:gd name="T55" fmla="*/ 384 h 469"/>
                <a:gd name="T56" fmla="*/ 237 w 408"/>
                <a:gd name="T57" fmla="*/ 367 h 469"/>
                <a:gd name="T58" fmla="*/ 243 w 408"/>
                <a:gd name="T59" fmla="*/ 326 h 469"/>
                <a:gd name="T60" fmla="*/ 238 w 408"/>
                <a:gd name="T61" fmla="*/ 321 h 469"/>
                <a:gd name="T62" fmla="*/ 229 w 408"/>
                <a:gd name="T63" fmla="*/ 328 h 469"/>
                <a:gd name="T64" fmla="*/ 214 w 408"/>
                <a:gd name="T65" fmla="*/ 315 h 469"/>
                <a:gd name="T66" fmla="*/ 198 w 408"/>
                <a:gd name="T67" fmla="*/ 293 h 469"/>
                <a:gd name="T68" fmla="*/ 186 w 408"/>
                <a:gd name="T69" fmla="*/ 258 h 469"/>
                <a:gd name="T70" fmla="*/ 168 w 408"/>
                <a:gd name="T71" fmla="*/ 236 h 469"/>
                <a:gd name="T72" fmla="*/ 150 w 408"/>
                <a:gd name="T73" fmla="*/ 213 h 469"/>
                <a:gd name="T74" fmla="*/ 116 w 408"/>
                <a:gd name="T75" fmla="*/ 214 h 469"/>
                <a:gd name="T76" fmla="*/ 97 w 408"/>
                <a:gd name="T77" fmla="*/ 232 h 469"/>
                <a:gd name="T78" fmla="*/ 122 w 408"/>
                <a:gd name="T79" fmla="*/ 265 h 469"/>
                <a:gd name="T80" fmla="*/ 129 w 408"/>
                <a:gd name="T81" fmla="*/ 286 h 469"/>
                <a:gd name="T82" fmla="*/ 117 w 408"/>
                <a:gd name="T83" fmla="*/ 313 h 469"/>
                <a:gd name="T84" fmla="*/ 94 w 408"/>
                <a:gd name="T85" fmla="*/ 346 h 469"/>
                <a:gd name="T86" fmla="*/ 51 w 408"/>
                <a:gd name="T87" fmla="*/ 315 h 469"/>
                <a:gd name="T88" fmla="*/ 49 w 408"/>
                <a:gd name="T89" fmla="*/ 299 h 469"/>
                <a:gd name="T90" fmla="*/ 61 w 408"/>
                <a:gd name="T91" fmla="*/ 283 h 469"/>
                <a:gd name="T92" fmla="*/ 49 w 408"/>
                <a:gd name="T93" fmla="*/ 256 h 469"/>
                <a:gd name="T94" fmla="*/ 37 w 408"/>
                <a:gd name="T95" fmla="*/ 214 h 469"/>
                <a:gd name="T96" fmla="*/ 49 w 408"/>
                <a:gd name="T97" fmla="*/ 180 h 469"/>
                <a:gd name="T98" fmla="*/ 60 w 408"/>
                <a:gd name="T99" fmla="*/ 168 h 469"/>
                <a:gd name="T100" fmla="*/ 14 w 408"/>
                <a:gd name="T101" fmla="*/ 157 h 469"/>
                <a:gd name="T102" fmla="*/ 1 w 408"/>
                <a:gd name="T103" fmla="*/ 148 h 469"/>
                <a:gd name="T104" fmla="*/ 1 w 408"/>
                <a:gd name="T105" fmla="*/ 119 h 469"/>
                <a:gd name="T106" fmla="*/ 25 w 408"/>
                <a:gd name="T107" fmla="*/ 114 h 469"/>
                <a:gd name="T108" fmla="*/ 38 w 408"/>
                <a:gd name="T109" fmla="*/ 110 h 469"/>
                <a:gd name="T110" fmla="*/ 44 w 408"/>
                <a:gd name="T111" fmla="*/ 88 h 469"/>
                <a:gd name="T112" fmla="*/ 50 w 408"/>
                <a:gd name="T113" fmla="*/ 61 h 469"/>
                <a:gd name="T114" fmla="*/ 45 w 408"/>
                <a:gd name="T115" fmla="*/ 45 h 469"/>
                <a:gd name="T116" fmla="*/ 45 w 408"/>
                <a:gd name="T117" fmla="*/ 21 h 469"/>
                <a:gd name="T118" fmla="*/ 68 w 408"/>
                <a:gd name="T119" fmla="*/ 8 h 469"/>
                <a:gd name="T120" fmla="*/ 83 w 408"/>
                <a:gd name="T121" fmla="*/ 2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469">
                  <a:moveTo>
                    <a:pt x="87" y="0"/>
                  </a:moveTo>
                  <a:lnTo>
                    <a:pt x="88" y="0"/>
                  </a:lnTo>
                  <a:lnTo>
                    <a:pt x="88" y="1"/>
                  </a:lnTo>
                  <a:lnTo>
                    <a:pt x="89" y="1"/>
                  </a:lnTo>
                  <a:lnTo>
                    <a:pt x="90" y="3"/>
                  </a:lnTo>
                  <a:lnTo>
                    <a:pt x="92" y="5"/>
                  </a:lnTo>
                  <a:lnTo>
                    <a:pt x="95" y="7"/>
                  </a:lnTo>
                  <a:lnTo>
                    <a:pt x="98" y="9"/>
                  </a:lnTo>
                  <a:lnTo>
                    <a:pt x="101" y="11"/>
                  </a:lnTo>
                  <a:lnTo>
                    <a:pt x="108" y="14"/>
                  </a:lnTo>
                  <a:lnTo>
                    <a:pt x="113" y="17"/>
                  </a:lnTo>
                  <a:lnTo>
                    <a:pt x="115" y="18"/>
                  </a:lnTo>
                  <a:lnTo>
                    <a:pt x="116" y="18"/>
                  </a:lnTo>
                  <a:lnTo>
                    <a:pt x="118" y="18"/>
                  </a:lnTo>
                  <a:lnTo>
                    <a:pt x="118" y="17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4" y="14"/>
                  </a:lnTo>
                  <a:lnTo>
                    <a:pt x="125" y="14"/>
                  </a:lnTo>
                  <a:lnTo>
                    <a:pt x="126" y="14"/>
                  </a:lnTo>
                  <a:lnTo>
                    <a:pt x="127" y="14"/>
                  </a:lnTo>
                  <a:lnTo>
                    <a:pt x="128" y="15"/>
                  </a:lnTo>
                  <a:lnTo>
                    <a:pt x="129" y="16"/>
                  </a:lnTo>
                  <a:lnTo>
                    <a:pt x="129" y="17"/>
                  </a:lnTo>
                  <a:lnTo>
                    <a:pt x="130" y="18"/>
                  </a:lnTo>
                  <a:lnTo>
                    <a:pt x="131" y="19"/>
                  </a:lnTo>
                  <a:lnTo>
                    <a:pt x="134" y="25"/>
                  </a:lnTo>
                  <a:lnTo>
                    <a:pt x="135" y="27"/>
                  </a:lnTo>
                  <a:lnTo>
                    <a:pt x="136" y="28"/>
                  </a:lnTo>
                  <a:lnTo>
                    <a:pt x="138" y="31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43" y="34"/>
                  </a:lnTo>
                  <a:lnTo>
                    <a:pt x="144" y="34"/>
                  </a:lnTo>
                  <a:lnTo>
                    <a:pt x="146" y="35"/>
                  </a:lnTo>
                  <a:lnTo>
                    <a:pt x="151" y="36"/>
                  </a:lnTo>
                  <a:lnTo>
                    <a:pt x="158" y="37"/>
                  </a:lnTo>
                  <a:lnTo>
                    <a:pt x="161" y="38"/>
                  </a:lnTo>
                  <a:lnTo>
                    <a:pt x="163" y="39"/>
                  </a:lnTo>
                  <a:lnTo>
                    <a:pt x="164" y="40"/>
                  </a:lnTo>
                  <a:lnTo>
                    <a:pt x="167" y="42"/>
                  </a:lnTo>
                  <a:lnTo>
                    <a:pt x="169" y="44"/>
                  </a:lnTo>
                  <a:lnTo>
                    <a:pt x="171" y="45"/>
                  </a:lnTo>
                  <a:lnTo>
                    <a:pt x="172" y="47"/>
                  </a:lnTo>
                  <a:lnTo>
                    <a:pt x="173" y="48"/>
                  </a:lnTo>
                  <a:lnTo>
                    <a:pt x="175" y="51"/>
                  </a:lnTo>
                  <a:lnTo>
                    <a:pt x="176" y="56"/>
                  </a:lnTo>
                  <a:lnTo>
                    <a:pt x="178" y="61"/>
                  </a:lnTo>
                  <a:lnTo>
                    <a:pt x="180" y="64"/>
                  </a:lnTo>
                  <a:lnTo>
                    <a:pt x="182" y="67"/>
                  </a:lnTo>
                  <a:lnTo>
                    <a:pt x="184" y="69"/>
                  </a:lnTo>
                  <a:lnTo>
                    <a:pt x="186" y="73"/>
                  </a:lnTo>
                  <a:lnTo>
                    <a:pt x="188" y="75"/>
                  </a:lnTo>
                  <a:lnTo>
                    <a:pt x="195" y="80"/>
                  </a:lnTo>
                  <a:lnTo>
                    <a:pt x="197" y="81"/>
                  </a:lnTo>
                  <a:lnTo>
                    <a:pt x="198" y="83"/>
                  </a:lnTo>
                  <a:lnTo>
                    <a:pt x="199" y="85"/>
                  </a:lnTo>
                  <a:lnTo>
                    <a:pt x="200" y="88"/>
                  </a:lnTo>
                  <a:lnTo>
                    <a:pt x="212" y="109"/>
                  </a:lnTo>
                  <a:lnTo>
                    <a:pt x="214" y="112"/>
                  </a:lnTo>
                  <a:lnTo>
                    <a:pt x="219" y="120"/>
                  </a:lnTo>
                  <a:lnTo>
                    <a:pt x="221" y="123"/>
                  </a:lnTo>
                  <a:lnTo>
                    <a:pt x="223" y="125"/>
                  </a:lnTo>
                  <a:lnTo>
                    <a:pt x="227" y="128"/>
                  </a:lnTo>
                  <a:lnTo>
                    <a:pt x="229" y="130"/>
                  </a:lnTo>
                  <a:lnTo>
                    <a:pt x="232" y="132"/>
                  </a:lnTo>
                  <a:lnTo>
                    <a:pt x="235" y="133"/>
                  </a:lnTo>
                  <a:lnTo>
                    <a:pt x="238" y="134"/>
                  </a:lnTo>
                  <a:lnTo>
                    <a:pt x="241" y="135"/>
                  </a:lnTo>
                  <a:lnTo>
                    <a:pt x="243" y="135"/>
                  </a:lnTo>
                  <a:lnTo>
                    <a:pt x="244" y="136"/>
                  </a:lnTo>
                  <a:lnTo>
                    <a:pt x="253" y="136"/>
                  </a:lnTo>
                  <a:lnTo>
                    <a:pt x="256" y="136"/>
                  </a:lnTo>
                  <a:lnTo>
                    <a:pt x="259" y="136"/>
                  </a:lnTo>
                  <a:lnTo>
                    <a:pt x="262" y="137"/>
                  </a:lnTo>
                  <a:lnTo>
                    <a:pt x="265" y="138"/>
                  </a:lnTo>
                  <a:lnTo>
                    <a:pt x="267" y="139"/>
                  </a:lnTo>
                  <a:lnTo>
                    <a:pt x="270" y="141"/>
                  </a:lnTo>
                  <a:lnTo>
                    <a:pt x="272" y="142"/>
                  </a:lnTo>
                  <a:lnTo>
                    <a:pt x="274" y="144"/>
                  </a:lnTo>
                  <a:lnTo>
                    <a:pt x="279" y="148"/>
                  </a:lnTo>
                  <a:lnTo>
                    <a:pt x="283" y="151"/>
                  </a:lnTo>
                  <a:lnTo>
                    <a:pt x="285" y="153"/>
                  </a:lnTo>
                  <a:lnTo>
                    <a:pt x="287" y="154"/>
                  </a:lnTo>
                  <a:lnTo>
                    <a:pt x="288" y="155"/>
                  </a:lnTo>
                  <a:lnTo>
                    <a:pt x="289" y="155"/>
                  </a:lnTo>
                  <a:lnTo>
                    <a:pt x="290" y="156"/>
                  </a:lnTo>
                  <a:lnTo>
                    <a:pt x="291" y="156"/>
                  </a:lnTo>
                  <a:lnTo>
                    <a:pt x="292" y="156"/>
                  </a:lnTo>
                  <a:lnTo>
                    <a:pt x="294" y="156"/>
                  </a:lnTo>
                  <a:lnTo>
                    <a:pt x="295" y="155"/>
                  </a:lnTo>
                  <a:lnTo>
                    <a:pt x="297" y="154"/>
                  </a:lnTo>
                  <a:lnTo>
                    <a:pt x="302" y="150"/>
                  </a:lnTo>
                  <a:lnTo>
                    <a:pt x="306" y="148"/>
                  </a:lnTo>
                  <a:lnTo>
                    <a:pt x="308" y="147"/>
                  </a:lnTo>
                  <a:lnTo>
                    <a:pt x="311" y="146"/>
                  </a:lnTo>
                  <a:lnTo>
                    <a:pt x="313" y="145"/>
                  </a:lnTo>
                  <a:lnTo>
                    <a:pt x="316" y="144"/>
                  </a:lnTo>
                  <a:lnTo>
                    <a:pt x="318" y="144"/>
                  </a:lnTo>
                  <a:lnTo>
                    <a:pt x="319" y="144"/>
                  </a:lnTo>
                  <a:lnTo>
                    <a:pt x="321" y="144"/>
                  </a:lnTo>
                  <a:lnTo>
                    <a:pt x="322" y="144"/>
                  </a:lnTo>
                  <a:lnTo>
                    <a:pt x="323" y="145"/>
                  </a:lnTo>
                  <a:lnTo>
                    <a:pt x="325" y="146"/>
                  </a:lnTo>
                  <a:lnTo>
                    <a:pt x="326" y="146"/>
                  </a:lnTo>
                  <a:lnTo>
                    <a:pt x="328" y="147"/>
                  </a:lnTo>
                  <a:lnTo>
                    <a:pt x="330" y="148"/>
                  </a:lnTo>
                  <a:lnTo>
                    <a:pt x="332" y="151"/>
                  </a:lnTo>
                  <a:lnTo>
                    <a:pt x="339" y="160"/>
                  </a:lnTo>
                  <a:lnTo>
                    <a:pt x="342" y="164"/>
                  </a:lnTo>
                  <a:lnTo>
                    <a:pt x="345" y="167"/>
                  </a:lnTo>
                  <a:lnTo>
                    <a:pt x="350" y="171"/>
                  </a:lnTo>
                  <a:lnTo>
                    <a:pt x="353" y="173"/>
                  </a:lnTo>
                  <a:lnTo>
                    <a:pt x="359" y="181"/>
                  </a:lnTo>
                  <a:lnTo>
                    <a:pt x="362" y="185"/>
                  </a:lnTo>
                  <a:lnTo>
                    <a:pt x="364" y="188"/>
                  </a:lnTo>
                  <a:lnTo>
                    <a:pt x="366" y="191"/>
                  </a:lnTo>
                  <a:lnTo>
                    <a:pt x="376" y="209"/>
                  </a:lnTo>
                  <a:lnTo>
                    <a:pt x="381" y="219"/>
                  </a:lnTo>
                  <a:lnTo>
                    <a:pt x="389" y="232"/>
                  </a:lnTo>
                  <a:lnTo>
                    <a:pt x="393" y="241"/>
                  </a:lnTo>
                  <a:lnTo>
                    <a:pt x="395" y="245"/>
                  </a:lnTo>
                  <a:lnTo>
                    <a:pt x="398" y="249"/>
                  </a:lnTo>
                  <a:lnTo>
                    <a:pt x="402" y="253"/>
                  </a:lnTo>
                  <a:lnTo>
                    <a:pt x="404" y="257"/>
                  </a:lnTo>
                  <a:lnTo>
                    <a:pt x="408" y="260"/>
                  </a:lnTo>
                  <a:lnTo>
                    <a:pt x="407" y="261"/>
                  </a:lnTo>
                  <a:lnTo>
                    <a:pt x="401" y="264"/>
                  </a:lnTo>
                  <a:lnTo>
                    <a:pt x="397" y="265"/>
                  </a:lnTo>
                  <a:lnTo>
                    <a:pt x="396" y="266"/>
                  </a:lnTo>
                  <a:lnTo>
                    <a:pt x="395" y="267"/>
                  </a:lnTo>
                  <a:lnTo>
                    <a:pt x="394" y="268"/>
                  </a:lnTo>
                  <a:lnTo>
                    <a:pt x="393" y="269"/>
                  </a:lnTo>
                  <a:lnTo>
                    <a:pt x="393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3" y="273"/>
                  </a:lnTo>
                  <a:lnTo>
                    <a:pt x="394" y="276"/>
                  </a:lnTo>
                  <a:lnTo>
                    <a:pt x="397" y="282"/>
                  </a:lnTo>
                  <a:lnTo>
                    <a:pt x="397" y="283"/>
                  </a:lnTo>
                  <a:lnTo>
                    <a:pt x="398" y="285"/>
                  </a:lnTo>
                  <a:lnTo>
                    <a:pt x="398" y="286"/>
                  </a:lnTo>
                  <a:lnTo>
                    <a:pt x="398" y="288"/>
                  </a:lnTo>
                  <a:lnTo>
                    <a:pt x="398" y="289"/>
                  </a:lnTo>
                  <a:lnTo>
                    <a:pt x="397" y="292"/>
                  </a:lnTo>
                  <a:lnTo>
                    <a:pt x="396" y="294"/>
                  </a:lnTo>
                  <a:lnTo>
                    <a:pt x="394" y="297"/>
                  </a:lnTo>
                  <a:lnTo>
                    <a:pt x="393" y="299"/>
                  </a:lnTo>
                  <a:lnTo>
                    <a:pt x="392" y="300"/>
                  </a:lnTo>
                  <a:lnTo>
                    <a:pt x="391" y="301"/>
                  </a:lnTo>
                  <a:lnTo>
                    <a:pt x="389" y="303"/>
                  </a:lnTo>
                  <a:lnTo>
                    <a:pt x="383" y="306"/>
                  </a:lnTo>
                  <a:lnTo>
                    <a:pt x="381" y="307"/>
                  </a:lnTo>
                  <a:lnTo>
                    <a:pt x="380" y="308"/>
                  </a:lnTo>
                  <a:lnTo>
                    <a:pt x="380" y="309"/>
                  </a:lnTo>
                  <a:lnTo>
                    <a:pt x="380" y="311"/>
                  </a:lnTo>
                  <a:lnTo>
                    <a:pt x="379" y="313"/>
                  </a:lnTo>
                  <a:lnTo>
                    <a:pt x="379" y="315"/>
                  </a:lnTo>
                  <a:lnTo>
                    <a:pt x="379" y="317"/>
                  </a:lnTo>
                  <a:lnTo>
                    <a:pt x="380" y="333"/>
                  </a:lnTo>
                  <a:lnTo>
                    <a:pt x="381" y="336"/>
                  </a:lnTo>
                  <a:lnTo>
                    <a:pt x="383" y="344"/>
                  </a:lnTo>
                  <a:lnTo>
                    <a:pt x="385" y="353"/>
                  </a:lnTo>
                  <a:lnTo>
                    <a:pt x="385" y="356"/>
                  </a:lnTo>
                  <a:lnTo>
                    <a:pt x="385" y="359"/>
                  </a:lnTo>
                  <a:lnTo>
                    <a:pt x="385" y="362"/>
                  </a:lnTo>
                  <a:lnTo>
                    <a:pt x="384" y="370"/>
                  </a:lnTo>
                  <a:lnTo>
                    <a:pt x="383" y="374"/>
                  </a:lnTo>
                  <a:lnTo>
                    <a:pt x="383" y="385"/>
                  </a:lnTo>
                  <a:lnTo>
                    <a:pt x="383" y="387"/>
                  </a:lnTo>
                  <a:lnTo>
                    <a:pt x="383" y="389"/>
                  </a:lnTo>
                  <a:lnTo>
                    <a:pt x="384" y="391"/>
                  </a:lnTo>
                  <a:lnTo>
                    <a:pt x="385" y="393"/>
                  </a:lnTo>
                  <a:lnTo>
                    <a:pt x="388" y="398"/>
                  </a:lnTo>
                  <a:lnTo>
                    <a:pt x="391" y="406"/>
                  </a:lnTo>
                  <a:lnTo>
                    <a:pt x="392" y="408"/>
                  </a:lnTo>
                  <a:lnTo>
                    <a:pt x="397" y="416"/>
                  </a:lnTo>
                  <a:lnTo>
                    <a:pt x="399" y="420"/>
                  </a:lnTo>
                  <a:lnTo>
                    <a:pt x="401" y="424"/>
                  </a:lnTo>
                  <a:lnTo>
                    <a:pt x="402" y="428"/>
                  </a:lnTo>
                  <a:lnTo>
                    <a:pt x="402" y="429"/>
                  </a:lnTo>
                  <a:lnTo>
                    <a:pt x="402" y="430"/>
                  </a:lnTo>
                  <a:lnTo>
                    <a:pt x="402" y="430"/>
                  </a:lnTo>
                  <a:lnTo>
                    <a:pt x="402" y="431"/>
                  </a:lnTo>
                  <a:lnTo>
                    <a:pt x="401" y="432"/>
                  </a:lnTo>
                  <a:lnTo>
                    <a:pt x="400" y="433"/>
                  </a:lnTo>
                  <a:lnTo>
                    <a:pt x="397" y="435"/>
                  </a:lnTo>
                  <a:lnTo>
                    <a:pt x="394" y="436"/>
                  </a:lnTo>
                  <a:lnTo>
                    <a:pt x="392" y="437"/>
                  </a:lnTo>
                  <a:lnTo>
                    <a:pt x="391" y="438"/>
                  </a:lnTo>
                  <a:lnTo>
                    <a:pt x="388" y="438"/>
                  </a:lnTo>
                  <a:lnTo>
                    <a:pt x="383" y="439"/>
                  </a:lnTo>
                  <a:lnTo>
                    <a:pt x="380" y="439"/>
                  </a:lnTo>
                  <a:lnTo>
                    <a:pt x="379" y="440"/>
                  </a:lnTo>
                  <a:lnTo>
                    <a:pt x="373" y="442"/>
                  </a:lnTo>
                  <a:lnTo>
                    <a:pt x="369" y="443"/>
                  </a:lnTo>
                  <a:lnTo>
                    <a:pt x="368" y="444"/>
                  </a:lnTo>
                  <a:lnTo>
                    <a:pt x="368" y="444"/>
                  </a:lnTo>
                  <a:lnTo>
                    <a:pt x="367" y="444"/>
                  </a:lnTo>
                  <a:lnTo>
                    <a:pt x="365" y="444"/>
                  </a:lnTo>
                  <a:lnTo>
                    <a:pt x="363" y="443"/>
                  </a:lnTo>
                  <a:lnTo>
                    <a:pt x="359" y="442"/>
                  </a:lnTo>
                  <a:lnTo>
                    <a:pt x="358" y="442"/>
                  </a:lnTo>
                  <a:lnTo>
                    <a:pt x="357" y="442"/>
                  </a:lnTo>
                  <a:lnTo>
                    <a:pt x="356" y="442"/>
                  </a:lnTo>
                  <a:lnTo>
                    <a:pt x="355" y="442"/>
                  </a:lnTo>
                  <a:lnTo>
                    <a:pt x="354" y="442"/>
                  </a:lnTo>
                  <a:lnTo>
                    <a:pt x="352" y="445"/>
                  </a:lnTo>
                  <a:lnTo>
                    <a:pt x="351" y="446"/>
                  </a:lnTo>
                  <a:lnTo>
                    <a:pt x="348" y="449"/>
                  </a:lnTo>
                  <a:lnTo>
                    <a:pt x="347" y="450"/>
                  </a:lnTo>
                  <a:lnTo>
                    <a:pt x="346" y="451"/>
                  </a:lnTo>
                  <a:lnTo>
                    <a:pt x="345" y="453"/>
                  </a:lnTo>
                  <a:lnTo>
                    <a:pt x="345" y="453"/>
                  </a:lnTo>
                  <a:lnTo>
                    <a:pt x="344" y="456"/>
                  </a:lnTo>
                  <a:lnTo>
                    <a:pt x="344" y="458"/>
                  </a:lnTo>
                  <a:lnTo>
                    <a:pt x="344" y="462"/>
                  </a:lnTo>
                  <a:lnTo>
                    <a:pt x="343" y="464"/>
                  </a:lnTo>
                  <a:lnTo>
                    <a:pt x="343" y="465"/>
                  </a:lnTo>
                  <a:lnTo>
                    <a:pt x="342" y="466"/>
                  </a:lnTo>
                  <a:lnTo>
                    <a:pt x="341" y="468"/>
                  </a:lnTo>
                  <a:lnTo>
                    <a:pt x="340" y="468"/>
                  </a:lnTo>
                  <a:lnTo>
                    <a:pt x="340" y="469"/>
                  </a:lnTo>
                  <a:lnTo>
                    <a:pt x="338" y="469"/>
                  </a:lnTo>
                  <a:lnTo>
                    <a:pt x="337" y="469"/>
                  </a:lnTo>
                  <a:lnTo>
                    <a:pt x="335" y="469"/>
                  </a:lnTo>
                  <a:lnTo>
                    <a:pt x="333" y="468"/>
                  </a:lnTo>
                  <a:lnTo>
                    <a:pt x="332" y="467"/>
                  </a:lnTo>
                  <a:lnTo>
                    <a:pt x="330" y="466"/>
                  </a:lnTo>
                  <a:lnTo>
                    <a:pt x="329" y="465"/>
                  </a:lnTo>
                  <a:lnTo>
                    <a:pt x="329" y="464"/>
                  </a:lnTo>
                  <a:lnTo>
                    <a:pt x="327" y="462"/>
                  </a:lnTo>
                  <a:lnTo>
                    <a:pt x="323" y="450"/>
                  </a:lnTo>
                  <a:lnTo>
                    <a:pt x="319" y="441"/>
                  </a:lnTo>
                  <a:lnTo>
                    <a:pt x="318" y="437"/>
                  </a:lnTo>
                  <a:lnTo>
                    <a:pt x="316" y="430"/>
                  </a:lnTo>
                  <a:lnTo>
                    <a:pt x="311" y="418"/>
                  </a:lnTo>
                  <a:lnTo>
                    <a:pt x="311" y="415"/>
                  </a:lnTo>
                  <a:lnTo>
                    <a:pt x="310" y="411"/>
                  </a:lnTo>
                  <a:lnTo>
                    <a:pt x="309" y="410"/>
                  </a:lnTo>
                  <a:lnTo>
                    <a:pt x="308" y="408"/>
                  </a:lnTo>
                  <a:lnTo>
                    <a:pt x="307" y="408"/>
                  </a:lnTo>
                  <a:lnTo>
                    <a:pt x="305" y="406"/>
                  </a:lnTo>
                  <a:lnTo>
                    <a:pt x="299" y="400"/>
                  </a:lnTo>
                  <a:lnTo>
                    <a:pt x="294" y="397"/>
                  </a:lnTo>
                  <a:lnTo>
                    <a:pt x="290" y="395"/>
                  </a:lnTo>
                  <a:lnTo>
                    <a:pt x="287" y="393"/>
                  </a:lnTo>
                  <a:lnTo>
                    <a:pt x="281" y="390"/>
                  </a:lnTo>
                  <a:lnTo>
                    <a:pt x="277" y="389"/>
                  </a:lnTo>
                  <a:lnTo>
                    <a:pt x="270" y="387"/>
                  </a:lnTo>
                  <a:lnTo>
                    <a:pt x="265" y="385"/>
                  </a:lnTo>
                  <a:lnTo>
                    <a:pt x="260" y="384"/>
                  </a:lnTo>
                  <a:lnTo>
                    <a:pt x="256" y="382"/>
                  </a:lnTo>
                  <a:lnTo>
                    <a:pt x="252" y="379"/>
                  </a:lnTo>
                  <a:lnTo>
                    <a:pt x="244" y="374"/>
                  </a:lnTo>
                  <a:lnTo>
                    <a:pt x="241" y="373"/>
                  </a:lnTo>
                  <a:lnTo>
                    <a:pt x="240" y="372"/>
                  </a:lnTo>
                  <a:lnTo>
                    <a:pt x="239" y="371"/>
                  </a:lnTo>
                  <a:lnTo>
                    <a:pt x="238" y="370"/>
                  </a:lnTo>
                  <a:lnTo>
                    <a:pt x="237" y="368"/>
                  </a:lnTo>
                  <a:lnTo>
                    <a:pt x="237" y="367"/>
                  </a:lnTo>
                  <a:lnTo>
                    <a:pt x="237" y="366"/>
                  </a:lnTo>
                  <a:lnTo>
                    <a:pt x="238" y="360"/>
                  </a:lnTo>
                  <a:lnTo>
                    <a:pt x="240" y="353"/>
                  </a:lnTo>
                  <a:lnTo>
                    <a:pt x="242" y="344"/>
                  </a:lnTo>
                  <a:lnTo>
                    <a:pt x="243" y="341"/>
                  </a:lnTo>
                  <a:lnTo>
                    <a:pt x="243" y="337"/>
                  </a:lnTo>
                  <a:lnTo>
                    <a:pt x="243" y="332"/>
                  </a:lnTo>
                  <a:lnTo>
                    <a:pt x="243" y="328"/>
                  </a:lnTo>
                  <a:lnTo>
                    <a:pt x="243" y="326"/>
                  </a:lnTo>
                  <a:lnTo>
                    <a:pt x="243" y="323"/>
                  </a:lnTo>
                  <a:lnTo>
                    <a:pt x="242" y="321"/>
                  </a:lnTo>
                  <a:lnTo>
                    <a:pt x="242" y="320"/>
                  </a:lnTo>
                  <a:lnTo>
                    <a:pt x="241" y="320"/>
                  </a:lnTo>
                  <a:lnTo>
                    <a:pt x="241" y="319"/>
                  </a:lnTo>
                  <a:lnTo>
                    <a:pt x="240" y="319"/>
                  </a:lnTo>
                  <a:lnTo>
                    <a:pt x="239" y="319"/>
                  </a:lnTo>
                  <a:lnTo>
                    <a:pt x="239" y="320"/>
                  </a:lnTo>
                  <a:lnTo>
                    <a:pt x="238" y="321"/>
                  </a:lnTo>
                  <a:lnTo>
                    <a:pt x="237" y="322"/>
                  </a:lnTo>
                  <a:lnTo>
                    <a:pt x="235" y="326"/>
                  </a:lnTo>
                  <a:lnTo>
                    <a:pt x="234" y="327"/>
                  </a:lnTo>
                  <a:lnTo>
                    <a:pt x="233" y="328"/>
                  </a:lnTo>
                  <a:lnTo>
                    <a:pt x="232" y="328"/>
                  </a:lnTo>
                  <a:lnTo>
                    <a:pt x="232" y="328"/>
                  </a:lnTo>
                  <a:lnTo>
                    <a:pt x="231" y="328"/>
                  </a:lnTo>
                  <a:lnTo>
                    <a:pt x="230" y="328"/>
                  </a:lnTo>
                  <a:lnTo>
                    <a:pt x="229" y="328"/>
                  </a:lnTo>
                  <a:lnTo>
                    <a:pt x="228" y="328"/>
                  </a:lnTo>
                  <a:lnTo>
                    <a:pt x="227" y="328"/>
                  </a:lnTo>
                  <a:lnTo>
                    <a:pt x="226" y="328"/>
                  </a:lnTo>
                  <a:lnTo>
                    <a:pt x="224" y="327"/>
                  </a:lnTo>
                  <a:lnTo>
                    <a:pt x="221" y="324"/>
                  </a:lnTo>
                  <a:lnTo>
                    <a:pt x="220" y="322"/>
                  </a:lnTo>
                  <a:lnTo>
                    <a:pt x="218" y="318"/>
                  </a:lnTo>
                  <a:lnTo>
                    <a:pt x="215" y="316"/>
                  </a:lnTo>
                  <a:lnTo>
                    <a:pt x="214" y="315"/>
                  </a:lnTo>
                  <a:lnTo>
                    <a:pt x="213" y="312"/>
                  </a:lnTo>
                  <a:lnTo>
                    <a:pt x="209" y="306"/>
                  </a:lnTo>
                  <a:lnTo>
                    <a:pt x="209" y="304"/>
                  </a:lnTo>
                  <a:lnTo>
                    <a:pt x="208" y="303"/>
                  </a:lnTo>
                  <a:lnTo>
                    <a:pt x="207" y="301"/>
                  </a:lnTo>
                  <a:lnTo>
                    <a:pt x="205" y="299"/>
                  </a:lnTo>
                  <a:lnTo>
                    <a:pt x="201" y="296"/>
                  </a:lnTo>
                  <a:lnTo>
                    <a:pt x="199" y="294"/>
                  </a:lnTo>
                  <a:lnTo>
                    <a:pt x="198" y="293"/>
                  </a:lnTo>
                  <a:lnTo>
                    <a:pt x="197" y="291"/>
                  </a:lnTo>
                  <a:lnTo>
                    <a:pt x="196" y="289"/>
                  </a:lnTo>
                  <a:lnTo>
                    <a:pt x="195" y="286"/>
                  </a:lnTo>
                  <a:lnTo>
                    <a:pt x="193" y="278"/>
                  </a:lnTo>
                  <a:lnTo>
                    <a:pt x="190" y="270"/>
                  </a:lnTo>
                  <a:lnTo>
                    <a:pt x="188" y="264"/>
                  </a:lnTo>
                  <a:lnTo>
                    <a:pt x="187" y="261"/>
                  </a:lnTo>
                  <a:lnTo>
                    <a:pt x="186" y="260"/>
                  </a:lnTo>
                  <a:lnTo>
                    <a:pt x="186" y="258"/>
                  </a:lnTo>
                  <a:lnTo>
                    <a:pt x="185" y="257"/>
                  </a:lnTo>
                  <a:lnTo>
                    <a:pt x="182" y="252"/>
                  </a:lnTo>
                  <a:lnTo>
                    <a:pt x="180" y="250"/>
                  </a:lnTo>
                  <a:lnTo>
                    <a:pt x="179" y="249"/>
                  </a:lnTo>
                  <a:lnTo>
                    <a:pt x="177" y="246"/>
                  </a:lnTo>
                  <a:lnTo>
                    <a:pt x="176" y="244"/>
                  </a:lnTo>
                  <a:lnTo>
                    <a:pt x="175" y="242"/>
                  </a:lnTo>
                  <a:lnTo>
                    <a:pt x="171" y="238"/>
                  </a:lnTo>
                  <a:lnTo>
                    <a:pt x="168" y="236"/>
                  </a:lnTo>
                  <a:lnTo>
                    <a:pt x="166" y="232"/>
                  </a:lnTo>
                  <a:lnTo>
                    <a:pt x="164" y="226"/>
                  </a:lnTo>
                  <a:lnTo>
                    <a:pt x="162" y="223"/>
                  </a:lnTo>
                  <a:lnTo>
                    <a:pt x="160" y="221"/>
                  </a:lnTo>
                  <a:lnTo>
                    <a:pt x="158" y="218"/>
                  </a:lnTo>
                  <a:lnTo>
                    <a:pt x="155" y="216"/>
                  </a:lnTo>
                  <a:lnTo>
                    <a:pt x="154" y="215"/>
                  </a:lnTo>
                  <a:lnTo>
                    <a:pt x="152" y="214"/>
                  </a:lnTo>
                  <a:lnTo>
                    <a:pt x="150" y="213"/>
                  </a:lnTo>
                  <a:lnTo>
                    <a:pt x="143" y="210"/>
                  </a:lnTo>
                  <a:lnTo>
                    <a:pt x="140" y="209"/>
                  </a:lnTo>
                  <a:lnTo>
                    <a:pt x="136" y="206"/>
                  </a:lnTo>
                  <a:lnTo>
                    <a:pt x="135" y="205"/>
                  </a:lnTo>
                  <a:lnTo>
                    <a:pt x="134" y="204"/>
                  </a:lnTo>
                  <a:lnTo>
                    <a:pt x="133" y="205"/>
                  </a:lnTo>
                  <a:lnTo>
                    <a:pt x="130" y="206"/>
                  </a:lnTo>
                  <a:lnTo>
                    <a:pt x="124" y="209"/>
                  </a:lnTo>
                  <a:lnTo>
                    <a:pt x="116" y="214"/>
                  </a:lnTo>
                  <a:lnTo>
                    <a:pt x="110" y="216"/>
                  </a:lnTo>
                  <a:lnTo>
                    <a:pt x="108" y="218"/>
                  </a:lnTo>
                  <a:lnTo>
                    <a:pt x="107" y="219"/>
                  </a:lnTo>
                  <a:lnTo>
                    <a:pt x="102" y="224"/>
                  </a:lnTo>
                  <a:lnTo>
                    <a:pt x="97" y="227"/>
                  </a:lnTo>
                  <a:lnTo>
                    <a:pt x="97" y="228"/>
                  </a:lnTo>
                  <a:lnTo>
                    <a:pt x="96" y="229"/>
                  </a:lnTo>
                  <a:lnTo>
                    <a:pt x="96" y="230"/>
                  </a:lnTo>
                  <a:lnTo>
                    <a:pt x="97" y="232"/>
                  </a:lnTo>
                  <a:lnTo>
                    <a:pt x="99" y="237"/>
                  </a:lnTo>
                  <a:lnTo>
                    <a:pt x="101" y="239"/>
                  </a:lnTo>
                  <a:lnTo>
                    <a:pt x="103" y="241"/>
                  </a:lnTo>
                  <a:lnTo>
                    <a:pt x="116" y="253"/>
                  </a:lnTo>
                  <a:lnTo>
                    <a:pt x="118" y="255"/>
                  </a:lnTo>
                  <a:lnTo>
                    <a:pt x="118" y="257"/>
                  </a:lnTo>
                  <a:lnTo>
                    <a:pt x="119" y="259"/>
                  </a:lnTo>
                  <a:lnTo>
                    <a:pt x="120" y="260"/>
                  </a:lnTo>
                  <a:lnTo>
                    <a:pt x="122" y="265"/>
                  </a:lnTo>
                  <a:lnTo>
                    <a:pt x="122" y="267"/>
                  </a:lnTo>
                  <a:lnTo>
                    <a:pt x="123" y="269"/>
                  </a:lnTo>
                  <a:lnTo>
                    <a:pt x="127" y="273"/>
                  </a:lnTo>
                  <a:lnTo>
                    <a:pt x="128" y="275"/>
                  </a:lnTo>
                  <a:lnTo>
                    <a:pt x="128" y="277"/>
                  </a:lnTo>
                  <a:lnTo>
                    <a:pt x="129" y="279"/>
                  </a:lnTo>
                  <a:lnTo>
                    <a:pt x="129" y="283"/>
                  </a:lnTo>
                  <a:lnTo>
                    <a:pt x="129" y="284"/>
                  </a:lnTo>
                  <a:lnTo>
                    <a:pt x="129" y="286"/>
                  </a:lnTo>
                  <a:lnTo>
                    <a:pt x="129" y="287"/>
                  </a:lnTo>
                  <a:lnTo>
                    <a:pt x="129" y="289"/>
                  </a:lnTo>
                  <a:lnTo>
                    <a:pt x="129" y="291"/>
                  </a:lnTo>
                  <a:lnTo>
                    <a:pt x="128" y="293"/>
                  </a:lnTo>
                  <a:lnTo>
                    <a:pt x="125" y="296"/>
                  </a:lnTo>
                  <a:lnTo>
                    <a:pt x="122" y="300"/>
                  </a:lnTo>
                  <a:lnTo>
                    <a:pt x="120" y="305"/>
                  </a:lnTo>
                  <a:lnTo>
                    <a:pt x="118" y="310"/>
                  </a:lnTo>
                  <a:lnTo>
                    <a:pt x="117" y="313"/>
                  </a:lnTo>
                  <a:lnTo>
                    <a:pt x="115" y="317"/>
                  </a:lnTo>
                  <a:lnTo>
                    <a:pt x="113" y="319"/>
                  </a:lnTo>
                  <a:lnTo>
                    <a:pt x="112" y="322"/>
                  </a:lnTo>
                  <a:lnTo>
                    <a:pt x="109" y="326"/>
                  </a:lnTo>
                  <a:lnTo>
                    <a:pt x="101" y="335"/>
                  </a:lnTo>
                  <a:lnTo>
                    <a:pt x="96" y="340"/>
                  </a:lnTo>
                  <a:lnTo>
                    <a:pt x="95" y="344"/>
                  </a:lnTo>
                  <a:lnTo>
                    <a:pt x="94" y="345"/>
                  </a:lnTo>
                  <a:lnTo>
                    <a:pt x="94" y="346"/>
                  </a:lnTo>
                  <a:lnTo>
                    <a:pt x="93" y="345"/>
                  </a:lnTo>
                  <a:lnTo>
                    <a:pt x="92" y="344"/>
                  </a:lnTo>
                  <a:lnTo>
                    <a:pt x="79" y="336"/>
                  </a:lnTo>
                  <a:lnTo>
                    <a:pt x="61" y="323"/>
                  </a:lnTo>
                  <a:lnTo>
                    <a:pt x="58" y="320"/>
                  </a:lnTo>
                  <a:lnTo>
                    <a:pt x="56" y="318"/>
                  </a:lnTo>
                  <a:lnTo>
                    <a:pt x="54" y="317"/>
                  </a:lnTo>
                  <a:lnTo>
                    <a:pt x="53" y="316"/>
                  </a:lnTo>
                  <a:lnTo>
                    <a:pt x="51" y="315"/>
                  </a:lnTo>
                  <a:lnTo>
                    <a:pt x="50" y="312"/>
                  </a:lnTo>
                  <a:lnTo>
                    <a:pt x="49" y="310"/>
                  </a:lnTo>
                  <a:lnTo>
                    <a:pt x="49" y="309"/>
                  </a:lnTo>
                  <a:lnTo>
                    <a:pt x="48" y="308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5"/>
                  </a:lnTo>
                  <a:lnTo>
                    <a:pt x="48" y="302"/>
                  </a:lnTo>
                  <a:lnTo>
                    <a:pt x="49" y="299"/>
                  </a:lnTo>
                  <a:lnTo>
                    <a:pt x="50" y="296"/>
                  </a:lnTo>
                  <a:lnTo>
                    <a:pt x="50" y="294"/>
                  </a:lnTo>
                  <a:lnTo>
                    <a:pt x="52" y="293"/>
                  </a:lnTo>
                  <a:lnTo>
                    <a:pt x="54" y="292"/>
                  </a:lnTo>
                  <a:lnTo>
                    <a:pt x="59" y="287"/>
                  </a:lnTo>
                  <a:lnTo>
                    <a:pt x="60" y="286"/>
                  </a:lnTo>
                  <a:lnTo>
                    <a:pt x="61" y="285"/>
                  </a:lnTo>
                  <a:lnTo>
                    <a:pt x="61" y="284"/>
                  </a:lnTo>
                  <a:lnTo>
                    <a:pt x="61" y="283"/>
                  </a:lnTo>
                  <a:lnTo>
                    <a:pt x="62" y="282"/>
                  </a:lnTo>
                  <a:lnTo>
                    <a:pt x="62" y="280"/>
                  </a:lnTo>
                  <a:lnTo>
                    <a:pt x="61" y="278"/>
                  </a:lnTo>
                  <a:lnTo>
                    <a:pt x="61" y="274"/>
                  </a:lnTo>
                  <a:lnTo>
                    <a:pt x="60" y="272"/>
                  </a:lnTo>
                  <a:lnTo>
                    <a:pt x="58" y="269"/>
                  </a:lnTo>
                  <a:lnTo>
                    <a:pt x="55" y="265"/>
                  </a:lnTo>
                  <a:lnTo>
                    <a:pt x="50" y="259"/>
                  </a:lnTo>
                  <a:lnTo>
                    <a:pt x="49" y="256"/>
                  </a:lnTo>
                  <a:lnTo>
                    <a:pt x="47" y="254"/>
                  </a:lnTo>
                  <a:lnTo>
                    <a:pt x="46" y="252"/>
                  </a:lnTo>
                  <a:lnTo>
                    <a:pt x="44" y="248"/>
                  </a:lnTo>
                  <a:lnTo>
                    <a:pt x="43" y="242"/>
                  </a:lnTo>
                  <a:lnTo>
                    <a:pt x="39" y="232"/>
                  </a:lnTo>
                  <a:lnTo>
                    <a:pt x="39" y="226"/>
                  </a:lnTo>
                  <a:lnTo>
                    <a:pt x="38" y="223"/>
                  </a:lnTo>
                  <a:lnTo>
                    <a:pt x="37" y="219"/>
                  </a:lnTo>
                  <a:lnTo>
                    <a:pt x="37" y="214"/>
                  </a:lnTo>
                  <a:lnTo>
                    <a:pt x="37" y="211"/>
                  </a:lnTo>
                  <a:lnTo>
                    <a:pt x="37" y="208"/>
                  </a:lnTo>
                  <a:lnTo>
                    <a:pt x="37" y="204"/>
                  </a:lnTo>
                  <a:lnTo>
                    <a:pt x="38" y="201"/>
                  </a:lnTo>
                  <a:lnTo>
                    <a:pt x="39" y="198"/>
                  </a:lnTo>
                  <a:lnTo>
                    <a:pt x="40" y="195"/>
                  </a:lnTo>
                  <a:lnTo>
                    <a:pt x="45" y="188"/>
                  </a:lnTo>
                  <a:lnTo>
                    <a:pt x="46" y="185"/>
                  </a:lnTo>
                  <a:lnTo>
                    <a:pt x="49" y="180"/>
                  </a:lnTo>
                  <a:lnTo>
                    <a:pt x="50" y="177"/>
                  </a:lnTo>
                  <a:lnTo>
                    <a:pt x="52" y="175"/>
                  </a:lnTo>
                  <a:lnTo>
                    <a:pt x="54" y="174"/>
                  </a:lnTo>
                  <a:lnTo>
                    <a:pt x="55" y="172"/>
                  </a:lnTo>
                  <a:lnTo>
                    <a:pt x="59" y="170"/>
                  </a:lnTo>
                  <a:lnTo>
                    <a:pt x="59" y="170"/>
                  </a:lnTo>
                  <a:lnTo>
                    <a:pt x="60" y="170"/>
                  </a:lnTo>
                  <a:lnTo>
                    <a:pt x="60" y="169"/>
                  </a:lnTo>
                  <a:lnTo>
                    <a:pt x="60" y="168"/>
                  </a:lnTo>
                  <a:lnTo>
                    <a:pt x="59" y="168"/>
                  </a:lnTo>
                  <a:lnTo>
                    <a:pt x="57" y="167"/>
                  </a:lnTo>
                  <a:lnTo>
                    <a:pt x="56" y="167"/>
                  </a:lnTo>
                  <a:lnTo>
                    <a:pt x="51" y="166"/>
                  </a:lnTo>
                  <a:lnTo>
                    <a:pt x="43" y="164"/>
                  </a:lnTo>
                  <a:lnTo>
                    <a:pt x="38" y="163"/>
                  </a:lnTo>
                  <a:lnTo>
                    <a:pt x="32" y="162"/>
                  </a:lnTo>
                  <a:lnTo>
                    <a:pt x="22" y="159"/>
                  </a:lnTo>
                  <a:lnTo>
                    <a:pt x="14" y="157"/>
                  </a:lnTo>
                  <a:lnTo>
                    <a:pt x="8" y="156"/>
                  </a:lnTo>
                  <a:lnTo>
                    <a:pt x="6" y="155"/>
                  </a:lnTo>
                  <a:lnTo>
                    <a:pt x="5" y="154"/>
                  </a:lnTo>
                  <a:lnTo>
                    <a:pt x="4" y="153"/>
                  </a:lnTo>
                  <a:lnTo>
                    <a:pt x="3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1" y="150"/>
                  </a:lnTo>
                  <a:lnTo>
                    <a:pt x="1" y="148"/>
                  </a:lnTo>
                  <a:lnTo>
                    <a:pt x="1" y="147"/>
                  </a:lnTo>
                  <a:lnTo>
                    <a:pt x="1" y="145"/>
                  </a:lnTo>
                  <a:lnTo>
                    <a:pt x="1" y="137"/>
                  </a:lnTo>
                  <a:lnTo>
                    <a:pt x="1" y="135"/>
                  </a:lnTo>
                  <a:lnTo>
                    <a:pt x="1" y="133"/>
                  </a:lnTo>
                  <a:lnTo>
                    <a:pt x="0" y="126"/>
                  </a:lnTo>
                  <a:lnTo>
                    <a:pt x="0" y="124"/>
                  </a:lnTo>
                  <a:lnTo>
                    <a:pt x="0" y="122"/>
                  </a:lnTo>
                  <a:lnTo>
                    <a:pt x="1" y="119"/>
                  </a:lnTo>
                  <a:lnTo>
                    <a:pt x="1" y="116"/>
                  </a:lnTo>
                  <a:lnTo>
                    <a:pt x="2" y="114"/>
                  </a:lnTo>
                  <a:lnTo>
                    <a:pt x="3" y="113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5" y="112"/>
                  </a:lnTo>
                  <a:lnTo>
                    <a:pt x="6" y="112"/>
                  </a:lnTo>
                  <a:lnTo>
                    <a:pt x="16" y="113"/>
                  </a:lnTo>
                  <a:lnTo>
                    <a:pt x="25" y="114"/>
                  </a:lnTo>
                  <a:lnTo>
                    <a:pt x="27" y="115"/>
                  </a:lnTo>
                  <a:lnTo>
                    <a:pt x="29" y="115"/>
                  </a:lnTo>
                  <a:lnTo>
                    <a:pt x="31" y="115"/>
                  </a:lnTo>
                  <a:lnTo>
                    <a:pt x="32" y="114"/>
                  </a:lnTo>
                  <a:lnTo>
                    <a:pt x="34" y="114"/>
                  </a:lnTo>
                  <a:lnTo>
                    <a:pt x="35" y="113"/>
                  </a:lnTo>
                  <a:lnTo>
                    <a:pt x="36" y="113"/>
                  </a:lnTo>
                  <a:lnTo>
                    <a:pt x="37" y="111"/>
                  </a:lnTo>
                  <a:lnTo>
                    <a:pt x="38" y="110"/>
                  </a:lnTo>
                  <a:lnTo>
                    <a:pt x="38" y="109"/>
                  </a:lnTo>
                  <a:lnTo>
                    <a:pt x="39" y="107"/>
                  </a:lnTo>
                  <a:lnTo>
                    <a:pt x="39" y="100"/>
                  </a:lnTo>
                  <a:lnTo>
                    <a:pt x="40" y="97"/>
                  </a:lnTo>
                  <a:lnTo>
                    <a:pt x="41" y="94"/>
                  </a:lnTo>
                  <a:lnTo>
                    <a:pt x="42" y="92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44" y="88"/>
                  </a:lnTo>
                  <a:lnTo>
                    <a:pt x="44" y="86"/>
                  </a:lnTo>
                  <a:lnTo>
                    <a:pt x="45" y="80"/>
                  </a:lnTo>
                  <a:lnTo>
                    <a:pt x="45" y="75"/>
                  </a:lnTo>
                  <a:lnTo>
                    <a:pt x="45" y="72"/>
                  </a:lnTo>
                  <a:lnTo>
                    <a:pt x="46" y="70"/>
                  </a:lnTo>
                  <a:lnTo>
                    <a:pt x="46" y="68"/>
                  </a:lnTo>
                  <a:lnTo>
                    <a:pt x="47" y="66"/>
                  </a:lnTo>
                  <a:lnTo>
                    <a:pt x="48" y="64"/>
                  </a:lnTo>
                  <a:lnTo>
                    <a:pt x="50" y="61"/>
                  </a:lnTo>
                  <a:lnTo>
                    <a:pt x="50" y="60"/>
                  </a:lnTo>
                  <a:lnTo>
                    <a:pt x="50" y="59"/>
                  </a:lnTo>
                  <a:lnTo>
                    <a:pt x="51" y="59"/>
                  </a:lnTo>
                  <a:lnTo>
                    <a:pt x="54" y="58"/>
                  </a:lnTo>
                  <a:lnTo>
                    <a:pt x="53" y="56"/>
                  </a:lnTo>
                  <a:lnTo>
                    <a:pt x="52" y="55"/>
                  </a:lnTo>
                  <a:lnTo>
                    <a:pt x="50" y="52"/>
                  </a:lnTo>
                  <a:lnTo>
                    <a:pt x="47" y="47"/>
                  </a:lnTo>
                  <a:lnTo>
                    <a:pt x="45" y="45"/>
                  </a:lnTo>
                  <a:lnTo>
                    <a:pt x="44" y="43"/>
                  </a:lnTo>
                  <a:lnTo>
                    <a:pt x="43" y="41"/>
                  </a:lnTo>
                  <a:lnTo>
                    <a:pt x="43" y="39"/>
                  </a:lnTo>
                  <a:lnTo>
                    <a:pt x="43" y="35"/>
                  </a:lnTo>
                  <a:lnTo>
                    <a:pt x="43" y="29"/>
                  </a:lnTo>
                  <a:lnTo>
                    <a:pt x="43" y="27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5" y="21"/>
                  </a:lnTo>
                  <a:lnTo>
                    <a:pt x="47" y="19"/>
                  </a:lnTo>
                  <a:lnTo>
                    <a:pt x="48" y="17"/>
                  </a:lnTo>
                  <a:lnTo>
                    <a:pt x="50" y="14"/>
                  </a:lnTo>
                  <a:lnTo>
                    <a:pt x="53" y="12"/>
                  </a:lnTo>
                  <a:lnTo>
                    <a:pt x="55" y="11"/>
                  </a:lnTo>
                  <a:lnTo>
                    <a:pt x="58" y="10"/>
                  </a:lnTo>
                  <a:lnTo>
                    <a:pt x="61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1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6" y="5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3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9" name="Freeform 72">
              <a:extLst>
                <a:ext uri="{FF2B5EF4-FFF2-40B4-BE49-F238E27FC236}">
                  <a16:creationId xmlns:a16="http://schemas.microsoft.com/office/drawing/2014/main" id="{3B631918-7308-470B-9F4A-00F2F15C4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" y="2566"/>
              <a:ext cx="524" cy="463"/>
            </a:xfrm>
            <a:custGeom>
              <a:avLst/>
              <a:gdLst>
                <a:gd name="T0" fmla="*/ 358 w 524"/>
                <a:gd name="T1" fmla="*/ 12 h 463"/>
                <a:gd name="T2" fmla="*/ 378 w 524"/>
                <a:gd name="T3" fmla="*/ 9 h 463"/>
                <a:gd name="T4" fmla="*/ 399 w 524"/>
                <a:gd name="T5" fmla="*/ 26 h 463"/>
                <a:gd name="T6" fmla="*/ 435 w 524"/>
                <a:gd name="T7" fmla="*/ 66 h 463"/>
                <a:gd name="T8" fmla="*/ 477 w 524"/>
                <a:gd name="T9" fmla="*/ 115 h 463"/>
                <a:gd name="T10" fmla="*/ 473 w 524"/>
                <a:gd name="T11" fmla="*/ 136 h 463"/>
                <a:gd name="T12" fmla="*/ 482 w 524"/>
                <a:gd name="T13" fmla="*/ 148 h 463"/>
                <a:gd name="T14" fmla="*/ 505 w 524"/>
                <a:gd name="T15" fmla="*/ 136 h 463"/>
                <a:gd name="T16" fmla="*/ 523 w 524"/>
                <a:gd name="T17" fmla="*/ 162 h 463"/>
                <a:gd name="T18" fmla="*/ 508 w 524"/>
                <a:gd name="T19" fmla="*/ 190 h 463"/>
                <a:gd name="T20" fmla="*/ 475 w 524"/>
                <a:gd name="T21" fmla="*/ 188 h 463"/>
                <a:gd name="T22" fmla="*/ 461 w 524"/>
                <a:gd name="T23" fmla="*/ 202 h 463"/>
                <a:gd name="T24" fmla="*/ 433 w 524"/>
                <a:gd name="T25" fmla="*/ 229 h 463"/>
                <a:gd name="T26" fmla="*/ 427 w 524"/>
                <a:gd name="T27" fmla="*/ 256 h 463"/>
                <a:gd name="T28" fmla="*/ 419 w 524"/>
                <a:gd name="T29" fmla="*/ 282 h 463"/>
                <a:gd name="T30" fmla="*/ 392 w 524"/>
                <a:gd name="T31" fmla="*/ 289 h 463"/>
                <a:gd name="T32" fmla="*/ 371 w 524"/>
                <a:gd name="T33" fmla="*/ 280 h 463"/>
                <a:gd name="T34" fmla="*/ 353 w 524"/>
                <a:gd name="T35" fmla="*/ 262 h 463"/>
                <a:gd name="T36" fmla="*/ 336 w 524"/>
                <a:gd name="T37" fmla="*/ 276 h 463"/>
                <a:gd name="T38" fmla="*/ 320 w 524"/>
                <a:gd name="T39" fmla="*/ 278 h 463"/>
                <a:gd name="T40" fmla="*/ 307 w 524"/>
                <a:gd name="T41" fmla="*/ 282 h 463"/>
                <a:gd name="T42" fmla="*/ 318 w 524"/>
                <a:gd name="T43" fmla="*/ 312 h 463"/>
                <a:gd name="T44" fmla="*/ 306 w 524"/>
                <a:gd name="T45" fmla="*/ 334 h 463"/>
                <a:gd name="T46" fmla="*/ 282 w 524"/>
                <a:gd name="T47" fmla="*/ 335 h 463"/>
                <a:gd name="T48" fmla="*/ 249 w 524"/>
                <a:gd name="T49" fmla="*/ 332 h 463"/>
                <a:gd name="T50" fmla="*/ 218 w 524"/>
                <a:gd name="T51" fmla="*/ 342 h 463"/>
                <a:gd name="T52" fmla="*/ 207 w 524"/>
                <a:gd name="T53" fmla="*/ 372 h 463"/>
                <a:gd name="T54" fmla="*/ 189 w 524"/>
                <a:gd name="T55" fmla="*/ 382 h 463"/>
                <a:gd name="T56" fmla="*/ 159 w 524"/>
                <a:gd name="T57" fmla="*/ 366 h 463"/>
                <a:gd name="T58" fmla="*/ 119 w 524"/>
                <a:gd name="T59" fmla="*/ 358 h 463"/>
                <a:gd name="T60" fmla="*/ 112 w 524"/>
                <a:gd name="T61" fmla="*/ 336 h 463"/>
                <a:gd name="T62" fmla="*/ 98 w 524"/>
                <a:gd name="T63" fmla="*/ 335 h 463"/>
                <a:gd name="T64" fmla="*/ 83 w 524"/>
                <a:gd name="T65" fmla="*/ 365 h 463"/>
                <a:gd name="T66" fmla="*/ 94 w 524"/>
                <a:gd name="T67" fmla="*/ 402 h 463"/>
                <a:gd name="T68" fmla="*/ 79 w 524"/>
                <a:gd name="T69" fmla="*/ 422 h 463"/>
                <a:gd name="T70" fmla="*/ 55 w 524"/>
                <a:gd name="T71" fmla="*/ 451 h 463"/>
                <a:gd name="T72" fmla="*/ 35 w 524"/>
                <a:gd name="T73" fmla="*/ 462 h 463"/>
                <a:gd name="T74" fmla="*/ 23 w 524"/>
                <a:gd name="T75" fmla="*/ 459 h 463"/>
                <a:gd name="T76" fmla="*/ 5 w 524"/>
                <a:gd name="T77" fmla="*/ 420 h 463"/>
                <a:gd name="T78" fmla="*/ 4 w 524"/>
                <a:gd name="T79" fmla="*/ 373 h 463"/>
                <a:gd name="T80" fmla="*/ 4 w 524"/>
                <a:gd name="T81" fmla="*/ 335 h 463"/>
                <a:gd name="T82" fmla="*/ 19 w 524"/>
                <a:gd name="T83" fmla="*/ 315 h 463"/>
                <a:gd name="T84" fmla="*/ 15 w 524"/>
                <a:gd name="T85" fmla="*/ 297 h 463"/>
                <a:gd name="T86" fmla="*/ 33 w 524"/>
                <a:gd name="T87" fmla="*/ 288 h 463"/>
                <a:gd name="T88" fmla="*/ 69 w 524"/>
                <a:gd name="T89" fmla="*/ 297 h 463"/>
                <a:gd name="T90" fmla="*/ 76 w 524"/>
                <a:gd name="T91" fmla="*/ 289 h 463"/>
                <a:gd name="T92" fmla="*/ 62 w 524"/>
                <a:gd name="T93" fmla="*/ 257 h 463"/>
                <a:gd name="T94" fmla="*/ 69 w 524"/>
                <a:gd name="T95" fmla="*/ 238 h 463"/>
                <a:gd name="T96" fmla="*/ 98 w 524"/>
                <a:gd name="T97" fmla="*/ 206 h 463"/>
                <a:gd name="T98" fmla="*/ 114 w 524"/>
                <a:gd name="T99" fmla="*/ 199 h 463"/>
                <a:gd name="T100" fmla="*/ 155 w 524"/>
                <a:gd name="T101" fmla="*/ 193 h 463"/>
                <a:gd name="T102" fmla="*/ 169 w 524"/>
                <a:gd name="T103" fmla="*/ 182 h 463"/>
                <a:gd name="T104" fmla="*/ 172 w 524"/>
                <a:gd name="T105" fmla="*/ 151 h 463"/>
                <a:gd name="T106" fmla="*/ 194 w 524"/>
                <a:gd name="T107" fmla="*/ 142 h 463"/>
                <a:gd name="T108" fmla="*/ 209 w 524"/>
                <a:gd name="T109" fmla="*/ 145 h 463"/>
                <a:gd name="T110" fmla="*/ 232 w 524"/>
                <a:gd name="T111" fmla="*/ 154 h 463"/>
                <a:gd name="T112" fmla="*/ 261 w 524"/>
                <a:gd name="T113" fmla="*/ 141 h 463"/>
                <a:gd name="T114" fmla="*/ 291 w 524"/>
                <a:gd name="T115" fmla="*/ 129 h 463"/>
                <a:gd name="T116" fmla="*/ 298 w 524"/>
                <a:gd name="T117" fmla="*/ 121 h 463"/>
                <a:gd name="T118" fmla="*/ 285 w 524"/>
                <a:gd name="T119" fmla="*/ 81 h 463"/>
                <a:gd name="T120" fmla="*/ 285 w 524"/>
                <a:gd name="T121" fmla="*/ 63 h 463"/>
                <a:gd name="T122" fmla="*/ 308 w 524"/>
                <a:gd name="T123" fmla="*/ 35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463">
                  <a:moveTo>
                    <a:pt x="337" y="0"/>
                  </a:moveTo>
                  <a:lnTo>
                    <a:pt x="339" y="0"/>
                  </a:lnTo>
                  <a:lnTo>
                    <a:pt x="340" y="0"/>
                  </a:lnTo>
                  <a:lnTo>
                    <a:pt x="340" y="1"/>
                  </a:lnTo>
                  <a:lnTo>
                    <a:pt x="340" y="2"/>
                  </a:lnTo>
                  <a:lnTo>
                    <a:pt x="342" y="4"/>
                  </a:lnTo>
                  <a:lnTo>
                    <a:pt x="346" y="6"/>
                  </a:lnTo>
                  <a:lnTo>
                    <a:pt x="350" y="7"/>
                  </a:lnTo>
                  <a:lnTo>
                    <a:pt x="353" y="10"/>
                  </a:lnTo>
                  <a:lnTo>
                    <a:pt x="358" y="12"/>
                  </a:lnTo>
                  <a:lnTo>
                    <a:pt x="362" y="13"/>
                  </a:lnTo>
                  <a:lnTo>
                    <a:pt x="364" y="14"/>
                  </a:lnTo>
                  <a:lnTo>
                    <a:pt x="366" y="14"/>
                  </a:lnTo>
                  <a:lnTo>
                    <a:pt x="368" y="15"/>
                  </a:lnTo>
                  <a:lnTo>
                    <a:pt x="370" y="14"/>
                  </a:lnTo>
                  <a:lnTo>
                    <a:pt x="372" y="14"/>
                  </a:lnTo>
                  <a:lnTo>
                    <a:pt x="374" y="13"/>
                  </a:lnTo>
                  <a:lnTo>
                    <a:pt x="375" y="13"/>
                  </a:lnTo>
                  <a:lnTo>
                    <a:pt x="377" y="10"/>
                  </a:lnTo>
                  <a:lnTo>
                    <a:pt x="378" y="9"/>
                  </a:lnTo>
                  <a:lnTo>
                    <a:pt x="380" y="9"/>
                  </a:lnTo>
                  <a:lnTo>
                    <a:pt x="381" y="9"/>
                  </a:lnTo>
                  <a:lnTo>
                    <a:pt x="383" y="9"/>
                  </a:lnTo>
                  <a:lnTo>
                    <a:pt x="384" y="9"/>
                  </a:lnTo>
                  <a:lnTo>
                    <a:pt x="386" y="10"/>
                  </a:lnTo>
                  <a:lnTo>
                    <a:pt x="388" y="12"/>
                  </a:lnTo>
                  <a:lnTo>
                    <a:pt x="390" y="14"/>
                  </a:lnTo>
                  <a:lnTo>
                    <a:pt x="392" y="17"/>
                  </a:lnTo>
                  <a:lnTo>
                    <a:pt x="395" y="20"/>
                  </a:lnTo>
                  <a:lnTo>
                    <a:pt x="399" y="26"/>
                  </a:lnTo>
                  <a:lnTo>
                    <a:pt x="400" y="29"/>
                  </a:lnTo>
                  <a:lnTo>
                    <a:pt x="402" y="31"/>
                  </a:lnTo>
                  <a:lnTo>
                    <a:pt x="406" y="38"/>
                  </a:lnTo>
                  <a:lnTo>
                    <a:pt x="407" y="40"/>
                  </a:lnTo>
                  <a:lnTo>
                    <a:pt x="410" y="45"/>
                  </a:lnTo>
                  <a:lnTo>
                    <a:pt x="411" y="47"/>
                  </a:lnTo>
                  <a:lnTo>
                    <a:pt x="413" y="49"/>
                  </a:lnTo>
                  <a:lnTo>
                    <a:pt x="415" y="51"/>
                  </a:lnTo>
                  <a:lnTo>
                    <a:pt x="417" y="52"/>
                  </a:lnTo>
                  <a:lnTo>
                    <a:pt x="435" y="66"/>
                  </a:lnTo>
                  <a:lnTo>
                    <a:pt x="440" y="69"/>
                  </a:lnTo>
                  <a:lnTo>
                    <a:pt x="443" y="72"/>
                  </a:lnTo>
                  <a:lnTo>
                    <a:pt x="452" y="81"/>
                  </a:lnTo>
                  <a:lnTo>
                    <a:pt x="457" y="86"/>
                  </a:lnTo>
                  <a:lnTo>
                    <a:pt x="459" y="89"/>
                  </a:lnTo>
                  <a:lnTo>
                    <a:pt x="464" y="94"/>
                  </a:lnTo>
                  <a:lnTo>
                    <a:pt x="467" y="99"/>
                  </a:lnTo>
                  <a:lnTo>
                    <a:pt x="472" y="107"/>
                  </a:lnTo>
                  <a:lnTo>
                    <a:pt x="475" y="113"/>
                  </a:lnTo>
                  <a:lnTo>
                    <a:pt x="477" y="115"/>
                  </a:lnTo>
                  <a:lnTo>
                    <a:pt x="478" y="118"/>
                  </a:lnTo>
                  <a:lnTo>
                    <a:pt x="478" y="119"/>
                  </a:lnTo>
                  <a:lnTo>
                    <a:pt x="478" y="120"/>
                  </a:lnTo>
                  <a:lnTo>
                    <a:pt x="478" y="122"/>
                  </a:lnTo>
                  <a:lnTo>
                    <a:pt x="478" y="123"/>
                  </a:lnTo>
                  <a:lnTo>
                    <a:pt x="477" y="126"/>
                  </a:lnTo>
                  <a:lnTo>
                    <a:pt x="475" y="130"/>
                  </a:lnTo>
                  <a:lnTo>
                    <a:pt x="474" y="131"/>
                  </a:lnTo>
                  <a:lnTo>
                    <a:pt x="473" y="134"/>
                  </a:lnTo>
                  <a:lnTo>
                    <a:pt x="473" y="136"/>
                  </a:lnTo>
                  <a:lnTo>
                    <a:pt x="473" y="137"/>
                  </a:lnTo>
                  <a:lnTo>
                    <a:pt x="473" y="138"/>
                  </a:lnTo>
                  <a:lnTo>
                    <a:pt x="474" y="141"/>
                  </a:lnTo>
                  <a:lnTo>
                    <a:pt x="475" y="144"/>
                  </a:lnTo>
                  <a:lnTo>
                    <a:pt x="476" y="145"/>
                  </a:lnTo>
                  <a:lnTo>
                    <a:pt x="477" y="146"/>
                  </a:lnTo>
                  <a:lnTo>
                    <a:pt x="478" y="147"/>
                  </a:lnTo>
                  <a:lnTo>
                    <a:pt x="479" y="148"/>
                  </a:lnTo>
                  <a:lnTo>
                    <a:pt x="480" y="148"/>
                  </a:lnTo>
                  <a:lnTo>
                    <a:pt x="482" y="148"/>
                  </a:lnTo>
                  <a:lnTo>
                    <a:pt x="483" y="148"/>
                  </a:lnTo>
                  <a:lnTo>
                    <a:pt x="485" y="146"/>
                  </a:lnTo>
                  <a:lnTo>
                    <a:pt x="490" y="142"/>
                  </a:lnTo>
                  <a:lnTo>
                    <a:pt x="493" y="140"/>
                  </a:lnTo>
                  <a:lnTo>
                    <a:pt x="495" y="138"/>
                  </a:lnTo>
                  <a:lnTo>
                    <a:pt x="497" y="137"/>
                  </a:lnTo>
                  <a:lnTo>
                    <a:pt x="499" y="136"/>
                  </a:lnTo>
                  <a:lnTo>
                    <a:pt x="501" y="136"/>
                  </a:lnTo>
                  <a:lnTo>
                    <a:pt x="503" y="136"/>
                  </a:lnTo>
                  <a:lnTo>
                    <a:pt x="505" y="136"/>
                  </a:lnTo>
                  <a:lnTo>
                    <a:pt x="506" y="136"/>
                  </a:lnTo>
                  <a:lnTo>
                    <a:pt x="507" y="136"/>
                  </a:lnTo>
                  <a:lnTo>
                    <a:pt x="508" y="136"/>
                  </a:lnTo>
                  <a:lnTo>
                    <a:pt x="509" y="137"/>
                  </a:lnTo>
                  <a:lnTo>
                    <a:pt x="510" y="138"/>
                  </a:lnTo>
                  <a:lnTo>
                    <a:pt x="512" y="141"/>
                  </a:lnTo>
                  <a:lnTo>
                    <a:pt x="514" y="144"/>
                  </a:lnTo>
                  <a:lnTo>
                    <a:pt x="516" y="148"/>
                  </a:lnTo>
                  <a:lnTo>
                    <a:pt x="520" y="156"/>
                  </a:lnTo>
                  <a:lnTo>
                    <a:pt x="523" y="162"/>
                  </a:lnTo>
                  <a:lnTo>
                    <a:pt x="524" y="164"/>
                  </a:lnTo>
                  <a:lnTo>
                    <a:pt x="524" y="165"/>
                  </a:lnTo>
                  <a:lnTo>
                    <a:pt x="523" y="166"/>
                  </a:lnTo>
                  <a:lnTo>
                    <a:pt x="522" y="170"/>
                  </a:lnTo>
                  <a:lnTo>
                    <a:pt x="520" y="174"/>
                  </a:lnTo>
                  <a:lnTo>
                    <a:pt x="518" y="178"/>
                  </a:lnTo>
                  <a:lnTo>
                    <a:pt x="514" y="183"/>
                  </a:lnTo>
                  <a:lnTo>
                    <a:pt x="512" y="187"/>
                  </a:lnTo>
                  <a:lnTo>
                    <a:pt x="510" y="188"/>
                  </a:lnTo>
                  <a:lnTo>
                    <a:pt x="508" y="190"/>
                  </a:lnTo>
                  <a:lnTo>
                    <a:pt x="505" y="192"/>
                  </a:lnTo>
                  <a:lnTo>
                    <a:pt x="502" y="193"/>
                  </a:lnTo>
                  <a:lnTo>
                    <a:pt x="501" y="193"/>
                  </a:lnTo>
                  <a:lnTo>
                    <a:pt x="500" y="194"/>
                  </a:lnTo>
                  <a:lnTo>
                    <a:pt x="498" y="194"/>
                  </a:lnTo>
                  <a:lnTo>
                    <a:pt x="494" y="193"/>
                  </a:lnTo>
                  <a:lnTo>
                    <a:pt x="490" y="192"/>
                  </a:lnTo>
                  <a:lnTo>
                    <a:pt x="487" y="191"/>
                  </a:lnTo>
                  <a:lnTo>
                    <a:pt x="480" y="189"/>
                  </a:lnTo>
                  <a:lnTo>
                    <a:pt x="475" y="188"/>
                  </a:lnTo>
                  <a:lnTo>
                    <a:pt x="473" y="187"/>
                  </a:lnTo>
                  <a:lnTo>
                    <a:pt x="472" y="187"/>
                  </a:lnTo>
                  <a:lnTo>
                    <a:pt x="470" y="187"/>
                  </a:lnTo>
                  <a:lnTo>
                    <a:pt x="469" y="188"/>
                  </a:lnTo>
                  <a:lnTo>
                    <a:pt x="468" y="189"/>
                  </a:lnTo>
                  <a:lnTo>
                    <a:pt x="467" y="190"/>
                  </a:lnTo>
                  <a:lnTo>
                    <a:pt x="467" y="192"/>
                  </a:lnTo>
                  <a:lnTo>
                    <a:pt x="464" y="197"/>
                  </a:lnTo>
                  <a:lnTo>
                    <a:pt x="463" y="199"/>
                  </a:lnTo>
                  <a:lnTo>
                    <a:pt x="461" y="202"/>
                  </a:lnTo>
                  <a:lnTo>
                    <a:pt x="460" y="204"/>
                  </a:lnTo>
                  <a:lnTo>
                    <a:pt x="458" y="205"/>
                  </a:lnTo>
                  <a:lnTo>
                    <a:pt x="456" y="207"/>
                  </a:lnTo>
                  <a:lnTo>
                    <a:pt x="449" y="211"/>
                  </a:lnTo>
                  <a:lnTo>
                    <a:pt x="447" y="213"/>
                  </a:lnTo>
                  <a:lnTo>
                    <a:pt x="445" y="215"/>
                  </a:lnTo>
                  <a:lnTo>
                    <a:pt x="440" y="221"/>
                  </a:lnTo>
                  <a:lnTo>
                    <a:pt x="434" y="226"/>
                  </a:lnTo>
                  <a:lnTo>
                    <a:pt x="433" y="227"/>
                  </a:lnTo>
                  <a:lnTo>
                    <a:pt x="433" y="229"/>
                  </a:lnTo>
                  <a:lnTo>
                    <a:pt x="433" y="230"/>
                  </a:lnTo>
                  <a:lnTo>
                    <a:pt x="432" y="231"/>
                  </a:lnTo>
                  <a:lnTo>
                    <a:pt x="432" y="233"/>
                  </a:lnTo>
                  <a:lnTo>
                    <a:pt x="432" y="234"/>
                  </a:lnTo>
                  <a:lnTo>
                    <a:pt x="432" y="244"/>
                  </a:lnTo>
                  <a:lnTo>
                    <a:pt x="431" y="245"/>
                  </a:lnTo>
                  <a:lnTo>
                    <a:pt x="431" y="246"/>
                  </a:lnTo>
                  <a:lnTo>
                    <a:pt x="430" y="249"/>
                  </a:lnTo>
                  <a:lnTo>
                    <a:pt x="429" y="252"/>
                  </a:lnTo>
                  <a:lnTo>
                    <a:pt x="427" y="256"/>
                  </a:lnTo>
                  <a:lnTo>
                    <a:pt x="424" y="264"/>
                  </a:lnTo>
                  <a:lnTo>
                    <a:pt x="423" y="267"/>
                  </a:lnTo>
                  <a:lnTo>
                    <a:pt x="422" y="270"/>
                  </a:lnTo>
                  <a:lnTo>
                    <a:pt x="421" y="275"/>
                  </a:lnTo>
                  <a:lnTo>
                    <a:pt x="421" y="278"/>
                  </a:lnTo>
                  <a:lnTo>
                    <a:pt x="421" y="278"/>
                  </a:lnTo>
                  <a:lnTo>
                    <a:pt x="421" y="279"/>
                  </a:lnTo>
                  <a:lnTo>
                    <a:pt x="421" y="280"/>
                  </a:lnTo>
                  <a:lnTo>
                    <a:pt x="420" y="281"/>
                  </a:lnTo>
                  <a:lnTo>
                    <a:pt x="419" y="282"/>
                  </a:lnTo>
                  <a:lnTo>
                    <a:pt x="418" y="283"/>
                  </a:lnTo>
                  <a:lnTo>
                    <a:pt x="416" y="284"/>
                  </a:lnTo>
                  <a:lnTo>
                    <a:pt x="413" y="284"/>
                  </a:lnTo>
                  <a:lnTo>
                    <a:pt x="411" y="285"/>
                  </a:lnTo>
                  <a:lnTo>
                    <a:pt x="408" y="285"/>
                  </a:lnTo>
                  <a:lnTo>
                    <a:pt x="404" y="286"/>
                  </a:lnTo>
                  <a:lnTo>
                    <a:pt x="402" y="287"/>
                  </a:lnTo>
                  <a:lnTo>
                    <a:pt x="397" y="289"/>
                  </a:lnTo>
                  <a:lnTo>
                    <a:pt x="394" y="289"/>
                  </a:lnTo>
                  <a:lnTo>
                    <a:pt x="392" y="289"/>
                  </a:lnTo>
                  <a:lnTo>
                    <a:pt x="390" y="290"/>
                  </a:lnTo>
                  <a:lnTo>
                    <a:pt x="389" y="290"/>
                  </a:lnTo>
                  <a:lnTo>
                    <a:pt x="387" y="289"/>
                  </a:lnTo>
                  <a:lnTo>
                    <a:pt x="386" y="289"/>
                  </a:lnTo>
                  <a:lnTo>
                    <a:pt x="383" y="289"/>
                  </a:lnTo>
                  <a:lnTo>
                    <a:pt x="377" y="287"/>
                  </a:lnTo>
                  <a:lnTo>
                    <a:pt x="376" y="286"/>
                  </a:lnTo>
                  <a:lnTo>
                    <a:pt x="374" y="284"/>
                  </a:lnTo>
                  <a:lnTo>
                    <a:pt x="372" y="282"/>
                  </a:lnTo>
                  <a:lnTo>
                    <a:pt x="371" y="280"/>
                  </a:lnTo>
                  <a:lnTo>
                    <a:pt x="370" y="279"/>
                  </a:lnTo>
                  <a:lnTo>
                    <a:pt x="369" y="277"/>
                  </a:lnTo>
                  <a:lnTo>
                    <a:pt x="368" y="276"/>
                  </a:lnTo>
                  <a:lnTo>
                    <a:pt x="367" y="274"/>
                  </a:lnTo>
                  <a:lnTo>
                    <a:pt x="366" y="273"/>
                  </a:lnTo>
                  <a:lnTo>
                    <a:pt x="364" y="270"/>
                  </a:lnTo>
                  <a:lnTo>
                    <a:pt x="363" y="269"/>
                  </a:lnTo>
                  <a:lnTo>
                    <a:pt x="357" y="265"/>
                  </a:lnTo>
                  <a:lnTo>
                    <a:pt x="354" y="263"/>
                  </a:lnTo>
                  <a:lnTo>
                    <a:pt x="353" y="262"/>
                  </a:lnTo>
                  <a:lnTo>
                    <a:pt x="352" y="261"/>
                  </a:lnTo>
                  <a:lnTo>
                    <a:pt x="350" y="261"/>
                  </a:lnTo>
                  <a:lnTo>
                    <a:pt x="347" y="261"/>
                  </a:lnTo>
                  <a:lnTo>
                    <a:pt x="346" y="261"/>
                  </a:lnTo>
                  <a:lnTo>
                    <a:pt x="345" y="261"/>
                  </a:lnTo>
                  <a:lnTo>
                    <a:pt x="344" y="262"/>
                  </a:lnTo>
                  <a:lnTo>
                    <a:pt x="343" y="263"/>
                  </a:lnTo>
                  <a:lnTo>
                    <a:pt x="342" y="266"/>
                  </a:lnTo>
                  <a:lnTo>
                    <a:pt x="338" y="273"/>
                  </a:lnTo>
                  <a:lnTo>
                    <a:pt x="336" y="276"/>
                  </a:lnTo>
                  <a:lnTo>
                    <a:pt x="336" y="277"/>
                  </a:lnTo>
                  <a:lnTo>
                    <a:pt x="334" y="278"/>
                  </a:lnTo>
                  <a:lnTo>
                    <a:pt x="333" y="278"/>
                  </a:lnTo>
                  <a:lnTo>
                    <a:pt x="332" y="279"/>
                  </a:lnTo>
                  <a:lnTo>
                    <a:pt x="330" y="280"/>
                  </a:lnTo>
                  <a:lnTo>
                    <a:pt x="330" y="280"/>
                  </a:lnTo>
                  <a:lnTo>
                    <a:pt x="329" y="280"/>
                  </a:lnTo>
                  <a:lnTo>
                    <a:pt x="327" y="280"/>
                  </a:lnTo>
                  <a:lnTo>
                    <a:pt x="325" y="280"/>
                  </a:lnTo>
                  <a:lnTo>
                    <a:pt x="320" y="278"/>
                  </a:lnTo>
                  <a:lnTo>
                    <a:pt x="319" y="278"/>
                  </a:lnTo>
                  <a:lnTo>
                    <a:pt x="317" y="278"/>
                  </a:lnTo>
                  <a:lnTo>
                    <a:pt x="314" y="278"/>
                  </a:lnTo>
                  <a:lnTo>
                    <a:pt x="312" y="278"/>
                  </a:lnTo>
                  <a:lnTo>
                    <a:pt x="310" y="279"/>
                  </a:lnTo>
                  <a:lnTo>
                    <a:pt x="308" y="279"/>
                  </a:lnTo>
                  <a:lnTo>
                    <a:pt x="308" y="280"/>
                  </a:lnTo>
                  <a:lnTo>
                    <a:pt x="308" y="281"/>
                  </a:lnTo>
                  <a:lnTo>
                    <a:pt x="307" y="281"/>
                  </a:lnTo>
                  <a:lnTo>
                    <a:pt x="307" y="282"/>
                  </a:lnTo>
                  <a:lnTo>
                    <a:pt x="307" y="284"/>
                  </a:lnTo>
                  <a:lnTo>
                    <a:pt x="307" y="286"/>
                  </a:lnTo>
                  <a:lnTo>
                    <a:pt x="308" y="288"/>
                  </a:lnTo>
                  <a:lnTo>
                    <a:pt x="308" y="290"/>
                  </a:lnTo>
                  <a:lnTo>
                    <a:pt x="314" y="301"/>
                  </a:lnTo>
                  <a:lnTo>
                    <a:pt x="315" y="304"/>
                  </a:lnTo>
                  <a:lnTo>
                    <a:pt x="316" y="306"/>
                  </a:lnTo>
                  <a:lnTo>
                    <a:pt x="317" y="308"/>
                  </a:lnTo>
                  <a:lnTo>
                    <a:pt x="317" y="310"/>
                  </a:lnTo>
                  <a:lnTo>
                    <a:pt x="318" y="312"/>
                  </a:lnTo>
                  <a:lnTo>
                    <a:pt x="318" y="314"/>
                  </a:lnTo>
                  <a:lnTo>
                    <a:pt x="318" y="316"/>
                  </a:lnTo>
                  <a:lnTo>
                    <a:pt x="317" y="319"/>
                  </a:lnTo>
                  <a:lnTo>
                    <a:pt x="316" y="321"/>
                  </a:lnTo>
                  <a:lnTo>
                    <a:pt x="315" y="323"/>
                  </a:lnTo>
                  <a:lnTo>
                    <a:pt x="313" y="325"/>
                  </a:lnTo>
                  <a:lnTo>
                    <a:pt x="311" y="328"/>
                  </a:lnTo>
                  <a:lnTo>
                    <a:pt x="309" y="330"/>
                  </a:lnTo>
                  <a:lnTo>
                    <a:pt x="308" y="332"/>
                  </a:lnTo>
                  <a:lnTo>
                    <a:pt x="306" y="334"/>
                  </a:lnTo>
                  <a:lnTo>
                    <a:pt x="304" y="335"/>
                  </a:lnTo>
                  <a:lnTo>
                    <a:pt x="302" y="335"/>
                  </a:lnTo>
                  <a:lnTo>
                    <a:pt x="300" y="335"/>
                  </a:lnTo>
                  <a:lnTo>
                    <a:pt x="298" y="336"/>
                  </a:lnTo>
                  <a:lnTo>
                    <a:pt x="296" y="336"/>
                  </a:lnTo>
                  <a:lnTo>
                    <a:pt x="293" y="337"/>
                  </a:lnTo>
                  <a:lnTo>
                    <a:pt x="291" y="337"/>
                  </a:lnTo>
                  <a:lnTo>
                    <a:pt x="288" y="337"/>
                  </a:lnTo>
                  <a:lnTo>
                    <a:pt x="286" y="336"/>
                  </a:lnTo>
                  <a:lnTo>
                    <a:pt x="282" y="335"/>
                  </a:lnTo>
                  <a:lnTo>
                    <a:pt x="280" y="335"/>
                  </a:lnTo>
                  <a:lnTo>
                    <a:pt x="275" y="334"/>
                  </a:lnTo>
                  <a:lnTo>
                    <a:pt x="273" y="333"/>
                  </a:lnTo>
                  <a:lnTo>
                    <a:pt x="272" y="332"/>
                  </a:lnTo>
                  <a:lnTo>
                    <a:pt x="269" y="332"/>
                  </a:lnTo>
                  <a:lnTo>
                    <a:pt x="266" y="331"/>
                  </a:lnTo>
                  <a:lnTo>
                    <a:pt x="262" y="331"/>
                  </a:lnTo>
                  <a:lnTo>
                    <a:pt x="260" y="331"/>
                  </a:lnTo>
                  <a:lnTo>
                    <a:pt x="256" y="331"/>
                  </a:lnTo>
                  <a:lnTo>
                    <a:pt x="249" y="332"/>
                  </a:lnTo>
                  <a:lnTo>
                    <a:pt x="245" y="333"/>
                  </a:lnTo>
                  <a:lnTo>
                    <a:pt x="242" y="333"/>
                  </a:lnTo>
                  <a:lnTo>
                    <a:pt x="238" y="335"/>
                  </a:lnTo>
                  <a:lnTo>
                    <a:pt x="231" y="336"/>
                  </a:lnTo>
                  <a:lnTo>
                    <a:pt x="225" y="337"/>
                  </a:lnTo>
                  <a:lnTo>
                    <a:pt x="222" y="338"/>
                  </a:lnTo>
                  <a:lnTo>
                    <a:pt x="221" y="339"/>
                  </a:lnTo>
                  <a:lnTo>
                    <a:pt x="220" y="340"/>
                  </a:lnTo>
                  <a:lnTo>
                    <a:pt x="219" y="341"/>
                  </a:lnTo>
                  <a:lnTo>
                    <a:pt x="218" y="342"/>
                  </a:lnTo>
                  <a:lnTo>
                    <a:pt x="218" y="344"/>
                  </a:lnTo>
                  <a:lnTo>
                    <a:pt x="217" y="346"/>
                  </a:lnTo>
                  <a:lnTo>
                    <a:pt x="217" y="353"/>
                  </a:lnTo>
                  <a:lnTo>
                    <a:pt x="216" y="357"/>
                  </a:lnTo>
                  <a:lnTo>
                    <a:pt x="216" y="358"/>
                  </a:lnTo>
                  <a:lnTo>
                    <a:pt x="214" y="361"/>
                  </a:lnTo>
                  <a:lnTo>
                    <a:pt x="213" y="363"/>
                  </a:lnTo>
                  <a:lnTo>
                    <a:pt x="211" y="366"/>
                  </a:lnTo>
                  <a:lnTo>
                    <a:pt x="209" y="369"/>
                  </a:lnTo>
                  <a:lnTo>
                    <a:pt x="207" y="372"/>
                  </a:lnTo>
                  <a:lnTo>
                    <a:pt x="205" y="375"/>
                  </a:lnTo>
                  <a:lnTo>
                    <a:pt x="203" y="377"/>
                  </a:lnTo>
                  <a:lnTo>
                    <a:pt x="201" y="379"/>
                  </a:lnTo>
                  <a:lnTo>
                    <a:pt x="199" y="380"/>
                  </a:lnTo>
                  <a:lnTo>
                    <a:pt x="196" y="382"/>
                  </a:lnTo>
                  <a:lnTo>
                    <a:pt x="194" y="382"/>
                  </a:lnTo>
                  <a:lnTo>
                    <a:pt x="193" y="383"/>
                  </a:lnTo>
                  <a:lnTo>
                    <a:pt x="192" y="383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6" y="380"/>
                  </a:lnTo>
                  <a:lnTo>
                    <a:pt x="179" y="375"/>
                  </a:lnTo>
                  <a:lnTo>
                    <a:pt x="176" y="372"/>
                  </a:lnTo>
                  <a:lnTo>
                    <a:pt x="173" y="370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67" y="368"/>
                  </a:lnTo>
                  <a:lnTo>
                    <a:pt x="164" y="367"/>
                  </a:lnTo>
                  <a:lnTo>
                    <a:pt x="161" y="367"/>
                  </a:lnTo>
                  <a:lnTo>
                    <a:pt x="159" y="366"/>
                  </a:lnTo>
                  <a:lnTo>
                    <a:pt x="154" y="366"/>
                  </a:lnTo>
                  <a:lnTo>
                    <a:pt x="148" y="365"/>
                  </a:lnTo>
                  <a:lnTo>
                    <a:pt x="145" y="364"/>
                  </a:lnTo>
                  <a:lnTo>
                    <a:pt x="138" y="361"/>
                  </a:lnTo>
                  <a:lnTo>
                    <a:pt x="135" y="360"/>
                  </a:lnTo>
                  <a:lnTo>
                    <a:pt x="132" y="360"/>
                  </a:lnTo>
                  <a:lnTo>
                    <a:pt x="128" y="359"/>
                  </a:lnTo>
                  <a:lnTo>
                    <a:pt x="122" y="359"/>
                  </a:lnTo>
                  <a:lnTo>
                    <a:pt x="120" y="358"/>
                  </a:lnTo>
                  <a:lnTo>
                    <a:pt x="119" y="358"/>
                  </a:lnTo>
                  <a:lnTo>
                    <a:pt x="118" y="357"/>
                  </a:lnTo>
                  <a:lnTo>
                    <a:pt x="117" y="357"/>
                  </a:lnTo>
                  <a:lnTo>
                    <a:pt x="116" y="356"/>
                  </a:lnTo>
                  <a:lnTo>
                    <a:pt x="115" y="354"/>
                  </a:lnTo>
                  <a:lnTo>
                    <a:pt x="114" y="352"/>
                  </a:lnTo>
                  <a:lnTo>
                    <a:pt x="114" y="349"/>
                  </a:lnTo>
                  <a:lnTo>
                    <a:pt x="113" y="342"/>
                  </a:lnTo>
                  <a:lnTo>
                    <a:pt x="113" y="339"/>
                  </a:lnTo>
                  <a:lnTo>
                    <a:pt x="113" y="338"/>
                  </a:lnTo>
                  <a:lnTo>
                    <a:pt x="112" y="336"/>
                  </a:lnTo>
                  <a:lnTo>
                    <a:pt x="110" y="335"/>
                  </a:lnTo>
                  <a:lnTo>
                    <a:pt x="109" y="334"/>
                  </a:lnTo>
                  <a:lnTo>
                    <a:pt x="108" y="333"/>
                  </a:lnTo>
                  <a:lnTo>
                    <a:pt x="107" y="332"/>
                  </a:lnTo>
                  <a:lnTo>
                    <a:pt x="105" y="332"/>
                  </a:lnTo>
                  <a:lnTo>
                    <a:pt x="103" y="332"/>
                  </a:lnTo>
                  <a:lnTo>
                    <a:pt x="103" y="332"/>
                  </a:lnTo>
                  <a:lnTo>
                    <a:pt x="101" y="333"/>
                  </a:lnTo>
                  <a:lnTo>
                    <a:pt x="99" y="334"/>
                  </a:lnTo>
                  <a:lnTo>
                    <a:pt x="98" y="335"/>
                  </a:lnTo>
                  <a:lnTo>
                    <a:pt x="97" y="335"/>
                  </a:lnTo>
                  <a:lnTo>
                    <a:pt x="96" y="336"/>
                  </a:lnTo>
                  <a:lnTo>
                    <a:pt x="95" y="337"/>
                  </a:lnTo>
                  <a:lnTo>
                    <a:pt x="92" y="340"/>
                  </a:lnTo>
                  <a:lnTo>
                    <a:pt x="87" y="350"/>
                  </a:lnTo>
                  <a:lnTo>
                    <a:pt x="85" y="354"/>
                  </a:lnTo>
                  <a:lnTo>
                    <a:pt x="84" y="356"/>
                  </a:lnTo>
                  <a:lnTo>
                    <a:pt x="83" y="359"/>
                  </a:lnTo>
                  <a:lnTo>
                    <a:pt x="83" y="362"/>
                  </a:lnTo>
                  <a:lnTo>
                    <a:pt x="83" y="365"/>
                  </a:lnTo>
                  <a:lnTo>
                    <a:pt x="83" y="369"/>
                  </a:lnTo>
                  <a:lnTo>
                    <a:pt x="84" y="371"/>
                  </a:lnTo>
                  <a:lnTo>
                    <a:pt x="85" y="375"/>
                  </a:lnTo>
                  <a:lnTo>
                    <a:pt x="86" y="379"/>
                  </a:lnTo>
                  <a:lnTo>
                    <a:pt x="87" y="382"/>
                  </a:lnTo>
                  <a:lnTo>
                    <a:pt x="90" y="388"/>
                  </a:lnTo>
                  <a:lnTo>
                    <a:pt x="92" y="394"/>
                  </a:lnTo>
                  <a:lnTo>
                    <a:pt x="93" y="396"/>
                  </a:lnTo>
                  <a:lnTo>
                    <a:pt x="93" y="398"/>
                  </a:lnTo>
                  <a:lnTo>
                    <a:pt x="94" y="402"/>
                  </a:lnTo>
                  <a:lnTo>
                    <a:pt x="94" y="403"/>
                  </a:lnTo>
                  <a:lnTo>
                    <a:pt x="94" y="404"/>
                  </a:lnTo>
                  <a:lnTo>
                    <a:pt x="94" y="405"/>
                  </a:lnTo>
                  <a:lnTo>
                    <a:pt x="93" y="406"/>
                  </a:lnTo>
                  <a:lnTo>
                    <a:pt x="92" y="408"/>
                  </a:lnTo>
                  <a:lnTo>
                    <a:pt x="92" y="410"/>
                  </a:lnTo>
                  <a:lnTo>
                    <a:pt x="91" y="412"/>
                  </a:lnTo>
                  <a:lnTo>
                    <a:pt x="85" y="417"/>
                  </a:lnTo>
                  <a:lnTo>
                    <a:pt x="82" y="419"/>
                  </a:lnTo>
                  <a:lnTo>
                    <a:pt x="79" y="422"/>
                  </a:lnTo>
                  <a:lnTo>
                    <a:pt x="75" y="425"/>
                  </a:lnTo>
                  <a:lnTo>
                    <a:pt x="73" y="426"/>
                  </a:lnTo>
                  <a:lnTo>
                    <a:pt x="72" y="428"/>
                  </a:lnTo>
                  <a:lnTo>
                    <a:pt x="70" y="430"/>
                  </a:lnTo>
                  <a:lnTo>
                    <a:pt x="69" y="431"/>
                  </a:lnTo>
                  <a:lnTo>
                    <a:pt x="65" y="438"/>
                  </a:lnTo>
                  <a:lnTo>
                    <a:pt x="63" y="441"/>
                  </a:lnTo>
                  <a:lnTo>
                    <a:pt x="59" y="446"/>
                  </a:lnTo>
                  <a:lnTo>
                    <a:pt x="57" y="449"/>
                  </a:lnTo>
                  <a:lnTo>
                    <a:pt x="55" y="451"/>
                  </a:lnTo>
                  <a:lnTo>
                    <a:pt x="53" y="454"/>
                  </a:lnTo>
                  <a:lnTo>
                    <a:pt x="50" y="456"/>
                  </a:lnTo>
                  <a:lnTo>
                    <a:pt x="48" y="458"/>
                  </a:lnTo>
                  <a:lnTo>
                    <a:pt x="46" y="459"/>
                  </a:lnTo>
                  <a:lnTo>
                    <a:pt x="46" y="459"/>
                  </a:lnTo>
                  <a:lnTo>
                    <a:pt x="44" y="460"/>
                  </a:lnTo>
                  <a:lnTo>
                    <a:pt x="42" y="461"/>
                  </a:lnTo>
                  <a:lnTo>
                    <a:pt x="39" y="462"/>
                  </a:lnTo>
                  <a:lnTo>
                    <a:pt x="37" y="462"/>
                  </a:lnTo>
                  <a:lnTo>
                    <a:pt x="35" y="462"/>
                  </a:lnTo>
                  <a:lnTo>
                    <a:pt x="34" y="463"/>
                  </a:lnTo>
                  <a:lnTo>
                    <a:pt x="32" y="463"/>
                  </a:lnTo>
                  <a:lnTo>
                    <a:pt x="31" y="463"/>
                  </a:lnTo>
                  <a:lnTo>
                    <a:pt x="29" y="462"/>
                  </a:lnTo>
                  <a:lnTo>
                    <a:pt x="27" y="462"/>
                  </a:lnTo>
                  <a:lnTo>
                    <a:pt x="25" y="461"/>
                  </a:lnTo>
                  <a:lnTo>
                    <a:pt x="23" y="460"/>
                  </a:lnTo>
                  <a:lnTo>
                    <a:pt x="23" y="460"/>
                  </a:lnTo>
                  <a:lnTo>
                    <a:pt x="23" y="459"/>
                  </a:lnTo>
                  <a:lnTo>
                    <a:pt x="23" y="459"/>
                  </a:lnTo>
                  <a:lnTo>
                    <a:pt x="23" y="458"/>
                  </a:lnTo>
                  <a:lnTo>
                    <a:pt x="23" y="457"/>
                  </a:lnTo>
                  <a:lnTo>
                    <a:pt x="22" y="453"/>
                  </a:lnTo>
                  <a:lnTo>
                    <a:pt x="20" y="449"/>
                  </a:lnTo>
                  <a:lnTo>
                    <a:pt x="18" y="445"/>
                  </a:lnTo>
                  <a:lnTo>
                    <a:pt x="13" y="437"/>
                  </a:lnTo>
                  <a:lnTo>
                    <a:pt x="12" y="435"/>
                  </a:lnTo>
                  <a:lnTo>
                    <a:pt x="9" y="427"/>
                  </a:lnTo>
                  <a:lnTo>
                    <a:pt x="6" y="422"/>
                  </a:lnTo>
                  <a:lnTo>
                    <a:pt x="5" y="420"/>
                  </a:lnTo>
                  <a:lnTo>
                    <a:pt x="4" y="418"/>
                  </a:lnTo>
                  <a:lnTo>
                    <a:pt x="4" y="416"/>
                  </a:lnTo>
                  <a:lnTo>
                    <a:pt x="4" y="414"/>
                  </a:lnTo>
                  <a:lnTo>
                    <a:pt x="4" y="403"/>
                  </a:lnTo>
                  <a:lnTo>
                    <a:pt x="5" y="399"/>
                  </a:lnTo>
                  <a:lnTo>
                    <a:pt x="6" y="391"/>
                  </a:lnTo>
                  <a:lnTo>
                    <a:pt x="6" y="388"/>
                  </a:lnTo>
                  <a:lnTo>
                    <a:pt x="6" y="385"/>
                  </a:lnTo>
                  <a:lnTo>
                    <a:pt x="6" y="382"/>
                  </a:lnTo>
                  <a:lnTo>
                    <a:pt x="4" y="373"/>
                  </a:lnTo>
                  <a:lnTo>
                    <a:pt x="2" y="365"/>
                  </a:lnTo>
                  <a:lnTo>
                    <a:pt x="1" y="362"/>
                  </a:lnTo>
                  <a:lnTo>
                    <a:pt x="0" y="346"/>
                  </a:lnTo>
                  <a:lnTo>
                    <a:pt x="0" y="344"/>
                  </a:lnTo>
                  <a:lnTo>
                    <a:pt x="0" y="342"/>
                  </a:lnTo>
                  <a:lnTo>
                    <a:pt x="1" y="340"/>
                  </a:lnTo>
                  <a:lnTo>
                    <a:pt x="1" y="338"/>
                  </a:lnTo>
                  <a:lnTo>
                    <a:pt x="1" y="337"/>
                  </a:lnTo>
                  <a:lnTo>
                    <a:pt x="2" y="336"/>
                  </a:lnTo>
                  <a:lnTo>
                    <a:pt x="4" y="335"/>
                  </a:lnTo>
                  <a:lnTo>
                    <a:pt x="10" y="332"/>
                  </a:lnTo>
                  <a:lnTo>
                    <a:pt x="12" y="330"/>
                  </a:lnTo>
                  <a:lnTo>
                    <a:pt x="13" y="329"/>
                  </a:lnTo>
                  <a:lnTo>
                    <a:pt x="14" y="328"/>
                  </a:lnTo>
                  <a:lnTo>
                    <a:pt x="15" y="326"/>
                  </a:lnTo>
                  <a:lnTo>
                    <a:pt x="17" y="323"/>
                  </a:lnTo>
                  <a:lnTo>
                    <a:pt x="18" y="321"/>
                  </a:lnTo>
                  <a:lnTo>
                    <a:pt x="19" y="318"/>
                  </a:lnTo>
                  <a:lnTo>
                    <a:pt x="19" y="317"/>
                  </a:lnTo>
                  <a:lnTo>
                    <a:pt x="19" y="315"/>
                  </a:lnTo>
                  <a:lnTo>
                    <a:pt x="19" y="314"/>
                  </a:lnTo>
                  <a:lnTo>
                    <a:pt x="18" y="312"/>
                  </a:lnTo>
                  <a:lnTo>
                    <a:pt x="18" y="311"/>
                  </a:lnTo>
                  <a:lnTo>
                    <a:pt x="15" y="305"/>
                  </a:lnTo>
                  <a:lnTo>
                    <a:pt x="14" y="302"/>
                  </a:lnTo>
                  <a:lnTo>
                    <a:pt x="14" y="301"/>
                  </a:lnTo>
                  <a:lnTo>
                    <a:pt x="14" y="300"/>
                  </a:lnTo>
                  <a:lnTo>
                    <a:pt x="14" y="299"/>
                  </a:lnTo>
                  <a:lnTo>
                    <a:pt x="14" y="298"/>
                  </a:lnTo>
                  <a:lnTo>
                    <a:pt x="15" y="297"/>
                  </a:lnTo>
                  <a:lnTo>
                    <a:pt x="16" y="296"/>
                  </a:lnTo>
                  <a:lnTo>
                    <a:pt x="17" y="295"/>
                  </a:lnTo>
                  <a:lnTo>
                    <a:pt x="18" y="294"/>
                  </a:lnTo>
                  <a:lnTo>
                    <a:pt x="22" y="293"/>
                  </a:lnTo>
                  <a:lnTo>
                    <a:pt x="28" y="290"/>
                  </a:lnTo>
                  <a:lnTo>
                    <a:pt x="29" y="289"/>
                  </a:lnTo>
                  <a:lnTo>
                    <a:pt x="30" y="289"/>
                  </a:lnTo>
                  <a:lnTo>
                    <a:pt x="30" y="289"/>
                  </a:lnTo>
                  <a:lnTo>
                    <a:pt x="31" y="289"/>
                  </a:lnTo>
                  <a:lnTo>
                    <a:pt x="33" y="288"/>
                  </a:lnTo>
                  <a:lnTo>
                    <a:pt x="35" y="288"/>
                  </a:lnTo>
                  <a:lnTo>
                    <a:pt x="36" y="288"/>
                  </a:lnTo>
                  <a:lnTo>
                    <a:pt x="38" y="287"/>
                  </a:lnTo>
                  <a:lnTo>
                    <a:pt x="41" y="288"/>
                  </a:lnTo>
                  <a:lnTo>
                    <a:pt x="43" y="288"/>
                  </a:lnTo>
                  <a:lnTo>
                    <a:pt x="46" y="289"/>
                  </a:lnTo>
                  <a:lnTo>
                    <a:pt x="48" y="289"/>
                  </a:lnTo>
                  <a:lnTo>
                    <a:pt x="58" y="293"/>
                  </a:lnTo>
                  <a:lnTo>
                    <a:pt x="64" y="295"/>
                  </a:lnTo>
                  <a:lnTo>
                    <a:pt x="69" y="297"/>
                  </a:lnTo>
                  <a:lnTo>
                    <a:pt x="69" y="298"/>
                  </a:lnTo>
                  <a:lnTo>
                    <a:pt x="70" y="298"/>
                  </a:lnTo>
                  <a:lnTo>
                    <a:pt x="71" y="297"/>
                  </a:lnTo>
                  <a:lnTo>
                    <a:pt x="72" y="296"/>
                  </a:lnTo>
                  <a:lnTo>
                    <a:pt x="73" y="295"/>
                  </a:lnTo>
                  <a:lnTo>
                    <a:pt x="74" y="294"/>
                  </a:lnTo>
                  <a:lnTo>
                    <a:pt x="75" y="292"/>
                  </a:lnTo>
                  <a:lnTo>
                    <a:pt x="75" y="291"/>
                  </a:lnTo>
                  <a:lnTo>
                    <a:pt x="76" y="289"/>
                  </a:lnTo>
                  <a:lnTo>
                    <a:pt x="76" y="289"/>
                  </a:lnTo>
                  <a:lnTo>
                    <a:pt x="76" y="287"/>
                  </a:lnTo>
                  <a:lnTo>
                    <a:pt x="76" y="285"/>
                  </a:lnTo>
                  <a:lnTo>
                    <a:pt x="75" y="283"/>
                  </a:lnTo>
                  <a:lnTo>
                    <a:pt x="74" y="280"/>
                  </a:lnTo>
                  <a:lnTo>
                    <a:pt x="73" y="278"/>
                  </a:lnTo>
                  <a:lnTo>
                    <a:pt x="72" y="276"/>
                  </a:lnTo>
                  <a:lnTo>
                    <a:pt x="69" y="270"/>
                  </a:lnTo>
                  <a:lnTo>
                    <a:pt x="64" y="262"/>
                  </a:lnTo>
                  <a:lnTo>
                    <a:pt x="63" y="260"/>
                  </a:lnTo>
                  <a:lnTo>
                    <a:pt x="62" y="257"/>
                  </a:lnTo>
                  <a:lnTo>
                    <a:pt x="62" y="255"/>
                  </a:lnTo>
                  <a:lnTo>
                    <a:pt x="61" y="253"/>
                  </a:lnTo>
                  <a:lnTo>
                    <a:pt x="61" y="251"/>
                  </a:lnTo>
                  <a:lnTo>
                    <a:pt x="62" y="249"/>
                  </a:lnTo>
                  <a:lnTo>
                    <a:pt x="62" y="247"/>
                  </a:lnTo>
                  <a:lnTo>
                    <a:pt x="63" y="246"/>
                  </a:lnTo>
                  <a:lnTo>
                    <a:pt x="64" y="244"/>
                  </a:lnTo>
                  <a:lnTo>
                    <a:pt x="65" y="244"/>
                  </a:lnTo>
                  <a:lnTo>
                    <a:pt x="66" y="242"/>
                  </a:lnTo>
                  <a:lnTo>
                    <a:pt x="69" y="238"/>
                  </a:lnTo>
                  <a:lnTo>
                    <a:pt x="73" y="235"/>
                  </a:lnTo>
                  <a:lnTo>
                    <a:pt x="80" y="231"/>
                  </a:lnTo>
                  <a:lnTo>
                    <a:pt x="84" y="228"/>
                  </a:lnTo>
                  <a:lnTo>
                    <a:pt x="88" y="225"/>
                  </a:lnTo>
                  <a:lnTo>
                    <a:pt x="90" y="222"/>
                  </a:lnTo>
                  <a:lnTo>
                    <a:pt x="92" y="221"/>
                  </a:lnTo>
                  <a:lnTo>
                    <a:pt x="93" y="218"/>
                  </a:lnTo>
                  <a:lnTo>
                    <a:pt x="94" y="215"/>
                  </a:lnTo>
                  <a:lnTo>
                    <a:pt x="97" y="208"/>
                  </a:lnTo>
                  <a:lnTo>
                    <a:pt x="98" y="206"/>
                  </a:lnTo>
                  <a:lnTo>
                    <a:pt x="99" y="205"/>
                  </a:lnTo>
                  <a:lnTo>
                    <a:pt x="99" y="204"/>
                  </a:lnTo>
                  <a:lnTo>
                    <a:pt x="100" y="203"/>
                  </a:lnTo>
                  <a:lnTo>
                    <a:pt x="101" y="203"/>
                  </a:lnTo>
                  <a:lnTo>
                    <a:pt x="103" y="202"/>
                  </a:lnTo>
                  <a:lnTo>
                    <a:pt x="104" y="201"/>
                  </a:lnTo>
                  <a:lnTo>
                    <a:pt x="106" y="201"/>
                  </a:lnTo>
                  <a:lnTo>
                    <a:pt x="111" y="200"/>
                  </a:lnTo>
                  <a:lnTo>
                    <a:pt x="113" y="200"/>
                  </a:lnTo>
                  <a:lnTo>
                    <a:pt x="114" y="199"/>
                  </a:lnTo>
                  <a:lnTo>
                    <a:pt x="118" y="199"/>
                  </a:lnTo>
                  <a:lnTo>
                    <a:pt x="126" y="196"/>
                  </a:lnTo>
                  <a:lnTo>
                    <a:pt x="128" y="195"/>
                  </a:lnTo>
                  <a:lnTo>
                    <a:pt x="133" y="194"/>
                  </a:lnTo>
                  <a:lnTo>
                    <a:pt x="137" y="193"/>
                  </a:lnTo>
                  <a:lnTo>
                    <a:pt x="140" y="192"/>
                  </a:lnTo>
                  <a:lnTo>
                    <a:pt x="145" y="192"/>
                  </a:lnTo>
                  <a:lnTo>
                    <a:pt x="148" y="192"/>
                  </a:lnTo>
                  <a:lnTo>
                    <a:pt x="154" y="193"/>
                  </a:lnTo>
                  <a:lnTo>
                    <a:pt x="155" y="193"/>
                  </a:lnTo>
                  <a:lnTo>
                    <a:pt x="157" y="193"/>
                  </a:lnTo>
                  <a:lnTo>
                    <a:pt x="159" y="193"/>
                  </a:lnTo>
                  <a:lnTo>
                    <a:pt x="160" y="192"/>
                  </a:lnTo>
                  <a:lnTo>
                    <a:pt x="161" y="192"/>
                  </a:lnTo>
                  <a:lnTo>
                    <a:pt x="163" y="191"/>
                  </a:lnTo>
                  <a:lnTo>
                    <a:pt x="165" y="189"/>
                  </a:lnTo>
                  <a:lnTo>
                    <a:pt x="166" y="187"/>
                  </a:lnTo>
                  <a:lnTo>
                    <a:pt x="167" y="187"/>
                  </a:lnTo>
                  <a:lnTo>
                    <a:pt x="168" y="184"/>
                  </a:lnTo>
                  <a:lnTo>
                    <a:pt x="169" y="182"/>
                  </a:lnTo>
                  <a:lnTo>
                    <a:pt x="169" y="179"/>
                  </a:lnTo>
                  <a:lnTo>
                    <a:pt x="169" y="176"/>
                  </a:lnTo>
                  <a:lnTo>
                    <a:pt x="168" y="165"/>
                  </a:lnTo>
                  <a:lnTo>
                    <a:pt x="168" y="164"/>
                  </a:lnTo>
                  <a:lnTo>
                    <a:pt x="168" y="161"/>
                  </a:lnTo>
                  <a:lnTo>
                    <a:pt x="169" y="158"/>
                  </a:lnTo>
                  <a:lnTo>
                    <a:pt x="170" y="156"/>
                  </a:lnTo>
                  <a:lnTo>
                    <a:pt x="171" y="153"/>
                  </a:lnTo>
                  <a:lnTo>
                    <a:pt x="171" y="152"/>
                  </a:lnTo>
                  <a:lnTo>
                    <a:pt x="172" y="151"/>
                  </a:lnTo>
                  <a:lnTo>
                    <a:pt x="173" y="149"/>
                  </a:lnTo>
                  <a:lnTo>
                    <a:pt x="175" y="148"/>
                  </a:lnTo>
                  <a:lnTo>
                    <a:pt x="176" y="146"/>
                  </a:lnTo>
                  <a:lnTo>
                    <a:pt x="177" y="146"/>
                  </a:lnTo>
                  <a:lnTo>
                    <a:pt x="179" y="145"/>
                  </a:lnTo>
                  <a:lnTo>
                    <a:pt x="180" y="144"/>
                  </a:lnTo>
                  <a:lnTo>
                    <a:pt x="183" y="143"/>
                  </a:lnTo>
                  <a:lnTo>
                    <a:pt x="186" y="143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202" y="139"/>
                  </a:lnTo>
                  <a:lnTo>
                    <a:pt x="203" y="138"/>
                  </a:lnTo>
                  <a:lnTo>
                    <a:pt x="204" y="138"/>
                  </a:lnTo>
                  <a:lnTo>
                    <a:pt x="205" y="138"/>
                  </a:lnTo>
                  <a:lnTo>
                    <a:pt x="205" y="139"/>
                  </a:lnTo>
                  <a:lnTo>
                    <a:pt x="206" y="142"/>
                  </a:lnTo>
                  <a:lnTo>
                    <a:pt x="206" y="143"/>
                  </a:lnTo>
                  <a:lnTo>
                    <a:pt x="208" y="144"/>
                  </a:lnTo>
                  <a:lnTo>
                    <a:pt x="209" y="145"/>
                  </a:lnTo>
                  <a:lnTo>
                    <a:pt x="211" y="147"/>
                  </a:lnTo>
                  <a:lnTo>
                    <a:pt x="213" y="148"/>
                  </a:lnTo>
                  <a:lnTo>
                    <a:pt x="215" y="149"/>
                  </a:lnTo>
                  <a:lnTo>
                    <a:pt x="217" y="151"/>
                  </a:lnTo>
                  <a:lnTo>
                    <a:pt x="219" y="152"/>
                  </a:lnTo>
                  <a:lnTo>
                    <a:pt x="224" y="153"/>
                  </a:lnTo>
                  <a:lnTo>
                    <a:pt x="227" y="154"/>
                  </a:lnTo>
                  <a:lnTo>
                    <a:pt x="228" y="154"/>
                  </a:lnTo>
                  <a:lnTo>
                    <a:pt x="230" y="154"/>
                  </a:lnTo>
                  <a:lnTo>
                    <a:pt x="232" y="154"/>
                  </a:lnTo>
                  <a:lnTo>
                    <a:pt x="234" y="154"/>
                  </a:lnTo>
                  <a:lnTo>
                    <a:pt x="236" y="153"/>
                  </a:lnTo>
                  <a:lnTo>
                    <a:pt x="238" y="153"/>
                  </a:lnTo>
                  <a:lnTo>
                    <a:pt x="239" y="153"/>
                  </a:lnTo>
                  <a:lnTo>
                    <a:pt x="240" y="152"/>
                  </a:lnTo>
                  <a:lnTo>
                    <a:pt x="244" y="151"/>
                  </a:lnTo>
                  <a:lnTo>
                    <a:pt x="251" y="146"/>
                  </a:lnTo>
                  <a:lnTo>
                    <a:pt x="254" y="144"/>
                  </a:lnTo>
                  <a:lnTo>
                    <a:pt x="258" y="142"/>
                  </a:lnTo>
                  <a:lnTo>
                    <a:pt x="261" y="141"/>
                  </a:lnTo>
                  <a:lnTo>
                    <a:pt x="265" y="139"/>
                  </a:lnTo>
                  <a:lnTo>
                    <a:pt x="272" y="138"/>
                  </a:lnTo>
                  <a:lnTo>
                    <a:pt x="276" y="136"/>
                  </a:lnTo>
                  <a:lnTo>
                    <a:pt x="278" y="135"/>
                  </a:lnTo>
                  <a:lnTo>
                    <a:pt x="285" y="133"/>
                  </a:lnTo>
                  <a:lnTo>
                    <a:pt x="287" y="132"/>
                  </a:lnTo>
                  <a:lnTo>
                    <a:pt x="288" y="132"/>
                  </a:lnTo>
                  <a:lnTo>
                    <a:pt x="290" y="131"/>
                  </a:lnTo>
                  <a:lnTo>
                    <a:pt x="291" y="130"/>
                  </a:lnTo>
                  <a:lnTo>
                    <a:pt x="291" y="129"/>
                  </a:lnTo>
                  <a:lnTo>
                    <a:pt x="293" y="125"/>
                  </a:lnTo>
                  <a:lnTo>
                    <a:pt x="293" y="124"/>
                  </a:lnTo>
                  <a:lnTo>
                    <a:pt x="294" y="124"/>
                  </a:lnTo>
                  <a:lnTo>
                    <a:pt x="295" y="125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7" y="126"/>
                  </a:lnTo>
                  <a:lnTo>
                    <a:pt x="297" y="125"/>
                  </a:lnTo>
                  <a:lnTo>
                    <a:pt x="297" y="124"/>
                  </a:lnTo>
                  <a:lnTo>
                    <a:pt x="298" y="121"/>
                  </a:lnTo>
                  <a:lnTo>
                    <a:pt x="298" y="119"/>
                  </a:lnTo>
                  <a:lnTo>
                    <a:pt x="298" y="118"/>
                  </a:lnTo>
                  <a:lnTo>
                    <a:pt x="298" y="116"/>
                  </a:lnTo>
                  <a:lnTo>
                    <a:pt x="298" y="114"/>
                  </a:lnTo>
                  <a:lnTo>
                    <a:pt x="298" y="112"/>
                  </a:lnTo>
                  <a:lnTo>
                    <a:pt x="297" y="109"/>
                  </a:lnTo>
                  <a:lnTo>
                    <a:pt x="295" y="104"/>
                  </a:lnTo>
                  <a:lnTo>
                    <a:pt x="290" y="91"/>
                  </a:lnTo>
                  <a:lnTo>
                    <a:pt x="287" y="83"/>
                  </a:lnTo>
                  <a:lnTo>
                    <a:pt x="285" y="81"/>
                  </a:lnTo>
                  <a:lnTo>
                    <a:pt x="284" y="76"/>
                  </a:lnTo>
                  <a:lnTo>
                    <a:pt x="283" y="74"/>
                  </a:lnTo>
                  <a:lnTo>
                    <a:pt x="282" y="73"/>
                  </a:lnTo>
                  <a:lnTo>
                    <a:pt x="282" y="72"/>
                  </a:lnTo>
                  <a:lnTo>
                    <a:pt x="282" y="70"/>
                  </a:lnTo>
                  <a:lnTo>
                    <a:pt x="283" y="68"/>
                  </a:lnTo>
                  <a:lnTo>
                    <a:pt x="283" y="67"/>
                  </a:lnTo>
                  <a:lnTo>
                    <a:pt x="284" y="66"/>
                  </a:lnTo>
                  <a:lnTo>
                    <a:pt x="285" y="64"/>
                  </a:lnTo>
                  <a:lnTo>
                    <a:pt x="285" y="63"/>
                  </a:lnTo>
                  <a:lnTo>
                    <a:pt x="287" y="63"/>
                  </a:lnTo>
                  <a:lnTo>
                    <a:pt x="291" y="61"/>
                  </a:lnTo>
                  <a:lnTo>
                    <a:pt x="292" y="60"/>
                  </a:lnTo>
                  <a:lnTo>
                    <a:pt x="294" y="58"/>
                  </a:lnTo>
                  <a:lnTo>
                    <a:pt x="295" y="57"/>
                  </a:lnTo>
                  <a:lnTo>
                    <a:pt x="296" y="55"/>
                  </a:lnTo>
                  <a:lnTo>
                    <a:pt x="299" y="48"/>
                  </a:lnTo>
                  <a:lnTo>
                    <a:pt x="302" y="44"/>
                  </a:lnTo>
                  <a:lnTo>
                    <a:pt x="304" y="40"/>
                  </a:lnTo>
                  <a:lnTo>
                    <a:pt x="308" y="35"/>
                  </a:lnTo>
                  <a:lnTo>
                    <a:pt x="312" y="29"/>
                  </a:lnTo>
                  <a:lnTo>
                    <a:pt x="319" y="20"/>
                  </a:lnTo>
                  <a:lnTo>
                    <a:pt x="327" y="12"/>
                  </a:lnTo>
                  <a:lnTo>
                    <a:pt x="330" y="9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6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0" name="Freeform 73">
              <a:extLst>
                <a:ext uri="{FF2B5EF4-FFF2-40B4-BE49-F238E27FC236}">
                  <a16:creationId xmlns:a16="http://schemas.microsoft.com/office/drawing/2014/main" id="{AD27A7F1-181E-4C8F-B3BA-BA91B1A02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1920"/>
              <a:ext cx="385" cy="637"/>
            </a:xfrm>
            <a:custGeom>
              <a:avLst/>
              <a:gdLst>
                <a:gd name="T0" fmla="*/ 206 w 385"/>
                <a:gd name="T1" fmla="*/ 30 h 637"/>
                <a:gd name="T2" fmla="*/ 227 w 385"/>
                <a:gd name="T3" fmla="*/ 62 h 637"/>
                <a:gd name="T4" fmla="*/ 248 w 385"/>
                <a:gd name="T5" fmla="*/ 91 h 637"/>
                <a:gd name="T6" fmla="*/ 288 w 385"/>
                <a:gd name="T7" fmla="*/ 97 h 637"/>
                <a:gd name="T8" fmla="*/ 308 w 385"/>
                <a:gd name="T9" fmla="*/ 108 h 637"/>
                <a:gd name="T10" fmla="*/ 331 w 385"/>
                <a:gd name="T11" fmla="*/ 138 h 637"/>
                <a:gd name="T12" fmla="*/ 372 w 385"/>
                <a:gd name="T13" fmla="*/ 160 h 637"/>
                <a:gd name="T14" fmla="*/ 384 w 385"/>
                <a:gd name="T15" fmla="*/ 187 h 637"/>
                <a:gd name="T16" fmla="*/ 383 w 385"/>
                <a:gd name="T17" fmla="*/ 212 h 637"/>
                <a:gd name="T18" fmla="*/ 357 w 385"/>
                <a:gd name="T19" fmla="*/ 246 h 637"/>
                <a:gd name="T20" fmla="*/ 342 w 385"/>
                <a:gd name="T21" fmla="*/ 276 h 637"/>
                <a:gd name="T22" fmla="*/ 342 w 385"/>
                <a:gd name="T23" fmla="*/ 309 h 637"/>
                <a:gd name="T24" fmla="*/ 363 w 385"/>
                <a:gd name="T25" fmla="*/ 335 h 637"/>
                <a:gd name="T26" fmla="*/ 361 w 385"/>
                <a:gd name="T27" fmla="*/ 354 h 637"/>
                <a:gd name="T28" fmla="*/ 343 w 385"/>
                <a:gd name="T29" fmla="*/ 379 h 637"/>
                <a:gd name="T30" fmla="*/ 341 w 385"/>
                <a:gd name="T31" fmla="*/ 403 h 637"/>
                <a:gd name="T32" fmla="*/ 328 w 385"/>
                <a:gd name="T33" fmla="*/ 427 h 637"/>
                <a:gd name="T34" fmla="*/ 319 w 385"/>
                <a:gd name="T35" fmla="*/ 439 h 637"/>
                <a:gd name="T36" fmla="*/ 304 w 385"/>
                <a:gd name="T37" fmla="*/ 459 h 637"/>
                <a:gd name="T38" fmla="*/ 288 w 385"/>
                <a:gd name="T39" fmla="*/ 452 h 637"/>
                <a:gd name="T40" fmla="*/ 269 w 385"/>
                <a:gd name="T41" fmla="*/ 448 h 637"/>
                <a:gd name="T42" fmla="*/ 259 w 385"/>
                <a:gd name="T43" fmla="*/ 458 h 637"/>
                <a:gd name="T44" fmla="*/ 246 w 385"/>
                <a:gd name="T45" fmla="*/ 491 h 637"/>
                <a:gd name="T46" fmla="*/ 239 w 385"/>
                <a:gd name="T47" fmla="*/ 515 h 637"/>
                <a:gd name="T48" fmla="*/ 229 w 385"/>
                <a:gd name="T49" fmla="*/ 538 h 637"/>
                <a:gd name="T50" fmla="*/ 214 w 385"/>
                <a:gd name="T51" fmla="*/ 570 h 637"/>
                <a:gd name="T52" fmla="*/ 213 w 385"/>
                <a:gd name="T53" fmla="*/ 595 h 637"/>
                <a:gd name="T54" fmla="*/ 194 w 385"/>
                <a:gd name="T55" fmla="*/ 616 h 637"/>
                <a:gd name="T56" fmla="*/ 180 w 385"/>
                <a:gd name="T57" fmla="*/ 620 h 637"/>
                <a:gd name="T58" fmla="*/ 160 w 385"/>
                <a:gd name="T59" fmla="*/ 614 h 637"/>
                <a:gd name="T60" fmla="*/ 122 w 385"/>
                <a:gd name="T61" fmla="*/ 624 h 637"/>
                <a:gd name="T62" fmla="*/ 100 w 385"/>
                <a:gd name="T63" fmla="*/ 637 h 637"/>
                <a:gd name="T64" fmla="*/ 100 w 385"/>
                <a:gd name="T65" fmla="*/ 631 h 637"/>
                <a:gd name="T66" fmla="*/ 86 w 385"/>
                <a:gd name="T67" fmla="*/ 615 h 637"/>
                <a:gd name="T68" fmla="*/ 68 w 385"/>
                <a:gd name="T69" fmla="*/ 609 h 637"/>
                <a:gd name="T70" fmla="*/ 69 w 385"/>
                <a:gd name="T71" fmla="*/ 595 h 637"/>
                <a:gd name="T72" fmla="*/ 65 w 385"/>
                <a:gd name="T73" fmla="*/ 568 h 637"/>
                <a:gd name="T74" fmla="*/ 49 w 385"/>
                <a:gd name="T75" fmla="*/ 546 h 637"/>
                <a:gd name="T76" fmla="*/ 30 w 385"/>
                <a:gd name="T77" fmla="*/ 509 h 637"/>
                <a:gd name="T78" fmla="*/ 18 w 385"/>
                <a:gd name="T79" fmla="*/ 485 h 637"/>
                <a:gd name="T80" fmla="*/ 18 w 385"/>
                <a:gd name="T81" fmla="*/ 459 h 637"/>
                <a:gd name="T82" fmla="*/ 31 w 385"/>
                <a:gd name="T83" fmla="*/ 440 h 637"/>
                <a:gd name="T84" fmla="*/ 29 w 385"/>
                <a:gd name="T85" fmla="*/ 414 h 637"/>
                <a:gd name="T86" fmla="*/ 13 w 385"/>
                <a:gd name="T87" fmla="*/ 355 h 637"/>
                <a:gd name="T88" fmla="*/ 0 w 385"/>
                <a:gd name="T89" fmla="*/ 305 h 637"/>
                <a:gd name="T90" fmla="*/ 3 w 385"/>
                <a:gd name="T91" fmla="*/ 295 h 637"/>
                <a:gd name="T92" fmla="*/ 23 w 385"/>
                <a:gd name="T93" fmla="*/ 289 h 637"/>
                <a:gd name="T94" fmla="*/ 44 w 385"/>
                <a:gd name="T95" fmla="*/ 267 h 637"/>
                <a:gd name="T96" fmla="*/ 65 w 385"/>
                <a:gd name="T97" fmla="*/ 243 h 637"/>
                <a:gd name="T98" fmla="*/ 64 w 385"/>
                <a:gd name="T99" fmla="*/ 211 h 637"/>
                <a:gd name="T100" fmla="*/ 69 w 385"/>
                <a:gd name="T101" fmla="*/ 188 h 637"/>
                <a:gd name="T102" fmla="*/ 68 w 385"/>
                <a:gd name="T103" fmla="*/ 161 h 637"/>
                <a:gd name="T104" fmla="*/ 91 w 385"/>
                <a:gd name="T105" fmla="*/ 103 h 637"/>
                <a:gd name="T106" fmla="*/ 103 w 385"/>
                <a:gd name="T107" fmla="*/ 63 h 637"/>
                <a:gd name="T108" fmla="*/ 105 w 385"/>
                <a:gd name="T109" fmla="*/ 55 h 637"/>
                <a:gd name="T110" fmla="*/ 116 w 385"/>
                <a:gd name="T111" fmla="*/ 47 h 637"/>
                <a:gd name="T112" fmla="*/ 130 w 385"/>
                <a:gd name="T113" fmla="*/ 27 h 637"/>
                <a:gd name="T114" fmla="*/ 159 w 385"/>
                <a:gd name="T115" fmla="*/ 24 h 637"/>
                <a:gd name="T116" fmla="*/ 176 w 385"/>
                <a:gd name="T117" fmla="*/ 18 h 637"/>
                <a:gd name="T118" fmla="*/ 184 w 385"/>
                <a:gd name="T119" fmla="*/ 2 h 637"/>
                <a:gd name="T120" fmla="*/ 192 w 385"/>
                <a:gd name="T121" fmla="*/ 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5" h="637">
                  <a:moveTo>
                    <a:pt x="199" y="18"/>
                  </a:moveTo>
                  <a:lnTo>
                    <a:pt x="200" y="20"/>
                  </a:lnTo>
                  <a:lnTo>
                    <a:pt x="202" y="27"/>
                  </a:lnTo>
                  <a:lnTo>
                    <a:pt x="203" y="29"/>
                  </a:lnTo>
                  <a:lnTo>
                    <a:pt x="204" y="29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7" y="30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6" y="27"/>
                  </a:lnTo>
                  <a:lnTo>
                    <a:pt x="217" y="29"/>
                  </a:lnTo>
                  <a:lnTo>
                    <a:pt x="224" y="47"/>
                  </a:lnTo>
                  <a:lnTo>
                    <a:pt x="225" y="52"/>
                  </a:lnTo>
                  <a:lnTo>
                    <a:pt x="227" y="62"/>
                  </a:lnTo>
                  <a:lnTo>
                    <a:pt x="228" y="64"/>
                  </a:lnTo>
                  <a:lnTo>
                    <a:pt x="228" y="66"/>
                  </a:lnTo>
                  <a:lnTo>
                    <a:pt x="230" y="69"/>
                  </a:lnTo>
                  <a:lnTo>
                    <a:pt x="234" y="74"/>
                  </a:lnTo>
                  <a:lnTo>
                    <a:pt x="242" y="84"/>
                  </a:lnTo>
                  <a:lnTo>
                    <a:pt x="246" y="89"/>
                  </a:lnTo>
                  <a:lnTo>
                    <a:pt x="247" y="90"/>
                  </a:lnTo>
                  <a:lnTo>
                    <a:pt x="248" y="91"/>
                  </a:lnTo>
                  <a:lnTo>
                    <a:pt x="250" y="92"/>
                  </a:lnTo>
                  <a:lnTo>
                    <a:pt x="251" y="93"/>
                  </a:lnTo>
                  <a:lnTo>
                    <a:pt x="254" y="94"/>
                  </a:lnTo>
                  <a:lnTo>
                    <a:pt x="258" y="95"/>
                  </a:lnTo>
                  <a:lnTo>
                    <a:pt x="262" y="96"/>
                  </a:lnTo>
                  <a:lnTo>
                    <a:pt x="263" y="96"/>
                  </a:lnTo>
                  <a:lnTo>
                    <a:pt x="285" y="96"/>
                  </a:lnTo>
                  <a:lnTo>
                    <a:pt x="288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6" y="98"/>
                  </a:lnTo>
                  <a:lnTo>
                    <a:pt x="298" y="99"/>
                  </a:lnTo>
                  <a:lnTo>
                    <a:pt x="301" y="101"/>
                  </a:lnTo>
                  <a:lnTo>
                    <a:pt x="304" y="103"/>
                  </a:lnTo>
                  <a:lnTo>
                    <a:pt x="307" y="106"/>
                  </a:lnTo>
                  <a:lnTo>
                    <a:pt x="308" y="108"/>
                  </a:lnTo>
                  <a:lnTo>
                    <a:pt x="310" y="109"/>
                  </a:lnTo>
                  <a:lnTo>
                    <a:pt x="312" y="113"/>
                  </a:lnTo>
                  <a:lnTo>
                    <a:pt x="320" y="124"/>
                  </a:lnTo>
                  <a:lnTo>
                    <a:pt x="324" y="129"/>
                  </a:lnTo>
                  <a:lnTo>
                    <a:pt x="326" y="131"/>
                  </a:lnTo>
                  <a:lnTo>
                    <a:pt x="328" y="133"/>
                  </a:lnTo>
                  <a:lnTo>
                    <a:pt x="330" y="136"/>
                  </a:lnTo>
                  <a:lnTo>
                    <a:pt x="331" y="138"/>
                  </a:lnTo>
                  <a:lnTo>
                    <a:pt x="333" y="139"/>
                  </a:lnTo>
                  <a:lnTo>
                    <a:pt x="337" y="142"/>
                  </a:lnTo>
                  <a:lnTo>
                    <a:pt x="345" y="147"/>
                  </a:lnTo>
                  <a:lnTo>
                    <a:pt x="351" y="151"/>
                  </a:lnTo>
                  <a:lnTo>
                    <a:pt x="356" y="154"/>
                  </a:lnTo>
                  <a:lnTo>
                    <a:pt x="362" y="156"/>
                  </a:lnTo>
                  <a:lnTo>
                    <a:pt x="367" y="158"/>
                  </a:lnTo>
                  <a:lnTo>
                    <a:pt x="372" y="160"/>
                  </a:lnTo>
                  <a:lnTo>
                    <a:pt x="376" y="161"/>
                  </a:lnTo>
                  <a:lnTo>
                    <a:pt x="378" y="164"/>
                  </a:lnTo>
                  <a:lnTo>
                    <a:pt x="379" y="166"/>
                  </a:lnTo>
                  <a:lnTo>
                    <a:pt x="380" y="169"/>
                  </a:lnTo>
                  <a:lnTo>
                    <a:pt x="381" y="173"/>
                  </a:lnTo>
                  <a:lnTo>
                    <a:pt x="382" y="176"/>
                  </a:lnTo>
                  <a:lnTo>
                    <a:pt x="383" y="180"/>
                  </a:lnTo>
                  <a:lnTo>
                    <a:pt x="384" y="187"/>
                  </a:lnTo>
                  <a:lnTo>
                    <a:pt x="385" y="193"/>
                  </a:lnTo>
                  <a:lnTo>
                    <a:pt x="385" y="197"/>
                  </a:lnTo>
                  <a:lnTo>
                    <a:pt x="385" y="199"/>
                  </a:lnTo>
                  <a:lnTo>
                    <a:pt x="385" y="202"/>
                  </a:lnTo>
                  <a:lnTo>
                    <a:pt x="385" y="204"/>
                  </a:lnTo>
                  <a:lnTo>
                    <a:pt x="384" y="207"/>
                  </a:lnTo>
                  <a:lnTo>
                    <a:pt x="384" y="210"/>
                  </a:lnTo>
                  <a:lnTo>
                    <a:pt x="383" y="212"/>
                  </a:lnTo>
                  <a:lnTo>
                    <a:pt x="381" y="216"/>
                  </a:lnTo>
                  <a:lnTo>
                    <a:pt x="379" y="219"/>
                  </a:lnTo>
                  <a:lnTo>
                    <a:pt x="377" y="222"/>
                  </a:lnTo>
                  <a:lnTo>
                    <a:pt x="375" y="225"/>
                  </a:lnTo>
                  <a:lnTo>
                    <a:pt x="374" y="227"/>
                  </a:lnTo>
                  <a:lnTo>
                    <a:pt x="364" y="239"/>
                  </a:lnTo>
                  <a:lnTo>
                    <a:pt x="359" y="244"/>
                  </a:lnTo>
                  <a:lnTo>
                    <a:pt x="357" y="246"/>
                  </a:lnTo>
                  <a:lnTo>
                    <a:pt x="354" y="250"/>
                  </a:lnTo>
                  <a:lnTo>
                    <a:pt x="353" y="254"/>
                  </a:lnTo>
                  <a:lnTo>
                    <a:pt x="350" y="259"/>
                  </a:lnTo>
                  <a:lnTo>
                    <a:pt x="347" y="264"/>
                  </a:lnTo>
                  <a:lnTo>
                    <a:pt x="345" y="267"/>
                  </a:lnTo>
                  <a:lnTo>
                    <a:pt x="344" y="270"/>
                  </a:lnTo>
                  <a:lnTo>
                    <a:pt x="343" y="273"/>
                  </a:lnTo>
                  <a:lnTo>
                    <a:pt x="342" y="276"/>
                  </a:lnTo>
                  <a:lnTo>
                    <a:pt x="341" y="280"/>
                  </a:lnTo>
                  <a:lnTo>
                    <a:pt x="341" y="290"/>
                  </a:lnTo>
                  <a:lnTo>
                    <a:pt x="340" y="299"/>
                  </a:lnTo>
                  <a:lnTo>
                    <a:pt x="340" y="301"/>
                  </a:lnTo>
                  <a:lnTo>
                    <a:pt x="340" y="304"/>
                  </a:lnTo>
                  <a:lnTo>
                    <a:pt x="341" y="305"/>
                  </a:lnTo>
                  <a:lnTo>
                    <a:pt x="341" y="307"/>
                  </a:lnTo>
                  <a:lnTo>
                    <a:pt x="342" y="309"/>
                  </a:lnTo>
                  <a:lnTo>
                    <a:pt x="343" y="312"/>
                  </a:lnTo>
                  <a:lnTo>
                    <a:pt x="346" y="313"/>
                  </a:lnTo>
                  <a:lnTo>
                    <a:pt x="354" y="323"/>
                  </a:lnTo>
                  <a:lnTo>
                    <a:pt x="357" y="325"/>
                  </a:lnTo>
                  <a:lnTo>
                    <a:pt x="360" y="329"/>
                  </a:lnTo>
                  <a:lnTo>
                    <a:pt x="362" y="333"/>
                  </a:lnTo>
                  <a:lnTo>
                    <a:pt x="363" y="334"/>
                  </a:lnTo>
                  <a:lnTo>
                    <a:pt x="363" y="335"/>
                  </a:lnTo>
                  <a:lnTo>
                    <a:pt x="364" y="337"/>
                  </a:lnTo>
                  <a:lnTo>
                    <a:pt x="364" y="339"/>
                  </a:lnTo>
                  <a:lnTo>
                    <a:pt x="364" y="341"/>
                  </a:lnTo>
                  <a:lnTo>
                    <a:pt x="364" y="343"/>
                  </a:lnTo>
                  <a:lnTo>
                    <a:pt x="364" y="346"/>
                  </a:lnTo>
                  <a:lnTo>
                    <a:pt x="364" y="348"/>
                  </a:lnTo>
                  <a:lnTo>
                    <a:pt x="363" y="351"/>
                  </a:lnTo>
                  <a:lnTo>
                    <a:pt x="361" y="354"/>
                  </a:lnTo>
                  <a:lnTo>
                    <a:pt x="359" y="357"/>
                  </a:lnTo>
                  <a:lnTo>
                    <a:pt x="357" y="360"/>
                  </a:lnTo>
                  <a:lnTo>
                    <a:pt x="353" y="366"/>
                  </a:lnTo>
                  <a:lnTo>
                    <a:pt x="349" y="370"/>
                  </a:lnTo>
                  <a:lnTo>
                    <a:pt x="346" y="374"/>
                  </a:lnTo>
                  <a:lnTo>
                    <a:pt x="345" y="376"/>
                  </a:lnTo>
                  <a:lnTo>
                    <a:pt x="344" y="377"/>
                  </a:lnTo>
                  <a:lnTo>
                    <a:pt x="343" y="379"/>
                  </a:lnTo>
                  <a:lnTo>
                    <a:pt x="343" y="380"/>
                  </a:lnTo>
                  <a:lnTo>
                    <a:pt x="343" y="382"/>
                  </a:lnTo>
                  <a:lnTo>
                    <a:pt x="342" y="385"/>
                  </a:lnTo>
                  <a:lnTo>
                    <a:pt x="343" y="390"/>
                  </a:lnTo>
                  <a:lnTo>
                    <a:pt x="343" y="392"/>
                  </a:lnTo>
                  <a:lnTo>
                    <a:pt x="343" y="395"/>
                  </a:lnTo>
                  <a:lnTo>
                    <a:pt x="342" y="398"/>
                  </a:lnTo>
                  <a:lnTo>
                    <a:pt x="341" y="403"/>
                  </a:lnTo>
                  <a:lnTo>
                    <a:pt x="339" y="407"/>
                  </a:lnTo>
                  <a:lnTo>
                    <a:pt x="337" y="411"/>
                  </a:lnTo>
                  <a:lnTo>
                    <a:pt x="330" y="423"/>
                  </a:lnTo>
                  <a:lnTo>
                    <a:pt x="329" y="426"/>
                  </a:lnTo>
                  <a:lnTo>
                    <a:pt x="329" y="427"/>
                  </a:lnTo>
                  <a:lnTo>
                    <a:pt x="329" y="427"/>
                  </a:lnTo>
                  <a:lnTo>
                    <a:pt x="329" y="428"/>
                  </a:lnTo>
                  <a:lnTo>
                    <a:pt x="328" y="427"/>
                  </a:lnTo>
                  <a:lnTo>
                    <a:pt x="328" y="427"/>
                  </a:lnTo>
                  <a:lnTo>
                    <a:pt x="328" y="427"/>
                  </a:lnTo>
                  <a:lnTo>
                    <a:pt x="327" y="427"/>
                  </a:lnTo>
                  <a:lnTo>
                    <a:pt x="327" y="428"/>
                  </a:lnTo>
                  <a:lnTo>
                    <a:pt x="325" y="430"/>
                  </a:lnTo>
                  <a:lnTo>
                    <a:pt x="323" y="433"/>
                  </a:lnTo>
                  <a:lnTo>
                    <a:pt x="321" y="435"/>
                  </a:lnTo>
                  <a:lnTo>
                    <a:pt x="319" y="439"/>
                  </a:lnTo>
                  <a:lnTo>
                    <a:pt x="313" y="449"/>
                  </a:lnTo>
                  <a:lnTo>
                    <a:pt x="312" y="451"/>
                  </a:lnTo>
                  <a:lnTo>
                    <a:pt x="310" y="454"/>
                  </a:lnTo>
                  <a:lnTo>
                    <a:pt x="309" y="455"/>
                  </a:lnTo>
                  <a:lnTo>
                    <a:pt x="308" y="456"/>
                  </a:lnTo>
                  <a:lnTo>
                    <a:pt x="307" y="457"/>
                  </a:lnTo>
                  <a:lnTo>
                    <a:pt x="306" y="458"/>
                  </a:lnTo>
                  <a:lnTo>
                    <a:pt x="304" y="459"/>
                  </a:lnTo>
                  <a:lnTo>
                    <a:pt x="303" y="460"/>
                  </a:lnTo>
                  <a:lnTo>
                    <a:pt x="302" y="460"/>
                  </a:lnTo>
                  <a:lnTo>
                    <a:pt x="300" y="460"/>
                  </a:lnTo>
                  <a:lnTo>
                    <a:pt x="299" y="459"/>
                  </a:lnTo>
                  <a:lnTo>
                    <a:pt x="297" y="458"/>
                  </a:lnTo>
                  <a:lnTo>
                    <a:pt x="296" y="457"/>
                  </a:lnTo>
                  <a:lnTo>
                    <a:pt x="290" y="453"/>
                  </a:lnTo>
                  <a:lnTo>
                    <a:pt x="288" y="452"/>
                  </a:lnTo>
                  <a:lnTo>
                    <a:pt x="287" y="451"/>
                  </a:lnTo>
                  <a:lnTo>
                    <a:pt x="285" y="450"/>
                  </a:lnTo>
                  <a:lnTo>
                    <a:pt x="284" y="449"/>
                  </a:lnTo>
                  <a:lnTo>
                    <a:pt x="281" y="449"/>
                  </a:lnTo>
                  <a:lnTo>
                    <a:pt x="277" y="448"/>
                  </a:lnTo>
                  <a:lnTo>
                    <a:pt x="274" y="448"/>
                  </a:lnTo>
                  <a:lnTo>
                    <a:pt x="272" y="448"/>
                  </a:lnTo>
                  <a:lnTo>
                    <a:pt x="269" y="448"/>
                  </a:lnTo>
                  <a:lnTo>
                    <a:pt x="267" y="448"/>
                  </a:lnTo>
                  <a:lnTo>
                    <a:pt x="265" y="448"/>
                  </a:lnTo>
                  <a:lnTo>
                    <a:pt x="264" y="448"/>
                  </a:lnTo>
                  <a:lnTo>
                    <a:pt x="262" y="449"/>
                  </a:lnTo>
                  <a:lnTo>
                    <a:pt x="262" y="451"/>
                  </a:lnTo>
                  <a:lnTo>
                    <a:pt x="261" y="453"/>
                  </a:lnTo>
                  <a:lnTo>
                    <a:pt x="260" y="455"/>
                  </a:lnTo>
                  <a:lnTo>
                    <a:pt x="259" y="458"/>
                  </a:lnTo>
                  <a:lnTo>
                    <a:pt x="258" y="462"/>
                  </a:lnTo>
                  <a:lnTo>
                    <a:pt x="257" y="465"/>
                  </a:lnTo>
                  <a:lnTo>
                    <a:pt x="256" y="467"/>
                  </a:lnTo>
                  <a:lnTo>
                    <a:pt x="252" y="474"/>
                  </a:lnTo>
                  <a:lnTo>
                    <a:pt x="250" y="479"/>
                  </a:lnTo>
                  <a:lnTo>
                    <a:pt x="248" y="485"/>
                  </a:lnTo>
                  <a:lnTo>
                    <a:pt x="246" y="488"/>
                  </a:lnTo>
                  <a:lnTo>
                    <a:pt x="246" y="491"/>
                  </a:lnTo>
                  <a:lnTo>
                    <a:pt x="245" y="494"/>
                  </a:lnTo>
                  <a:lnTo>
                    <a:pt x="244" y="498"/>
                  </a:lnTo>
                  <a:lnTo>
                    <a:pt x="244" y="505"/>
                  </a:lnTo>
                  <a:lnTo>
                    <a:pt x="243" y="507"/>
                  </a:lnTo>
                  <a:lnTo>
                    <a:pt x="242" y="509"/>
                  </a:lnTo>
                  <a:lnTo>
                    <a:pt x="242" y="511"/>
                  </a:lnTo>
                  <a:lnTo>
                    <a:pt x="241" y="512"/>
                  </a:lnTo>
                  <a:lnTo>
                    <a:pt x="239" y="515"/>
                  </a:lnTo>
                  <a:lnTo>
                    <a:pt x="239" y="516"/>
                  </a:lnTo>
                  <a:lnTo>
                    <a:pt x="238" y="519"/>
                  </a:lnTo>
                  <a:lnTo>
                    <a:pt x="237" y="525"/>
                  </a:lnTo>
                  <a:lnTo>
                    <a:pt x="237" y="527"/>
                  </a:lnTo>
                  <a:lnTo>
                    <a:pt x="236" y="528"/>
                  </a:lnTo>
                  <a:lnTo>
                    <a:pt x="234" y="531"/>
                  </a:lnTo>
                  <a:lnTo>
                    <a:pt x="232" y="534"/>
                  </a:lnTo>
                  <a:lnTo>
                    <a:pt x="229" y="538"/>
                  </a:lnTo>
                  <a:lnTo>
                    <a:pt x="224" y="545"/>
                  </a:lnTo>
                  <a:lnTo>
                    <a:pt x="222" y="548"/>
                  </a:lnTo>
                  <a:lnTo>
                    <a:pt x="220" y="550"/>
                  </a:lnTo>
                  <a:lnTo>
                    <a:pt x="218" y="553"/>
                  </a:lnTo>
                  <a:lnTo>
                    <a:pt x="216" y="559"/>
                  </a:lnTo>
                  <a:lnTo>
                    <a:pt x="215" y="562"/>
                  </a:lnTo>
                  <a:lnTo>
                    <a:pt x="214" y="566"/>
                  </a:lnTo>
                  <a:lnTo>
                    <a:pt x="214" y="570"/>
                  </a:lnTo>
                  <a:lnTo>
                    <a:pt x="214" y="573"/>
                  </a:lnTo>
                  <a:lnTo>
                    <a:pt x="216" y="581"/>
                  </a:lnTo>
                  <a:lnTo>
                    <a:pt x="216" y="583"/>
                  </a:lnTo>
                  <a:lnTo>
                    <a:pt x="216" y="586"/>
                  </a:lnTo>
                  <a:lnTo>
                    <a:pt x="216" y="588"/>
                  </a:lnTo>
                  <a:lnTo>
                    <a:pt x="215" y="590"/>
                  </a:lnTo>
                  <a:lnTo>
                    <a:pt x="214" y="592"/>
                  </a:lnTo>
                  <a:lnTo>
                    <a:pt x="213" y="595"/>
                  </a:lnTo>
                  <a:lnTo>
                    <a:pt x="212" y="597"/>
                  </a:lnTo>
                  <a:lnTo>
                    <a:pt x="211" y="599"/>
                  </a:lnTo>
                  <a:lnTo>
                    <a:pt x="209" y="601"/>
                  </a:lnTo>
                  <a:lnTo>
                    <a:pt x="207" y="604"/>
                  </a:lnTo>
                  <a:lnTo>
                    <a:pt x="205" y="607"/>
                  </a:lnTo>
                  <a:lnTo>
                    <a:pt x="204" y="608"/>
                  </a:lnTo>
                  <a:lnTo>
                    <a:pt x="201" y="610"/>
                  </a:lnTo>
                  <a:lnTo>
                    <a:pt x="194" y="616"/>
                  </a:lnTo>
                  <a:lnTo>
                    <a:pt x="191" y="618"/>
                  </a:lnTo>
                  <a:lnTo>
                    <a:pt x="189" y="618"/>
                  </a:lnTo>
                  <a:lnTo>
                    <a:pt x="187" y="619"/>
                  </a:lnTo>
                  <a:lnTo>
                    <a:pt x="185" y="620"/>
                  </a:lnTo>
                  <a:lnTo>
                    <a:pt x="183" y="620"/>
                  </a:lnTo>
                  <a:lnTo>
                    <a:pt x="182" y="620"/>
                  </a:lnTo>
                  <a:lnTo>
                    <a:pt x="181" y="620"/>
                  </a:lnTo>
                  <a:lnTo>
                    <a:pt x="180" y="620"/>
                  </a:lnTo>
                  <a:lnTo>
                    <a:pt x="179" y="620"/>
                  </a:lnTo>
                  <a:lnTo>
                    <a:pt x="177" y="619"/>
                  </a:lnTo>
                  <a:lnTo>
                    <a:pt x="171" y="617"/>
                  </a:lnTo>
                  <a:lnTo>
                    <a:pt x="170" y="616"/>
                  </a:lnTo>
                  <a:lnTo>
                    <a:pt x="168" y="615"/>
                  </a:lnTo>
                  <a:lnTo>
                    <a:pt x="165" y="615"/>
                  </a:lnTo>
                  <a:lnTo>
                    <a:pt x="163" y="614"/>
                  </a:lnTo>
                  <a:lnTo>
                    <a:pt x="160" y="614"/>
                  </a:lnTo>
                  <a:lnTo>
                    <a:pt x="152" y="614"/>
                  </a:lnTo>
                  <a:lnTo>
                    <a:pt x="148" y="614"/>
                  </a:lnTo>
                  <a:lnTo>
                    <a:pt x="146" y="615"/>
                  </a:lnTo>
                  <a:lnTo>
                    <a:pt x="142" y="616"/>
                  </a:lnTo>
                  <a:lnTo>
                    <a:pt x="136" y="619"/>
                  </a:lnTo>
                  <a:lnTo>
                    <a:pt x="133" y="620"/>
                  </a:lnTo>
                  <a:lnTo>
                    <a:pt x="130" y="621"/>
                  </a:lnTo>
                  <a:lnTo>
                    <a:pt x="122" y="624"/>
                  </a:lnTo>
                  <a:lnTo>
                    <a:pt x="119" y="625"/>
                  </a:lnTo>
                  <a:lnTo>
                    <a:pt x="116" y="626"/>
                  </a:lnTo>
                  <a:lnTo>
                    <a:pt x="114" y="628"/>
                  </a:lnTo>
                  <a:lnTo>
                    <a:pt x="111" y="630"/>
                  </a:lnTo>
                  <a:lnTo>
                    <a:pt x="109" y="631"/>
                  </a:lnTo>
                  <a:lnTo>
                    <a:pt x="104" y="634"/>
                  </a:lnTo>
                  <a:lnTo>
                    <a:pt x="103" y="635"/>
                  </a:lnTo>
                  <a:lnTo>
                    <a:pt x="100" y="637"/>
                  </a:lnTo>
                  <a:lnTo>
                    <a:pt x="100" y="637"/>
                  </a:lnTo>
                  <a:lnTo>
                    <a:pt x="99" y="637"/>
                  </a:lnTo>
                  <a:lnTo>
                    <a:pt x="100" y="637"/>
                  </a:lnTo>
                  <a:lnTo>
                    <a:pt x="100" y="636"/>
                  </a:lnTo>
                  <a:lnTo>
                    <a:pt x="100" y="635"/>
                  </a:lnTo>
                  <a:lnTo>
                    <a:pt x="100" y="633"/>
                  </a:lnTo>
                  <a:lnTo>
                    <a:pt x="100" y="632"/>
                  </a:lnTo>
                  <a:lnTo>
                    <a:pt x="100" y="631"/>
                  </a:lnTo>
                  <a:lnTo>
                    <a:pt x="99" y="628"/>
                  </a:lnTo>
                  <a:lnTo>
                    <a:pt x="98" y="626"/>
                  </a:lnTo>
                  <a:lnTo>
                    <a:pt x="96" y="623"/>
                  </a:lnTo>
                  <a:lnTo>
                    <a:pt x="94" y="620"/>
                  </a:lnTo>
                  <a:lnTo>
                    <a:pt x="92" y="618"/>
                  </a:lnTo>
                  <a:lnTo>
                    <a:pt x="91" y="617"/>
                  </a:lnTo>
                  <a:lnTo>
                    <a:pt x="89" y="616"/>
                  </a:lnTo>
                  <a:lnTo>
                    <a:pt x="86" y="615"/>
                  </a:lnTo>
                  <a:lnTo>
                    <a:pt x="84" y="614"/>
                  </a:lnTo>
                  <a:lnTo>
                    <a:pt x="81" y="612"/>
                  </a:lnTo>
                  <a:lnTo>
                    <a:pt x="78" y="611"/>
                  </a:lnTo>
                  <a:lnTo>
                    <a:pt x="75" y="611"/>
                  </a:lnTo>
                  <a:lnTo>
                    <a:pt x="70" y="610"/>
                  </a:lnTo>
                  <a:lnTo>
                    <a:pt x="69" y="610"/>
                  </a:lnTo>
                  <a:lnTo>
                    <a:pt x="69" y="610"/>
                  </a:lnTo>
                  <a:lnTo>
                    <a:pt x="68" y="609"/>
                  </a:lnTo>
                  <a:lnTo>
                    <a:pt x="68" y="609"/>
                  </a:lnTo>
                  <a:lnTo>
                    <a:pt x="67" y="608"/>
                  </a:lnTo>
                  <a:lnTo>
                    <a:pt x="67" y="607"/>
                  </a:lnTo>
                  <a:lnTo>
                    <a:pt x="67" y="607"/>
                  </a:lnTo>
                  <a:lnTo>
                    <a:pt x="67" y="605"/>
                  </a:lnTo>
                  <a:lnTo>
                    <a:pt x="68" y="602"/>
                  </a:lnTo>
                  <a:lnTo>
                    <a:pt x="69" y="597"/>
                  </a:lnTo>
                  <a:lnTo>
                    <a:pt x="69" y="595"/>
                  </a:lnTo>
                  <a:lnTo>
                    <a:pt x="69" y="592"/>
                  </a:lnTo>
                  <a:lnTo>
                    <a:pt x="69" y="590"/>
                  </a:lnTo>
                  <a:lnTo>
                    <a:pt x="69" y="588"/>
                  </a:lnTo>
                  <a:lnTo>
                    <a:pt x="69" y="586"/>
                  </a:lnTo>
                  <a:lnTo>
                    <a:pt x="67" y="579"/>
                  </a:lnTo>
                  <a:lnTo>
                    <a:pt x="66" y="577"/>
                  </a:lnTo>
                  <a:lnTo>
                    <a:pt x="66" y="574"/>
                  </a:lnTo>
                  <a:lnTo>
                    <a:pt x="65" y="568"/>
                  </a:lnTo>
                  <a:lnTo>
                    <a:pt x="64" y="565"/>
                  </a:lnTo>
                  <a:lnTo>
                    <a:pt x="63" y="563"/>
                  </a:lnTo>
                  <a:lnTo>
                    <a:pt x="63" y="562"/>
                  </a:lnTo>
                  <a:lnTo>
                    <a:pt x="62" y="561"/>
                  </a:lnTo>
                  <a:lnTo>
                    <a:pt x="61" y="560"/>
                  </a:lnTo>
                  <a:lnTo>
                    <a:pt x="59" y="558"/>
                  </a:lnTo>
                  <a:lnTo>
                    <a:pt x="53" y="550"/>
                  </a:lnTo>
                  <a:lnTo>
                    <a:pt x="49" y="546"/>
                  </a:lnTo>
                  <a:lnTo>
                    <a:pt x="44" y="539"/>
                  </a:lnTo>
                  <a:lnTo>
                    <a:pt x="42" y="538"/>
                  </a:lnTo>
                  <a:lnTo>
                    <a:pt x="41" y="535"/>
                  </a:lnTo>
                  <a:lnTo>
                    <a:pt x="38" y="530"/>
                  </a:lnTo>
                  <a:lnTo>
                    <a:pt x="35" y="524"/>
                  </a:lnTo>
                  <a:lnTo>
                    <a:pt x="34" y="520"/>
                  </a:lnTo>
                  <a:lnTo>
                    <a:pt x="32" y="512"/>
                  </a:lnTo>
                  <a:lnTo>
                    <a:pt x="30" y="509"/>
                  </a:lnTo>
                  <a:lnTo>
                    <a:pt x="30" y="507"/>
                  </a:lnTo>
                  <a:lnTo>
                    <a:pt x="28" y="505"/>
                  </a:lnTo>
                  <a:lnTo>
                    <a:pt x="27" y="503"/>
                  </a:lnTo>
                  <a:lnTo>
                    <a:pt x="22" y="494"/>
                  </a:lnTo>
                  <a:lnTo>
                    <a:pt x="21" y="493"/>
                  </a:lnTo>
                  <a:lnTo>
                    <a:pt x="20" y="491"/>
                  </a:lnTo>
                  <a:lnTo>
                    <a:pt x="19" y="488"/>
                  </a:lnTo>
                  <a:lnTo>
                    <a:pt x="18" y="485"/>
                  </a:lnTo>
                  <a:lnTo>
                    <a:pt x="17" y="482"/>
                  </a:lnTo>
                  <a:lnTo>
                    <a:pt x="17" y="478"/>
                  </a:lnTo>
                  <a:lnTo>
                    <a:pt x="17" y="472"/>
                  </a:lnTo>
                  <a:lnTo>
                    <a:pt x="17" y="469"/>
                  </a:lnTo>
                  <a:lnTo>
                    <a:pt x="17" y="466"/>
                  </a:lnTo>
                  <a:lnTo>
                    <a:pt x="17" y="461"/>
                  </a:lnTo>
                  <a:lnTo>
                    <a:pt x="18" y="459"/>
                  </a:lnTo>
                  <a:lnTo>
                    <a:pt x="18" y="459"/>
                  </a:lnTo>
                  <a:lnTo>
                    <a:pt x="19" y="458"/>
                  </a:lnTo>
                  <a:lnTo>
                    <a:pt x="23" y="453"/>
                  </a:lnTo>
                  <a:lnTo>
                    <a:pt x="25" y="450"/>
                  </a:lnTo>
                  <a:lnTo>
                    <a:pt x="28" y="448"/>
                  </a:lnTo>
                  <a:lnTo>
                    <a:pt x="30" y="445"/>
                  </a:lnTo>
                  <a:lnTo>
                    <a:pt x="30" y="443"/>
                  </a:lnTo>
                  <a:lnTo>
                    <a:pt x="31" y="441"/>
                  </a:lnTo>
                  <a:lnTo>
                    <a:pt x="31" y="440"/>
                  </a:lnTo>
                  <a:lnTo>
                    <a:pt x="32" y="438"/>
                  </a:lnTo>
                  <a:lnTo>
                    <a:pt x="32" y="437"/>
                  </a:lnTo>
                  <a:lnTo>
                    <a:pt x="32" y="434"/>
                  </a:lnTo>
                  <a:lnTo>
                    <a:pt x="31" y="430"/>
                  </a:lnTo>
                  <a:lnTo>
                    <a:pt x="31" y="426"/>
                  </a:lnTo>
                  <a:lnTo>
                    <a:pt x="30" y="421"/>
                  </a:lnTo>
                  <a:lnTo>
                    <a:pt x="29" y="417"/>
                  </a:lnTo>
                  <a:lnTo>
                    <a:pt x="29" y="414"/>
                  </a:lnTo>
                  <a:lnTo>
                    <a:pt x="28" y="407"/>
                  </a:lnTo>
                  <a:lnTo>
                    <a:pt x="27" y="398"/>
                  </a:lnTo>
                  <a:lnTo>
                    <a:pt x="27" y="393"/>
                  </a:lnTo>
                  <a:lnTo>
                    <a:pt x="26" y="389"/>
                  </a:lnTo>
                  <a:lnTo>
                    <a:pt x="25" y="386"/>
                  </a:lnTo>
                  <a:lnTo>
                    <a:pt x="22" y="374"/>
                  </a:lnTo>
                  <a:lnTo>
                    <a:pt x="16" y="361"/>
                  </a:lnTo>
                  <a:lnTo>
                    <a:pt x="13" y="355"/>
                  </a:lnTo>
                  <a:lnTo>
                    <a:pt x="12" y="351"/>
                  </a:lnTo>
                  <a:lnTo>
                    <a:pt x="12" y="346"/>
                  </a:lnTo>
                  <a:lnTo>
                    <a:pt x="9" y="333"/>
                  </a:lnTo>
                  <a:lnTo>
                    <a:pt x="7" y="328"/>
                  </a:lnTo>
                  <a:lnTo>
                    <a:pt x="5" y="320"/>
                  </a:lnTo>
                  <a:lnTo>
                    <a:pt x="1" y="311"/>
                  </a:lnTo>
                  <a:lnTo>
                    <a:pt x="0" y="307"/>
                  </a:lnTo>
                  <a:lnTo>
                    <a:pt x="0" y="305"/>
                  </a:lnTo>
                  <a:lnTo>
                    <a:pt x="0" y="303"/>
                  </a:lnTo>
                  <a:lnTo>
                    <a:pt x="0" y="301"/>
                  </a:lnTo>
                  <a:lnTo>
                    <a:pt x="0" y="300"/>
                  </a:lnTo>
                  <a:lnTo>
                    <a:pt x="0" y="299"/>
                  </a:lnTo>
                  <a:lnTo>
                    <a:pt x="0" y="298"/>
                  </a:lnTo>
                  <a:lnTo>
                    <a:pt x="1" y="296"/>
                  </a:lnTo>
                  <a:lnTo>
                    <a:pt x="2" y="295"/>
                  </a:lnTo>
                  <a:lnTo>
                    <a:pt x="3" y="295"/>
                  </a:lnTo>
                  <a:lnTo>
                    <a:pt x="5" y="293"/>
                  </a:lnTo>
                  <a:lnTo>
                    <a:pt x="7" y="292"/>
                  </a:lnTo>
                  <a:lnTo>
                    <a:pt x="10" y="292"/>
                  </a:lnTo>
                  <a:lnTo>
                    <a:pt x="12" y="291"/>
                  </a:lnTo>
                  <a:lnTo>
                    <a:pt x="18" y="290"/>
                  </a:lnTo>
                  <a:lnTo>
                    <a:pt x="20" y="290"/>
                  </a:lnTo>
                  <a:lnTo>
                    <a:pt x="22" y="290"/>
                  </a:lnTo>
                  <a:lnTo>
                    <a:pt x="23" y="289"/>
                  </a:lnTo>
                  <a:lnTo>
                    <a:pt x="25" y="288"/>
                  </a:lnTo>
                  <a:lnTo>
                    <a:pt x="26" y="286"/>
                  </a:lnTo>
                  <a:lnTo>
                    <a:pt x="29" y="284"/>
                  </a:lnTo>
                  <a:lnTo>
                    <a:pt x="32" y="281"/>
                  </a:lnTo>
                  <a:lnTo>
                    <a:pt x="34" y="279"/>
                  </a:lnTo>
                  <a:lnTo>
                    <a:pt x="36" y="276"/>
                  </a:lnTo>
                  <a:lnTo>
                    <a:pt x="38" y="274"/>
                  </a:lnTo>
                  <a:lnTo>
                    <a:pt x="44" y="267"/>
                  </a:lnTo>
                  <a:lnTo>
                    <a:pt x="47" y="265"/>
                  </a:lnTo>
                  <a:lnTo>
                    <a:pt x="57" y="256"/>
                  </a:lnTo>
                  <a:lnTo>
                    <a:pt x="59" y="254"/>
                  </a:lnTo>
                  <a:lnTo>
                    <a:pt x="61" y="252"/>
                  </a:lnTo>
                  <a:lnTo>
                    <a:pt x="62" y="250"/>
                  </a:lnTo>
                  <a:lnTo>
                    <a:pt x="63" y="248"/>
                  </a:lnTo>
                  <a:lnTo>
                    <a:pt x="64" y="246"/>
                  </a:lnTo>
                  <a:lnTo>
                    <a:pt x="65" y="243"/>
                  </a:lnTo>
                  <a:lnTo>
                    <a:pt x="66" y="240"/>
                  </a:lnTo>
                  <a:lnTo>
                    <a:pt x="67" y="238"/>
                  </a:lnTo>
                  <a:lnTo>
                    <a:pt x="67" y="235"/>
                  </a:lnTo>
                  <a:lnTo>
                    <a:pt x="67" y="233"/>
                  </a:lnTo>
                  <a:lnTo>
                    <a:pt x="66" y="222"/>
                  </a:lnTo>
                  <a:lnTo>
                    <a:pt x="65" y="220"/>
                  </a:lnTo>
                  <a:lnTo>
                    <a:pt x="64" y="214"/>
                  </a:lnTo>
                  <a:lnTo>
                    <a:pt x="64" y="211"/>
                  </a:lnTo>
                  <a:lnTo>
                    <a:pt x="63" y="210"/>
                  </a:lnTo>
                  <a:lnTo>
                    <a:pt x="63" y="207"/>
                  </a:lnTo>
                  <a:lnTo>
                    <a:pt x="64" y="205"/>
                  </a:lnTo>
                  <a:lnTo>
                    <a:pt x="64" y="202"/>
                  </a:lnTo>
                  <a:lnTo>
                    <a:pt x="65" y="199"/>
                  </a:lnTo>
                  <a:lnTo>
                    <a:pt x="68" y="192"/>
                  </a:lnTo>
                  <a:lnTo>
                    <a:pt x="69" y="189"/>
                  </a:lnTo>
                  <a:lnTo>
                    <a:pt x="69" y="188"/>
                  </a:lnTo>
                  <a:lnTo>
                    <a:pt x="69" y="186"/>
                  </a:lnTo>
                  <a:lnTo>
                    <a:pt x="68" y="183"/>
                  </a:lnTo>
                  <a:lnTo>
                    <a:pt x="67" y="173"/>
                  </a:lnTo>
                  <a:lnTo>
                    <a:pt x="67" y="170"/>
                  </a:lnTo>
                  <a:lnTo>
                    <a:pt x="66" y="167"/>
                  </a:lnTo>
                  <a:lnTo>
                    <a:pt x="67" y="165"/>
                  </a:lnTo>
                  <a:lnTo>
                    <a:pt x="67" y="163"/>
                  </a:lnTo>
                  <a:lnTo>
                    <a:pt x="68" y="161"/>
                  </a:lnTo>
                  <a:lnTo>
                    <a:pt x="69" y="159"/>
                  </a:lnTo>
                  <a:lnTo>
                    <a:pt x="71" y="154"/>
                  </a:lnTo>
                  <a:lnTo>
                    <a:pt x="73" y="152"/>
                  </a:lnTo>
                  <a:lnTo>
                    <a:pt x="77" y="142"/>
                  </a:lnTo>
                  <a:lnTo>
                    <a:pt x="80" y="136"/>
                  </a:lnTo>
                  <a:lnTo>
                    <a:pt x="81" y="132"/>
                  </a:lnTo>
                  <a:lnTo>
                    <a:pt x="84" y="124"/>
                  </a:lnTo>
                  <a:lnTo>
                    <a:pt x="91" y="103"/>
                  </a:lnTo>
                  <a:lnTo>
                    <a:pt x="94" y="95"/>
                  </a:lnTo>
                  <a:lnTo>
                    <a:pt x="98" y="85"/>
                  </a:lnTo>
                  <a:lnTo>
                    <a:pt x="100" y="81"/>
                  </a:lnTo>
                  <a:lnTo>
                    <a:pt x="101" y="77"/>
                  </a:lnTo>
                  <a:lnTo>
                    <a:pt x="102" y="74"/>
                  </a:lnTo>
                  <a:lnTo>
                    <a:pt x="103" y="70"/>
                  </a:lnTo>
                  <a:lnTo>
                    <a:pt x="103" y="65"/>
                  </a:lnTo>
                  <a:lnTo>
                    <a:pt x="103" y="63"/>
                  </a:lnTo>
                  <a:lnTo>
                    <a:pt x="103" y="59"/>
                  </a:lnTo>
                  <a:lnTo>
                    <a:pt x="103" y="56"/>
                  </a:lnTo>
                  <a:lnTo>
                    <a:pt x="103" y="55"/>
                  </a:lnTo>
                  <a:lnTo>
                    <a:pt x="102" y="55"/>
                  </a:lnTo>
                  <a:lnTo>
                    <a:pt x="103" y="55"/>
                  </a:lnTo>
                  <a:lnTo>
                    <a:pt x="103" y="55"/>
                  </a:lnTo>
                  <a:lnTo>
                    <a:pt x="104" y="55"/>
                  </a:lnTo>
                  <a:lnTo>
                    <a:pt x="105" y="55"/>
                  </a:lnTo>
                  <a:lnTo>
                    <a:pt x="107" y="54"/>
                  </a:lnTo>
                  <a:lnTo>
                    <a:pt x="109" y="53"/>
                  </a:lnTo>
                  <a:lnTo>
                    <a:pt x="110" y="53"/>
                  </a:lnTo>
                  <a:lnTo>
                    <a:pt x="112" y="52"/>
                  </a:lnTo>
                  <a:lnTo>
                    <a:pt x="113" y="51"/>
                  </a:lnTo>
                  <a:lnTo>
                    <a:pt x="114" y="50"/>
                  </a:lnTo>
                  <a:lnTo>
                    <a:pt x="114" y="49"/>
                  </a:lnTo>
                  <a:lnTo>
                    <a:pt x="116" y="47"/>
                  </a:lnTo>
                  <a:lnTo>
                    <a:pt x="117" y="44"/>
                  </a:lnTo>
                  <a:lnTo>
                    <a:pt x="119" y="39"/>
                  </a:lnTo>
                  <a:lnTo>
                    <a:pt x="120" y="37"/>
                  </a:lnTo>
                  <a:lnTo>
                    <a:pt x="121" y="35"/>
                  </a:lnTo>
                  <a:lnTo>
                    <a:pt x="123" y="33"/>
                  </a:lnTo>
                  <a:lnTo>
                    <a:pt x="125" y="31"/>
                  </a:lnTo>
                  <a:lnTo>
                    <a:pt x="128" y="28"/>
                  </a:lnTo>
                  <a:lnTo>
                    <a:pt x="130" y="27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3"/>
                  </a:lnTo>
                  <a:lnTo>
                    <a:pt x="142" y="22"/>
                  </a:lnTo>
                  <a:lnTo>
                    <a:pt x="144" y="22"/>
                  </a:lnTo>
                  <a:lnTo>
                    <a:pt x="146" y="22"/>
                  </a:lnTo>
                  <a:lnTo>
                    <a:pt x="153" y="24"/>
                  </a:lnTo>
                  <a:lnTo>
                    <a:pt x="159" y="24"/>
                  </a:lnTo>
                  <a:lnTo>
                    <a:pt x="161" y="24"/>
                  </a:lnTo>
                  <a:lnTo>
                    <a:pt x="166" y="24"/>
                  </a:lnTo>
                  <a:lnTo>
                    <a:pt x="168" y="24"/>
                  </a:lnTo>
                  <a:lnTo>
                    <a:pt x="170" y="23"/>
                  </a:lnTo>
                  <a:lnTo>
                    <a:pt x="171" y="22"/>
                  </a:lnTo>
                  <a:lnTo>
                    <a:pt x="172" y="21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7" y="16"/>
                  </a:lnTo>
                  <a:lnTo>
                    <a:pt x="177" y="15"/>
                  </a:lnTo>
                  <a:lnTo>
                    <a:pt x="178" y="10"/>
                  </a:lnTo>
                  <a:lnTo>
                    <a:pt x="179" y="8"/>
                  </a:lnTo>
                  <a:lnTo>
                    <a:pt x="180" y="6"/>
                  </a:lnTo>
                  <a:lnTo>
                    <a:pt x="182" y="5"/>
                  </a:lnTo>
                  <a:lnTo>
                    <a:pt x="182" y="3"/>
                  </a:lnTo>
                  <a:lnTo>
                    <a:pt x="184" y="2"/>
                  </a:lnTo>
                  <a:lnTo>
                    <a:pt x="186" y="0"/>
                  </a:lnTo>
                  <a:lnTo>
                    <a:pt x="187" y="0"/>
                  </a:lnTo>
                  <a:lnTo>
                    <a:pt x="188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90" y="1"/>
                  </a:lnTo>
                  <a:lnTo>
                    <a:pt x="191" y="7"/>
                  </a:lnTo>
                  <a:lnTo>
                    <a:pt x="192" y="9"/>
                  </a:lnTo>
                  <a:lnTo>
                    <a:pt x="193" y="11"/>
                  </a:lnTo>
                  <a:lnTo>
                    <a:pt x="194" y="14"/>
                  </a:lnTo>
                  <a:lnTo>
                    <a:pt x="197" y="17"/>
                  </a:lnTo>
                  <a:lnTo>
                    <a:pt x="199" y="18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1" name="Freeform 74">
              <a:extLst>
                <a:ext uri="{FF2B5EF4-FFF2-40B4-BE49-F238E27FC236}">
                  <a16:creationId xmlns:a16="http://schemas.microsoft.com/office/drawing/2014/main" id="{C9F62AEA-3065-44B3-ADB2-AE8BED5EE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2" y="2827"/>
              <a:ext cx="561" cy="470"/>
            </a:xfrm>
            <a:custGeom>
              <a:avLst/>
              <a:gdLst>
                <a:gd name="T0" fmla="*/ 446 w 561"/>
                <a:gd name="T1" fmla="*/ 13 h 470"/>
                <a:gd name="T2" fmla="*/ 466 w 561"/>
                <a:gd name="T3" fmla="*/ 28 h 470"/>
                <a:gd name="T4" fmla="*/ 495 w 561"/>
                <a:gd name="T5" fmla="*/ 23 h 470"/>
                <a:gd name="T6" fmla="*/ 513 w 561"/>
                <a:gd name="T7" fmla="*/ 29 h 470"/>
                <a:gd name="T8" fmla="*/ 529 w 561"/>
                <a:gd name="T9" fmla="*/ 46 h 470"/>
                <a:gd name="T10" fmla="*/ 555 w 561"/>
                <a:gd name="T11" fmla="*/ 51 h 470"/>
                <a:gd name="T12" fmla="*/ 557 w 561"/>
                <a:gd name="T13" fmla="*/ 85 h 470"/>
                <a:gd name="T14" fmla="*/ 526 w 561"/>
                <a:gd name="T15" fmla="*/ 128 h 470"/>
                <a:gd name="T16" fmla="*/ 502 w 561"/>
                <a:gd name="T17" fmla="*/ 128 h 470"/>
                <a:gd name="T18" fmla="*/ 475 w 561"/>
                <a:gd name="T19" fmla="*/ 133 h 470"/>
                <a:gd name="T20" fmla="*/ 423 w 561"/>
                <a:gd name="T21" fmla="*/ 148 h 470"/>
                <a:gd name="T22" fmla="*/ 391 w 561"/>
                <a:gd name="T23" fmla="*/ 156 h 470"/>
                <a:gd name="T24" fmla="*/ 396 w 561"/>
                <a:gd name="T25" fmla="*/ 168 h 470"/>
                <a:gd name="T26" fmla="*/ 379 w 561"/>
                <a:gd name="T27" fmla="*/ 214 h 470"/>
                <a:gd name="T28" fmla="*/ 360 w 561"/>
                <a:gd name="T29" fmla="*/ 232 h 470"/>
                <a:gd name="T30" fmla="*/ 333 w 561"/>
                <a:gd name="T31" fmla="*/ 237 h 470"/>
                <a:gd name="T32" fmla="*/ 296 w 561"/>
                <a:gd name="T33" fmla="*/ 232 h 470"/>
                <a:gd name="T34" fmla="*/ 283 w 561"/>
                <a:gd name="T35" fmla="*/ 243 h 470"/>
                <a:gd name="T36" fmla="*/ 288 w 561"/>
                <a:gd name="T37" fmla="*/ 268 h 470"/>
                <a:gd name="T38" fmla="*/ 277 w 561"/>
                <a:gd name="T39" fmla="*/ 288 h 470"/>
                <a:gd name="T40" fmla="*/ 264 w 561"/>
                <a:gd name="T41" fmla="*/ 308 h 470"/>
                <a:gd name="T42" fmla="*/ 222 w 561"/>
                <a:gd name="T43" fmla="*/ 327 h 470"/>
                <a:gd name="T44" fmla="*/ 180 w 561"/>
                <a:gd name="T45" fmla="*/ 339 h 470"/>
                <a:gd name="T46" fmla="*/ 133 w 561"/>
                <a:gd name="T47" fmla="*/ 366 h 470"/>
                <a:gd name="T48" fmla="*/ 96 w 561"/>
                <a:gd name="T49" fmla="*/ 406 h 470"/>
                <a:gd name="T50" fmla="*/ 94 w 561"/>
                <a:gd name="T51" fmla="*/ 436 h 470"/>
                <a:gd name="T52" fmla="*/ 77 w 561"/>
                <a:gd name="T53" fmla="*/ 448 h 470"/>
                <a:gd name="T54" fmla="*/ 13 w 561"/>
                <a:gd name="T55" fmla="*/ 470 h 470"/>
                <a:gd name="T56" fmla="*/ 0 w 561"/>
                <a:gd name="T57" fmla="*/ 458 h 470"/>
                <a:gd name="T58" fmla="*/ 6 w 561"/>
                <a:gd name="T59" fmla="*/ 439 h 470"/>
                <a:gd name="T60" fmla="*/ 23 w 561"/>
                <a:gd name="T61" fmla="*/ 414 h 470"/>
                <a:gd name="T62" fmla="*/ 52 w 561"/>
                <a:gd name="T63" fmla="*/ 389 h 470"/>
                <a:gd name="T64" fmla="*/ 61 w 561"/>
                <a:gd name="T65" fmla="*/ 355 h 470"/>
                <a:gd name="T66" fmla="*/ 43 w 561"/>
                <a:gd name="T67" fmla="*/ 350 h 470"/>
                <a:gd name="T68" fmla="*/ 30 w 561"/>
                <a:gd name="T69" fmla="*/ 337 h 470"/>
                <a:gd name="T70" fmla="*/ 16 w 561"/>
                <a:gd name="T71" fmla="*/ 287 h 470"/>
                <a:gd name="T72" fmla="*/ 29 w 561"/>
                <a:gd name="T73" fmla="*/ 233 h 470"/>
                <a:gd name="T74" fmla="*/ 43 w 561"/>
                <a:gd name="T75" fmla="*/ 233 h 470"/>
                <a:gd name="T76" fmla="*/ 52 w 561"/>
                <a:gd name="T77" fmla="*/ 213 h 470"/>
                <a:gd name="T78" fmla="*/ 68 w 561"/>
                <a:gd name="T79" fmla="*/ 212 h 470"/>
                <a:gd name="T80" fmla="*/ 100 w 561"/>
                <a:gd name="T81" fmla="*/ 201 h 470"/>
                <a:gd name="T82" fmla="*/ 113 w 561"/>
                <a:gd name="T83" fmla="*/ 202 h 470"/>
                <a:gd name="T84" fmla="*/ 134 w 561"/>
                <a:gd name="T85" fmla="*/ 190 h 470"/>
                <a:gd name="T86" fmla="*/ 161 w 561"/>
                <a:gd name="T87" fmla="*/ 158 h 470"/>
                <a:gd name="T88" fmla="*/ 172 w 561"/>
                <a:gd name="T89" fmla="*/ 135 h 470"/>
                <a:gd name="T90" fmla="*/ 163 w 561"/>
                <a:gd name="T91" fmla="*/ 95 h 470"/>
                <a:gd name="T92" fmla="*/ 182 w 561"/>
                <a:gd name="T93" fmla="*/ 71 h 470"/>
                <a:gd name="T94" fmla="*/ 193 w 561"/>
                <a:gd name="T95" fmla="*/ 91 h 470"/>
                <a:gd name="T96" fmla="*/ 217 w 561"/>
                <a:gd name="T97" fmla="*/ 100 h 470"/>
                <a:gd name="T98" fmla="*/ 255 w 561"/>
                <a:gd name="T99" fmla="*/ 111 h 470"/>
                <a:gd name="T100" fmla="*/ 282 w 561"/>
                <a:gd name="T101" fmla="*/ 116 h 470"/>
                <a:gd name="T102" fmla="*/ 297 w 561"/>
                <a:gd name="T103" fmla="*/ 83 h 470"/>
                <a:gd name="T104" fmla="*/ 328 w 561"/>
                <a:gd name="T105" fmla="*/ 71 h 470"/>
                <a:gd name="T106" fmla="*/ 365 w 561"/>
                <a:gd name="T107" fmla="*/ 75 h 470"/>
                <a:gd name="T108" fmla="*/ 388 w 561"/>
                <a:gd name="T109" fmla="*/ 69 h 470"/>
                <a:gd name="T110" fmla="*/ 395 w 561"/>
                <a:gd name="T111" fmla="*/ 45 h 470"/>
                <a:gd name="T112" fmla="*/ 387 w 561"/>
                <a:gd name="T113" fmla="*/ 18 h 470"/>
                <a:gd name="T114" fmla="*/ 409 w 561"/>
                <a:gd name="T115" fmla="*/ 19 h 470"/>
                <a:gd name="T116" fmla="*/ 425 w 561"/>
                <a:gd name="T11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1" h="470">
                  <a:moveTo>
                    <a:pt x="425" y="0"/>
                  </a:moveTo>
                  <a:lnTo>
                    <a:pt x="426" y="0"/>
                  </a:lnTo>
                  <a:lnTo>
                    <a:pt x="429" y="0"/>
                  </a:lnTo>
                  <a:lnTo>
                    <a:pt x="431" y="0"/>
                  </a:lnTo>
                  <a:lnTo>
                    <a:pt x="432" y="1"/>
                  </a:lnTo>
                  <a:lnTo>
                    <a:pt x="433" y="2"/>
                  </a:lnTo>
                  <a:lnTo>
                    <a:pt x="436" y="4"/>
                  </a:lnTo>
                  <a:lnTo>
                    <a:pt x="442" y="8"/>
                  </a:lnTo>
                  <a:lnTo>
                    <a:pt x="443" y="9"/>
                  </a:lnTo>
                  <a:lnTo>
                    <a:pt x="445" y="12"/>
                  </a:lnTo>
                  <a:lnTo>
                    <a:pt x="446" y="13"/>
                  </a:lnTo>
                  <a:lnTo>
                    <a:pt x="447" y="15"/>
                  </a:lnTo>
                  <a:lnTo>
                    <a:pt x="448" y="16"/>
                  </a:lnTo>
                  <a:lnTo>
                    <a:pt x="449" y="18"/>
                  </a:lnTo>
                  <a:lnTo>
                    <a:pt x="450" y="19"/>
                  </a:lnTo>
                  <a:lnTo>
                    <a:pt x="451" y="21"/>
                  </a:lnTo>
                  <a:lnTo>
                    <a:pt x="453" y="23"/>
                  </a:lnTo>
                  <a:lnTo>
                    <a:pt x="455" y="25"/>
                  </a:lnTo>
                  <a:lnTo>
                    <a:pt x="456" y="26"/>
                  </a:lnTo>
                  <a:lnTo>
                    <a:pt x="462" y="28"/>
                  </a:lnTo>
                  <a:lnTo>
                    <a:pt x="465" y="28"/>
                  </a:lnTo>
                  <a:lnTo>
                    <a:pt x="466" y="28"/>
                  </a:lnTo>
                  <a:lnTo>
                    <a:pt x="468" y="29"/>
                  </a:lnTo>
                  <a:lnTo>
                    <a:pt x="469" y="29"/>
                  </a:lnTo>
                  <a:lnTo>
                    <a:pt x="471" y="28"/>
                  </a:lnTo>
                  <a:lnTo>
                    <a:pt x="473" y="28"/>
                  </a:lnTo>
                  <a:lnTo>
                    <a:pt x="476" y="28"/>
                  </a:lnTo>
                  <a:lnTo>
                    <a:pt x="481" y="26"/>
                  </a:lnTo>
                  <a:lnTo>
                    <a:pt x="483" y="25"/>
                  </a:lnTo>
                  <a:lnTo>
                    <a:pt x="487" y="24"/>
                  </a:lnTo>
                  <a:lnTo>
                    <a:pt x="490" y="24"/>
                  </a:lnTo>
                  <a:lnTo>
                    <a:pt x="492" y="23"/>
                  </a:lnTo>
                  <a:lnTo>
                    <a:pt x="495" y="23"/>
                  </a:lnTo>
                  <a:lnTo>
                    <a:pt x="497" y="22"/>
                  </a:lnTo>
                  <a:lnTo>
                    <a:pt x="498" y="21"/>
                  </a:lnTo>
                  <a:lnTo>
                    <a:pt x="499" y="20"/>
                  </a:lnTo>
                  <a:lnTo>
                    <a:pt x="500" y="19"/>
                  </a:lnTo>
                  <a:lnTo>
                    <a:pt x="500" y="18"/>
                  </a:lnTo>
                  <a:lnTo>
                    <a:pt x="500" y="17"/>
                  </a:lnTo>
                  <a:lnTo>
                    <a:pt x="500" y="17"/>
                  </a:lnTo>
                  <a:lnTo>
                    <a:pt x="501" y="18"/>
                  </a:lnTo>
                  <a:lnTo>
                    <a:pt x="506" y="23"/>
                  </a:lnTo>
                  <a:lnTo>
                    <a:pt x="509" y="26"/>
                  </a:lnTo>
                  <a:lnTo>
                    <a:pt x="513" y="29"/>
                  </a:lnTo>
                  <a:lnTo>
                    <a:pt x="516" y="33"/>
                  </a:lnTo>
                  <a:lnTo>
                    <a:pt x="518" y="35"/>
                  </a:lnTo>
                  <a:lnTo>
                    <a:pt x="520" y="37"/>
                  </a:lnTo>
                  <a:lnTo>
                    <a:pt x="521" y="39"/>
                  </a:lnTo>
                  <a:lnTo>
                    <a:pt x="523" y="42"/>
                  </a:lnTo>
                  <a:lnTo>
                    <a:pt x="523" y="43"/>
                  </a:lnTo>
                  <a:lnTo>
                    <a:pt x="523" y="44"/>
                  </a:lnTo>
                  <a:lnTo>
                    <a:pt x="525" y="45"/>
                  </a:lnTo>
                  <a:lnTo>
                    <a:pt x="526" y="45"/>
                  </a:lnTo>
                  <a:lnTo>
                    <a:pt x="527" y="46"/>
                  </a:lnTo>
                  <a:lnTo>
                    <a:pt x="529" y="46"/>
                  </a:lnTo>
                  <a:lnTo>
                    <a:pt x="532" y="46"/>
                  </a:lnTo>
                  <a:lnTo>
                    <a:pt x="537" y="46"/>
                  </a:lnTo>
                  <a:lnTo>
                    <a:pt x="543" y="45"/>
                  </a:lnTo>
                  <a:lnTo>
                    <a:pt x="545" y="45"/>
                  </a:lnTo>
                  <a:lnTo>
                    <a:pt x="546" y="45"/>
                  </a:lnTo>
                  <a:lnTo>
                    <a:pt x="547" y="46"/>
                  </a:lnTo>
                  <a:lnTo>
                    <a:pt x="549" y="46"/>
                  </a:lnTo>
                  <a:lnTo>
                    <a:pt x="551" y="47"/>
                  </a:lnTo>
                  <a:lnTo>
                    <a:pt x="553" y="49"/>
                  </a:lnTo>
                  <a:lnTo>
                    <a:pt x="554" y="50"/>
                  </a:lnTo>
                  <a:lnTo>
                    <a:pt x="555" y="51"/>
                  </a:lnTo>
                  <a:lnTo>
                    <a:pt x="557" y="54"/>
                  </a:lnTo>
                  <a:lnTo>
                    <a:pt x="558" y="56"/>
                  </a:lnTo>
                  <a:lnTo>
                    <a:pt x="559" y="59"/>
                  </a:lnTo>
                  <a:lnTo>
                    <a:pt x="560" y="62"/>
                  </a:lnTo>
                  <a:lnTo>
                    <a:pt x="560" y="62"/>
                  </a:lnTo>
                  <a:lnTo>
                    <a:pt x="561" y="64"/>
                  </a:lnTo>
                  <a:lnTo>
                    <a:pt x="561" y="68"/>
                  </a:lnTo>
                  <a:lnTo>
                    <a:pt x="560" y="71"/>
                  </a:lnTo>
                  <a:lnTo>
                    <a:pt x="558" y="80"/>
                  </a:lnTo>
                  <a:lnTo>
                    <a:pt x="558" y="83"/>
                  </a:lnTo>
                  <a:lnTo>
                    <a:pt x="557" y="85"/>
                  </a:lnTo>
                  <a:lnTo>
                    <a:pt x="557" y="88"/>
                  </a:lnTo>
                  <a:lnTo>
                    <a:pt x="555" y="91"/>
                  </a:lnTo>
                  <a:lnTo>
                    <a:pt x="552" y="96"/>
                  </a:lnTo>
                  <a:lnTo>
                    <a:pt x="548" y="101"/>
                  </a:lnTo>
                  <a:lnTo>
                    <a:pt x="546" y="104"/>
                  </a:lnTo>
                  <a:lnTo>
                    <a:pt x="536" y="118"/>
                  </a:lnTo>
                  <a:lnTo>
                    <a:pt x="534" y="120"/>
                  </a:lnTo>
                  <a:lnTo>
                    <a:pt x="531" y="123"/>
                  </a:lnTo>
                  <a:lnTo>
                    <a:pt x="528" y="126"/>
                  </a:lnTo>
                  <a:lnTo>
                    <a:pt x="527" y="127"/>
                  </a:lnTo>
                  <a:lnTo>
                    <a:pt x="526" y="128"/>
                  </a:lnTo>
                  <a:lnTo>
                    <a:pt x="524" y="129"/>
                  </a:lnTo>
                  <a:lnTo>
                    <a:pt x="523" y="129"/>
                  </a:lnTo>
                  <a:lnTo>
                    <a:pt x="521" y="130"/>
                  </a:lnTo>
                  <a:lnTo>
                    <a:pt x="519" y="130"/>
                  </a:lnTo>
                  <a:lnTo>
                    <a:pt x="512" y="130"/>
                  </a:lnTo>
                  <a:lnTo>
                    <a:pt x="510" y="130"/>
                  </a:lnTo>
                  <a:lnTo>
                    <a:pt x="508" y="130"/>
                  </a:lnTo>
                  <a:lnTo>
                    <a:pt x="507" y="130"/>
                  </a:lnTo>
                  <a:lnTo>
                    <a:pt x="506" y="130"/>
                  </a:lnTo>
                  <a:lnTo>
                    <a:pt x="505" y="130"/>
                  </a:lnTo>
                  <a:lnTo>
                    <a:pt x="502" y="128"/>
                  </a:lnTo>
                  <a:lnTo>
                    <a:pt x="501" y="127"/>
                  </a:lnTo>
                  <a:lnTo>
                    <a:pt x="498" y="126"/>
                  </a:lnTo>
                  <a:lnTo>
                    <a:pt x="494" y="126"/>
                  </a:lnTo>
                  <a:lnTo>
                    <a:pt x="493" y="125"/>
                  </a:lnTo>
                  <a:lnTo>
                    <a:pt x="492" y="125"/>
                  </a:lnTo>
                  <a:lnTo>
                    <a:pt x="491" y="124"/>
                  </a:lnTo>
                  <a:lnTo>
                    <a:pt x="489" y="122"/>
                  </a:lnTo>
                  <a:lnTo>
                    <a:pt x="487" y="123"/>
                  </a:lnTo>
                  <a:lnTo>
                    <a:pt x="481" y="128"/>
                  </a:lnTo>
                  <a:lnTo>
                    <a:pt x="478" y="131"/>
                  </a:lnTo>
                  <a:lnTo>
                    <a:pt x="475" y="133"/>
                  </a:lnTo>
                  <a:lnTo>
                    <a:pt x="471" y="136"/>
                  </a:lnTo>
                  <a:lnTo>
                    <a:pt x="466" y="139"/>
                  </a:lnTo>
                  <a:lnTo>
                    <a:pt x="462" y="141"/>
                  </a:lnTo>
                  <a:lnTo>
                    <a:pt x="457" y="143"/>
                  </a:lnTo>
                  <a:lnTo>
                    <a:pt x="454" y="144"/>
                  </a:lnTo>
                  <a:lnTo>
                    <a:pt x="450" y="145"/>
                  </a:lnTo>
                  <a:lnTo>
                    <a:pt x="446" y="146"/>
                  </a:lnTo>
                  <a:lnTo>
                    <a:pt x="443" y="146"/>
                  </a:lnTo>
                  <a:lnTo>
                    <a:pt x="437" y="146"/>
                  </a:lnTo>
                  <a:lnTo>
                    <a:pt x="434" y="147"/>
                  </a:lnTo>
                  <a:lnTo>
                    <a:pt x="423" y="148"/>
                  </a:lnTo>
                  <a:lnTo>
                    <a:pt x="421" y="149"/>
                  </a:lnTo>
                  <a:lnTo>
                    <a:pt x="412" y="149"/>
                  </a:lnTo>
                  <a:lnTo>
                    <a:pt x="409" y="150"/>
                  </a:lnTo>
                  <a:lnTo>
                    <a:pt x="407" y="150"/>
                  </a:lnTo>
                  <a:lnTo>
                    <a:pt x="402" y="151"/>
                  </a:lnTo>
                  <a:lnTo>
                    <a:pt x="400" y="152"/>
                  </a:lnTo>
                  <a:lnTo>
                    <a:pt x="398" y="153"/>
                  </a:lnTo>
                  <a:lnTo>
                    <a:pt x="397" y="153"/>
                  </a:lnTo>
                  <a:lnTo>
                    <a:pt x="395" y="154"/>
                  </a:lnTo>
                  <a:lnTo>
                    <a:pt x="393" y="155"/>
                  </a:lnTo>
                  <a:lnTo>
                    <a:pt x="391" y="156"/>
                  </a:lnTo>
                  <a:lnTo>
                    <a:pt x="390" y="158"/>
                  </a:lnTo>
                  <a:lnTo>
                    <a:pt x="389" y="159"/>
                  </a:lnTo>
                  <a:lnTo>
                    <a:pt x="389" y="160"/>
                  </a:lnTo>
                  <a:lnTo>
                    <a:pt x="389" y="161"/>
                  </a:lnTo>
                  <a:lnTo>
                    <a:pt x="389" y="162"/>
                  </a:lnTo>
                  <a:lnTo>
                    <a:pt x="389" y="163"/>
                  </a:lnTo>
                  <a:lnTo>
                    <a:pt x="390" y="164"/>
                  </a:lnTo>
                  <a:lnTo>
                    <a:pt x="391" y="164"/>
                  </a:lnTo>
                  <a:lnTo>
                    <a:pt x="392" y="165"/>
                  </a:lnTo>
                  <a:lnTo>
                    <a:pt x="395" y="167"/>
                  </a:lnTo>
                  <a:lnTo>
                    <a:pt x="396" y="168"/>
                  </a:lnTo>
                  <a:lnTo>
                    <a:pt x="397" y="169"/>
                  </a:lnTo>
                  <a:lnTo>
                    <a:pt x="397" y="170"/>
                  </a:lnTo>
                  <a:lnTo>
                    <a:pt x="397" y="172"/>
                  </a:lnTo>
                  <a:lnTo>
                    <a:pt x="396" y="174"/>
                  </a:lnTo>
                  <a:lnTo>
                    <a:pt x="395" y="177"/>
                  </a:lnTo>
                  <a:lnTo>
                    <a:pt x="394" y="181"/>
                  </a:lnTo>
                  <a:lnTo>
                    <a:pt x="392" y="187"/>
                  </a:lnTo>
                  <a:lnTo>
                    <a:pt x="387" y="198"/>
                  </a:lnTo>
                  <a:lnTo>
                    <a:pt x="383" y="209"/>
                  </a:lnTo>
                  <a:lnTo>
                    <a:pt x="381" y="211"/>
                  </a:lnTo>
                  <a:lnTo>
                    <a:pt x="379" y="214"/>
                  </a:lnTo>
                  <a:lnTo>
                    <a:pt x="375" y="218"/>
                  </a:lnTo>
                  <a:lnTo>
                    <a:pt x="374" y="220"/>
                  </a:lnTo>
                  <a:lnTo>
                    <a:pt x="373" y="221"/>
                  </a:lnTo>
                  <a:lnTo>
                    <a:pt x="371" y="224"/>
                  </a:lnTo>
                  <a:lnTo>
                    <a:pt x="370" y="226"/>
                  </a:lnTo>
                  <a:lnTo>
                    <a:pt x="369" y="227"/>
                  </a:lnTo>
                  <a:lnTo>
                    <a:pt x="368" y="228"/>
                  </a:lnTo>
                  <a:lnTo>
                    <a:pt x="366" y="229"/>
                  </a:lnTo>
                  <a:lnTo>
                    <a:pt x="364" y="230"/>
                  </a:lnTo>
                  <a:lnTo>
                    <a:pt x="362" y="231"/>
                  </a:lnTo>
                  <a:lnTo>
                    <a:pt x="360" y="232"/>
                  </a:lnTo>
                  <a:lnTo>
                    <a:pt x="358" y="232"/>
                  </a:lnTo>
                  <a:lnTo>
                    <a:pt x="357" y="232"/>
                  </a:lnTo>
                  <a:lnTo>
                    <a:pt x="355" y="232"/>
                  </a:lnTo>
                  <a:lnTo>
                    <a:pt x="349" y="231"/>
                  </a:lnTo>
                  <a:lnTo>
                    <a:pt x="347" y="231"/>
                  </a:lnTo>
                  <a:lnTo>
                    <a:pt x="346" y="231"/>
                  </a:lnTo>
                  <a:lnTo>
                    <a:pt x="345" y="232"/>
                  </a:lnTo>
                  <a:lnTo>
                    <a:pt x="343" y="232"/>
                  </a:lnTo>
                  <a:lnTo>
                    <a:pt x="338" y="235"/>
                  </a:lnTo>
                  <a:lnTo>
                    <a:pt x="336" y="236"/>
                  </a:lnTo>
                  <a:lnTo>
                    <a:pt x="333" y="237"/>
                  </a:lnTo>
                  <a:lnTo>
                    <a:pt x="330" y="238"/>
                  </a:lnTo>
                  <a:lnTo>
                    <a:pt x="329" y="238"/>
                  </a:lnTo>
                  <a:lnTo>
                    <a:pt x="327" y="238"/>
                  </a:lnTo>
                  <a:lnTo>
                    <a:pt x="324" y="237"/>
                  </a:lnTo>
                  <a:lnTo>
                    <a:pt x="321" y="237"/>
                  </a:lnTo>
                  <a:lnTo>
                    <a:pt x="318" y="236"/>
                  </a:lnTo>
                  <a:lnTo>
                    <a:pt x="313" y="234"/>
                  </a:lnTo>
                  <a:lnTo>
                    <a:pt x="310" y="233"/>
                  </a:lnTo>
                  <a:lnTo>
                    <a:pt x="307" y="233"/>
                  </a:lnTo>
                  <a:lnTo>
                    <a:pt x="301" y="233"/>
                  </a:lnTo>
                  <a:lnTo>
                    <a:pt x="296" y="232"/>
                  </a:lnTo>
                  <a:lnTo>
                    <a:pt x="295" y="233"/>
                  </a:lnTo>
                  <a:lnTo>
                    <a:pt x="294" y="233"/>
                  </a:lnTo>
                  <a:lnTo>
                    <a:pt x="292" y="233"/>
                  </a:lnTo>
                  <a:lnTo>
                    <a:pt x="290" y="234"/>
                  </a:lnTo>
                  <a:lnTo>
                    <a:pt x="288" y="235"/>
                  </a:lnTo>
                  <a:lnTo>
                    <a:pt x="287" y="236"/>
                  </a:lnTo>
                  <a:lnTo>
                    <a:pt x="285" y="237"/>
                  </a:lnTo>
                  <a:lnTo>
                    <a:pt x="284" y="238"/>
                  </a:lnTo>
                  <a:lnTo>
                    <a:pt x="284" y="240"/>
                  </a:lnTo>
                  <a:lnTo>
                    <a:pt x="283" y="241"/>
                  </a:lnTo>
                  <a:lnTo>
                    <a:pt x="283" y="243"/>
                  </a:lnTo>
                  <a:lnTo>
                    <a:pt x="282" y="244"/>
                  </a:lnTo>
                  <a:lnTo>
                    <a:pt x="282" y="246"/>
                  </a:lnTo>
                  <a:lnTo>
                    <a:pt x="282" y="247"/>
                  </a:lnTo>
                  <a:lnTo>
                    <a:pt x="282" y="249"/>
                  </a:lnTo>
                  <a:lnTo>
                    <a:pt x="282" y="251"/>
                  </a:lnTo>
                  <a:lnTo>
                    <a:pt x="283" y="253"/>
                  </a:lnTo>
                  <a:lnTo>
                    <a:pt x="283" y="255"/>
                  </a:lnTo>
                  <a:lnTo>
                    <a:pt x="284" y="258"/>
                  </a:lnTo>
                  <a:lnTo>
                    <a:pt x="287" y="264"/>
                  </a:lnTo>
                  <a:lnTo>
                    <a:pt x="288" y="266"/>
                  </a:lnTo>
                  <a:lnTo>
                    <a:pt x="288" y="268"/>
                  </a:lnTo>
                  <a:lnTo>
                    <a:pt x="289" y="272"/>
                  </a:lnTo>
                  <a:lnTo>
                    <a:pt x="289" y="276"/>
                  </a:lnTo>
                  <a:lnTo>
                    <a:pt x="289" y="277"/>
                  </a:lnTo>
                  <a:lnTo>
                    <a:pt x="288" y="278"/>
                  </a:lnTo>
                  <a:lnTo>
                    <a:pt x="288" y="279"/>
                  </a:lnTo>
                  <a:lnTo>
                    <a:pt x="287" y="280"/>
                  </a:lnTo>
                  <a:lnTo>
                    <a:pt x="286" y="282"/>
                  </a:lnTo>
                  <a:lnTo>
                    <a:pt x="285" y="283"/>
                  </a:lnTo>
                  <a:lnTo>
                    <a:pt x="284" y="284"/>
                  </a:lnTo>
                  <a:lnTo>
                    <a:pt x="280" y="286"/>
                  </a:lnTo>
                  <a:lnTo>
                    <a:pt x="277" y="288"/>
                  </a:lnTo>
                  <a:lnTo>
                    <a:pt x="275" y="289"/>
                  </a:lnTo>
                  <a:lnTo>
                    <a:pt x="274" y="290"/>
                  </a:lnTo>
                  <a:lnTo>
                    <a:pt x="273" y="292"/>
                  </a:lnTo>
                  <a:lnTo>
                    <a:pt x="273" y="293"/>
                  </a:lnTo>
                  <a:lnTo>
                    <a:pt x="272" y="295"/>
                  </a:lnTo>
                  <a:lnTo>
                    <a:pt x="271" y="300"/>
                  </a:lnTo>
                  <a:lnTo>
                    <a:pt x="270" y="301"/>
                  </a:lnTo>
                  <a:lnTo>
                    <a:pt x="269" y="302"/>
                  </a:lnTo>
                  <a:lnTo>
                    <a:pt x="268" y="304"/>
                  </a:lnTo>
                  <a:lnTo>
                    <a:pt x="266" y="306"/>
                  </a:lnTo>
                  <a:lnTo>
                    <a:pt x="264" y="308"/>
                  </a:lnTo>
                  <a:lnTo>
                    <a:pt x="262" y="309"/>
                  </a:lnTo>
                  <a:lnTo>
                    <a:pt x="260" y="311"/>
                  </a:lnTo>
                  <a:lnTo>
                    <a:pt x="257" y="312"/>
                  </a:lnTo>
                  <a:lnTo>
                    <a:pt x="253" y="315"/>
                  </a:lnTo>
                  <a:lnTo>
                    <a:pt x="250" y="316"/>
                  </a:lnTo>
                  <a:lnTo>
                    <a:pt x="246" y="318"/>
                  </a:lnTo>
                  <a:lnTo>
                    <a:pt x="235" y="322"/>
                  </a:lnTo>
                  <a:lnTo>
                    <a:pt x="229" y="323"/>
                  </a:lnTo>
                  <a:lnTo>
                    <a:pt x="226" y="324"/>
                  </a:lnTo>
                  <a:lnTo>
                    <a:pt x="224" y="326"/>
                  </a:lnTo>
                  <a:lnTo>
                    <a:pt x="222" y="327"/>
                  </a:lnTo>
                  <a:lnTo>
                    <a:pt x="221" y="328"/>
                  </a:lnTo>
                  <a:lnTo>
                    <a:pt x="220" y="329"/>
                  </a:lnTo>
                  <a:lnTo>
                    <a:pt x="219" y="329"/>
                  </a:lnTo>
                  <a:lnTo>
                    <a:pt x="217" y="330"/>
                  </a:lnTo>
                  <a:lnTo>
                    <a:pt x="216" y="331"/>
                  </a:lnTo>
                  <a:lnTo>
                    <a:pt x="214" y="332"/>
                  </a:lnTo>
                  <a:lnTo>
                    <a:pt x="211" y="333"/>
                  </a:lnTo>
                  <a:lnTo>
                    <a:pt x="198" y="334"/>
                  </a:lnTo>
                  <a:lnTo>
                    <a:pt x="189" y="336"/>
                  </a:lnTo>
                  <a:lnTo>
                    <a:pt x="184" y="337"/>
                  </a:lnTo>
                  <a:lnTo>
                    <a:pt x="180" y="339"/>
                  </a:lnTo>
                  <a:lnTo>
                    <a:pt x="176" y="340"/>
                  </a:lnTo>
                  <a:lnTo>
                    <a:pt x="172" y="342"/>
                  </a:lnTo>
                  <a:lnTo>
                    <a:pt x="169" y="344"/>
                  </a:lnTo>
                  <a:lnTo>
                    <a:pt x="165" y="346"/>
                  </a:lnTo>
                  <a:lnTo>
                    <a:pt x="161" y="347"/>
                  </a:lnTo>
                  <a:lnTo>
                    <a:pt x="154" y="352"/>
                  </a:lnTo>
                  <a:lnTo>
                    <a:pt x="146" y="357"/>
                  </a:lnTo>
                  <a:lnTo>
                    <a:pt x="141" y="359"/>
                  </a:lnTo>
                  <a:lnTo>
                    <a:pt x="138" y="361"/>
                  </a:lnTo>
                  <a:lnTo>
                    <a:pt x="136" y="363"/>
                  </a:lnTo>
                  <a:lnTo>
                    <a:pt x="133" y="366"/>
                  </a:lnTo>
                  <a:lnTo>
                    <a:pt x="130" y="368"/>
                  </a:lnTo>
                  <a:lnTo>
                    <a:pt x="121" y="379"/>
                  </a:lnTo>
                  <a:lnTo>
                    <a:pt x="118" y="381"/>
                  </a:lnTo>
                  <a:lnTo>
                    <a:pt x="112" y="388"/>
                  </a:lnTo>
                  <a:lnTo>
                    <a:pt x="105" y="393"/>
                  </a:lnTo>
                  <a:lnTo>
                    <a:pt x="103" y="395"/>
                  </a:lnTo>
                  <a:lnTo>
                    <a:pt x="101" y="398"/>
                  </a:lnTo>
                  <a:lnTo>
                    <a:pt x="99" y="401"/>
                  </a:lnTo>
                  <a:lnTo>
                    <a:pt x="98" y="402"/>
                  </a:lnTo>
                  <a:lnTo>
                    <a:pt x="97" y="404"/>
                  </a:lnTo>
                  <a:lnTo>
                    <a:pt x="96" y="406"/>
                  </a:lnTo>
                  <a:lnTo>
                    <a:pt x="95" y="409"/>
                  </a:lnTo>
                  <a:lnTo>
                    <a:pt x="95" y="412"/>
                  </a:lnTo>
                  <a:lnTo>
                    <a:pt x="95" y="414"/>
                  </a:lnTo>
                  <a:lnTo>
                    <a:pt x="96" y="415"/>
                  </a:lnTo>
                  <a:lnTo>
                    <a:pt x="97" y="422"/>
                  </a:lnTo>
                  <a:lnTo>
                    <a:pt x="97" y="423"/>
                  </a:lnTo>
                  <a:lnTo>
                    <a:pt x="97" y="425"/>
                  </a:lnTo>
                  <a:lnTo>
                    <a:pt x="97" y="427"/>
                  </a:lnTo>
                  <a:lnTo>
                    <a:pt x="96" y="431"/>
                  </a:lnTo>
                  <a:lnTo>
                    <a:pt x="95" y="433"/>
                  </a:lnTo>
                  <a:lnTo>
                    <a:pt x="94" y="436"/>
                  </a:lnTo>
                  <a:lnTo>
                    <a:pt x="92" y="437"/>
                  </a:lnTo>
                  <a:lnTo>
                    <a:pt x="91" y="439"/>
                  </a:lnTo>
                  <a:lnTo>
                    <a:pt x="91" y="440"/>
                  </a:lnTo>
                  <a:lnTo>
                    <a:pt x="89" y="442"/>
                  </a:lnTo>
                  <a:lnTo>
                    <a:pt x="88" y="443"/>
                  </a:lnTo>
                  <a:lnTo>
                    <a:pt x="85" y="445"/>
                  </a:lnTo>
                  <a:lnTo>
                    <a:pt x="82" y="446"/>
                  </a:lnTo>
                  <a:lnTo>
                    <a:pt x="80" y="447"/>
                  </a:lnTo>
                  <a:lnTo>
                    <a:pt x="79" y="448"/>
                  </a:lnTo>
                  <a:lnTo>
                    <a:pt x="78" y="448"/>
                  </a:lnTo>
                  <a:lnTo>
                    <a:pt x="77" y="448"/>
                  </a:lnTo>
                  <a:lnTo>
                    <a:pt x="76" y="448"/>
                  </a:lnTo>
                  <a:lnTo>
                    <a:pt x="75" y="448"/>
                  </a:lnTo>
                  <a:lnTo>
                    <a:pt x="70" y="449"/>
                  </a:lnTo>
                  <a:lnTo>
                    <a:pt x="66" y="451"/>
                  </a:lnTo>
                  <a:lnTo>
                    <a:pt x="55" y="457"/>
                  </a:lnTo>
                  <a:lnTo>
                    <a:pt x="49" y="459"/>
                  </a:lnTo>
                  <a:lnTo>
                    <a:pt x="27" y="468"/>
                  </a:lnTo>
                  <a:lnTo>
                    <a:pt x="23" y="469"/>
                  </a:lnTo>
                  <a:lnTo>
                    <a:pt x="21" y="470"/>
                  </a:lnTo>
                  <a:lnTo>
                    <a:pt x="18" y="470"/>
                  </a:lnTo>
                  <a:lnTo>
                    <a:pt x="13" y="470"/>
                  </a:lnTo>
                  <a:lnTo>
                    <a:pt x="11" y="470"/>
                  </a:lnTo>
                  <a:lnTo>
                    <a:pt x="9" y="470"/>
                  </a:lnTo>
                  <a:lnTo>
                    <a:pt x="6" y="469"/>
                  </a:lnTo>
                  <a:lnTo>
                    <a:pt x="4" y="469"/>
                  </a:lnTo>
                  <a:lnTo>
                    <a:pt x="3" y="468"/>
                  </a:lnTo>
                  <a:lnTo>
                    <a:pt x="3" y="467"/>
                  </a:lnTo>
                  <a:lnTo>
                    <a:pt x="2" y="466"/>
                  </a:lnTo>
                  <a:lnTo>
                    <a:pt x="1" y="466"/>
                  </a:lnTo>
                  <a:lnTo>
                    <a:pt x="1" y="464"/>
                  </a:lnTo>
                  <a:lnTo>
                    <a:pt x="1" y="462"/>
                  </a:lnTo>
                  <a:lnTo>
                    <a:pt x="0" y="458"/>
                  </a:lnTo>
                  <a:lnTo>
                    <a:pt x="0" y="452"/>
                  </a:lnTo>
                  <a:lnTo>
                    <a:pt x="0" y="450"/>
                  </a:lnTo>
                  <a:lnTo>
                    <a:pt x="0" y="448"/>
                  </a:lnTo>
                  <a:lnTo>
                    <a:pt x="0" y="446"/>
                  </a:lnTo>
                  <a:lnTo>
                    <a:pt x="0" y="444"/>
                  </a:lnTo>
                  <a:lnTo>
                    <a:pt x="1" y="443"/>
                  </a:lnTo>
                  <a:lnTo>
                    <a:pt x="2" y="442"/>
                  </a:lnTo>
                  <a:lnTo>
                    <a:pt x="2" y="441"/>
                  </a:lnTo>
                  <a:lnTo>
                    <a:pt x="3" y="440"/>
                  </a:lnTo>
                  <a:lnTo>
                    <a:pt x="5" y="439"/>
                  </a:lnTo>
                  <a:lnTo>
                    <a:pt x="6" y="439"/>
                  </a:lnTo>
                  <a:lnTo>
                    <a:pt x="11" y="437"/>
                  </a:lnTo>
                  <a:lnTo>
                    <a:pt x="13" y="436"/>
                  </a:lnTo>
                  <a:lnTo>
                    <a:pt x="14" y="435"/>
                  </a:lnTo>
                  <a:lnTo>
                    <a:pt x="16" y="434"/>
                  </a:lnTo>
                  <a:lnTo>
                    <a:pt x="16" y="433"/>
                  </a:lnTo>
                  <a:lnTo>
                    <a:pt x="17" y="432"/>
                  </a:lnTo>
                  <a:lnTo>
                    <a:pt x="18" y="430"/>
                  </a:lnTo>
                  <a:lnTo>
                    <a:pt x="19" y="428"/>
                  </a:lnTo>
                  <a:lnTo>
                    <a:pt x="21" y="424"/>
                  </a:lnTo>
                  <a:lnTo>
                    <a:pt x="22" y="421"/>
                  </a:lnTo>
                  <a:lnTo>
                    <a:pt x="23" y="414"/>
                  </a:lnTo>
                  <a:lnTo>
                    <a:pt x="26" y="402"/>
                  </a:lnTo>
                  <a:lnTo>
                    <a:pt x="26" y="401"/>
                  </a:lnTo>
                  <a:lnTo>
                    <a:pt x="27" y="401"/>
                  </a:lnTo>
                  <a:lnTo>
                    <a:pt x="29" y="401"/>
                  </a:lnTo>
                  <a:lnTo>
                    <a:pt x="33" y="400"/>
                  </a:lnTo>
                  <a:lnTo>
                    <a:pt x="36" y="399"/>
                  </a:lnTo>
                  <a:lnTo>
                    <a:pt x="40" y="397"/>
                  </a:lnTo>
                  <a:lnTo>
                    <a:pt x="44" y="395"/>
                  </a:lnTo>
                  <a:lnTo>
                    <a:pt x="47" y="392"/>
                  </a:lnTo>
                  <a:lnTo>
                    <a:pt x="50" y="391"/>
                  </a:lnTo>
                  <a:lnTo>
                    <a:pt x="52" y="389"/>
                  </a:lnTo>
                  <a:lnTo>
                    <a:pt x="54" y="386"/>
                  </a:lnTo>
                  <a:lnTo>
                    <a:pt x="56" y="382"/>
                  </a:lnTo>
                  <a:lnTo>
                    <a:pt x="57" y="380"/>
                  </a:lnTo>
                  <a:lnTo>
                    <a:pt x="58" y="377"/>
                  </a:lnTo>
                  <a:lnTo>
                    <a:pt x="60" y="371"/>
                  </a:lnTo>
                  <a:lnTo>
                    <a:pt x="61" y="368"/>
                  </a:lnTo>
                  <a:lnTo>
                    <a:pt x="62" y="364"/>
                  </a:lnTo>
                  <a:lnTo>
                    <a:pt x="62" y="360"/>
                  </a:lnTo>
                  <a:lnTo>
                    <a:pt x="62" y="357"/>
                  </a:lnTo>
                  <a:lnTo>
                    <a:pt x="62" y="356"/>
                  </a:lnTo>
                  <a:lnTo>
                    <a:pt x="61" y="355"/>
                  </a:lnTo>
                  <a:lnTo>
                    <a:pt x="61" y="353"/>
                  </a:lnTo>
                  <a:lnTo>
                    <a:pt x="60" y="352"/>
                  </a:lnTo>
                  <a:lnTo>
                    <a:pt x="59" y="351"/>
                  </a:lnTo>
                  <a:lnTo>
                    <a:pt x="58" y="350"/>
                  </a:lnTo>
                  <a:lnTo>
                    <a:pt x="57" y="349"/>
                  </a:lnTo>
                  <a:lnTo>
                    <a:pt x="57" y="349"/>
                  </a:lnTo>
                  <a:lnTo>
                    <a:pt x="55" y="349"/>
                  </a:lnTo>
                  <a:lnTo>
                    <a:pt x="53" y="349"/>
                  </a:lnTo>
                  <a:lnTo>
                    <a:pt x="49" y="350"/>
                  </a:lnTo>
                  <a:lnTo>
                    <a:pt x="46" y="350"/>
                  </a:lnTo>
                  <a:lnTo>
                    <a:pt x="43" y="350"/>
                  </a:lnTo>
                  <a:lnTo>
                    <a:pt x="36" y="350"/>
                  </a:lnTo>
                  <a:lnTo>
                    <a:pt x="34" y="350"/>
                  </a:lnTo>
                  <a:lnTo>
                    <a:pt x="33" y="349"/>
                  </a:lnTo>
                  <a:lnTo>
                    <a:pt x="31" y="349"/>
                  </a:lnTo>
                  <a:lnTo>
                    <a:pt x="30" y="348"/>
                  </a:lnTo>
                  <a:lnTo>
                    <a:pt x="30" y="347"/>
                  </a:lnTo>
                  <a:lnTo>
                    <a:pt x="30" y="346"/>
                  </a:lnTo>
                  <a:lnTo>
                    <a:pt x="29" y="345"/>
                  </a:lnTo>
                  <a:lnTo>
                    <a:pt x="29" y="343"/>
                  </a:lnTo>
                  <a:lnTo>
                    <a:pt x="30" y="338"/>
                  </a:lnTo>
                  <a:lnTo>
                    <a:pt x="30" y="337"/>
                  </a:lnTo>
                  <a:lnTo>
                    <a:pt x="29" y="334"/>
                  </a:lnTo>
                  <a:lnTo>
                    <a:pt x="29" y="333"/>
                  </a:lnTo>
                  <a:lnTo>
                    <a:pt x="28" y="330"/>
                  </a:lnTo>
                  <a:lnTo>
                    <a:pt x="25" y="323"/>
                  </a:lnTo>
                  <a:lnTo>
                    <a:pt x="21" y="312"/>
                  </a:lnTo>
                  <a:lnTo>
                    <a:pt x="19" y="308"/>
                  </a:lnTo>
                  <a:lnTo>
                    <a:pt x="18" y="305"/>
                  </a:lnTo>
                  <a:lnTo>
                    <a:pt x="18" y="302"/>
                  </a:lnTo>
                  <a:lnTo>
                    <a:pt x="17" y="300"/>
                  </a:lnTo>
                  <a:lnTo>
                    <a:pt x="17" y="290"/>
                  </a:lnTo>
                  <a:lnTo>
                    <a:pt x="16" y="287"/>
                  </a:lnTo>
                  <a:lnTo>
                    <a:pt x="15" y="283"/>
                  </a:lnTo>
                  <a:lnTo>
                    <a:pt x="14" y="276"/>
                  </a:lnTo>
                  <a:lnTo>
                    <a:pt x="13" y="273"/>
                  </a:lnTo>
                  <a:lnTo>
                    <a:pt x="13" y="270"/>
                  </a:lnTo>
                  <a:lnTo>
                    <a:pt x="13" y="266"/>
                  </a:lnTo>
                  <a:lnTo>
                    <a:pt x="14" y="264"/>
                  </a:lnTo>
                  <a:lnTo>
                    <a:pt x="15" y="262"/>
                  </a:lnTo>
                  <a:lnTo>
                    <a:pt x="16" y="259"/>
                  </a:lnTo>
                  <a:lnTo>
                    <a:pt x="17" y="255"/>
                  </a:lnTo>
                  <a:lnTo>
                    <a:pt x="20" y="250"/>
                  </a:lnTo>
                  <a:lnTo>
                    <a:pt x="29" y="233"/>
                  </a:lnTo>
                  <a:lnTo>
                    <a:pt x="30" y="234"/>
                  </a:lnTo>
                  <a:lnTo>
                    <a:pt x="32" y="235"/>
                  </a:lnTo>
                  <a:lnTo>
                    <a:pt x="33" y="236"/>
                  </a:lnTo>
                  <a:lnTo>
                    <a:pt x="35" y="237"/>
                  </a:lnTo>
                  <a:lnTo>
                    <a:pt x="37" y="237"/>
                  </a:lnTo>
                  <a:lnTo>
                    <a:pt x="38" y="237"/>
                  </a:lnTo>
                  <a:lnTo>
                    <a:pt x="40" y="237"/>
                  </a:lnTo>
                  <a:lnTo>
                    <a:pt x="40" y="236"/>
                  </a:lnTo>
                  <a:lnTo>
                    <a:pt x="41" y="236"/>
                  </a:lnTo>
                  <a:lnTo>
                    <a:pt x="42" y="234"/>
                  </a:lnTo>
                  <a:lnTo>
                    <a:pt x="43" y="233"/>
                  </a:lnTo>
                  <a:lnTo>
                    <a:pt x="43" y="232"/>
                  </a:lnTo>
                  <a:lnTo>
                    <a:pt x="44" y="230"/>
                  </a:lnTo>
                  <a:lnTo>
                    <a:pt x="44" y="226"/>
                  </a:lnTo>
                  <a:lnTo>
                    <a:pt x="44" y="224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6" y="219"/>
                  </a:lnTo>
                  <a:lnTo>
                    <a:pt x="47" y="218"/>
                  </a:lnTo>
                  <a:lnTo>
                    <a:pt x="48" y="217"/>
                  </a:lnTo>
                  <a:lnTo>
                    <a:pt x="51" y="214"/>
                  </a:lnTo>
                  <a:lnTo>
                    <a:pt x="52" y="213"/>
                  </a:lnTo>
                  <a:lnTo>
                    <a:pt x="54" y="210"/>
                  </a:lnTo>
                  <a:lnTo>
                    <a:pt x="55" y="210"/>
                  </a:lnTo>
                  <a:lnTo>
                    <a:pt x="56" y="210"/>
                  </a:lnTo>
                  <a:lnTo>
                    <a:pt x="57" y="210"/>
                  </a:lnTo>
                  <a:lnTo>
                    <a:pt x="58" y="210"/>
                  </a:lnTo>
                  <a:lnTo>
                    <a:pt x="59" y="210"/>
                  </a:lnTo>
                  <a:lnTo>
                    <a:pt x="63" y="211"/>
                  </a:lnTo>
                  <a:lnTo>
                    <a:pt x="65" y="212"/>
                  </a:lnTo>
                  <a:lnTo>
                    <a:pt x="67" y="212"/>
                  </a:lnTo>
                  <a:lnTo>
                    <a:pt x="68" y="212"/>
                  </a:lnTo>
                  <a:lnTo>
                    <a:pt x="68" y="212"/>
                  </a:lnTo>
                  <a:lnTo>
                    <a:pt x="69" y="211"/>
                  </a:lnTo>
                  <a:lnTo>
                    <a:pt x="73" y="210"/>
                  </a:lnTo>
                  <a:lnTo>
                    <a:pt x="79" y="208"/>
                  </a:lnTo>
                  <a:lnTo>
                    <a:pt x="80" y="207"/>
                  </a:lnTo>
                  <a:lnTo>
                    <a:pt x="83" y="207"/>
                  </a:lnTo>
                  <a:lnTo>
                    <a:pt x="88" y="206"/>
                  </a:lnTo>
                  <a:lnTo>
                    <a:pt x="91" y="206"/>
                  </a:lnTo>
                  <a:lnTo>
                    <a:pt x="92" y="205"/>
                  </a:lnTo>
                  <a:lnTo>
                    <a:pt x="94" y="204"/>
                  </a:lnTo>
                  <a:lnTo>
                    <a:pt x="97" y="203"/>
                  </a:lnTo>
                  <a:lnTo>
                    <a:pt x="100" y="201"/>
                  </a:lnTo>
                  <a:lnTo>
                    <a:pt x="101" y="200"/>
                  </a:lnTo>
                  <a:lnTo>
                    <a:pt x="102" y="199"/>
                  </a:lnTo>
                  <a:lnTo>
                    <a:pt x="102" y="198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104" y="200"/>
                  </a:lnTo>
                  <a:lnTo>
                    <a:pt x="106" y="201"/>
                  </a:lnTo>
                  <a:lnTo>
                    <a:pt x="108" y="201"/>
                  </a:lnTo>
                  <a:lnTo>
                    <a:pt x="110" y="202"/>
                  </a:lnTo>
                  <a:lnTo>
                    <a:pt x="111" y="202"/>
                  </a:lnTo>
                  <a:lnTo>
                    <a:pt x="113" y="202"/>
                  </a:lnTo>
                  <a:lnTo>
                    <a:pt x="114" y="201"/>
                  </a:lnTo>
                  <a:lnTo>
                    <a:pt x="116" y="201"/>
                  </a:lnTo>
                  <a:lnTo>
                    <a:pt x="118" y="201"/>
                  </a:lnTo>
                  <a:lnTo>
                    <a:pt x="121" y="200"/>
                  </a:lnTo>
                  <a:lnTo>
                    <a:pt x="123" y="199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7" y="197"/>
                  </a:lnTo>
                  <a:lnTo>
                    <a:pt x="129" y="195"/>
                  </a:lnTo>
                  <a:lnTo>
                    <a:pt x="132" y="193"/>
                  </a:lnTo>
                  <a:lnTo>
                    <a:pt x="134" y="190"/>
                  </a:lnTo>
                  <a:lnTo>
                    <a:pt x="136" y="188"/>
                  </a:lnTo>
                  <a:lnTo>
                    <a:pt x="138" y="185"/>
                  </a:lnTo>
                  <a:lnTo>
                    <a:pt x="142" y="180"/>
                  </a:lnTo>
                  <a:lnTo>
                    <a:pt x="144" y="177"/>
                  </a:lnTo>
                  <a:lnTo>
                    <a:pt x="148" y="170"/>
                  </a:lnTo>
                  <a:lnTo>
                    <a:pt x="149" y="169"/>
                  </a:lnTo>
                  <a:lnTo>
                    <a:pt x="151" y="167"/>
                  </a:lnTo>
                  <a:lnTo>
                    <a:pt x="152" y="165"/>
                  </a:lnTo>
                  <a:lnTo>
                    <a:pt x="154" y="164"/>
                  </a:lnTo>
                  <a:lnTo>
                    <a:pt x="158" y="161"/>
                  </a:lnTo>
                  <a:lnTo>
                    <a:pt x="161" y="158"/>
                  </a:lnTo>
                  <a:lnTo>
                    <a:pt x="164" y="156"/>
                  </a:lnTo>
                  <a:lnTo>
                    <a:pt x="170" y="151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72" y="145"/>
                  </a:lnTo>
                  <a:lnTo>
                    <a:pt x="173" y="144"/>
                  </a:lnTo>
                  <a:lnTo>
                    <a:pt x="173" y="143"/>
                  </a:lnTo>
                  <a:lnTo>
                    <a:pt x="173" y="142"/>
                  </a:lnTo>
                  <a:lnTo>
                    <a:pt x="173" y="141"/>
                  </a:lnTo>
                  <a:lnTo>
                    <a:pt x="172" y="137"/>
                  </a:lnTo>
                  <a:lnTo>
                    <a:pt x="172" y="135"/>
                  </a:lnTo>
                  <a:lnTo>
                    <a:pt x="171" y="133"/>
                  </a:lnTo>
                  <a:lnTo>
                    <a:pt x="169" y="127"/>
                  </a:lnTo>
                  <a:lnTo>
                    <a:pt x="166" y="121"/>
                  </a:lnTo>
                  <a:lnTo>
                    <a:pt x="165" y="118"/>
                  </a:lnTo>
                  <a:lnTo>
                    <a:pt x="164" y="114"/>
                  </a:lnTo>
                  <a:lnTo>
                    <a:pt x="163" y="110"/>
                  </a:lnTo>
                  <a:lnTo>
                    <a:pt x="162" y="108"/>
                  </a:lnTo>
                  <a:lnTo>
                    <a:pt x="162" y="104"/>
                  </a:lnTo>
                  <a:lnTo>
                    <a:pt x="162" y="101"/>
                  </a:lnTo>
                  <a:lnTo>
                    <a:pt x="162" y="98"/>
                  </a:lnTo>
                  <a:lnTo>
                    <a:pt x="163" y="95"/>
                  </a:lnTo>
                  <a:lnTo>
                    <a:pt x="164" y="93"/>
                  </a:lnTo>
                  <a:lnTo>
                    <a:pt x="166" y="89"/>
                  </a:lnTo>
                  <a:lnTo>
                    <a:pt x="171" y="79"/>
                  </a:lnTo>
                  <a:lnTo>
                    <a:pt x="174" y="76"/>
                  </a:lnTo>
                  <a:lnTo>
                    <a:pt x="175" y="75"/>
                  </a:lnTo>
                  <a:lnTo>
                    <a:pt x="176" y="74"/>
                  </a:lnTo>
                  <a:lnTo>
                    <a:pt x="177" y="74"/>
                  </a:lnTo>
                  <a:lnTo>
                    <a:pt x="178" y="73"/>
                  </a:lnTo>
                  <a:lnTo>
                    <a:pt x="180" y="72"/>
                  </a:lnTo>
                  <a:lnTo>
                    <a:pt x="182" y="71"/>
                  </a:lnTo>
                  <a:lnTo>
                    <a:pt x="182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7" y="72"/>
                  </a:lnTo>
                  <a:lnTo>
                    <a:pt x="188" y="73"/>
                  </a:lnTo>
                  <a:lnTo>
                    <a:pt x="189" y="74"/>
                  </a:lnTo>
                  <a:lnTo>
                    <a:pt x="191" y="75"/>
                  </a:lnTo>
                  <a:lnTo>
                    <a:pt x="192" y="77"/>
                  </a:lnTo>
                  <a:lnTo>
                    <a:pt x="192" y="78"/>
                  </a:lnTo>
                  <a:lnTo>
                    <a:pt x="192" y="81"/>
                  </a:lnTo>
                  <a:lnTo>
                    <a:pt x="193" y="88"/>
                  </a:lnTo>
                  <a:lnTo>
                    <a:pt x="193" y="91"/>
                  </a:lnTo>
                  <a:lnTo>
                    <a:pt x="194" y="93"/>
                  </a:lnTo>
                  <a:lnTo>
                    <a:pt x="195" y="95"/>
                  </a:lnTo>
                  <a:lnTo>
                    <a:pt x="196" y="96"/>
                  </a:lnTo>
                  <a:lnTo>
                    <a:pt x="197" y="96"/>
                  </a:lnTo>
                  <a:lnTo>
                    <a:pt x="198" y="97"/>
                  </a:lnTo>
                  <a:lnTo>
                    <a:pt x="199" y="97"/>
                  </a:lnTo>
                  <a:lnTo>
                    <a:pt x="201" y="98"/>
                  </a:lnTo>
                  <a:lnTo>
                    <a:pt x="207" y="98"/>
                  </a:lnTo>
                  <a:lnTo>
                    <a:pt x="211" y="99"/>
                  </a:lnTo>
                  <a:lnTo>
                    <a:pt x="214" y="99"/>
                  </a:lnTo>
                  <a:lnTo>
                    <a:pt x="217" y="100"/>
                  </a:lnTo>
                  <a:lnTo>
                    <a:pt x="224" y="103"/>
                  </a:lnTo>
                  <a:lnTo>
                    <a:pt x="227" y="104"/>
                  </a:lnTo>
                  <a:lnTo>
                    <a:pt x="233" y="105"/>
                  </a:lnTo>
                  <a:lnTo>
                    <a:pt x="238" y="105"/>
                  </a:lnTo>
                  <a:lnTo>
                    <a:pt x="240" y="106"/>
                  </a:lnTo>
                  <a:lnTo>
                    <a:pt x="243" y="106"/>
                  </a:lnTo>
                  <a:lnTo>
                    <a:pt x="246" y="107"/>
                  </a:lnTo>
                  <a:lnTo>
                    <a:pt x="248" y="108"/>
                  </a:lnTo>
                  <a:lnTo>
                    <a:pt x="250" y="108"/>
                  </a:lnTo>
                  <a:lnTo>
                    <a:pt x="252" y="109"/>
                  </a:lnTo>
                  <a:lnTo>
                    <a:pt x="255" y="111"/>
                  </a:lnTo>
                  <a:lnTo>
                    <a:pt x="258" y="114"/>
                  </a:lnTo>
                  <a:lnTo>
                    <a:pt x="265" y="119"/>
                  </a:lnTo>
                  <a:lnTo>
                    <a:pt x="268" y="121"/>
                  </a:lnTo>
                  <a:lnTo>
                    <a:pt x="269" y="121"/>
                  </a:lnTo>
                  <a:lnTo>
                    <a:pt x="271" y="122"/>
                  </a:lnTo>
                  <a:lnTo>
                    <a:pt x="272" y="122"/>
                  </a:lnTo>
                  <a:lnTo>
                    <a:pt x="273" y="121"/>
                  </a:lnTo>
                  <a:lnTo>
                    <a:pt x="275" y="121"/>
                  </a:lnTo>
                  <a:lnTo>
                    <a:pt x="278" y="119"/>
                  </a:lnTo>
                  <a:lnTo>
                    <a:pt x="280" y="118"/>
                  </a:lnTo>
                  <a:lnTo>
                    <a:pt x="282" y="116"/>
                  </a:lnTo>
                  <a:lnTo>
                    <a:pt x="284" y="114"/>
                  </a:lnTo>
                  <a:lnTo>
                    <a:pt x="286" y="111"/>
                  </a:lnTo>
                  <a:lnTo>
                    <a:pt x="288" y="108"/>
                  </a:lnTo>
                  <a:lnTo>
                    <a:pt x="290" y="105"/>
                  </a:lnTo>
                  <a:lnTo>
                    <a:pt x="292" y="102"/>
                  </a:lnTo>
                  <a:lnTo>
                    <a:pt x="293" y="100"/>
                  </a:lnTo>
                  <a:lnTo>
                    <a:pt x="295" y="97"/>
                  </a:lnTo>
                  <a:lnTo>
                    <a:pt x="295" y="96"/>
                  </a:lnTo>
                  <a:lnTo>
                    <a:pt x="296" y="92"/>
                  </a:lnTo>
                  <a:lnTo>
                    <a:pt x="296" y="85"/>
                  </a:lnTo>
                  <a:lnTo>
                    <a:pt x="297" y="83"/>
                  </a:lnTo>
                  <a:lnTo>
                    <a:pt x="297" y="81"/>
                  </a:lnTo>
                  <a:lnTo>
                    <a:pt x="298" y="80"/>
                  </a:lnTo>
                  <a:lnTo>
                    <a:pt x="299" y="79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4" y="76"/>
                  </a:lnTo>
                  <a:lnTo>
                    <a:pt x="310" y="75"/>
                  </a:lnTo>
                  <a:lnTo>
                    <a:pt x="317" y="74"/>
                  </a:lnTo>
                  <a:lnTo>
                    <a:pt x="321" y="72"/>
                  </a:lnTo>
                  <a:lnTo>
                    <a:pt x="324" y="72"/>
                  </a:lnTo>
                  <a:lnTo>
                    <a:pt x="328" y="71"/>
                  </a:lnTo>
                  <a:lnTo>
                    <a:pt x="335" y="70"/>
                  </a:lnTo>
                  <a:lnTo>
                    <a:pt x="339" y="70"/>
                  </a:lnTo>
                  <a:lnTo>
                    <a:pt x="341" y="70"/>
                  </a:lnTo>
                  <a:lnTo>
                    <a:pt x="345" y="70"/>
                  </a:lnTo>
                  <a:lnTo>
                    <a:pt x="348" y="71"/>
                  </a:lnTo>
                  <a:lnTo>
                    <a:pt x="351" y="71"/>
                  </a:lnTo>
                  <a:lnTo>
                    <a:pt x="352" y="72"/>
                  </a:lnTo>
                  <a:lnTo>
                    <a:pt x="354" y="73"/>
                  </a:lnTo>
                  <a:lnTo>
                    <a:pt x="359" y="74"/>
                  </a:lnTo>
                  <a:lnTo>
                    <a:pt x="361" y="74"/>
                  </a:lnTo>
                  <a:lnTo>
                    <a:pt x="365" y="75"/>
                  </a:lnTo>
                  <a:lnTo>
                    <a:pt x="367" y="76"/>
                  </a:lnTo>
                  <a:lnTo>
                    <a:pt x="370" y="76"/>
                  </a:lnTo>
                  <a:lnTo>
                    <a:pt x="372" y="76"/>
                  </a:lnTo>
                  <a:lnTo>
                    <a:pt x="375" y="75"/>
                  </a:lnTo>
                  <a:lnTo>
                    <a:pt x="377" y="75"/>
                  </a:lnTo>
                  <a:lnTo>
                    <a:pt x="379" y="74"/>
                  </a:lnTo>
                  <a:lnTo>
                    <a:pt x="381" y="74"/>
                  </a:lnTo>
                  <a:lnTo>
                    <a:pt x="383" y="74"/>
                  </a:lnTo>
                  <a:lnTo>
                    <a:pt x="385" y="73"/>
                  </a:lnTo>
                  <a:lnTo>
                    <a:pt x="387" y="71"/>
                  </a:lnTo>
                  <a:lnTo>
                    <a:pt x="388" y="69"/>
                  </a:lnTo>
                  <a:lnTo>
                    <a:pt x="390" y="67"/>
                  </a:lnTo>
                  <a:lnTo>
                    <a:pt x="392" y="64"/>
                  </a:lnTo>
                  <a:lnTo>
                    <a:pt x="394" y="62"/>
                  </a:lnTo>
                  <a:lnTo>
                    <a:pt x="395" y="60"/>
                  </a:lnTo>
                  <a:lnTo>
                    <a:pt x="396" y="58"/>
                  </a:lnTo>
                  <a:lnTo>
                    <a:pt x="397" y="55"/>
                  </a:lnTo>
                  <a:lnTo>
                    <a:pt x="397" y="53"/>
                  </a:lnTo>
                  <a:lnTo>
                    <a:pt x="397" y="51"/>
                  </a:lnTo>
                  <a:lnTo>
                    <a:pt x="396" y="49"/>
                  </a:lnTo>
                  <a:lnTo>
                    <a:pt x="396" y="47"/>
                  </a:lnTo>
                  <a:lnTo>
                    <a:pt x="395" y="45"/>
                  </a:lnTo>
                  <a:lnTo>
                    <a:pt x="394" y="43"/>
                  </a:lnTo>
                  <a:lnTo>
                    <a:pt x="393" y="40"/>
                  </a:lnTo>
                  <a:lnTo>
                    <a:pt x="387" y="29"/>
                  </a:lnTo>
                  <a:lnTo>
                    <a:pt x="387" y="27"/>
                  </a:lnTo>
                  <a:lnTo>
                    <a:pt x="386" y="25"/>
                  </a:lnTo>
                  <a:lnTo>
                    <a:pt x="386" y="23"/>
                  </a:lnTo>
                  <a:lnTo>
                    <a:pt x="386" y="21"/>
                  </a:lnTo>
                  <a:lnTo>
                    <a:pt x="386" y="20"/>
                  </a:lnTo>
                  <a:lnTo>
                    <a:pt x="387" y="20"/>
                  </a:lnTo>
                  <a:lnTo>
                    <a:pt x="387" y="19"/>
                  </a:lnTo>
                  <a:lnTo>
                    <a:pt x="387" y="18"/>
                  </a:lnTo>
                  <a:lnTo>
                    <a:pt x="389" y="18"/>
                  </a:lnTo>
                  <a:lnTo>
                    <a:pt x="391" y="17"/>
                  </a:lnTo>
                  <a:lnTo>
                    <a:pt x="393" y="17"/>
                  </a:lnTo>
                  <a:lnTo>
                    <a:pt x="396" y="17"/>
                  </a:lnTo>
                  <a:lnTo>
                    <a:pt x="398" y="17"/>
                  </a:lnTo>
                  <a:lnTo>
                    <a:pt x="399" y="17"/>
                  </a:lnTo>
                  <a:lnTo>
                    <a:pt x="404" y="19"/>
                  </a:lnTo>
                  <a:lnTo>
                    <a:pt x="406" y="19"/>
                  </a:lnTo>
                  <a:lnTo>
                    <a:pt x="408" y="19"/>
                  </a:lnTo>
                  <a:lnTo>
                    <a:pt x="409" y="19"/>
                  </a:lnTo>
                  <a:lnTo>
                    <a:pt x="409" y="19"/>
                  </a:lnTo>
                  <a:lnTo>
                    <a:pt x="411" y="18"/>
                  </a:lnTo>
                  <a:lnTo>
                    <a:pt x="412" y="17"/>
                  </a:lnTo>
                  <a:lnTo>
                    <a:pt x="413" y="17"/>
                  </a:lnTo>
                  <a:lnTo>
                    <a:pt x="415" y="16"/>
                  </a:lnTo>
                  <a:lnTo>
                    <a:pt x="415" y="15"/>
                  </a:lnTo>
                  <a:lnTo>
                    <a:pt x="417" y="12"/>
                  </a:lnTo>
                  <a:lnTo>
                    <a:pt x="421" y="5"/>
                  </a:lnTo>
                  <a:lnTo>
                    <a:pt x="422" y="2"/>
                  </a:lnTo>
                  <a:lnTo>
                    <a:pt x="423" y="1"/>
                  </a:lnTo>
                  <a:lnTo>
                    <a:pt x="424" y="0"/>
                  </a:lnTo>
                  <a:lnTo>
                    <a:pt x="425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2" name="Freeform 75">
              <a:extLst>
                <a:ext uri="{FF2B5EF4-FFF2-40B4-BE49-F238E27FC236}">
                  <a16:creationId xmlns:a16="http://schemas.microsoft.com/office/drawing/2014/main" id="{D770D900-1D85-4D89-AF0A-3AAEC9A66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9" y="3155"/>
              <a:ext cx="551" cy="391"/>
            </a:xfrm>
            <a:custGeom>
              <a:avLst/>
              <a:gdLst>
                <a:gd name="T0" fmla="*/ 176 w 551"/>
                <a:gd name="T1" fmla="*/ 32 h 391"/>
                <a:gd name="T2" fmla="*/ 204 w 551"/>
                <a:gd name="T3" fmla="*/ 61 h 391"/>
                <a:gd name="T4" fmla="*/ 221 w 551"/>
                <a:gd name="T5" fmla="*/ 73 h 391"/>
                <a:gd name="T6" fmla="*/ 241 w 551"/>
                <a:gd name="T7" fmla="*/ 65 h 391"/>
                <a:gd name="T8" fmla="*/ 265 w 551"/>
                <a:gd name="T9" fmla="*/ 52 h 391"/>
                <a:gd name="T10" fmla="*/ 312 w 551"/>
                <a:gd name="T11" fmla="*/ 41 h 391"/>
                <a:gd name="T12" fmla="*/ 325 w 551"/>
                <a:gd name="T13" fmla="*/ 43 h 391"/>
                <a:gd name="T14" fmla="*/ 335 w 551"/>
                <a:gd name="T15" fmla="*/ 53 h 391"/>
                <a:gd name="T16" fmla="*/ 330 w 551"/>
                <a:gd name="T17" fmla="*/ 78 h 391"/>
                <a:gd name="T18" fmla="*/ 332 w 551"/>
                <a:gd name="T19" fmla="*/ 98 h 391"/>
                <a:gd name="T20" fmla="*/ 352 w 551"/>
                <a:gd name="T21" fmla="*/ 120 h 391"/>
                <a:gd name="T22" fmla="*/ 368 w 551"/>
                <a:gd name="T23" fmla="*/ 140 h 391"/>
                <a:gd name="T24" fmla="*/ 379 w 551"/>
                <a:gd name="T25" fmla="*/ 146 h 391"/>
                <a:gd name="T26" fmla="*/ 395 w 551"/>
                <a:gd name="T27" fmla="*/ 140 h 391"/>
                <a:gd name="T28" fmla="*/ 422 w 551"/>
                <a:gd name="T29" fmla="*/ 125 h 391"/>
                <a:gd name="T30" fmla="*/ 435 w 551"/>
                <a:gd name="T31" fmla="*/ 118 h 391"/>
                <a:gd name="T32" fmla="*/ 454 w 551"/>
                <a:gd name="T33" fmla="*/ 124 h 391"/>
                <a:gd name="T34" fmla="*/ 472 w 551"/>
                <a:gd name="T35" fmla="*/ 138 h 391"/>
                <a:gd name="T36" fmla="*/ 501 w 551"/>
                <a:gd name="T37" fmla="*/ 146 h 391"/>
                <a:gd name="T38" fmla="*/ 521 w 551"/>
                <a:gd name="T39" fmla="*/ 148 h 391"/>
                <a:gd name="T40" fmla="*/ 532 w 551"/>
                <a:gd name="T41" fmla="*/ 168 h 391"/>
                <a:gd name="T42" fmla="*/ 551 w 551"/>
                <a:gd name="T43" fmla="*/ 193 h 391"/>
                <a:gd name="T44" fmla="*/ 544 w 551"/>
                <a:gd name="T45" fmla="*/ 226 h 391"/>
                <a:gd name="T46" fmla="*/ 535 w 551"/>
                <a:gd name="T47" fmla="*/ 274 h 391"/>
                <a:gd name="T48" fmla="*/ 524 w 551"/>
                <a:gd name="T49" fmla="*/ 294 h 391"/>
                <a:gd name="T50" fmla="*/ 508 w 551"/>
                <a:gd name="T51" fmla="*/ 300 h 391"/>
                <a:gd name="T52" fmla="*/ 458 w 551"/>
                <a:gd name="T53" fmla="*/ 305 h 391"/>
                <a:gd name="T54" fmla="*/ 435 w 551"/>
                <a:gd name="T55" fmla="*/ 324 h 391"/>
                <a:gd name="T56" fmla="*/ 412 w 551"/>
                <a:gd name="T57" fmla="*/ 356 h 391"/>
                <a:gd name="T58" fmla="*/ 383 w 551"/>
                <a:gd name="T59" fmla="*/ 380 h 391"/>
                <a:gd name="T60" fmla="*/ 345 w 551"/>
                <a:gd name="T61" fmla="*/ 390 h 391"/>
                <a:gd name="T62" fmla="*/ 328 w 551"/>
                <a:gd name="T63" fmla="*/ 358 h 391"/>
                <a:gd name="T64" fmla="*/ 302 w 551"/>
                <a:gd name="T65" fmla="*/ 328 h 391"/>
                <a:gd name="T66" fmla="*/ 268 w 551"/>
                <a:gd name="T67" fmla="*/ 312 h 391"/>
                <a:gd name="T68" fmla="*/ 264 w 551"/>
                <a:gd name="T69" fmla="*/ 296 h 391"/>
                <a:gd name="T70" fmla="*/ 258 w 551"/>
                <a:gd name="T71" fmla="*/ 284 h 391"/>
                <a:gd name="T72" fmla="*/ 230 w 551"/>
                <a:gd name="T73" fmla="*/ 269 h 391"/>
                <a:gd name="T74" fmla="*/ 197 w 551"/>
                <a:gd name="T75" fmla="*/ 272 h 391"/>
                <a:gd name="T76" fmla="*/ 172 w 551"/>
                <a:gd name="T77" fmla="*/ 274 h 391"/>
                <a:gd name="T78" fmla="*/ 145 w 551"/>
                <a:gd name="T79" fmla="*/ 256 h 391"/>
                <a:gd name="T80" fmla="*/ 125 w 551"/>
                <a:gd name="T81" fmla="*/ 251 h 391"/>
                <a:gd name="T82" fmla="*/ 116 w 551"/>
                <a:gd name="T83" fmla="*/ 244 h 391"/>
                <a:gd name="T84" fmla="*/ 113 w 551"/>
                <a:gd name="T85" fmla="*/ 223 h 391"/>
                <a:gd name="T86" fmla="*/ 101 w 551"/>
                <a:gd name="T87" fmla="*/ 214 h 391"/>
                <a:gd name="T88" fmla="*/ 58 w 551"/>
                <a:gd name="T89" fmla="*/ 206 h 391"/>
                <a:gd name="T90" fmla="*/ 41 w 551"/>
                <a:gd name="T91" fmla="*/ 193 h 391"/>
                <a:gd name="T92" fmla="*/ 21 w 551"/>
                <a:gd name="T93" fmla="*/ 185 h 391"/>
                <a:gd name="T94" fmla="*/ 10 w 551"/>
                <a:gd name="T95" fmla="*/ 177 h 391"/>
                <a:gd name="T96" fmla="*/ 10 w 551"/>
                <a:gd name="T97" fmla="*/ 153 h 391"/>
                <a:gd name="T98" fmla="*/ 0 w 551"/>
                <a:gd name="T99" fmla="*/ 120 h 391"/>
                <a:gd name="T100" fmla="*/ 12 w 551"/>
                <a:gd name="T101" fmla="*/ 114 h 391"/>
                <a:gd name="T102" fmla="*/ 20 w 551"/>
                <a:gd name="T103" fmla="*/ 99 h 391"/>
                <a:gd name="T104" fmla="*/ 18 w 551"/>
                <a:gd name="T105" fmla="*/ 81 h 391"/>
                <a:gd name="T106" fmla="*/ 28 w 551"/>
                <a:gd name="T107" fmla="*/ 65 h 391"/>
                <a:gd name="T108" fmla="*/ 61 w 551"/>
                <a:gd name="T109" fmla="*/ 33 h 391"/>
                <a:gd name="T110" fmla="*/ 95 w 551"/>
                <a:gd name="T111" fmla="*/ 14 h 391"/>
                <a:gd name="T112" fmla="*/ 137 w 551"/>
                <a:gd name="T113" fmla="*/ 4 h 391"/>
                <a:gd name="T114" fmla="*/ 143 w 551"/>
                <a:gd name="T115" fmla="*/ 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1" h="391">
                  <a:moveTo>
                    <a:pt x="147" y="4"/>
                  </a:moveTo>
                  <a:lnTo>
                    <a:pt x="150" y="7"/>
                  </a:lnTo>
                  <a:lnTo>
                    <a:pt x="163" y="20"/>
                  </a:lnTo>
                  <a:lnTo>
                    <a:pt x="168" y="25"/>
                  </a:lnTo>
                  <a:lnTo>
                    <a:pt x="171" y="28"/>
                  </a:lnTo>
                  <a:lnTo>
                    <a:pt x="173" y="29"/>
                  </a:lnTo>
                  <a:lnTo>
                    <a:pt x="176" y="32"/>
                  </a:lnTo>
                  <a:lnTo>
                    <a:pt x="181" y="35"/>
                  </a:lnTo>
                  <a:lnTo>
                    <a:pt x="183" y="37"/>
                  </a:lnTo>
                  <a:lnTo>
                    <a:pt x="184" y="38"/>
                  </a:lnTo>
                  <a:lnTo>
                    <a:pt x="186" y="40"/>
                  </a:lnTo>
                  <a:lnTo>
                    <a:pt x="193" y="49"/>
                  </a:lnTo>
                  <a:lnTo>
                    <a:pt x="199" y="55"/>
                  </a:lnTo>
                  <a:lnTo>
                    <a:pt x="204" y="61"/>
                  </a:lnTo>
                  <a:lnTo>
                    <a:pt x="207" y="63"/>
                  </a:lnTo>
                  <a:lnTo>
                    <a:pt x="207" y="64"/>
                  </a:lnTo>
                  <a:lnTo>
                    <a:pt x="208" y="65"/>
                  </a:lnTo>
                  <a:lnTo>
                    <a:pt x="216" y="71"/>
                  </a:lnTo>
                  <a:lnTo>
                    <a:pt x="219" y="72"/>
                  </a:lnTo>
                  <a:lnTo>
                    <a:pt x="220" y="73"/>
                  </a:lnTo>
                  <a:lnTo>
                    <a:pt x="221" y="73"/>
                  </a:lnTo>
                  <a:lnTo>
                    <a:pt x="222" y="73"/>
                  </a:lnTo>
                  <a:lnTo>
                    <a:pt x="224" y="73"/>
                  </a:lnTo>
                  <a:lnTo>
                    <a:pt x="226" y="72"/>
                  </a:lnTo>
                  <a:lnTo>
                    <a:pt x="229" y="71"/>
                  </a:lnTo>
                  <a:lnTo>
                    <a:pt x="235" y="68"/>
                  </a:lnTo>
                  <a:lnTo>
                    <a:pt x="238" y="67"/>
                  </a:lnTo>
                  <a:lnTo>
                    <a:pt x="241" y="65"/>
                  </a:lnTo>
                  <a:lnTo>
                    <a:pt x="249" y="60"/>
                  </a:lnTo>
                  <a:lnTo>
                    <a:pt x="253" y="57"/>
                  </a:lnTo>
                  <a:lnTo>
                    <a:pt x="254" y="56"/>
                  </a:lnTo>
                  <a:lnTo>
                    <a:pt x="256" y="55"/>
                  </a:lnTo>
                  <a:lnTo>
                    <a:pt x="259" y="54"/>
                  </a:lnTo>
                  <a:lnTo>
                    <a:pt x="261" y="54"/>
                  </a:lnTo>
                  <a:lnTo>
                    <a:pt x="265" y="52"/>
                  </a:lnTo>
                  <a:lnTo>
                    <a:pt x="275" y="52"/>
                  </a:lnTo>
                  <a:lnTo>
                    <a:pt x="284" y="49"/>
                  </a:lnTo>
                  <a:lnTo>
                    <a:pt x="298" y="46"/>
                  </a:lnTo>
                  <a:lnTo>
                    <a:pt x="301" y="45"/>
                  </a:lnTo>
                  <a:lnTo>
                    <a:pt x="309" y="42"/>
                  </a:lnTo>
                  <a:lnTo>
                    <a:pt x="310" y="41"/>
                  </a:lnTo>
                  <a:lnTo>
                    <a:pt x="312" y="41"/>
                  </a:lnTo>
                  <a:lnTo>
                    <a:pt x="313" y="41"/>
                  </a:lnTo>
                  <a:lnTo>
                    <a:pt x="315" y="41"/>
                  </a:lnTo>
                  <a:lnTo>
                    <a:pt x="317" y="41"/>
                  </a:lnTo>
                  <a:lnTo>
                    <a:pt x="319" y="41"/>
                  </a:lnTo>
                  <a:lnTo>
                    <a:pt x="321" y="42"/>
                  </a:lnTo>
                  <a:lnTo>
                    <a:pt x="323" y="42"/>
                  </a:lnTo>
                  <a:lnTo>
                    <a:pt x="325" y="43"/>
                  </a:lnTo>
                  <a:lnTo>
                    <a:pt x="327" y="44"/>
                  </a:lnTo>
                  <a:lnTo>
                    <a:pt x="329" y="45"/>
                  </a:lnTo>
                  <a:lnTo>
                    <a:pt x="331" y="46"/>
                  </a:lnTo>
                  <a:lnTo>
                    <a:pt x="332" y="48"/>
                  </a:lnTo>
                  <a:lnTo>
                    <a:pt x="333" y="49"/>
                  </a:lnTo>
                  <a:lnTo>
                    <a:pt x="334" y="51"/>
                  </a:lnTo>
                  <a:lnTo>
                    <a:pt x="335" y="53"/>
                  </a:lnTo>
                  <a:lnTo>
                    <a:pt x="335" y="55"/>
                  </a:lnTo>
                  <a:lnTo>
                    <a:pt x="336" y="57"/>
                  </a:lnTo>
                  <a:lnTo>
                    <a:pt x="336" y="60"/>
                  </a:lnTo>
                  <a:lnTo>
                    <a:pt x="335" y="62"/>
                  </a:lnTo>
                  <a:lnTo>
                    <a:pt x="334" y="63"/>
                  </a:lnTo>
                  <a:lnTo>
                    <a:pt x="332" y="69"/>
                  </a:lnTo>
                  <a:lnTo>
                    <a:pt x="330" y="78"/>
                  </a:lnTo>
                  <a:lnTo>
                    <a:pt x="329" y="80"/>
                  </a:lnTo>
                  <a:lnTo>
                    <a:pt x="328" y="83"/>
                  </a:lnTo>
                  <a:lnTo>
                    <a:pt x="328" y="86"/>
                  </a:lnTo>
                  <a:lnTo>
                    <a:pt x="328" y="88"/>
                  </a:lnTo>
                  <a:lnTo>
                    <a:pt x="328" y="91"/>
                  </a:lnTo>
                  <a:lnTo>
                    <a:pt x="329" y="94"/>
                  </a:lnTo>
                  <a:lnTo>
                    <a:pt x="332" y="98"/>
                  </a:lnTo>
                  <a:lnTo>
                    <a:pt x="334" y="104"/>
                  </a:lnTo>
                  <a:lnTo>
                    <a:pt x="336" y="107"/>
                  </a:lnTo>
                  <a:lnTo>
                    <a:pt x="339" y="110"/>
                  </a:lnTo>
                  <a:lnTo>
                    <a:pt x="341" y="112"/>
                  </a:lnTo>
                  <a:lnTo>
                    <a:pt x="344" y="115"/>
                  </a:lnTo>
                  <a:lnTo>
                    <a:pt x="346" y="116"/>
                  </a:lnTo>
                  <a:lnTo>
                    <a:pt x="352" y="120"/>
                  </a:lnTo>
                  <a:lnTo>
                    <a:pt x="355" y="121"/>
                  </a:lnTo>
                  <a:lnTo>
                    <a:pt x="357" y="123"/>
                  </a:lnTo>
                  <a:lnTo>
                    <a:pt x="360" y="125"/>
                  </a:lnTo>
                  <a:lnTo>
                    <a:pt x="362" y="128"/>
                  </a:lnTo>
                  <a:lnTo>
                    <a:pt x="364" y="131"/>
                  </a:lnTo>
                  <a:lnTo>
                    <a:pt x="366" y="134"/>
                  </a:lnTo>
                  <a:lnTo>
                    <a:pt x="368" y="140"/>
                  </a:lnTo>
                  <a:lnTo>
                    <a:pt x="369" y="142"/>
                  </a:lnTo>
                  <a:lnTo>
                    <a:pt x="371" y="143"/>
                  </a:lnTo>
                  <a:lnTo>
                    <a:pt x="372" y="144"/>
                  </a:lnTo>
                  <a:lnTo>
                    <a:pt x="374" y="145"/>
                  </a:lnTo>
                  <a:lnTo>
                    <a:pt x="376" y="146"/>
                  </a:lnTo>
                  <a:lnTo>
                    <a:pt x="378" y="146"/>
                  </a:lnTo>
                  <a:lnTo>
                    <a:pt x="379" y="146"/>
                  </a:lnTo>
                  <a:lnTo>
                    <a:pt x="381" y="146"/>
                  </a:lnTo>
                  <a:lnTo>
                    <a:pt x="383" y="146"/>
                  </a:lnTo>
                  <a:lnTo>
                    <a:pt x="385" y="145"/>
                  </a:lnTo>
                  <a:lnTo>
                    <a:pt x="388" y="144"/>
                  </a:lnTo>
                  <a:lnTo>
                    <a:pt x="389" y="143"/>
                  </a:lnTo>
                  <a:lnTo>
                    <a:pt x="391" y="142"/>
                  </a:lnTo>
                  <a:lnTo>
                    <a:pt x="395" y="140"/>
                  </a:lnTo>
                  <a:lnTo>
                    <a:pt x="400" y="136"/>
                  </a:lnTo>
                  <a:lnTo>
                    <a:pt x="403" y="134"/>
                  </a:lnTo>
                  <a:lnTo>
                    <a:pt x="405" y="133"/>
                  </a:lnTo>
                  <a:lnTo>
                    <a:pt x="408" y="131"/>
                  </a:lnTo>
                  <a:lnTo>
                    <a:pt x="415" y="129"/>
                  </a:lnTo>
                  <a:lnTo>
                    <a:pt x="420" y="127"/>
                  </a:lnTo>
                  <a:lnTo>
                    <a:pt x="422" y="125"/>
                  </a:lnTo>
                  <a:lnTo>
                    <a:pt x="423" y="124"/>
                  </a:lnTo>
                  <a:lnTo>
                    <a:pt x="429" y="120"/>
                  </a:lnTo>
                  <a:lnTo>
                    <a:pt x="430" y="119"/>
                  </a:lnTo>
                  <a:lnTo>
                    <a:pt x="432" y="118"/>
                  </a:lnTo>
                  <a:lnTo>
                    <a:pt x="433" y="118"/>
                  </a:lnTo>
                  <a:lnTo>
                    <a:pt x="435" y="118"/>
                  </a:lnTo>
                  <a:lnTo>
                    <a:pt x="435" y="118"/>
                  </a:lnTo>
                  <a:lnTo>
                    <a:pt x="441" y="120"/>
                  </a:lnTo>
                  <a:lnTo>
                    <a:pt x="443" y="120"/>
                  </a:lnTo>
                  <a:lnTo>
                    <a:pt x="446" y="120"/>
                  </a:lnTo>
                  <a:lnTo>
                    <a:pt x="446" y="121"/>
                  </a:lnTo>
                  <a:lnTo>
                    <a:pt x="449" y="121"/>
                  </a:lnTo>
                  <a:lnTo>
                    <a:pt x="451" y="123"/>
                  </a:lnTo>
                  <a:lnTo>
                    <a:pt x="454" y="124"/>
                  </a:lnTo>
                  <a:lnTo>
                    <a:pt x="456" y="125"/>
                  </a:lnTo>
                  <a:lnTo>
                    <a:pt x="458" y="127"/>
                  </a:lnTo>
                  <a:lnTo>
                    <a:pt x="462" y="131"/>
                  </a:lnTo>
                  <a:lnTo>
                    <a:pt x="464" y="132"/>
                  </a:lnTo>
                  <a:lnTo>
                    <a:pt x="467" y="134"/>
                  </a:lnTo>
                  <a:lnTo>
                    <a:pt x="469" y="136"/>
                  </a:lnTo>
                  <a:lnTo>
                    <a:pt x="472" y="138"/>
                  </a:lnTo>
                  <a:lnTo>
                    <a:pt x="485" y="143"/>
                  </a:lnTo>
                  <a:lnTo>
                    <a:pt x="487" y="144"/>
                  </a:lnTo>
                  <a:lnTo>
                    <a:pt x="490" y="145"/>
                  </a:lnTo>
                  <a:lnTo>
                    <a:pt x="491" y="145"/>
                  </a:lnTo>
                  <a:lnTo>
                    <a:pt x="494" y="146"/>
                  </a:lnTo>
                  <a:lnTo>
                    <a:pt x="497" y="146"/>
                  </a:lnTo>
                  <a:lnTo>
                    <a:pt x="501" y="146"/>
                  </a:lnTo>
                  <a:lnTo>
                    <a:pt x="508" y="145"/>
                  </a:lnTo>
                  <a:lnTo>
                    <a:pt x="512" y="145"/>
                  </a:lnTo>
                  <a:lnTo>
                    <a:pt x="514" y="145"/>
                  </a:lnTo>
                  <a:lnTo>
                    <a:pt x="516" y="146"/>
                  </a:lnTo>
                  <a:lnTo>
                    <a:pt x="518" y="146"/>
                  </a:lnTo>
                  <a:lnTo>
                    <a:pt x="520" y="147"/>
                  </a:lnTo>
                  <a:lnTo>
                    <a:pt x="521" y="148"/>
                  </a:lnTo>
                  <a:lnTo>
                    <a:pt x="522" y="149"/>
                  </a:lnTo>
                  <a:lnTo>
                    <a:pt x="524" y="150"/>
                  </a:lnTo>
                  <a:lnTo>
                    <a:pt x="525" y="151"/>
                  </a:lnTo>
                  <a:lnTo>
                    <a:pt x="526" y="153"/>
                  </a:lnTo>
                  <a:lnTo>
                    <a:pt x="526" y="155"/>
                  </a:lnTo>
                  <a:lnTo>
                    <a:pt x="530" y="165"/>
                  </a:lnTo>
                  <a:lnTo>
                    <a:pt x="532" y="168"/>
                  </a:lnTo>
                  <a:lnTo>
                    <a:pt x="534" y="172"/>
                  </a:lnTo>
                  <a:lnTo>
                    <a:pt x="536" y="176"/>
                  </a:lnTo>
                  <a:lnTo>
                    <a:pt x="537" y="178"/>
                  </a:lnTo>
                  <a:lnTo>
                    <a:pt x="540" y="181"/>
                  </a:lnTo>
                  <a:lnTo>
                    <a:pt x="544" y="186"/>
                  </a:lnTo>
                  <a:lnTo>
                    <a:pt x="549" y="192"/>
                  </a:lnTo>
                  <a:lnTo>
                    <a:pt x="551" y="193"/>
                  </a:lnTo>
                  <a:lnTo>
                    <a:pt x="551" y="193"/>
                  </a:lnTo>
                  <a:lnTo>
                    <a:pt x="551" y="193"/>
                  </a:lnTo>
                  <a:lnTo>
                    <a:pt x="551" y="194"/>
                  </a:lnTo>
                  <a:lnTo>
                    <a:pt x="551" y="194"/>
                  </a:lnTo>
                  <a:lnTo>
                    <a:pt x="550" y="198"/>
                  </a:lnTo>
                  <a:lnTo>
                    <a:pt x="548" y="212"/>
                  </a:lnTo>
                  <a:lnTo>
                    <a:pt x="544" y="226"/>
                  </a:lnTo>
                  <a:lnTo>
                    <a:pt x="543" y="232"/>
                  </a:lnTo>
                  <a:lnTo>
                    <a:pt x="541" y="242"/>
                  </a:lnTo>
                  <a:lnTo>
                    <a:pt x="539" y="256"/>
                  </a:lnTo>
                  <a:lnTo>
                    <a:pt x="538" y="261"/>
                  </a:lnTo>
                  <a:lnTo>
                    <a:pt x="537" y="265"/>
                  </a:lnTo>
                  <a:lnTo>
                    <a:pt x="537" y="269"/>
                  </a:lnTo>
                  <a:lnTo>
                    <a:pt x="535" y="274"/>
                  </a:lnTo>
                  <a:lnTo>
                    <a:pt x="533" y="279"/>
                  </a:lnTo>
                  <a:lnTo>
                    <a:pt x="531" y="283"/>
                  </a:lnTo>
                  <a:lnTo>
                    <a:pt x="529" y="287"/>
                  </a:lnTo>
                  <a:lnTo>
                    <a:pt x="527" y="289"/>
                  </a:lnTo>
                  <a:lnTo>
                    <a:pt x="526" y="291"/>
                  </a:lnTo>
                  <a:lnTo>
                    <a:pt x="525" y="293"/>
                  </a:lnTo>
                  <a:lnTo>
                    <a:pt x="524" y="294"/>
                  </a:lnTo>
                  <a:lnTo>
                    <a:pt x="522" y="295"/>
                  </a:lnTo>
                  <a:lnTo>
                    <a:pt x="521" y="296"/>
                  </a:lnTo>
                  <a:lnTo>
                    <a:pt x="519" y="297"/>
                  </a:lnTo>
                  <a:lnTo>
                    <a:pt x="516" y="298"/>
                  </a:lnTo>
                  <a:lnTo>
                    <a:pt x="513" y="299"/>
                  </a:lnTo>
                  <a:lnTo>
                    <a:pt x="510" y="300"/>
                  </a:lnTo>
                  <a:lnTo>
                    <a:pt x="508" y="300"/>
                  </a:lnTo>
                  <a:lnTo>
                    <a:pt x="485" y="301"/>
                  </a:lnTo>
                  <a:lnTo>
                    <a:pt x="480" y="301"/>
                  </a:lnTo>
                  <a:lnTo>
                    <a:pt x="476" y="301"/>
                  </a:lnTo>
                  <a:lnTo>
                    <a:pt x="469" y="302"/>
                  </a:lnTo>
                  <a:lnTo>
                    <a:pt x="463" y="304"/>
                  </a:lnTo>
                  <a:lnTo>
                    <a:pt x="460" y="304"/>
                  </a:lnTo>
                  <a:lnTo>
                    <a:pt x="458" y="305"/>
                  </a:lnTo>
                  <a:lnTo>
                    <a:pt x="457" y="306"/>
                  </a:lnTo>
                  <a:lnTo>
                    <a:pt x="455" y="307"/>
                  </a:lnTo>
                  <a:lnTo>
                    <a:pt x="453" y="308"/>
                  </a:lnTo>
                  <a:lnTo>
                    <a:pt x="452" y="309"/>
                  </a:lnTo>
                  <a:lnTo>
                    <a:pt x="449" y="311"/>
                  </a:lnTo>
                  <a:lnTo>
                    <a:pt x="440" y="319"/>
                  </a:lnTo>
                  <a:lnTo>
                    <a:pt x="435" y="324"/>
                  </a:lnTo>
                  <a:lnTo>
                    <a:pt x="432" y="329"/>
                  </a:lnTo>
                  <a:lnTo>
                    <a:pt x="428" y="334"/>
                  </a:lnTo>
                  <a:lnTo>
                    <a:pt x="426" y="336"/>
                  </a:lnTo>
                  <a:lnTo>
                    <a:pt x="422" y="344"/>
                  </a:lnTo>
                  <a:lnTo>
                    <a:pt x="417" y="350"/>
                  </a:lnTo>
                  <a:lnTo>
                    <a:pt x="414" y="353"/>
                  </a:lnTo>
                  <a:lnTo>
                    <a:pt x="412" y="356"/>
                  </a:lnTo>
                  <a:lnTo>
                    <a:pt x="408" y="360"/>
                  </a:lnTo>
                  <a:lnTo>
                    <a:pt x="401" y="368"/>
                  </a:lnTo>
                  <a:lnTo>
                    <a:pt x="398" y="371"/>
                  </a:lnTo>
                  <a:lnTo>
                    <a:pt x="394" y="374"/>
                  </a:lnTo>
                  <a:lnTo>
                    <a:pt x="390" y="377"/>
                  </a:lnTo>
                  <a:lnTo>
                    <a:pt x="387" y="379"/>
                  </a:lnTo>
                  <a:lnTo>
                    <a:pt x="383" y="380"/>
                  </a:lnTo>
                  <a:lnTo>
                    <a:pt x="377" y="382"/>
                  </a:lnTo>
                  <a:lnTo>
                    <a:pt x="366" y="386"/>
                  </a:lnTo>
                  <a:lnTo>
                    <a:pt x="358" y="389"/>
                  </a:lnTo>
                  <a:lnTo>
                    <a:pt x="353" y="390"/>
                  </a:lnTo>
                  <a:lnTo>
                    <a:pt x="346" y="391"/>
                  </a:lnTo>
                  <a:lnTo>
                    <a:pt x="346" y="391"/>
                  </a:lnTo>
                  <a:lnTo>
                    <a:pt x="345" y="390"/>
                  </a:lnTo>
                  <a:lnTo>
                    <a:pt x="344" y="387"/>
                  </a:lnTo>
                  <a:lnTo>
                    <a:pt x="343" y="382"/>
                  </a:lnTo>
                  <a:lnTo>
                    <a:pt x="339" y="374"/>
                  </a:lnTo>
                  <a:lnTo>
                    <a:pt x="338" y="371"/>
                  </a:lnTo>
                  <a:lnTo>
                    <a:pt x="336" y="369"/>
                  </a:lnTo>
                  <a:lnTo>
                    <a:pt x="334" y="366"/>
                  </a:lnTo>
                  <a:lnTo>
                    <a:pt x="328" y="358"/>
                  </a:lnTo>
                  <a:lnTo>
                    <a:pt x="320" y="346"/>
                  </a:lnTo>
                  <a:lnTo>
                    <a:pt x="317" y="342"/>
                  </a:lnTo>
                  <a:lnTo>
                    <a:pt x="315" y="338"/>
                  </a:lnTo>
                  <a:lnTo>
                    <a:pt x="311" y="335"/>
                  </a:lnTo>
                  <a:lnTo>
                    <a:pt x="309" y="332"/>
                  </a:lnTo>
                  <a:lnTo>
                    <a:pt x="306" y="330"/>
                  </a:lnTo>
                  <a:lnTo>
                    <a:pt x="302" y="328"/>
                  </a:lnTo>
                  <a:lnTo>
                    <a:pt x="299" y="326"/>
                  </a:lnTo>
                  <a:lnTo>
                    <a:pt x="283" y="318"/>
                  </a:lnTo>
                  <a:lnTo>
                    <a:pt x="278" y="316"/>
                  </a:lnTo>
                  <a:lnTo>
                    <a:pt x="274" y="314"/>
                  </a:lnTo>
                  <a:lnTo>
                    <a:pt x="272" y="313"/>
                  </a:lnTo>
                  <a:lnTo>
                    <a:pt x="270" y="312"/>
                  </a:lnTo>
                  <a:lnTo>
                    <a:pt x="268" y="312"/>
                  </a:lnTo>
                  <a:lnTo>
                    <a:pt x="267" y="311"/>
                  </a:lnTo>
                  <a:lnTo>
                    <a:pt x="266" y="309"/>
                  </a:lnTo>
                  <a:lnTo>
                    <a:pt x="265" y="308"/>
                  </a:lnTo>
                  <a:lnTo>
                    <a:pt x="265" y="306"/>
                  </a:lnTo>
                  <a:lnTo>
                    <a:pt x="264" y="304"/>
                  </a:lnTo>
                  <a:lnTo>
                    <a:pt x="264" y="302"/>
                  </a:lnTo>
                  <a:lnTo>
                    <a:pt x="264" y="296"/>
                  </a:lnTo>
                  <a:lnTo>
                    <a:pt x="263" y="293"/>
                  </a:lnTo>
                  <a:lnTo>
                    <a:pt x="263" y="291"/>
                  </a:lnTo>
                  <a:lnTo>
                    <a:pt x="262" y="289"/>
                  </a:lnTo>
                  <a:lnTo>
                    <a:pt x="261" y="288"/>
                  </a:lnTo>
                  <a:lnTo>
                    <a:pt x="260" y="286"/>
                  </a:lnTo>
                  <a:lnTo>
                    <a:pt x="259" y="285"/>
                  </a:lnTo>
                  <a:lnTo>
                    <a:pt x="258" y="284"/>
                  </a:lnTo>
                  <a:lnTo>
                    <a:pt x="255" y="281"/>
                  </a:lnTo>
                  <a:lnTo>
                    <a:pt x="253" y="279"/>
                  </a:lnTo>
                  <a:lnTo>
                    <a:pt x="249" y="278"/>
                  </a:lnTo>
                  <a:lnTo>
                    <a:pt x="245" y="276"/>
                  </a:lnTo>
                  <a:lnTo>
                    <a:pt x="238" y="273"/>
                  </a:lnTo>
                  <a:lnTo>
                    <a:pt x="232" y="270"/>
                  </a:lnTo>
                  <a:lnTo>
                    <a:pt x="230" y="269"/>
                  </a:lnTo>
                  <a:lnTo>
                    <a:pt x="228" y="269"/>
                  </a:lnTo>
                  <a:lnTo>
                    <a:pt x="226" y="269"/>
                  </a:lnTo>
                  <a:lnTo>
                    <a:pt x="223" y="269"/>
                  </a:lnTo>
                  <a:lnTo>
                    <a:pt x="213" y="270"/>
                  </a:lnTo>
                  <a:lnTo>
                    <a:pt x="206" y="271"/>
                  </a:lnTo>
                  <a:lnTo>
                    <a:pt x="202" y="271"/>
                  </a:lnTo>
                  <a:lnTo>
                    <a:pt x="197" y="272"/>
                  </a:lnTo>
                  <a:lnTo>
                    <a:pt x="187" y="275"/>
                  </a:lnTo>
                  <a:lnTo>
                    <a:pt x="185" y="275"/>
                  </a:lnTo>
                  <a:lnTo>
                    <a:pt x="183" y="276"/>
                  </a:lnTo>
                  <a:lnTo>
                    <a:pt x="180" y="276"/>
                  </a:lnTo>
                  <a:lnTo>
                    <a:pt x="177" y="276"/>
                  </a:lnTo>
                  <a:lnTo>
                    <a:pt x="174" y="275"/>
                  </a:lnTo>
                  <a:lnTo>
                    <a:pt x="172" y="274"/>
                  </a:lnTo>
                  <a:lnTo>
                    <a:pt x="170" y="273"/>
                  </a:lnTo>
                  <a:lnTo>
                    <a:pt x="168" y="272"/>
                  </a:lnTo>
                  <a:lnTo>
                    <a:pt x="165" y="270"/>
                  </a:lnTo>
                  <a:lnTo>
                    <a:pt x="163" y="269"/>
                  </a:lnTo>
                  <a:lnTo>
                    <a:pt x="160" y="267"/>
                  </a:lnTo>
                  <a:lnTo>
                    <a:pt x="148" y="257"/>
                  </a:lnTo>
                  <a:lnTo>
                    <a:pt x="145" y="256"/>
                  </a:lnTo>
                  <a:lnTo>
                    <a:pt x="143" y="255"/>
                  </a:lnTo>
                  <a:lnTo>
                    <a:pt x="140" y="254"/>
                  </a:lnTo>
                  <a:lnTo>
                    <a:pt x="138" y="253"/>
                  </a:lnTo>
                  <a:lnTo>
                    <a:pt x="135" y="252"/>
                  </a:lnTo>
                  <a:lnTo>
                    <a:pt x="129" y="252"/>
                  </a:lnTo>
                  <a:lnTo>
                    <a:pt x="128" y="252"/>
                  </a:lnTo>
                  <a:lnTo>
                    <a:pt x="125" y="251"/>
                  </a:lnTo>
                  <a:lnTo>
                    <a:pt x="123" y="250"/>
                  </a:lnTo>
                  <a:lnTo>
                    <a:pt x="122" y="250"/>
                  </a:lnTo>
                  <a:lnTo>
                    <a:pt x="120" y="249"/>
                  </a:lnTo>
                  <a:lnTo>
                    <a:pt x="119" y="248"/>
                  </a:lnTo>
                  <a:lnTo>
                    <a:pt x="118" y="247"/>
                  </a:lnTo>
                  <a:lnTo>
                    <a:pt x="117" y="246"/>
                  </a:lnTo>
                  <a:lnTo>
                    <a:pt x="116" y="244"/>
                  </a:lnTo>
                  <a:lnTo>
                    <a:pt x="116" y="243"/>
                  </a:lnTo>
                  <a:lnTo>
                    <a:pt x="116" y="241"/>
                  </a:lnTo>
                  <a:lnTo>
                    <a:pt x="115" y="233"/>
                  </a:lnTo>
                  <a:lnTo>
                    <a:pt x="115" y="230"/>
                  </a:lnTo>
                  <a:lnTo>
                    <a:pt x="114" y="226"/>
                  </a:lnTo>
                  <a:lnTo>
                    <a:pt x="113" y="225"/>
                  </a:lnTo>
                  <a:lnTo>
                    <a:pt x="113" y="223"/>
                  </a:lnTo>
                  <a:lnTo>
                    <a:pt x="112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09" y="220"/>
                  </a:lnTo>
                  <a:lnTo>
                    <a:pt x="106" y="217"/>
                  </a:lnTo>
                  <a:lnTo>
                    <a:pt x="103" y="215"/>
                  </a:lnTo>
                  <a:lnTo>
                    <a:pt x="101" y="214"/>
                  </a:lnTo>
                  <a:lnTo>
                    <a:pt x="98" y="212"/>
                  </a:lnTo>
                  <a:lnTo>
                    <a:pt x="96" y="212"/>
                  </a:lnTo>
                  <a:lnTo>
                    <a:pt x="94" y="211"/>
                  </a:lnTo>
                  <a:lnTo>
                    <a:pt x="82" y="210"/>
                  </a:lnTo>
                  <a:lnTo>
                    <a:pt x="75" y="209"/>
                  </a:lnTo>
                  <a:lnTo>
                    <a:pt x="60" y="207"/>
                  </a:lnTo>
                  <a:lnTo>
                    <a:pt x="58" y="206"/>
                  </a:lnTo>
                  <a:lnTo>
                    <a:pt x="56" y="206"/>
                  </a:lnTo>
                  <a:lnTo>
                    <a:pt x="54" y="205"/>
                  </a:lnTo>
                  <a:lnTo>
                    <a:pt x="52" y="203"/>
                  </a:lnTo>
                  <a:lnTo>
                    <a:pt x="51" y="202"/>
                  </a:lnTo>
                  <a:lnTo>
                    <a:pt x="48" y="199"/>
                  </a:lnTo>
                  <a:lnTo>
                    <a:pt x="44" y="195"/>
                  </a:lnTo>
                  <a:lnTo>
                    <a:pt x="41" y="193"/>
                  </a:lnTo>
                  <a:lnTo>
                    <a:pt x="39" y="192"/>
                  </a:lnTo>
                  <a:lnTo>
                    <a:pt x="37" y="191"/>
                  </a:lnTo>
                  <a:lnTo>
                    <a:pt x="33" y="189"/>
                  </a:lnTo>
                  <a:lnTo>
                    <a:pt x="28" y="188"/>
                  </a:lnTo>
                  <a:lnTo>
                    <a:pt x="26" y="187"/>
                  </a:lnTo>
                  <a:lnTo>
                    <a:pt x="24" y="186"/>
                  </a:lnTo>
                  <a:lnTo>
                    <a:pt x="21" y="185"/>
                  </a:lnTo>
                  <a:lnTo>
                    <a:pt x="14" y="184"/>
                  </a:lnTo>
                  <a:lnTo>
                    <a:pt x="14" y="183"/>
                  </a:lnTo>
                  <a:lnTo>
                    <a:pt x="13" y="183"/>
                  </a:lnTo>
                  <a:lnTo>
                    <a:pt x="12" y="182"/>
                  </a:lnTo>
                  <a:lnTo>
                    <a:pt x="11" y="180"/>
                  </a:lnTo>
                  <a:lnTo>
                    <a:pt x="10" y="179"/>
                  </a:lnTo>
                  <a:lnTo>
                    <a:pt x="10" y="177"/>
                  </a:lnTo>
                  <a:lnTo>
                    <a:pt x="10" y="176"/>
                  </a:lnTo>
                  <a:lnTo>
                    <a:pt x="10" y="173"/>
                  </a:lnTo>
                  <a:lnTo>
                    <a:pt x="11" y="165"/>
                  </a:lnTo>
                  <a:lnTo>
                    <a:pt x="11" y="162"/>
                  </a:lnTo>
                  <a:lnTo>
                    <a:pt x="11" y="158"/>
                  </a:lnTo>
                  <a:lnTo>
                    <a:pt x="10" y="155"/>
                  </a:lnTo>
                  <a:lnTo>
                    <a:pt x="10" y="153"/>
                  </a:lnTo>
                  <a:lnTo>
                    <a:pt x="10" y="150"/>
                  </a:lnTo>
                  <a:lnTo>
                    <a:pt x="8" y="144"/>
                  </a:lnTo>
                  <a:lnTo>
                    <a:pt x="7" y="140"/>
                  </a:lnTo>
                  <a:lnTo>
                    <a:pt x="5" y="136"/>
                  </a:lnTo>
                  <a:lnTo>
                    <a:pt x="2" y="125"/>
                  </a:lnTo>
                  <a:lnTo>
                    <a:pt x="1" y="122"/>
                  </a:lnTo>
                  <a:lnTo>
                    <a:pt x="0" y="120"/>
                  </a:lnTo>
                  <a:lnTo>
                    <a:pt x="1" y="120"/>
                  </a:lnTo>
                  <a:lnTo>
                    <a:pt x="2" y="120"/>
                  </a:lnTo>
                  <a:lnTo>
                    <a:pt x="3" y="119"/>
                  </a:lnTo>
                  <a:lnTo>
                    <a:pt x="5" y="118"/>
                  </a:lnTo>
                  <a:lnTo>
                    <a:pt x="8" y="117"/>
                  </a:lnTo>
                  <a:lnTo>
                    <a:pt x="11" y="115"/>
                  </a:lnTo>
                  <a:lnTo>
                    <a:pt x="12" y="114"/>
                  </a:lnTo>
                  <a:lnTo>
                    <a:pt x="14" y="112"/>
                  </a:lnTo>
                  <a:lnTo>
                    <a:pt x="14" y="111"/>
                  </a:lnTo>
                  <a:lnTo>
                    <a:pt x="15" y="109"/>
                  </a:lnTo>
                  <a:lnTo>
                    <a:pt x="17" y="108"/>
                  </a:lnTo>
                  <a:lnTo>
                    <a:pt x="18" y="105"/>
                  </a:lnTo>
                  <a:lnTo>
                    <a:pt x="19" y="103"/>
                  </a:lnTo>
                  <a:lnTo>
                    <a:pt x="20" y="99"/>
                  </a:lnTo>
                  <a:lnTo>
                    <a:pt x="20" y="97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19" y="87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8" y="81"/>
                  </a:lnTo>
                  <a:lnTo>
                    <a:pt x="19" y="78"/>
                  </a:lnTo>
                  <a:lnTo>
                    <a:pt x="20" y="76"/>
                  </a:lnTo>
                  <a:lnTo>
                    <a:pt x="21" y="74"/>
                  </a:lnTo>
                  <a:lnTo>
                    <a:pt x="22" y="73"/>
                  </a:lnTo>
                  <a:lnTo>
                    <a:pt x="24" y="70"/>
                  </a:lnTo>
                  <a:lnTo>
                    <a:pt x="26" y="67"/>
                  </a:lnTo>
                  <a:lnTo>
                    <a:pt x="28" y="65"/>
                  </a:lnTo>
                  <a:lnTo>
                    <a:pt x="35" y="60"/>
                  </a:lnTo>
                  <a:lnTo>
                    <a:pt x="41" y="53"/>
                  </a:lnTo>
                  <a:lnTo>
                    <a:pt x="44" y="51"/>
                  </a:lnTo>
                  <a:lnTo>
                    <a:pt x="53" y="40"/>
                  </a:lnTo>
                  <a:lnTo>
                    <a:pt x="56" y="38"/>
                  </a:lnTo>
                  <a:lnTo>
                    <a:pt x="59" y="35"/>
                  </a:lnTo>
                  <a:lnTo>
                    <a:pt x="61" y="33"/>
                  </a:lnTo>
                  <a:lnTo>
                    <a:pt x="64" y="31"/>
                  </a:lnTo>
                  <a:lnTo>
                    <a:pt x="69" y="29"/>
                  </a:lnTo>
                  <a:lnTo>
                    <a:pt x="77" y="24"/>
                  </a:lnTo>
                  <a:lnTo>
                    <a:pt x="84" y="19"/>
                  </a:lnTo>
                  <a:lnTo>
                    <a:pt x="88" y="18"/>
                  </a:lnTo>
                  <a:lnTo>
                    <a:pt x="92" y="16"/>
                  </a:lnTo>
                  <a:lnTo>
                    <a:pt x="95" y="14"/>
                  </a:lnTo>
                  <a:lnTo>
                    <a:pt x="99" y="12"/>
                  </a:lnTo>
                  <a:lnTo>
                    <a:pt x="103" y="11"/>
                  </a:lnTo>
                  <a:lnTo>
                    <a:pt x="107" y="9"/>
                  </a:lnTo>
                  <a:lnTo>
                    <a:pt x="112" y="8"/>
                  </a:lnTo>
                  <a:lnTo>
                    <a:pt x="121" y="6"/>
                  </a:lnTo>
                  <a:lnTo>
                    <a:pt x="134" y="5"/>
                  </a:lnTo>
                  <a:lnTo>
                    <a:pt x="137" y="4"/>
                  </a:lnTo>
                  <a:lnTo>
                    <a:pt x="139" y="3"/>
                  </a:lnTo>
                  <a:lnTo>
                    <a:pt x="140" y="2"/>
                  </a:lnTo>
                  <a:lnTo>
                    <a:pt x="142" y="1"/>
                  </a:lnTo>
                  <a:lnTo>
                    <a:pt x="142" y="1"/>
                  </a:lnTo>
                  <a:lnTo>
                    <a:pt x="142" y="1"/>
                  </a:lnTo>
                  <a:lnTo>
                    <a:pt x="142" y="1"/>
                  </a:lnTo>
                  <a:lnTo>
                    <a:pt x="143" y="1"/>
                  </a:lnTo>
                  <a:lnTo>
                    <a:pt x="144" y="0"/>
                  </a:lnTo>
                  <a:lnTo>
                    <a:pt x="147" y="4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3" name="Freeform 76">
              <a:extLst>
                <a:ext uri="{FF2B5EF4-FFF2-40B4-BE49-F238E27FC236}">
                  <a16:creationId xmlns:a16="http://schemas.microsoft.com/office/drawing/2014/main" id="{8C57AD98-4FEF-4F3A-90A9-FF3EDC86D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2" y="2728"/>
              <a:ext cx="490" cy="472"/>
            </a:xfrm>
            <a:custGeom>
              <a:avLst/>
              <a:gdLst>
                <a:gd name="T0" fmla="*/ 141 w 490"/>
                <a:gd name="T1" fmla="*/ 5 h 472"/>
                <a:gd name="T2" fmla="*/ 158 w 490"/>
                <a:gd name="T3" fmla="*/ 20 h 472"/>
                <a:gd name="T4" fmla="*/ 170 w 490"/>
                <a:gd name="T5" fmla="*/ 35 h 472"/>
                <a:gd name="T6" fmla="*/ 200 w 490"/>
                <a:gd name="T7" fmla="*/ 29 h 472"/>
                <a:gd name="T8" fmla="*/ 258 w 490"/>
                <a:gd name="T9" fmla="*/ 20 h 472"/>
                <a:gd name="T10" fmla="*/ 288 w 490"/>
                <a:gd name="T11" fmla="*/ 25 h 472"/>
                <a:gd name="T12" fmla="*/ 315 w 490"/>
                <a:gd name="T13" fmla="*/ 40 h 472"/>
                <a:gd name="T14" fmla="*/ 356 w 490"/>
                <a:gd name="T15" fmla="*/ 52 h 472"/>
                <a:gd name="T16" fmla="*/ 388 w 490"/>
                <a:gd name="T17" fmla="*/ 45 h 472"/>
                <a:gd name="T18" fmla="*/ 395 w 490"/>
                <a:gd name="T19" fmla="*/ 45 h 472"/>
                <a:gd name="T20" fmla="*/ 406 w 490"/>
                <a:gd name="T21" fmla="*/ 69 h 472"/>
                <a:gd name="T22" fmla="*/ 418 w 490"/>
                <a:gd name="T23" fmla="*/ 87 h 472"/>
                <a:gd name="T24" fmla="*/ 443 w 490"/>
                <a:gd name="T25" fmla="*/ 100 h 472"/>
                <a:gd name="T26" fmla="*/ 456 w 490"/>
                <a:gd name="T27" fmla="*/ 120 h 472"/>
                <a:gd name="T28" fmla="*/ 460 w 490"/>
                <a:gd name="T29" fmla="*/ 140 h 472"/>
                <a:gd name="T30" fmla="*/ 477 w 490"/>
                <a:gd name="T31" fmla="*/ 150 h 472"/>
                <a:gd name="T32" fmla="*/ 489 w 490"/>
                <a:gd name="T33" fmla="*/ 168 h 472"/>
                <a:gd name="T34" fmla="*/ 489 w 490"/>
                <a:gd name="T35" fmla="*/ 193 h 472"/>
                <a:gd name="T36" fmla="*/ 468 w 490"/>
                <a:gd name="T37" fmla="*/ 229 h 472"/>
                <a:gd name="T38" fmla="*/ 446 w 490"/>
                <a:gd name="T39" fmla="*/ 244 h 472"/>
                <a:gd name="T40" fmla="*/ 397 w 490"/>
                <a:gd name="T41" fmla="*/ 267 h 472"/>
                <a:gd name="T42" fmla="*/ 340 w 490"/>
                <a:gd name="T43" fmla="*/ 284 h 472"/>
                <a:gd name="T44" fmla="*/ 326 w 490"/>
                <a:gd name="T45" fmla="*/ 294 h 472"/>
                <a:gd name="T46" fmla="*/ 303 w 490"/>
                <a:gd name="T47" fmla="*/ 331 h 472"/>
                <a:gd name="T48" fmla="*/ 296 w 490"/>
                <a:gd name="T49" fmla="*/ 351 h 472"/>
                <a:gd name="T50" fmla="*/ 297 w 490"/>
                <a:gd name="T51" fmla="*/ 375 h 472"/>
                <a:gd name="T52" fmla="*/ 286 w 490"/>
                <a:gd name="T53" fmla="*/ 416 h 472"/>
                <a:gd name="T54" fmla="*/ 283 w 490"/>
                <a:gd name="T55" fmla="*/ 445 h 472"/>
                <a:gd name="T56" fmla="*/ 264 w 490"/>
                <a:gd name="T57" fmla="*/ 470 h 472"/>
                <a:gd name="T58" fmla="*/ 222 w 490"/>
                <a:gd name="T59" fmla="*/ 440 h 472"/>
                <a:gd name="T60" fmla="*/ 202 w 490"/>
                <a:gd name="T61" fmla="*/ 436 h 472"/>
                <a:gd name="T62" fmla="*/ 183 w 490"/>
                <a:gd name="T63" fmla="*/ 422 h 472"/>
                <a:gd name="T64" fmla="*/ 154 w 490"/>
                <a:gd name="T65" fmla="*/ 385 h 472"/>
                <a:gd name="T66" fmla="*/ 129 w 490"/>
                <a:gd name="T67" fmla="*/ 359 h 472"/>
                <a:gd name="T68" fmla="*/ 131 w 490"/>
                <a:gd name="T69" fmla="*/ 340 h 472"/>
                <a:gd name="T70" fmla="*/ 130 w 490"/>
                <a:gd name="T71" fmla="*/ 327 h 472"/>
                <a:gd name="T72" fmla="*/ 115 w 490"/>
                <a:gd name="T73" fmla="*/ 318 h 472"/>
                <a:gd name="T74" fmla="*/ 100 w 490"/>
                <a:gd name="T75" fmla="*/ 298 h 472"/>
                <a:gd name="T76" fmla="*/ 91 w 490"/>
                <a:gd name="T77" fmla="*/ 272 h 472"/>
                <a:gd name="T78" fmla="*/ 82 w 490"/>
                <a:gd name="T79" fmla="*/ 262 h 472"/>
                <a:gd name="T80" fmla="*/ 53 w 490"/>
                <a:gd name="T81" fmla="*/ 249 h 472"/>
                <a:gd name="T82" fmla="*/ 26 w 490"/>
                <a:gd name="T83" fmla="*/ 227 h 472"/>
                <a:gd name="T84" fmla="*/ 46 w 490"/>
                <a:gd name="T85" fmla="*/ 203 h 472"/>
                <a:gd name="T86" fmla="*/ 58 w 490"/>
                <a:gd name="T87" fmla="*/ 179 h 472"/>
                <a:gd name="T88" fmla="*/ 58 w 490"/>
                <a:gd name="T89" fmla="*/ 155 h 472"/>
                <a:gd name="T90" fmla="*/ 47 w 490"/>
                <a:gd name="T91" fmla="*/ 145 h 472"/>
                <a:gd name="T92" fmla="*/ 27 w 490"/>
                <a:gd name="T93" fmla="*/ 145 h 472"/>
                <a:gd name="T94" fmla="*/ 20 w 490"/>
                <a:gd name="T95" fmla="*/ 136 h 472"/>
                <a:gd name="T96" fmla="*/ 0 w 490"/>
                <a:gd name="T97" fmla="*/ 116 h 472"/>
                <a:gd name="T98" fmla="*/ 2 w 490"/>
                <a:gd name="T99" fmla="*/ 105 h 472"/>
                <a:gd name="T100" fmla="*/ 11 w 490"/>
                <a:gd name="T101" fmla="*/ 82 h 472"/>
                <a:gd name="T102" fmla="*/ 13 w 490"/>
                <a:gd name="T103" fmla="*/ 64 h 472"/>
                <a:gd name="T104" fmla="*/ 39 w 490"/>
                <a:gd name="T105" fmla="*/ 42 h 472"/>
                <a:gd name="T106" fmla="*/ 48 w 490"/>
                <a:gd name="T107" fmla="*/ 26 h 472"/>
                <a:gd name="T108" fmla="*/ 69 w 490"/>
                <a:gd name="T109" fmla="*/ 30 h 472"/>
                <a:gd name="T110" fmla="*/ 87 w 490"/>
                <a:gd name="T111" fmla="*/ 28 h 472"/>
                <a:gd name="T112" fmla="*/ 102 w 490"/>
                <a:gd name="T113" fmla="*/ 4 h 472"/>
                <a:gd name="T114" fmla="*/ 113 w 490"/>
                <a:gd name="T115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0" h="472">
                  <a:moveTo>
                    <a:pt x="117" y="0"/>
                  </a:moveTo>
                  <a:lnTo>
                    <a:pt x="121" y="0"/>
                  </a:lnTo>
                  <a:lnTo>
                    <a:pt x="125" y="0"/>
                  </a:lnTo>
                  <a:lnTo>
                    <a:pt x="129" y="1"/>
                  </a:lnTo>
                  <a:lnTo>
                    <a:pt x="134" y="3"/>
                  </a:lnTo>
                  <a:lnTo>
                    <a:pt x="137" y="3"/>
                  </a:lnTo>
                  <a:lnTo>
                    <a:pt x="141" y="5"/>
                  </a:lnTo>
                  <a:lnTo>
                    <a:pt x="144" y="7"/>
                  </a:lnTo>
                  <a:lnTo>
                    <a:pt x="147" y="9"/>
                  </a:lnTo>
                  <a:lnTo>
                    <a:pt x="149" y="11"/>
                  </a:lnTo>
                  <a:lnTo>
                    <a:pt x="152" y="14"/>
                  </a:lnTo>
                  <a:lnTo>
                    <a:pt x="155" y="16"/>
                  </a:lnTo>
                  <a:lnTo>
                    <a:pt x="156" y="17"/>
                  </a:lnTo>
                  <a:lnTo>
                    <a:pt x="158" y="20"/>
                  </a:lnTo>
                  <a:lnTo>
                    <a:pt x="161" y="26"/>
                  </a:lnTo>
                  <a:lnTo>
                    <a:pt x="162" y="28"/>
                  </a:lnTo>
                  <a:lnTo>
                    <a:pt x="164" y="30"/>
                  </a:lnTo>
                  <a:lnTo>
                    <a:pt x="165" y="32"/>
                  </a:lnTo>
                  <a:lnTo>
                    <a:pt x="166" y="33"/>
                  </a:lnTo>
                  <a:lnTo>
                    <a:pt x="168" y="34"/>
                  </a:lnTo>
                  <a:lnTo>
                    <a:pt x="170" y="35"/>
                  </a:lnTo>
                  <a:lnTo>
                    <a:pt x="171" y="35"/>
                  </a:lnTo>
                  <a:lnTo>
                    <a:pt x="174" y="35"/>
                  </a:lnTo>
                  <a:lnTo>
                    <a:pt x="177" y="35"/>
                  </a:lnTo>
                  <a:lnTo>
                    <a:pt x="179" y="35"/>
                  </a:lnTo>
                  <a:lnTo>
                    <a:pt x="183" y="34"/>
                  </a:lnTo>
                  <a:lnTo>
                    <a:pt x="187" y="33"/>
                  </a:lnTo>
                  <a:lnTo>
                    <a:pt x="200" y="29"/>
                  </a:lnTo>
                  <a:lnTo>
                    <a:pt x="213" y="25"/>
                  </a:lnTo>
                  <a:lnTo>
                    <a:pt x="220" y="24"/>
                  </a:lnTo>
                  <a:lnTo>
                    <a:pt x="230" y="22"/>
                  </a:lnTo>
                  <a:lnTo>
                    <a:pt x="237" y="21"/>
                  </a:lnTo>
                  <a:lnTo>
                    <a:pt x="244" y="20"/>
                  </a:lnTo>
                  <a:lnTo>
                    <a:pt x="251" y="20"/>
                  </a:lnTo>
                  <a:lnTo>
                    <a:pt x="258" y="20"/>
                  </a:lnTo>
                  <a:lnTo>
                    <a:pt x="262" y="20"/>
                  </a:lnTo>
                  <a:lnTo>
                    <a:pt x="264" y="21"/>
                  </a:lnTo>
                  <a:lnTo>
                    <a:pt x="273" y="23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5" y="25"/>
                  </a:lnTo>
                  <a:lnTo>
                    <a:pt x="288" y="25"/>
                  </a:lnTo>
                  <a:lnTo>
                    <a:pt x="291" y="25"/>
                  </a:lnTo>
                  <a:lnTo>
                    <a:pt x="294" y="25"/>
                  </a:lnTo>
                  <a:lnTo>
                    <a:pt x="296" y="27"/>
                  </a:lnTo>
                  <a:lnTo>
                    <a:pt x="299" y="29"/>
                  </a:lnTo>
                  <a:lnTo>
                    <a:pt x="302" y="31"/>
                  </a:lnTo>
                  <a:lnTo>
                    <a:pt x="311" y="37"/>
                  </a:lnTo>
                  <a:lnTo>
                    <a:pt x="315" y="40"/>
                  </a:lnTo>
                  <a:lnTo>
                    <a:pt x="319" y="42"/>
                  </a:lnTo>
                  <a:lnTo>
                    <a:pt x="322" y="44"/>
                  </a:lnTo>
                  <a:lnTo>
                    <a:pt x="325" y="46"/>
                  </a:lnTo>
                  <a:lnTo>
                    <a:pt x="329" y="47"/>
                  </a:lnTo>
                  <a:lnTo>
                    <a:pt x="346" y="50"/>
                  </a:lnTo>
                  <a:lnTo>
                    <a:pt x="352" y="51"/>
                  </a:lnTo>
                  <a:lnTo>
                    <a:pt x="356" y="52"/>
                  </a:lnTo>
                  <a:lnTo>
                    <a:pt x="361" y="52"/>
                  </a:lnTo>
                  <a:lnTo>
                    <a:pt x="364" y="51"/>
                  </a:lnTo>
                  <a:lnTo>
                    <a:pt x="368" y="51"/>
                  </a:lnTo>
                  <a:lnTo>
                    <a:pt x="373" y="50"/>
                  </a:lnTo>
                  <a:lnTo>
                    <a:pt x="376" y="48"/>
                  </a:lnTo>
                  <a:lnTo>
                    <a:pt x="384" y="47"/>
                  </a:lnTo>
                  <a:lnTo>
                    <a:pt x="388" y="45"/>
                  </a:lnTo>
                  <a:lnTo>
                    <a:pt x="392" y="45"/>
                  </a:lnTo>
                  <a:lnTo>
                    <a:pt x="393" y="45"/>
                  </a:lnTo>
                  <a:lnTo>
                    <a:pt x="393" y="45"/>
                  </a:lnTo>
                  <a:lnTo>
                    <a:pt x="393" y="45"/>
                  </a:lnTo>
                  <a:lnTo>
                    <a:pt x="394" y="45"/>
                  </a:lnTo>
                  <a:lnTo>
                    <a:pt x="395" y="45"/>
                  </a:lnTo>
                  <a:lnTo>
                    <a:pt x="395" y="45"/>
                  </a:lnTo>
                  <a:lnTo>
                    <a:pt x="396" y="47"/>
                  </a:lnTo>
                  <a:lnTo>
                    <a:pt x="398" y="48"/>
                  </a:lnTo>
                  <a:lnTo>
                    <a:pt x="398" y="48"/>
                  </a:lnTo>
                  <a:lnTo>
                    <a:pt x="399" y="50"/>
                  </a:lnTo>
                  <a:lnTo>
                    <a:pt x="400" y="52"/>
                  </a:lnTo>
                  <a:lnTo>
                    <a:pt x="401" y="56"/>
                  </a:lnTo>
                  <a:lnTo>
                    <a:pt x="406" y="69"/>
                  </a:lnTo>
                  <a:lnTo>
                    <a:pt x="408" y="73"/>
                  </a:lnTo>
                  <a:lnTo>
                    <a:pt x="409" y="75"/>
                  </a:lnTo>
                  <a:lnTo>
                    <a:pt x="410" y="77"/>
                  </a:lnTo>
                  <a:lnTo>
                    <a:pt x="412" y="80"/>
                  </a:lnTo>
                  <a:lnTo>
                    <a:pt x="414" y="82"/>
                  </a:lnTo>
                  <a:lnTo>
                    <a:pt x="417" y="85"/>
                  </a:lnTo>
                  <a:lnTo>
                    <a:pt x="418" y="87"/>
                  </a:lnTo>
                  <a:lnTo>
                    <a:pt x="420" y="88"/>
                  </a:lnTo>
                  <a:lnTo>
                    <a:pt x="421" y="89"/>
                  </a:lnTo>
                  <a:lnTo>
                    <a:pt x="423" y="91"/>
                  </a:lnTo>
                  <a:lnTo>
                    <a:pt x="431" y="93"/>
                  </a:lnTo>
                  <a:lnTo>
                    <a:pt x="438" y="98"/>
                  </a:lnTo>
                  <a:lnTo>
                    <a:pt x="440" y="99"/>
                  </a:lnTo>
                  <a:lnTo>
                    <a:pt x="443" y="100"/>
                  </a:lnTo>
                  <a:lnTo>
                    <a:pt x="444" y="102"/>
                  </a:lnTo>
                  <a:lnTo>
                    <a:pt x="446" y="105"/>
                  </a:lnTo>
                  <a:lnTo>
                    <a:pt x="450" y="110"/>
                  </a:lnTo>
                  <a:lnTo>
                    <a:pt x="453" y="114"/>
                  </a:lnTo>
                  <a:lnTo>
                    <a:pt x="455" y="116"/>
                  </a:lnTo>
                  <a:lnTo>
                    <a:pt x="455" y="117"/>
                  </a:lnTo>
                  <a:lnTo>
                    <a:pt x="456" y="120"/>
                  </a:lnTo>
                  <a:lnTo>
                    <a:pt x="457" y="123"/>
                  </a:lnTo>
                  <a:lnTo>
                    <a:pt x="457" y="125"/>
                  </a:lnTo>
                  <a:lnTo>
                    <a:pt x="458" y="127"/>
                  </a:lnTo>
                  <a:lnTo>
                    <a:pt x="458" y="135"/>
                  </a:lnTo>
                  <a:lnTo>
                    <a:pt x="458" y="138"/>
                  </a:lnTo>
                  <a:lnTo>
                    <a:pt x="459" y="139"/>
                  </a:lnTo>
                  <a:lnTo>
                    <a:pt x="460" y="140"/>
                  </a:lnTo>
                  <a:lnTo>
                    <a:pt x="460" y="141"/>
                  </a:lnTo>
                  <a:lnTo>
                    <a:pt x="462" y="143"/>
                  </a:lnTo>
                  <a:lnTo>
                    <a:pt x="464" y="144"/>
                  </a:lnTo>
                  <a:lnTo>
                    <a:pt x="466" y="146"/>
                  </a:lnTo>
                  <a:lnTo>
                    <a:pt x="468" y="147"/>
                  </a:lnTo>
                  <a:lnTo>
                    <a:pt x="472" y="149"/>
                  </a:lnTo>
                  <a:lnTo>
                    <a:pt x="477" y="150"/>
                  </a:lnTo>
                  <a:lnTo>
                    <a:pt x="479" y="151"/>
                  </a:lnTo>
                  <a:lnTo>
                    <a:pt x="484" y="152"/>
                  </a:lnTo>
                  <a:lnTo>
                    <a:pt x="485" y="153"/>
                  </a:lnTo>
                  <a:lnTo>
                    <a:pt x="485" y="154"/>
                  </a:lnTo>
                  <a:lnTo>
                    <a:pt x="487" y="157"/>
                  </a:lnTo>
                  <a:lnTo>
                    <a:pt x="488" y="162"/>
                  </a:lnTo>
                  <a:lnTo>
                    <a:pt x="489" y="168"/>
                  </a:lnTo>
                  <a:lnTo>
                    <a:pt x="489" y="171"/>
                  </a:lnTo>
                  <a:lnTo>
                    <a:pt x="490" y="174"/>
                  </a:lnTo>
                  <a:lnTo>
                    <a:pt x="490" y="180"/>
                  </a:lnTo>
                  <a:lnTo>
                    <a:pt x="490" y="184"/>
                  </a:lnTo>
                  <a:lnTo>
                    <a:pt x="490" y="186"/>
                  </a:lnTo>
                  <a:lnTo>
                    <a:pt x="490" y="189"/>
                  </a:lnTo>
                  <a:lnTo>
                    <a:pt x="489" y="193"/>
                  </a:lnTo>
                  <a:lnTo>
                    <a:pt x="489" y="197"/>
                  </a:lnTo>
                  <a:lnTo>
                    <a:pt x="487" y="202"/>
                  </a:lnTo>
                  <a:lnTo>
                    <a:pt x="484" y="207"/>
                  </a:lnTo>
                  <a:lnTo>
                    <a:pt x="482" y="210"/>
                  </a:lnTo>
                  <a:lnTo>
                    <a:pt x="478" y="217"/>
                  </a:lnTo>
                  <a:lnTo>
                    <a:pt x="472" y="224"/>
                  </a:lnTo>
                  <a:lnTo>
                    <a:pt x="468" y="229"/>
                  </a:lnTo>
                  <a:lnTo>
                    <a:pt x="466" y="230"/>
                  </a:lnTo>
                  <a:lnTo>
                    <a:pt x="465" y="232"/>
                  </a:lnTo>
                  <a:lnTo>
                    <a:pt x="462" y="234"/>
                  </a:lnTo>
                  <a:lnTo>
                    <a:pt x="459" y="237"/>
                  </a:lnTo>
                  <a:lnTo>
                    <a:pt x="455" y="239"/>
                  </a:lnTo>
                  <a:lnTo>
                    <a:pt x="453" y="241"/>
                  </a:lnTo>
                  <a:lnTo>
                    <a:pt x="446" y="244"/>
                  </a:lnTo>
                  <a:lnTo>
                    <a:pt x="434" y="249"/>
                  </a:lnTo>
                  <a:lnTo>
                    <a:pt x="431" y="252"/>
                  </a:lnTo>
                  <a:lnTo>
                    <a:pt x="417" y="258"/>
                  </a:lnTo>
                  <a:lnTo>
                    <a:pt x="409" y="263"/>
                  </a:lnTo>
                  <a:lnTo>
                    <a:pt x="405" y="263"/>
                  </a:lnTo>
                  <a:lnTo>
                    <a:pt x="401" y="265"/>
                  </a:lnTo>
                  <a:lnTo>
                    <a:pt x="397" y="267"/>
                  </a:lnTo>
                  <a:lnTo>
                    <a:pt x="383" y="273"/>
                  </a:lnTo>
                  <a:lnTo>
                    <a:pt x="375" y="275"/>
                  </a:lnTo>
                  <a:lnTo>
                    <a:pt x="370" y="276"/>
                  </a:lnTo>
                  <a:lnTo>
                    <a:pt x="367" y="277"/>
                  </a:lnTo>
                  <a:lnTo>
                    <a:pt x="350" y="281"/>
                  </a:lnTo>
                  <a:lnTo>
                    <a:pt x="344" y="283"/>
                  </a:lnTo>
                  <a:lnTo>
                    <a:pt x="340" y="284"/>
                  </a:lnTo>
                  <a:lnTo>
                    <a:pt x="337" y="285"/>
                  </a:lnTo>
                  <a:lnTo>
                    <a:pt x="335" y="286"/>
                  </a:lnTo>
                  <a:lnTo>
                    <a:pt x="332" y="287"/>
                  </a:lnTo>
                  <a:lnTo>
                    <a:pt x="330" y="289"/>
                  </a:lnTo>
                  <a:lnTo>
                    <a:pt x="329" y="290"/>
                  </a:lnTo>
                  <a:lnTo>
                    <a:pt x="327" y="292"/>
                  </a:lnTo>
                  <a:lnTo>
                    <a:pt x="326" y="294"/>
                  </a:lnTo>
                  <a:lnTo>
                    <a:pt x="324" y="295"/>
                  </a:lnTo>
                  <a:lnTo>
                    <a:pt x="322" y="298"/>
                  </a:lnTo>
                  <a:lnTo>
                    <a:pt x="319" y="307"/>
                  </a:lnTo>
                  <a:lnTo>
                    <a:pt x="316" y="309"/>
                  </a:lnTo>
                  <a:lnTo>
                    <a:pt x="313" y="314"/>
                  </a:lnTo>
                  <a:lnTo>
                    <a:pt x="307" y="323"/>
                  </a:lnTo>
                  <a:lnTo>
                    <a:pt x="303" y="331"/>
                  </a:lnTo>
                  <a:lnTo>
                    <a:pt x="300" y="334"/>
                  </a:lnTo>
                  <a:lnTo>
                    <a:pt x="299" y="337"/>
                  </a:lnTo>
                  <a:lnTo>
                    <a:pt x="298" y="339"/>
                  </a:lnTo>
                  <a:lnTo>
                    <a:pt x="297" y="342"/>
                  </a:lnTo>
                  <a:lnTo>
                    <a:pt x="297" y="345"/>
                  </a:lnTo>
                  <a:lnTo>
                    <a:pt x="296" y="348"/>
                  </a:lnTo>
                  <a:lnTo>
                    <a:pt x="296" y="351"/>
                  </a:lnTo>
                  <a:lnTo>
                    <a:pt x="296" y="354"/>
                  </a:lnTo>
                  <a:lnTo>
                    <a:pt x="296" y="355"/>
                  </a:lnTo>
                  <a:lnTo>
                    <a:pt x="297" y="362"/>
                  </a:lnTo>
                  <a:lnTo>
                    <a:pt x="298" y="365"/>
                  </a:lnTo>
                  <a:lnTo>
                    <a:pt x="298" y="370"/>
                  </a:lnTo>
                  <a:lnTo>
                    <a:pt x="298" y="373"/>
                  </a:lnTo>
                  <a:lnTo>
                    <a:pt x="297" y="375"/>
                  </a:lnTo>
                  <a:lnTo>
                    <a:pt x="296" y="383"/>
                  </a:lnTo>
                  <a:lnTo>
                    <a:pt x="295" y="388"/>
                  </a:lnTo>
                  <a:lnTo>
                    <a:pt x="293" y="395"/>
                  </a:lnTo>
                  <a:lnTo>
                    <a:pt x="289" y="406"/>
                  </a:lnTo>
                  <a:lnTo>
                    <a:pt x="288" y="409"/>
                  </a:lnTo>
                  <a:lnTo>
                    <a:pt x="287" y="412"/>
                  </a:lnTo>
                  <a:lnTo>
                    <a:pt x="286" y="416"/>
                  </a:lnTo>
                  <a:lnTo>
                    <a:pt x="286" y="420"/>
                  </a:lnTo>
                  <a:lnTo>
                    <a:pt x="285" y="423"/>
                  </a:lnTo>
                  <a:lnTo>
                    <a:pt x="285" y="433"/>
                  </a:lnTo>
                  <a:lnTo>
                    <a:pt x="285" y="436"/>
                  </a:lnTo>
                  <a:lnTo>
                    <a:pt x="285" y="439"/>
                  </a:lnTo>
                  <a:lnTo>
                    <a:pt x="284" y="442"/>
                  </a:lnTo>
                  <a:lnTo>
                    <a:pt x="283" y="445"/>
                  </a:lnTo>
                  <a:lnTo>
                    <a:pt x="282" y="447"/>
                  </a:lnTo>
                  <a:lnTo>
                    <a:pt x="280" y="450"/>
                  </a:lnTo>
                  <a:lnTo>
                    <a:pt x="273" y="467"/>
                  </a:lnTo>
                  <a:lnTo>
                    <a:pt x="269" y="472"/>
                  </a:lnTo>
                  <a:lnTo>
                    <a:pt x="269" y="472"/>
                  </a:lnTo>
                  <a:lnTo>
                    <a:pt x="267" y="472"/>
                  </a:lnTo>
                  <a:lnTo>
                    <a:pt x="264" y="470"/>
                  </a:lnTo>
                  <a:lnTo>
                    <a:pt x="253" y="463"/>
                  </a:lnTo>
                  <a:lnTo>
                    <a:pt x="242" y="455"/>
                  </a:lnTo>
                  <a:lnTo>
                    <a:pt x="239" y="452"/>
                  </a:lnTo>
                  <a:lnTo>
                    <a:pt x="233" y="447"/>
                  </a:lnTo>
                  <a:lnTo>
                    <a:pt x="230" y="445"/>
                  </a:lnTo>
                  <a:lnTo>
                    <a:pt x="227" y="443"/>
                  </a:lnTo>
                  <a:lnTo>
                    <a:pt x="222" y="440"/>
                  </a:lnTo>
                  <a:lnTo>
                    <a:pt x="220" y="439"/>
                  </a:lnTo>
                  <a:lnTo>
                    <a:pt x="219" y="438"/>
                  </a:lnTo>
                  <a:lnTo>
                    <a:pt x="217" y="438"/>
                  </a:lnTo>
                  <a:lnTo>
                    <a:pt x="216" y="437"/>
                  </a:lnTo>
                  <a:lnTo>
                    <a:pt x="212" y="437"/>
                  </a:lnTo>
                  <a:lnTo>
                    <a:pt x="204" y="436"/>
                  </a:lnTo>
                  <a:lnTo>
                    <a:pt x="202" y="436"/>
                  </a:lnTo>
                  <a:lnTo>
                    <a:pt x="199" y="435"/>
                  </a:lnTo>
                  <a:lnTo>
                    <a:pt x="197" y="434"/>
                  </a:lnTo>
                  <a:lnTo>
                    <a:pt x="194" y="433"/>
                  </a:lnTo>
                  <a:lnTo>
                    <a:pt x="193" y="432"/>
                  </a:lnTo>
                  <a:lnTo>
                    <a:pt x="191" y="430"/>
                  </a:lnTo>
                  <a:lnTo>
                    <a:pt x="186" y="424"/>
                  </a:lnTo>
                  <a:lnTo>
                    <a:pt x="183" y="422"/>
                  </a:lnTo>
                  <a:lnTo>
                    <a:pt x="177" y="411"/>
                  </a:lnTo>
                  <a:lnTo>
                    <a:pt x="169" y="399"/>
                  </a:lnTo>
                  <a:lnTo>
                    <a:pt x="164" y="395"/>
                  </a:lnTo>
                  <a:lnTo>
                    <a:pt x="161" y="390"/>
                  </a:lnTo>
                  <a:lnTo>
                    <a:pt x="159" y="388"/>
                  </a:lnTo>
                  <a:lnTo>
                    <a:pt x="157" y="387"/>
                  </a:lnTo>
                  <a:lnTo>
                    <a:pt x="154" y="385"/>
                  </a:lnTo>
                  <a:lnTo>
                    <a:pt x="148" y="381"/>
                  </a:lnTo>
                  <a:lnTo>
                    <a:pt x="145" y="378"/>
                  </a:lnTo>
                  <a:lnTo>
                    <a:pt x="137" y="370"/>
                  </a:lnTo>
                  <a:lnTo>
                    <a:pt x="134" y="366"/>
                  </a:lnTo>
                  <a:lnTo>
                    <a:pt x="132" y="365"/>
                  </a:lnTo>
                  <a:lnTo>
                    <a:pt x="131" y="362"/>
                  </a:lnTo>
                  <a:lnTo>
                    <a:pt x="129" y="359"/>
                  </a:lnTo>
                  <a:lnTo>
                    <a:pt x="129" y="356"/>
                  </a:lnTo>
                  <a:lnTo>
                    <a:pt x="128" y="353"/>
                  </a:lnTo>
                  <a:lnTo>
                    <a:pt x="128" y="352"/>
                  </a:lnTo>
                  <a:lnTo>
                    <a:pt x="129" y="350"/>
                  </a:lnTo>
                  <a:lnTo>
                    <a:pt x="130" y="344"/>
                  </a:lnTo>
                  <a:lnTo>
                    <a:pt x="131" y="341"/>
                  </a:lnTo>
                  <a:lnTo>
                    <a:pt x="131" y="340"/>
                  </a:lnTo>
                  <a:lnTo>
                    <a:pt x="132" y="337"/>
                  </a:lnTo>
                  <a:lnTo>
                    <a:pt x="132" y="335"/>
                  </a:lnTo>
                  <a:lnTo>
                    <a:pt x="132" y="334"/>
                  </a:lnTo>
                  <a:lnTo>
                    <a:pt x="132" y="332"/>
                  </a:lnTo>
                  <a:lnTo>
                    <a:pt x="131" y="330"/>
                  </a:lnTo>
                  <a:lnTo>
                    <a:pt x="131" y="328"/>
                  </a:lnTo>
                  <a:lnTo>
                    <a:pt x="130" y="327"/>
                  </a:lnTo>
                  <a:lnTo>
                    <a:pt x="129" y="325"/>
                  </a:lnTo>
                  <a:lnTo>
                    <a:pt x="128" y="324"/>
                  </a:lnTo>
                  <a:lnTo>
                    <a:pt x="127" y="323"/>
                  </a:lnTo>
                  <a:lnTo>
                    <a:pt x="125" y="322"/>
                  </a:lnTo>
                  <a:lnTo>
                    <a:pt x="125" y="321"/>
                  </a:lnTo>
                  <a:lnTo>
                    <a:pt x="117" y="319"/>
                  </a:lnTo>
                  <a:lnTo>
                    <a:pt x="115" y="318"/>
                  </a:lnTo>
                  <a:lnTo>
                    <a:pt x="114" y="317"/>
                  </a:lnTo>
                  <a:lnTo>
                    <a:pt x="112" y="315"/>
                  </a:lnTo>
                  <a:lnTo>
                    <a:pt x="110" y="313"/>
                  </a:lnTo>
                  <a:lnTo>
                    <a:pt x="108" y="310"/>
                  </a:lnTo>
                  <a:lnTo>
                    <a:pt x="106" y="309"/>
                  </a:lnTo>
                  <a:lnTo>
                    <a:pt x="103" y="305"/>
                  </a:lnTo>
                  <a:lnTo>
                    <a:pt x="100" y="298"/>
                  </a:lnTo>
                  <a:lnTo>
                    <a:pt x="97" y="292"/>
                  </a:lnTo>
                  <a:lnTo>
                    <a:pt x="95" y="287"/>
                  </a:lnTo>
                  <a:lnTo>
                    <a:pt x="94" y="285"/>
                  </a:lnTo>
                  <a:lnTo>
                    <a:pt x="93" y="282"/>
                  </a:lnTo>
                  <a:lnTo>
                    <a:pt x="92" y="279"/>
                  </a:lnTo>
                  <a:lnTo>
                    <a:pt x="91" y="275"/>
                  </a:lnTo>
                  <a:lnTo>
                    <a:pt x="91" y="272"/>
                  </a:lnTo>
                  <a:lnTo>
                    <a:pt x="91" y="270"/>
                  </a:lnTo>
                  <a:lnTo>
                    <a:pt x="90" y="269"/>
                  </a:lnTo>
                  <a:lnTo>
                    <a:pt x="90" y="268"/>
                  </a:lnTo>
                  <a:lnTo>
                    <a:pt x="89" y="267"/>
                  </a:lnTo>
                  <a:lnTo>
                    <a:pt x="87" y="265"/>
                  </a:lnTo>
                  <a:lnTo>
                    <a:pt x="84" y="263"/>
                  </a:lnTo>
                  <a:lnTo>
                    <a:pt x="82" y="262"/>
                  </a:lnTo>
                  <a:lnTo>
                    <a:pt x="74" y="258"/>
                  </a:lnTo>
                  <a:lnTo>
                    <a:pt x="72" y="257"/>
                  </a:lnTo>
                  <a:lnTo>
                    <a:pt x="70" y="256"/>
                  </a:lnTo>
                  <a:lnTo>
                    <a:pt x="63" y="254"/>
                  </a:lnTo>
                  <a:lnTo>
                    <a:pt x="60" y="252"/>
                  </a:lnTo>
                  <a:lnTo>
                    <a:pt x="57" y="252"/>
                  </a:lnTo>
                  <a:lnTo>
                    <a:pt x="53" y="249"/>
                  </a:lnTo>
                  <a:lnTo>
                    <a:pt x="42" y="241"/>
                  </a:lnTo>
                  <a:lnTo>
                    <a:pt x="39" y="240"/>
                  </a:lnTo>
                  <a:lnTo>
                    <a:pt x="36" y="237"/>
                  </a:lnTo>
                  <a:lnTo>
                    <a:pt x="33" y="234"/>
                  </a:lnTo>
                  <a:lnTo>
                    <a:pt x="28" y="229"/>
                  </a:lnTo>
                  <a:lnTo>
                    <a:pt x="26" y="228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27" y="226"/>
                  </a:lnTo>
                  <a:lnTo>
                    <a:pt x="28" y="225"/>
                  </a:lnTo>
                  <a:lnTo>
                    <a:pt x="31" y="222"/>
                  </a:lnTo>
                  <a:lnTo>
                    <a:pt x="34" y="219"/>
                  </a:lnTo>
                  <a:lnTo>
                    <a:pt x="36" y="217"/>
                  </a:lnTo>
                  <a:lnTo>
                    <a:pt x="46" y="203"/>
                  </a:lnTo>
                  <a:lnTo>
                    <a:pt x="48" y="200"/>
                  </a:lnTo>
                  <a:lnTo>
                    <a:pt x="52" y="195"/>
                  </a:lnTo>
                  <a:lnTo>
                    <a:pt x="55" y="190"/>
                  </a:lnTo>
                  <a:lnTo>
                    <a:pt x="57" y="187"/>
                  </a:lnTo>
                  <a:lnTo>
                    <a:pt x="57" y="184"/>
                  </a:lnTo>
                  <a:lnTo>
                    <a:pt x="58" y="182"/>
                  </a:lnTo>
                  <a:lnTo>
                    <a:pt x="58" y="179"/>
                  </a:lnTo>
                  <a:lnTo>
                    <a:pt x="60" y="170"/>
                  </a:lnTo>
                  <a:lnTo>
                    <a:pt x="61" y="167"/>
                  </a:lnTo>
                  <a:lnTo>
                    <a:pt x="61" y="163"/>
                  </a:lnTo>
                  <a:lnTo>
                    <a:pt x="60" y="161"/>
                  </a:lnTo>
                  <a:lnTo>
                    <a:pt x="60" y="161"/>
                  </a:lnTo>
                  <a:lnTo>
                    <a:pt x="59" y="158"/>
                  </a:lnTo>
                  <a:lnTo>
                    <a:pt x="58" y="155"/>
                  </a:lnTo>
                  <a:lnTo>
                    <a:pt x="57" y="153"/>
                  </a:lnTo>
                  <a:lnTo>
                    <a:pt x="55" y="150"/>
                  </a:lnTo>
                  <a:lnTo>
                    <a:pt x="54" y="149"/>
                  </a:lnTo>
                  <a:lnTo>
                    <a:pt x="53" y="148"/>
                  </a:lnTo>
                  <a:lnTo>
                    <a:pt x="51" y="146"/>
                  </a:lnTo>
                  <a:lnTo>
                    <a:pt x="49" y="145"/>
                  </a:lnTo>
                  <a:lnTo>
                    <a:pt x="47" y="145"/>
                  </a:lnTo>
                  <a:lnTo>
                    <a:pt x="46" y="144"/>
                  </a:lnTo>
                  <a:lnTo>
                    <a:pt x="45" y="144"/>
                  </a:lnTo>
                  <a:lnTo>
                    <a:pt x="43" y="144"/>
                  </a:lnTo>
                  <a:lnTo>
                    <a:pt x="37" y="145"/>
                  </a:lnTo>
                  <a:lnTo>
                    <a:pt x="32" y="145"/>
                  </a:lnTo>
                  <a:lnTo>
                    <a:pt x="29" y="145"/>
                  </a:lnTo>
                  <a:lnTo>
                    <a:pt x="27" y="145"/>
                  </a:lnTo>
                  <a:lnTo>
                    <a:pt x="26" y="144"/>
                  </a:lnTo>
                  <a:lnTo>
                    <a:pt x="25" y="144"/>
                  </a:lnTo>
                  <a:lnTo>
                    <a:pt x="23" y="143"/>
                  </a:lnTo>
                  <a:lnTo>
                    <a:pt x="23" y="142"/>
                  </a:lnTo>
                  <a:lnTo>
                    <a:pt x="23" y="141"/>
                  </a:lnTo>
                  <a:lnTo>
                    <a:pt x="21" y="138"/>
                  </a:lnTo>
                  <a:lnTo>
                    <a:pt x="20" y="136"/>
                  </a:lnTo>
                  <a:lnTo>
                    <a:pt x="18" y="134"/>
                  </a:lnTo>
                  <a:lnTo>
                    <a:pt x="16" y="132"/>
                  </a:lnTo>
                  <a:lnTo>
                    <a:pt x="13" y="128"/>
                  </a:lnTo>
                  <a:lnTo>
                    <a:pt x="9" y="125"/>
                  </a:lnTo>
                  <a:lnTo>
                    <a:pt x="6" y="122"/>
                  </a:lnTo>
                  <a:lnTo>
                    <a:pt x="1" y="117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2" y="105"/>
                  </a:lnTo>
                  <a:lnTo>
                    <a:pt x="3" y="102"/>
                  </a:lnTo>
                  <a:lnTo>
                    <a:pt x="6" y="94"/>
                  </a:lnTo>
                  <a:lnTo>
                    <a:pt x="8" y="90"/>
                  </a:lnTo>
                  <a:lnTo>
                    <a:pt x="9" y="87"/>
                  </a:lnTo>
                  <a:lnTo>
                    <a:pt x="10" y="84"/>
                  </a:lnTo>
                  <a:lnTo>
                    <a:pt x="10" y="83"/>
                  </a:lnTo>
                  <a:lnTo>
                    <a:pt x="11" y="82"/>
                  </a:lnTo>
                  <a:lnTo>
                    <a:pt x="11" y="72"/>
                  </a:lnTo>
                  <a:lnTo>
                    <a:pt x="11" y="71"/>
                  </a:lnTo>
                  <a:lnTo>
                    <a:pt x="11" y="69"/>
                  </a:lnTo>
                  <a:lnTo>
                    <a:pt x="12" y="68"/>
                  </a:lnTo>
                  <a:lnTo>
                    <a:pt x="12" y="67"/>
                  </a:lnTo>
                  <a:lnTo>
                    <a:pt x="12" y="65"/>
                  </a:lnTo>
                  <a:lnTo>
                    <a:pt x="13" y="64"/>
                  </a:lnTo>
                  <a:lnTo>
                    <a:pt x="19" y="59"/>
                  </a:lnTo>
                  <a:lnTo>
                    <a:pt x="24" y="53"/>
                  </a:lnTo>
                  <a:lnTo>
                    <a:pt x="26" y="51"/>
                  </a:lnTo>
                  <a:lnTo>
                    <a:pt x="28" y="49"/>
                  </a:lnTo>
                  <a:lnTo>
                    <a:pt x="35" y="45"/>
                  </a:lnTo>
                  <a:lnTo>
                    <a:pt x="37" y="43"/>
                  </a:lnTo>
                  <a:lnTo>
                    <a:pt x="39" y="42"/>
                  </a:lnTo>
                  <a:lnTo>
                    <a:pt x="40" y="40"/>
                  </a:lnTo>
                  <a:lnTo>
                    <a:pt x="42" y="37"/>
                  </a:lnTo>
                  <a:lnTo>
                    <a:pt x="43" y="35"/>
                  </a:lnTo>
                  <a:lnTo>
                    <a:pt x="46" y="30"/>
                  </a:lnTo>
                  <a:lnTo>
                    <a:pt x="46" y="28"/>
                  </a:lnTo>
                  <a:lnTo>
                    <a:pt x="47" y="27"/>
                  </a:lnTo>
                  <a:lnTo>
                    <a:pt x="48" y="26"/>
                  </a:lnTo>
                  <a:lnTo>
                    <a:pt x="49" y="25"/>
                  </a:lnTo>
                  <a:lnTo>
                    <a:pt x="51" y="25"/>
                  </a:lnTo>
                  <a:lnTo>
                    <a:pt x="52" y="25"/>
                  </a:lnTo>
                  <a:lnTo>
                    <a:pt x="54" y="26"/>
                  </a:lnTo>
                  <a:lnTo>
                    <a:pt x="59" y="27"/>
                  </a:lnTo>
                  <a:lnTo>
                    <a:pt x="66" y="29"/>
                  </a:lnTo>
                  <a:lnTo>
                    <a:pt x="69" y="30"/>
                  </a:lnTo>
                  <a:lnTo>
                    <a:pt x="73" y="31"/>
                  </a:lnTo>
                  <a:lnTo>
                    <a:pt x="77" y="32"/>
                  </a:lnTo>
                  <a:lnTo>
                    <a:pt x="79" y="32"/>
                  </a:lnTo>
                  <a:lnTo>
                    <a:pt x="80" y="31"/>
                  </a:lnTo>
                  <a:lnTo>
                    <a:pt x="81" y="31"/>
                  </a:lnTo>
                  <a:lnTo>
                    <a:pt x="84" y="30"/>
                  </a:lnTo>
                  <a:lnTo>
                    <a:pt x="87" y="28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1"/>
                  </a:lnTo>
                  <a:lnTo>
                    <a:pt x="97" y="16"/>
                  </a:lnTo>
                  <a:lnTo>
                    <a:pt x="99" y="12"/>
                  </a:lnTo>
                  <a:lnTo>
                    <a:pt x="101" y="8"/>
                  </a:lnTo>
                  <a:lnTo>
                    <a:pt x="102" y="4"/>
                  </a:lnTo>
                  <a:lnTo>
                    <a:pt x="103" y="3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5" y="2"/>
                  </a:lnTo>
                  <a:lnTo>
                    <a:pt x="109" y="2"/>
                  </a:lnTo>
                  <a:lnTo>
                    <a:pt x="111" y="1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4" name="Freeform 77">
              <a:extLst>
                <a:ext uri="{FF2B5EF4-FFF2-40B4-BE49-F238E27FC236}">
                  <a16:creationId xmlns:a16="http://schemas.microsoft.com/office/drawing/2014/main" id="{1AAB54CA-F2F0-428A-83EB-3CA658618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3" y="2949"/>
              <a:ext cx="554" cy="399"/>
            </a:xfrm>
            <a:custGeom>
              <a:avLst/>
              <a:gdLst>
                <a:gd name="T0" fmla="*/ 281 w 554"/>
                <a:gd name="T1" fmla="*/ 6 h 399"/>
                <a:gd name="T2" fmla="*/ 300 w 554"/>
                <a:gd name="T3" fmla="*/ 8 h 399"/>
                <a:gd name="T4" fmla="*/ 315 w 554"/>
                <a:gd name="T5" fmla="*/ 16 h 399"/>
                <a:gd name="T6" fmla="*/ 351 w 554"/>
                <a:gd name="T7" fmla="*/ 36 h 399"/>
                <a:gd name="T8" fmla="*/ 370 w 554"/>
                <a:gd name="T9" fmla="*/ 49 h 399"/>
                <a:gd name="T10" fmla="*/ 379 w 554"/>
                <a:gd name="T11" fmla="*/ 77 h 399"/>
                <a:gd name="T12" fmla="*/ 396 w 554"/>
                <a:gd name="T13" fmla="*/ 98 h 399"/>
                <a:gd name="T14" fmla="*/ 410 w 554"/>
                <a:gd name="T15" fmla="*/ 109 h 399"/>
                <a:gd name="T16" fmla="*/ 408 w 554"/>
                <a:gd name="T17" fmla="*/ 129 h 399"/>
                <a:gd name="T18" fmla="*/ 416 w 554"/>
                <a:gd name="T19" fmla="*/ 149 h 399"/>
                <a:gd name="T20" fmla="*/ 448 w 554"/>
                <a:gd name="T21" fmla="*/ 178 h 399"/>
                <a:gd name="T22" fmla="*/ 478 w 554"/>
                <a:gd name="T23" fmla="*/ 214 h 399"/>
                <a:gd name="T24" fmla="*/ 501 w 554"/>
                <a:gd name="T25" fmla="*/ 219 h 399"/>
                <a:gd name="T26" fmla="*/ 546 w 554"/>
                <a:gd name="T27" fmla="*/ 251 h 399"/>
                <a:gd name="T28" fmla="*/ 553 w 554"/>
                <a:gd name="T29" fmla="*/ 267 h 399"/>
                <a:gd name="T30" fmla="*/ 552 w 554"/>
                <a:gd name="T31" fmla="*/ 307 h 399"/>
                <a:gd name="T32" fmla="*/ 532 w 554"/>
                <a:gd name="T33" fmla="*/ 355 h 399"/>
                <a:gd name="T34" fmla="*/ 513 w 554"/>
                <a:gd name="T35" fmla="*/ 375 h 399"/>
                <a:gd name="T36" fmla="*/ 483 w 554"/>
                <a:gd name="T37" fmla="*/ 386 h 399"/>
                <a:gd name="T38" fmla="*/ 429 w 554"/>
                <a:gd name="T39" fmla="*/ 390 h 399"/>
                <a:gd name="T40" fmla="*/ 407 w 554"/>
                <a:gd name="T41" fmla="*/ 399 h 399"/>
                <a:gd name="T42" fmla="*/ 392 w 554"/>
                <a:gd name="T43" fmla="*/ 382 h 399"/>
                <a:gd name="T44" fmla="*/ 378 w 554"/>
                <a:gd name="T45" fmla="*/ 355 h 399"/>
                <a:gd name="T46" fmla="*/ 357 w 554"/>
                <a:gd name="T47" fmla="*/ 352 h 399"/>
                <a:gd name="T48" fmla="*/ 325 w 554"/>
                <a:gd name="T49" fmla="*/ 342 h 399"/>
                <a:gd name="T50" fmla="*/ 305 w 554"/>
                <a:gd name="T51" fmla="*/ 327 h 399"/>
                <a:gd name="T52" fmla="*/ 288 w 554"/>
                <a:gd name="T53" fmla="*/ 324 h 399"/>
                <a:gd name="T54" fmla="*/ 261 w 554"/>
                <a:gd name="T55" fmla="*/ 339 h 399"/>
                <a:gd name="T56" fmla="*/ 239 w 554"/>
                <a:gd name="T57" fmla="*/ 352 h 399"/>
                <a:gd name="T58" fmla="*/ 225 w 554"/>
                <a:gd name="T59" fmla="*/ 348 h 399"/>
                <a:gd name="T60" fmla="*/ 208 w 554"/>
                <a:gd name="T61" fmla="*/ 326 h 399"/>
                <a:gd name="T62" fmla="*/ 185 w 554"/>
                <a:gd name="T63" fmla="*/ 300 h 399"/>
                <a:gd name="T64" fmla="*/ 190 w 554"/>
                <a:gd name="T65" fmla="*/ 269 h 399"/>
                <a:gd name="T66" fmla="*/ 188 w 554"/>
                <a:gd name="T67" fmla="*/ 254 h 399"/>
                <a:gd name="T68" fmla="*/ 173 w 554"/>
                <a:gd name="T69" fmla="*/ 247 h 399"/>
                <a:gd name="T70" fmla="*/ 140 w 554"/>
                <a:gd name="T71" fmla="*/ 255 h 399"/>
                <a:gd name="T72" fmla="*/ 105 w 554"/>
                <a:gd name="T73" fmla="*/ 266 h 399"/>
                <a:gd name="T74" fmla="*/ 77 w 554"/>
                <a:gd name="T75" fmla="*/ 279 h 399"/>
                <a:gd name="T76" fmla="*/ 55 w 554"/>
                <a:gd name="T77" fmla="*/ 261 h 399"/>
                <a:gd name="T78" fmla="*/ 27 w 554"/>
                <a:gd name="T79" fmla="*/ 234 h 399"/>
                <a:gd name="T80" fmla="*/ 1 w 554"/>
                <a:gd name="T81" fmla="*/ 205 h 399"/>
                <a:gd name="T82" fmla="*/ 36 w 554"/>
                <a:gd name="T83" fmla="*/ 190 h 399"/>
                <a:gd name="T84" fmla="*/ 50 w 554"/>
                <a:gd name="T85" fmla="*/ 178 h 399"/>
                <a:gd name="T86" fmla="*/ 63 w 554"/>
                <a:gd name="T87" fmla="*/ 162 h 399"/>
                <a:gd name="T88" fmla="*/ 68 w 554"/>
                <a:gd name="T89" fmla="*/ 150 h 399"/>
                <a:gd name="T90" fmla="*/ 61 w 554"/>
                <a:gd name="T91" fmla="*/ 127 h 399"/>
                <a:gd name="T92" fmla="*/ 64 w 554"/>
                <a:gd name="T93" fmla="*/ 115 h 399"/>
                <a:gd name="T94" fmla="*/ 80 w 554"/>
                <a:gd name="T95" fmla="*/ 111 h 399"/>
                <a:gd name="T96" fmla="*/ 108 w 554"/>
                <a:gd name="T97" fmla="*/ 116 h 399"/>
                <a:gd name="T98" fmla="*/ 126 w 554"/>
                <a:gd name="T99" fmla="*/ 109 h 399"/>
                <a:gd name="T100" fmla="*/ 145 w 554"/>
                <a:gd name="T101" fmla="*/ 107 h 399"/>
                <a:gd name="T102" fmla="*/ 158 w 554"/>
                <a:gd name="T103" fmla="*/ 92 h 399"/>
                <a:gd name="T104" fmla="*/ 176 w 554"/>
                <a:gd name="T105" fmla="*/ 50 h 399"/>
                <a:gd name="T106" fmla="*/ 168 w 554"/>
                <a:gd name="T107" fmla="*/ 41 h 399"/>
                <a:gd name="T108" fmla="*/ 172 w 554"/>
                <a:gd name="T109" fmla="*/ 33 h 399"/>
                <a:gd name="T110" fmla="*/ 191 w 554"/>
                <a:gd name="T111" fmla="*/ 27 h 399"/>
                <a:gd name="T112" fmla="*/ 233 w 554"/>
                <a:gd name="T113" fmla="*/ 22 h 399"/>
                <a:gd name="T114" fmla="*/ 266 w 554"/>
                <a:gd name="T115" fmla="*/ 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4" h="399">
                  <a:moveTo>
                    <a:pt x="268" y="0"/>
                  </a:moveTo>
                  <a:lnTo>
                    <a:pt x="270" y="2"/>
                  </a:lnTo>
                  <a:lnTo>
                    <a:pt x="271" y="3"/>
                  </a:lnTo>
                  <a:lnTo>
                    <a:pt x="272" y="3"/>
                  </a:lnTo>
                  <a:lnTo>
                    <a:pt x="273" y="4"/>
                  </a:lnTo>
                  <a:lnTo>
                    <a:pt x="277" y="4"/>
                  </a:lnTo>
                  <a:lnTo>
                    <a:pt x="280" y="5"/>
                  </a:lnTo>
                  <a:lnTo>
                    <a:pt x="281" y="6"/>
                  </a:lnTo>
                  <a:lnTo>
                    <a:pt x="284" y="8"/>
                  </a:lnTo>
                  <a:lnTo>
                    <a:pt x="285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9" y="8"/>
                  </a:lnTo>
                  <a:lnTo>
                    <a:pt x="291" y="8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2" y="7"/>
                  </a:lnTo>
                  <a:lnTo>
                    <a:pt x="303" y="7"/>
                  </a:lnTo>
                  <a:lnTo>
                    <a:pt x="305" y="6"/>
                  </a:lnTo>
                  <a:lnTo>
                    <a:pt x="305" y="6"/>
                  </a:lnTo>
                  <a:lnTo>
                    <a:pt x="305" y="7"/>
                  </a:lnTo>
                  <a:lnTo>
                    <a:pt x="307" y="8"/>
                  </a:lnTo>
                  <a:lnTo>
                    <a:pt x="312" y="13"/>
                  </a:lnTo>
                  <a:lnTo>
                    <a:pt x="315" y="16"/>
                  </a:lnTo>
                  <a:lnTo>
                    <a:pt x="318" y="19"/>
                  </a:lnTo>
                  <a:lnTo>
                    <a:pt x="321" y="20"/>
                  </a:lnTo>
                  <a:lnTo>
                    <a:pt x="332" y="28"/>
                  </a:lnTo>
                  <a:lnTo>
                    <a:pt x="336" y="31"/>
                  </a:lnTo>
                  <a:lnTo>
                    <a:pt x="339" y="31"/>
                  </a:lnTo>
                  <a:lnTo>
                    <a:pt x="342" y="33"/>
                  </a:lnTo>
                  <a:lnTo>
                    <a:pt x="349" y="35"/>
                  </a:lnTo>
                  <a:lnTo>
                    <a:pt x="351" y="36"/>
                  </a:lnTo>
                  <a:lnTo>
                    <a:pt x="353" y="37"/>
                  </a:lnTo>
                  <a:lnTo>
                    <a:pt x="361" y="41"/>
                  </a:lnTo>
                  <a:lnTo>
                    <a:pt x="363" y="42"/>
                  </a:lnTo>
                  <a:lnTo>
                    <a:pt x="366" y="44"/>
                  </a:lnTo>
                  <a:lnTo>
                    <a:pt x="368" y="46"/>
                  </a:lnTo>
                  <a:lnTo>
                    <a:pt x="369" y="47"/>
                  </a:lnTo>
                  <a:lnTo>
                    <a:pt x="369" y="48"/>
                  </a:lnTo>
                  <a:lnTo>
                    <a:pt x="370" y="49"/>
                  </a:lnTo>
                  <a:lnTo>
                    <a:pt x="370" y="51"/>
                  </a:lnTo>
                  <a:lnTo>
                    <a:pt x="370" y="54"/>
                  </a:lnTo>
                  <a:lnTo>
                    <a:pt x="371" y="58"/>
                  </a:lnTo>
                  <a:lnTo>
                    <a:pt x="372" y="61"/>
                  </a:lnTo>
                  <a:lnTo>
                    <a:pt x="373" y="64"/>
                  </a:lnTo>
                  <a:lnTo>
                    <a:pt x="374" y="66"/>
                  </a:lnTo>
                  <a:lnTo>
                    <a:pt x="376" y="71"/>
                  </a:lnTo>
                  <a:lnTo>
                    <a:pt x="379" y="77"/>
                  </a:lnTo>
                  <a:lnTo>
                    <a:pt x="382" y="84"/>
                  </a:lnTo>
                  <a:lnTo>
                    <a:pt x="385" y="88"/>
                  </a:lnTo>
                  <a:lnTo>
                    <a:pt x="387" y="89"/>
                  </a:lnTo>
                  <a:lnTo>
                    <a:pt x="389" y="92"/>
                  </a:lnTo>
                  <a:lnTo>
                    <a:pt x="391" y="94"/>
                  </a:lnTo>
                  <a:lnTo>
                    <a:pt x="393" y="96"/>
                  </a:lnTo>
                  <a:lnTo>
                    <a:pt x="394" y="97"/>
                  </a:lnTo>
                  <a:lnTo>
                    <a:pt x="396" y="98"/>
                  </a:lnTo>
                  <a:lnTo>
                    <a:pt x="404" y="100"/>
                  </a:lnTo>
                  <a:lnTo>
                    <a:pt x="404" y="101"/>
                  </a:lnTo>
                  <a:lnTo>
                    <a:pt x="406" y="102"/>
                  </a:lnTo>
                  <a:lnTo>
                    <a:pt x="407" y="103"/>
                  </a:lnTo>
                  <a:lnTo>
                    <a:pt x="408" y="104"/>
                  </a:lnTo>
                  <a:lnTo>
                    <a:pt x="409" y="106"/>
                  </a:lnTo>
                  <a:lnTo>
                    <a:pt x="410" y="107"/>
                  </a:lnTo>
                  <a:lnTo>
                    <a:pt x="410" y="109"/>
                  </a:lnTo>
                  <a:lnTo>
                    <a:pt x="411" y="111"/>
                  </a:lnTo>
                  <a:lnTo>
                    <a:pt x="411" y="113"/>
                  </a:lnTo>
                  <a:lnTo>
                    <a:pt x="411" y="114"/>
                  </a:lnTo>
                  <a:lnTo>
                    <a:pt x="411" y="116"/>
                  </a:lnTo>
                  <a:lnTo>
                    <a:pt x="410" y="119"/>
                  </a:lnTo>
                  <a:lnTo>
                    <a:pt x="410" y="120"/>
                  </a:lnTo>
                  <a:lnTo>
                    <a:pt x="409" y="123"/>
                  </a:lnTo>
                  <a:lnTo>
                    <a:pt x="408" y="129"/>
                  </a:lnTo>
                  <a:lnTo>
                    <a:pt x="407" y="131"/>
                  </a:lnTo>
                  <a:lnTo>
                    <a:pt x="407" y="132"/>
                  </a:lnTo>
                  <a:lnTo>
                    <a:pt x="408" y="135"/>
                  </a:lnTo>
                  <a:lnTo>
                    <a:pt x="408" y="138"/>
                  </a:lnTo>
                  <a:lnTo>
                    <a:pt x="410" y="141"/>
                  </a:lnTo>
                  <a:lnTo>
                    <a:pt x="411" y="144"/>
                  </a:lnTo>
                  <a:lnTo>
                    <a:pt x="413" y="145"/>
                  </a:lnTo>
                  <a:lnTo>
                    <a:pt x="416" y="149"/>
                  </a:lnTo>
                  <a:lnTo>
                    <a:pt x="424" y="157"/>
                  </a:lnTo>
                  <a:lnTo>
                    <a:pt x="427" y="160"/>
                  </a:lnTo>
                  <a:lnTo>
                    <a:pt x="433" y="164"/>
                  </a:lnTo>
                  <a:lnTo>
                    <a:pt x="436" y="166"/>
                  </a:lnTo>
                  <a:lnTo>
                    <a:pt x="438" y="167"/>
                  </a:lnTo>
                  <a:lnTo>
                    <a:pt x="440" y="169"/>
                  </a:lnTo>
                  <a:lnTo>
                    <a:pt x="443" y="174"/>
                  </a:lnTo>
                  <a:lnTo>
                    <a:pt x="448" y="178"/>
                  </a:lnTo>
                  <a:lnTo>
                    <a:pt x="456" y="190"/>
                  </a:lnTo>
                  <a:lnTo>
                    <a:pt x="462" y="201"/>
                  </a:lnTo>
                  <a:lnTo>
                    <a:pt x="465" y="203"/>
                  </a:lnTo>
                  <a:lnTo>
                    <a:pt x="470" y="209"/>
                  </a:lnTo>
                  <a:lnTo>
                    <a:pt x="472" y="211"/>
                  </a:lnTo>
                  <a:lnTo>
                    <a:pt x="473" y="212"/>
                  </a:lnTo>
                  <a:lnTo>
                    <a:pt x="476" y="213"/>
                  </a:lnTo>
                  <a:lnTo>
                    <a:pt x="478" y="214"/>
                  </a:lnTo>
                  <a:lnTo>
                    <a:pt x="481" y="215"/>
                  </a:lnTo>
                  <a:lnTo>
                    <a:pt x="483" y="215"/>
                  </a:lnTo>
                  <a:lnTo>
                    <a:pt x="491" y="216"/>
                  </a:lnTo>
                  <a:lnTo>
                    <a:pt x="495" y="216"/>
                  </a:lnTo>
                  <a:lnTo>
                    <a:pt x="496" y="217"/>
                  </a:lnTo>
                  <a:lnTo>
                    <a:pt x="498" y="217"/>
                  </a:lnTo>
                  <a:lnTo>
                    <a:pt x="499" y="218"/>
                  </a:lnTo>
                  <a:lnTo>
                    <a:pt x="501" y="219"/>
                  </a:lnTo>
                  <a:lnTo>
                    <a:pt x="506" y="222"/>
                  </a:lnTo>
                  <a:lnTo>
                    <a:pt x="509" y="224"/>
                  </a:lnTo>
                  <a:lnTo>
                    <a:pt x="512" y="226"/>
                  </a:lnTo>
                  <a:lnTo>
                    <a:pt x="518" y="231"/>
                  </a:lnTo>
                  <a:lnTo>
                    <a:pt x="521" y="234"/>
                  </a:lnTo>
                  <a:lnTo>
                    <a:pt x="532" y="242"/>
                  </a:lnTo>
                  <a:lnTo>
                    <a:pt x="543" y="249"/>
                  </a:lnTo>
                  <a:lnTo>
                    <a:pt x="546" y="251"/>
                  </a:lnTo>
                  <a:lnTo>
                    <a:pt x="548" y="251"/>
                  </a:lnTo>
                  <a:lnTo>
                    <a:pt x="548" y="251"/>
                  </a:lnTo>
                  <a:lnTo>
                    <a:pt x="551" y="256"/>
                  </a:lnTo>
                  <a:lnTo>
                    <a:pt x="552" y="259"/>
                  </a:lnTo>
                  <a:lnTo>
                    <a:pt x="552" y="261"/>
                  </a:lnTo>
                  <a:lnTo>
                    <a:pt x="553" y="263"/>
                  </a:lnTo>
                  <a:lnTo>
                    <a:pt x="553" y="265"/>
                  </a:lnTo>
                  <a:lnTo>
                    <a:pt x="553" y="267"/>
                  </a:lnTo>
                  <a:lnTo>
                    <a:pt x="554" y="273"/>
                  </a:lnTo>
                  <a:lnTo>
                    <a:pt x="554" y="286"/>
                  </a:lnTo>
                  <a:lnTo>
                    <a:pt x="554" y="292"/>
                  </a:lnTo>
                  <a:lnTo>
                    <a:pt x="554" y="296"/>
                  </a:lnTo>
                  <a:lnTo>
                    <a:pt x="553" y="299"/>
                  </a:lnTo>
                  <a:lnTo>
                    <a:pt x="553" y="302"/>
                  </a:lnTo>
                  <a:lnTo>
                    <a:pt x="552" y="304"/>
                  </a:lnTo>
                  <a:lnTo>
                    <a:pt x="552" y="307"/>
                  </a:lnTo>
                  <a:lnTo>
                    <a:pt x="552" y="311"/>
                  </a:lnTo>
                  <a:lnTo>
                    <a:pt x="549" y="318"/>
                  </a:lnTo>
                  <a:lnTo>
                    <a:pt x="546" y="326"/>
                  </a:lnTo>
                  <a:lnTo>
                    <a:pt x="542" y="334"/>
                  </a:lnTo>
                  <a:lnTo>
                    <a:pt x="539" y="341"/>
                  </a:lnTo>
                  <a:lnTo>
                    <a:pt x="538" y="345"/>
                  </a:lnTo>
                  <a:lnTo>
                    <a:pt x="535" y="350"/>
                  </a:lnTo>
                  <a:lnTo>
                    <a:pt x="532" y="355"/>
                  </a:lnTo>
                  <a:lnTo>
                    <a:pt x="530" y="357"/>
                  </a:lnTo>
                  <a:lnTo>
                    <a:pt x="529" y="360"/>
                  </a:lnTo>
                  <a:lnTo>
                    <a:pt x="528" y="361"/>
                  </a:lnTo>
                  <a:lnTo>
                    <a:pt x="525" y="364"/>
                  </a:lnTo>
                  <a:lnTo>
                    <a:pt x="523" y="367"/>
                  </a:lnTo>
                  <a:lnTo>
                    <a:pt x="520" y="370"/>
                  </a:lnTo>
                  <a:lnTo>
                    <a:pt x="517" y="372"/>
                  </a:lnTo>
                  <a:lnTo>
                    <a:pt x="513" y="375"/>
                  </a:lnTo>
                  <a:lnTo>
                    <a:pt x="510" y="376"/>
                  </a:lnTo>
                  <a:lnTo>
                    <a:pt x="507" y="379"/>
                  </a:lnTo>
                  <a:lnTo>
                    <a:pt x="501" y="381"/>
                  </a:lnTo>
                  <a:lnTo>
                    <a:pt x="496" y="382"/>
                  </a:lnTo>
                  <a:lnTo>
                    <a:pt x="490" y="384"/>
                  </a:lnTo>
                  <a:lnTo>
                    <a:pt x="487" y="385"/>
                  </a:lnTo>
                  <a:lnTo>
                    <a:pt x="485" y="385"/>
                  </a:lnTo>
                  <a:lnTo>
                    <a:pt x="483" y="386"/>
                  </a:lnTo>
                  <a:lnTo>
                    <a:pt x="479" y="386"/>
                  </a:lnTo>
                  <a:lnTo>
                    <a:pt x="474" y="386"/>
                  </a:lnTo>
                  <a:lnTo>
                    <a:pt x="464" y="386"/>
                  </a:lnTo>
                  <a:lnTo>
                    <a:pt x="461" y="386"/>
                  </a:lnTo>
                  <a:lnTo>
                    <a:pt x="459" y="386"/>
                  </a:lnTo>
                  <a:lnTo>
                    <a:pt x="443" y="388"/>
                  </a:lnTo>
                  <a:lnTo>
                    <a:pt x="435" y="389"/>
                  </a:lnTo>
                  <a:lnTo>
                    <a:pt x="429" y="390"/>
                  </a:lnTo>
                  <a:lnTo>
                    <a:pt x="426" y="391"/>
                  </a:lnTo>
                  <a:lnTo>
                    <a:pt x="421" y="393"/>
                  </a:lnTo>
                  <a:lnTo>
                    <a:pt x="416" y="394"/>
                  </a:lnTo>
                  <a:lnTo>
                    <a:pt x="413" y="395"/>
                  </a:lnTo>
                  <a:lnTo>
                    <a:pt x="410" y="397"/>
                  </a:lnTo>
                  <a:lnTo>
                    <a:pt x="409" y="398"/>
                  </a:lnTo>
                  <a:lnTo>
                    <a:pt x="408" y="398"/>
                  </a:lnTo>
                  <a:lnTo>
                    <a:pt x="407" y="399"/>
                  </a:lnTo>
                  <a:lnTo>
                    <a:pt x="407" y="399"/>
                  </a:lnTo>
                  <a:lnTo>
                    <a:pt x="407" y="399"/>
                  </a:lnTo>
                  <a:lnTo>
                    <a:pt x="407" y="399"/>
                  </a:lnTo>
                  <a:lnTo>
                    <a:pt x="405" y="398"/>
                  </a:lnTo>
                  <a:lnTo>
                    <a:pt x="400" y="392"/>
                  </a:lnTo>
                  <a:lnTo>
                    <a:pt x="396" y="387"/>
                  </a:lnTo>
                  <a:lnTo>
                    <a:pt x="393" y="384"/>
                  </a:lnTo>
                  <a:lnTo>
                    <a:pt x="392" y="382"/>
                  </a:lnTo>
                  <a:lnTo>
                    <a:pt x="390" y="378"/>
                  </a:lnTo>
                  <a:lnTo>
                    <a:pt x="388" y="374"/>
                  </a:lnTo>
                  <a:lnTo>
                    <a:pt x="386" y="371"/>
                  </a:lnTo>
                  <a:lnTo>
                    <a:pt x="382" y="361"/>
                  </a:lnTo>
                  <a:lnTo>
                    <a:pt x="382" y="359"/>
                  </a:lnTo>
                  <a:lnTo>
                    <a:pt x="381" y="357"/>
                  </a:lnTo>
                  <a:lnTo>
                    <a:pt x="380" y="356"/>
                  </a:lnTo>
                  <a:lnTo>
                    <a:pt x="378" y="355"/>
                  </a:lnTo>
                  <a:lnTo>
                    <a:pt x="377" y="354"/>
                  </a:lnTo>
                  <a:lnTo>
                    <a:pt x="376" y="353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0" y="351"/>
                  </a:lnTo>
                  <a:lnTo>
                    <a:pt x="368" y="351"/>
                  </a:lnTo>
                  <a:lnTo>
                    <a:pt x="364" y="351"/>
                  </a:lnTo>
                  <a:lnTo>
                    <a:pt x="357" y="352"/>
                  </a:lnTo>
                  <a:lnTo>
                    <a:pt x="353" y="352"/>
                  </a:lnTo>
                  <a:lnTo>
                    <a:pt x="350" y="352"/>
                  </a:lnTo>
                  <a:lnTo>
                    <a:pt x="347" y="351"/>
                  </a:lnTo>
                  <a:lnTo>
                    <a:pt x="346" y="351"/>
                  </a:lnTo>
                  <a:lnTo>
                    <a:pt x="343" y="350"/>
                  </a:lnTo>
                  <a:lnTo>
                    <a:pt x="341" y="349"/>
                  </a:lnTo>
                  <a:lnTo>
                    <a:pt x="328" y="344"/>
                  </a:lnTo>
                  <a:lnTo>
                    <a:pt x="325" y="342"/>
                  </a:lnTo>
                  <a:lnTo>
                    <a:pt x="323" y="340"/>
                  </a:lnTo>
                  <a:lnTo>
                    <a:pt x="320" y="338"/>
                  </a:lnTo>
                  <a:lnTo>
                    <a:pt x="318" y="337"/>
                  </a:lnTo>
                  <a:lnTo>
                    <a:pt x="314" y="333"/>
                  </a:lnTo>
                  <a:lnTo>
                    <a:pt x="312" y="331"/>
                  </a:lnTo>
                  <a:lnTo>
                    <a:pt x="310" y="330"/>
                  </a:lnTo>
                  <a:lnTo>
                    <a:pt x="307" y="329"/>
                  </a:lnTo>
                  <a:lnTo>
                    <a:pt x="305" y="327"/>
                  </a:lnTo>
                  <a:lnTo>
                    <a:pt x="302" y="327"/>
                  </a:lnTo>
                  <a:lnTo>
                    <a:pt x="302" y="326"/>
                  </a:lnTo>
                  <a:lnTo>
                    <a:pt x="299" y="326"/>
                  </a:lnTo>
                  <a:lnTo>
                    <a:pt x="297" y="326"/>
                  </a:lnTo>
                  <a:lnTo>
                    <a:pt x="291" y="324"/>
                  </a:lnTo>
                  <a:lnTo>
                    <a:pt x="291" y="324"/>
                  </a:lnTo>
                  <a:lnTo>
                    <a:pt x="289" y="324"/>
                  </a:lnTo>
                  <a:lnTo>
                    <a:pt x="288" y="324"/>
                  </a:lnTo>
                  <a:lnTo>
                    <a:pt x="286" y="325"/>
                  </a:lnTo>
                  <a:lnTo>
                    <a:pt x="285" y="326"/>
                  </a:lnTo>
                  <a:lnTo>
                    <a:pt x="279" y="330"/>
                  </a:lnTo>
                  <a:lnTo>
                    <a:pt x="278" y="331"/>
                  </a:lnTo>
                  <a:lnTo>
                    <a:pt x="276" y="333"/>
                  </a:lnTo>
                  <a:lnTo>
                    <a:pt x="271" y="335"/>
                  </a:lnTo>
                  <a:lnTo>
                    <a:pt x="264" y="337"/>
                  </a:lnTo>
                  <a:lnTo>
                    <a:pt x="261" y="339"/>
                  </a:lnTo>
                  <a:lnTo>
                    <a:pt x="259" y="340"/>
                  </a:lnTo>
                  <a:lnTo>
                    <a:pt x="256" y="342"/>
                  </a:lnTo>
                  <a:lnTo>
                    <a:pt x="251" y="346"/>
                  </a:lnTo>
                  <a:lnTo>
                    <a:pt x="247" y="348"/>
                  </a:lnTo>
                  <a:lnTo>
                    <a:pt x="245" y="349"/>
                  </a:lnTo>
                  <a:lnTo>
                    <a:pt x="244" y="350"/>
                  </a:lnTo>
                  <a:lnTo>
                    <a:pt x="241" y="351"/>
                  </a:lnTo>
                  <a:lnTo>
                    <a:pt x="239" y="352"/>
                  </a:lnTo>
                  <a:lnTo>
                    <a:pt x="237" y="352"/>
                  </a:lnTo>
                  <a:lnTo>
                    <a:pt x="235" y="352"/>
                  </a:lnTo>
                  <a:lnTo>
                    <a:pt x="234" y="352"/>
                  </a:lnTo>
                  <a:lnTo>
                    <a:pt x="232" y="352"/>
                  </a:lnTo>
                  <a:lnTo>
                    <a:pt x="230" y="351"/>
                  </a:lnTo>
                  <a:lnTo>
                    <a:pt x="228" y="350"/>
                  </a:lnTo>
                  <a:lnTo>
                    <a:pt x="227" y="349"/>
                  </a:lnTo>
                  <a:lnTo>
                    <a:pt x="225" y="348"/>
                  </a:lnTo>
                  <a:lnTo>
                    <a:pt x="224" y="346"/>
                  </a:lnTo>
                  <a:lnTo>
                    <a:pt x="222" y="340"/>
                  </a:lnTo>
                  <a:lnTo>
                    <a:pt x="220" y="337"/>
                  </a:lnTo>
                  <a:lnTo>
                    <a:pt x="218" y="334"/>
                  </a:lnTo>
                  <a:lnTo>
                    <a:pt x="216" y="331"/>
                  </a:lnTo>
                  <a:lnTo>
                    <a:pt x="213" y="329"/>
                  </a:lnTo>
                  <a:lnTo>
                    <a:pt x="211" y="327"/>
                  </a:lnTo>
                  <a:lnTo>
                    <a:pt x="208" y="326"/>
                  </a:lnTo>
                  <a:lnTo>
                    <a:pt x="202" y="322"/>
                  </a:lnTo>
                  <a:lnTo>
                    <a:pt x="200" y="321"/>
                  </a:lnTo>
                  <a:lnTo>
                    <a:pt x="197" y="318"/>
                  </a:lnTo>
                  <a:lnTo>
                    <a:pt x="195" y="316"/>
                  </a:lnTo>
                  <a:lnTo>
                    <a:pt x="192" y="313"/>
                  </a:lnTo>
                  <a:lnTo>
                    <a:pt x="190" y="310"/>
                  </a:lnTo>
                  <a:lnTo>
                    <a:pt x="188" y="304"/>
                  </a:lnTo>
                  <a:lnTo>
                    <a:pt x="185" y="300"/>
                  </a:lnTo>
                  <a:lnTo>
                    <a:pt x="184" y="297"/>
                  </a:lnTo>
                  <a:lnTo>
                    <a:pt x="184" y="294"/>
                  </a:lnTo>
                  <a:lnTo>
                    <a:pt x="184" y="292"/>
                  </a:lnTo>
                  <a:lnTo>
                    <a:pt x="184" y="289"/>
                  </a:lnTo>
                  <a:lnTo>
                    <a:pt x="185" y="286"/>
                  </a:lnTo>
                  <a:lnTo>
                    <a:pt x="186" y="284"/>
                  </a:lnTo>
                  <a:lnTo>
                    <a:pt x="188" y="275"/>
                  </a:lnTo>
                  <a:lnTo>
                    <a:pt x="190" y="269"/>
                  </a:lnTo>
                  <a:lnTo>
                    <a:pt x="191" y="268"/>
                  </a:lnTo>
                  <a:lnTo>
                    <a:pt x="192" y="266"/>
                  </a:lnTo>
                  <a:lnTo>
                    <a:pt x="192" y="263"/>
                  </a:lnTo>
                  <a:lnTo>
                    <a:pt x="191" y="261"/>
                  </a:lnTo>
                  <a:lnTo>
                    <a:pt x="191" y="259"/>
                  </a:lnTo>
                  <a:lnTo>
                    <a:pt x="190" y="257"/>
                  </a:lnTo>
                  <a:lnTo>
                    <a:pt x="189" y="255"/>
                  </a:lnTo>
                  <a:lnTo>
                    <a:pt x="188" y="254"/>
                  </a:lnTo>
                  <a:lnTo>
                    <a:pt x="187" y="252"/>
                  </a:lnTo>
                  <a:lnTo>
                    <a:pt x="185" y="251"/>
                  </a:lnTo>
                  <a:lnTo>
                    <a:pt x="183" y="250"/>
                  </a:lnTo>
                  <a:lnTo>
                    <a:pt x="181" y="249"/>
                  </a:lnTo>
                  <a:lnTo>
                    <a:pt x="179" y="248"/>
                  </a:lnTo>
                  <a:lnTo>
                    <a:pt x="177" y="248"/>
                  </a:lnTo>
                  <a:lnTo>
                    <a:pt x="175" y="247"/>
                  </a:lnTo>
                  <a:lnTo>
                    <a:pt x="173" y="247"/>
                  </a:lnTo>
                  <a:lnTo>
                    <a:pt x="171" y="247"/>
                  </a:lnTo>
                  <a:lnTo>
                    <a:pt x="169" y="247"/>
                  </a:lnTo>
                  <a:lnTo>
                    <a:pt x="168" y="247"/>
                  </a:lnTo>
                  <a:lnTo>
                    <a:pt x="166" y="247"/>
                  </a:lnTo>
                  <a:lnTo>
                    <a:pt x="165" y="248"/>
                  </a:lnTo>
                  <a:lnTo>
                    <a:pt x="157" y="251"/>
                  </a:lnTo>
                  <a:lnTo>
                    <a:pt x="154" y="252"/>
                  </a:lnTo>
                  <a:lnTo>
                    <a:pt x="140" y="255"/>
                  </a:lnTo>
                  <a:lnTo>
                    <a:pt x="131" y="258"/>
                  </a:lnTo>
                  <a:lnTo>
                    <a:pt x="121" y="258"/>
                  </a:lnTo>
                  <a:lnTo>
                    <a:pt x="117" y="260"/>
                  </a:lnTo>
                  <a:lnTo>
                    <a:pt x="115" y="260"/>
                  </a:lnTo>
                  <a:lnTo>
                    <a:pt x="112" y="261"/>
                  </a:lnTo>
                  <a:lnTo>
                    <a:pt x="110" y="262"/>
                  </a:lnTo>
                  <a:lnTo>
                    <a:pt x="109" y="263"/>
                  </a:lnTo>
                  <a:lnTo>
                    <a:pt x="105" y="266"/>
                  </a:lnTo>
                  <a:lnTo>
                    <a:pt x="97" y="271"/>
                  </a:lnTo>
                  <a:lnTo>
                    <a:pt x="94" y="273"/>
                  </a:lnTo>
                  <a:lnTo>
                    <a:pt x="91" y="274"/>
                  </a:lnTo>
                  <a:lnTo>
                    <a:pt x="85" y="277"/>
                  </a:lnTo>
                  <a:lnTo>
                    <a:pt x="82" y="278"/>
                  </a:lnTo>
                  <a:lnTo>
                    <a:pt x="80" y="279"/>
                  </a:lnTo>
                  <a:lnTo>
                    <a:pt x="78" y="279"/>
                  </a:lnTo>
                  <a:lnTo>
                    <a:pt x="77" y="279"/>
                  </a:lnTo>
                  <a:lnTo>
                    <a:pt x="76" y="279"/>
                  </a:lnTo>
                  <a:lnTo>
                    <a:pt x="75" y="278"/>
                  </a:lnTo>
                  <a:lnTo>
                    <a:pt x="72" y="277"/>
                  </a:lnTo>
                  <a:lnTo>
                    <a:pt x="64" y="271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0" y="267"/>
                  </a:lnTo>
                  <a:lnTo>
                    <a:pt x="55" y="261"/>
                  </a:lnTo>
                  <a:lnTo>
                    <a:pt x="49" y="255"/>
                  </a:lnTo>
                  <a:lnTo>
                    <a:pt x="42" y="246"/>
                  </a:lnTo>
                  <a:lnTo>
                    <a:pt x="40" y="244"/>
                  </a:lnTo>
                  <a:lnTo>
                    <a:pt x="39" y="243"/>
                  </a:lnTo>
                  <a:lnTo>
                    <a:pt x="37" y="241"/>
                  </a:lnTo>
                  <a:lnTo>
                    <a:pt x="32" y="238"/>
                  </a:lnTo>
                  <a:lnTo>
                    <a:pt x="29" y="235"/>
                  </a:lnTo>
                  <a:lnTo>
                    <a:pt x="27" y="234"/>
                  </a:lnTo>
                  <a:lnTo>
                    <a:pt x="24" y="231"/>
                  </a:lnTo>
                  <a:lnTo>
                    <a:pt x="19" y="226"/>
                  </a:lnTo>
                  <a:lnTo>
                    <a:pt x="6" y="213"/>
                  </a:lnTo>
                  <a:lnTo>
                    <a:pt x="3" y="210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1" y="205"/>
                  </a:lnTo>
                  <a:lnTo>
                    <a:pt x="3" y="204"/>
                  </a:lnTo>
                  <a:lnTo>
                    <a:pt x="5" y="202"/>
                  </a:lnTo>
                  <a:lnTo>
                    <a:pt x="8" y="201"/>
                  </a:lnTo>
                  <a:lnTo>
                    <a:pt x="14" y="200"/>
                  </a:lnTo>
                  <a:lnTo>
                    <a:pt x="25" y="196"/>
                  </a:lnTo>
                  <a:lnTo>
                    <a:pt x="29" y="194"/>
                  </a:lnTo>
                  <a:lnTo>
                    <a:pt x="32" y="193"/>
                  </a:lnTo>
                  <a:lnTo>
                    <a:pt x="36" y="190"/>
                  </a:lnTo>
                  <a:lnTo>
                    <a:pt x="39" y="189"/>
                  </a:lnTo>
                  <a:lnTo>
                    <a:pt x="41" y="187"/>
                  </a:lnTo>
                  <a:lnTo>
                    <a:pt x="43" y="186"/>
                  </a:lnTo>
                  <a:lnTo>
                    <a:pt x="45" y="184"/>
                  </a:lnTo>
                  <a:lnTo>
                    <a:pt x="47" y="182"/>
                  </a:lnTo>
                  <a:lnTo>
                    <a:pt x="48" y="180"/>
                  </a:lnTo>
                  <a:lnTo>
                    <a:pt x="49" y="179"/>
                  </a:lnTo>
                  <a:lnTo>
                    <a:pt x="50" y="178"/>
                  </a:lnTo>
                  <a:lnTo>
                    <a:pt x="51" y="173"/>
                  </a:lnTo>
                  <a:lnTo>
                    <a:pt x="52" y="171"/>
                  </a:lnTo>
                  <a:lnTo>
                    <a:pt x="52" y="170"/>
                  </a:lnTo>
                  <a:lnTo>
                    <a:pt x="53" y="168"/>
                  </a:lnTo>
                  <a:lnTo>
                    <a:pt x="54" y="167"/>
                  </a:lnTo>
                  <a:lnTo>
                    <a:pt x="56" y="166"/>
                  </a:lnTo>
                  <a:lnTo>
                    <a:pt x="59" y="164"/>
                  </a:lnTo>
                  <a:lnTo>
                    <a:pt x="63" y="162"/>
                  </a:lnTo>
                  <a:lnTo>
                    <a:pt x="64" y="161"/>
                  </a:lnTo>
                  <a:lnTo>
                    <a:pt x="65" y="160"/>
                  </a:lnTo>
                  <a:lnTo>
                    <a:pt x="66" y="158"/>
                  </a:lnTo>
                  <a:lnTo>
                    <a:pt x="67" y="157"/>
                  </a:lnTo>
                  <a:lnTo>
                    <a:pt x="67" y="156"/>
                  </a:lnTo>
                  <a:lnTo>
                    <a:pt x="68" y="155"/>
                  </a:lnTo>
                  <a:lnTo>
                    <a:pt x="68" y="154"/>
                  </a:lnTo>
                  <a:lnTo>
                    <a:pt x="68" y="150"/>
                  </a:lnTo>
                  <a:lnTo>
                    <a:pt x="67" y="146"/>
                  </a:lnTo>
                  <a:lnTo>
                    <a:pt x="67" y="144"/>
                  </a:lnTo>
                  <a:lnTo>
                    <a:pt x="66" y="142"/>
                  </a:lnTo>
                  <a:lnTo>
                    <a:pt x="63" y="136"/>
                  </a:lnTo>
                  <a:lnTo>
                    <a:pt x="62" y="133"/>
                  </a:lnTo>
                  <a:lnTo>
                    <a:pt x="62" y="131"/>
                  </a:lnTo>
                  <a:lnTo>
                    <a:pt x="61" y="129"/>
                  </a:lnTo>
                  <a:lnTo>
                    <a:pt x="61" y="127"/>
                  </a:lnTo>
                  <a:lnTo>
                    <a:pt x="61" y="125"/>
                  </a:lnTo>
                  <a:lnTo>
                    <a:pt x="61" y="124"/>
                  </a:lnTo>
                  <a:lnTo>
                    <a:pt x="61" y="122"/>
                  </a:lnTo>
                  <a:lnTo>
                    <a:pt x="62" y="121"/>
                  </a:lnTo>
                  <a:lnTo>
                    <a:pt x="62" y="119"/>
                  </a:lnTo>
                  <a:lnTo>
                    <a:pt x="63" y="118"/>
                  </a:lnTo>
                  <a:lnTo>
                    <a:pt x="63" y="116"/>
                  </a:lnTo>
                  <a:lnTo>
                    <a:pt x="64" y="115"/>
                  </a:lnTo>
                  <a:lnTo>
                    <a:pt x="66" y="114"/>
                  </a:lnTo>
                  <a:lnTo>
                    <a:pt x="67" y="113"/>
                  </a:lnTo>
                  <a:lnTo>
                    <a:pt x="69" y="112"/>
                  </a:lnTo>
                  <a:lnTo>
                    <a:pt x="71" y="111"/>
                  </a:lnTo>
                  <a:lnTo>
                    <a:pt x="73" y="111"/>
                  </a:lnTo>
                  <a:lnTo>
                    <a:pt x="74" y="111"/>
                  </a:lnTo>
                  <a:lnTo>
                    <a:pt x="75" y="110"/>
                  </a:lnTo>
                  <a:lnTo>
                    <a:pt x="80" y="111"/>
                  </a:lnTo>
                  <a:lnTo>
                    <a:pt x="86" y="111"/>
                  </a:lnTo>
                  <a:lnTo>
                    <a:pt x="89" y="111"/>
                  </a:lnTo>
                  <a:lnTo>
                    <a:pt x="92" y="112"/>
                  </a:lnTo>
                  <a:lnTo>
                    <a:pt x="97" y="114"/>
                  </a:lnTo>
                  <a:lnTo>
                    <a:pt x="100" y="115"/>
                  </a:lnTo>
                  <a:lnTo>
                    <a:pt x="103" y="115"/>
                  </a:lnTo>
                  <a:lnTo>
                    <a:pt x="106" y="116"/>
                  </a:lnTo>
                  <a:lnTo>
                    <a:pt x="108" y="116"/>
                  </a:lnTo>
                  <a:lnTo>
                    <a:pt x="109" y="116"/>
                  </a:lnTo>
                  <a:lnTo>
                    <a:pt x="112" y="115"/>
                  </a:lnTo>
                  <a:lnTo>
                    <a:pt x="115" y="114"/>
                  </a:lnTo>
                  <a:lnTo>
                    <a:pt x="117" y="113"/>
                  </a:lnTo>
                  <a:lnTo>
                    <a:pt x="122" y="110"/>
                  </a:lnTo>
                  <a:lnTo>
                    <a:pt x="124" y="110"/>
                  </a:lnTo>
                  <a:lnTo>
                    <a:pt x="125" y="109"/>
                  </a:lnTo>
                  <a:lnTo>
                    <a:pt x="126" y="109"/>
                  </a:lnTo>
                  <a:lnTo>
                    <a:pt x="128" y="109"/>
                  </a:lnTo>
                  <a:lnTo>
                    <a:pt x="134" y="110"/>
                  </a:lnTo>
                  <a:lnTo>
                    <a:pt x="136" y="110"/>
                  </a:lnTo>
                  <a:lnTo>
                    <a:pt x="137" y="110"/>
                  </a:lnTo>
                  <a:lnTo>
                    <a:pt x="139" y="110"/>
                  </a:lnTo>
                  <a:lnTo>
                    <a:pt x="141" y="109"/>
                  </a:lnTo>
                  <a:lnTo>
                    <a:pt x="143" y="108"/>
                  </a:lnTo>
                  <a:lnTo>
                    <a:pt x="145" y="107"/>
                  </a:lnTo>
                  <a:lnTo>
                    <a:pt x="147" y="106"/>
                  </a:lnTo>
                  <a:lnTo>
                    <a:pt x="148" y="105"/>
                  </a:lnTo>
                  <a:lnTo>
                    <a:pt x="149" y="104"/>
                  </a:lnTo>
                  <a:lnTo>
                    <a:pt x="150" y="102"/>
                  </a:lnTo>
                  <a:lnTo>
                    <a:pt x="152" y="99"/>
                  </a:lnTo>
                  <a:lnTo>
                    <a:pt x="153" y="98"/>
                  </a:lnTo>
                  <a:lnTo>
                    <a:pt x="154" y="96"/>
                  </a:lnTo>
                  <a:lnTo>
                    <a:pt x="158" y="92"/>
                  </a:lnTo>
                  <a:lnTo>
                    <a:pt x="160" y="89"/>
                  </a:lnTo>
                  <a:lnTo>
                    <a:pt x="162" y="87"/>
                  </a:lnTo>
                  <a:lnTo>
                    <a:pt x="166" y="76"/>
                  </a:lnTo>
                  <a:lnTo>
                    <a:pt x="171" y="65"/>
                  </a:lnTo>
                  <a:lnTo>
                    <a:pt x="173" y="59"/>
                  </a:lnTo>
                  <a:lnTo>
                    <a:pt x="174" y="55"/>
                  </a:lnTo>
                  <a:lnTo>
                    <a:pt x="175" y="52"/>
                  </a:lnTo>
                  <a:lnTo>
                    <a:pt x="176" y="50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5" y="46"/>
                  </a:lnTo>
                  <a:lnTo>
                    <a:pt x="174" y="45"/>
                  </a:lnTo>
                  <a:lnTo>
                    <a:pt x="171" y="43"/>
                  </a:lnTo>
                  <a:lnTo>
                    <a:pt x="170" y="42"/>
                  </a:lnTo>
                  <a:lnTo>
                    <a:pt x="169" y="42"/>
                  </a:lnTo>
                  <a:lnTo>
                    <a:pt x="168" y="41"/>
                  </a:lnTo>
                  <a:lnTo>
                    <a:pt x="168" y="40"/>
                  </a:lnTo>
                  <a:lnTo>
                    <a:pt x="168" y="39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7"/>
                  </a:lnTo>
                  <a:lnTo>
                    <a:pt x="169" y="36"/>
                  </a:lnTo>
                  <a:lnTo>
                    <a:pt x="170" y="34"/>
                  </a:lnTo>
                  <a:lnTo>
                    <a:pt x="172" y="33"/>
                  </a:lnTo>
                  <a:lnTo>
                    <a:pt x="174" y="32"/>
                  </a:lnTo>
                  <a:lnTo>
                    <a:pt x="176" y="31"/>
                  </a:lnTo>
                  <a:lnTo>
                    <a:pt x="177" y="31"/>
                  </a:lnTo>
                  <a:lnTo>
                    <a:pt x="179" y="30"/>
                  </a:lnTo>
                  <a:lnTo>
                    <a:pt x="181" y="29"/>
                  </a:lnTo>
                  <a:lnTo>
                    <a:pt x="186" y="28"/>
                  </a:lnTo>
                  <a:lnTo>
                    <a:pt x="188" y="28"/>
                  </a:lnTo>
                  <a:lnTo>
                    <a:pt x="191" y="27"/>
                  </a:lnTo>
                  <a:lnTo>
                    <a:pt x="200" y="27"/>
                  </a:lnTo>
                  <a:lnTo>
                    <a:pt x="202" y="26"/>
                  </a:lnTo>
                  <a:lnTo>
                    <a:pt x="213" y="25"/>
                  </a:lnTo>
                  <a:lnTo>
                    <a:pt x="216" y="24"/>
                  </a:lnTo>
                  <a:lnTo>
                    <a:pt x="222" y="24"/>
                  </a:lnTo>
                  <a:lnTo>
                    <a:pt x="225" y="24"/>
                  </a:lnTo>
                  <a:lnTo>
                    <a:pt x="229" y="23"/>
                  </a:lnTo>
                  <a:lnTo>
                    <a:pt x="233" y="22"/>
                  </a:lnTo>
                  <a:lnTo>
                    <a:pt x="236" y="21"/>
                  </a:lnTo>
                  <a:lnTo>
                    <a:pt x="241" y="19"/>
                  </a:lnTo>
                  <a:lnTo>
                    <a:pt x="245" y="17"/>
                  </a:lnTo>
                  <a:lnTo>
                    <a:pt x="250" y="14"/>
                  </a:lnTo>
                  <a:lnTo>
                    <a:pt x="254" y="11"/>
                  </a:lnTo>
                  <a:lnTo>
                    <a:pt x="257" y="9"/>
                  </a:lnTo>
                  <a:lnTo>
                    <a:pt x="260" y="6"/>
                  </a:lnTo>
                  <a:lnTo>
                    <a:pt x="266" y="1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68" y="0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5" name="Freeform 78">
              <a:extLst>
                <a:ext uri="{FF2B5EF4-FFF2-40B4-BE49-F238E27FC236}">
                  <a16:creationId xmlns:a16="http://schemas.microsoft.com/office/drawing/2014/main" id="{02F6A62C-47A7-4F00-AB5B-38D4FF3A1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" y="1811"/>
              <a:ext cx="471" cy="631"/>
            </a:xfrm>
            <a:custGeom>
              <a:avLst/>
              <a:gdLst>
                <a:gd name="T0" fmla="*/ 422 w 471"/>
                <a:gd name="T1" fmla="*/ 11 h 631"/>
                <a:gd name="T2" fmla="*/ 437 w 471"/>
                <a:gd name="T3" fmla="*/ 25 h 631"/>
                <a:gd name="T4" fmla="*/ 429 w 471"/>
                <a:gd name="T5" fmla="*/ 59 h 631"/>
                <a:gd name="T6" fmla="*/ 447 w 471"/>
                <a:gd name="T7" fmla="*/ 96 h 631"/>
                <a:gd name="T8" fmla="*/ 449 w 471"/>
                <a:gd name="T9" fmla="*/ 126 h 631"/>
                <a:gd name="T10" fmla="*/ 425 w 471"/>
                <a:gd name="T11" fmla="*/ 139 h 631"/>
                <a:gd name="T12" fmla="*/ 405 w 471"/>
                <a:gd name="T13" fmla="*/ 160 h 631"/>
                <a:gd name="T14" fmla="*/ 339 w 471"/>
                <a:gd name="T15" fmla="*/ 185 h 631"/>
                <a:gd name="T16" fmla="*/ 340 w 471"/>
                <a:gd name="T17" fmla="*/ 206 h 631"/>
                <a:gd name="T18" fmla="*/ 376 w 471"/>
                <a:gd name="T19" fmla="*/ 243 h 631"/>
                <a:gd name="T20" fmla="*/ 405 w 471"/>
                <a:gd name="T21" fmla="*/ 247 h 631"/>
                <a:gd name="T22" fmla="*/ 427 w 471"/>
                <a:gd name="T23" fmla="*/ 257 h 631"/>
                <a:gd name="T24" fmla="*/ 456 w 471"/>
                <a:gd name="T25" fmla="*/ 297 h 631"/>
                <a:gd name="T26" fmla="*/ 453 w 471"/>
                <a:gd name="T27" fmla="*/ 333 h 631"/>
                <a:gd name="T28" fmla="*/ 403 w 471"/>
                <a:gd name="T29" fmla="*/ 346 h 631"/>
                <a:gd name="T30" fmla="*/ 363 w 471"/>
                <a:gd name="T31" fmla="*/ 394 h 631"/>
                <a:gd name="T32" fmla="*/ 371 w 471"/>
                <a:gd name="T33" fmla="*/ 405 h 631"/>
                <a:gd name="T34" fmla="*/ 398 w 471"/>
                <a:gd name="T35" fmla="*/ 421 h 631"/>
                <a:gd name="T36" fmla="*/ 426 w 471"/>
                <a:gd name="T37" fmla="*/ 441 h 631"/>
                <a:gd name="T38" fmla="*/ 404 w 471"/>
                <a:gd name="T39" fmla="*/ 458 h 631"/>
                <a:gd name="T40" fmla="*/ 352 w 471"/>
                <a:gd name="T41" fmla="*/ 492 h 631"/>
                <a:gd name="T42" fmla="*/ 346 w 471"/>
                <a:gd name="T43" fmla="*/ 518 h 631"/>
                <a:gd name="T44" fmla="*/ 336 w 471"/>
                <a:gd name="T45" fmla="*/ 557 h 631"/>
                <a:gd name="T46" fmla="*/ 323 w 471"/>
                <a:gd name="T47" fmla="*/ 593 h 631"/>
                <a:gd name="T48" fmla="*/ 291 w 471"/>
                <a:gd name="T49" fmla="*/ 631 h 631"/>
                <a:gd name="T50" fmla="*/ 274 w 471"/>
                <a:gd name="T51" fmla="*/ 613 h 631"/>
                <a:gd name="T52" fmla="*/ 260 w 471"/>
                <a:gd name="T53" fmla="*/ 577 h 631"/>
                <a:gd name="T54" fmla="*/ 246 w 471"/>
                <a:gd name="T55" fmla="*/ 541 h 631"/>
                <a:gd name="T56" fmla="*/ 233 w 471"/>
                <a:gd name="T57" fmla="*/ 545 h 631"/>
                <a:gd name="T58" fmla="*/ 233 w 471"/>
                <a:gd name="T59" fmla="*/ 585 h 631"/>
                <a:gd name="T60" fmla="*/ 218 w 471"/>
                <a:gd name="T61" fmla="*/ 587 h 631"/>
                <a:gd name="T62" fmla="*/ 202 w 471"/>
                <a:gd name="T63" fmla="*/ 604 h 631"/>
                <a:gd name="T64" fmla="*/ 183 w 471"/>
                <a:gd name="T65" fmla="*/ 625 h 631"/>
                <a:gd name="T66" fmla="*/ 168 w 471"/>
                <a:gd name="T67" fmla="*/ 602 h 631"/>
                <a:gd name="T68" fmla="*/ 170 w 471"/>
                <a:gd name="T69" fmla="*/ 561 h 631"/>
                <a:gd name="T70" fmla="*/ 143 w 471"/>
                <a:gd name="T71" fmla="*/ 557 h 631"/>
                <a:gd name="T72" fmla="*/ 101 w 471"/>
                <a:gd name="T73" fmla="*/ 583 h 631"/>
                <a:gd name="T74" fmla="*/ 72 w 471"/>
                <a:gd name="T75" fmla="*/ 600 h 631"/>
                <a:gd name="T76" fmla="*/ 54 w 471"/>
                <a:gd name="T77" fmla="*/ 591 h 631"/>
                <a:gd name="T78" fmla="*/ 53 w 471"/>
                <a:gd name="T79" fmla="*/ 565 h 631"/>
                <a:gd name="T80" fmla="*/ 27 w 471"/>
                <a:gd name="T81" fmla="*/ 567 h 631"/>
                <a:gd name="T82" fmla="*/ 1 w 471"/>
                <a:gd name="T83" fmla="*/ 532 h 631"/>
                <a:gd name="T84" fmla="*/ 14 w 471"/>
                <a:gd name="T85" fmla="*/ 488 h 631"/>
                <a:gd name="T86" fmla="*/ 35 w 471"/>
                <a:gd name="T87" fmla="*/ 455 h 631"/>
                <a:gd name="T88" fmla="*/ 17 w 471"/>
                <a:gd name="T89" fmla="*/ 422 h 631"/>
                <a:gd name="T90" fmla="*/ 14 w 471"/>
                <a:gd name="T91" fmla="*/ 382 h 631"/>
                <a:gd name="T92" fmla="*/ 46 w 471"/>
                <a:gd name="T93" fmla="*/ 334 h 631"/>
                <a:gd name="T94" fmla="*/ 56 w 471"/>
                <a:gd name="T95" fmla="*/ 302 h 631"/>
                <a:gd name="T96" fmla="*/ 52 w 471"/>
                <a:gd name="T97" fmla="*/ 266 h 631"/>
                <a:gd name="T98" fmla="*/ 66 w 471"/>
                <a:gd name="T99" fmla="*/ 226 h 631"/>
                <a:gd name="T100" fmla="*/ 112 w 471"/>
                <a:gd name="T101" fmla="*/ 174 h 631"/>
                <a:gd name="T102" fmla="*/ 143 w 471"/>
                <a:gd name="T103" fmla="*/ 155 h 631"/>
                <a:gd name="T104" fmla="*/ 180 w 471"/>
                <a:gd name="T105" fmla="*/ 135 h 631"/>
                <a:gd name="T106" fmla="*/ 197 w 471"/>
                <a:gd name="T107" fmla="*/ 127 h 631"/>
                <a:gd name="T108" fmla="*/ 207 w 471"/>
                <a:gd name="T109" fmla="*/ 83 h 631"/>
                <a:gd name="T110" fmla="*/ 252 w 471"/>
                <a:gd name="T111" fmla="*/ 61 h 631"/>
                <a:gd name="T112" fmla="*/ 312 w 471"/>
                <a:gd name="T113" fmla="*/ 57 h 631"/>
                <a:gd name="T114" fmla="*/ 344 w 471"/>
                <a:gd name="T115" fmla="*/ 61 h 631"/>
                <a:gd name="T116" fmla="*/ 387 w 471"/>
                <a:gd name="T117" fmla="*/ 30 h 631"/>
                <a:gd name="T118" fmla="*/ 401 w 471"/>
                <a:gd name="T119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1" h="631">
                  <a:moveTo>
                    <a:pt x="405" y="0"/>
                  </a:moveTo>
                  <a:lnTo>
                    <a:pt x="406" y="0"/>
                  </a:lnTo>
                  <a:lnTo>
                    <a:pt x="408" y="1"/>
                  </a:lnTo>
                  <a:lnTo>
                    <a:pt x="410" y="1"/>
                  </a:lnTo>
                  <a:lnTo>
                    <a:pt x="411" y="2"/>
                  </a:lnTo>
                  <a:lnTo>
                    <a:pt x="412" y="2"/>
                  </a:lnTo>
                  <a:lnTo>
                    <a:pt x="415" y="4"/>
                  </a:lnTo>
                  <a:lnTo>
                    <a:pt x="417" y="5"/>
                  </a:lnTo>
                  <a:lnTo>
                    <a:pt x="419" y="7"/>
                  </a:lnTo>
                  <a:lnTo>
                    <a:pt x="421" y="10"/>
                  </a:lnTo>
                  <a:lnTo>
                    <a:pt x="422" y="11"/>
                  </a:lnTo>
                  <a:lnTo>
                    <a:pt x="423" y="13"/>
                  </a:lnTo>
                  <a:lnTo>
                    <a:pt x="424" y="15"/>
                  </a:lnTo>
                  <a:lnTo>
                    <a:pt x="425" y="17"/>
                  </a:lnTo>
                  <a:lnTo>
                    <a:pt x="425" y="18"/>
                  </a:lnTo>
                  <a:lnTo>
                    <a:pt x="428" y="19"/>
                  </a:lnTo>
                  <a:lnTo>
                    <a:pt x="431" y="20"/>
                  </a:lnTo>
                  <a:lnTo>
                    <a:pt x="433" y="20"/>
                  </a:lnTo>
                  <a:lnTo>
                    <a:pt x="434" y="21"/>
                  </a:lnTo>
                  <a:lnTo>
                    <a:pt x="435" y="22"/>
                  </a:lnTo>
                  <a:lnTo>
                    <a:pt x="436" y="23"/>
                  </a:lnTo>
                  <a:lnTo>
                    <a:pt x="437" y="25"/>
                  </a:lnTo>
                  <a:lnTo>
                    <a:pt x="437" y="25"/>
                  </a:lnTo>
                  <a:lnTo>
                    <a:pt x="438" y="27"/>
                  </a:lnTo>
                  <a:lnTo>
                    <a:pt x="438" y="29"/>
                  </a:lnTo>
                  <a:lnTo>
                    <a:pt x="437" y="31"/>
                  </a:lnTo>
                  <a:lnTo>
                    <a:pt x="437" y="33"/>
                  </a:lnTo>
                  <a:lnTo>
                    <a:pt x="436" y="36"/>
                  </a:lnTo>
                  <a:lnTo>
                    <a:pt x="432" y="46"/>
                  </a:lnTo>
                  <a:lnTo>
                    <a:pt x="431" y="51"/>
                  </a:lnTo>
                  <a:lnTo>
                    <a:pt x="430" y="54"/>
                  </a:lnTo>
                  <a:lnTo>
                    <a:pt x="429" y="57"/>
                  </a:lnTo>
                  <a:lnTo>
                    <a:pt x="429" y="59"/>
                  </a:lnTo>
                  <a:lnTo>
                    <a:pt x="429" y="62"/>
                  </a:lnTo>
                  <a:lnTo>
                    <a:pt x="429" y="65"/>
                  </a:lnTo>
                  <a:lnTo>
                    <a:pt x="430" y="68"/>
                  </a:lnTo>
                  <a:lnTo>
                    <a:pt x="431" y="70"/>
                  </a:lnTo>
                  <a:lnTo>
                    <a:pt x="432" y="73"/>
                  </a:lnTo>
                  <a:lnTo>
                    <a:pt x="433" y="76"/>
                  </a:lnTo>
                  <a:lnTo>
                    <a:pt x="434" y="79"/>
                  </a:lnTo>
                  <a:lnTo>
                    <a:pt x="436" y="81"/>
                  </a:lnTo>
                  <a:lnTo>
                    <a:pt x="444" y="90"/>
                  </a:lnTo>
                  <a:lnTo>
                    <a:pt x="446" y="93"/>
                  </a:lnTo>
                  <a:lnTo>
                    <a:pt x="447" y="96"/>
                  </a:lnTo>
                  <a:lnTo>
                    <a:pt x="449" y="98"/>
                  </a:lnTo>
                  <a:lnTo>
                    <a:pt x="449" y="99"/>
                  </a:lnTo>
                  <a:lnTo>
                    <a:pt x="450" y="101"/>
                  </a:lnTo>
                  <a:lnTo>
                    <a:pt x="451" y="104"/>
                  </a:lnTo>
                  <a:lnTo>
                    <a:pt x="451" y="107"/>
                  </a:lnTo>
                  <a:lnTo>
                    <a:pt x="451" y="111"/>
                  </a:lnTo>
                  <a:lnTo>
                    <a:pt x="451" y="115"/>
                  </a:lnTo>
                  <a:lnTo>
                    <a:pt x="451" y="118"/>
                  </a:lnTo>
                  <a:lnTo>
                    <a:pt x="450" y="121"/>
                  </a:lnTo>
                  <a:lnTo>
                    <a:pt x="450" y="124"/>
                  </a:lnTo>
                  <a:lnTo>
                    <a:pt x="449" y="126"/>
                  </a:lnTo>
                  <a:lnTo>
                    <a:pt x="447" y="127"/>
                  </a:lnTo>
                  <a:lnTo>
                    <a:pt x="447" y="128"/>
                  </a:lnTo>
                  <a:lnTo>
                    <a:pt x="446" y="130"/>
                  </a:lnTo>
                  <a:lnTo>
                    <a:pt x="444" y="132"/>
                  </a:lnTo>
                  <a:lnTo>
                    <a:pt x="442" y="133"/>
                  </a:lnTo>
                  <a:lnTo>
                    <a:pt x="440" y="134"/>
                  </a:lnTo>
                  <a:lnTo>
                    <a:pt x="437" y="136"/>
                  </a:lnTo>
                  <a:lnTo>
                    <a:pt x="435" y="136"/>
                  </a:lnTo>
                  <a:lnTo>
                    <a:pt x="430" y="138"/>
                  </a:lnTo>
                  <a:lnTo>
                    <a:pt x="428" y="138"/>
                  </a:lnTo>
                  <a:lnTo>
                    <a:pt x="425" y="139"/>
                  </a:lnTo>
                  <a:lnTo>
                    <a:pt x="422" y="141"/>
                  </a:lnTo>
                  <a:lnTo>
                    <a:pt x="421" y="143"/>
                  </a:lnTo>
                  <a:lnTo>
                    <a:pt x="420" y="145"/>
                  </a:lnTo>
                  <a:lnTo>
                    <a:pt x="419" y="146"/>
                  </a:lnTo>
                  <a:lnTo>
                    <a:pt x="415" y="151"/>
                  </a:lnTo>
                  <a:lnTo>
                    <a:pt x="413" y="153"/>
                  </a:lnTo>
                  <a:lnTo>
                    <a:pt x="411" y="155"/>
                  </a:lnTo>
                  <a:lnTo>
                    <a:pt x="410" y="157"/>
                  </a:lnTo>
                  <a:lnTo>
                    <a:pt x="409" y="158"/>
                  </a:lnTo>
                  <a:lnTo>
                    <a:pt x="407" y="159"/>
                  </a:lnTo>
                  <a:lnTo>
                    <a:pt x="405" y="160"/>
                  </a:lnTo>
                  <a:lnTo>
                    <a:pt x="403" y="161"/>
                  </a:lnTo>
                  <a:lnTo>
                    <a:pt x="401" y="162"/>
                  </a:lnTo>
                  <a:lnTo>
                    <a:pt x="396" y="164"/>
                  </a:lnTo>
                  <a:lnTo>
                    <a:pt x="383" y="168"/>
                  </a:lnTo>
                  <a:lnTo>
                    <a:pt x="367" y="172"/>
                  </a:lnTo>
                  <a:lnTo>
                    <a:pt x="359" y="175"/>
                  </a:lnTo>
                  <a:lnTo>
                    <a:pt x="346" y="180"/>
                  </a:lnTo>
                  <a:lnTo>
                    <a:pt x="344" y="181"/>
                  </a:lnTo>
                  <a:lnTo>
                    <a:pt x="342" y="183"/>
                  </a:lnTo>
                  <a:lnTo>
                    <a:pt x="341" y="183"/>
                  </a:lnTo>
                  <a:lnTo>
                    <a:pt x="339" y="185"/>
                  </a:lnTo>
                  <a:lnTo>
                    <a:pt x="338" y="186"/>
                  </a:lnTo>
                  <a:lnTo>
                    <a:pt x="337" y="188"/>
                  </a:lnTo>
                  <a:lnTo>
                    <a:pt x="336" y="190"/>
                  </a:lnTo>
                  <a:lnTo>
                    <a:pt x="335" y="192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6" y="197"/>
                  </a:lnTo>
                  <a:lnTo>
                    <a:pt x="336" y="199"/>
                  </a:lnTo>
                  <a:lnTo>
                    <a:pt x="337" y="201"/>
                  </a:lnTo>
                  <a:lnTo>
                    <a:pt x="339" y="204"/>
                  </a:lnTo>
                  <a:lnTo>
                    <a:pt x="340" y="206"/>
                  </a:lnTo>
                  <a:lnTo>
                    <a:pt x="342" y="208"/>
                  </a:lnTo>
                  <a:lnTo>
                    <a:pt x="342" y="210"/>
                  </a:lnTo>
                  <a:lnTo>
                    <a:pt x="344" y="212"/>
                  </a:lnTo>
                  <a:lnTo>
                    <a:pt x="346" y="215"/>
                  </a:lnTo>
                  <a:lnTo>
                    <a:pt x="350" y="217"/>
                  </a:lnTo>
                  <a:lnTo>
                    <a:pt x="359" y="226"/>
                  </a:lnTo>
                  <a:lnTo>
                    <a:pt x="362" y="229"/>
                  </a:lnTo>
                  <a:lnTo>
                    <a:pt x="365" y="232"/>
                  </a:lnTo>
                  <a:lnTo>
                    <a:pt x="371" y="239"/>
                  </a:lnTo>
                  <a:lnTo>
                    <a:pt x="373" y="241"/>
                  </a:lnTo>
                  <a:lnTo>
                    <a:pt x="376" y="243"/>
                  </a:lnTo>
                  <a:lnTo>
                    <a:pt x="378" y="245"/>
                  </a:lnTo>
                  <a:lnTo>
                    <a:pt x="381" y="247"/>
                  </a:lnTo>
                  <a:lnTo>
                    <a:pt x="384" y="249"/>
                  </a:lnTo>
                  <a:lnTo>
                    <a:pt x="388" y="250"/>
                  </a:lnTo>
                  <a:lnTo>
                    <a:pt x="390" y="250"/>
                  </a:lnTo>
                  <a:lnTo>
                    <a:pt x="392" y="250"/>
                  </a:lnTo>
                  <a:lnTo>
                    <a:pt x="394" y="250"/>
                  </a:lnTo>
                  <a:lnTo>
                    <a:pt x="396" y="249"/>
                  </a:lnTo>
                  <a:lnTo>
                    <a:pt x="400" y="247"/>
                  </a:lnTo>
                  <a:lnTo>
                    <a:pt x="404" y="247"/>
                  </a:lnTo>
                  <a:lnTo>
                    <a:pt x="405" y="247"/>
                  </a:lnTo>
                  <a:lnTo>
                    <a:pt x="408" y="247"/>
                  </a:lnTo>
                  <a:lnTo>
                    <a:pt x="410" y="247"/>
                  </a:lnTo>
                  <a:lnTo>
                    <a:pt x="411" y="247"/>
                  </a:lnTo>
                  <a:lnTo>
                    <a:pt x="413" y="248"/>
                  </a:lnTo>
                  <a:lnTo>
                    <a:pt x="415" y="249"/>
                  </a:lnTo>
                  <a:lnTo>
                    <a:pt x="417" y="250"/>
                  </a:lnTo>
                  <a:lnTo>
                    <a:pt x="419" y="251"/>
                  </a:lnTo>
                  <a:lnTo>
                    <a:pt x="422" y="251"/>
                  </a:lnTo>
                  <a:lnTo>
                    <a:pt x="422" y="253"/>
                  </a:lnTo>
                  <a:lnTo>
                    <a:pt x="425" y="255"/>
                  </a:lnTo>
                  <a:lnTo>
                    <a:pt x="427" y="257"/>
                  </a:lnTo>
                  <a:lnTo>
                    <a:pt x="431" y="260"/>
                  </a:lnTo>
                  <a:lnTo>
                    <a:pt x="433" y="263"/>
                  </a:lnTo>
                  <a:lnTo>
                    <a:pt x="434" y="265"/>
                  </a:lnTo>
                  <a:lnTo>
                    <a:pt x="438" y="271"/>
                  </a:lnTo>
                  <a:lnTo>
                    <a:pt x="440" y="274"/>
                  </a:lnTo>
                  <a:lnTo>
                    <a:pt x="443" y="277"/>
                  </a:lnTo>
                  <a:lnTo>
                    <a:pt x="449" y="285"/>
                  </a:lnTo>
                  <a:lnTo>
                    <a:pt x="451" y="287"/>
                  </a:lnTo>
                  <a:lnTo>
                    <a:pt x="452" y="290"/>
                  </a:lnTo>
                  <a:lnTo>
                    <a:pt x="456" y="295"/>
                  </a:lnTo>
                  <a:lnTo>
                    <a:pt x="456" y="297"/>
                  </a:lnTo>
                  <a:lnTo>
                    <a:pt x="458" y="300"/>
                  </a:lnTo>
                  <a:lnTo>
                    <a:pt x="460" y="307"/>
                  </a:lnTo>
                  <a:lnTo>
                    <a:pt x="462" y="309"/>
                  </a:lnTo>
                  <a:lnTo>
                    <a:pt x="467" y="318"/>
                  </a:lnTo>
                  <a:lnTo>
                    <a:pt x="469" y="324"/>
                  </a:lnTo>
                  <a:lnTo>
                    <a:pt x="471" y="327"/>
                  </a:lnTo>
                  <a:lnTo>
                    <a:pt x="470" y="327"/>
                  </a:lnTo>
                  <a:lnTo>
                    <a:pt x="469" y="327"/>
                  </a:lnTo>
                  <a:lnTo>
                    <a:pt x="462" y="331"/>
                  </a:lnTo>
                  <a:lnTo>
                    <a:pt x="458" y="331"/>
                  </a:lnTo>
                  <a:lnTo>
                    <a:pt x="453" y="333"/>
                  </a:lnTo>
                  <a:lnTo>
                    <a:pt x="445" y="336"/>
                  </a:lnTo>
                  <a:lnTo>
                    <a:pt x="441" y="337"/>
                  </a:lnTo>
                  <a:lnTo>
                    <a:pt x="435" y="338"/>
                  </a:lnTo>
                  <a:lnTo>
                    <a:pt x="432" y="339"/>
                  </a:lnTo>
                  <a:lnTo>
                    <a:pt x="423" y="340"/>
                  </a:lnTo>
                  <a:lnTo>
                    <a:pt x="421" y="340"/>
                  </a:lnTo>
                  <a:lnTo>
                    <a:pt x="417" y="341"/>
                  </a:lnTo>
                  <a:lnTo>
                    <a:pt x="413" y="342"/>
                  </a:lnTo>
                  <a:lnTo>
                    <a:pt x="410" y="342"/>
                  </a:lnTo>
                  <a:lnTo>
                    <a:pt x="406" y="344"/>
                  </a:lnTo>
                  <a:lnTo>
                    <a:pt x="403" y="346"/>
                  </a:lnTo>
                  <a:lnTo>
                    <a:pt x="400" y="348"/>
                  </a:lnTo>
                  <a:lnTo>
                    <a:pt x="398" y="350"/>
                  </a:lnTo>
                  <a:lnTo>
                    <a:pt x="395" y="353"/>
                  </a:lnTo>
                  <a:lnTo>
                    <a:pt x="392" y="356"/>
                  </a:lnTo>
                  <a:lnTo>
                    <a:pt x="385" y="365"/>
                  </a:lnTo>
                  <a:lnTo>
                    <a:pt x="379" y="371"/>
                  </a:lnTo>
                  <a:lnTo>
                    <a:pt x="372" y="380"/>
                  </a:lnTo>
                  <a:lnTo>
                    <a:pt x="368" y="386"/>
                  </a:lnTo>
                  <a:lnTo>
                    <a:pt x="365" y="390"/>
                  </a:lnTo>
                  <a:lnTo>
                    <a:pt x="364" y="392"/>
                  </a:lnTo>
                  <a:lnTo>
                    <a:pt x="363" y="394"/>
                  </a:lnTo>
                  <a:lnTo>
                    <a:pt x="363" y="396"/>
                  </a:lnTo>
                  <a:lnTo>
                    <a:pt x="363" y="398"/>
                  </a:lnTo>
                  <a:lnTo>
                    <a:pt x="363" y="399"/>
                  </a:lnTo>
                  <a:lnTo>
                    <a:pt x="363" y="399"/>
                  </a:lnTo>
                  <a:lnTo>
                    <a:pt x="364" y="401"/>
                  </a:lnTo>
                  <a:lnTo>
                    <a:pt x="365" y="402"/>
                  </a:lnTo>
                  <a:lnTo>
                    <a:pt x="366" y="403"/>
                  </a:lnTo>
                  <a:lnTo>
                    <a:pt x="367" y="404"/>
                  </a:lnTo>
                  <a:lnTo>
                    <a:pt x="368" y="404"/>
                  </a:lnTo>
                  <a:lnTo>
                    <a:pt x="370" y="404"/>
                  </a:lnTo>
                  <a:lnTo>
                    <a:pt x="371" y="405"/>
                  </a:lnTo>
                  <a:lnTo>
                    <a:pt x="373" y="405"/>
                  </a:lnTo>
                  <a:lnTo>
                    <a:pt x="377" y="404"/>
                  </a:lnTo>
                  <a:lnTo>
                    <a:pt x="380" y="404"/>
                  </a:lnTo>
                  <a:lnTo>
                    <a:pt x="381" y="404"/>
                  </a:lnTo>
                  <a:lnTo>
                    <a:pt x="382" y="405"/>
                  </a:lnTo>
                  <a:lnTo>
                    <a:pt x="383" y="405"/>
                  </a:lnTo>
                  <a:lnTo>
                    <a:pt x="384" y="406"/>
                  </a:lnTo>
                  <a:lnTo>
                    <a:pt x="386" y="407"/>
                  </a:lnTo>
                  <a:lnTo>
                    <a:pt x="388" y="409"/>
                  </a:lnTo>
                  <a:lnTo>
                    <a:pt x="393" y="416"/>
                  </a:lnTo>
                  <a:lnTo>
                    <a:pt x="398" y="421"/>
                  </a:lnTo>
                  <a:lnTo>
                    <a:pt x="400" y="423"/>
                  </a:lnTo>
                  <a:lnTo>
                    <a:pt x="402" y="425"/>
                  </a:lnTo>
                  <a:lnTo>
                    <a:pt x="405" y="427"/>
                  </a:lnTo>
                  <a:lnTo>
                    <a:pt x="409" y="429"/>
                  </a:lnTo>
                  <a:lnTo>
                    <a:pt x="415" y="432"/>
                  </a:lnTo>
                  <a:lnTo>
                    <a:pt x="417" y="433"/>
                  </a:lnTo>
                  <a:lnTo>
                    <a:pt x="421" y="435"/>
                  </a:lnTo>
                  <a:lnTo>
                    <a:pt x="424" y="438"/>
                  </a:lnTo>
                  <a:lnTo>
                    <a:pt x="425" y="439"/>
                  </a:lnTo>
                  <a:lnTo>
                    <a:pt x="426" y="440"/>
                  </a:lnTo>
                  <a:lnTo>
                    <a:pt x="426" y="441"/>
                  </a:lnTo>
                  <a:lnTo>
                    <a:pt x="426" y="442"/>
                  </a:lnTo>
                  <a:lnTo>
                    <a:pt x="425" y="443"/>
                  </a:lnTo>
                  <a:lnTo>
                    <a:pt x="425" y="444"/>
                  </a:lnTo>
                  <a:lnTo>
                    <a:pt x="424" y="444"/>
                  </a:lnTo>
                  <a:lnTo>
                    <a:pt x="423" y="445"/>
                  </a:lnTo>
                  <a:lnTo>
                    <a:pt x="422" y="446"/>
                  </a:lnTo>
                  <a:lnTo>
                    <a:pt x="414" y="450"/>
                  </a:lnTo>
                  <a:lnTo>
                    <a:pt x="412" y="451"/>
                  </a:lnTo>
                  <a:lnTo>
                    <a:pt x="410" y="452"/>
                  </a:lnTo>
                  <a:lnTo>
                    <a:pt x="409" y="454"/>
                  </a:lnTo>
                  <a:lnTo>
                    <a:pt x="404" y="458"/>
                  </a:lnTo>
                  <a:lnTo>
                    <a:pt x="402" y="459"/>
                  </a:lnTo>
                  <a:lnTo>
                    <a:pt x="396" y="464"/>
                  </a:lnTo>
                  <a:lnTo>
                    <a:pt x="388" y="469"/>
                  </a:lnTo>
                  <a:lnTo>
                    <a:pt x="386" y="471"/>
                  </a:lnTo>
                  <a:lnTo>
                    <a:pt x="383" y="473"/>
                  </a:lnTo>
                  <a:lnTo>
                    <a:pt x="373" y="478"/>
                  </a:lnTo>
                  <a:lnTo>
                    <a:pt x="370" y="479"/>
                  </a:lnTo>
                  <a:lnTo>
                    <a:pt x="366" y="482"/>
                  </a:lnTo>
                  <a:lnTo>
                    <a:pt x="355" y="489"/>
                  </a:lnTo>
                  <a:lnTo>
                    <a:pt x="353" y="491"/>
                  </a:lnTo>
                  <a:lnTo>
                    <a:pt x="352" y="492"/>
                  </a:lnTo>
                  <a:lnTo>
                    <a:pt x="350" y="494"/>
                  </a:lnTo>
                  <a:lnTo>
                    <a:pt x="348" y="497"/>
                  </a:lnTo>
                  <a:lnTo>
                    <a:pt x="346" y="500"/>
                  </a:lnTo>
                  <a:lnTo>
                    <a:pt x="344" y="502"/>
                  </a:lnTo>
                  <a:lnTo>
                    <a:pt x="343" y="505"/>
                  </a:lnTo>
                  <a:lnTo>
                    <a:pt x="343" y="508"/>
                  </a:lnTo>
                  <a:lnTo>
                    <a:pt x="343" y="510"/>
                  </a:lnTo>
                  <a:lnTo>
                    <a:pt x="343" y="511"/>
                  </a:lnTo>
                  <a:lnTo>
                    <a:pt x="343" y="512"/>
                  </a:lnTo>
                  <a:lnTo>
                    <a:pt x="345" y="516"/>
                  </a:lnTo>
                  <a:lnTo>
                    <a:pt x="346" y="518"/>
                  </a:lnTo>
                  <a:lnTo>
                    <a:pt x="346" y="520"/>
                  </a:lnTo>
                  <a:lnTo>
                    <a:pt x="346" y="523"/>
                  </a:lnTo>
                  <a:lnTo>
                    <a:pt x="345" y="533"/>
                  </a:lnTo>
                  <a:lnTo>
                    <a:pt x="345" y="535"/>
                  </a:lnTo>
                  <a:lnTo>
                    <a:pt x="345" y="536"/>
                  </a:lnTo>
                  <a:lnTo>
                    <a:pt x="343" y="541"/>
                  </a:lnTo>
                  <a:lnTo>
                    <a:pt x="342" y="546"/>
                  </a:lnTo>
                  <a:lnTo>
                    <a:pt x="342" y="548"/>
                  </a:lnTo>
                  <a:lnTo>
                    <a:pt x="341" y="550"/>
                  </a:lnTo>
                  <a:lnTo>
                    <a:pt x="340" y="552"/>
                  </a:lnTo>
                  <a:lnTo>
                    <a:pt x="336" y="557"/>
                  </a:lnTo>
                  <a:lnTo>
                    <a:pt x="335" y="558"/>
                  </a:lnTo>
                  <a:lnTo>
                    <a:pt x="334" y="560"/>
                  </a:lnTo>
                  <a:lnTo>
                    <a:pt x="333" y="563"/>
                  </a:lnTo>
                  <a:lnTo>
                    <a:pt x="332" y="566"/>
                  </a:lnTo>
                  <a:lnTo>
                    <a:pt x="331" y="568"/>
                  </a:lnTo>
                  <a:lnTo>
                    <a:pt x="331" y="570"/>
                  </a:lnTo>
                  <a:lnTo>
                    <a:pt x="331" y="575"/>
                  </a:lnTo>
                  <a:lnTo>
                    <a:pt x="330" y="577"/>
                  </a:lnTo>
                  <a:lnTo>
                    <a:pt x="328" y="583"/>
                  </a:lnTo>
                  <a:lnTo>
                    <a:pt x="326" y="588"/>
                  </a:lnTo>
                  <a:lnTo>
                    <a:pt x="323" y="593"/>
                  </a:lnTo>
                  <a:lnTo>
                    <a:pt x="321" y="598"/>
                  </a:lnTo>
                  <a:lnTo>
                    <a:pt x="319" y="601"/>
                  </a:lnTo>
                  <a:lnTo>
                    <a:pt x="317" y="605"/>
                  </a:lnTo>
                  <a:lnTo>
                    <a:pt x="314" y="608"/>
                  </a:lnTo>
                  <a:lnTo>
                    <a:pt x="308" y="615"/>
                  </a:lnTo>
                  <a:lnTo>
                    <a:pt x="300" y="624"/>
                  </a:lnTo>
                  <a:lnTo>
                    <a:pt x="297" y="627"/>
                  </a:lnTo>
                  <a:lnTo>
                    <a:pt x="296" y="629"/>
                  </a:lnTo>
                  <a:lnTo>
                    <a:pt x="293" y="631"/>
                  </a:lnTo>
                  <a:lnTo>
                    <a:pt x="292" y="631"/>
                  </a:lnTo>
                  <a:lnTo>
                    <a:pt x="291" y="631"/>
                  </a:lnTo>
                  <a:lnTo>
                    <a:pt x="290" y="631"/>
                  </a:lnTo>
                  <a:lnTo>
                    <a:pt x="287" y="629"/>
                  </a:lnTo>
                  <a:lnTo>
                    <a:pt x="285" y="628"/>
                  </a:lnTo>
                  <a:lnTo>
                    <a:pt x="282" y="626"/>
                  </a:lnTo>
                  <a:lnTo>
                    <a:pt x="280" y="625"/>
                  </a:lnTo>
                  <a:lnTo>
                    <a:pt x="278" y="623"/>
                  </a:lnTo>
                  <a:lnTo>
                    <a:pt x="277" y="622"/>
                  </a:lnTo>
                  <a:lnTo>
                    <a:pt x="276" y="620"/>
                  </a:lnTo>
                  <a:lnTo>
                    <a:pt x="275" y="617"/>
                  </a:lnTo>
                  <a:lnTo>
                    <a:pt x="274" y="615"/>
                  </a:lnTo>
                  <a:lnTo>
                    <a:pt x="274" y="613"/>
                  </a:lnTo>
                  <a:lnTo>
                    <a:pt x="273" y="608"/>
                  </a:lnTo>
                  <a:lnTo>
                    <a:pt x="272" y="605"/>
                  </a:lnTo>
                  <a:lnTo>
                    <a:pt x="271" y="603"/>
                  </a:lnTo>
                  <a:lnTo>
                    <a:pt x="268" y="600"/>
                  </a:lnTo>
                  <a:lnTo>
                    <a:pt x="266" y="598"/>
                  </a:lnTo>
                  <a:lnTo>
                    <a:pt x="263" y="591"/>
                  </a:lnTo>
                  <a:lnTo>
                    <a:pt x="262" y="589"/>
                  </a:lnTo>
                  <a:lnTo>
                    <a:pt x="261" y="586"/>
                  </a:lnTo>
                  <a:lnTo>
                    <a:pt x="260" y="583"/>
                  </a:lnTo>
                  <a:lnTo>
                    <a:pt x="260" y="580"/>
                  </a:lnTo>
                  <a:lnTo>
                    <a:pt x="260" y="577"/>
                  </a:lnTo>
                  <a:lnTo>
                    <a:pt x="260" y="571"/>
                  </a:lnTo>
                  <a:lnTo>
                    <a:pt x="259" y="568"/>
                  </a:lnTo>
                  <a:lnTo>
                    <a:pt x="259" y="565"/>
                  </a:lnTo>
                  <a:lnTo>
                    <a:pt x="258" y="564"/>
                  </a:lnTo>
                  <a:lnTo>
                    <a:pt x="257" y="559"/>
                  </a:lnTo>
                  <a:lnTo>
                    <a:pt x="255" y="557"/>
                  </a:lnTo>
                  <a:lnTo>
                    <a:pt x="252" y="551"/>
                  </a:lnTo>
                  <a:lnTo>
                    <a:pt x="250" y="546"/>
                  </a:lnTo>
                  <a:lnTo>
                    <a:pt x="248" y="543"/>
                  </a:lnTo>
                  <a:lnTo>
                    <a:pt x="247" y="542"/>
                  </a:lnTo>
                  <a:lnTo>
                    <a:pt x="246" y="541"/>
                  </a:lnTo>
                  <a:lnTo>
                    <a:pt x="245" y="540"/>
                  </a:lnTo>
                  <a:lnTo>
                    <a:pt x="243" y="539"/>
                  </a:lnTo>
                  <a:lnTo>
                    <a:pt x="241" y="539"/>
                  </a:lnTo>
                  <a:lnTo>
                    <a:pt x="240" y="538"/>
                  </a:lnTo>
                  <a:lnTo>
                    <a:pt x="238" y="539"/>
                  </a:lnTo>
                  <a:lnTo>
                    <a:pt x="237" y="539"/>
                  </a:lnTo>
                  <a:lnTo>
                    <a:pt x="235" y="540"/>
                  </a:lnTo>
                  <a:lnTo>
                    <a:pt x="234" y="541"/>
                  </a:lnTo>
                  <a:lnTo>
                    <a:pt x="233" y="543"/>
                  </a:lnTo>
                  <a:lnTo>
                    <a:pt x="233" y="544"/>
                  </a:lnTo>
                  <a:lnTo>
                    <a:pt x="233" y="545"/>
                  </a:lnTo>
                  <a:lnTo>
                    <a:pt x="233" y="546"/>
                  </a:lnTo>
                  <a:lnTo>
                    <a:pt x="233" y="550"/>
                  </a:lnTo>
                  <a:lnTo>
                    <a:pt x="238" y="568"/>
                  </a:lnTo>
                  <a:lnTo>
                    <a:pt x="239" y="570"/>
                  </a:lnTo>
                  <a:lnTo>
                    <a:pt x="239" y="571"/>
                  </a:lnTo>
                  <a:lnTo>
                    <a:pt x="239" y="574"/>
                  </a:lnTo>
                  <a:lnTo>
                    <a:pt x="239" y="577"/>
                  </a:lnTo>
                  <a:lnTo>
                    <a:pt x="238" y="579"/>
                  </a:lnTo>
                  <a:lnTo>
                    <a:pt x="237" y="580"/>
                  </a:lnTo>
                  <a:lnTo>
                    <a:pt x="235" y="583"/>
                  </a:lnTo>
                  <a:lnTo>
                    <a:pt x="233" y="585"/>
                  </a:lnTo>
                  <a:lnTo>
                    <a:pt x="231" y="586"/>
                  </a:lnTo>
                  <a:lnTo>
                    <a:pt x="229" y="588"/>
                  </a:lnTo>
                  <a:lnTo>
                    <a:pt x="228" y="588"/>
                  </a:lnTo>
                  <a:lnTo>
                    <a:pt x="227" y="588"/>
                  </a:lnTo>
                  <a:lnTo>
                    <a:pt x="226" y="589"/>
                  </a:lnTo>
                  <a:lnTo>
                    <a:pt x="225" y="588"/>
                  </a:lnTo>
                  <a:lnTo>
                    <a:pt x="222" y="587"/>
                  </a:lnTo>
                  <a:lnTo>
                    <a:pt x="221" y="587"/>
                  </a:lnTo>
                  <a:lnTo>
                    <a:pt x="220" y="587"/>
                  </a:lnTo>
                  <a:lnTo>
                    <a:pt x="219" y="587"/>
                  </a:lnTo>
                  <a:lnTo>
                    <a:pt x="218" y="587"/>
                  </a:lnTo>
                  <a:lnTo>
                    <a:pt x="217" y="588"/>
                  </a:lnTo>
                  <a:lnTo>
                    <a:pt x="216" y="590"/>
                  </a:lnTo>
                  <a:lnTo>
                    <a:pt x="215" y="591"/>
                  </a:lnTo>
                  <a:lnTo>
                    <a:pt x="210" y="592"/>
                  </a:lnTo>
                  <a:lnTo>
                    <a:pt x="208" y="593"/>
                  </a:lnTo>
                  <a:lnTo>
                    <a:pt x="207" y="594"/>
                  </a:lnTo>
                  <a:lnTo>
                    <a:pt x="206" y="596"/>
                  </a:lnTo>
                  <a:lnTo>
                    <a:pt x="205" y="597"/>
                  </a:lnTo>
                  <a:lnTo>
                    <a:pt x="204" y="599"/>
                  </a:lnTo>
                  <a:lnTo>
                    <a:pt x="203" y="603"/>
                  </a:lnTo>
                  <a:lnTo>
                    <a:pt x="202" y="604"/>
                  </a:lnTo>
                  <a:lnTo>
                    <a:pt x="201" y="605"/>
                  </a:lnTo>
                  <a:lnTo>
                    <a:pt x="199" y="607"/>
                  </a:lnTo>
                  <a:lnTo>
                    <a:pt x="194" y="613"/>
                  </a:lnTo>
                  <a:lnTo>
                    <a:pt x="193" y="614"/>
                  </a:lnTo>
                  <a:lnTo>
                    <a:pt x="192" y="616"/>
                  </a:lnTo>
                  <a:lnTo>
                    <a:pt x="188" y="621"/>
                  </a:lnTo>
                  <a:lnTo>
                    <a:pt x="186" y="623"/>
                  </a:lnTo>
                  <a:lnTo>
                    <a:pt x="185" y="624"/>
                  </a:lnTo>
                  <a:lnTo>
                    <a:pt x="184" y="625"/>
                  </a:lnTo>
                  <a:lnTo>
                    <a:pt x="183" y="625"/>
                  </a:lnTo>
                  <a:lnTo>
                    <a:pt x="183" y="625"/>
                  </a:lnTo>
                  <a:lnTo>
                    <a:pt x="181" y="625"/>
                  </a:lnTo>
                  <a:lnTo>
                    <a:pt x="179" y="624"/>
                  </a:lnTo>
                  <a:lnTo>
                    <a:pt x="177" y="623"/>
                  </a:lnTo>
                  <a:lnTo>
                    <a:pt x="175" y="621"/>
                  </a:lnTo>
                  <a:lnTo>
                    <a:pt x="173" y="618"/>
                  </a:lnTo>
                  <a:lnTo>
                    <a:pt x="172" y="615"/>
                  </a:lnTo>
                  <a:lnTo>
                    <a:pt x="170" y="612"/>
                  </a:lnTo>
                  <a:lnTo>
                    <a:pt x="169" y="609"/>
                  </a:lnTo>
                  <a:lnTo>
                    <a:pt x="169" y="607"/>
                  </a:lnTo>
                  <a:lnTo>
                    <a:pt x="168" y="604"/>
                  </a:lnTo>
                  <a:lnTo>
                    <a:pt x="168" y="602"/>
                  </a:lnTo>
                  <a:lnTo>
                    <a:pt x="169" y="599"/>
                  </a:lnTo>
                  <a:lnTo>
                    <a:pt x="169" y="593"/>
                  </a:lnTo>
                  <a:lnTo>
                    <a:pt x="172" y="583"/>
                  </a:lnTo>
                  <a:lnTo>
                    <a:pt x="172" y="578"/>
                  </a:lnTo>
                  <a:lnTo>
                    <a:pt x="173" y="572"/>
                  </a:lnTo>
                  <a:lnTo>
                    <a:pt x="173" y="570"/>
                  </a:lnTo>
                  <a:lnTo>
                    <a:pt x="173" y="569"/>
                  </a:lnTo>
                  <a:lnTo>
                    <a:pt x="172" y="568"/>
                  </a:lnTo>
                  <a:lnTo>
                    <a:pt x="172" y="566"/>
                  </a:lnTo>
                  <a:lnTo>
                    <a:pt x="171" y="563"/>
                  </a:lnTo>
                  <a:lnTo>
                    <a:pt x="170" y="561"/>
                  </a:lnTo>
                  <a:lnTo>
                    <a:pt x="169" y="560"/>
                  </a:lnTo>
                  <a:lnTo>
                    <a:pt x="167" y="558"/>
                  </a:lnTo>
                  <a:lnTo>
                    <a:pt x="164" y="557"/>
                  </a:lnTo>
                  <a:lnTo>
                    <a:pt x="162" y="556"/>
                  </a:lnTo>
                  <a:lnTo>
                    <a:pt x="161" y="556"/>
                  </a:lnTo>
                  <a:lnTo>
                    <a:pt x="160" y="555"/>
                  </a:lnTo>
                  <a:lnTo>
                    <a:pt x="158" y="555"/>
                  </a:lnTo>
                  <a:lnTo>
                    <a:pt x="156" y="555"/>
                  </a:lnTo>
                  <a:lnTo>
                    <a:pt x="153" y="555"/>
                  </a:lnTo>
                  <a:lnTo>
                    <a:pt x="148" y="556"/>
                  </a:lnTo>
                  <a:lnTo>
                    <a:pt x="143" y="557"/>
                  </a:lnTo>
                  <a:lnTo>
                    <a:pt x="142" y="557"/>
                  </a:lnTo>
                  <a:lnTo>
                    <a:pt x="140" y="557"/>
                  </a:lnTo>
                  <a:lnTo>
                    <a:pt x="136" y="559"/>
                  </a:lnTo>
                  <a:lnTo>
                    <a:pt x="132" y="561"/>
                  </a:lnTo>
                  <a:lnTo>
                    <a:pt x="129" y="562"/>
                  </a:lnTo>
                  <a:lnTo>
                    <a:pt x="127" y="563"/>
                  </a:lnTo>
                  <a:lnTo>
                    <a:pt x="125" y="565"/>
                  </a:lnTo>
                  <a:lnTo>
                    <a:pt x="120" y="569"/>
                  </a:lnTo>
                  <a:lnTo>
                    <a:pt x="116" y="571"/>
                  </a:lnTo>
                  <a:lnTo>
                    <a:pt x="108" y="578"/>
                  </a:lnTo>
                  <a:lnTo>
                    <a:pt x="101" y="583"/>
                  </a:lnTo>
                  <a:lnTo>
                    <a:pt x="98" y="585"/>
                  </a:lnTo>
                  <a:lnTo>
                    <a:pt x="95" y="588"/>
                  </a:lnTo>
                  <a:lnTo>
                    <a:pt x="93" y="590"/>
                  </a:lnTo>
                  <a:lnTo>
                    <a:pt x="92" y="591"/>
                  </a:lnTo>
                  <a:lnTo>
                    <a:pt x="90" y="595"/>
                  </a:lnTo>
                  <a:lnTo>
                    <a:pt x="89" y="597"/>
                  </a:lnTo>
                  <a:lnTo>
                    <a:pt x="87" y="598"/>
                  </a:lnTo>
                  <a:lnTo>
                    <a:pt x="86" y="599"/>
                  </a:lnTo>
                  <a:lnTo>
                    <a:pt x="83" y="599"/>
                  </a:lnTo>
                  <a:lnTo>
                    <a:pt x="81" y="600"/>
                  </a:lnTo>
                  <a:lnTo>
                    <a:pt x="72" y="600"/>
                  </a:lnTo>
                  <a:lnTo>
                    <a:pt x="64" y="600"/>
                  </a:lnTo>
                  <a:lnTo>
                    <a:pt x="61" y="600"/>
                  </a:lnTo>
                  <a:lnTo>
                    <a:pt x="59" y="600"/>
                  </a:lnTo>
                  <a:lnTo>
                    <a:pt x="58" y="599"/>
                  </a:lnTo>
                  <a:lnTo>
                    <a:pt x="58" y="599"/>
                  </a:lnTo>
                  <a:lnTo>
                    <a:pt x="57" y="598"/>
                  </a:lnTo>
                  <a:lnTo>
                    <a:pt x="56" y="597"/>
                  </a:lnTo>
                  <a:lnTo>
                    <a:pt x="55" y="595"/>
                  </a:lnTo>
                  <a:lnTo>
                    <a:pt x="55" y="594"/>
                  </a:lnTo>
                  <a:lnTo>
                    <a:pt x="54" y="592"/>
                  </a:lnTo>
                  <a:lnTo>
                    <a:pt x="54" y="591"/>
                  </a:lnTo>
                  <a:lnTo>
                    <a:pt x="54" y="587"/>
                  </a:lnTo>
                  <a:lnTo>
                    <a:pt x="54" y="584"/>
                  </a:lnTo>
                  <a:lnTo>
                    <a:pt x="56" y="576"/>
                  </a:lnTo>
                  <a:lnTo>
                    <a:pt x="56" y="574"/>
                  </a:lnTo>
                  <a:lnTo>
                    <a:pt x="56" y="571"/>
                  </a:lnTo>
                  <a:lnTo>
                    <a:pt x="56" y="569"/>
                  </a:lnTo>
                  <a:lnTo>
                    <a:pt x="56" y="568"/>
                  </a:lnTo>
                  <a:lnTo>
                    <a:pt x="56" y="567"/>
                  </a:lnTo>
                  <a:lnTo>
                    <a:pt x="55" y="566"/>
                  </a:lnTo>
                  <a:lnTo>
                    <a:pt x="54" y="565"/>
                  </a:lnTo>
                  <a:lnTo>
                    <a:pt x="53" y="565"/>
                  </a:lnTo>
                  <a:lnTo>
                    <a:pt x="51" y="565"/>
                  </a:lnTo>
                  <a:lnTo>
                    <a:pt x="49" y="566"/>
                  </a:lnTo>
                  <a:lnTo>
                    <a:pt x="46" y="567"/>
                  </a:lnTo>
                  <a:lnTo>
                    <a:pt x="44" y="568"/>
                  </a:lnTo>
                  <a:lnTo>
                    <a:pt x="37" y="569"/>
                  </a:lnTo>
                  <a:lnTo>
                    <a:pt x="35" y="569"/>
                  </a:lnTo>
                  <a:lnTo>
                    <a:pt x="34" y="569"/>
                  </a:lnTo>
                  <a:lnTo>
                    <a:pt x="32" y="569"/>
                  </a:lnTo>
                  <a:lnTo>
                    <a:pt x="30" y="569"/>
                  </a:lnTo>
                  <a:lnTo>
                    <a:pt x="28" y="568"/>
                  </a:lnTo>
                  <a:lnTo>
                    <a:pt x="27" y="567"/>
                  </a:lnTo>
                  <a:lnTo>
                    <a:pt x="25" y="566"/>
                  </a:lnTo>
                  <a:lnTo>
                    <a:pt x="24" y="564"/>
                  </a:lnTo>
                  <a:lnTo>
                    <a:pt x="23" y="563"/>
                  </a:lnTo>
                  <a:lnTo>
                    <a:pt x="20" y="560"/>
                  </a:lnTo>
                  <a:lnTo>
                    <a:pt x="14" y="553"/>
                  </a:lnTo>
                  <a:lnTo>
                    <a:pt x="8" y="546"/>
                  </a:lnTo>
                  <a:lnTo>
                    <a:pt x="2" y="539"/>
                  </a:lnTo>
                  <a:lnTo>
                    <a:pt x="1" y="537"/>
                  </a:lnTo>
                  <a:lnTo>
                    <a:pt x="0" y="536"/>
                  </a:lnTo>
                  <a:lnTo>
                    <a:pt x="0" y="535"/>
                  </a:lnTo>
                  <a:lnTo>
                    <a:pt x="1" y="532"/>
                  </a:lnTo>
                  <a:lnTo>
                    <a:pt x="8" y="520"/>
                  </a:lnTo>
                  <a:lnTo>
                    <a:pt x="10" y="516"/>
                  </a:lnTo>
                  <a:lnTo>
                    <a:pt x="12" y="512"/>
                  </a:lnTo>
                  <a:lnTo>
                    <a:pt x="13" y="507"/>
                  </a:lnTo>
                  <a:lnTo>
                    <a:pt x="14" y="504"/>
                  </a:lnTo>
                  <a:lnTo>
                    <a:pt x="14" y="501"/>
                  </a:lnTo>
                  <a:lnTo>
                    <a:pt x="14" y="499"/>
                  </a:lnTo>
                  <a:lnTo>
                    <a:pt x="13" y="494"/>
                  </a:lnTo>
                  <a:lnTo>
                    <a:pt x="14" y="491"/>
                  </a:lnTo>
                  <a:lnTo>
                    <a:pt x="14" y="489"/>
                  </a:lnTo>
                  <a:lnTo>
                    <a:pt x="14" y="488"/>
                  </a:lnTo>
                  <a:lnTo>
                    <a:pt x="15" y="486"/>
                  </a:lnTo>
                  <a:lnTo>
                    <a:pt x="16" y="485"/>
                  </a:lnTo>
                  <a:lnTo>
                    <a:pt x="17" y="483"/>
                  </a:lnTo>
                  <a:lnTo>
                    <a:pt x="20" y="479"/>
                  </a:lnTo>
                  <a:lnTo>
                    <a:pt x="24" y="475"/>
                  </a:lnTo>
                  <a:lnTo>
                    <a:pt x="28" y="469"/>
                  </a:lnTo>
                  <a:lnTo>
                    <a:pt x="30" y="466"/>
                  </a:lnTo>
                  <a:lnTo>
                    <a:pt x="32" y="463"/>
                  </a:lnTo>
                  <a:lnTo>
                    <a:pt x="34" y="460"/>
                  </a:lnTo>
                  <a:lnTo>
                    <a:pt x="35" y="457"/>
                  </a:lnTo>
                  <a:lnTo>
                    <a:pt x="35" y="455"/>
                  </a:lnTo>
                  <a:lnTo>
                    <a:pt x="35" y="452"/>
                  </a:lnTo>
                  <a:lnTo>
                    <a:pt x="35" y="450"/>
                  </a:lnTo>
                  <a:lnTo>
                    <a:pt x="35" y="448"/>
                  </a:lnTo>
                  <a:lnTo>
                    <a:pt x="35" y="446"/>
                  </a:lnTo>
                  <a:lnTo>
                    <a:pt x="34" y="444"/>
                  </a:lnTo>
                  <a:lnTo>
                    <a:pt x="34" y="443"/>
                  </a:lnTo>
                  <a:lnTo>
                    <a:pt x="33" y="442"/>
                  </a:lnTo>
                  <a:lnTo>
                    <a:pt x="31" y="438"/>
                  </a:lnTo>
                  <a:lnTo>
                    <a:pt x="28" y="434"/>
                  </a:lnTo>
                  <a:lnTo>
                    <a:pt x="25" y="432"/>
                  </a:lnTo>
                  <a:lnTo>
                    <a:pt x="17" y="422"/>
                  </a:lnTo>
                  <a:lnTo>
                    <a:pt x="14" y="421"/>
                  </a:lnTo>
                  <a:lnTo>
                    <a:pt x="13" y="418"/>
                  </a:lnTo>
                  <a:lnTo>
                    <a:pt x="12" y="416"/>
                  </a:lnTo>
                  <a:lnTo>
                    <a:pt x="12" y="414"/>
                  </a:lnTo>
                  <a:lnTo>
                    <a:pt x="11" y="413"/>
                  </a:lnTo>
                  <a:lnTo>
                    <a:pt x="11" y="410"/>
                  </a:lnTo>
                  <a:lnTo>
                    <a:pt x="11" y="408"/>
                  </a:lnTo>
                  <a:lnTo>
                    <a:pt x="12" y="399"/>
                  </a:lnTo>
                  <a:lnTo>
                    <a:pt x="12" y="389"/>
                  </a:lnTo>
                  <a:lnTo>
                    <a:pt x="13" y="385"/>
                  </a:lnTo>
                  <a:lnTo>
                    <a:pt x="14" y="382"/>
                  </a:lnTo>
                  <a:lnTo>
                    <a:pt x="15" y="379"/>
                  </a:lnTo>
                  <a:lnTo>
                    <a:pt x="16" y="376"/>
                  </a:lnTo>
                  <a:lnTo>
                    <a:pt x="18" y="373"/>
                  </a:lnTo>
                  <a:lnTo>
                    <a:pt x="21" y="368"/>
                  </a:lnTo>
                  <a:lnTo>
                    <a:pt x="24" y="363"/>
                  </a:lnTo>
                  <a:lnTo>
                    <a:pt x="25" y="359"/>
                  </a:lnTo>
                  <a:lnTo>
                    <a:pt x="28" y="355"/>
                  </a:lnTo>
                  <a:lnTo>
                    <a:pt x="30" y="353"/>
                  </a:lnTo>
                  <a:lnTo>
                    <a:pt x="35" y="348"/>
                  </a:lnTo>
                  <a:lnTo>
                    <a:pt x="45" y="336"/>
                  </a:lnTo>
                  <a:lnTo>
                    <a:pt x="46" y="334"/>
                  </a:lnTo>
                  <a:lnTo>
                    <a:pt x="48" y="331"/>
                  </a:lnTo>
                  <a:lnTo>
                    <a:pt x="50" y="328"/>
                  </a:lnTo>
                  <a:lnTo>
                    <a:pt x="52" y="325"/>
                  </a:lnTo>
                  <a:lnTo>
                    <a:pt x="54" y="321"/>
                  </a:lnTo>
                  <a:lnTo>
                    <a:pt x="55" y="319"/>
                  </a:lnTo>
                  <a:lnTo>
                    <a:pt x="55" y="316"/>
                  </a:lnTo>
                  <a:lnTo>
                    <a:pt x="56" y="313"/>
                  </a:lnTo>
                  <a:lnTo>
                    <a:pt x="56" y="311"/>
                  </a:lnTo>
                  <a:lnTo>
                    <a:pt x="56" y="308"/>
                  </a:lnTo>
                  <a:lnTo>
                    <a:pt x="56" y="306"/>
                  </a:lnTo>
                  <a:lnTo>
                    <a:pt x="56" y="302"/>
                  </a:lnTo>
                  <a:lnTo>
                    <a:pt x="55" y="296"/>
                  </a:lnTo>
                  <a:lnTo>
                    <a:pt x="54" y="289"/>
                  </a:lnTo>
                  <a:lnTo>
                    <a:pt x="53" y="285"/>
                  </a:lnTo>
                  <a:lnTo>
                    <a:pt x="52" y="282"/>
                  </a:lnTo>
                  <a:lnTo>
                    <a:pt x="51" y="278"/>
                  </a:lnTo>
                  <a:lnTo>
                    <a:pt x="50" y="275"/>
                  </a:lnTo>
                  <a:lnTo>
                    <a:pt x="49" y="273"/>
                  </a:lnTo>
                  <a:lnTo>
                    <a:pt x="47" y="270"/>
                  </a:lnTo>
                  <a:lnTo>
                    <a:pt x="48" y="270"/>
                  </a:lnTo>
                  <a:lnTo>
                    <a:pt x="50" y="268"/>
                  </a:lnTo>
                  <a:lnTo>
                    <a:pt x="52" y="266"/>
                  </a:lnTo>
                  <a:lnTo>
                    <a:pt x="54" y="263"/>
                  </a:lnTo>
                  <a:lnTo>
                    <a:pt x="56" y="261"/>
                  </a:lnTo>
                  <a:lnTo>
                    <a:pt x="57" y="259"/>
                  </a:lnTo>
                  <a:lnTo>
                    <a:pt x="58" y="257"/>
                  </a:lnTo>
                  <a:lnTo>
                    <a:pt x="59" y="254"/>
                  </a:lnTo>
                  <a:lnTo>
                    <a:pt x="60" y="251"/>
                  </a:lnTo>
                  <a:lnTo>
                    <a:pt x="61" y="247"/>
                  </a:lnTo>
                  <a:lnTo>
                    <a:pt x="62" y="241"/>
                  </a:lnTo>
                  <a:lnTo>
                    <a:pt x="64" y="232"/>
                  </a:lnTo>
                  <a:lnTo>
                    <a:pt x="65" y="229"/>
                  </a:lnTo>
                  <a:lnTo>
                    <a:pt x="66" y="226"/>
                  </a:lnTo>
                  <a:lnTo>
                    <a:pt x="68" y="223"/>
                  </a:lnTo>
                  <a:lnTo>
                    <a:pt x="69" y="219"/>
                  </a:lnTo>
                  <a:lnTo>
                    <a:pt x="73" y="215"/>
                  </a:lnTo>
                  <a:lnTo>
                    <a:pt x="87" y="198"/>
                  </a:lnTo>
                  <a:lnTo>
                    <a:pt x="92" y="193"/>
                  </a:lnTo>
                  <a:lnTo>
                    <a:pt x="94" y="190"/>
                  </a:lnTo>
                  <a:lnTo>
                    <a:pt x="97" y="188"/>
                  </a:lnTo>
                  <a:lnTo>
                    <a:pt x="102" y="184"/>
                  </a:lnTo>
                  <a:lnTo>
                    <a:pt x="103" y="183"/>
                  </a:lnTo>
                  <a:lnTo>
                    <a:pt x="106" y="181"/>
                  </a:lnTo>
                  <a:lnTo>
                    <a:pt x="112" y="174"/>
                  </a:lnTo>
                  <a:lnTo>
                    <a:pt x="114" y="172"/>
                  </a:lnTo>
                  <a:lnTo>
                    <a:pt x="116" y="171"/>
                  </a:lnTo>
                  <a:lnTo>
                    <a:pt x="119" y="170"/>
                  </a:lnTo>
                  <a:lnTo>
                    <a:pt x="122" y="168"/>
                  </a:lnTo>
                  <a:lnTo>
                    <a:pt x="124" y="167"/>
                  </a:lnTo>
                  <a:lnTo>
                    <a:pt x="130" y="164"/>
                  </a:lnTo>
                  <a:lnTo>
                    <a:pt x="133" y="163"/>
                  </a:lnTo>
                  <a:lnTo>
                    <a:pt x="136" y="161"/>
                  </a:lnTo>
                  <a:lnTo>
                    <a:pt x="138" y="160"/>
                  </a:lnTo>
                  <a:lnTo>
                    <a:pt x="140" y="158"/>
                  </a:lnTo>
                  <a:lnTo>
                    <a:pt x="143" y="155"/>
                  </a:lnTo>
                  <a:lnTo>
                    <a:pt x="151" y="145"/>
                  </a:lnTo>
                  <a:lnTo>
                    <a:pt x="157" y="139"/>
                  </a:lnTo>
                  <a:lnTo>
                    <a:pt x="160" y="137"/>
                  </a:lnTo>
                  <a:lnTo>
                    <a:pt x="161" y="135"/>
                  </a:lnTo>
                  <a:lnTo>
                    <a:pt x="163" y="134"/>
                  </a:lnTo>
                  <a:lnTo>
                    <a:pt x="165" y="133"/>
                  </a:lnTo>
                  <a:lnTo>
                    <a:pt x="167" y="133"/>
                  </a:lnTo>
                  <a:lnTo>
                    <a:pt x="169" y="133"/>
                  </a:lnTo>
                  <a:lnTo>
                    <a:pt x="172" y="134"/>
                  </a:lnTo>
                  <a:lnTo>
                    <a:pt x="177" y="135"/>
                  </a:lnTo>
                  <a:lnTo>
                    <a:pt x="180" y="135"/>
                  </a:lnTo>
                  <a:lnTo>
                    <a:pt x="183" y="136"/>
                  </a:lnTo>
                  <a:lnTo>
                    <a:pt x="186" y="136"/>
                  </a:lnTo>
                  <a:lnTo>
                    <a:pt x="189" y="135"/>
                  </a:lnTo>
                  <a:lnTo>
                    <a:pt x="191" y="135"/>
                  </a:lnTo>
                  <a:lnTo>
                    <a:pt x="192" y="134"/>
                  </a:lnTo>
                  <a:lnTo>
                    <a:pt x="193" y="133"/>
                  </a:lnTo>
                  <a:lnTo>
                    <a:pt x="194" y="133"/>
                  </a:lnTo>
                  <a:lnTo>
                    <a:pt x="194" y="132"/>
                  </a:lnTo>
                  <a:lnTo>
                    <a:pt x="194" y="131"/>
                  </a:lnTo>
                  <a:lnTo>
                    <a:pt x="195" y="129"/>
                  </a:lnTo>
                  <a:lnTo>
                    <a:pt x="197" y="127"/>
                  </a:lnTo>
                  <a:lnTo>
                    <a:pt x="198" y="122"/>
                  </a:lnTo>
                  <a:lnTo>
                    <a:pt x="199" y="117"/>
                  </a:lnTo>
                  <a:lnTo>
                    <a:pt x="199" y="113"/>
                  </a:lnTo>
                  <a:lnTo>
                    <a:pt x="200" y="107"/>
                  </a:lnTo>
                  <a:lnTo>
                    <a:pt x="201" y="85"/>
                  </a:lnTo>
                  <a:lnTo>
                    <a:pt x="202" y="85"/>
                  </a:lnTo>
                  <a:lnTo>
                    <a:pt x="202" y="86"/>
                  </a:lnTo>
                  <a:lnTo>
                    <a:pt x="203" y="86"/>
                  </a:lnTo>
                  <a:lnTo>
                    <a:pt x="204" y="85"/>
                  </a:lnTo>
                  <a:lnTo>
                    <a:pt x="206" y="85"/>
                  </a:lnTo>
                  <a:lnTo>
                    <a:pt x="207" y="83"/>
                  </a:lnTo>
                  <a:lnTo>
                    <a:pt x="209" y="82"/>
                  </a:lnTo>
                  <a:lnTo>
                    <a:pt x="212" y="81"/>
                  </a:lnTo>
                  <a:lnTo>
                    <a:pt x="218" y="75"/>
                  </a:lnTo>
                  <a:lnTo>
                    <a:pt x="221" y="72"/>
                  </a:lnTo>
                  <a:lnTo>
                    <a:pt x="224" y="70"/>
                  </a:lnTo>
                  <a:lnTo>
                    <a:pt x="228" y="69"/>
                  </a:lnTo>
                  <a:lnTo>
                    <a:pt x="233" y="66"/>
                  </a:lnTo>
                  <a:lnTo>
                    <a:pt x="238" y="64"/>
                  </a:lnTo>
                  <a:lnTo>
                    <a:pt x="243" y="63"/>
                  </a:lnTo>
                  <a:lnTo>
                    <a:pt x="249" y="61"/>
                  </a:lnTo>
                  <a:lnTo>
                    <a:pt x="252" y="61"/>
                  </a:lnTo>
                  <a:lnTo>
                    <a:pt x="256" y="60"/>
                  </a:lnTo>
                  <a:lnTo>
                    <a:pt x="260" y="60"/>
                  </a:lnTo>
                  <a:lnTo>
                    <a:pt x="264" y="60"/>
                  </a:lnTo>
                  <a:lnTo>
                    <a:pt x="271" y="60"/>
                  </a:lnTo>
                  <a:lnTo>
                    <a:pt x="285" y="61"/>
                  </a:lnTo>
                  <a:lnTo>
                    <a:pt x="289" y="61"/>
                  </a:lnTo>
                  <a:lnTo>
                    <a:pt x="293" y="60"/>
                  </a:lnTo>
                  <a:lnTo>
                    <a:pt x="297" y="60"/>
                  </a:lnTo>
                  <a:lnTo>
                    <a:pt x="300" y="60"/>
                  </a:lnTo>
                  <a:lnTo>
                    <a:pt x="303" y="59"/>
                  </a:lnTo>
                  <a:lnTo>
                    <a:pt x="312" y="57"/>
                  </a:lnTo>
                  <a:lnTo>
                    <a:pt x="315" y="57"/>
                  </a:lnTo>
                  <a:lnTo>
                    <a:pt x="318" y="57"/>
                  </a:lnTo>
                  <a:lnTo>
                    <a:pt x="320" y="57"/>
                  </a:lnTo>
                  <a:lnTo>
                    <a:pt x="323" y="57"/>
                  </a:lnTo>
                  <a:lnTo>
                    <a:pt x="326" y="58"/>
                  </a:lnTo>
                  <a:lnTo>
                    <a:pt x="331" y="59"/>
                  </a:lnTo>
                  <a:lnTo>
                    <a:pt x="332" y="60"/>
                  </a:lnTo>
                  <a:lnTo>
                    <a:pt x="335" y="61"/>
                  </a:lnTo>
                  <a:lnTo>
                    <a:pt x="338" y="61"/>
                  </a:lnTo>
                  <a:lnTo>
                    <a:pt x="342" y="61"/>
                  </a:lnTo>
                  <a:lnTo>
                    <a:pt x="344" y="61"/>
                  </a:lnTo>
                  <a:lnTo>
                    <a:pt x="348" y="60"/>
                  </a:lnTo>
                  <a:lnTo>
                    <a:pt x="352" y="59"/>
                  </a:lnTo>
                  <a:lnTo>
                    <a:pt x="356" y="57"/>
                  </a:lnTo>
                  <a:lnTo>
                    <a:pt x="360" y="55"/>
                  </a:lnTo>
                  <a:lnTo>
                    <a:pt x="364" y="52"/>
                  </a:lnTo>
                  <a:lnTo>
                    <a:pt x="367" y="49"/>
                  </a:lnTo>
                  <a:lnTo>
                    <a:pt x="372" y="46"/>
                  </a:lnTo>
                  <a:lnTo>
                    <a:pt x="376" y="41"/>
                  </a:lnTo>
                  <a:lnTo>
                    <a:pt x="380" y="37"/>
                  </a:lnTo>
                  <a:lnTo>
                    <a:pt x="384" y="33"/>
                  </a:lnTo>
                  <a:lnTo>
                    <a:pt x="387" y="30"/>
                  </a:lnTo>
                  <a:lnTo>
                    <a:pt x="388" y="27"/>
                  </a:lnTo>
                  <a:lnTo>
                    <a:pt x="390" y="25"/>
                  </a:lnTo>
                  <a:lnTo>
                    <a:pt x="391" y="22"/>
                  </a:lnTo>
                  <a:lnTo>
                    <a:pt x="392" y="20"/>
                  </a:lnTo>
                  <a:lnTo>
                    <a:pt x="393" y="17"/>
                  </a:lnTo>
                  <a:lnTo>
                    <a:pt x="397" y="6"/>
                  </a:lnTo>
                  <a:lnTo>
                    <a:pt x="398" y="3"/>
                  </a:lnTo>
                  <a:lnTo>
                    <a:pt x="398" y="2"/>
                  </a:lnTo>
                  <a:lnTo>
                    <a:pt x="399" y="1"/>
                  </a:lnTo>
                  <a:lnTo>
                    <a:pt x="400" y="1"/>
                  </a:lnTo>
                  <a:lnTo>
                    <a:pt x="401" y="0"/>
                  </a:lnTo>
                  <a:lnTo>
                    <a:pt x="403" y="0"/>
                  </a:lnTo>
                  <a:lnTo>
                    <a:pt x="405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6" name="Freeform 79">
              <a:extLst>
                <a:ext uri="{FF2B5EF4-FFF2-40B4-BE49-F238E27FC236}">
                  <a16:creationId xmlns:a16="http://schemas.microsoft.com/office/drawing/2014/main" id="{436F2D99-843B-4C44-833A-449B7CA5EE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9" y="2454"/>
              <a:ext cx="516" cy="428"/>
            </a:xfrm>
            <a:custGeom>
              <a:avLst/>
              <a:gdLst>
                <a:gd name="T0" fmla="*/ 117 w 516"/>
                <a:gd name="T1" fmla="*/ 18 h 428"/>
                <a:gd name="T2" fmla="*/ 134 w 516"/>
                <a:gd name="T3" fmla="*/ 18 h 428"/>
                <a:gd name="T4" fmla="*/ 153 w 516"/>
                <a:gd name="T5" fmla="*/ 3 h 428"/>
                <a:gd name="T6" fmla="*/ 158 w 516"/>
                <a:gd name="T7" fmla="*/ 10 h 428"/>
                <a:gd name="T8" fmla="*/ 170 w 516"/>
                <a:gd name="T9" fmla="*/ 20 h 428"/>
                <a:gd name="T10" fmla="*/ 201 w 516"/>
                <a:gd name="T11" fmla="*/ 18 h 428"/>
                <a:gd name="T12" fmla="*/ 238 w 516"/>
                <a:gd name="T13" fmla="*/ 35 h 428"/>
                <a:gd name="T14" fmla="*/ 265 w 516"/>
                <a:gd name="T15" fmla="*/ 41 h 428"/>
                <a:gd name="T16" fmla="*/ 283 w 516"/>
                <a:gd name="T17" fmla="*/ 51 h 428"/>
                <a:gd name="T18" fmla="*/ 323 w 516"/>
                <a:gd name="T19" fmla="*/ 43 h 428"/>
                <a:gd name="T20" fmla="*/ 337 w 516"/>
                <a:gd name="T21" fmla="*/ 39 h 428"/>
                <a:gd name="T22" fmla="*/ 374 w 516"/>
                <a:gd name="T23" fmla="*/ 51 h 428"/>
                <a:gd name="T24" fmla="*/ 398 w 516"/>
                <a:gd name="T25" fmla="*/ 63 h 428"/>
                <a:gd name="T26" fmla="*/ 419 w 516"/>
                <a:gd name="T27" fmla="*/ 77 h 428"/>
                <a:gd name="T28" fmla="*/ 444 w 516"/>
                <a:gd name="T29" fmla="*/ 76 h 428"/>
                <a:gd name="T30" fmla="*/ 462 w 516"/>
                <a:gd name="T31" fmla="*/ 80 h 428"/>
                <a:gd name="T32" fmla="*/ 473 w 516"/>
                <a:gd name="T33" fmla="*/ 96 h 428"/>
                <a:gd name="T34" fmla="*/ 491 w 516"/>
                <a:gd name="T35" fmla="*/ 166 h 428"/>
                <a:gd name="T36" fmla="*/ 504 w 516"/>
                <a:gd name="T37" fmla="*/ 208 h 428"/>
                <a:gd name="T38" fmla="*/ 516 w 516"/>
                <a:gd name="T39" fmla="*/ 237 h 428"/>
                <a:gd name="T40" fmla="*/ 509 w 516"/>
                <a:gd name="T41" fmla="*/ 265 h 428"/>
                <a:gd name="T42" fmla="*/ 486 w 516"/>
                <a:gd name="T43" fmla="*/ 276 h 428"/>
                <a:gd name="T44" fmla="*/ 443 w 516"/>
                <a:gd name="T45" fmla="*/ 299 h 428"/>
                <a:gd name="T46" fmla="*/ 414 w 516"/>
                <a:gd name="T47" fmla="*/ 296 h 428"/>
                <a:gd name="T48" fmla="*/ 375 w 516"/>
                <a:gd name="T49" fmla="*/ 292 h 428"/>
                <a:gd name="T50" fmla="*/ 331 w 516"/>
                <a:gd name="T51" fmla="*/ 297 h 428"/>
                <a:gd name="T52" fmla="*/ 309 w 516"/>
                <a:gd name="T53" fmla="*/ 291 h 428"/>
                <a:gd name="T54" fmla="*/ 290 w 516"/>
                <a:gd name="T55" fmla="*/ 298 h 428"/>
                <a:gd name="T56" fmla="*/ 279 w 516"/>
                <a:gd name="T57" fmla="*/ 313 h 428"/>
                <a:gd name="T58" fmla="*/ 278 w 516"/>
                <a:gd name="T59" fmla="*/ 337 h 428"/>
                <a:gd name="T60" fmla="*/ 248 w 516"/>
                <a:gd name="T61" fmla="*/ 380 h 428"/>
                <a:gd name="T62" fmla="*/ 222 w 516"/>
                <a:gd name="T63" fmla="*/ 415 h 428"/>
                <a:gd name="T64" fmla="*/ 200 w 516"/>
                <a:gd name="T65" fmla="*/ 427 h 428"/>
                <a:gd name="T66" fmla="*/ 178 w 516"/>
                <a:gd name="T67" fmla="*/ 427 h 428"/>
                <a:gd name="T68" fmla="*/ 155 w 516"/>
                <a:gd name="T69" fmla="*/ 417 h 428"/>
                <a:gd name="T70" fmla="*/ 150 w 516"/>
                <a:gd name="T71" fmla="*/ 397 h 428"/>
                <a:gd name="T72" fmla="*/ 136 w 516"/>
                <a:gd name="T73" fmla="*/ 374 h 428"/>
                <a:gd name="T74" fmla="*/ 110 w 516"/>
                <a:gd name="T75" fmla="*/ 359 h 428"/>
                <a:gd name="T76" fmla="*/ 93 w 516"/>
                <a:gd name="T77" fmla="*/ 326 h 428"/>
                <a:gd name="T78" fmla="*/ 86 w 516"/>
                <a:gd name="T79" fmla="*/ 319 h 428"/>
                <a:gd name="T80" fmla="*/ 79 w 516"/>
                <a:gd name="T81" fmla="*/ 291 h 428"/>
                <a:gd name="T82" fmla="*/ 57 w 516"/>
                <a:gd name="T83" fmla="*/ 268 h 428"/>
                <a:gd name="T84" fmla="*/ 48 w 516"/>
                <a:gd name="T85" fmla="*/ 255 h 428"/>
                <a:gd name="T86" fmla="*/ 46 w 516"/>
                <a:gd name="T87" fmla="*/ 229 h 428"/>
                <a:gd name="T88" fmla="*/ 20 w 516"/>
                <a:gd name="T89" fmla="*/ 187 h 428"/>
                <a:gd name="T90" fmla="*/ 4 w 516"/>
                <a:gd name="T91" fmla="*/ 152 h 428"/>
                <a:gd name="T92" fmla="*/ 3 w 516"/>
                <a:gd name="T93" fmla="*/ 97 h 428"/>
                <a:gd name="T94" fmla="*/ 5 w 516"/>
                <a:gd name="T95" fmla="*/ 76 h 428"/>
                <a:gd name="T96" fmla="*/ 23 w 516"/>
                <a:gd name="T97" fmla="*/ 50 h 428"/>
                <a:gd name="T98" fmla="*/ 20 w 516"/>
                <a:gd name="T99" fmla="*/ 33 h 428"/>
                <a:gd name="T100" fmla="*/ 26 w 516"/>
                <a:gd name="T101" fmla="*/ 29 h 428"/>
                <a:gd name="T102" fmla="*/ 46 w 516"/>
                <a:gd name="T103" fmla="*/ 36 h 428"/>
                <a:gd name="T104" fmla="*/ 57 w 516"/>
                <a:gd name="T105" fmla="*/ 26 h 428"/>
                <a:gd name="T106" fmla="*/ 73 w 516"/>
                <a:gd name="T107" fmla="*/ 15 h 428"/>
                <a:gd name="T108" fmla="*/ 98 w 516"/>
                <a:gd name="T109" fmla="*/ 14 h 428"/>
                <a:gd name="T110" fmla="*/ 109 w 516"/>
                <a:gd name="T111" fmla="*/ 3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6" h="428">
                  <a:moveTo>
                    <a:pt x="111" y="2"/>
                  </a:moveTo>
                  <a:lnTo>
                    <a:pt x="112" y="3"/>
                  </a:lnTo>
                  <a:lnTo>
                    <a:pt x="114" y="5"/>
                  </a:lnTo>
                  <a:lnTo>
                    <a:pt x="114" y="6"/>
                  </a:lnTo>
                  <a:lnTo>
                    <a:pt x="115" y="9"/>
                  </a:lnTo>
                  <a:lnTo>
                    <a:pt x="115" y="11"/>
                  </a:lnTo>
                  <a:lnTo>
                    <a:pt x="116" y="17"/>
                  </a:lnTo>
                  <a:lnTo>
                    <a:pt x="117" y="18"/>
                  </a:lnTo>
                  <a:lnTo>
                    <a:pt x="117" y="19"/>
                  </a:lnTo>
                  <a:lnTo>
                    <a:pt x="118" y="20"/>
                  </a:lnTo>
                  <a:lnTo>
                    <a:pt x="120" y="21"/>
                  </a:lnTo>
                  <a:lnTo>
                    <a:pt x="121" y="21"/>
                  </a:lnTo>
                  <a:lnTo>
                    <a:pt x="124" y="22"/>
                  </a:lnTo>
                  <a:lnTo>
                    <a:pt x="126" y="21"/>
                  </a:lnTo>
                  <a:lnTo>
                    <a:pt x="129" y="21"/>
                  </a:lnTo>
                  <a:lnTo>
                    <a:pt x="134" y="18"/>
                  </a:lnTo>
                  <a:lnTo>
                    <a:pt x="143" y="16"/>
                  </a:lnTo>
                  <a:lnTo>
                    <a:pt x="145" y="15"/>
                  </a:lnTo>
                  <a:lnTo>
                    <a:pt x="146" y="14"/>
                  </a:lnTo>
                  <a:lnTo>
                    <a:pt x="147" y="14"/>
                  </a:lnTo>
                  <a:lnTo>
                    <a:pt x="148" y="13"/>
                  </a:lnTo>
                  <a:lnTo>
                    <a:pt x="148" y="11"/>
                  </a:lnTo>
                  <a:lnTo>
                    <a:pt x="150" y="8"/>
                  </a:lnTo>
                  <a:lnTo>
                    <a:pt x="153" y="3"/>
                  </a:lnTo>
                  <a:lnTo>
                    <a:pt x="155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7" y="3"/>
                  </a:lnTo>
                  <a:lnTo>
                    <a:pt x="158" y="7"/>
                  </a:lnTo>
                  <a:lnTo>
                    <a:pt x="158" y="10"/>
                  </a:lnTo>
                  <a:lnTo>
                    <a:pt x="159" y="12"/>
                  </a:lnTo>
                  <a:lnTo>
                    <a:pt x="160" y="15"/>
                  </a:lnTo>
                  <a:lnTo>
                    <a:pt x="161" y="16"/>
                  </a:lnTo>
                  <a:lnTo>
                    <a:pt x="163" y="17"/>
                  </a:lnTo>
                  <a:lnTo>
                    <a:pt x="165" y="19"/>
                  </a:lnTo>
                  <a:lnTo>
                    <a:pt x="167" y="20"/>
                  </a:lnTo>
                  <a:lnTo>
                    <a:pt x="169" y="20"/>
                  </a:lnTo>
                  <a:lnTo>
                    <a:pt x="170" y="20"/>
                  </a:lnTo>
                  <a:lnTo>
                    <a:pt x="171" y="21"/>
                  </a:lnTo>
                  <a:lnTo>
                    <a:pt x="173" y="20"/>
                  </a:lnTo>
                  <a:lnTo>
                    <a:pt x="177" y="20"/>
                  </a:lnTo>
                  <a:lnTo>
                    <a:pt x="188" y="18"/>
                  </a:lnTo>
                  <a:lnTo>
                    <a:pt x="192" y="18"/>
                  </a:lnTo>
                  <a:lnTo>
                    <a:pt x="195" y="18"/>
                  </a:lnTo>
                  <a:lnTo>
                    <a:pt x="198" y="18"/>
                  </a:lnTo>
                  <a:lnTo>
                    <a:pt x="201" y="18"/>
                  </a:lnTo>
                  <a:lnTo>
                    <a:pt x="204" y="19"/>
                  </a:lnTo>
                  <a:lnTo>
                    <a:pt x="206" y="20"/>
                  </a:lnTo>
                  <a:lnTo>
                    <a:pt x="210" y="21"/>
                  </a:lnTo>
                  <a:lnTo>
                    <a:pt x="213" y="22"/>
                  </a:lnTo>
                  <a:lnTo>
                    <a:pt x="216" y="24"/>
                  </a:lnTo>
                  <a:lnTo>
                    <a:pt x="225" y="28"/>
                  </a:lnTo>
                  <a:lnTo>
                    <a:pt x="231" y="32"/>
                  </a:lnTo>
                  <a:lnTo>
                    <a:pt x="238" y="35"/>
                  </a:lnTo>
                  <a:lnTo>
                    <a:pt x="241" y="37"/>
                  </a:lnTo>
                  <a:lnTo>
                    <a:pt x="243" y="38"/>
                  </a:lnTo>
                  <a:lnTo>
                    <a:pt x="246" y="38"/>
                  </a:lnTo>
                  <a:lnTo>
                    <a:pt x="255" y="39"/>
                  </a:lnTo>
                  <a:lnTo>
                    <a:pt x="259" y="39"/>
                  </a:lnTo>
                  <a:lnTo>
                    <a:pt x="261" y="39"/>
                  </a:lnTo>
                  <a:lnTo>
                    <a:pt x="263" y="40"/>
                  </a:lnTo>
                  <a:lnTo>
                    <a:pt x="265" y="41"/>
                  </a:lnTo>
                  <a:lnTo>
                    <a:pt x="268" y="43"/>
                  </a:lnTo>
                  <a:lnTo>
                    <a:pt x="270" y="44"/>
                  </a:lnTo>
                  <a:lnTo>
                    <a:pt x="273" y="48"/>
                  </a:lnTo>
                  <a:lnTo>
                    <a:pt x="275" y="50"/>
                  </a:lnTo>
                  <a:lnTo>
                    <a:pt x="276" y="50"/>
                  </a:lnTo>
                  <a:lnTo>
                    <a:pt x="277" y="50"/>
                  </a:lnTo>
                  <a:lnTo>
                    <a:pt x="280" y="51"/>
                  </a:lnTo>
                  <a:lnTo>
                    <a:pt x="283" y="51"/>
                  </a:lnTo>
                  <a:lnTo>
                    <a:pt x="295" y="53"/>
                  </a:lnTo>
                  <a:lnTo>
                    <a:pt x="297" y="53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303" y="52"/>
                  </a:lnTo>
                  <a:lnTo>
                    <a:pt x="308" y="50"/>
                  </a:lnTo>
                  <a:lnTo>
                    <a:pt x="318" y="45"/>
                  </a:lnTo>
                  <a:lnTo>
                    <a:pt x="323" y="43"/>
                  </a:lnTo>
                  <a:lnTo>
                    <a:pt x="325" y="42"/>
                  </a:lnTo>
                  <a:lnTo>
                    <a:pt x="328" y="41"/>
                  </a:lnTo>
                  <a:lnTo>
                    <a:pt x="335" y="39"/>
                  </a:lnTo>
                  <a:lnTo>
                    <a:pt x="336" y="39"/>
                  </a:lnTo>
                  <a:lnTo>
                    <a:pt x="336" y="39"/>
                  </a:lnTo>
                  <a:lnTo>
                    <a:pt x="336" y="39"/>
                  </a:lnTo>
                  <a:lnTo>
                    <a:pt x="336" y="39"/>
                  </a:lnTo>
                  <a:lnTo>
                    <a:pt x="337" y="39"/>
                  </a:lnTo>
                  <a:lnTo>
                    <a:pt x="339" y="40"/>
                  </a:lnTo>
                  <a:lnTo>
                    <a:pt x="341" y="42"/>
                  </a:lnTo>
                  <a:lnTo>
                    <a:pt x="345" y="43"/>
                  </a:lnTo>
                  <a:lnTo>
                    <a:pt x="349" y="45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9" y="50"/>
                  </a:lnTo>
                  <a:lnTo>
                    <a:pt x="374" y="51"/>
                  </a:lnTo>
                  <a:lnTo>
                    <a:pt x="380" y="52"/>
                  </a:lnTo>
                  <a:lnTo>
                    <a:pt x="382" y="53"/>
                  </a:lnTo>
                  <a:lnTo>
                    <a:pt x="386" y="54"/>
                  </a:lnTo>
                  <a:lnTo>
                    <a:pt x="388" y="55"/>
                  </a:lnTo>
                  <a:lnTo>
                    <a:pt x="390" y="56"/>
                  </a:lnTo>
                  <a:lnTo>
                    <a:pt x="391" y="57"/>
                  </a:lnTo>
                  <a:lnTo>
                    <a:pt x="394" y="59"/>
                  </a:lnTo>
                  <a:lnTo>
                    <a:pt x="398" y="63"/>
                  </a:lnTo>
                  <a:lnTo>
                    <a:pt x="404" y="69"/>
                  </a:lnTo>
                  <a:lnTo>
                    <a:pt x="405" y="71"/>
                  </a:lnTo>
                  <a:lnTo>
                    <a:pt x="407" y="72"/>
                  </a:lnTo>
                  <a:lnTo>
                    <a:pt x="409" y="73"/>
                  </a:lnTo>
                  <a:lnTo>
                    <a:pt x="410" y="73"/>
                  </a:lnTo>
                  <a:lnTo>
                    <a:pt x="412" y="74"/>
                  </a:lnTo>
                  <a:lnTo>
                    <a:pt x="416" y="76"/>
                  </a:lnTo>
                  <a:lnTo>
                    <a:pt x="419" y="77"/>
                  </a:lnTo>
                  <a:lnTo>
                    <a:pt x="421" y="78"/>
                  </a:lnTo>
                  <a:lnTo>
                    <a:pt x="423" y="78"/>
                  </a:lnTo>
                  <a:lnTo>
                    <a:pt x="425" y="78"/>
                  </a:lnTo>
                  <a:lnTo>
                    <a:pt x="428" y="78"/>
                  </a:lnTo>
                  <a:lnTo>
                    <a:pt x="430" y="78"/>
                  </a:lnTo>
                  <a:lnTo>
                    <a:pt x="432" y="78"/>
                  </a:lnTo>
                  <a:lnTo>
                    <a:pt x="439" y="77"/>
                  </a:lnTo>
                  <a:lnTo>
                    <a:pt x="444" y="76"/>
                  </a:lnTo>
                  <a:lnTo>
                    <a:pt x="446" y="76"/>
                  </a:lnTo>
                  <a:lnTo>
                    <a:pt x="449" y="76"/>
                  </a:lnTo>
                  <a:lnTo>
                    <a:pt x="451" y="76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7" y="78"/>
                  </a:lnTo>
                  <a:lnTo>
                    <a:pt x="459" y="79"/>
                  </a:lnTo>
                  <a:lnTo>
                    <a:pt x="462" y="80"/>
                  </a:lnTo>
                  <a:lnTo>
                    <a:pt x="464" y="82"/>
                  </a:lnTo>
                  <a:lnTo>
                    <a:pt x="466" y="83"/>
                  </a:lnTo>
                  <a:lnTo>
                    <a:pt x="466" y="84"/>
                  </a:lnTo>
                  <a:lnTo>
                    <a:pt x="468" y="85"/>
                  </a:lnTo>
                  <a:lnTo>
                    <a:pt x="469" y="87"/>
                  </a:lnTo>
                  <a:lnTo>
                    <a:pt x="471" y="90"/>
                  </a:lnTo>
                  <a:lnTo>
                    <a:pt x="472" y="93"/>
                  </a:lnTo>
                  <a:lnTo>
                    <a:pt x="473" y="96"/>
                  </a:lnTo>
                  <a:lnTo>
                    <a:pt x="475" y="101"/>
                  </a:lnTo>
                  <a:lnTo>
                    <a:pt x="477" y="111"/>
                  </a:lnTo>
                  <a:lnTo>
                    <a:pt x="478" y="121"/>
                  </a:lnTo>
                  <a:lnTo>
                    <a:pt x="481" y="129"/>
                  </a:lnTo>
                  <a:lnTo>
                    <a:pt x="484" y="140"/>
                  </a:lnTo>
                  <a:lnTo>
                    <a:pt x="487" y="150"/>
                  </a:lnTo>
                  <a:lnTo>
                    <a:pt x="490" y="163"/>
                  </a:lnTo>
                  <a:lnTo>
                    <a:pt x="491" y="166"/>
                  </a:lnTo>
                  <a:lnTo>
                    <a:pt x="493" y="171"/>
                  </a:lnTo>
                  <a:lnTo>
                    <a:pt x="496" y="178"/>
                  </a:lnTo>
                  <a:lnTo>
                    <a:pt x="498" y="181"/>
                  </a:lnTo>
                  <a:lnTo>
                    <a:pt x="498" y="185"/>
                  </a:lnTo>
                  <a:lnTo>
                    <a:pt x="500" y="194"/>
                  </a:lnTo>
                  <a:lnTo>
                    <a:pt x="501" y="199"/>
                  </a:lnTo>
                  <a:lnTo>
                    <a:pt x="502" y="202"/>
                  </a:lnTo>
                  <a:lnTo>
                    <a:pt x="504" y="208"/>
                  </a:lnTo>
                  <a:lnTo>
                    <a:pt x="505" y="211"/>
                  </a:lnTo>
                  <a:lnTo>
                    <a:pt x="507" y="214"/>
                  </a:lnTo>
                  <a:lnTo>
                    <a:pt x="511" y="220"/>
                  </a:lnTo>
                  <a:lnTo>
                    <a:pt x="512" y="225"/>
                  </a:lnTo>
                  <a:lnTo>
                    <a:pt x="514" y="229"/>
                  </a:lnTo>
                  <a:lnTo>
                    <a:pt x="515" y="232"/>
                  </a:lnTo>
                  <a:lnTo>
                    <a:pt x="516" y="234"/>
                  </a:lnTo>
                  <a:lnTo>
                    <a:pt x="516" y="237"/>
                  </a:lnTo>
                  <a:lnTo>
                    <a:pt x="516" y="240"/>
                  </a:lnTo>
                  <a:lnTo>
                    <a:pt x="515" y="243"/>
                  </a:lnTo>
                  <a:lnTo>
                    <a:pt x="515" y="245"/>
                  </a:lnTo>
                  <a:lnTo>
                    <a:pt x="512" y="251"/>
                  </a:lnTo>
                  <a:lnTo>
                    <a:pt x="511" y="257"/>
                  </a:lnTo>
                  <a:lnTo>
                    <a:pt x="510" y="263"/>
                  </a:lnTo>
                  <a:lnTo>
                    <a:pt x="509" y="265"/>
                  </a:lnTo>
                  <a:lnTo>
                    <a:pt x="509" y="265"/>
                  </a:lnTo>
                  <a:lnTo>
                    <a:pt x="508" y="266"/>
                  </a:lnTo>
                  <a:lnTo>
                    <a:pt x="506" y="267"/>
                  </a:lnTo>
                  <a:lnTo>
                    <a:pt x="504" y="268"/>
                  </a:lnTo>
                  <a:lnTo>
                    <a:pt x="502" y="269"/>
                  </a:lnTo>
                  <a:lnTo>
                    <a:pt x="501" y="270"/>
                  </a:lnTo>
                  <a:lnTo>
                    <a:pt x="492" y="273"/>
                  </a:lnTo>
                  <a:lnTo>
                    <a:pt x="489" y="274"/>
                  </a:lnTo>
                  <a:lnTo>
                    <a:pt x="486" y="276"/>
                  </a:lnTo>
                  <a:lnTo>
                    <a:pt x="482" y="277"/>
                  </a:lnTo>
                  <a:lnTo>
                    <a:pt x="473" y="282"/>
                  </a:lnTo>
                  <a:lnTo>
                    <a:pt x="467" y="285"/>
                  </a:lnTo>
                  <a:lnTo>
                    <a:pt x="462" y="288"/>
                  </a:lnTo>
                  <a:lnTo>
                    <a:pt x="453" y="295"/>
                  </a:lnTo>
                  <a:lnTo>
                    <a:pt x="449" y="297"/>
                  </a:lnTo>
                  <a:lnTo>
                    <a:pt x="445" y="299"/>
                  </a:lnTo>
                  <a:lnTo>
                    <a:pt x="443" y="299"/>
                  </a:lnTo>
                  <a:lnTo>
                    <a:pt x="441" y="300"/>
                  </a:lnTo>
                  <a:lnTo>
                    <a:pt x="438" y="300"/>
                  </a:lnTo>
                  <a:lnTo>
                    <a:pt x="435" y="300"/>
                  </a:lnTo>
                  <a:lnTo>
                    <a:pt x="433" y="300"/>
                  </a:lnTo>
                  <a:lnTo>
                    <a:pt x="432" y="300"/>
                  </a:lnTo>
                  <a:lnTo>
                    <a:pt x="429" y="300"/>
                  </a:lnTo>
                  <a:lnTo>
                    <a:pt x="425" y="299"/>
                  </a:lnTo>
                  <a:lnTo>
                    <a:pt x="414" y="296"/>
                  </a:lnTo>
                  <a:lnTo>
                    <a:pt x="410" y="295"/>
                  </a:lnTo>
                  <a:lnTo>
                    <a:pt x="408" y="295"/>
                  </a:lnTo>
                  <a:lnTo>
                    <a:pt x="404" y="294"/>
                  </a:lnTo>
                  <a:lnTo>
                    <a:pt x="396" y="293"/>
                  </a:lnTo>
                  <a:lnTo>
                    <a:pt x="387" y="291"/>
                  </a:lnTo>
                  <a:lnTo>
                    <a:pt x="384" y="291"/>
                  </a:lnTo>
                  <a:lnTo>
                    <a:pt x="380" y="291"/>
                  </a:lnTo>
                  <a:lnTo>
                    <a:pt x="375" y="292"/>
                  </a:lnTo>
                  <a:lnTo>
                    <a:pt x="367" y="294"/>
                  </a:lnTo>
                  <a:lnTo>
                    <a:pt x="353" y="297"/>
                  </a:lnTo>
                  <a:lnTo>
                    <a:pt x="347" y="298"/>
                  </a:lnTo>
                  <a:lnTo>
                    <a:pt x="341" y="298"/>
                  </a:lnTo>
                  <a:lnTo>
                    <a:pt x="340" y="298"/>
                  </a:lnTo>
                  <a:lnTo>
                    <a:pt x="337" y="298"/>
                  </a:lnTo>
                  <a:lnTo>
                    <a:pt x="334" y="298"/>
                  </a:lnTo>
                  <a:lnTo>
                    <a:pt x="331" y="297"/>
                  </a:lnTo>
                  <a:lnTo>
                    <a:pt x="330" y="297"/>
                  </a:lnTo>
                  <a:lnTo>
                    <a:pt x="328" y="296"/>
                  </a:lnTo>
                  <a:lnTo>
                    <a:pt x="322" y="293"/>
                  </a:lnTo>
                  <a:lnTo>
                    <a:pt x="320" y="292"/>
                  </a:lnTo>
                  <a:lnTo>
                    <a:pt x="318" y="291"/>
                  </a:lnTo>
                  <a:lnTo>
                    <a:pt x="314" y="291"/>
                  </a:lnTo>
                  <a:lnTo>
                    <a:pt x="312" y="291"/>
                  </a:lnTo>
                  <a:lnTo>
                    <a:pt x="309" y="291"/>
                  </a:lnTo>
                  <a:lnTo>
                    <a:pt x="307" y="291"/>
                  </a:lnTo>
                  <a:lnTo>
                    <a:pt x="304" y="292"/>
                  </a:lnTo>
                  <a:lnTo>
                    <a:pt x="301" y="292"/>
                  </a:lnTo>
                  <a:lnTo>
                    <a:pt x="299" y="293"/>
                  </a:lnTo>
                  <a:lnTo>
                    <a:pt x="296" y="294"/>
                  </a:lnTo>
                  <a:lnTo>
                    <a:pt x="295" y="295"/>
                  </a:lnTo>
                  <a:lnTo>
                    <a:pt x="292" y="297"/>
                  </a:lnTo>
                  <a:lnTo>
                    <a:pt x="290" y="298"/>
                  </a:lnTo>
                  <a:lnTo>
                    <a:pt x="288" y="299"/>
                  </a:lnTo>
                  <a:lnTo>
                    <a:pt x="285" y="301"/>
                  </a:lnTo>
                  <a:lnTo>
                    <a:pt x="285" y="303"/>
                  </a:lnTo>
                  <a:lnTo>
                    <a:pt x="283" y="305"/>
                  </a:lnTo>
                  <a:lnTo>
                    <a:pt x="282" y="308"/>
                  </a:lnTo>
                  <a:lnTo>
                    <a:pt x="280" y="311"/>
                  </a:lnTo>
                  <a:lnTo>
                    <a:pt x="280" y="312"/>
                  </a:lnTo>
                  <a:lnTo>
                    <a:pt x="279" y="313"/>
                  </a:lnTo>
                  <a:lnTo>
                    <a:pt x="279" y="316"/>
                  </a:lnTo>
                  <a:lnTo>
                    <a:pt x="278" y="318"/>
                  </a:lnTo>
                  <a:lnTo>
                    <a:pt x="278" y="321"/>
                  </a:lnTo>
                  <a:lnTo>
                    <a:pt x="279" y="327"/>
                  </a:lnTo>
                  <a:lnTo>
                    <a:pt x="279" y="330"/>
                  </a:lnTo>
                  <a:lnTo>
                    <a:pt x="279" y="333"/>
                  </a:lnTo>
                  <a:lnTo>
                    <a:pt x="278" y="335"/>
                  </a:lnTo>
                  <a:lnTo>
                    <a:pt x="278" y="337"/>
                  </a:lnTo>
                  <a:lnTo>
                    <a:pt x="277" y="340"/>
                  </a:lnTo>
                  <a:lnTo>
                    <a:pt x="275" y="343"/>
                  </a:lnTo>
                  <a:lnTo>
                    <a:pt x="273" y="346"/>
                  </a:lnTo>
                  <a:lnTo>
                    <a:pt x="271" y="351"/>
                  </a:lnTo>
                  <a:lnTo>
                    <a:pt x="264" y="359"/>
                  </a:lnTo>
                  <a:lnTo>
                    <a:pt x="262" y="362"/>
                  </a:lnTo>
                  <a:lnTo>
                    <a:pt x="255" y="371"/>
                  </a:lnTo>
                  <a:lnTo>
                    <a:pt x="248" y="380"/>
                  </a:lnTo>
                  <a:lnTo>
                    <a:pt x="246" y="382"/>
                  </a:lnTo>
                  <a:lnTo>
                    <a:pt x="243" y="387"/>
                  </a:lnTo>
                  <a:lnTo>
                    <a:pt x="239" y="394"/>
                  </a:lnTo>
                  <a:lnTo>
                    <a:pt x="231" y="405"/>
                  </a:lnTo>
                  <a:lnTo>
                    <a:pt x="229" y="408"/>
                  </a:lnTo>
                  <a:lnTo>
                    <a:pt x="228" y="411"/>
                  </a:lnTo>
                  <a:lnTo>
                    <a:pt x="225" y="413"/>
                  </a:lnTo>
                  <a:lnTo>
                    <a:pt x="222" y="415"/>
                  </a:lnTo>
                  <a:lnTo>
                    <a:pt x="220" y="417"/>
                  </a:lnTo>
                  <a:lnTo>
                    <a:pt x="217" y="420"/>
                  </a:lnTo>
                  <a:lnTo>
                    <a:pt x="215" y="422"/>
                  </a:lnTo>
                  <a:lnTo>
                    <a:pt x="211" y="424"/>
                  </a:lnTo>
                  <a:lnTo>
                    <a:pt x="208" y="424"/>
                  </a:lnTo>
                  <a:lnTo>
                    <a:pt x="205" y="425"/>
                  </a:lnTo>
                  <a:lnTo>
                    <a:pt x="203" y="426"/>
                  </a:lnTo>
                  <a:lnTo>
                    <a:pt x="200" y="427"/>
                  </a:lnTo>
                  <a:lnTo>
                    <a:pt x="197" y="427"/>
                  </a:lnTo>
                  <a:lnTo>
                    <a:pt x="194" y="427"/>
                  </a:lnTo>
                  <a:lnTo>
                    <a:pt x="192" y="428"/>
                  </a:lnTo>
                  <a:lnTo>
                    <a:pt x="189" y="427"/>
                  </a:lnTo>
                  <a:lnTo>
                    <a:pt x="179" y="427"/>
                  </a:lnTo>
                  <a:lnTo>
                    <a:pt x="178" y="427"/>
                  </a:lnTo>
                  <a:lnTo>
                    <a:pt x="178" y="427"/>
                  </a:lnTo>
                  <a:lnTo>
                    <a:pt x="178" y="427"/>
                  </a:lnTo>
                  <a:lnTo>
                    <a:pt x="177" y="426"/>
                  </a:lnTo>
                  <a:lnTo>
                    <a:pt x="172" y="425"/>
                  </a:lnTo>
                  <a:lnTo>
                    <a:pt x="170" y="424"/>
                  </a:lnTo>
                  <a:lnTo>
                    <a:pt x="165" y="423"/>
                  </a:lnTo>
                  <a:lnTo>
                    <a:pt x="161" y="421"/>
                  </a:lnTo>
                  <a:lnTo>
                    <a:pt x="159" y="420"/>
                  </a:lnTo>
                  <a:lnTo>
                    <a:pt x="157" y="418"/>
                  </a:lnTo>
                  <a:lnTo>
                    <a:pt x="155" y="417"/>
                  </a:lnTo>
                  <a:lnTo>
                    <a:pt x="153" y="415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1" y="412"/>
                  </a:lnTo>
                  <a:lnTo>
                    <a:pt x="151" y="409"/>
                  </a:lnTo>
                  <a:lnTo>
                    <a:pt x="151" y="401"/>
                  </a:lnTo>
                  <a:lnTo>
                    <a:pt x="150" y="399"/>
                  </a:lnTo>
                  <a:lnTo>
                    <a:pt x="150" y="397"/>
                  </a:lnTo>
                  <a:lnTo>
                    <a:pt x="149" y="394"/>
                  </a:lnTo>
                  <a:lnTo>
                    <a:pt x="148" y="391"/>
                  </a:lnTo>
                  <a:lnTo>
                    <a:pt x="148" y="390"/>
                  </a:lnTo>
                  <a:lnTo>
                    <a:pt x="146" y="388"/>
                  </a:lnTo>
                  <a:lnTo>
                    <a:pt x="143" y="384"/>
                  </a:lnTo>
                  <a:lnTo>
                    <a:pt x="139" y="379"/>
                  </a:lnTo>
                  <a:lnTo>
                    <a:pt x="137" y="376"/>
                  </a:lnTo>
                  <a:lnTo>
                    <a:pt x="136" y="374"/>
                  </a:lnTo>
                  <a:lnTo>
                    <a:pt x="133" y="373"/>
                  </a:lnTo>
                  <a:lnTo>
                    <a:pt x="131" y="372"/>
                  </a:lnTo>
                  <a:lnTo>
                    <a:pt x="124" y="367"/>
                  </a:lnTo>
                  <a:lnTo>
                    <a:pt x="116" y="365"/>
                  </a:lnTo>
                  <a:lnTo>
                    <a:pt x="114" y="363"/>
                  </a:lnTo>
                  <a:lnTo>
                    <a:pt x="113" y="362"/>
                  </a:lnTo>
                  <a:lnTo>
                    <a:pt x="111" y="361"/>
                  </a:lnTo>
                  <a:lnTo>
                    <a:pt x="110" y="359"/>
                  </a:lnTo>
                  <a:lnTo>
                    <a:pt x="107" y="356"/>
                  </a:lnTo>
                  <a:lnTo>
                    <a:pt x="105" y="354"/>
                  </a:lnTo>
                  <a:lnTo>
                    <a:pt x="103" y="351"/>
                  </a:lnTo>
                  <a:lnTo>
                    <a:pt x="102" y="349"/>
                  </a:lnTo>
                  <a:lnTo>
                    <a:pt x="101" y="347"/>
                  </a:lnTo>
                  <a:lnTo>
                    <a:pt x="99" y="343"/>
                  </a:lnTo>
                  <a:lnTo>
                    <a:pt x="94" y="330"/>
                  </a:lnTo>
                  <a:lnTo>
                    <a:pt x="93" y="326"/>
                  </a:lnTo>
                  <a:lnTo>
                    <a:pt x="92" y="324"/>
                  </a:lnTo>
                  <a:lnTo>
                    <a:pt x="91" y="322"/>
                  </a:lnTo>
                  <a:lnTo>
                    <a:pt x="91" y="322"/>
                  </a:lnTo>
                  <a:lnTo>
                    <a:pt x="89" y="321"/>
                  </a:lnTo>
                  <a:lnTo>
                    <a:pt x="88" y="319"/>
                  </a:lnTo>
                  <a:lnTo>
                    <a:pt x="88" y="319"/>
                  </a:lnTo>
                  <a:lnTo>
                    <a:pt x="87" y="319"/>
                  </a:lnTo>
                  <a:lnTo>
                    <a:pt x="86" y="319"/>
                  </a:lnTo>
                  <a:lnTo>
                    <a:pt x="86" y="318"/>
                  </a:lnTo>
                  <a:lnTo>
                    <a:pt x="86" y="316"/>
                  </a:lnTo>
                  <a:lnTo>
                    <a:pt x="85" y="312"/>
                  </a:lnTo>
                  <a:lnTo>
                    <a:pt x="84" y="307"/>
                  </a:lnTo>
                  <a:lnTo>
                    <a:pt x="82" y="301"/>
                  </a:lnTo>
                  <a:lnTo>
                    <a:pt x="80" y="297"/>
                  </a:lnTo>
                  <a:lnTo>
                    <a:pt x="80" y="294"/>
                  </a:lnTo>
                  <a:lnTo>
                    <a:pt x="79" y="291"/>
                  </a:lnTo>
                  <a:lnTo>
                    <a:pt x="77" y="289"/>
                  </a:lnTo>
                  <a:lnTo>
                    <a:pt x="76" y="288"/>
                  </a:lnTo>
                  <a:lnTo>
                    <a:pt x="74" y="286"/>
                  </a:lnTo>
                  <a:lnTo>
                    <a:pt x="72" y="284"/>
                  </a:lnTo>
                  <a:lnTo>
                    <a:pt x="70" y="281"/>
                  </a:lnTo>
                  <a:lnTo>
                    <a:pt x="68" y="279"/>
                  </a:lnTo>
                  <a:lnTo>
                    <a:pt x="59" y="271"/>
                  </a:lnTo>
                  <a:lnTo>
                    <a:pt x="57" y="268"/>
                  </a:lnTo>
                  <a:lnTo>
                    <a:pt x="55" y="267"/>
                  </a:lnTo>
                  <a:lnTo>
                    <a:pt x="53" y="265"/>
                  </a:lnTo>
                  <a:lnTo>
                    <a:pt x="52" y="264"/>
                  </a:lnTo>
                  <a:lnTo>
                    <a:pt x="51" y="262"/>
                  </a:lnTo>
                  <a:lnTo>
                    <a:pt x="50" y="261"/>
                  </a:lnTo>
                  <a:lnTo>
                    <a:pt x="49" y="258"/>
                  </a:lnTo>
                  <a:lnTo>
                    <a:pt x="48" y="256"/>
                  </a:lnTo>
                  <a:lnTo>
                    <a:pt x="48" y="255"/>
                  </a:lnTo>
                  <a:lnTo>
                    <a:pt x="47" y="253"/>
                  </a:lnTo>
                  <a:lnTo>
                    <a:pt x="47" y="250"/>
                  </a:lnTo>
                  <a:lnTo>
                    <a:pt x="47" y="247"/>
                  </a:lnTo>
                  <a:lnTo>
                    <a:pt x="47" y="237"/>
                  </a:lnTo>
                  <a:lnTo>
                    <a:pt x="47" y="233"/>
                  </a:lnTo>
                  <a:lnTo>
                    <a:pt x="47" y="231"/>
                  </a:lnTo>
                  <a:lnTo>
                    <a:pt x="47" y="230"/>
                  </a:lnTo>
                  <a:lnTo>
                    <a:pt x="46" y="229"/>
                  </a:lnTo>
                  <a:lnTo>
                    <a:pt x="46" y="227"/>
                  </a:lnTo>
                  <a:lnTo>
                    <a:pt x="45" y="224"/>
                  </a:lnTo>
                  <a:lnTo>
                    <a:pt x="43" y="221"/>
                  </a:lnTo>
                  <a:lnTo>
                    <a:pt x="41" y="218"/>
                  </a:lnTo>
                  <a:lnTo>
                    <a:pt x="34" y="209"/>
                  </a:lnTo>
                  <a:lnTo>
                    <a:pt x="25" y="197"/>
                  </a:lnTo>
                  <a:lnTo>
                    <a:pt x="21" y="190"/>
                  </a:lnTo>
                  <a:lnTo>
                    <a:pt x="20" y="187"/>
                  </a:lnTo>
                  <a:lnTo>
                    <a:pt x="18" y="185"/>
                  </a:lnTo>
                  <a:lnTo>
                    <a:pt x="15" y="178"/>
                  </a:lnTo>
                  <a:lnTo>
                    <a:pt x="11" y="169"/>
                  </a:lnTo>
                  <a:lnTo>
                    <a:pt x="9" y="166"/>
                  </a:lnTo>
                  <a:lnTo>
                    <a:pt x="8" y="163"/>
                  </a:lnTo>
                  <a:lnTo>
                    <a:pt x="7" y="161"/>
                  </a:lnTo>
                  <a:lnTo>
                    <a:pt x="5" y="154"/>
                  </a:lnTo>
                  <a:lnTo>
                    <a:pt x="4" y="152"/>
                  </a:lnTo>
                  <a:lnTo>
                    <a:pt x="0" y="139"/>
                  </a:lnTo>
                  <a:lnTo>
                    <a:pt x="0" y="137"/>
                  </a:lnTo>
                  <a:lnTo>
                    <a:pt x="0" y="134"/>
                  </a:lnTo>
                  <a:lnTo>
                    <a:pt x="0" y="131"/>
                  </a:lnTo>
                  <a:lnTo>
                    <a:pt x="0" y="128"/>
                  </a:lnTo>
                  <a:lnTo>
                    <a:pt x="2" y="109"/>
                  </a:lnTo>
                  <a:lnTo>
                    <a:pt x="3" y="103"/>
                  </a:lnTo>
                  <a:lnTo>
                    <a:pt x="3" y="97"/>
                  </a:lnTo>
                  <a:lnTo>
                    <a:pt x="4" y="90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5" y="76"/>
                  </a:lnTo>
                  <a:lnTo>
                    <a:pt x="8" y="73"/>
                  </a:lnTo>
                  <a:lnTo>
                    <a:pt x="11" y="69"/>
                  </a:lnTo>
                  <a:lnTo>
                    <a:pt x="17" y="62"/>
                  </a:lnTo>
                  <a:lnTo>
                    <a:pt x="20" y="58"/>
                  </a:lnTo>
                  <a:lnTo>
                    <a:pt x="21" y="56"/>
                  </a:lnTo>
                  <a:lnTo>
                    <a:pt x="22" y="54"/>
                  </a:lnTo>
                  <a:lnTo>
                    <a:pt x="23" y="51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3" y="47"/>
                  </a:lnTo>
                  <a:lnTo>
                    <a:pt x="23" y="45"/>
                  </a:lnTo>
                  <a:lnTo>
                    <a:pt x="23" y="44"/>
                  </a:lnTo>
                  <a:lnTo>
                    <a:pt x="23" y="42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6" y="29"/>
                  </a:lnTo>
                  <a:lnTo>
                    <a:pt x="29" y="29"/>
                  </a:lnTo>
                  <a:lnTo>
                    <a:pt x="32" y="30"/>
                  </a:lnTo>
                  <a:lnTo>
                    <a:pt x="34" y="31"/>
                  </a:lnTo>
                  <a:lnTo>
                    <a:pt x="36" y="32"/>
                  </a:lnTo>
                  <a:lnTo>
                    <a:pt x="42" y="35"/>
                  </a:lnTo>
                  <a:lnTo>
                    <a:pt x="44" y="36"/>
                  </a:lnTo>
                  <a:lnTo>
                    <a:pt x="45" y="36"/>
                  </a:lnTo>
                  <a:lnTo>
                    <a:pt x="46" y="36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6"/>
                  </a:lnTo>
                  <a:lnTo>
                    <a:pt x="51" y="35"/>
                  </a:lnTo>
                  <a:lnTo>
                    <a:pt x="52" y="34"/>
                  </a:lnTo>
                  <a:lnTo>
                    <a:pt x="53" y="33"/>
                  </a:lnTo>
                  <a:lnTo>
                    <a:pt x="54" y="31"/>
                  </a:lnTo>
                  <a:lnTo>
                    <a:pt x="57" y="26"/>
                  </a:lnTo>
                  <a:lnTo>
                    <a:pt x="59" y="23"/>
                  </a:lnTo>
                  <a:lnTo>
                    <a:pt x="61" y="21"/>
                  </a:lnTo>
                  <a:lnTo>
                    <a:pt x="62" y="20"/>
                  </a:lnTo>
                  <a:lnTo>
                    <a:pt x="64" y="18"/>
                  </a:lnTo>
                  <a:lnTo>
                    <a:pt x="66" y="17"/>
                  </a:lnTo>
                  <a:lnTo>
                    <a:pt x="68" y="16"/>
                  </a:lnTo>
                  <a:lnTo>
                    <a:pt x="71" y="16"/>
                  </a:lnTo>
                  <a:lnTo>
                    <a:pt x="73" y="15"/>
                  </a:lnTo>
                  <a:lnTo>
                    <a:pt x="76" y="14"/>
                  </a:lnTo>
                  <a:lnTo>
                    <a:pt x="79" y="14"/>
                  </a:lnTo>
                  <a:lnTo>
                    <a:pt x="80" y="14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4" y="15"/>
                  </a:lnTo>
                  <a:lnTo>
                    <a:pt x="96" y="14"/>
                  </a:lnTo>
                  <a:lnTo>
                    <a:pt x="98" y="14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3" y="11"/>
                  </a:lnTo>
                  <a:lnTo>
                    <a:pt x="105" y="10"/>
                  </a:lnTo>
                  <a:lnTo>
                    <a:pt x="106" y="9"/>
                  </a:lnTo>
                  <a:lnTo>
                    <a:pt x="107" y="7"/>
                  </a:lnTo>
                  <a:lnTo>
                    <a:pt x="108" y="5"/>
                  </a:lnTo>
                  <a:lnTo>
                    <a:pt x="109" y="3"/>
                  </a:lnTo>
                  <a:lnTo>
                    <a:pt x="109" y="1"/>
                  </a:lnTo>
                  <a:lnTo>
                    <a:pt x="111" y="2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1" name="Freeform 80">
              <a:extLst>
                <a:ext uri="{FF2B5EF4-FFF2-40B4-BE49-F238E27FC236}">
                  <a16:creationId xmlns:a16="http://schemas.microsoft.com/office/drawing/2014/main" id="{BB7A06E0-7ACE-43BF-AD42-7468F6896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9" y="2233"/>
              <a:ext cx="256" cy="274"/>
            </a:xfrm>
            <a:custGeom>
              <a:avLst/>
              <a:gdLst>
                <a:gd name="T0" fmla="*/ 114 w 256"/>
                <a:gd name="T1" fmla="*/ 28 h 274"/>
                <a:gd name="T2" fmla="*/ 138 w 256"/>
                <a:gd name="T3" fmla="*/ 44 h 274"/>
                <a:gd name="T4" fmla="*/ 157 w 256"/>
                <a:gd name="T5" fmla="*/ 47 h 274"/>
                <a:gd name="T6" fmla="*/ 167 w 256"/>
                <a:gd name="T7" fmla="*/ 45 h 274"/>
                <a:gd name="T8" fmla="*/ 173 w 256"/>
                <a:gd name="T9" fmla="*/ 39 h 274"/>
                <a:gd name="T10" fmla="*/ 179 w 256"/>
                <a:gd name="T11" fmla="*/ 26 h 274"/>
                <a:gd name="T12" fmla="*/ 184 w 256"/>
                <a:gd name="T13" fmla="*/ 23 h 274"/>
                <a:gd name="T14" fmla="*/ 195 w 256"/>
                <a:gd name="T15" fmla="*/ 27 h 274"/>
                <a:gd name="T16" fmla="*/ 200 w 256"/>
                <a:gd name="T17" fmla="*/ 37 h 274"/>
                <a:gd name="T18" fmla="*/ 201 w 256"/>
                <a:gd name="T19" fmla="*/ 56 h 274"/>
                <a:gd name="T20" fmla="*/ 202 w 256"/>
                <a:gd name="T21" fmla="*/ 69 h 274"/>
                <a:gd name="T22" fmla="*/ 206 w 256"/>
                <a:gd name="T23" fmla="*/ 79 h 274"/>
                <a:gd name="T24" fmla="*/ 217 w 256"/>
                <a:gd name="T25" fmla="*/ 90 h 274"/>
                <a:gd name="T26" fmla="*/ 218 w 256"/>
                <a:gd name="T27" fmla="*/ 95 h 274"/>
                <a:gd name="T28" fmla="*/ 209 w 256"/>
                <a:gd name="T29" fmla="*/ 120 h 274"/>
                <a:gd name="T30" fmla="*/ 208 w 256"/>
                <a:gd name="T31" fmla="*/ 136 h 274"/>
                <a:gd name="T32" fmla="*/ 216 w 256"/>
                <a:gd name="T33" fmla="*/ 158 h 274"/>
                <a:gd name="T34" fmla="*/ 241 w 256"/>
                <a:gd name="T35" fmla="*/ 214 h 274"/>
                <a:gd name="T36" fmla="*/ 251 w 256"/>
                <a:gd name="T37" fmla="*/ 243 h 274"/>
                <a:gd name="T38" fmla="*/ 256 w 256"/>
                <a:gd name="T39" fmla="*/ 260 h 274"/>
                <a:gd name="T40" fmla="*/ 243 w 256"/>
                <a:gd name="T41" fmla="*/ 264 h 274"/>
                <a:gd name="T42" fmla="*/ 219 w 256"/>
                <a:gd name="T43" fmla="*/ 274 h 274"/>
                <a:gd name="T44" fmla="*/ 197 w 256"/>
                <a:gd name="T45" fmla="*/ 271 h 274"/>
                <a:gd name="T46" fmla="*/ 188 w 256"/>
                <a:gd name="T47" fmla="*/ 264 h 274"/>
                <a:gd name="T48" fmla="*/ 175 w 256"/>
                <a:gd name="T49" fmla="*/ 260 h 274"/>
                <a:gd name="T50" fmla="*/ 151 w 256"/>
                <a:gd name="T51" fmla="*/ 253 h 274"/>
                <a:gd name="T52" fmla="*/ 126 w 256"/>
                <a:gd name="T53" fmla="*/ 241 h 274"/>
                <a:gd name="T54" fmla="*/ 112 w 256"/>
                <a:gd name="T55" fmla="*/ 239 h 274"/>
                <a:gd name="T56" fmla="*/ 90 w 256"/>
                <a:gd name="T57" fmla="*/ 241 h 274"/>
                <a:gd name="T58" fmla="*/ 81 w 256"/>
                <a:gd name="T59" fmla="*/ 237 h 274"/>
                <a:gd name="T60" fmla="*/ 77 w 256"/>
                <a:gd name="T61" fmla="*/ 224 h 274"/>
                <a:gd name="T62" fmla="*/ 75 w 256"/>
                <a:gd name="T63" fmla="*/ 222 h 274"/>
                <a:gd name="T64" fmla="*/ 80 w 256"/>
                <a:gd name="T65" fmla="*/ 202 h 274"/>
                <a:gd name="T66" fmla="*/ 80 w 256"/>
                <a:gd name="T67" fmla="*/ 191 h 274"/>
                <a:gd name="T68" fmla="*/ 76 w 256"/>
                <a:gd name="T69" fmla="*/ 181 h 274"/>
                <a:gd name="T70" fmla="*/ 74 w 256"/>
                <a:gd name="T71" fmla="*/ 169 h 274"/>
                <a:gd name="T72" fmla="*/ 68 w 256"/>
                <a:gd name="T73" fmla="*/ 159 h 274"/>
                <a:gd name="T74" fmla="*/ 56 w 256"/>
                <a:gd name="T75" fmla="*/ 157 h 274"/>
                <a:gd name="T76" fmla="*/ 50 w 256"/>
                <a:gd name="T77" fmla="*/ 153 h 274"/>
                <a:gd name="T78" fmla="*/ 43 w 256"/>
                <a:gd name="T79" fmla="*/ 134 h 274"/>
                <a:gd name="T80" fmla="*/ 34 w 256"/>
                <a:gd name="T81" fmla="*/ 114 h 274"/>
                <a:gd name="T82" fmla="*/ 27 w 256"/>
                <a:gd name="T83" fmla="*/ 91 h 274"/>
                <a:gd name="T84" fmla="*/ 21 w 256"/>
                <a:gd name="T85" fmla="*/ 83 h 274"/>
                <a:gd name="T86" fmla="*/ 8 w 256"/>
                <a:gd name="T87" fmla="*/ 83 h 274"/>
                <a:gd name="T88" fmla="*/ 2 w 256"/>
                <a:gd name="T89" fmla="*/ 79 h 274"/>
                <a:gd name="T90" fmla="*/ 1 w 256"/>
                <a:gd name="T91" fmla="*/ 68 h 274"/>
                <a:gd name="T92" fmla="*/ 10 w 256"/>
                <a:gd name="T93" fmla="*/ 48 h 274"/>
                <a:gd name="T94" fmla="*/ 6 w 256"/>
                <a:gd name="T95" fmla="*/ 43 h 274"/>
                <a:gd name="T96" fmla="*/ 7 w 256"/>
                <a:gd name="T97" fmla="*/ 39 h 274"/>
                <a:gd name="T98" fmla="*/ 9 w 256"/>
                <a:gd name="T99" fmla="*/ 34 h 274"/>
                <a:gd name="T100" fmla="*/ 15 w 256"/>
                <a:gd name="T101" fmla="*/ 22 h 274"/>
                <a:gd name="T102" fmla="*/ 23 w 256"/>
                <a:gd name="T103" fmla="*/ 22 h 274"/>
                <a:gd name="T104" fmla="*/ 24 w 256"/>
                <a:gd name="T105" fmla="*/ 17 h 274"/>
                <a:gd name="T106" fmla="*/ 26 w 256"/>
                <a:gd name="T107" fmla="*/ 12 h 274"/>
                <a:gd name="T108" fmla="*/ 21 w 256"/>
                <a:gd name="T109" fmla="*/ 8 h 274"/>
                <a:gd name="T110" fmla="*/ 16 w 256"/>
                <a:gd name="T111" fmla="*/ 3 h 274"/>
                <a:gd name="T112" fmla="*/ 17 w 256"/>
                <a:gd name="T113" fmla="*/ 0 h 274"/>
                <a:gd name="T114" fmla="*/ 33 w 256"/>
                <a:gd name="T115" fmla="*/ 4 h 274"/>
                <a:gd name="T116" fmla="*/ 35 w 256"/>
                <a:gd name="T117" fmla="*/ 7 h 274"/>
                <a:gd name="T118" fmla="*/ 56 w 256"/>
                <a:gd name="T119" fmla="*/ 10 h 274"/>
                <a:gd name="T120" fmla="*/ 85 w 256"/>
                <a:gd name="T121" fmla="*/ 1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274">
                  <a:moveTo>
                    <a:pt x="87" y="12"/>
                  </a:moveTo>
                  <a:lnTo>
                    <a:pt x="89" y="13"/>
                  </a:lnTo>
                  <a:lnTo>
                    <a:pt x="102" y="22"/>
                  </a:lnTo>
                  <a:lnTo>
                    <a:pt x="110" y="26"/>
                  </a:lnTo>
                  <a:lnTo>
                    <a:pt x="114" y="28"/>
                  </a:lnTo>
                  <a:lnTo>
                    <a:pt x="115" y="29"/>
                  </a:lnTo>
                  <a:lnTo>
                    <a:pt x="122" y="33"/>
                  </a:lnTo>
                  <a:lnTo>
                    <a:pt x="131" y="40"/>
                  </a:lnTo>
                  <a:lnTo>
                    <a:pt x="135" y="42"/>
                  </a:lnTo>
                  <a:lnTo>
                    <a:pt x="138" y="44"/>
                  </a:lnTo>
                  <a:lnTo>
                    <a:pt x="143" y="45"/>
                  </a:lnTo>
                  <a:lnTo>
                    <a:pt x="147" y="45"/>
                  </a:lnTo>
                  <a:lnTo>
                    <a:pt x="150" y="46"/>
                  </a:lnTo>
                  <a:lnTo>
                    <a:pt x="153" y="47"/>
                  </a:lnTo>
                  <a:lnTo>
                    <a:pt x="157" y="47"/>
                  </a:lnTo>
                  <a:lnTo>
                    <a:pt x="159" y="47"/>
                  </a:lnTo>
                  <a:lnTo>
                    <a:pt x="161" y="47"/>
                  </a:lnTo>
                  <a:lnTo>
                    <a:pt x="163" y="46"/>
                  </a:lnTo>
                  <a:lnTo>
                    <a:pt x="165" y="46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4"/>
                  </a:lnTo>
                  <a:lnTo>
                    <a:pt x="170" y="42"/>
                  </a:lnTo>
                  <a:lnTo>
                    <a:pt x="172" y="41"/>
                  </a:lnTo>
                  <a:lnTo>
                    <a:pt x="173" y="39"/>
                  </a:lnTo>
                  <a:lnTo>
                    <a:pt x="174" y="38"/>
                  </a:lnTo>
                  <a:lnTo>
                    <a:pt x="174" y="36"/>
                  </a:lnTo>
                  <a:lnTo>
                    <a:pt x="176" y="31"/>
                  </a:lnTo>
                  <a:lnTo>
                    <a:pt x="178" y="27"/>
                  </a:lnTo>
                  <a:lnTo>
                    <a:pt x="179" y="26"/>
                  </a:lnTo>
                  <a:lnTo>
                    <a:pt x="179" y="25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4" y="23"/>
                  </a:lnTo>
                  <a:lnTo>
                    <a:pt x="187" y="24"/>
                  </a:lnTo>
                  <a:lnTo>
                    <a:pt x="190" y="25"/>
                  </a:lnTo>
                  <a:lnTo>
                    <a:pt x="192" y="25"/>
                  </a:lnTo>
                  <a:lnTo>
                    <a:pt x="193" y="26"/>
                  </a:lnTo>
                  <a:lnTo>
                    <a:pt x="195" y="27"/>
                  </a:lnTo>
                  <a:lnTo>
                    <a:pt x="196" y="29"/>
                  </a:lnTo>
                  <a:lnTo>
                    <a:pt x="197" y="30"/>
                  </a:lnTo>
                  <a:lnTo>
                    <a:pt x="197" y="31"/>
                  </a:lnTo>
                  <a:lnTo>
                    <a:pt x="199" y="33"/>
                  </a:lnTo>
                  <a:lnTo>
                    <a:pt x="200" y="37"/>
                  </a:lnTo>
                  <a:lnTo>
                    <a:pt x="201" y="39"/>
                  </a:lnTo>
                  <a:lnTo>
                    <a:pt x="201" y="41"/>
                  </a:lnTo>
                  <a:lnTo>
                    <a:pt x="201" y="44"/>
                  </a:lnTo>
                  <a:lnTo>
                    <a:pt x="201" y="46"/>
                  </a:lnTo>
                  <a:lnTo>
                    <a:pt x="201" y="56"/>
                  </a:lnTo>
                  <a:lnTo>
                    <a:pt x="201" y="62"/>
                  </a:lnTo>
                  <a:lnTo>
                    <a:pt x="201" y="65"/>
                  </a:lnTo>
                  <a:lnTo>
                    <a:pt x="201" y="67"/>
                  </a:lnTo>
                  <a:lnTo>
                    <a:pt x="202" y="68"/>
                  </a:lnTo>
                  <a:lnTo>
                    <a:pt x="202" y="69"/>
                  </a:lnTo>
                  <a:lnTo>
                    <a:pt x="203" y="72"/>
                  </a:lnTo>
                  <a:lnTo>
                    <a:pt x="204" y="74"/>
                  </a:lnTo>
                  <a:lnTo>
                    <a:pt x="204" y="76"/>
                  </a:lnTo>
                  <a:lnTo>
                    <a:pt x="205" y="77"/>
                  </a:lnTo>
                  <a:lnTo>
                    <a:pt x="206" y="79"/>
                  </a:lnTo>
                  <a:lnTo>
                    <a:pt x="207" y="80"/>
                  </a:lnTo>
                  <a:lnTo>
                    <a:pt x="209" y="82"/>
                  </a:lnTo>
                  <a:lnTo>
                    <a:pt x="215" y="87"/>
                  </a:lnTo>
                  <a:lnTo>
                    <a:pt x="216" y="89"/>
                  </a:lnTo>
                  <a:lnTo>
                    <a:pt x="217" y="90"/>
                  </a:lnTo>
                  <a:lnTo>
                    <a:pt x="218" y="90"/>
                  </a:lnTo>
                  <a:lnTo>
                    <a:pt x="218" y="91"/>
                  </a:lnTo>
                  <a:lnTo>
                    <a:pt x="218" y="93"/>
                  </a:lnTo>
                  <a:lnTo>
                    <a:pt x="218" y="94"/>
                  </a:lnTo>
                  <a:lnTo>
                    <a:pt x="218" y="95"/>
                  </a:lnTo>
                  <a:lnTo>
                    <a:pt x="218" y="97"/>
                  </a:lnTo>
                  <a:lnTo>
                    <a:pt x="217" y="99"/>
                  </a:lnTo>
                  <a:lnTo>
                    <a:pt x="215" y="105"/>
                  </a:lnTo>
                  <a:lnTo>
                    <a:pt x="212" y="112"/>
                  </a:lnTo>
                  <a:lnTo>
                    <a:pt x="209" y="120"/>
                  </a:lnTo>
                  <a:lnTo>
                    <a:pt x="207" y="124"/>
                  </a:lnTo>
                  <a:lnTo>
                    <a:pt x="207" y="126"/>
                  </a:lnTo>
                  <a:lnTo>
                    <a:pt x="207" y="130"/>
                  </a:lnTo>
                  <a:lnTo>
                    <a:pt x="207" y="133"/>
                  </a:lnTo>
                  <a:lnTo>
                    <a:pt x="208" y="136"/>
                  </a:lnTo>
                  <a:lnTo>
                    <a:pt x="209" y="139"/>
                  </a:lnTo>
                  <a:lnTo>
                    <a:pt x="210" y="143"/>
                  </a:lnTo>
                  <a:lnTo>
                    <a:pt x="213" y="149"/>
                  </a:lnTo>
                  <a:lnTo>
                    <a:pt x="215" y="154"/>
                  </a:lnTo>
                  <a:lnTo>
                    <a:pt x="216" y="158"/>
                  </a:lnTo>
                  <a:lnTo>
                    <a:pt x="219" y="165"/>
                  </a:lnTo>
                  <a:lnTo>
                    <a:pt x="222" y="171"/>
                  </a:lnTo>
                  <a:lnTo>
                    <a:pt x="227" y="184"/>
                  </a:lnTo>
                  <a:lnTo>
                    <a:pt x="235" y="200"/>
                  </a:lnTo>
                  <a:lnTo>
                    <a:pt x="241" y="214"/>
                  </a:lnTo>
                  <a:lnTo>
                    <a:pt x="246" y="224"/>
                  </a:lnTo>
                  <a:lnTo>
                    <a:pt x="248" y="228"/>
                  </a:lnTo>
                  <a:lnTo>
                    <a:pt x="250" y="233"/>
                  </a:lnTo>
                  <a:lnTo>
                    <a:pt x="250" y="237"/>
                  </a:lnTo>
                  <a:lnTo>
                    <a:pt x="251" y="243"/>
                  </a:lnTo>
                  <a:lnTo>
                    <a:pt x="254" y="257"/>
                  </a:lnTo>
                  <a:lnTo>
                    <a:pt x="255" y="259"/>
                  </a:lnTo>
                  <a:lnTo>
                    <a:pt x="255" y="260"/>
                  </a:lnTo>
                  <a:lnTo>
                    <a:pt x="256" y="260"/>
                  </a:lnTo>
                  <a:lnTo>
                    <a:pt x="256" y="260"/>
                  </a:lnTo>
                  <a:lnTo>
                    <a:pt x="256" y="260"/>
                  </a:lnTo>
                  <a:lnTo>
                    <a:pt x="255" y="260"/>
                  </a:lnTo>
                  <a:lnTo>
                    <a:pt x="248" y="262"/>
                  </a:lnTo>
                  <a:lnTo>
                    <a:pt x="245" y="263"/>
                  </a:lnTo>
                  <a:lnTo>
                    <a:pt x="243" y="264"/>
                  </a:lnTo>
                  <a:lnTo>
                    <a:pt x="238" y="266"/>
                  </a:lnTo>
                  <a:lnTo>
                    <a:pt x="228" y="271"/>
                  </a:lnTo>
                  <a:lnTo>
                    <a:pt x="223" y="273"/>
                  </a:lnTo>
                  <a:lnTo>
                    <a:pt x="220" y="274"/>
                  </a:lnTo>
                  <a:lnTo>
                    <a:pt x="219" y="274"/>
                  </a:lnTo>
                  <a:lnTo>
                    <a:pt x="217" y="274"/>
                  </a:lnTo>
                  <a:lnTo>
                    <a:pt x="215" y="274"/>
                  </a:lnTo>
                  <a:lnTo>
                    <a:pt x="203" y="272"/>
                  </a:lnTo>
                  <a:lnTo>
                    <a:pt x="200" y="272"/>
                  </a:lnTo>
                  <a:lnTo>
                    <a:pt x="197" y="271"/>
                  </a:lnTo>
                  <a:lnTo>
                    <a:pt x="196" y="271"/>
                  </a:lnTo>
                  <a:lnTo>
                    <a:pt x="195" y="271"/>
                  </a:lnTo>
                  <a:lnTo>
                    <a:pt x="193" y="269"/>
                  </a:lnTo>
                  <a:lnTo>
                    <a:pt x="190" y="265"/>
                  </a:lnTo>
                  <a:lnTo>
                    <a:pt x="188" y="264"/>
                  </a:lnTo>
                  <a:lnTo>
                    <a:pt x="185" y="262"/>
                  </a:lnTo>
                  <a:lnTo>
                    <a:pt x="183" y="261"/>
                  </a:lnTo>
                  <a:lnTo>
                    <a:pt x="181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66" y="259"/>
                  </a:lnTo>
                  <a:lnTo>
                    <a:pt x="163" y="259"/>
                  </a:lnTo>
                  <a:lnTo>
                    <a:pt x="161" y="258"/>
                  </a:lnTo>
                  <a:lnTo>
                    <a:pt x="158" y="256"/>
                  </a:lnTo>
                  <a:lnTo>
                    <a:pt x="151" y="253"/>
                  </a:lnTo>
                  <a:lnTo>
                    <a:pt x="145" y="249"/>
                  </a:lnTo>
                  <a:lnTo>
                    <a:pt x="136" y="245"/>
                  </a:lnTo>
                  <a:lnTo>
                    <a:pt x="133" y="243"/>
                  </a:lnTo>
                  <a:lnTo>
                    <a:pt x="130" y="242"/>
                  </a:lnTo>
                  <a:lnTo>
                    <a:pt x="126" y="241"/>
                  </a:lnTo>
                  <a:lnTo>
                    <a:pt x="124" y="240"/>
                  </a:lnTo>
                  <a:lnTo>
                    <a:pt x="121" y="239"/>
                  </a:lnTo>
                  <a:lnTo>
                    <a:pt x="118" y="239"/>
                  </a:lnTo>
                  <a:lnTo>
                    <a:pt x="115" y="239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97" y="241"/>
                  </a:lnTo>
                  <a:lnTo>
                    <a:pt x="93" y="241"/>
                  </a:lnTo>
                  <a:lnTo>
                    <a:pt x="91" y="242"/>
                  </a:lnTo>
                  <a:lnTo>
                    <a:pt x="90" y="241"/>
                  </a:lnTo>
                  <a:lnTo>
                    <a:pt x="89" y="241"/>
                  </a:lnTo>
                  <a:lnTo>
                    <a:pt x="87" y="241"/>
                  </a:lnTo>
                  <a:lnTo>
                    <a:pt x="85" y="240"/>
                  </a:lnTo>
                  <a:lnTo>
                    <a:pt x="83" y="238"/>
                  </a:lnTo>
                  <a:lnTo>
                    <a:pt x="81" y="237"/>
                  </a:lnTo>
                  <a:lnTo>
                    <a:pt x="80" y="236"/>
                  </a:lnTo>
                  <a:lnTo>
                    <a:pt x="79" y="233"/>
                  </a:lnTo>
                  <a:lnTo>
                    <a:pt x="78" y="231"/>
                  </a:lnTo>
                  <a:lnTo>
                    <a:pt x="78" y="228"/>
                  </a:lnTo>
                  <a:lnTo>
                    <a:pt x="77" y="224"/>
                  </a:lnTo>
                  <a:lnTo>
                    <a:pt x="76" y="222"/>
                  </a:lnTo>
                  <a:lnTo>
                    <a:pt x="76" y="222"/>
                  </a:lnTo>
                  <a:lnTo>
                    <a:pt x="75" y="221"/>
                  </a:lnTo>
                  <a:lnTo>
                    <a:pt x="75" y="221"/>
                  </a:lnTo>
                  <a:lnTo>
                    <a:pt x="75" y="222"/>
                  </a:lnTo>
                  <a:lnTo>
                    <a:pt x="75" y="221"/>
                  </a:lnTo>
                  <a:lnTo>
                    <a:pt x="76" y="220"/>
                  </a:lnTo>
                  <a:lnTo>
                    <a:pt x="78" y="210"/>
                  </a:lnTo>
                  <a:lnTo>
                    <a:pt x="79" y="203"/>
                  </a:lnTo>
                  <a:lnTo>
                    <a:pt x="80" y="202"/>
                  </a:lnTo>
                  <a:lnTo>
                    <a:pt x="81" y="197"/>
                  </a:lnTo>
                  <a:lnTo>
                    <a:pt x="81" y="195"/>
                  </a:lnTo>
                  <a:lnTo>
                    <a:pt x="81" y="194"/>
                  </a:lnTo>
                  <a:lnTo>
                    <a:pt x="81" y="192"/>
                  </a:lnTo>
                  <a:lnTo>
                    <a:pt x="80" y="191"/>
                  </a:lnTo>
                  <a:lnTo>
                    <a:pt x="79" y="190"/>
                  </a:lnTo>
                  <a:lnTo>
                    <a:pt x="78" y="186"/>
                  </a:lnTo>
                  <a:lnTo>
                    <a:pt x="77" y="185"/>
                  </a:lnTo>
                  <a:lnTo>
                    <a:pt x="76" y="183"/>
                  </a:lnTo>
                  <a:lnTo>
                    <a:pt x="76" y="181"/>
                  </a:lnTo>
                  <a:lnTo>
                    <a:pt x="75" y="178"/>
                  </a:lnTo>
                  <a:lnTo>
                    <a:pt x="74" y="176"/>
                  </a:lnTo>
                  <a:lnTo>
                    <a:pt x="74" y="174"/>
                  </a:lnTo>
                  <a:lnTo>
                    <a:pt x="74" y="170"/>
                  </a:lnTo>
                  <a:lnTo>
                    <a:pt x="74" y="169"/>
                  </a:lnTo>
                  <a:lnTo>
                    <a:pt x="73" y="167"/>
                  </a:lnTo>
                  <a:lnTo>
                    <a:pt x="72" y="165"/>
                  </a:lnTo>
                  <a:lnTo>
                    <a:pt x="71" y="163"/>
                  </a:lnTo>
                  <a:lnTo>
                    <a:pt x="69" y="161"/>
                  </a:lnTo>
                  <a:lnTo>
                    <a:pt x="68" y="159"/>
                  </a:lnTo>
                  <a:lnTo>
                    <a:pt x="66" y="158"/>
                  </a:lnTo>
                  <a:lnTo>
                    <a:pt x="64" y="158"/>
                  </a:lnTo>
                  <a:lnTo>
                    <a:pt x="62" y="157"/>
                  </a:lnTo>
                  <a:lnTo>
                    <a:pt x="60" y="157"/>
                  </a:lnTo>
                  <a:lnTo>
                    <a:pt x="56" y="157"/>
                  </a:lnTo>
                  <a:lnTo>
                    <a:pt x="55" y="157"/>
                  </a:lnTo>
                  <a:lnTo>
                    <a:pt x="54" y="157"/>
                  </a:lnTo>
                  <a:lnTo>
                    <a:pt x="52" y="156"/>
                  </a:lnTo>
                  <a:lnTo>
                    <a:pt x="51" y="155"/>
                  </a:lnTo>
                  <a:lnTo>
                    <a:pt x="50" y="153"/>
                  </a:lnTo>
                  <a:lnTo>
                    <a:pt x="48" y="151"/>
                  </a:lnTo>
                  <a:lnTo>
                    <a:pt x="46" y="148"/>
                  </a:lnTo>
                  <a:lnTo>
                    <a:pt x="45" y="146"/>
                  </a:lnTo>
                  <a:lnTo>
                    <a:pt x="45" y="143"/>
                  </a:lnTo>
                  <a:lnTo>
                    <a:pt x="43" y="134"/>
                  </a:lnTo>
                  <a:lnTo>
                    <a:pt x="42" y="131"/>
                  </a:lnTo>
                  <a:lnTo>
                    <a:pt x="41" y="128"/>
                  </a:lnTo>
                  <a:lnTo>
                    <a:pt x="39" y="124"/>
                  </a:lnTo>
                  <a:lnTo>
                    <a:pt x="34" y="116"/>
                  </a:lnTo>
                  <a:lnTo>
                    <a:pt x="34" y="114"/>
                  </a:lnTo>
                  <a:lnTo>
                    <a:pt x="33" y="113"/>
                  </a:lnTo>
                  <a:lnTo>
                    <a:pt x="32" y="109"/>
                  </a:lnTo>
                  <a:lnTo>
                    <a:pt x="29" y="99"/>
                  </a:lnTo>
                  <a:lnTo>
                    <a:pt x="28" y="94"/>
                  </a:lnTo>
                  <a:lnTo>
                    <a:pt x="27" y="91"/>
                  </a:lnTo>
                  <a:lnTo>
                    <a:pt x="26" y="90"/>
                  </a:lnTo>
                  <a:lnTo>
                    <a:pt x="24" y="88"/>
                  </a:lnTo>
                  <a:lnTo>
                    <a:pt x="23" y="86"/>
                  </a:lnTo>
                  <a:lnTo>
                    <a:pt x="22" y="84"/>
                  </a:lnTo>
                  <a:lnTo>
                    <a:pt x="21" y="83"/>
                  </a:lnTo>
                  <a:lnTo>
                    <a:pt x="19" y="82"/>
                  </a:lnTo>
                  <a:lnTo>
                    <a:pt x="18" y="82"/>
                  </a:lnTo>
                  <a:lnTo>
                    <a:pt x="15" y="82"/>
                  </a:lnTo>
                  <a:lnTo>
                    <a:pt x="14" y="82"/>
                  </a:lnTo>
                  <a:lnTo>
                    <a:pt x="8" y="83"/>
                  </a:lnTo>
                  <a:lnTo>
                    <a:pt x="6" y="83"/>
                  </a:lnTo>
                  <a:lnTo>
                    <a:pt x="5" y="82"/>
                  </a:lnTo>
                  <a:lnTo>
                    <a:pt x="4" y="82"/>
                  </a:lnTo>
                  <a:lnTo>
                    <a:pt x="3" y="81"/>
                  </a:lnTo>
                  <a:lnTo>
                    <a:pt x="2" y="79"/>
                  </a:lnTo>
                  <a:lnTo>
                    <a:pt x="1" y="79"/>
                  </a:lnTo>
                  <a:lnTo>
                    <a:pt x="0" y="77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1" y="68"/>
                  </a:lnTo>
                  <a:lnTo>
                    <a:pt x="2" y="66"/>
                  </a:lnTo>
                  <a:lnTo>
                    <a:pt x="3" y="63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9" y="46"/>
                  </a:lnTo>
                  <a:lnTo>
                    <a:pt x="8" y="45"/>
                  </a:lnTo>
                  <a:lnTo>
                    <a:pt x="7" y="44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7" y="39"/>
                  </a:lnTo>
                  <a:lnTo>
                    <a:pt x="7" y="37"/>
                  </a:lnTo>
                  <a:lnTo>
                    <a:pt x="8" y="37"/>
                  </a:lnTo>
                  <a:lnTo>
                    <a:pt x="7" y="37"/>
                  </a:lnTo>
                  <a:lnTo>
                    <a:pt x="8" y="36"/>
                  </a:lnTo>
                  <a:lnTo>
                    <a:pt x="9" y="34"/>
                  </a:lnTo>
                  <a:lnTo>
                    <a:pt x="11" y="31"/>
                  </a:lnTo>
                  <a:lnTo>
                    <a:pt x="13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9" y="22"/>
                  </a:lnTo>
                  <a:lnTo>
                    <a:pt x="21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4" y="20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5" y="14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1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19" y="7"/>
                  </a:lnTo>
                  <a:lnTo>
                    <a:pt x="18" y="6"/>
                  </a:lnTo>
                  <a:lnTo>
                    <a:pt x="17" y="5"/>
                  </a:lnTo>
                  <a:lnTo>
                    <a:pt x="16" y="3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3" y="1"/>
                  </a:lnTo>
                  <a:lnTo>
                    <a:pt x="27" y="2"/>
                  </a:lnTo>
                  <a:lnTo>
                    <a:pt x="30" y="3"/>
                  </a:lnTo>
                  <a:lnTo>
                    <a:pt x="33" y="4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5" y="7"/>
                  </a:lnTo>
                  <a:lnTo>
                    <a:pt x="38" y="7"/>
                  </a:lnTo>
                  <a:lnTo>
                    <a:pt x="42" y="8"/>
                  </a:lnTo>
                  <a:lnTo>
                    <a:pt x="45" y="9"/>
                  </a:lnTo>
                  <a:lnTo>
                    <a:pt x="50" y="9"/>
                  </a:lnTo>
                  <a:lnTo>
                    <a:pt x="56" y="10"/>
                  </a:lnTo>
                  <a:lnTo>
                    <a:pt x="70" y="10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3" y="11"/>
                  </a:lnTo>
                  <a:lnTo>
                    <a:pt x="85" y="12"/>
                  </a:lnTo>
                  <a:lnTo>
                    <a:pt x="87" y="12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2" name="Freeform 81">
              <a:extLst>
                <a:ext uri="{FF2B5EF4-FFF2-40B4-BE49-F238E27FC236}">
                  <a16:creationId xmlns:a16="http://schemas.microsoft.com/office/drawing/2014/main" id="{DE73D2B9-58C3-49DE-A6FF-82B0A9700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7" y="2390"/>
              <a:ext cx="478" cy="390"/>
            </a:xfrm>
            <a:custGeom>
              <a:avLst/>
              <a:gdLst>
                <a:gd name="T0" fmla="*/ 234 w 478"/>
                <a:gd name="T1" fmla="*/ 15 h 390"/>
                <a:gd name="T2" fmla="*/ 248 w 478"/>
                <a:gd name="T3" fmla="*/ 24 h 390"/>
                <a:gd name="T4" fmla="*/ 267 w 478"/>
                <a:gd name="T5" fmla="*/ 23 h 390"/>
                <a:gd name="T6" fmla="*/ 279 w 478"/>
                <a:gd name="T7" fmla="*/ 11 h 390"/>
                <a:gd name="T8" fmla="*/ 291 w 478"/>
                <a:gd name="T9" fmla="*/ 35 h 390"/>
                <a:gd name="T10" fmla="*/ 301 w 478"/>
                <a:gd name="T11" fmla="*/ 52 h 390"/>
                <a:gd name="T12" fmla="*/ 326 w 478"/>
                <a:gd name="T13" fmla="*/ 60 h 390"/>
                <a:gd name="T14" fmla="*/ 359 w 478"/>
                <a:gd name="T15" fmla="*/ 69 h 390"/>
                <a:gd name="T16" fmla="*/ 370 w 478"/>
                <a:gd name="T17" fmla="*/ 77 h 390"/>
                <a:gd name="T18" fmla="*/ 367 w 478"/>
                <a:gd name="T19" fmla="*/ 90 h 390"/>
                <a:gd name="T20" fmla="*/ 358 w 478"/>
                <a:gd name="T21" fmla="*/ 107 h 390"/>
                <a:gd name="T22" fmla="*/ 369 w 478"/>
                <a:gd name="T23" fmla="*/ 116 h 390"/>
                <a:gd name="T24" fmla="*/ 392 w 478"/>
                <a:gd name="T25" fmla="*/ 141 h 390"/>
                <a:gd name="T26" fmla="*/ 396 w 478"/>
                <a:gd name="T27" fmla="*/ 142 h 390"/>
                <a:gd name="T28" fmla="*/ 392 w 478"/>
                <a:gd name="T29" fmla="*/ 192 h 390"/>
                <a:gd name="T30" fmla="*/ 399 w 478"/>
                <a:gd name="T31" fmla="*/ 225 h 390"/>
                <a:gd name="T32" fmla="*/ 413 w 478"/>
                <a:gd name="T33" fmla="*/ 254 h 390"/>
                <a:gd name="T34" fmla="*/ 438 w 478"/>
                <a:gd name="T35" fmla="*/ 293 h 390"/>
                <a:gd name="T36" fmla="*/ 439 w 478"/>
                <a:gd name="T37" fmla="*/ 317 h 390"/>
                <a:gd name="T38" fmla="*/ 445 w 478"/>
                <a:gd name="T39" fmla="*/ 329 h 390"/>
                <a:gd name="T40" fmla="*/ 466 w 478"/>
                <a:gd name="T41" fmla="*/ 350 h 390"/>
                <a:gd name="T42" fmla="*/ 476 w 478"/>
                <a:gd name="T43" fmla="*/ 371 h 390"/>
                <a:gd name="T44" fmla="*/ 477 w 478"/>
                <a:gd name="T45" fmla="*/ 383 h 390"/>
                <a:gd name="T46" fmla="*/ 446 w 478"/>
                <a:gd name="T47" fmla="*/ 390 h 390"/>
                <a:gd name="T48" fmla="*/ 404 w 478"/>
                <a:gd name="T49" fmla="*/ 380 h 390"/>
                <a:gd name="T50" fmla="*/ 376 w 478"/>
                <a:gd name="T51" fmla="*/ 363 h 390"/>
                <a:gd name="T52" fmla="*/ 347 w 478"/>
                <a:gd name="T53" fmla="*/ 358 h 390"/>
                <a:gd name="T54" fmla="*/ 298 w 478"/>
                <a:gd name="T55" fmla="*/ 363 h 390"/>
                <a:gd name="T56" fmla="*/ 256 w 478"/>
                <a:gd name="T57" fmla="*/ 373 h 390"/>
                <a:gd name="T58" fmla="*/ 246 w 478"/>
                <a:gd name="T59" fmla="*/ 364 h 390"/>
                <a:gd name="T60" fmla="*/ 229 w 478"/>
                <a:gd name="T61" fmla="*/ 345 h 390"/>
                <a:gd name="T62" fmla="*/ 202 w 478"/>
                <a:gd name="T63" fmla="*/ 338 h 390"/>
                <a:gd name="T64" fmla="*/ 190 w 478"/>
                <a:gd name="T65" fmla="*/ 340 h 390"/>
                <a:gd name="T66" fmla="*/ 176 w 478"/>
                <a:gd name="T67" fmla="*/ 317 h 390"/>
                <a:gd name="T68" fmla="*/ 167 w 478"/>
                <a:gd name="T69" fmla="*/ 312 h 390"/>
                <a:gd name="T70" fmla="*/ 149 w 478"/>
                <a:gd name="T71" fmla="*/ 322 h 390"/>
                <a:gd name="T72" fmla="*/ 140 w 478"/>
                <a:gd name="T73" fmla="*/ 321 h 390"/>
                <a:gd name="T74" fmla="*/ 138 w 478"/>
                <a:gd name="T75" fmla="*/ 307 h 390"/>
                <a:gd name="T76" fmla="*/ 142 w 478"/>
                <a:gd name="T77" fmla="*/ 294 h 390"/>
                <a:gd name="T78" fmla="*/ 121 w 478"/>
                <a:gd name="T79" fmla="*/ 262 h 390"/>
                <a:gd name="T80" fmla="*/ 77 w 478"/>
                <a:gd name="T81" fmla="*/ 225 h 390"/>
                <a:gd name="T82" fmla="*/ 63 w 478"/>
                <a:gd name="T83" fmla="*/ 202 h 390"/>
                <a:gd name="T84" fmla="*/ 47 w 478"/>
                <a:gd name="T85" fmla="*/ 185 h 390"/>
                <a:gd name="T86" fmla="*/ 36 w 478"/>
                <a:gd name="T87" fmla="*/ 190 h 390"/>
                <a:gd name="T88" fmla="*/ 17 w 478"/>
                <a:gd name="T89" fmla="*/ 186 h 390"/>
                <a:gd name="T90" fmla="*/ 4 w 478"/>
                <a:gd name="T91" fmla="*/ 176 h 390"/>
                <a:gd name="T92" fmla="*/ 0 w 478"/>
                <a:gd name="T93" fmla="*/ 149 h 390"/>
                <a:gd name="T94" fmla="*/ 6 w 478"/>
                <a:gd name="T95" fmla="*/ 132 h 390"/>
                <a:gd name="T96" fmla="*/ 24 w 478"/>
                <a:gd name="T97" fmla="*/ 125 h 390"/>
                <a:gd name="T98" fmla="*/ 57 w 478"/>
                <a:gd name="T99" fmla="*/ 111 h 390"/>
                <a:gd name="T100" fmla="*/ 70 w 478"/>
                <a:gd name="T101" fmla="*/ 93 h 390"/>
                <a:gd name="T102" fmla="*/ 80 w 478"/>
                <a:gd name="T103" fmla="*/ 88 h 390"/>
                <a:gd name="T104" fmla="*/ 100 w 478"/>
                <a:gd name="T105" fmla="*/ 83 h 390"/>
                <a:gd name="T106" fmla="*/ 128 w 478"/>
                <a:gd name="T107" fmla="*/ 80 h 390"/>
                <a:gd name="T108" fmla="*/ 151 w 478"/>
                <a:gd name="T109" fmla="*/ 70 h 390"/>
                <a:gd name="T110" fmla="*/ 187 w 478"/>
                <a:gd name="T111" fmla="*/ 47 h 390"/>
                <a:gd name="T112" fmla="*/ 204 w 478"/>
                <a:gd name="T113" fmla="*/ 34 h 390"/>
                <a:gd name="T114" fmla="*/ 219 w 478"/>
                <a:gd name="T115" fmla="*/ 2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8" h="390">
                  <a:moveTo>
                    <a:pt x="221" y="0"/>
                  </a:moveTo>
                  <a:lnTo>
                    <a:pt x="222" y="1"/>
                  </a:lnTo>
                  <a:lnTo>
                    <a:pt x="223" y="1"/>
                  </a:lnTo>
                  <a:lnTo>
                    <a:pt x="225" y="2"/>
                  </a:lnTo>
                  <a:lnTo>
                    <a:pt x="226" y="4"/>
                  </a:lnTo>
                  <a:lnTo>
                    <a:pt x="230" y="10"/>
                  </a:lnTo>
                  <a:lnTo>
                    <a:pt x="234" y="15"/>
                  </a:lnTo>
                  <a:lnTo>
                    <a:pt x="235" y="17"/>
                  </a:lnTo>
                  <a:lnTo>
                    <a:pt x="236" y="18"/>
                  </a:lnTo>
                  <a:lnTo>
                    <a:pt x="239" y="20"/>
                  </a:lnTo>
                  <a:lnTo>
                    <a:pt x="242" y="22"/>
                  </a:lnTo>
                  <a:lnTo>
                    <a:pt x="244" y="23"/>
                  </a:lnTo>
                  <a:lnTo>
                    <a:pt x="246" y="23"/>
                  </a:lnTo>
                  <a:lnTo>
                    <a:pt x="248" y="24"/>
                  </a:lnTo>
                  <a:lnTo>
                    <a:pt x="250" y="24"/>
                  </a:lnTo>
                  <a:lnTo>
                    <a:pt x="256" y="22"/>
                  </a:lnTo>
                  <a:lnTo>
                    <a:pt x="257" y="22"/>
                  </a:lnTo>
                  <a:lnTo>
                    <a:pt x="260" y="22"/>
                  </a:lnTo>
                  <a:lnTo>
                    <a:pt x="262" y="22"/>
                  </a:lnTo>
                  <a:lnTo>
                    <a:pt x="267" y="23"/>
                  </a:lnTo>
                  <a:lnTo>
                    <a:pt x="267" y="23"/>
                  </a:lnTo>
                  <a:lnTo>
                    <a:pt x="267" y="23"/>
                  </a:lnTo>
                  <a:lnTo>
                    <a:pt x="268" y="22"/>
                  </a:lnTo>
                  <a:lnTo>
                    <a:pt x="270" y="21"/>
                  </a:lnTo>
                  <a:lnTo>
                    <a:pt x="274" y="16"/>
                  </a:lnTo>
                  <a:lnTo>
                    <a:pt x="279" y="12"/>
                  </a:lnTo>
                  <a:lnTo>
                    <a:pt x="279" y="11"/>
                  </a:lnTo>
                  <a:lnTo>
                    <a:pt x="279" y="11"/>
                  </a:lnTo>
                  <a:lnTo>
                    <a:pt x="280" y="12"/>
                  </a:lnTo>
                  <a:lnTo>
                    <a:pt x="282" y="13"/>
                  </a:lnTo>
                  <a:lnTo>
                    <a:pt x="284" y="17"/>
                  </a:lnTo>
                  <a:lnTo>
                    <a:pt x="286" y="23"/>
                  </a:lnTo>
                  <a:lnTo>
                    <a:pt x="289" y="27"/>
                  </a:lnTo>
                  <a:lnTo>
                    <a:pt x="290" y="31"/>
                  </a:lnTo>
                  <a:lnTo>
                    <a:pt x="291" y="35"/>
                  </a:lnTo>
                  <a:lnTo>
                    <a:pt x="293" y="43"/>
                  </a:lnTo>
                  <a:lnTo>
                    <a:pt x="295" y="46"/>
                  </a:lnTo>
                  <a:lnTo>
                    <a:pt x="295" y="47"/>
                  </a:lnTo>
                  <a:lnTo>
                    <a:pt x="296" y="48"/>
                  </a:lnTo>
                  <a:lnTo>
                    <a:pt x="298" y="50"/>
                  </a:lnTo>
                  <a:lnTo>
                    <a:pt x="299" y="51"/>
                  </a:lnTo>
                  <a:lnTo>
                    <a:pt x="301" y="52"/>
                  </a:lnTo>
                  <a:lnTo>
                    <a:pt x="302" y="53"/>
                  </a:lnTo>
                  <a:lnTo>
                    <a:pt x="306" y="53"/>
                  </a:lnTo>
                  <a:lnTo>
                    <a:pt x="312" y="54"/>
                  </a:lnTo>
                  <a:lnTo>
                    <a:pt x="315" y="55"/>
                  </a:lnTo>
                  <a:lnTo>
                    <a:pt x="318" y="56"/>
                  </a:lnTo>
                  <a:lnTo>
                    <a:pt x="324" y="58"/>
                  </a:lnTo>
                  <a:lnTo>
                    <a:pt x="326" y="60"/>
                  </a:lnTo>
                  <a:lnTo>
                    <a:pt x="330" y="61"/>
                  </a:lnTo>
                  <a:lnTo>
                    <a:pt x="334" y="62"/>
                  </a:lnTo>
                  <a:lnTo>
                    <a:pt x="337" y="63"/>
                  </a:lnTo>
                  <a:lnTo>
                    <a:pt x="340" y="64"/>
                  </a:lnTo>
                  <a:lnTo>
                    <a:pt x="352" y="66"/>
                  </a:lnTo>
                  <a:lnTo>
                    <a:pt x="356" y="67"/>
                  </a:lnTo>
                  <a:lnTo>
                    <a:pt x="359" y="69"/>
                  </a:lnTo>
                  <a:lnTo>
                    <a:pt x="364" y="70"/>
                  </a:lnTo>
                  <a:lnTo>
                    <a:pt x="366" y="71"/>
                  </a:lnTo>
                  <a:lnTo>
                    <a:pt x="367" y="72"/>
                  </a:lnTo>
                  <a:lnTo>
                    <a:pt x="369" y="74"/>
                  </a:lnTo>
                  <a:lnTo>
                    <a:pt x="370" y="75"/>
                  </a:lnTo>
                  <a:lnTo>
                    <a:pt x="370" y="76"/>
                  </a:lnTo>
                  <a:lnTo>
                    <a:pt x="370" y="77"/>
                  </a:lnTo>
                  <a:lnTo>
                    <a:pt x="370" y="78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70" y="81"/>
                  </a:lnTo>
                  <a:lnTo>
                    <a:pt x="370" y="83"/>
                  </a:lnTo>
                  <a:lnTo>
                    <a:pt x="369" y="86"/>
                  </a:lnTo>
                  <a:lnTo>
                    <a:pt x="367" y="90"/>
                  </a:lnTo>
                  <a:lnTo>
                    <a:pt x="364" y="94"/>
                  </a:lnTo>
                  <a:lnTo>
                    <a:pt x="359" y="100"/>
                  </a:lnTo>
                  <a:lnTo>
                    <a:pt x="358" y="102"/>
                  </a:lnTo>
                  <a:lnTo>
                    <a:pt x="358" y="103"/>
                  </a:lnTo>
                  <a:lnTo>
                    <a:pt x="358" y="104"/>
                  </a:lnTo>
                  <a:lnTo>
                    <a:pt x="358" y="106"/>
                  </a:lnTo>
                  <a:lnTo>
                    <a:pt x="358" y="107"/>
                  </a:lnTo>
                  <a:lnTo>
                    <a:pt x="358" y="108"/>
                  </a:lnTo>
                  <a:lnTo>
                    <a:pt x="359" y="109"/>
                  </a:lnTo>
                  <a:lnTo>
                    <a:pt x="360" y="110"/>
                  </a:lnTo>
                  <a:lnTo>
                    <a:pt x="362" y="111"/>
                  </a:lnTo>
                  <a:lnTo>
                    <a:pt x="367" y="114"/>
                  </a:lnTo>
                  <a:lnTo>
                    <a:pt x="368" y="115"/>
                  </a:lnTo>
                  <a:lnTo>
                    <a:pt x="369" y="116"/>
                  </a:lnTo>
                  <a:lnTo>
                    <a:pt x="370" y="118"/>
                  </a:lnTo>
                  <a:lnTo>
                    <a:pt x="375" y="124"/>
                  </a:lnTo>
                  <a:lnTo>
                    <a:pt x="378" y="127"/>
                  </a:lnTo>
                  <a:lnTo>
                    <a:pt x="380" y="130"/>
                  </a:lnTo>
                  <a:lnTo>
                    <a:pt x="383" y="133"/>
                  </a:lnTo>
                  <a:lnTo>
                    <a:pt x="389" y="138"/>
                  </a:lnTo>
                  <a:lnTo>
                    <a:pt x="392" y="141"/>
                  </a:lnTo>
                  <a:lnTo>
                    <a:pt x="393" y="142"/>
                  </a:lnTo>
                  <a:lnTo>
                    <a:pt x="394" y="142"/>
                  </a:lnTo>
                  <a:lnTo>
                    <a:pt x="395" y="143"/>
                  </a:lnTo>
                  <a:lnTo>
                    <a:pt x="396" y="142"/>
                  </a:lnTo>
                  <a:lnTo>
                    <a:pt x="396" y="142"/>
                  </a:lnTo>
                  <a:lnTo>
                    <a:pt x="396" y="142"/>
                  </a:lnTo>
                  <a:lnTo>
                    <a:pt x="396" y="142"/>
                  </a:lnTo>
                  <a:lnTo>
                    <a:pt x="396" y="143"/>
                  </a:lnTo>
                  <a:lnTo>
                    <a:pt x="396" y="147"/>
                  </a:lnTo>
                  <a:lnTo>
                    <a:pt x="396" y="154"/>
                  </a:lnTo>
                  <a:lnTo>
                    <a:pt x="395" y="161"/>
                  </a:lnTo>
                  <a:lnTo>
                    <a:pt x="395" y="167"/>
                  </a:lnTo>
                  <a:lnTo>
                    <a:pt x="394" y="173"/>
                  </a:lnTo>
                  <a:lnTo>
                    <a:pt x="392" y="192"/>
                  </a:lnTo>
                  <a:lnTo>
                    <a:pt x="392" y="195"/>
                  </a:lnTo>
                  <a:lnTo>
                    <a:pt x="392" y="198"/>
                  </a:lnTo>
                  <a:lnTo>
                    <a:pt x="392" y="201"/>
                  </a:lnTo>
                  <a:lnTo>
                    <a:pt x="392" y="203"/>
                  </a:lnTo>
                  <a:lnTo>
                    <a:pt x="396" y="216"/>
                  </a:lnTo>
                  <a:lnTo>
                    <a:pt x="397" y="218"/>
                  </a:lnTo>
                  <a:lnTo>
                    <a:pt x="399" y="225"/>
                  </a:lnTo>
                  <a:lnTo>
                    <a:pt x="400" y="227"/>
                  </a:lnTo>
                  <a:lnTo>
                    <a:pt x="401" y="230"/>
                  </a:lnTo>
                  <a:lnTo>
                    <a:pt x="403" y="233"/>
                  </a:lnTo>
                  <a:lnTo>
                    <a:pt x="407" y="242"/>
                  </a:lnTo>
                  <a:lnTo>
                    <a:pt x="410" y="249"/>
                  </a:lnTo>
                  <a:lnTo>
                    <a:pt x="412" y="251"/>
                  </a:lnTo>
                  <a:lnTo>
                    <a:pt x="413" y="254"/>
                  </a:lnTo>
                  <a:lnTo>
                    <a:pt x="417" y="261"/>
                  </a:lnTo>
                  <a:lnTo>
                    <a:pt x="426" y="273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7" y="288"/>
                  </a:lnTo>
                  <a:lnTo>
                    <a:pt x="438" y="291"/>
                  </a:lnTo>
                  <a:lnTo>
                    <a:pt x="438" y="293"/>
                  </a:lnTo>
                  <a:lnTo>
                    <a:pt x="439" y="294"/>
                  </a:lnTo>
                  <a:lnTo>
                    <a:pt x="439" y="295"/>
                  </a:lnTo>
                  <a:lnTo>
                    <a:pt x="439" y="297"/>
                  </a:lnTo>
                  <a:lnTo>
                    <a:pt x="439" y="301"/>
                  </a:lnTo>
                  <a:lnTo>
                    <a:pt x="439" y="311"/>
                  </a:lnTo>
                  <a:lnTo>
                    <a:pt x="439" y="314"/>
                  </a:lnTo>
                  <a:lnTo>
                    <a:pt x="439" y="317"/>
                  </a:lnTo>
                  <a:lnTo>
                    <a:pt x="440" y="319"/>
                  </a:lnTo>
                  <a:lnTo>
                    <a:pt x="440" y="320"/>
                  </a:lnTo>
                  <a:lnTo>
                    <a:pt x="441" y="322"/>
                  </a:lnTo>
                  <a:lnTo>
                    <a:pt x="442" y="325"/>
                  </a:lnTo>
                  <a:lnTo>
                    <a:pt x="443" y="326"/>
                  </a:lnTo>
                  <a:lnTo>
                    <a:pt x="444" y="328"/>
                  </a:lnTo>
                  <a:lnTo>
                    <a:pt x="445" y="329"/>
                  </a:lnTo>
                  <a:lnTo>
                    <a:pt x="447" y="331"/>
                  </a:lnTo>
                  <a:lnTo>
                    <a:pt x="449" y="332"/>
                  </a:lnTo>
                  <a:lnTo>
                    <a:pt x="451" y="335"/>
                  </a:lnTo>
                  <a:lnTo>
                    <a:pt x="460" y="343"/>
                  </a:lnTo>
                  <a:lnTo>
                    <a:pt x="462" y="345"/>
                  </a:lnTo>
                  <a:lnTo>
                    <a:pt x="464" y="348"/>
                  </a:lnTo>
                  <a:lnTo>
                    <a:pt x="466" y="350"/>
                  </a:lnTo>
                  <a:lnTo>
                    <a:pt x="468" y="352"/>
                  </a:lnTo>
                  <a:lnTo>
                    <a:pt x="469" y="353"/>
                  </a:lnTo>
                  <a:lnTo>
                    <a:pt x="471" y="355"/>
                  </a:lnTo>
                  <a:lnTo>
                    <a:pt x="472" y="358"/>
                  </a:lnTo>
                  <a:lnTo>
                    <a:pt x="472" y="361"/>
                  </a:lnTo>
                  <a:lnTo>
                    <a:pt x="474" y="365"/>
                  </a:lnTo>
                  <a:lnTo>
                    <a:pt x="476" y="371"/>
                  </a:lnTo>
                  <a:lnTo>
                    <a:pt x="477" y="376"/>
                  </a:lnTo>
                  <a:lnTo>
                    <a:pt x="478" y="380"/>
                  </a:lnTo>
                  <a:lnTo>
                    <a:pt x="478" y="382"/>
                  </a:lnTo>
                  <a:lnTo>
                    <a:pt x="478" y="383"/>
                  </a:lnTo>
                  <a:lnTo>
                    <a:pt x="478" y="383"/>
                  </a:lnTo>
                  <a:lnTo>
                    <a:pt x="478" y="383"/>
                  </a:lnTo>
                  <a:lnTo>
                    <a:pt x="477" y="383"/>
                  </a:lnTo>
                  <a:lnTo>
                    <a:pt x="473" y="383"/>
                  </a:lnTo>
                  <a:lnTo>
                    <a:pt x="469" y="385"/>
                  </a:lnTo>
                  <a:lnTo>
                    <a:pt x="461" y="386"/>
                  </a:lnTo>
                  <a:lnTo>
                    <a:pt x="458" y="388"/>
                  </a:lnTo>
                  <a:lnTo>
                    <a:pt x="453" y="389"/>
                  </a:lnTo>
                  <a:lnTo>
                    <a:pt x="449" y="389"/>
                  </a:lnTo>
                  <a:lnTo>
                    <a:pt x="446" y="390"/>
                  </a:lnTo>
                  <a:lnTo>
                    <a:pt x="441" y="390"/>
                  </a:lnTo>
                  <a:lnTo>
                    <a:pt x="437" y="389"/>
                  </a:lnTo>
                  <a:lnTo>
                    <a:pt x="431" y="388"/>
                  </a:lnTo>
                  <a:lnTo>
                    <a:pt x="414" y="385"/>
                  </a:lnTo>
                  <a:lnTo>
                    <a:pt x="410" y="384"/>
                  </a:lnTo>
                  <a:lnTo>
                    <a:pt x="407" y="382"/>
                  </a:lnTo>
                  <a:lnTo>
                    <a:pt x="404" y="380"/>
                  </a:lnTo>
                  <a:lnTo>
                    <a:pt x="400" y="378"/>
                  </a:lnTo>
                  <a:lnTo>
                    <a:pt x="396" y="375"/>
                  </a:lnTo>
                  <a:lnTo>
                    <a:pt x="387" y="369"/>
                  </a:lnTo>
                  <a:lnTo>
                    <a:pt x="384" y="367"/>
                  </a:lnTo>
                  <a:lnTo>
                    <a:pt x="381" y="365"/>
                  </a:lnTo>
                  <a:lnTo>
                    <a:pt x="379" y="363"/>
                  </a:lnTo>
                  <a:lnTo>
                    <a:pt x="376" y="363"/>
                  </a:lnTo>
                  <a:lnTo>
                    <a:pt x="373" y="363"/>
                  </a:lnTo>
                  <a:lnTo>
                    <a:pt x="370" y="363"/>
                  </a:lnTo>
                  <a:lnTo>
                    <a:pt x="364" y="362"/>
                  </a:lnTo>
                  <a:lnTo>
                    <a:pt x="360" y="362"/>
                  </a:lnTo>
                  <a:lnTo>
                    <a:pt x="358" y="361"/>
                  </a:lnTo>
                  <a:lnTo>
                    <a:pt x="349" y="359"/>
                  </a:lnTo>
                  <a:lnTo>
                    <a:pt x="347" y="358"/>
                  </a:lnTo>
                  <a:lnTo>
                    <a:pt x="343" y="358"/>
                  </a:lnTo>
                  <a:lnTo>
                    <a:pt x="336" y="358"/>
                  </a:lnTo>
                  <a:lnTo>
                    <a:pt x="329" y="358"/>
                  </a:lnTo>
                  <a:lnTo>
                    <a:pt x="322" y="359"/>
                  </a:lnTo>
                  <a:lnTo>
                    <a:pt x="315" y="360"/>
                  </a:lnTo>
                  <a:lnTo>
                    <a:pt x="305" y="362"/>
                  </a:lnTo>
                  <a:lnTo>
                    <a:pt x="298" y="363"/>
                  </a:lnTo>
                  <a:lnTo>
                    <a:pt x="285" y="367"/>
                  </a:lnTo>
                  <a:lnTo>
                    <a:pt x="272" y="371"/>
                  </a:lnTo>
                  <a:lnTo>
                    <a:pt x="268" y="372"/>
                  </a:lnTo>
                  <a:lnTo>
                    <a:pt x="264" y="373"/>
                  </a:lnTo>
                  <a:lnTo>
                    <a:pt x="262" y="373"/>
                  </a:lnTo>
                  <a:lnTo>
                    <a:pt x="259" y="373"/>
                  </a:lnTo>
                  <a:lnTo>
                    <a:pt x="256" y="373"/>
                  </a:lnTo>
                  <a:lnTo>
                    <a:pt x="255" y="373"/>
                  </a:lnTo>
                  <a:lnTo>
                    <a:pt x="253" y="372"/>
                  </a:lnTo>
                  <a:lnTo>
                    <a:pt x="251" y="371"/>
                  </a:lnTo>
                  <a:lnTo>
                    <a:pt x="250" y="370"/>
                  </a:lnTo>
                  <a:lnTo>
                    <a:pt x="249" y="368"/>
                  </a:lnTo>
                  <a:lnTo>
                    <a:pt x="247" y="366"/>
                  </a:lnTo>
                  <a:lnTo>
                    <a:pt x="246" y="364"/>
                  </a:lnTo>
                  <a:lnTo>
                    <a:pt x="243" y="358"/>
                  </a:lnTo>
                  <a:lnTo>
                    <a:pt x="241" y="355"/>
                  </a:lnTo>
                  <a:lnTo>
                    <a:pt x="240" y="354"/>
                  </a:lnTo>
                  <a:lnTo>
                    <a:pt x="237" y="352"/>
                  </a:lnTo>
                  <a:lnTo>
                    <a:pt x="234" y="349"/>
                  </a:lnTo>
                  <a:lnTo>
                    <a:pt x="232" y="347"/>
                  </a:lnTo>
                  <a:lnTo>
                    <a:pt x="229" y="345"/>
                  </a:lnTo>
                  <a:lnTo>
                    <a:pt x="226" y="343"/>
                  </a:lnTo>
                  <a:lnTo>
                    <a:pt x="222" y="341"/>
                  </a:lnTo>
                  <a:lnTo>
                    <a:pt x="219" y="341"/>
                  </a:lnTo>
                  <a:lnTo>
                    <a:pt x="214" y="339"/>
                  </a:lnTo>
                  <a:lnTo>
                    <a:pt x="210" y="338"/>
                  </a:lnTo>
                  <a:lnTo>
                    <a:pt x="206" y="338"/>
                  </a:lnTo>
                  <a:lnTo>
                    <a:pt x="202" y="338"/>
                  </a:lnTo>
                  <a:lnTo>
                    <a:pt x="200" y="338"/>
                  </a:lnTo>
                  <a:lnTo>
                    <a:pt x="200" y="338"/>
                  </a:lnTo>
                  <a:lnTo>
                    <a:pt x="199" y="338"/>
                  </a:lnTo>
                  <a:lnTo>
                    <a:pt x="198" y="338"/>
                  </a:lnTo>
                  <a:lnTo>
                    <a:pt x="196" y="339"/>
                  </a:lnTo>
                  <a:lnTo>
                    <a:pt x="194" y="340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8" y="340"/>
                  </a:lnTo>
                  <a:lnTo>
                    <a:pt x="187" y="338"/>
                  </a:lnTo>
                  <a:lnTo>
                    <a:pt x="184" y="332"/>
                  </a:lnTo>
                  <a:lnTo>
                    <a:pt x="180" y="324"/>
                  </a:lnTo>
                  <a:lnTo>
                    <a:pt x="178" y="320"/>
                  </a:lnTo>
                  <a:lnTo>
                    <a:pt x="176" y="317"/>
                  </a:lnTo>
                  <a:lnTo>
                    <a:pt x="174" y="314"/>
                  </a:lnTo>
                  <a:lnTo>
                    <a:pt x="173" y="313"/>
                  </a:lnTo>
                  <a:lnTo>
                    <a:pt x="172" y="312"/>
                  </a:lnTo>
                  <a:lnTo>
                    <a:pt x="171" y="312"/>
                  </a:lnTo>
                  <a:lnTo>
                    <a:pt x="170" y="312"/>
                  </a:lnTo>
                  <a:lnTo>
                    <a:pt x="169" y="312"/>
                  </a:lnTo>
                  <a:lnTo>
                    <a:pt x="167" y="312"/>
                  </a:lnTo>
                  <a:lnTo>
                    <a:pt x="165" y="312"/>
                  </a:lnTo>
                  <a:lnTo>
                    <a:pt x="163" y="312"/>
                  </a:lnTo>
                  <a:lnTo>
                    <a:pt x="161" y="313"/>
                  </a:lnTo>
                  <a:lnTo>
                    <a:pt x="159" y="314"/>
                  </a:lnTo>
                  <a:lnTo>
                    <a:pt x="157" y="316"/>
                  </a:lnTo>
                  <a:lnTo>
                    <a:pt x="154" y="318"/>
                  </a:lnTo>
                  <a:lnTo>
                    <a:pt x="149" y="322"/>
                  </a:lnTo>
                  <a:lnTo>
                    <a:pt x="147" y="324"/>
                  </a:lnTo>
                  <a:lnTo>
                    <a:pt x="146" y="324"/>
                  </a:lnTo>
                  <a:lnTo>
                    <a:pt x="144" y="324"/>
                  </a:lnTo>
                  <a:lnTo>
                    <a:pt x="143" y="324"/>
                  </a:lnTo>
                  <a:lnTo>
                    <a:pt x="142" y="323"/>
                  </a:lnTo>
                  <a:lnTo>
                    <a:pt x="141" y="322"/>
                  </a:lnTo>
                  <a:lnTo>
                    <a:pt x="140" y="321"/>
                  </a:lnTo>
                  <a:lnTo>
                    <a:pt x="139" y="320"/>
                  </a:lnTo>
                  <a:lnTo>
                    <a:pt x="138" y="317"/>
                  </a:lnTo>
                  <a:lnTo>
                    <a:pt x="137" y="314"/>
                  </a:lnTo>
                  <a:lnTo>
                    <a:pt x="137" y="313"/>
                  </a:lnTo>
                  <a:lnTo>
                    <a:pt x="137" y="312"/>
                  </a:lnTo>
                  <a:lnTo>
                    <a:pt x="137" y="310"/>
                  </a:lnTo>
                  <a:lnTo>
                    <a:pt x="138" y="307"/>
                  </a:lnTo>
                  <a:lnTo>
                    <a:pt x="139" y="306"/>
                  </a:lnTo>
                  <a:lnTo>
                    <a:pt x="141" y="302"/>
                  </a:lnTo>
                  <a:lnTo>
                    <a:pt x="142" y="299"/>
                  </a:lnTo>
                  <a:lnTo>
                    <a:pt x="142" y="298"/>
                  </a:lnTo>
                  <a:lnTo>
                    <a:pt x="142" y="296"/>
                  </a:lnTo>
                  <a:lnTo>
                    <a:pt x="142" y="295"/>
                  </a:lnTo>
                  <a:lnTo>
                    <a:pt x="142" y="294"/>
                  </a:lnTo>
                  <a:lnTo>
                    <a:pt x="141" y="291"/>
                  </a:lnTo>
                  <a:lnTo>
                    <a:pt x="139" y="289"/>
                  </a:lnTo>
                  <a:lnTo>
                    <a:pt x="136" y="283"/>
                  </a:lnTo>
                  <a:lnTo>
                    <a:pt x="131" y="275"/>
                  </a:lnTo>
                  <a:lnTo>
                    <a:pt x="128" y="270"/>
                  </a:lnTo>
                  <a:lnTo>
                    <a:pt x="123" y="265"/>
                  </a:lnTo>
                  <a:lnTo>
                    <a:pt x="121" y="262"/>
                  </a:lnTo>
                  <a:lnTo>
                    <a:pt x="116" y="257"/>
                  </a:lnTo>
                  <a:lnTo>
                    <a:pt x="107" y="248"/>
                  </a:lnTo>
                  <a:lnTo>
                    <a:pt x="104" y="245"/>
                  </a:lnTo>
                  <a:lnTo>
                    <a:pt x="99" y="242"/>
                  </a:lnTo>
                  <a:lnTo>
                    <a:pt x="81" y="228"/>
                  </a:lnTo>
                  <a:lnTo>
                    <a:pt x="79" y="227"/>
                  </a:lnTo>
                  <a:lnTo>
                    <a:pt x="77" y="225"/>
                  </a:lnTo>
                  <a:lnTo>
                    <a:pt x="75" y="223"/>
                  </a:lnTo>
                  <a:lnTo>
                    <a:pt x="74" y="221"/>
                  </a:lnTo>
                  <a:lnTo>
                    <a:pt x="71" y="216"/>
                  </a:lnTo>
                  <a:lnTo>
                    <a:pt x="70" y="214"/>
                  </a:lnTo>
                  <a:lnTo>
                    <a:pt x="66" y="207"/>
                  </a:lnTo>
                  <a:lnTo>
                    <a:pt x="64" y="205"/>
                  </a:lnTo>
                  <a:lnTo>
                    <a:pt x="63" y="202"/>
                  </a:lnTo>
                  <a:lnTo>
                    <a:pt x="59" y="196"/>
                  </a:lnTo>
                  <a:lnTo>
                    <a:pt x="56" y="193"/>
                  </a:lnTo>
                  <a:lnTo>
                    <a:pt x="54" y="190"/>
                  </a:lnTo>
                  <a:lnTo>
                    <a:pt x="52" y="188"/>
                  </a:lnTo>
                  <a:lnTo>
                    <a:pt x="50" y="186"/>
                  </a:lnTo>
                  <a:lnTo>
                    <a:pt x="48" y="185"/>
                  </a:lnTo>
                  <a:lnTo>
                    <a:pt x="47" y="185"/>
                  </a:lnTo>
                  <a:lnTo>
                    <a:pt x="45" y="185"/>
                  </a:lnTo>
                  <a:lnTo>
                    <a:pt x="44" y="185"/>
                  </a:lnTo>
                  <a:lnTo>
                    <a:pt x="42" y="185"/>
                  </a:lnTo>
                  <a:lnTo>
                    <a:pt x="41" y="186"/>
                  </a:lnTo>
                  <a:lnTo>
                    <a:pt x="39" y="189"/>
                  </a:lnTo>
                  <a:lnTo>
                    <a:pt x="38" y="189"/>
                  </a:lnTo>
                  <a:lnTo>
                    <a:pt x="36" y="190"/>
                  </a:lnTo>
                  <a:lnTo>
                    <a:pt x="34" y="190"/>
                  </a:lnTo>
                  <a:lnTo>
                    <a:pt x="32" y="191"/>
                  </a:lnTo>
                  <a:lnTo>
                    <a:pt x="30" y="190"/>
                  </a:lnTo>
                  <a:lnTo>
                    <a:pt x="28" y="190"/>
                  </a:lnTo>
                  <a:lnTo>
                    <a:pt x="26" y="189"/>
                  </a:lnTo>
                  <a:lnTo>
                    <a:pt x="22" y="188"/>
                  </a:lnTo>
                  <a:lnTo>
                    <a:pt x="17" y="186"/>
                  </a:lnTo>
                  <a:lnTo>
                    <a:pt x="14" y="183"/>
                  </a:lnTo>
                  <a:lnTo>
                    <a:pt x="10" y="182"/>
                  </a:lnTo>
                  <a:lnTo>
                    <a:pt x="6" y="180"/>
                  </a:lnTo>
                  <a:lnTo>
                    <a:pt x="4" y="178"/>
                  </a:lnTo>
                  <a:lnTo>
                    <a:pt x="4" y="177"/>
                  </a:lnTo>
                  <a:lnTo>
                    <a:pt x="4" y="177"/>
                  </a:lnTo>
                  <a:lnTo>
                    <a:pt x="4" y="176"/>
                  </a:lnTo>
                  <a:lnTo>
                    <a:pt x="5" y="170"/>
                  </a:lnTo>
                  <a:lnTo>
                    <a:pt x="5" y="169"/>
                  </a:lnTo>
                  <a:lnTo>
                    <a:pt x="5" y="168"/>
                  </a:lnTo>
                  <a:lnTo>
                    <a:pt x="4" y="162"/>
                  </a:lnTo>
                  <a:lnTo>
                    <a:pt x="1" y="157"/>
                  </a:lnTo>
                  <a:lnTo>
                    <a:pt x="0" y="150"/>
                  </a:lnTo>
                  <a:lnTo>
                    <a:pt x="0" y="149"/>
                  </a:lnTo>
                  <a:lnTo>
                    <a:pt x="0" y="148"/>
                  </a:lnTo>
                  <a:lnTo>
                    <a:pt x="0" y="145"/>
                  </a:lnTo>
                  <a:lnTo>
                    <a:pt x="1" y="142"/>
                  </a:lnTo>
                  <a:lnTo>
                    <a:pt x="2" y="138"/>
                  </a:lnTo>
                  <a:lnTo>
                    <a:pt x="3" y="137"/>
                  </a:lnTo>
                  <a:lnTo>
                    <a:pt x="5" y="134"/>
                  </a:lnTo>
                  <a:lnTo>
                    <a:pt x="6" y="132"/>
                  </a:lnTo>
                  <a:lnTo>
                    <a:pt x="6" y="130"/>
                  </a:lnTo>
                  <a:lnTo>
                    <a:pt x="9" y="127"/>
                  </a:lnTo>
                  <a:lnTo>
                    <a:pt x="11" y="125"/>
                  </a:lnTo>
                  <a:lnTo>
                    <a:pt x="11" y="125"/>
                  </a:lnTo>
                  <a:lnTo>
                    <a:pt x="17" y="125"/>
                  </a:lnTo>
                  <a:lnTo>
                    <a:pt x="21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31" y="124"/>
                  </a:lnTo>
                  <a:lnTo>
                    <a:pt x="33" y="123"/>
                  </a:lnTo>
                  <a:lnTo>
                    <a:pt x="36" y="122"/>
                  </a:lnTo>
                  <a:lnTo>
                    <a:pt x="47" y="115"/>
                  </a:lnTo>
                  <a:lnTo>
                    <a:pt x="55" y="112"/>
                  </a:lnTo>
                  <a:lnTo>
                    <a:pt x="57" y="111"/>
                  </a:lnTo>
                  <a:lnTo>
                    <a:pt x="59" y="109"/>
                  </a:lnTo>
                  <a:lnTo>
                    <a:pt x="60" y="108"/>
                  </a:lnTo>
                  <a:lnTo>
                    <a:pt x="62" y="106"/>
                  </a:lnTo>
                  <a:lnTo>
                    <a:pt x="63" y="104"/>
                  </a:lnTo>
                  <a:lnTo>
                    <a:pt x="64" y="103"/>
                  </a:lnTo>
                  <a:lnTo>
                    <a:pt x="68" y="95"/>
                  </a:lnTo>
                  <a:lnTo>
                    <a:pt x="70" y="93"/>
                  </a:lnTo>
                  <a:lnTo>
                    <a:pt x="71" y="92"/>
                  </a:lnTo>
                  <a:lnTo>
                    <a:pt x="73" y="91"/>
                  </a:lnTo>
                  <a:lnTo>
                    <a:pt x="74" y="90"/>
                  </a:lnTo>
                  <a:lnTo>
                    <a:pt x="74" y="89"/>
                  </a:lnTo>
                  <a:lnTo>
                    <a:pt x="75" y="89"/>
                  </a:lnTo>
                  <a:lnTo>
                    <a:pt x="78" y="88"/>
                  </a:lnTo>
                  <a:lnTo>
                    <a:pt x="80" y="88"/>
                  </a:lnTo>
                  <a:lnTo>
                    <a:pt x="82" y="88"/>
                  </a:lnTo>
                  <a:lnTo>
                    <a:pt x="85" y="88"/>
                  </a:lnTo>
                  <a:lnTo>
                    <a:pt x="88" y="87"/>
                  </a:lnTo>
                  <a:lnTo>
                    <a:pt x="91" y="87"/>
                  </a:lnTo>
                  <a:lnTo>
                    <a:pt x="96" y="85"/>
                  </a:lnTo>
                  <a:lnTo>
                    <a:pt x="98" y="84"/>
                  </a:lnTo>
                  <a:lnTo>
                    <a:pt x="100" y="83"/>
                  </a:lnTo>
                  <a:lnTo>
                    <a:pt x="106" y="83"/>
                  </a:lnTo>
                  <a:lnTo>
                    <a:pt x="112" y="81"/>
                  </a:lnTo>
                  <a:lnTo>
                    <a:pt x="116" y="81"/>
                  </a:lnTo>
                  <a:lnTo>
                    <a:pt x="120" y="81"/>
                  </a:lnTo>
                  <a:lnTo>
                    <a:pt x="123" y="81"/>
                  </a:lnTo>
                  <a:lnTo>
                    <a:pt x="125" y="81"/>
                  </a:lnTo>
                  <a:lnTo>
                    <a:pt x="128" y="80"/>
                  </a:lnTo>
                  <a:lnTo>
                    <a:pt x="130" y="80"/>
                  </a:lnTo>
                  <a:lnTo>
                    <a:pt x="131" y="80"/>
                  </a:lnTo>
                  <a:lnTo>
                    <a:pt x="134" y="78"/>
                  </a:lnTo>
                  <a:lnTo>
                    <a:pt x="140" y="75"/>
                  </a:lnTo>
                  <a:lnTo>
                    <a:pt x="142" y="74"/>
                  </a:lnTo>
                  <a:lnTo>
                    <a:pt x="149" y="71"/>
                  </a:lnTo>
                  <a:lnTo>
                    <a:pt x="151" y="70"/>
                  </a:lnTo>
                  <a:lnTo>
                    <a:pt x="153" y="69"/>
                  </a:lnTo>
                  <a:lnTo>
                    <a:pt x="154" y="69"/>
                  </a:lnTo>
                  <a:lnTo>
                    <a:pt x="156" y="68"/>
                  </a:lnTo>
                  <a:lnTo>
                    <a:pt x="166" y="59"/>
                  </a:lnTo>
                  <a:lnTo>
                    <a:pt x="171" y="57"/>
                  </a:lnTo>
                  <a:lnTo>
                    <a:pt x="176" y="54"/>
                  </a:lnTo>
                  <a:lnTo>
                    <a:pt x="187" y="47"/>
                  </a:lnTo>
                  <a:lnTo>
                    <a:pt x="193" y="44"/>
                  </a:lnTo>
                  <a:lnTo>
                    <a:pt x="195" y="43"/>
                  </a:lnTo>
                  <a:lnTo>
                    <a:pt x="197" y="42"/>
                  </a:lnTo>
                  <a:lnTo>
                    <a:pt x="199" y="40"/>
                  </a:lnTo>
                  <a:lnTo>
                    <a:pt x="200" y="39"/>
                  </a:lnTo>
                  <a:lnTo>
                    <a:pt x="202" y="36"/>
                  </a:lnTo>
                  <a:lnTo>
                    <a:pt x="204" y="34"/>
                  </a:lnTo>
                  <a:lnTo>
                    <a:pt x="206" y="32"/>
                  </a:lnTo>
                  <a:lnTo>
                    <a:pt x="208" y="28"/>
                  </a:lnTo>
                  <a:lnTo>
                    <a:pt x="210" y="24"/>
                  </a:lnTo>
                  <a:lnTo>
                    <a:pt x="213" y="15"/>
                  </a:lnTo>
                  <a:lnTo>
                    <a:pt x="214" y="12"/>
                  </a:lnTo>
                  <a:lnTo>
                    <a:pt x="217" y="8"/>
                  </a:lnTo>
                  <a:lnTo>
                    <a:pt x="219" y="2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3" name="Freeform 82">
              <a:extLst>
                <a:ext uri="{FF2B5EF4-FFF2-40B4-BE49-F238E27FC236}">
                  <a16:creationId xmlns:a16="http://schemas.microsoft.com/office/drawing/2014/main" id="{C629975E-65A4-4AD8-888A-40583FD4F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" y="2108"/>
              <a:ext cx="605" cy="407"/>
            </a:xfrm>
            <a:custGeom>
              <a:avLst/>
              <a:gdLst>
                <a:gd name="T0" fmla="*/ 392 w 605"/>
                <a:gd name="T1" fmla="*/ 3 h 407"/>
                <a:gd name="T2" fmla="*/ 419 w 605"/>
                <a:gd name="T3" fmla="*/ 28 h 407"/>
                <a:gd name="T4" fmla="*/ 437 w 605"/>
                <a:gd name="T5" fmla="*/ 66 h 407"/>
                <a:gd name="T6" fmla="*/ 472 w 605"/>
                <a:gd name="T7" fmla="*/ 81 h 407"/>
                <a:gd name="T8" fmla="*/ 490 w 605"/>
                <a:gd name="T9" fmla="*/ 73 h 407"/>
                <a:gd name="T10" fmla="*/ 507 w 605"/>
                <a:gd name="T11" fmla="*/ 74 h 407"/>
                <a:gd name="T12" fmla="*/ 526 w 605"/>
                <a:gd name="T13" fmla="*/ 95 h 407"/>
                <a:gd name="T14" fmla="*/ 561 w 605"/>
                <a:gd name="T15" fmla="*/ 109 h 407"/>
                <a:gd name="T16" fmla="*/ 577 w 605"/>
                <a:gd name="T17" fmla="*/ 136 h 407"/>
                <a:gd name="T18" fmla="*/ 601 w 605"/>
                <a:gd name="T19" fmla="*/ 160 h 407"/>
                <a:gd name="T20" fmla="*/ 600 w 605"/>
                <a:gd name="T21" fmla="*/ 170 h 407"/>
                <a:gd name="T22" fmla="*/ 563 w 605"/>
                <a:gd name="T23" fmla="*/ 206 h 407"/>
                <a:gd name="T24" fmla="*/ 529 w 605"/>
                <a:gd name="T25" fmla="*/ 226 h 407"/>
                <a:gd name="T26" fmla="*/ 502 w 605"/>
                <a:gd name="T27" fmla="*/ 231 h 407"/>
                <a:gd name="T28" fmla="*/ 451 w 605"/>
                <a:gd name="T29" fmla="*/ 212 h 407"/>
                <a:gd name="T30" fmla="*/ 428 w 605"/>
                <a:gd name="T31" fmla="*/ 205 h 407"/>
                <a:gd name="T32" fmla="*/ 407 w 605"/>
                <a:gd name="T33" fmla="*/ 235 h 407"/>
                <a:gd name="T34" fmla="*/ 405 w 605"/>
                <a:gd name="T35" fmla="*/ 255 h 407"/>
                <a:gd name="T36" fmla="*/ 404 w 605"/>
                <a:gd name="T37" fmla="*/ 285 h 407"/>
                <a:gd name="T38" fmla="*/ 393 w 605"/>
                <a:gd name="T39" fmla="*/ 304 h 407"/>
                <a:gd name="T40" fmla="*/ 371 w 605"/>
                <a:gd name="T41" fmla="*/ 305 h 407"/>
                <a:gd name="T42" fmla="*/ 350 w 605"/>
                <a:gd name="T43" fmla="*/ 284 h 407"/>
                <a:gd name="T44" fmla="*/ 333 w 605"/>
                <a:gd name="T45" fmla="*/ 310 h 407"/>
                <a:gd name="T46" fmla="*/ 312 w 605"/>
                <a:gd name="T47" fmla="*/ 329 h 407"/>
                <a:gd name="T48" fmla="*/ 267 w 605"/>
                <a:gd name="T49" fmla="*/ 356 h 407"/>
                <a:gd name="T50" fmla="*/ 241 w 605"/>
                <a:gd name="T51" fmla="*/ 363 h 407"/>
                <a:gd name="T52" fmla="*/ 207 w 605"/>
                <a:gd name="T53" fmla="*/ 370 h 407"/>
                <a:gd name="T54" fmla="*/ 193 w 605"/>
                <a:gd name="T55" fmla="*/ 377 h 407"/>
                <a:gd name="T56" fmla="*/ 161 w 605"/>
                <a:gd name="T57" fmla="*/ 404 h 407"/>
                <a:gd name="T58" fmla="*/ 133 w 605"/>
                <a:gd name="T59" fmla="*/ 392 h 407"/>
                <a:gd name="T60" fmla="*/ 123 w 605"/>
                <a:gd name="T61" fmla="*/ 368 h 407"/>
                <a:gd name="T62" fmla="*/ 99 w 605"/>
                <a:gd name="T63" fmla="*/ 369 h 407"/>
                <a:gd name="T64" fmla="*/ 51 w 605"/>
                <a:gd name="T65" fmla="*/ 378 h 407"/>
                <a:gd name="T66" fmla="*/ 10 w 605"/>
                <a:gd name="T67" fmla="*/ 354 h 407"/>
                <a:gd name="T68" fmla="*/ 0 w 605"/>
                <a:gd name="T69" fmla="*/ 336 h 407"/>
                <a:gd name="T70" fmla="*/ 26 w 605"/>
                <a:gd name="T71" fmla="*/ 308 h 407"/>
                <a:gd name="T72" fmla="*/ 40 w 605"/>
                <a:gd name="T73" fmla="*/ 271 h 407"/>
                <a:gd name="T74" fmla="*/ 51 w 605"/>
                <a:gd name="T75" fmla="*/ 249 h 407"/>
                <a:gd name="T76" fmla="*/ 52 w 605"/>
                <a:gd name="T77" fmla="*/ 215 h 407"/>
                <a:gd name="T78" fmla="*/ 61 w 605"/>
                <a:gd name="T79" fmla="*/ 195 h 407"/>
                <a:gd name="T80" fmla="*/ 105 w 605"/>
                <a:gd name="T81" fmla="*/ 167 h 407"/>
                <a:gd name="T82" fmla="*/ 133 w 605"/>
                <a:gd name="T83" fmla="*/ 147 h 407"/>
                <a:gd name="T84" fmla="*/ 126 w 605"/>
                <a:gd name="T85" fmla="*/ 136 h 407"/>
                <a:gd name="T86" fmla="*/ 95 w 605"/>
                <a:gd name="T87" fmla="*/ 110 h 407"/>
                <a:gd name="T88" fmla="*/ 79 w 605"/>
                <a:gd name="T89" fmla="*/ 107 h 407"/>
                <a:gd name="T90" fmla="*/ 72 w 605"/>
                <a:gd name="T91" fmla="*/ 99 h 407"/>
                <a:gd name="T92" fmla="*/ 104 w 605"/>
                <a:gd name="T93" fmla="*/ 56 h 407"/>
                <a:gd name="T94" fmla="*/ 132 w 605"/>
                <a:gd name="T95" fmla="*/ 43 h 407"/>
                <a:gd name="T96" fmla="*/ 179 w 605"/>
                <a:gd name="T97" fmla="*/ 30 h 407"/>
                <a:gd name="T98" fmla="*/ 186 w 605"/>
                <a:gd name="T99" fmla="*/ 48 h 407"/>
                <a:gd name="T100" fmla="*/ 214 w 605"/>
                <a:gd name="T101" fmla="*/ 67 h 407"/>
                <a:gd name="T102" fmla="*/ 230 w 605"/>
                <a:gd name="T103" fmla="*/ 87 h 407"/>
                <a:gd name="T104" fmla="*/ 252 w 605"/>
                <a:gd name="T105" fmla="*/ 102 h 407"/>
                <a:gd name="T106" fmla="*/ 286 w 605"/>
                <a:gd name="T107" fmla="*/ 101 h 407"/>
                <a:gd name="T108" fmla="*/ 319 w 605"/>
                <a:gd name="T109" fmla="*/ 75 h 407"/>
                <a:gd name="T110" fmla="*/ 354 w 605"/>
                <a:gd name="T111" fmla="*/ 58 h 407"/>
                <a:gd name="T112" fmla="*/ 382 w 605"/>
                <a:gd name="T113" fmla="*/ 59 h 407"/>
                <a:gd name="T114" fmla="*/ 387 w 605"/>
                <a:gd name="T115" fmla="*/ 40 h 407"/>
                <a:gd name="T116" fmla="*/ 369 w 605"/>
                <a:gd name="T117" fmla="*/ 30 h 407"/>
                <a:gd name="T118" fmla="*/ 360 w 605"/>
                <a:gd name="T119" fmla="*/ 21 h 407"/>
                <a:gd name="T120" fmla="*/ 372 w 605"/>
                <a:gd name="T121" fmla="*/ 4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05" h="407">
                  <a:moveTo>
                    <a:pt x="383" y="0"/>
                  </a:moveTo>
                  <a:lnTo>
                    <a:pt x="386" y="0"/>
                  </a:lnTo>
                  <a:lnTo>
                    <a:pt x="388" y="1"/>
                  </a:lnTo>
                  <a:lnTo>
                    <a:pt x="389" y="1"/>
                  </a:lnTo>
                  <a:lnTo>
                    <a:pt x="390" y="1"/>
                  </a:lnTo>
                  <a:lnTo>
                    <a:pt x="390" y="2"/>
                  </a:lnTo>
                  <a:lnTo>
                    <a:pt x="391" y="2"/>
                  </a:lnTo>
                  <a:lnTo>
                    <a:pt x="392" y="2"/>
                  </a:lnTo>
                  <a:lnTo>
                    <a:pt x="392" y="3"/>
                  </a:lnTo>
                  <a:lnTo>
                    <a:pt x="394" y="4"/>
                  </a:lnTo>
                  <a:lnTo>
                    <a:pt x="398" y="7"/>
                  </a:lnTo>
                  <a:lnTo>
                    <a:pt x="406" y="13"/>
                  </a:lnTo>
                  <a:lnTo>
                    <a:pt x="410" y="16"/>
                  </a:lnTo>
                  <a:lnTo>
                    <a:pt x="413" y="19"/>
                  </a:lnTo>
                  <a:lnTo>
                    <a:pt x="415" y="22"/>
                  </a:lnTo>
                  <a:lnTo>
                    <a:pt x="416" y="23"/>
                  </a:lnTo>
                  <a:lnTo>
                    <a:pt x="418" y="26"/>
                  </a:lnTo>
                  <a:lnTo>
                    <a:pt x="419" y="28"/>
                  </a:lnTo>
                  <a:lnTo>
                    <a:pt x="426" y="41"/>
                  </a:lnTo>
                  <a:lnTo>
                    <a:pt x="426" y="45"/>
                  </a:lnTo>
                  <a:lnTo>
                    <a:pt x="428" y="52"/>
                  </a:lnTo>
                  <a:lnTo>
                    <a:pt x="429" y="54"/>
                  </a:lnTo>
                  <a:lnTo>
                    <a:pt x="430" y="56"/>
                  </a:lnTo>
                  <a:lnTo>
                    <a:pt x="431" y="58"/>
                  </a:lnTo>
                  <a:lnTo>
                    <a:pt x="433" y="61"/>
                  </a:lnTo>
                  <a:lnTo>
                    <a:pt x="435" y="64"/>
                  </a:lnTo>
                  <a:lnTo>
                    <a:pt x="437" y="66"/>
                  </a:lnTo>
                  <a:lnTo>
                    <a:pt x="438" y="68"/>
                  </a:lnTo>
                  <a:lnTo>
                    <a:pt x="440" y="69"/>
                  </a:lnTo>
                  <a:lnTo>
                    <a:pt x="444" y="71"/>
                  </a:lnTo>
                  <a:lnTo>
                    <a:pt x="446" y="72"/>
                  </a:lnTo>
                  <a:lnTo>
                    <a:pt x="448" y="73"/>
                  </a:lnTo>
                  <a:lnTo>
                    <a:pt x="455" y="76"/>
                  </a:lnTo>
                  <a:lnTo>
                    <a:pt x="467" y="80"/>
                  </a:lnTo>
                  <a:lnTo>
                    <a:pt x="470" y="81"/>
                  </a:lnTo>
                  <a:lnTo>
                    <a:pt x="472" y="81"/>
                  </a:lnTo>
                  <a:lnTo>
                    <a:pt x="473" y="81"/>
                  </a:lnTo>
                  <a:lnTo>
                    <a:pt x="476" y="81"/>
                  </a:lnTo>
                  <a:lnTo>
                    <a:pt x="477" y="80"/>
                  </a:lnTo>
                  <a:lnTo>
                    <a:pt x="479" y="80"/>
                  </a:lnTo>
                  <a:lnTo>
                    <a:pt x="480" y="79"/>
                  </a:lnTo>
                  <a:lnTo>
                    <a:pt x="482" y="79"/>
                  </a:lnTo>
                  <a:lnTo>
                    <a:pt x="486" y="75"/>
                  </a:lnTo>
                  <a:lnTo>
                    <a:pt x="488" y="74"/>
                  </a:lnTo>
                  <a:lnTo>
                    <a:pt x="490" y="73"/>
                  </a:lnTo>
                  <a:lnTo>
                    <a:pt x="491" y="72"/>
                  </a:lnTo>
                  <a:lnTo>
                    <a:pt x="493" y="72"/>
                  </a:lnTo>
                  <a:lnTo>
                    <a:pt x="494" y="72"/>
                  </a:lnTo>
                  <a:lnTo>
                    <a:pt x="495" y="71"/>
                  </a:lnTo>
                  <a:lnTo>
                    <a:pt x="497" y="71"/>
                  </a:lnTo>
                  <a:lnTo>
                    <a:pt x="499" y="72"/>
                  </a:lnTo>
                  <a:lnTo>
                    <a:pt x="502" y="72"/>
                  </a:lnTo>
                  <a:lnTo>
                    <a:pt x="506" y="74"/>
                  </a:lnTo>
                  <a:lnTo>
                    <a:pt x="507" y="74"/>
                  </a:lnTo>
                  <a:lnTo>
                    <a:pt x="508" y="75"/>
                  </a:lnTo>
                  <a:lnTo>
                    <a:pt x="509" y="76"/>
                  </a:lnTo>
                  <a:lnTo>
                    <a:pt x="511" y="77"/>
                  </a:lnTo>
                  <a:lnTo>
                    <a:pt x="513" y="79"/>
                  </a:lnTo>
                  <a:lnTo>
                    <a:pt x="516" y="82"/>
                  </a:lnTo>
                  <a:lnTo>
                    <a:pt x="520" y="90"/>
                  </a:lnTo>
                  <a:lnTo>
                    <a:pt x="523" y="92"/>
                  </a:lnTo>
                  <a:lnTo>
                    <a:pt x="525" y="94"/>
                  </a:lnTo>
                  <a:lnTo>
                    <a:pt x="526" y="95"/>
                  </a:lnTo>
                  <a:lnTo>
                    <a:pt x="528" y="96"/>
                  </a:lnTo>
                  <a:lnTo>
                    <a:pt x="529" y="98"/>
                  </a:lnTo>
                  <a:lnTo>
                    <a:pt x="533" y="99"/>
                  </a:lnTo>
                  <a:lnTo>
                    <a:pt x="547" y="102"/>
                  </a:lnTo>
                  <a:lnTo>
                    <a:pt x="550" y="103"/>
                  </a:lnTo>
                  <a:lnTo>
                    <a:pt x="552" y="105"/>
                  </a:lnTo>
                  <a:lnTo>
                    <a:pt x="556" y="106"/>
                  </a:lnTo>
                  <a:lnTo>
                    <a:pt x="559" y="108"/>
                  </a:lnTo>
                  <a:lnTo>
                    <a:pt x="561" y="109"/>
                  </a:lnTo>
                  <a:lnTo>
                    <a:pt x="563" y="111"/>
                  </a:lnTo>
                  <a:lnTo>
                    <a:pt x="563" y="112"/>
                  </a:lnTo>
                  <a:lnTo>
                    <a:pt x="565" y="113"/>
                  </a:lnTo>
                  <a:lnTo>
                    <a:pt x="567" y="115"/>
                  </a:lnTo>
                  <a:lnTo>
                    <a:pt x="568" y="117"/>
                  </a:lnTo>
                  <a:lnTo>
                    <a:pt x="570" y="122"/>
                  </a:lnTo>
                  <a:lnTo>
                    <a:pt x="574" y="130"/>
                  </a:lnTo>
                  <a:lnTo>
                    <a:pt x="575" y="134"/>
                  </a:lnTo>
                  <a:lnTo>
                    <a:pt x="577" y="136"/>
                  </a:lnTo>
                  <a:lnTo>
                    <a:pt x="579" y="139"/>
                  </a:lnTo>
                  <a:lnTo>
                    <a:pt x="580" y="141"/>
                  </a:lnTo>
                  <a:lnTo>
                    <a:pt x="582" y="144"/>
                  </a:lnTo>
                  <a:lnTo>
                    <a:pt x="585" y="147"/>
                  </a:lnTo>
                  <a:lnTo>
                    <a:pt x="587" y="149"/>
                  </a:lnTo>
                  <a:lnTo>
                    <a:pt x="591" y="153"/>
                  </a:lnTo>
                  <a:lnTo>
                    <a:pt x="595" y="156"/>
                  </a:lnTo>
                  <a:lnTo>
                    <a:pt x="597" y="158"/>
                  </a:lnTo>
                  <a:lnTo>
                    <a:pt x="601" y="160"/>
                  </a:lnTo>
                  <a:lnTo>
                    <a:pt x="603" y="162"/>
                  </a:lnTo>
                  <a:lnTo>
                    <a:pt x="604" y="162"/>
                  </a:lnTo>
                  <a:lnTo>
                    <a:pt x="605" y="162"/>
                  </a:lnTo>
                  <a:lnTo>
                    <a:pt x="604" y="162"/>
                  </a:lnTo>
                  <a:lnTo>
                    <a:pt x="604" y="164"/>
                  </a:lnTo>
                  <a:lnTo>
                    <a:pt x="603" y="165"/>
                  </a:lnTo>
                  <a:lnTo>
                    <a:pt x="603" y="166"/>
                  </a:lnTo>
                  <a:lnTo>
                    <a:pt x="603" y="167"/>
                  </a:lnTo>
                  <a:lnTo>
                    <a:pt x="600" y="170"/>
                  </a:lnTo>
                  <a:lnTo>
                    <a:pt x="593" y="180"/>
                  </a:lnTo>
                  <a:lnTo>
                    <a:pt x="588" y="186"/>
                  </a:lnTo>
                  <a:lnTo>
                    <a:pt x="585" y="190"/>
                  </a:lnTo>
                  <a:lnTo>
                    <a:pt x="582" y="193"/>
                  </a:lnTo>
                  <a:lnTo>
                    <a:pt x="579" y="196"/>
                  </a:lnTo>
                  <a:lnTo>
                    <a:pt x="574" y="200"/>
                  </a:lnTo>
                  <a:lnTo>
                    <a:pt x="573" y="201"/>
                  </a:lnTo>
                  <a:lnTo>
                    <a:pt x="571" y="203"/>
                  </a:lnTo>
                  <a:lnTo>
                    <a:pt x="563" y="206"/>
                  </a:lnTo>
                  <a:lnTo>
                    <a:pt x="561" y="208"/>
                  </a:lnTo>
                  <a:lnTo>
                    <a:pt x="558" y="210"/>
                  </a:lnTo>
                  <a:lnTo>
                    <a:pt x="548" y="217"/>
                  </a:lnTo>
                  <a:lnTo>
                    <a:pt x="545" y="220"/>
                  </a:lnTo>
                  <a:lnTo>
                    <a:pt x="542" y="221"/>
                  </a:lnTo>
                  <a:lnTo>
                    <a:pt x="540" y="223"/>
                  </a:lnTo>
                  <a:lnTo>
                    <a:pt x="536" y="225"/>
                  </a:lnTo>
                  <a:lnTo>
                    <a:pt x="534" y="225"/>
                  </a:lnTo>
                  <a:lnTo>
                    <a:pt x="529" y="226"/>
                  </a:lnTo>
                  <a:lnTo>
                    <a:pt x="527" y="226"/>
                  </a:lnTo>
                  <a:lnTo>
                    <a:pt x="525" y="228"/>
                  </a:lnTo>
                  <a:lnTo>
                    <a:pt x="520" y="231"/>
                  </a:lnTo>
                  <a:lnTo>
                    <a:pt x="518" y="231"/>
                  </a:lnTo>
                  <a:lnTo>
                    <a:pt x="517" y="232"/>
                  </a:lnTo>
                  <a:lnTo>
                    <a:pt x="516" y="232"/>
                  </a:lnTo>
                  <a:lnTo>
                    <a:pt x="515" y="232"/>
                  </a:lnTo>
                  <a:lnTo>
                    <a:pt x="507" y="231"/>
                  </a:lnTo>
                  <a:lnTo>
                    <a:pt x="502" y="231"/>
                  </a:lnTo>
                  <a:lnTo>
                    <a:pt x="492" y="230"/>
                  </a:lnTo>
                  <a:lnTo>
                    <a:pt x="489" y="229"/>
                  </a:lnTo>
                  <a:lnTo>
                    <a:pt x="486" y="229"/>
                  </a:lnTo>
                  <a:lnTo>
                    <a:pt x="483" y="228"/>
                  </a:lnTo>
                  <a:lnTo>
                    <a:pt x="475" y="225"/>
                  </a:lnTo>
                  <a:lnTo>
                    <a:pt x="470" y="223"/>
                  </a:lnTo>
                  <a:lnTo>
                    <a:pt x="467" y="222"/>
                  </a:lnTo>
                  <a:lnTo>
                    <a:pt x="464" y="220"/>
                  </a:lnTo>
                  <a:lnTo>
                    <a:pt x="451" y="212"/>
                  </a:lnTo>
                  <a:lnTo>
                    <a:pt x="449" y="211"/>
                  </a:lnTo>
                  <a:lnTo>
                    <a:pt x="446" y="210"/>
                  </a:lnTo>
                  <a:lnTo>
                    <a:pt x="442" y="208"/>
                  </a:lnTo>
                  <a:lnTo>
                    <a:pt x="438" y="207"/>
                  </a:lnTo>
                  <a:lnTo>
                    <a:pt x="435" y="206"/>
                  </a:lnTo>
                  <a:lnTo>
                    <a:pt x="433" y="205"/>
                  </a:lnTo>
                  <a:lnTo>
                    <a:pt x="431" y="205"/>
                  </a:lnTo>
                  <a:lnTo>
                    <a:pt x="430" y="205"/>
                  </a:lnTo>
                  <a:lnTo>
                    <a:pt x="428" y="205"/>
                  </a:lnTo>
                  <a:lnTo>
                    <a:pt x="427" y="206"/>
                  </a:lnTo>
                  <a:lnTo>
                    <a:pt x="426" y="207"/>
                  </a:lnTo>
                  <a:lnTo>
                    <a:pt x="426" y="208"/>
                  </a:lnTo>
                  <a:lnTo>
                    <a:pt x="422" y="215"/>
                  </a:lnTo>
                  <a:lnTo>
                    <a:pt x="420" y="217"/>
                  </a:lnTo>
                  <a:lnTo>
                    <a:pt x="414" y="226"/>
                  </a:lnTo>
                  <a:lnTo>
                    <a:pt x="412" y="228"/>
                  </a:lnTo>
                  <a:lnTo>
                    <a:pt x="409" y="231"/>
                  </a:lnTo>
                  <a:lnTo>
                    <a:pt x="407" y="235"/>
                  </a:lnTo>
                  <a:lnTo>
                    <a:pt x="406" y="237"/>
                  </a:lnTo>
                  <a:lnTo>
                    <a:pt x="405" y="238"/>
                  </a:lnTo>
                  <a:lnTo>
                    <a:pt x="404" y="240"/>
                  </a:lnTo>
                  <a:lnTo>
                    <a:pt x="404" y="242"/>
                  </a:lnTo>
                  <a:lnTo>
                    <a:pt x="404" y="244"/>
                  </a:lnTo>
                  <a:lnTo>
                    <a:pt x="404" y="247"/>
                  </a:lnTo>
                  <a:lnTo>
                    <a:pt x="404" y="249"/>
                  </a:lnTo>
                  <a:lnTo>
                    <a:pt x="404" y="252"/>
                  </a:lnTo>
                  <a:lnTo>
                    <a:pt x="405" y="255"/>
                  </a:lnTo>
                  <a:lnTo>
                    <a:pt x="407" y="262"/>
                  </a:lnTo>
                  <a:lnTo>
                    <a:pt x="408" y="265"/>
                  </a:lnTo>
                  <a:lnTo>
                    <a:pt x="409" y="269"/>
                  </a:lnTo>
                  <a:lnTo>
                    <a:pt x="409" y="272"/>
                  </a:lnTo>
                  <a:lnTo>
                    <a:pt x="409" y="272"/>
                  </a:lnTo>
                  <a:lnTo>
                    <a:pt x="409" y="274"/>
                  </a:lnTo>
                  <a:lnTo>
                    <a:pt x="408" y="277"/>
                  </a:lnTo>
                  <a:lnTo>
                    <a:pt x="407" y="280"/>
                  </a:lnTo>
                  <a:lnTo>
                    <a:pt x="404" y="285"/>
                  </a:lnTo>
                  <a:lnTo>
                    <a:pt x="404" y="289"/>
                  </a:lnTo>
                  <a:lnTo>
                    <a:pt x="404" y="290"/>
                  </a:lnTo>
                  <a:lnTo>
                    <a:pt x="404" y="292"/>
                  </a:lnTo>
                  <a:lnTo>
                    <a:pt x="404" y="293"/>
                  </a:lnTo>
                  <a:lnTo>
                    <a:pt x="404" y="293"/>
                  </a:lnTo>
                  <a:lnTo>
                    <a:pt x="404" y="294"/>
                  </a:lnTo>
                  <a:lnTo>
                    <a:pt x="399" y="298"/>
                  </a:lnTo>
                  <a:lnTo>
                    <a:pt x="395" y="303"/>
                  </a:lnTo>
                  <a:lnTo>
                    <a:pt x="393" y="304"/>
                  </a:lnTo>
                  <a:lnTo>
                    <a:pt x="392" y="305"/>
                  </a:lnTo>
                  <a:lnTo>
                    <a:pt x="392" y="305"/>
                  </a:lnTo>
                  <a:lnTo>
                    <a:pt x="387" y="304"/>
                  </a:lnTo>
                  <a:lnTo>
                    <a:pt x="385" y="304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75" y="306"/>
                  </a:lnTo>
                  <a:lnTo>
                    <a:pt x="373" y="306"/>
                  </a:lnTo>
                  <a:lnTo>
                    <a:pt x="371" y="305"/>
                  </a:lnTo>
                  <a:lnTo>
                    <a:pt x="369" y="305"/>
                  </a:lnTo>
                  <a:lnTo>
                    <a:pt x="367" y="304"/>
                  </a:lnTo>
                  <a:lnTo>
                    <a:pt x="364" y="302"/>
                  </a:lnTo>
                  <a:lnTo>
                    <a:pt x="361" y="300"/>
                  </a:lnTo>
                  <a:lnTo>
                    <a:pt x="360" y="299"/>
                  </a:lnTo>
                  <a:lnTo>
                    <a:pt x="359" y="297"/>
                  </a:lnTo>
                  <a:lnTo>
                    <a:pt x="355" y="292"/>
                  </a:lnTo>
                  <a:lnTo>
                    <a:pt x="351" y="286"/>
                  </a:lnTo>
                  <a:lnTo>
                    <a:pt x="350" y="284"/>
                  </a:lnTo>
                  <a:lnTo>
                    <a:pt x="348" y="283"/>
                  </a:lnTo>
                  <a:lnTo>
                    <a:pt x="347" y="283"/>
                  </a:lnTo>
                  <a:lnTo>
                    <a:pt x="346" y="282"/>
                  </a:lnTo>
                  <a:lnTo>
                    <a:pt x="344" y="284"/>
                  </a:lnTo>
                  <a:lnTo>
                    <a:pt x="342" y="290"/>
                  </a:lnTo>
                  <a:lnTo>
                    <a:pt x="339" y="294"/>
                  </a:lnTo>
                  <a:lnTo>
                    <a:pt x="338" y="297"/>
                  </a:lnTo>
                  <a:lnTo>
                    <a:pt x="335" y="306"/>
                  </a:lnTo>
                  <a:lnTo>
                    <a:pt x="333" y="310"/>
                  </a:lnTo>
                  <a:lnTo>
                    <a:pt x="331" y="314"/>
                  </a:lnTo>
                  <a:lnTo>
                    <a:pt x="329" y="316"/>
                  </a:lnTo>
                  <a:lnTo>
                    <a:pt x="327" y="318"/>
                  </a:lnTo>
                  <a:lnTo>
                    <a:pt x="325" y="321"/>
                  </a:lnTo>
                  <a:lnTo>
                    <a:pt x="324" y="322"/>
                  </a:lnTo>
                  <a:lnTo>
                    <a:pt x="322" y="324"/>
                  </a:lnTo>
                  <a:lnTo>
                    <a:pt x="320" y="325"/>
                  </a:lnTo>
                  <a:lnTo>
                    <a:pt x="318" y="326"/>
                  </a:lnTo>
                  <a:lnTo>
                    <a:pt x="312" y="329"/>
                  </a:lnTo>
                  <a:lnTo>
                    <a:pt x="301" y="336"/>
                  </a:lnTo>
                  <a:lnTo>
                    <a:pt x="296" y="339"/>
                  </a:lnTo>
                  <a:lnTo>
                    <a:pt x="291" y="341"/>
                  </a:lnTo>
                  <a:lnTo>
                    <a:pt x="281" y="350"/>
                  </a:lnTo>
                  <a:lnTo>
                    <a:pt x="279" y="351"/>
                  </a:lnTo>
                  <a:lnTo>
                    <a:pt x="278" y="351"/>
                  </a:lnTo>
                  <a:lnTo>
                    <a:pt x="276" y="352"/>
                  </a:lnTo>
                  <a:lnTo>
                    <a:pt x="274" y="353"/>
                  </a:lnTo>
                  <a:lnTo>
                    <a:pt x="267" y="356"/>
                  </a:lnTo>
                  <a:lnTo>
                    <a:pt x="265" y="357"/>
                  </a:lnTo>
                  <a:lnTo>
                    <a:pt x="259" y="360"/>
                  </a:lnTo>
                  <a:lnTo>
                    <a:pt x="256" y="362"/>
                  </a:lnTo>
                  <a:lnTo>
                    <a:pt x="255" y="362"/>
                  </a:lnTo>
                  <a:lnTo>
                    <a:pt x="253" y="362"/>
                  </a:lnTo>
                  <a:lnTo>
                    <a:pt x="250" y="363"/>
                  </a:lnTo>
                  <a:lnTo>
                    <a:pt x="248" y="363"/>
                  </a:lnTo>
                  <a:lnTo>
                    <a:pt x="245" y="363"/>
                  </a:lnTo>
                  <a:lnTo>
                    <a:pt x="241" y="363"/>
                  </a:lnTo>
                  <a:lnTo>
                    <a:pt x="237" y="363"/>
                  </a:lnTo>
                  <a:lnTo>
                    <a:pt x="231" y="365"/>
                  </a:lnTo>
                  <a:lnTo>
                    <a:pt x="225" y="365"/>
                  </a:lnTo>
                  <a:lnTo>
                    <a:pt x="223" y="366"/>
                  </a:lnTo>
                  <a:lnTo>
                    <a:pt x="221" y="367"/>
                  </a:lnTo>
                  <a:lnTo>
                    <a:pt x="216" y="369"/>
                  </a:lnTo>
                  <a:lnTo>
                    <a:pt x="213" y="369"/>
                  </a:lnTo>
                  <a:lnTo>
                    <a:pt x="210" y="370"/>
                  </a:lnTo>
                  <a:lnTo>
                    <a:pt x="207" y="370"/>
                  </a:lnTo>
                  <a:lnTo>
                    <a:pt x="205" y="370"/>
                  </a:lnTo>
                  <a:lnTo>
                    <a:pt x="203" y="370"/>
                  </a:lnTo>
                  <a:lnTo>
                    <a:pt x="200" y="371"/>
                  </a:lnTo>
                  <a:lnTo>
                    <a:pt x="199" y="371"/>
                  </a:lnTo>
                  <a:lnTo>
                    <a:pt x="199" y="372"/>
                  </a:lnTo>
                  <a:lnTo>
                    <a:pt x="198" y="373"/>
                  </a:lnTo>
                  <a:lnTo>
                    <a:pt x="196" y="374"/>
                  </a:lnTo>
                  <a:lnTo>
                    <a:pt x="195" y="375"/>
                  </a:lnTo>
                  <a:lnTo>
                    <a:pt x="193" y="377"/>
                  </a:lnTo>
                  <a:lnTo>
                    <a:pt x="189" y="385"/>
                  </a:lnTo>
                  <a:lnTo>
                    <a:pt x="188" y="386"/>
                  </a:lnTo>
                  <a:lnTo>
                    <a:pt x="187" y="388"/>
                  </a:lnTo>
                  <a:lnTo>
                    <a:pt x="185" y="390"/>
                  </a:lnTo>
                  <a:lnTo>
                    <a:pt x="184" y="391"/>
                  </a:lnTo>
                  <a:lnTo>
                    <a:pt x="182" y="393"/>
                  </a:lnTo>
                  <a:lnTo>
                    <a:pt x="180" y="394"/>
                  </a:lnTo>
                  <a:lnTo>
                    <a:pt x="172" y="397"/>
                  </a:lnTo>
                  <a:lnTo>
                    <a:pt x="161" y="404"/>
                  </a:lnTo>
                  <a:lnTo>
                    <a:pt x="158" y="405"/>
                  </a:lnTo>
                  <a:lnTo>
                    <a:pt x="156" y="406"/>
                  </a:lnTo>
                  <a:lnTo>
                    <a:pt x="153" y="407"/>
                  </a:lnTo>
                  <a:lnTo>
                    <a:pt x="149" y="407"/>
                  </a:lnTo>
                  <a:lnTo>
                    <a:pt x="146" y="407"/>
                  </a:lnTo>
                  <a:lnTo>
                    <a:pt x="142" y="407"/>
                  </a:lnTo>
                  <a:lnTo>
                    <a:pt x="136" y="407"/>
                  </a:lnTo>
                  <a:lnTo>
                    <a:pt x="135" y="399"/>
                  </a:lnTo>
                  <a:lnTo>
                    <a:pt x="133" y="392"/>
                  </a:lnTo>
                  <a:lnTo>
                    <a:pt x="131" y="384"/>
                  </a:lnTo>
                  <a:lnTo>
                    <a:pt x="131" y="380"/>
                  </a:lnTo>
                  <a:lnTo>
                    <a:pt x="130" y="378"/>
                  </a:lnTo>
                  <a:lnTo>
                    <a:pt x="129" y="376"/>
                  </a:lnTo>
                  <a:lnTo>
                    <a:pt x="128" y="374"/>
                  </a:lnTo>
                  <a:lnTo>
                    <a:pt x="127" y="373"/>
                  </a:lnTo>
                  <a:lnTo>
                    <a:pt x="125" y="371"/>
                  </a:lnTo>
                  <a:lnTo>
                    <a:pt x="124" y="369"/>
                  </a:lnTo>
                  <a:lnTo>
                    <a:pt x="123" y="368"/>
                  </a:lnTo>
                  <a:lnTo>
                    <a:pt x="122" y="367"/>
                  </a:lnTo>
                  <a:lnTo>
                    <a:pt x="120" y="366"/>
                  </a:lnTo>
                  <a:lnTo>
                    <a:pt x="119" y="365"/>
                  </a:lnTo>
                  <a:lnTo>
                    <a:pt x="118" y="365"/>
                  </a:lnTo>
                  <a:lnTo>
                    <a:pt x="116" y="365"/>
                  </a:lnTo>
                  <a:lnTo>
                    <a:pt x="115" y="365"/>
                  </a:lnTo>
                  <a:lnTo>
                    <a:pt x="111" y="365"/>
                  </a:lnTo>
                  <a:lnTo>
                    <a:pt x="104" y="367"/>
                  </a:lnTo>
                  <a:lnTo>
                    <a:pt x="99" y="369"/>
                  </a:lnTo>
                  <a:lnTo>
                    <a:pt x="87" y="373"/>
                  </a:lnTo>
                  <a:lnTo>
                    <a:pt x="81" y="375"/>
                  </a:lnTo>
                  <a:lnTo>
                    <a:pt x="75" y="377"/>
                  </a:lnTo>
                  <a:lnTo>
                    <a:pt x="70" y="380"/>
                  </a:lnTo>
                  <a:lnTo>
                    <a:pt x="67" y="381"/>
                  </a:lnTo>
                  <a:lnTo>
                    <a:pt x="65" y="381"/>
                  </a:lnTo>
                  <a:lnTo>
                    <a:pt x="62" y="380"/>
                  </a:lnTo>
                  <a:lnTo>
                    <a:pt x="55" y="379"/>
                  </a:lnTo>
                  <a:lnTo>
                    <a:pt x="51" y="378"/>
                  </a:lnTo>
                  <a:lnTo>
                    <a:pt x="48" y="377"/>
                  </a:lnTo>
                  <a:lnTo>
                    <a:pt x="43" y="375"/>
                  </a:lnTo>
                  <a:lnTo>
                    <a:pt x="35" y="372"/>
                  </a:lnTo>
                  <a:lnTo>
                    <a:pt x="31" y="370"/>
                  </a:lnTo>
                  <a:lnTo>
                    <a:pt x="29" y="368"/>
                  </a:lnTo>
                  <a:lnTo>
                    <a:pt x="28" y="367"/>
                  </a:lnTo>
                  <a:lnTo>
                    <a:pt x="22" y="362"/>
                  </a:lnTo>
                  <a:lnTo>
                    <a:pt x="20" y="361"/>
                  </a:lnTo>
                  <a:lnTo>
                    <a:pt x="10" y="354"/>
                  </a:lnTo>
                  <a:lnTo>
                    <a:pt x="8" y="352"/>
                  </a:lnTo>
                  <a:lnTo>
                    <a:pt x="6" y="350"/>
                  </a:lnTo>
                  <a:lnTo>
                    <a:pt x="5" y="348"/>
                  </a:lnTo>
                  <a:lnTo>
                    <a:pt x="3" y="346"/>
                  </a:lnTo>
                  <a:lnTo>
                    <a:pt x="2" y="343"/>
                  </a:lnTo>
                  <a:lnTo>
                    <a:pt x="1" y="340"/>
                  </a:lnTo>
                  <a:lnTo>
                    <a:pt x="0" y="338"/>
                  </a:lnTo>
                  <a:lnTo>
                    <a:pt x="0" y="337"/>
                  </a:lnTo>
                  <a:lnTo>
                    <a:pt x="0" y="336"/>
                  </a:lnTo>
                  <a:lnTo>
                    <a:pt x="1" y="335"/>
                  </a:lnTo>
                  <a:lnTo>
                    <a:pt x="1" y="334"/>
                  </a:lnTo>
                  <a:lnTo>
                    <a:pt x="2" y="334"/>
                  </a:lnTo>
                  <a:lnTo>
                    <a:pt x="5" y="332"/>
                  </a:lnTo>
                  <a:lnTo>
                    <a:pt x="6" y="330"/>
                  </a:lnTo>
                  <a:lnTo>
                    <a:pt x="9" y="327"/>
                  </a:lnTo>
                  <a:lnTo>
                    <a:pt x="17" y="318"/>
                  </a:lnTo>
                  <a:lnTo>
                    <a:pt x="23" y="311"/>
                  </a:lnTo>
                  <a:lnTo>
                    <a:pt x="26" y="308"/>
                  </a:lnTo>
                  <a:lnTo>
                    <a:pt x="28" y="304"/>
                  </a:lnTo>
                  <a:lnTo>
                    <a:pt x="30" y="301"/>
                  </a:lnTo>
                  <a:lnTo>
                    <a:pt x="32" y="296"/>
                  </a:lnTo>
                  <a:lnTo>
                    <a:pt x="35" y="291"/>
                  </a:lnTo>
                  <a:lnTo>
                    <a:pt x="37" y="286"/>
                  </a:lnTo>
                  <a:lnTo>
                    <a:pt x="39" y="280"/>
                  </a:lnTo>
                  <a:lnTo>
                    <a:pt x="40" y="278"/>
                  </a:lnTo>
                  <a:lnTo>
                    <a:pt x="40" y="273"/>
                  </a:lnTo>
                  <a:lnTo>
                    <a:pt x="40" y="271"/>
                  </a:lnTo>
                  <a:lnTo>
                    <a:pt x="41" y="269"/>
                  </a:lnTo>
                  <a:lnTo>
                    <a:pt x="42" y="266"/>
                  </a:lnTo>
                  <a:lnTo>
                    <a:pt x="43" y="263"/>
                  </a:lnTo>
                  <a:lnTo>
                    <a:pt x="44" y="261"/>
                  </a:lnTo>
                  <a:lnTo>
                    <a:pt x="45" y="260"/>
                  </a:lnTo>
                  <a:lnTo>
                    <a:pt x="49" y="255"/>
                  </a:lnTo>
                  <a:lnTo>
                    <a:pt x="50" y="253"/>
                  </a:lnTo>
                  <a:lnTo>
                    <a:pt x="51" y="251"/>
                  </a:lnTo>
                  <a:lnTo>
                    <a:pt x="51" y="249"/>
                  </a:lnTo>
                  <a:lnTo>
                    <a:pt x="52" y="244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4" y="236"/>
                  </a:lnTo>
                  <a:lnTo>
                    <a:pt x="55" y="226"/>
                  </a:lnTo>
                  <a:lnTo>
                    <a:pt x="55" y="223"/>
                  </a:lnTo>
                  <a:lnTo>
                    <a:pt x="55" y="221"/>
                  </a:lnTo>
                  <a:lnTo>
                    <a:pt x="54" y="219"/>
                  </a:lnTo>
                  <a:lnTo>
                    <a:pt x="52" y="215"/>
                  </a:lnTo>
                  <a:lnTo>
                    <a:pt x="52" y="214"/>
                  </a:lnTo>
                  <a:lnTo>
                    <a:pt x="52" y="213"/>
                  </a:lnTo>
                  <a:lnTo>
                    <a:pt x="52" y="211"/>
                  </a:lnTo>
                  <a:lnTo>
                    <a:pt x="52" y="208"/>
                  </a:lnTo>
                  <a:lnTo>
                    <a:pt x="53" y="205"/>
                  </a:lnTo>
                  <a:lnTo>
                    <a:pt x="55" y="203"/>
                  </a:lnTo>
                  <a:lnTo>
                    <a:pt x="57" y="200"/>
                  </a:lnTo>
                  <a:lnTo>
                    <a:pt x="59" y="197"/>
                  </a:lnTo>
                  <a:lnTo>
                    <a:pt x="61" y="195"/>
                  </a:lnTo>
                  <a:lnTo>
                    <a:pt x="62" y="194"/>
                  </a:lnTo>
                  <a:lnTo>
                    <a:pt x="64" y="192"/>
                  </a:lnTo>
                  <a:lnTo>
                    <a:pt x="75" y="185"/>
                  </a:lnTo>
                  <a:lnTo>
                    <a:pt x="79" y="182"/>
                  </a:lnTo>
                  <a:lnTo>
                    <a:pt x="82" y="181"/>
                  </a:lnTo>
                  <a:lnTo>
                    <a:pt x="92" y="176"/>
                  </a:lnTo>
                  <a:lnTo>
                    <a:pt x="95" y="174"/>
                  </a:lnTo>
                  <a:lnTo>
                    <a:pt x="97" y="172"/>
                  </a:lnTo>
                  <a:lnTo>
                    <a:pt x="105" y="167"/>
                  </a:lnTo>
                  <a:lnTo>
                    <a:pt x="111" y="162"/>
                  </a:lnTo>
                  <a:lnTo>
                    <a:pt x="113" y="161"/>
                  </a:lnTo>
                  <a:lnTo>
                    <a:pt x="118" y="157"/>
                  </a:lnTo>
                  <a:lnTo>
                    <a:pt x="119" y="155"/>
                  </a:lnTo>
                  <a:lnTo>
                    <a:pt x="121" y="154"/>
                  </a:lnTo>
                  <a:lnTo>
                    <a:pt x="123" y="153"/>
                  </a:lnTo>
                  <a:lnTo>
                    <a:pt x="131" y="149"/>
                  </a:lnTo>
                  <a:lnTo>
                    <a:pt x="132" y="148"/>
                  </a:lnTo>
                  <a:lnTo>
                    <a:pt x="133" y="147"/>
                  </a:lnTo>
                  <a:lnTo>
                    <a:pt x="134" y="147"/>
                  </a:lnTo>
                  <a:lnTo>
                    <a:pt x="134" y="146"/>
                  </a:lnTo>
                  <a:lnTo>
                    <a:pt x="135" y="145"/>
                  </a:lnTo>
                  <a:lnTo>
                    <a:pt x="135" y="144"/>
                  </a:lnTo>
                  <a:lnTo>
                    <a:pt x="135" y="143"/>
                  </a:lnTo>
                  <a:lnTo>
                    <a:pt x="134" y="142"/>
                  </a:lnTo>
                  <a:lnTo>
                    <a:pt x="133" y="141"/>
                  </a:lnTo>
                  <a:lnTo>
                    <a:pt x="130" y="138"/>
                  </a:lnTo>
                  <a:lnTo>
                    <a:pt x="126" y="136"/>
                  </a:lnTo>
                  <a:lnTo>
                    <a:pt x="124" y="135"/>
                  </a:lnTo>
                  <a:lnTo>
                    <a:pt x="118" y="132"/>
                  </a:lnTo>
                  <a:lnTo>
                    <a:pt x="114" y="130"/>
                  </a:lnTo>
                  <a:lnTo>
                    <a:pt x="111" y="128"/>
                  </a:lnTo>
                  <a:lnTo>
                    <a:pt x="109" y="126"/>
                  </a:lnTo>
                  <a:lnTo>
                    <a:pt x="107" y="124"/>
                  </a:lnTo>
                  <a:lnTo>
                    <a:pt x="102" y="119"/>
                  </a:lnTo>
                  <a:lnTo>
                    <a:pt x="97" y="112"/>
                  </a:lnTo>
                  <a:lnTo>
                    <a:pt x="95" y="110"/>
                  </a:lnTo>
                  <a:lnTo>
                    <a:pt x="93" y="109"/>
                  </a:lnTo>
                  <a:lnTo>
                    <a:pt x="92" y="108"/>
                  </a:lnTo>
                  <a:lnTo>
                    <a:pt x="91" y="108"/>
                  </a:lnTo>
                  <a:lnTo>
                    <a:pt x="90" y="107"/>
                  </a:lnTo>
                  <a:lnTo>
                    <a:pt x="89" y="107"/>
                  </a:lnTo>
                  <a:lnTo>
                    <a:pt x="86" y="107"/>
                  </a:lnTo>
                  <a:lnTo>
                    <a:pt x="82" y="108"/>
                  </a:lnTo>
                  <a:lnTo>
                    <a:pt x="80" y="108"/>
                  </a:lnTo>
                  <a:lnTo>
                    <a:pt x="79" y="107"/>
                  </a:lnTo>
                  <a:lnTo>
                    <a:pt x="77" y="107"/>
                  </a:lnTo>
                  <a:lnTo>
                    <a:pt x="76" y="107"/>
                  </a:lnTo>
                  <a:lnTo>
                    <a:pt x="75" y="106"/>
                  </a:lnTo>
                  <a:lnTo>
                    <a:pt x="74" y="105"/>
                  </a:lnTo>
                  <a:lnTo>
                    <a:pt x="73" y="104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72" y="101"/>
                  </a:lnTo>
                  <a:lnTo>
                    <a:pt x="72" y="99"/>
                  </a:lnTo>
                  <a:lnTo>
                    <a:pt x="72" y="97"/>
                  </a:lnTo>
                  <a:lnTo>
                    <a:pt x="73" y="95"/>
                  </a:lnTo>
                  <a:lnTo>
                    <a:pt x="74" y="93"/>
                  </a:lnTo>
                  <a:lnTo>
                    <a:pt x="77" y="89"/>
                  </a:lnTo>
                  <a:lnTo>
                    <a:pt x="81" y="83"/>
                  </a:lnTo>
                  <a:lnTo>
                    <a:pt x="88" y="74"/>
                  </a:lnTo>
                  <a:lnTo>
                    <a:pt x="94" y="68"/>
                  </a:lnTo>
                  <a:lnTo>
                    <a:pt x="101" y="59"/>
                  </a:lnTo>
                  <a:lnTo>
                    <a:pt x="104" y="56"/>
                  </a:lnTo>
                  <a:lnTo>
                    <a:pt x="107" y="53"/>
                  </a:lnTo>
                  <a:lnTo>
                    <a:pt x="109" y="51"/>
                  </a:lnTo>
                  <a:lnTo>
                    <a:pt x="112" y="49"/>
                  </a:lnTo>
                  <a:lnTo>
                    <a:pt x="115" y="47"/>
                  </a:lnTo>
                  <a:lnTo>
                    <a:pt x="119" y="45"/>
                  </a:lnTo>
                  <a:lnTo>
                    <a:pt x="122" y="45"/>
                  </a:lnTo>
                  <a:lnTo>
                    <a:pt x="126" y="44"/>
                  </a:lnTo>
                  <a:lnTo>
                    <a:pt x="130" y="43"/>
                  </a:lnTo>
                  <a:lnTo>
                    <a:pt x="132" y="43"/>
                  </a:lnTo>
                  <a:lnTo>
                    <a:pt x="141" y="42"/>
                  </a:lnTo>
                  <a:lnTo>
                    <a:pt x="144" y="41"/>
                  </a:lnTo>
                  <a:lnTo>
                    <a:pt x="150" y="40"/>
                  </a:lnTo>
                  <a:lnTo>
                    <a:pt x="154" y="39"/>
                  </a:lnTo>
                  <a:lnTo>
                    <a:pt x="162" y="36"/>
                  </a:lnTo>
                  <a:lnTo>
                    <a:pt x="167" y="34"/>
                  </a:lnTo>
                  <a:lnTo>
                    <a:pt x="171" y="34"/>
                  </a:lnTo>
                  <a:lnTo>
                    <a:pt x="178" y="30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79" y="31"/>
                  </a:lnTo>
                  <a:lnTo>
                    <a:pt x="179" y="33"/>
                  </a:lnTo>
                  <a:lnTo>
                    <a:pt x="180" y="34"/>
                  </a:lnTo>
                  <a:lnTo>
                    <a:pt x="181" y="37"/>
                  </a:lnTo>
                  <a:lnTo>
                    <a:pt x="182" y="42"/>
                  </a:lnTo>
                  <a:lnTo>
                    <a:pt x="183" y="45"/>
                  </a:lnTo>
                  <a:lnTo>
                    <a:pt x="184" y="46"/>
                  </a:lnTo>
                  <a:lnTo>
                    <a:pt x="186" y="48"/>
                  </a:lnTo>
                  <a:lnTo>
                    <a:pt x="188" y="51"/>
                  </a:lnTo>
                  <a:lnTo>
                    <a:pt x="189" y="53"/>
                  </a:lnTo>
                  <a:lnTo>
                    <a:pt x="192" y="55"/>
                  </a:lnTo>
                  <a:lnTo>
                    <a:pt x="194" y="56"/>
                  </a:lnTo>
                  <a:lnTo>
                    <a:pt x="197" y="58"/>
                  </a:lnTo>
                  <a:lnTo>
                    <a:pt x="199" y="60"/>
                  </a:lnTo>
                  <a:lnTo>
                    <a:pt x="202" y="61"/>
                  </a:lnTo>
                  <a:lnTo>
                    <a:pt x="210" y="65"/>
                  </a:lnTo>
                  <a:lnTo>
                    <a:pt x="214" y="67"/>
                  </a:lnTo>
                  <a:lnTo>
                    <a:pt x="217" y="68"/>
                  </a:lnTo>
                  <a:lnTo>
                    <a:pt x="220" y="70"/>
                  </a:lnTo>
                  <a:lnTo>
                    <a:pt x="222" y="72"/>
                  </a:lnTo>
                  <a:lnTo>
                    <a:pt x="223" y="75"/>
                  </a:lnTo>
                  <a:lnTo>
                    <a:pt x="224" y="78"/>
                  </a:lnTo>
                  <a:lnTo>
                    <a:pt x="227" y="82"/>
                  </a:lnTo>
                  <a:lnTo>
                    <a:pt x="228" y="84"/>
                  </a:lnTo>
                  <a:lnTo>
                    <a:pt x="229" y="85"/>
                  </a:lnTo>
                  <a:lnTo>
                    <a:pt x="230" y="87"/>
                  </a:lnTo>
                  <a:lnTo>
                    <a:pt x="232" y="88"/>
                  </a:lnTo>
                  <a:lnTo>
                    <a:pt x="233" y="90"/>
                  </a:lnTo>
                  <a:lnTo>
                    <a:pt x="235" y="92"/>
                  </a:lnTo>
                  <a:lnTo>
                    <a:pt x="238" y="94"/>
                  </a:lnTo>
                  <a:lnTo>
                    <a:pt x="242" y="97"/>
                  </a:lnTo>
                  <a:lnTo>
                    <a:pt x="245" y="99"/>
                  </a:lnTo>
                  <a:lnTo>
                    <a:pt x="247" y="100"/>
                  </a:lnTo>
                  <a:lnTo>
                    <a:pt x="249" y="102"/>
                  </a:lnTo>
                  <a:lnTo>
                    <a:pt x="252" y="102"/>
                  </a:lnTo>
                  <a:lnTo>
                    <a:pt x="254" y="103"/>
                  </a:lnTo>
                  <a:lnTo>
                    <a:pt x="256" y="103"/>
                  </a:lnTo>
                  <a:lnTo>
                    <a:pt x="259" y="104"/>
                  </a:lnTo>
                  <a:lnTo>
                    <a:pt x="262" y="104"/>
                  </a:lnTo>
                  <a:lnTo>
                    <a:pt x="264" y="104"/>
                  </a:lnTo>
                  <a:lnTo>
                    <a:pt x="268" y="103"/>
                  </a:lnTo>
                  <a:lnTo>
                    <a:pt x="278" y="102"/>
                  </a:lnTo>
                  <a:lnTo>
                    <a:pt x="283" y="101"/>
                  </a:lnTo>
                  <a:lnTo>
                    <a:pt x="286" y="101"/>
                  </a:lnTo>
                  <a:lnTo>
                    <a:pt x="288" y="100"/>
                  </a:lnTo>
                  <a:lnTo>
                    <a:pt x="290" y="99"/>
                  </a:lnTo>
                  <a:lnTo>
                    <a:pt x="292" y="97"/>
                  </a:lnTo>
                  <a:lnTo>
                    <a:pt x="296" y="95"/>
                  </a:lnTo>
                  <a:lnTo>
                    <a:pt x="300" y="92"/>
                  </a:lnTo>
                  <a:lnTo>
                    <a:pt x="303" y="89"/>
                  </a:lnTo>
                  <a:lnTo>
                    <a:pt x="313" y="80"/>
                  </a:lnTo>
                  <a:lnTo>
                    <a:pt x="315" y="77"/>
                  </a:lnTo>
                  <a:lnTo>
                    <a:pt x="319" y="75"/>
                  </a:lnTo>
                  <a:lnTo>
                    <a:pt x="323" y="72"/>
                  </a:lnTo>
                  <a:lnTo>
                    <a:pt x="326" y="69"/>
                  </a:lnTo>
                  <a:lnTo>
                    <a:pt x="331" y="67"/>
                  </a:lnTo>
                  <a:lnTo>
                    <a:pt x="334" y="66"/>
                  </a:lnTo>
                  <a:lnTo>
                    <a:pt x="340" y="64"/>
                  </a:lnTo>
                  <a:lnTo>
                    <a:pt x="347" y="60"/>
                  </a:lnTo>
                  <a:lnTo>
                    <a:pt x="350" y="59"/>
                  </a:lnTo>
                  <a:lnTo>
                    <a:pt x="352" y="58"/>
                  </a:lnTo>
                  <a:lnTo>
                    <a:pt x="354" y="58"/>
                  </a:lnTo>
                  <a:lnTo>
                    <a:pt x="357" y="58"/>
                  </a:lnTo>
                  <a:lnTo>
                    <a:pt x="358" y="58"/>
                  </a:lnTo>
                  <a:lnTo>
                    <a:pt x="359" y="58"/>
                  </a:lnTo>
                  <a:lnTo>
                    <a:pt x="366" y="58"/>
                  </a:lnTo>
                  <a:lnTo>
                    <a:pt x="370" y="59"/>
                  </a:lnTo>
                  <a:lnTo>
                    <a:pt x="375" y="59"/>
                  </a:lnTo>
                  <a:lnTo>
                    <a:pt x="379" y="59"/>
                  </a:lnTo>
                  <a:lnTo>
                    <a:pt x="381" y="59"/>
                  </a:lnTo>
                  <a:lnTo>
                    <a:pt x="382" y="59"/>
                  </a:lnTo>
                  <a:lnTo>
                    <a:pt x="384" y="58"/>
                  </a:lnTo>
                  <a:lnTo>
                    <a:pt x="385" y="58"/>
                  </a:lnTo>
                  <a:lnTo>
                    <a:pt x="386" y="56"/>
                  </a:lnTo>
                  <a:lnTo>
                    <a:pt x="387" y="55"/>
                  </a:lnTo>
                  <a:lnTo>
                    <a:pt x="388" y="52"/>
                  </a:lnTo>
                  <a:lnTo>
                    <a:pt x="388" y="49"/>
                  </a:lnTo>
                  <a:lnTo>
                    <a:pt x="388" y="45"/>
                  </a:lnTo>
                  <a:lnTo>
                    <a:pt x="387" y="43"/>
                  </a:lnTo>
                  <a:lnTo>
                    <a:pt x="387" y="40"/>
                  </a:lnTo>
                  <a:lnTo>
                    <a:pt x="386" y="39"/>
                  </a:lnTo>
                  <a:lnTo>
                    <a:pt x="385" y="38"/>
                  </a:lnTo>
                  <a:lnTo>
                    <a:pt x="384" y="36"/>
                  </a:lnTo>
                  <a:lnTo>
                    <a:pt x="383" y="34"/>
                  </a:lnTo>
                  <a:lnTo>
                    <a:pt x="381" y="34"/>
                  </a:lnTo>
                  <a:lnTo>
                    <a:pt x="379" y="33"/>
                  </a:lnTo>
                  <a:lnTo>
                    <a:pt x="377" y="32"/>
                  </a:lnTo>
                  <a:lnTo>
                    <a:pt x="375" y="31"/>
                  </a:lnTo>
                  <a:lnTo>
                    <a:pt x="369" y="30"/>
                  </a:lnTo>
                  <a:lnTo>
                    <a:pt x="368" y="30"/>
                  </a:lnTo>
                  <a:lnTo>
                    <a:pt x="366" y="29"/>
                  </a:lnTo>
                  <a:lnTo>
                    <a:pt x="365" y="28"/>
                  </a:lnTo>
                  <a:lnTo>
                    <a:pt x="363" y="28"/>
                  </a:lnTo>
                  <a:lnTo>
                    <a:pt x="362" y="26"/>
                  </a:lnTo>
                  <a:lnTo>
                    <a:pt x="361" y="24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1"/>
                  </a:lnTo>
                  <a:lnTo>
                    <a:pt x="360" y="19"/>
                  </a:lnTo>
                  <a:lnTo>
                    <a:pt x="361" y="18"/>
                  </a:lnTo>
                  <a:lnTo>
                    <a:pt x="361" y="15"/>
                  </a:lnTo>
                  <a:lnTo>
                    <a:pt x="362" y="13"/>
                  </a:lnTo>
                  <a:lnTo>
                    <a:pt x="364" y="11"/>
                  </a:lnTo>
                  <a:lnTo>
                    <a:pt x="366" y="9"/>
                  </a:lnTo>
                  <a:lnTo>
                    <a:pt x="368" y="7"/>
                  </a:lnTo>
                  <a:lnTo>
                    <a:pt x="370" y="5"/>
                  </a:lnTo>
                  <a:lnTo>
                    <a:pt x="372" y="4"/>
                  </a:lnTo>
                  <a:lnTo>
                    <a:pt x="375" y="2"/>
                  </a:lnTo>
                  <a:lnTo>
                    <a:pt x="378" y="1"/>
                  </a:lnTo>
                  <a:lnTo>
                    <a:pt x="381" y="0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4" name="Freeform 83">
              <a:extLst>
                <a:ext uri="{FF2B5EF4-FFF2-40B4-BE49-F238E27FC236}">
                  <a16:creationId xmlns:a16="http://schemas.microsoft.com/office/drawing/2014/main" id="{AB6024C2-91FA-4829-9ED9-E6AA262B7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6" y="2274"/>
              <a:ext cx="274" cy="259"/>
            </a:xfrm>
            <a:custGeom>
              <a:avLst/>
              <a:gdLst>
                <a:gd name="T0" fmla="*/ 202 w 274"/>
                <a:gd name="T1" fmla="*/ 5 h 259"/>
                <a:gd name="T2" fmla="*/ 195 w 274"/>
                <a:gd name="T3" fmla="*/ 25 h 259"/>
                <a:gd name="T4" fmla="*/ 195 w 274"/>
                <a:gd name="T5" fmla="*/ 38 h 259"/>
                <a:gd name="T6" fmla="*/ 207 w 274"/>
                <a:gd name="T7" fmla="*/ 41 h 259"/>
                <a:gd name="T8" fmla="*/ 216 w 274"/>
                <a:gd name="T9" fmla="*/ 45 h 259"/>
                <a:gd name="T10" fmla="*/ 225 w 274"/>
                <a:gd name="T11" fmla="*/ 68 h 259"/>
                <a:gd name="T12" fmla="*/ 235 w 274"/>
                <a:gd name="T13" fmla="*/ 90 h 259"/>
                <a:gd name="T14" fmla="*/ 243 w 274"/>
                <a:gd name="T15" fmla="*/ 112 h 259"/>
                <a:gd name="T16" fmla="*/ 253 w 274"/>
                <a:gd name="T17" fmla="*/ 116 h 259"/>
                <a:gd name="T18" fmla="*/ 264 w 274"/>
                <a:gd name="T19" fmla="*/ 122 h 259"/>
                <a:gd name="T20" fmla="*/ 267 w 274"/>
                <a:gd name="T21" fmla="*/ 135 h 259"/>
                <a:gd name="T22" fmla="*/ 272 w 274"/>
                <a:gd name="T23" fmla="*/ 149 h 259"/>
                <a:gd name="T24" fmla="*/ 273 w 274"/>
                <a:gd name="T25" fmla="*/ 161 h 259"/>
                <a:gd name="T26" fmla="*/ 266 w 274"/>
                <a:gd name="T27" fmla="*/ 183 h 259"/>
                <a:gd name="T28" fmla="*/ 258 w 274"/>
                <a:gd name="T29" fmla="*/ 195 h 259"/>
                <a:gd name="T30" fmla="*/ 234 w 274"/>
                <a:gd name="T31" fmla="*/ 201 h 259"/>
                <a:gd name="T32" fmla="*/ 228 w 274"/>
                <a:gd name="T33" fmla="*/ 191 h 259"/>
                <a:gd name="T34" fmla="*/ 222 w 274"/>
                <a:gd name="T35" fmla="*/ 181 h 259"/>
                <a:gd name="T36" fmla="*/ 216 w 274"/>
                <a:gd name="T37" fmla="*/ 191 h 259"/>
                <a:gd name="T38" fmla="*/ 204 w 274"/>
                <a:gd name="T39" fmla="*/ 195 h 259"/>
                <a:gd name="T40" fmla="*/ 184 w 274"/>
                <a:gd name="T41" fmla="*/ 196 h 259"/>
                <a:gd name="T42" fmla="*/ 172 w 274"/>
                <a:gd name="T43" fmla="*/ 203 h 259"/>
                <a:gd name="T44" fmla="*/ 162 w 274"/>
                <a:gd name="T45" fmla="*/ 216 h 259"/>
                <a:gd name="T46" fmla="*/ 155 w 274"/>
                <a:gd name="T47" fmla="*/ 215 h 259"/>
                <a:gd name="T48" fmla="*/ 137 w 274"/>
                <a:gd name="T49" fmla="*/ 209 h 259"/>
                <a:gd name="T50" fmla="*/ 133 w 274"/>
                <a:gd name="T51" fmla="*/ 212 h 259"/>
                <a:gd name="T52" fmla="*/ 136 w 274"/>
                <a:gd name="T53" fmla="*/ 225 h 259"/>
                <a:gd name="T54" fmla="*/ 134 w 274"/>
                <a:gd name="T55" fmla="*/ 236 h 259"/>
                <a:gd name="T56" fmla="*/ 117 w 274"/>
                <a:gd name="T57" fmla="*/ 258 h 259"/>
                <a:gd name="T58" fmla="*/ 113 w 274"/>
                <a:gd name="T59" fmla="*/ 257 h 259"/>
                <a:gd name="T60" fmla="*/ 91 w 274"/>
                <a:gd name="T61" fmla="*/ 234 h 259"/>
                <a:gd name="T62" fmla="*/ 80 w 274"/>
                <a:gd name="T63" fmla="*/ 225 h 259"/>
                <a:gd name="T64" fmla="*/ 79 w 274"/>
                <a:gd name="T65" fmla="*/ 218 h 259"/>
                <a:gd name="T66" fmla="*/ 91 w 274"/>
                <a:gd name="T67" fmla="*/ 197 h 259"/>
                <a:gd name="T68" fmla="*/ 91 w 274"/>
                <a:gd name="T69" fmla="*/ 191 h 259"/>
                <a:gd name="T70" fmla="*/ 77 w 274"/>
                <a:gd name="T71" fmla="*/ 183 h 259"/>
                <a:gd name="T72" fmla="*/ 47 w 274"/>
                <a:gd name="T73" fmla="*/ 176 h 259"/>
                <a:gd name="T74" fmla="*/ 23 w 274"/>
                <a:gd name="T75" fmla="*/ 169 h 259"/>
                <a:gd name="T76" fmla="*/ 16 w 274"/>
                <a:gd name="T77" fmla="*/ 162 h 259"/>
                <a:gd name="T78" fmla="*/ 5 w 274"/>
                <a:gd name="T79" fmla="*/ 133 h 259"/>
                <a:gd name="T80" fmla="*/ 0 w 274"/>
                <a:gd name="T81" fmla="*/ 127 h 259"/>
                <a:gd name="T82" fmla="*/ 4 w 274"/>
                <a:gd name="T83" fmla="*/ 111 h 259"/>
                <a:gd name="T84" fmla="*/ 3 w 274"/>
                <a:gd name="T85" fmla="*/ 96 h 259"/>
                <a:gd name="T86" fmla="*/ 0 w 274"/>
                <a:gd name="T87" fmla="*/ 76 h 259"/>
                <a:gd name="T88" fmla="*/ 8 w 274"/>
                <a:gd name="T89" fmla="*/ 62 h 259"/>
                <a:gd name="T90" fmla="*/ 23 w 274"/>
                <a:gd name="T91" fmla="*/ 40 h 259"/>
                <a:gd name="T92" fmla="*/ 34 w 274"/>
                <a:gd name="T93" fmla="*/ 41 h 259"/>
                <a:gd name="T94" fmla="*/ 63 w 274"/>
                <a:gd name="T95" fmla="*/ 56 h 259"/>
                <a:gd name="T96" fmla="*/ 88 w 274"/>
                <a:gd name="T97" fmla="*/ 64 h 259"/>
                <a:gd name="T98" fmla="*/ 114 w 274"/>
                <a:gd name="T99" fmla="*/ 65 h 259"/>
                <a:gd name="T100" fmla="*/ 132 w 274"/>
                <a:gd name="T101" fmla="*/ 59 h 259"/>
                <a:gd name="T102" fmla="*/ 157 w 274"/>
                <a:gd name="T103" fmla="*/ 42 h 259"/>
                <a:gd name="T104" fmla="*/ 178 w 274"/>
                <a:gd name="T105" fmla="*/ 27 h 259"/>
                <a:gd name="T106" fmla="*/ 199 w 274"/>
                <a:gd name="T107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4" h="259">
                  <a:moveTo>
                    <a:pt x="199" y="0"/>
                  </a:moveTo>
                  <a:lnTo>
                    <a:pt x="199" y="1"/>
                  </a:lnTo>
                  <a:lnTo>
                    <a:pt x="199" y="2"/>
                  </a:lnTo>
                  <a:lnTo>
                    <a:pt x="200" y="3"/>
                  </a:lnTo>
                  <a:lnTo>
                    <a:pt x="201" y="4"/>
                  </a:lnTo>
                  <a:lnTo>
                    <a:pt x="202" y="5"/>
                  </a:lnTo>
                  <a:lnTo>
                    <a:pt x="203" y="6"/>
                  </a:lnTo>
                  <a:lnTo>
                    <a:pt x="203" y="7"/>
                  </a:lnTo>
                  <a:lnTo>
                    <a:pt x="203" y="7"/>
                  </a:lnTo>
                  <a:lnTo>
                    <a:pt x="203" y="9"/>
                  </a:lnTo>
                  <a:lnTo>
                    <a:pt x="196" y="22"/>
                  </a:lnTo>
                  <a:lnTo>
                    <a:pt x="195" y="25"/>
                  </a:lnTo>
                  <a:lnTo>
                    <a:pt x="194" y="27"/>
                  </a:lnTo>
                  <a:lnTo>
                    <a:pt x="193" y="30"/>
                  </a:lnTo>
                  <a:lnTo>
                    <a:pt x="193" y="33"/>
                  </a:lnTo>
                  <a:lnTo>
                    <a:pt x="193" y="36"/>
                  </a:lnTo>
                  <a:lnTo>
                    <a:pt x="194" y="38"/>
                  </a:lnTo>
                  <a:lnTo>
                    <a:pt x="195" y="38"/>
                  </a:lnTo>
                  <a:lnTo>
                    <a:pt x="196" y="40"/>
                  </a:lnTo>
                  <a:lnTo>
                    <a:pt x="197" y="41"/>
                  </a:lnTo>
                  <a:lnTo>
                    <a:pt x="198" y="41"/>
                  </a:lnTo>
                  <a:lnTo>
                    <a:pt x="199" y="42"/>
                  </a:lnTo>
                  <a:lnTo>
                    <a:pt x="201" y="42"/>
                  </a:lnTo>
                  <a:lnTo>
                    <a:pt x="207" y="41"/>
                  </a:lnTo>
                  <a:lnTo>
                    <a:pt x="208" y="41"/>
                  </a:lnTo>
                  <a:lnTo>
                    <a:pt x="211" y="41"/>
                  </a:lnTo>
                  <a:lnTo>
                    <a:pt x="212" y="41"/>
                  </a:lnTo>
                  <a:lnTo>
                    <a:pt x="214" y="42"/>
                  </a:lnTo>
                  <a:lnTo>
                    <a:pt x="215" y="43"/>
                  </a:lnTo>
                  <a:lnTo>
                    <a:pt x="216" y="45"/>
                  </a:lnTo>
                  <a:lnTo>
                    <a:pt x="217" y="47"/>
                  </a:lnTo>
                  <a:lnTo>
                    <a:pt x="219" y="49"/>
                  </a:lnTo>
                  <a:lnTo>
                    <a:pt x="220" y="50"/>
                  </a:lnTo>
                  <a:lnTo>
                    <a:pt x="221" y="53"/>
                  </a:lnTo>
                  <a:lnTo>
                    <a:pt x="222" y="58"/>
                  </a:lnTo>
                  <a:lnTo>
                    <a:pt x="225" y="68"/>
                  </a:lnTo>
                  <a:lnTo>
                    <a:pt x="226" y="72"/>
                  </a:lnTo>
                  <a:lnTo>
                    <a:pt x="227" y="73"/>
                  </a:lnTo>
                  <a:lnTo>
                    <a:pt x="227" y="75"/>
                  </a:lnTo>
                  <a:lnTo>
                    <a:pt x="232" y="83"/>
                  </a:lnTo>
                  <a:lnTo>
                    <a:pt x="234" y="87"/>
                  </a:lnTo>
                  <a:lnTo>
                    <a:pt x="235" y="90"/>
                  </a:lnTo>
                  <a:lnTo>
                    <a:pt x="236" y="93"/>
                  </a:lnTo>
                  <a:lnTo>
                    <a:pt x="238" y="102"/>
                  </a:lnTo>
                  <a:lnTo>
                    <a:pt x="238" y="105"/>
                  </a:lnTo>
                  <a:lnTo>
                    <a:pt x="239" y="107"/>
                  </a:lnTo>
                  <a:lnTo>
                    <a:pt x="241" y="110"/>
                  </a:lnTo>
                  <a:lnTo>
                    <a:pt x="243" y="112"/>
                  </a:lnTo>
                  <a:lnTo>
                    <a:pt x="244" y="114"/>
                  </a:lnTo>
                  <a:lnTo>
                    <a:pt x="245" y="115"/>
                  </a:lnTo>
                  <a:lnTo>
                    <a:pt x="247" y="116"/>
                  </a:lnTo>
                  <a:lnTo>
                    <a:pt x="248" y="116"/>
                  </a:lnTo>
                  <a:lnTo>
                    <a:pt x="249" y="116"/>
                  </a:lnTo>
                  <a:lnTo>
                    <a:pt x="253" y="116"/>
                  </a:lnTo>
                  <a:lnTo>
                    <a:pt x="255" y="116"/>
                  </a:lnTo>
                  <a:lnTo>
                    <a:pt x="257" y="117"/>
                  </a:lnTo>
                  <a:lnTo>
                    <a:pt x="259" y="117"/>
                  </a:lnTo>
                  <a:lnTo>
                    <a:pt x="261" y="118"/>
                  </a:lnTo>
                  <a:lnTo>
                    <a:pt x="262" y="120"/>
                  </a:lnTo>
                  <a:lnTo>
                    <a:pt x="264" y="122"/>
                  </a:lnTo>
                  <a:lnTo>
                    <a:pt x="265" y="124"/>
                  </a:lnTo>
                  <a:lnTo>
                    <a:pt x="266" y="126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7" y="133"/>
                  </a:lnTo>
                  <a:lnTo>
                    <a:pt x="267" y="135"/>
                  </a:lnTo>
                  <a:lnTo>
                    <a:pt x="268" y="137"/>
                  </a:lnTo>
                  <a:lnTo>
                    <a:pt x="269" y="140"/>
                  </a:lnTo>
                  <a:lnTo>
                    <a:pt x="269" y="142"/>
                  </a:lnTo>
                  <a:lnTo>
                    <a:pt x="270" y="144"/>
                  </a:lnTo>
                  <a:lnTo>
                    <a:pt x="271" y="145"/>
                  </a:lnTo>
                  <a:lnTo>
                    <a:pt x="272" y="149"/>
                  </a:lnTo>
                  <a:lnTo>
                    <a:pt x="273" y="150"/>
                  </a:lnTo>
                  <a:lnTo>
                    <a:pt x="274" y="151"/>
                  </a:lnTo>
                  <a:lnTo>
                    <a:pt x="274" y="153"/>
                  </a:lnTo>
                  <a:lnTo>
                    <a:pt x="274" y="154"/>
                  </a:lnTo>
                  <a:lnTo>
                    <a:pt x="274" y="156"/>
                  </a:lnTo>
                  <a:lnTo>
                    <a:pt x="273" y="161"/>
                  </a:lnTo>
                  <a:lnTo>
                    <a:pt x="272" y="162"/>
                  </a:lnTo>
                  <a:lnTo>
                    <a:pt x="271" y="169"/>
                  </a:lnTo>
                  <a:lnTo>
                    <a:pt x="269" y="179"/>
                  </a:lnTo>
                  <a:lnTo>
                    <a:pt x="268" y="180"/>
                  </a:lnTo>
                  <a:lnTo>
                    <a:pt x="268" y="181"/>
                  </a:lnTo>
                  <a:lnTo>
                    <a:pt x="266" y="183"/>
                  </a:lnTo>
                  <a:lnTo>
                    <a:pt x="263" y="188"/>
                  </a:lnTo>
                  <a:lnTo>
                    <a:pt x="261" y="191"/>
                  </a:lnTo>
                  <a:lnTo>
                    <a:pt x="261" y="193"/>
                  </a:lnTo>
                  <a:lnTo>
                    <a:pt x="260" y="194"/>
                  </a:lnTo>
                  <a:lnTo>
                    <a:pt x="259" y="194"/>
                  </a:lnTo>
                  <a:lnTo>
                    <a:pt x="258" y="195"/>
                  </a:lnTo>
                  <a:lnTo>
                    <a:pt x="256" y="196"/>
                  </a:lnTo>
                  <a:lnTo>
                    <a:pt x="247" y="198"/>
                  </a:lnTo>
                  <a:lnTo>
                    <a:pt x="242" y="201"/>
                  </a:lnTo>
                  <a:lnTo>
                    <a:pt x="239" y="201"/>
                  </a:lnTo>
                  <a:lnTo>
                    <a:pt x="237" y="202"/>
                  </a:lnTo>
                  <a:lnTo>
                    <a:pt x="234" y="201"/>
                  </a:lnTo>
                  <a:lnTo>
                    <a:pt x="233" y="201"/>
                  </a:lnTo>
                  <a:lnTo>
                    <a:pt x="231" y="200"/>
                  </a:lnTo>
                  <a:lnTo>
                    <a:pt x="230" y="199"/>
                  </a:lnTo>
                  <a:lnTo>
                    <a:pt x="230" y="198"/>
                  </a:lnTo>
                  <a:lnTo>
                    <a:pt x="229" y="197"/>
                  </a:lnTo>
                  <a:lnTo>
                    <a:pt x="228" y="191"/>
                  </a:lnTo>
                  <a:lnTo>
                    <a:pt x="228" y="189"/>
                  </a:lnTo>
                  <a:lnTo>
                    <a:pt x="227" y="186"/>
                  </a:lnTo>
                  <a:lnTo>
                    <a:pt x="227" y="185"/>
                  </a:lnTo>
                  <a:lnTo>
                    <a:pt x="225" y="183"/>
                  </a:lnTo>
                  <a:lnTo>
                    <a:pt x="224" y="182"/>
                  </a:lnTo>
                  <a:lnTo>
                    <a:pt x="222" y="181"/>
                  </a:lnTo>
                  <a:lnTo>
                    <a:pt x="222" y="183"/>
                  </a:lnTo>
                  <a:lnTo>
                    <a:pt x="221" y="185"/>
                  </a:lnTo>
                  <a:lnTo>
                    <a:pt x="220" y="187"/>
                  </a:lnTo>
                  <a:lnTo>
                    <a:pt x="219" y="189"/>
                  </a:lnTo>
                  <a:lnTo>
                    <a:pt x="218" y="190"/>
                  </a:lnTo>
                  <a:lnTo>
                    <a:pt x="216" y="191"/>
                  </a:lnTo>
                  <a:lnTo>
                    <a:pt x="215" y="193"/>
                  </a:lnTo>
                  <a:lnTo>
                    <a:pt x="213" y="193"/>
                  </a:lnTo>
                  <a:lnTo>
                    <a:pt x="211" y="194"/>
                  </a:lnTo>
                  <a:lnTo>
                    <a:pt x="209" y="194"/>
                  </a:lnTo>
                  <a:lnTo>
                    <a:pt x="207" y="195"/>
                  </a:lnTo>
                  <a:lnTo>
                    <a:pt x="204" y="195"/>
                  </a:lnTo>
                  <a:lnTo>
                    <a:pt x="200" y="195"/>
                  </a:lnTo>
                  <a:lnTo>
                    <a:pt x="193" y="194"/>
                  </a:lnTo>
                  <a:lnTo>
                    <a:pt x="192" y="194"/>
                  </a:lnTo>
                  <a:lnTo>
                    <a:pt x="189" y="194"/>
                  </a:lnTo>
                  <a:lnTo>
                    <a:pt x="186" y="195"/>
                  </a:lnTo>
                  <a:lnTo>
                    <a:pt x="184" y="196"/>
                  </a:lnTo>
                  <a:lnTo>
                    <a:pt x="181" y="196"/>
                  </a:lnTo>
                  <a:lnTo>
                    <a:pt x="179" y="197"/>
                  </a:lnTo>
                  <a:lnTo>
                    <a:pt x="177" y="198"/>
                  </a:lnTo>
                  <a:lnTo>
                    <a:pt x="175" y="200"/>
                  </a:lnTo>
                  <a:lnTo>
                    <a:pt x="174" y="201"/>
                  </a:lnTo>
                  <a:lnTo>
                    <a:pt x="172" y="203"/>
                  </a:lnTo>
                  <a:lnTo>
                    <a:pt x="170" y="206"/>
                  </a:lnTo>
                  <a:lnTo>
                    <a:pt x="167" y="211"/>
                  </a:lnTo>
                  <a:lnTo>
                    <a:pt x="166" y="213"/>
                  </a:lnTo>
                  <a:lnTo>
                    <a:pt x="165" y="214"/>
                  </a:lnTo>
                  <a:lnTo>
                    <a:pt x="164" y="215"/>
                  </a:lnTo>
                  <a:lnTo>
                    <a:pt x="162" y="216"/>
                  </a:lnTo>
                  <a:lnTo>
                    <a:pt x="161" y="216"/>
                  </a:lnTo>
                  <a:lnTo>
                    <a:pt x="160" y="216"/>
                  </a:lnTo>
                  <a:lnTo>
                    <a:pt x="159" y="216"/>
                  </a:lnTo>
                  <a:lnTo>
                    <a:pt x="158" y="216"/>
                  </a:lnTo>
                  <a:lnTo>
                    <a:pt x="157" y="216"/>
                  </a:lnTo>
                  <a:lnTo>
                    <a:pt x="155" y="215"/>
                  </a:lnTo>
                  <a:lnTo>
                    <a:pt x="149" y="212"/>
                  </a:lnTo>
                  <a:lnTo>
                    <a:pt x="147" y="211"/>
                  </a:lnTo>
                  <a:lnTo>
                    <a:pt x="145" y="210"/>
                  </a:lnTo>
                  <a:lnTo>
                    <a:pt x="142" y="209"/>
                  </a:lnTo>
                  <a:lnTo>
                    <a:pt x="139" y="209"/>
                  </a:lnTo>
                  <a:lnTo>
                    <a:pt x="137" y="209"/>
                  </a:lnTo>
                  <a:lnTo>
                    <a:pt x="136" y="209"/>
                  </a:lnTo>
                  <a:lnTo>
                    <a:pt x="135" y="209"/>
                  </a:lnTo>
                  <a:lnTo>
                    <a:pt x="134" y="210"/>
                  </a:lnTo>
                  <a:lnTo>
                    <a:pt x="133" y="210"/>
                  </a:lnTo>
                  <a:lnTo>
                    <a:pt x="133" y="211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3" y="214"/>
                  </a:lnTo>
                  <a:lnTo>
                    <a:pt x="133" y="215"/>
                  </a:lnTo>
                  <a:lnTo>
                    <a:pt x="136" y="222"/>
                  </a:lnTo>
                  <a:lnTo>
                    <a:pt x="136" y="224"/>
                  </a:lnTo>
                  <a:lnTo>
                    <a:pt x="136" y="225"/>
                  </a:lnTo>
                  <a:lnTo>
                    <a:pt x="136" y="227"/>
                  </a:lnTo>
                  <a:lnTo>
                    <a:pt x="136" y="228"/>
                  </a:lnTo>
                  <a:lnTo>
                    <a:pt x="136" y="230"/>
                  </a:lnTo>
                  <a:lnTo>
                    <a:pt x="136" y="231"/>
                  </a:lnTo>
                  <a:lnTo>
                    <a:pt x="135" y="234"/>
                  </a:lnTo>
                  <a:lnTo>
                    <a:pt x="134" y="236"/>
                  </a:lnTo>
                  <a:lnTo>
                    <a:pt x="133" y="238"/>
                  </a:lnTo>
                  <a:lnTo>
                    <a:pt x="130" y="242"/>
                  </a:lnTo>
                  <a:lnTo>
                    <a:pt x="124" y="249"/>
                  </a:lnTo>
                  <a:lnTo>
                    <a:pt x="121" y="253"/>
                  </a:lnTo>
                  <a:lnTo>
                    <a:pt x="118" y="256"/>
                  </a:lnTo>
                  <a:lnTo>
                    <a:pt x="117" y="258"/>
                  </a:lnTo>
                  <a:lnTo>
                    <a:pt x="117" y="258"/>
                  </a:lnTo>
                  <a:lnTo>
                    <a:pt x="117" y="258"/>
                  </a:lnTo>
                  <a:lnTo>
                    <a:pt x="116" y="259"/>
                  </a:lnTo>
                  <a:lnTo>
                    <a:pt x="115" y="258"/>
                  </a:lnTo>
                  <a:lnTo>
                    <a:pt x="114" y="258"/>
                  </a:lnTo>
                  <a:lnTo>
                    <a:pt x="113" y="257"/>
                  </a:lnTo>
                  <a:lnTo>
                    <a:pt x="110" y="254"/>
                  </a:lnTo>
                  <a:lnTo>
                    <a:pt x="104" y="249"/>
                  </a:lnTo>
                  <a:lnTo>
                    <a:pt x="101" y="246"/>
                  </a:lnTo>
                  <a:lnTo>
                    <a:pt x="99" y="243"/>
                  </a:lnTo>
                  <a:lnTo>
                    <a:pt x="96" y="240"/>
                  </a:lnTo>
                  <a:lnTo>
                    <a:pt x="91" y="234"/>
                  </a:lnTo>
                  <a:lnTo>
                    <a:pt x="90" y="232"/>
                  </a:lnTo>
                  <a:lnTo>
                    <a:pt x="89" y="231"/>
                  </a:lnTo>
                  <a:lnTo>
                    <a:pt x="88" y="230"/>
                  </a:lnTo>
                  <a:lnTo>
                    <a:pt x="83" y="227"/>
                  </a:lnTo>
                  <a:lnTo>
                    <a:pt x="81" y="226"/>
                  </a:lnTo>
                  <a:lnTo>
                    <a:pt x="80" y="225"/>
                  </a:lnTo>
                  <a:lnTo>
                    <a:pt x="79" y="224"/>
                  </a:lnTo>
                  <a:lnTo>
                    <a:pt x="79" y="223"/>
                  </a:lnTo>
                  <a:lnTo>
                    <a:pt x="79" y="222"/>
                  </a:lnTo>
                  <a:lnTo>
                    <a:pt x="79" y="220"/>
                  </a:lnTo>
                  <a:lnTo>
                    <a:pt x="79" y="219"/>
                  </a:lnTo>
                  <a:lnTo>
                    <a:pt x="79" y="218"/>
                  </a:lnTo>
                  <a:lnTo>
                    <a:pt x="80" y="216"/>
                  </a:lnTo>
                  <a:lnTo>
                    <a:pt x="85" y="210"/>
                  </a:lnTo>
                  <a:lnTo>
                    <a:pt x="88" y="206"/>
                  </a:lnTo>
                  <a:lnTo>
                    <a:pt x="90" y="202"/>
                  </a:lnTo>
                  <a:lnTo>
                    <a:pt x="91" y="199"/>
                  </a:lnTo>
                  <a:lnTo>
                    <a:pt x="91" y="197"/>
                  </a:lnTo>
                  <a:lnTo>
                    <a:pt x="91" y="196"/>
                  </a:lnTo>
                  <a:lnTo>
                    <a:pt x="91" y="196"/>
                  </a:lnTo>
                  <a:lnTo>
                    <a:pt x="91" y="194"/>
                  </a:lnTo>
                  <a:lnTo>
                    <a:pt x="91" y="193"/>
                  </a:lnTo>
                  <a:lnTo>
                    <a:pt x="91" y="192"/>
                  </a:lnTo>
                  <a:lnTo>
                    <a:pt x="91" y="191"/>
                  </a:lnTo>
                  <a:lnTo>
                    <a:pt x="90" y="190"/>
                  </a:lnTo>
                  <a:lnTo>
                    <a:pt x="88" y="188"/>
                  </a:lnTo>
                  <a:lnTo>
                    <a:pt x="87" y="187"/>
                  </a:lnTo>
                  <a:lnTo>
                    <a:pt x="85" y="186"/>
                  </a:lnTo>
                  <a:lnTo>
                    <a:pt x="80" y="185"/>
                  </a:lnTo>
                  <a:lnTo>
                    <a:pt x="77" y="183"/>
                  </a:lnTo>
                  <a:lnTo>
                    <a:pt x="73" y="182"/>
                  </a:lnTo>
                  <a:lnTo>
                    <a:pt x="61" y="180"/>
                  </a:lnTo>
                  <a:lnTo>
                    <a:pt x="58" y="179"/>
                  </a:lnTo>
                  <a:lnTo>
                    <a:pt x="55" y="178"/>
                  </a:lnTo>
                  <a:lnTo>
                    <a:pt x="51" y="177"/>
                  </a:lnTo>
                  <a:lnTo>
                    <a:pt x="47" y="176"/>
                  </a:lnTo>
                  <a:lnTo>
                    <a:pt x="45" y="174"/>
                  </a:lnTo>
                  <a:lnTo>
                    <a:pt x="39" y="172"/>
                  </a:lnTo>
                  <a:lnTo>
                    <a:pt x="36" y="171"/>
                  </a:lnTo>
                  <a:lnTo>
                    <a:pt x="33" y="170"/>
                  </a:lnTo>
                  <a:lnTo>
                    <a:pt x="27" y="169"/>
                  </a:lnTo>
                  <a:lnTo>
                    <a:pt x="23" y="169"/>
                  </a:lnTo>
                  <a:lnTo>
                    <a:pt x="22" y="168"/>
                  </a:lnTo>
                  <a:lnTo>
                    <a:pt x="20" y="167"/>
                  </a:lnTo>
                  <a:lnTo>
                    <a:pt x="19" y="166"/>
                  </a:lnTo>
                  <a:lnTo>
                    <a:pt x="17" y="164"/>
                  </a:lnTo>
                  <a:lnTo>
                    <a:pt x="16" y="163"/>
                  </a:lnTo>
                  <a:lnTo>
                    <a:pt x="16" y="162"/>
                  </a:lnTo>
                  <a:lnTo>
                    <a:pt x="14" y="159"/>
                  </a:lnTo>
                  <a:lnTo>
                    <a:pt x="12" y="151"/>
                  </a:lnTo>
                  <a:lnTo>
                    <a:pt x="11" y="147"/>
                  </a:lnTo>
                  <a:lnTo>
                    <a:pt x="10" y="143"/>
                  </a:lnTo>
                  <a:lnTo>
                    <a:pt x="7" y="139"/>
                  </a:lnTo>
                  <a:lnTo>
                    <a:pt x="5" y="133"/>
                  </a:lnTo>
                  <a:lnTo>
                    <a:pt x="3" y="129"/>
                  </a:lnTo>
                  <a:lnTo>
                    <a:pt x="1" y="128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0" y="126"/>
                  </a:lnTo>
                  <a:lnTo>
                    <a:pt x="0" y="124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3" y="114"/>
                  </a:lnTo>
                  <a:lnTo>
                    <a:pt x="4" y="111"/>
                  </a:lnTo>
                  <a:lnTo>
                    <a:pt x="5" y="108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3"/>
                  </a:lnTo>
                  <a:lnTo>
                    <a:pt x="4" y="99"/>
                  </a:lnTo>
                  <a:lnTo>
                    <a:pt x="3" y="96"/>
                  </a:lnTo>
                  <a:lnTo>
                    <a:pt x="1" y="89"/>
                  </a:lnTo>
                  <a:lnTo>
                    <a:pt x="0" y="86"/>
                  </a:lnTo>
                  <a:lnTo>
                    <a:pt x="0" y="83"/>
                  </a:lnTo>
                  <a:lnTo>
                    <a:pt x="0" y="81"/>
                  </a:lnTo>
                  <a:lnTo>
                    <a:pt x="0" y="78"/>
                  </a:lnTo>
                  <a:lnTo>
                    <a:pt x="0" y="76"/>
                  </a:lnTo>
                  <a:lnTo>
                    <a:pt x="0" y="74"/>
                  </a:lnTo>
                  <a:lnTo>
                    <a:pt x="1" y="72"/>
                  </a:lnTo>
                  <a:lnTo>
                    <a:pt x="2" y="71"/>
                  </a:lnTo>
                  <a:lnTo>
                    <a:pt x="3" y="69"/>
                  </a:lnTo>
                  <a:lnTo>
                    <a:pt x="5" y="65"/>
                  </a:lnTo>
                  <a:lnTo>
                    <a:pt x="8" y="62"/>
                  </a:lnTo>
                  <a:lnTo>
                    <a:pt x="10" y="60"/>
                  </a:lnTo>
                  <a:lnTo>
                    <a:pt x="16" y="51"/>
                  </a:lnTo>
                  <a:lnTo>
                    <a:pt x="18" y="49"/>
                  </a:lnTo>
                  <a:lnTo>
                    <a:pt x="22" y="42"/>
                  </a:lnTo>
                  <a:lnTo>
                    <a:pt x="22" y="41"/>
                  </a:lnTo>
                  <a:lnTo>
                    <a:pt x="23" y="40"/>
                  </a:lnTo>
                  <a:lnTo>
                    <a:pt x="24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9" y="39"/>
                  </a:lnTo>
                  <a:lnTo>
                    <a:pt x="31" y="40"/>
                  </a:lnTo>
                  <a:lnTo>
                    <a:pt x="34" y="41"/>
                  </a:lnTo>
                  <a:lnTo>
                    <a:pt x="38" y="42"/>
                  </a:lnTo>
                  <a:lnTo>
                    <a:pt x="42" y="44"/>
                  </a:lnTo>
                  <a:lnTo>
                    <a:pt x="45" y="45"/>
                  </a:lnTo>
                  <a:lnTo>
                    <a:pt x="47" y="46"/>
                  </a:lnTo>
                  <a:lnTo>
                    <a:pt x="60" y="54"/>
                  </a:lnTo>
                  <a:lnTo>
                    <a:pt x="63" y="56"/>
                  </a:lnTo>
                  <a:lnTo>
                    <a:pt x="66" y="57"/>
                  </a:lnTo>
                  <a:lnTo>
                    <a:pt x="71" y="59"/>
                  </a:lnTo>
                  <a:lnTo>
                    <a:pt x="79" y="62"/>
                  </a:lnTo>
                  <a:lnTo>
                    <a:pt x="82" y="63"/>
                  </a:lnTo>
                  <a:lnTo>
                    <a:pt x="85" y="63"/>
                  </a:lnTo>
                  <a:lnTo>
                    <a:pt x="88" y="64"/>
                  </a:lnTo>
                  <a:lnTo>
                    <a:pt x="98" y="65"/>
                  </a:lnTo>
                  <a:lnTo>
                    <a:pt x="103" y="65"/>
                  </a:lnTo>
                  <a:lnTo>
                    <a:pt x="111" y="66"/>
                  </a:lnTo>
                  <a:lnTo>
                    <a:pt x="112" y="66"/>
                  </a:lnTo>
                  <a:lnTo>
                    <a:pt x="113" y="66"/>
                  </a:lnTo>
                  <a:lnTo>
                    <a:pt x="114" y="65"/>
                  </a:lnTo>
                  <a:lnTo>
                    <a:pt x="116" y="65"/>
                  </a:lnTo>
                  <a:lnTo>
                    <a:pt x="121" y="62"/>
                  </a:lnTo>
                  <a:lnTo>
                    <a:pt x="123" y="60"/>
                  </a:lnTo>
                  <a:lnTo>
                    <a:pt x="125" y="60"/>
                  </a:lnTo>
                  <a:lnTo>
                    <a:pt x="130" y="59"/>
                  </a:lnTo>
                  <a:lnTo>
                    <a:pt x="132" y="59"/>
                  </a:lnTo>
                  <a:lnTo>
                    <a:pt x="136" y="57"/>
                  </a:lnTo>
                  <a:lnTo>
                    <a:pt x="138" y="55"/>
                  </a:lnTo>
                  <a:lnTo>
                    <a:pt x="141" y="54"/>
                  </a:lnTo>
                  <a:lnTo>
                    <a:pt x="144" y="51"/>
                  </a:lnTo>
                  <a:lnTo>
                    <a:pt x="154" y="44"/>
                  </a:lnTo>
                  <a:lnTo>
                    <a:pt x="157" y="42"/>
                  </a:lnTo>
                  <a:lnTo>
                    <a:pt x="159" y="40"/>
                  </a:lnTo>
                  <a:lnTo>
                    <a:pt x="167" y="37"/>
                  </a:lnTo>
                  <a:lnTo>
                    <a:pt x="169" y="35"/>
                  </a:lnTo>
                  <a:lnTo>
                    <a:pt x="170" y="34"/>
                  </a:lnTo>
                  <a:lnTo>
                    <a:pt x="175" y="30"/>
                  </a:lnTo>
                  <a:lnTo>
                    <a:pt x="178" y="27"/>
                  </a:lnTo>
                  <a:lnTo>
                    <a:pt x="181" y="24"/>
                  </a:lnTo>
                  <a:lnTo>
                    <a:pt x="184" y="20"/>
                  </a:lnTo>
                  <a:lnTo>
                    <a:pt x="189" y="14"/>
                  </a:lnTo>
                  <a:lnTo>
                    <a:pt x="196" y="4"/>
                  </a:lnTo>
                  <a:lnTo>
                    <a:pt x="199" y="1"/>
                  </a:lnTo>
                  <a:lnTo>
                    <a:pt x="199" y="0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5" name="Freeform 84">
              <a:extLst>
                <a:ext uri="{FF2B5EF4-FFF2-40B4-BE49-F238E27FC236}">
                  <a16:creationId xmlns:a16="http://schemas.microsoft.com/office/drawing/2014/main" id="{E310CE66-6B92-412D-9E8F-3818A1118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" y="2017"/>
              <a:ext cx="352" cy="270"/>
            </a:xfrm>
            <a:custGeom>
              <a:avLst/>
              <a:gdLst>
                <a:gd name="T0" fmla="*/ 226 w 352"/>
                <a:gd name="T1" fmla="*/ 1 h 270"/>
                <a:gd name="T2" fmla="*/ 229 w 352"/>
                <a:gd name="T3" fmla="*/ 9 h 270"/>
                <a:gd name="T4" fmla="*/ 253 w 352"/>
                <a:gd name="T5" fmla="*/ 26 h 270"/>
                <a:gd name="T6" fmla="*/ 268 w 352"/>
                <a:gd name="T7" fmla="*/ 32 h 270"/>
                <a:gd name="T8" fmla="*/ 276 w 352"/>
                <a:gd name="T9" fmla="*/ 46 h 270"/>
                <a:gd name="T10" fmla="*/ 287 w 352"/>
                <a:gd name="T11" fmla="*/ 55 h 270"/>
                <a:gd name="T12" fmla="*/ 316 w 352"/>
                <a:gd name="T13" fmla="*/ 68 h 270"/>
                <a:gd name="T14" fmla="*/ 327 w 352"/>
                <a:gd name="T15" fmla="*/ 81 h 270"/>
                <a:gd name="T16" fmla="*/ 346 w 352"/>
                <a:gd name="T17" fmla="*/ 96 h 270"/>
                <a:gd name="T18" fmla="*/ 352 w 352"/>
                <a:gd name="T19" fmla="*/ 108 h 270"/>
                <a:gd name="T20" fmla="*/ 348 w 352"/>
                <a:gd name="T21" fmla="*/ 120 h 270"/>
                <a:gd name="T22" fmla="*/ 324 w 352"/>
                <a:gd name="T23" fmla="*/ 136 h 270"/>
                <a:gd name="T24" fmla="*/ 314 w 352"/>
                <a:gd name="T25" fmla="*/ 145 h 270"/>
                <a:gd name="T26" fmla="*/ 314 w 352"/>
                <a:gd name="T27" fmla="*/ 153 h 270"/>
                <a:gd name="T28" fmla="*/ 321 w 352"/>
                <a:gd name="T29" fmla="*/ 163 h 270"/>
                <a:gd name="T30" fmla="*/ 325 w 352"/>
                <a:gd name="T31" fmla="*/ 189 h 270"/>
                <a:gd name="T32" fmla="*/ 318 w 352"/>
                <a:gd name="T33" fmla="*/ 201 h 270"/>
                <a:gd name="T34" fmla="*/ 303 w 352"/>
                <a:gd name="T35" fmla="*/ 211 h 270"/>
                <a:gd name="T36" fmla="*/ 286 w 352"/>
                <a:gd name="T37" fmla="*/ 208 h 270"/>
                <a:gd name="T38" fmla="*/ 267 w 352"/>
                <a:gd name="T39" fmla="*/ 197 h 270"/>
                <a:gd name="T40" fmla="*/ 246 w 352"/>
                <a:gd name="T41" fmla="*/ 196 h 270"/>
                <a:gd name="T42" fmla="*/ 227 w 352"/>
                <a:gd name="T43" fmla="*/ 199 h 270"/>
                <a:gd name="T44" fmla="*/ 217 w 352"/>
                <a:gd name="T45" fmla="*/ 208 h 270"/>
                <a:gd name="T46" fmla="*/ 199 w 352"/>
                <a:gd name="T47" fmla="*/ 216 h 270"/>
                <a:gd name="T48" fmla="*/ 170 w 352"/>
                <a:gd name="T49" fmla="*/ 238 h 270"/>
                <a:gd name="T50" fmla="*/ 147 w 352"/>
                <a:gd name="T51" fmla="*/ 247 h 270"/>
                <a:gd name="T52" fmla="*/ 127 w 352"/>
                <a:gd name="T53" fmla="*/ 252 h 270"/>
                <a:gd name="T54" fmla="*/ 118 w 352"/>
                <a:gd name="T55" fmla="*/ 266 h 270"/>
                <a:gd name="T56" fmla="*/ 111 w 352"/>
                <a:gd name="T57" fmla="*/ 270 h 270"/>
                <a:gd name="T58" fmla="*/ 85 w 352"/>
                <a:gd name="T59" fmla="*/ 267 h 270"/>
                <a:gd name="T60" fmla="*/ 76 w 352"/>
                <a:gd name="T61" fmla="*/ 261 h 270"/>
                <a:gd name="T62" fmla="*/ 74 w 352"/>
                <a:gd name="T63" fmla="*/ 252 h 270"/>
                <a:gd name="T64" fmla="*/ 76 w 352"/>
                <a:gd name="T65" fmla="*/ 241 h 270"/>
                <a:gd name="T66" fmla="*/ 75 w 352"/>
                <a:gd name="T67" fmla="*/ 230 h 270"/>
                <a:gd name="T68" fmla="*/ 73 w 352"/>
                <a:gd name="T69" fmla="*/ 221 h 270"/>
                <a:gd name="T70" fmla="*/ 59 w 352"/>
                <a:gd name="T71" fmla="*/ 214 h 270"/>
                <a:gd name="T72" fmla="*/ 52 w 352"/>
                <a:gd name="T73" fmla="*/ 205 h 270"/>
                <a:gd name="T74" fmla="*/ 53 w 352"/>
                <a:gd name="T75" fmla="*/ 194 h 270"/>
                <a:gd name="T76" fmla="*/ 53 w 352"/>
                <a:gd name="T77" fmla="*/ 184 h 270"/>
                <a:gd name="T78" fmla="*/ 32 w 352"/>
                <a:gd name="T79" fmla="*/ 164 h 270"/>
                <a:gd name="T80" fmla="*/ 22 w 352"/>
                <a:gd name="T81" fmla="*/ 146 h 270"/>
                <a:gd name="T82" fmla="*/ 17 w 352"/>
                <a:gd name="T83" fmla="*/ 134 h 270"/>
                <a:gd name="T84" fmla="*/ 24 w 352"/>
                <a:gd name="T85" fmla="*/ 124 h 270"/>
                <a:gd name="T86" fmla="*/ 33 w 352"/>
                <a:gd name="T87" fmla="*/ 114 h 270"/>
                <a:gd name="T88" fmla="*/ 17 w 352"/>
                <a:gd name="T89" fmla="*/ 96 h 270"/>
                <a:gd name="T90" fmla="*/ 2 w 352"/>
                <a:gd name="T91" fmla="*/ 85 h 270"/>
                <a:gd name="T92" fmla="*/ 1 w 352"/>
                <a:gd name="T93" fmla="*/ 81 h 270"/>
                <a:gd name="T94" fmla="*/ 22 w 352"/>
                <a:gd name="T95" fmla="*/ 71 h 270"/>
                <a:gd name="T96" fmla="*/ 50 w 352"/>
                <a:gd name="T97" fmla="*/ 61 h 270"/>
                <a:gd name="T98" fmla="*/ 59 w 352"/>
                <a:gd name="T99" fmla="*/ 61 h 270"/>
                <a:gd name="T100" fmla="*/ 75 w 352"/>
                <a:gd name="T101" fmla="*/ 68 h 270"/>
                <a:gd name="T102" fmla="*/ 89 w 352"/>
                <a:gd name="T103" fmla="*/ 64 h 270"/>
                <a:gd name="T104" fmla="*/ 96 w 352"/>
                <a:gd name="T105" fmla="*/ 46 h 270"/>
                <a:gd name="T106" fmla="*/ 104 w 352"/>
                <a:gd name="T107" fmla="*/ 38 h 270"/>
                <a:gd name="T108" fmla="*/ 125 w 352"/>
                <a:gd name="T109" fmla="*/ 34 h 270"/>
                <a:gd name="T110" fmla="*/ 155 w 352"/>
                <a:gd name="T111" fmla="*/ 23 h 270"/>
                <a:gd name="T112" fmla="*/ 185 w 352"/>
                <a:gd name="T113" fmla="*/ 9 h 270"/>
                <a:gd name="T114" fmla="*/ 222 w 352"/>
                <a:gd name="T115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2" h="270">
                  <a:moveTo>
                    <a:pt x="223" y="0"/>
                  </a:moveTo>
                  <a:lnTo>
                    <a:pt x="226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6" y="1"/>
                  </a:lnTo>
                  <a:lnTo>
                    <a:pt x="226" y="2"/>
                  </a:lnTo>
                  <a:lnTo>
                    <a:pt x="226" y="3"/>
                  </a:lnTo>
                  <a:lnTo>
                    <a:pt x="226" y="4"/>
                  </a:lnTo>
                  <a:lnTo>
                    <a:pt x="227" y="6"/>
                  </a:lnTo>
                  <a:lnTo>
                    <a:pt x="228" y="7"/>
                  </a:lnTo>
                  <a:lnTo>
                    <a:pt x="229" y="9"/>
                  </a:lnTo>
                  <a:lnTo>
                    <a:pt x="231" y="10"/>
                  </a:lnTo>
                  <a:lnTo>
                    <a:pt x="233" y="11"/>
                  </a:lnTo>
                  <a:lnTo>
                    <a:pt x="239" y="15"/>
                  </a:lnTo>
                  <a:lnTo>
                    <a:pt x="243" y="18"/>
                  </a:lnTo>
                  <a:lnTo>
                    <a:pt x="250" y="24"/>
                  </a:lnTo>
                  <a:lnTo>
                    <a:pt x="253" y="26"/>
                  </a:lnTo>
                  <a:lnTo>
                    <a:pt x="256" y="27"/>
                  </a:lnTo>
                  <a:lnTo>
                    <a:pt x="258" y="28"/>
                  </a:lnTo>
                  <a:lnTo>
                    <a:pt x="264" y="29"/>
                  </a:lnTo>
                  <a:lnTo>
                    <a:pt x="266" y="30"/>
                  </a:lnTo>
                  <a:lnTo>
                    <a:pt x="267" y="31"/>
                  </a:lnTo>
                  <a:lnTo>
                    <a:pt x="268" y="32"/>
                  </a:lnTo>
                  <a:lnTo>
                    <a:pt x="269" y="33"/>
                  </a:lnTo>
                  <a:lnTo>
                    <a:pt x="270" y="34"/>
                  </a:lnTo>
                  <a:lnTo>
                    <a:pt x="272" y="40"/>
                  </a:lnTo>
                  <a:lnTo>
                    <a:pt x="273" y="42"/>
                  </a:lnTo>
                  <a:lnTo>
                    <a:pt x="275" y="45"/>
                  </a:lnTo>
                  <a:lnTo>
                    <a:pt x="276" y="46"/>
                  </a:lnTo>
                  <a:lnTo>
                    <a:pt x="278" y="48"/>
                  </a:lnTo>
                  <a:lnTo>
                    <a:pt x="280" y="50"/>
                  </a:lnTo>
                  <a:lnTo>
                    <a:pt x="281" y="51"/>
                  </a:lnTo>
                  <a:lnTo>
                    <a:pt x="283" y="53"/>
                  </a:lnTo>
                  <a:lnTo>
                    <a:pt x="285" y="54"/>
                  </a:lnTo>
                  <a:lnTo>
                    <a:pt x="287" y="55"/>
                  </a:lnTo>
                  <a:lnTo>
                    <a:pt x="291" y="56"/>
                  </a:lnTo>
                  <a:lnTo>
                    <a:pt x="299" y="58"/>
                  </a:lnTo>
                  <a:lnTo>
                    <a:pt x="303" y="60"/>
                  </a:lnTo>
                  <a:lnTo>
                    <a:pt x="312" y="65"/>
                  </a:lnTo>
                  <a:lnTo>
                    <a:pt x="314" y="67"/>
                  </a:lnTo>
                  <a:lnTo>
                    <a:pt x="316" y="68"/>
                  </a:lnTo>
                  <a:lnTo>
                    <a:pt x="318" y="69"/>
                  </a:lnTo>
                  <a:lnTo>
                    <a:pt x="319" y="71"/>
                  </a:lnTo>
                  <a:lnTo>
                    <a:pt x="321" y="72"/>
                  </a:lnTo>
                  <a:lnTo>
                    <a:pt x="325" y="78"/>
                  </a:lnTo>
                  <a:lnTo>
                    <a:pt x="326" y="79"/>
                  </a:lnTo>
                  <a:lnTo>
                    <a:pt x="327" y="81"/>
                  </a:lnTo>
                  <a:lnTo>
                    <a:pt x="329" y="83"/>
                  </a:lnTo>
                  <a:lnTo>
                    <a:pt x="331" y="85"/>
                  </a:lnTo>
                  <a:lnTo>
                    <a:pt x="340" y="91"/>
                  </a:lnTo>
                  <a:lnTo>
                    <a:pt x="342" y="92"/>
                  </a:lnTo>
                  <a:lnTo>
                    <a:pt x="344" y="93"/>
                  </a:lnTo>
                  <a:lnTo>
                    <a:pt x="346" y="96"/>
                  </a:lnTo>
                  <a:lnTo>
                    <a:pt x="348" y="99"/>
                  </a:lnTo>
                  <a:lnTo>
                    <a:pt x="349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7"/>
                  </a:lnTo>
                  <a:lnTo>
                    <a:pt x="352" y="108"/>
                  </a:lnTo>
                  <a:lnTo>
                    <a:pt x="352" y="109"/>
                  </a:lnTo>
                  <a:lnTo>
                    <a:pt x="352" y="112"/>
                  </a:lnTo>
                  <a:lnTo>
                    <a:pt x="351" y="113"/>
                  </a:lnTo>
                  <a:lnTo>
                    <a:pt x="350" y="116"/>
                  </a:lnTo>
                  <a:lnTo>
                    <a:pt x="349" y="119"/>
                  </a:lnTo>
                  <a:lnTo>
                    <a:pt x="348" y="120"/>
                  </a:lnTo>
                  <a:lnTo>
                    <a:pt x="347" y="121"/>
                  </a:lnTo>
                  <a:lnTo>
                    <a:pt x="345" y="123"/>
                  </a:lnTo>
                  <a:lnTo>
                    <a:pt x="343" y="124"/>
                  </a:lnTo>
                  <a:lnTo>
                    <a:pt x="341" y="125"/>
                  </a:lnTo>
                  <a:lnTo>
                    <a:pt x="336" y="129"/>
                  </a:lnTo>
                  <a:lnTo>
                    <a:pt x="324" y="136"/>
                  </a:lnTo>
                  <a:lnTo>
                    <a:pt x="321" y="137"/>
                  </a:lnTo>
                  <a:lnTo>
                    <a:pt x="319" y="138"/>
                  </a:lnTo>
                  <a:lnTo>
                    <a:pt x="316" y="141"/>
                  </a:lnTo>
                  <a:lnTo>
                    <a:pt x="315" y="142"/>
                  </a:lnTo>
                  <a:lnTo>
                    <a:pt x="314" y="144"/>
                  </a:lnTo>
                  <a:lnTo>
                    <a:pt x="314" y="145"/>
                  </a:lnTo>
                  <a:lnTo>
                    <a:pt x="314" y="146"/>
                  </a:lnTo>
                  <a:lnTo>
                    <a:pt x="313" y="147"/>
                  </a:lnTo>
                  <a:lnTo>
                    <a:pt x="313" y="149"/>
                  </a:lnTo>
                  <a:lnTo>
                    <a:pt x="313" y="150"/>
                  </a:lnTo>
                  <a:lnTo>
                    <a:pt x="314" y="152"/>
                  </a:lnTo>
                  <a:lnTo>
                    <a:pt x="314" y="153"/>
                  </a:lnTo>
                  <a:lnTo>
                    <a:pt x="314" y="154"/>
                  </a:lnTo>
                  <a:lnTo>
                    <a:pt x="317" y="158"/>
                  </a:lnTo>
                  <a:lnTo>
                    <a:pt x="318" y="159"/>
                  </a:lnTo>
                  <a:lnTo>
                    <a:pt x="319" y="159"/>
                  </a:lnTo>
                  <a:lnTo>
                    <a:pt x="320" y="161"/>
                  </a:lnTo>
                  <a:lnTo>
                    <a:pt x="321" y="163"/>
                  </a:lnTo>
                  <a:lnTo>
                    <a:pt x="322" y="164"/>
                  </a:lnTo>
                  <a:lnTo>
                    <a:pt x="322" y="166"/>
                  </a:lnTo>
                  <a:lnTo>
                    <a:pt x="323" y="173"/>
                  </a:lnTo>
                  <a:lnTo>
                    <a:pt x="325" y="182"/>
                  </a:lnTo>
                  <a:lnTo>
                    <a:pt x="325" y="186"/>
                  </a:lnTo>
                  <a:lnTo>
                    <a:pt x="325" y="189"/>
                  </a:lnTo>
                  <a:lnTo>
                    <a:pt x="325" y="191"/>
                  </a:lnTo>
                  <a:lnTo>
                    <a:pt x="324" y="193"/>
                  </a:lnTo>
                  <a:lnTo>
                    <a:pt x="323" y="196"/>
                  </a:lnTo>
                  <a:lnTo>
                    <a:pt x="321" y="198"/>
                  </a:lnTo>
                  <a:lnTo>
                    <a:pt x="319" y="200"/>
                  </a:lnTo>
                  <a:lnTo>
                    <a:pt x="318" y="201"/>
                  </a:lnTo>
                  <a:lnTo>
                    <a:pt x="312" y="205"/>
                  </a:lnTo>
                  <a:lnTo>
                    <a:pt x="308" y="208"/>
                  </a:lnTo>
                  <a:lnTo>
                    <a:pt x="307" y="209"/>
                  </a:lnTo>
                  <a:lnTo>
                    <a:pt x="306" y="210"/>
                  </a:lnTo>
                  <a:lnTo>
                    <a:pt x="304" y="211"/>
                  </a:lnTo>
                  <a:lnTo>
                    <a:pt x="303" y="211"/>
                  </a:lnTo>
                  <a:lnTo>
                    <a:pt x="301" y="211"/>
                  </a:lnTo>
                  <a:lnTo>
                    <a:pt x="298" y="211"/>
                  </a:lnTo>
                  <a:lnTo>
                    <a:pt x="294" y="211"/>
                  </a:lnTo>
                  <a:lnTo>
                    <a:pt x="291" y="210"/>
                  </a:lnTo>
                  <a:lnTo>
                    <a:pt x="289" y="209"/>
                  </a:lnTo>
                  <a:lnTo>
                    <a:pt x="286" y="208"/>
                  </a:lnTo>
                  <a:lnTo>
                    <a:pt x="284" y="207"/>
                  </a:lnTo>
                  <a:lnTo>
                    <a:pt x="281" y="205"/>
                  </a:lnTo>
                  <a:lnTo>
                    <a:pt x="277" y="202"/>
                  </a:lnTo>
                  <a:lnTo>
                    <a:pt x="272" y="200"/>
                  </a:lnTo>
                  <a:lnTo>
                    <a:pt x="269" y="199"/>
                  </a:lnTo>
                  <a:lnTo>
                    <a:pt x="267" y="197"/>
                  </a:lnTo>
                  <a:lnTo>
                    <a:pt x="263" y="196"/>
                  </a:lnTo>
                  <a:lnTo>
                    <a:pt x="261" y="196"/>
                  </a:lnTo>
                  <a:lnTo>
                    <a:pt x="260" y="195"/>
                  </a:lnTo>
                  <a:lnTo>
                    <a:pt x="258" y="195"/>
                  </a:lnTo>
                  <a:lnTo>
                    <a:pt x="252" y="196"/>
                  </a:lnTo>
                  <a:lnTo>
                    <a:pt x="246" y="196"/>
                  </a:lnTo>
                  <a:lnTo>
                    <a:pt x="244" y="196"/>
                  </a:lnTo>
                  <a:lnTo>
                    <a:pt x="241" y="197"/>
                  </a:lnTo>
                  <a:lnTo>
                    <a:pt x="233" y="198"/>
                  </a:lnTo>
                  <a:lnTo>
                    <a:pt x="231" y="198"/>
                  </a:lnTo>
                  <a:lnTo>
                    <a:pt x="229" y="199"/>
                  </a:lnTo>
                  <a:lnTo>
                    <a:pt x="227" y="199"/>
                  </a:lnTo>
                  <a:lnTo>
                    <a:pt x="226" y="200"/>
                  </a:lnTo>
                  <a:lnTo>
                    <a:pt x="224" y="201"/>
                  </a:lnTo>
                  <a:lnTo>
                    <a:pt x="223" y="202"/>
                  </a:lnTo>
                  <a:lnTo>
                    <a:pt x="222" y="203"/>
                  </a:lnTo>
                  <a:lnTo>
                    <a:pt x="219" y="206"/>
                  </a:lnTo>
                  <a:lnTo>
                    <a:pt x="217" y="208"/>
                  </a:lnTo>
                  <a:lnTo>
                    <a:pt x="214" y="210"/>
                  </a:lnTo>
                  <a:lnTo>
                    <a:pt x="212" y="212"/>
                  </a:lnTo>
                  <a:lnTo>
                    <a:pt x="210" y="213"/>
                  </a:lnTo>
                  <a:lnTo>
                    <a:pt x="208" y="214"/>
                  </a:lnTo>
                  <a:lnTo>
                    <a:pt x="201" y="215"/>
                  </a:lnTo>
                  <a:lnTo>
                    <a:pt x="199" y="216"/>
                  </a:lnTo>
                  <a:lnTo>
                    <a:pt x="195" y="218"/>
                  </a:lnTo>
                  <a:lnTo>
                    <a:pt x="193" y="220"/>
                  </a:lnTo>
                  <a:lnTo>
                    <a:pt x="191" y="221"/>
                  </a:lnTo>
                  <a:lnTo>
                    <a:pt x="186" y="226"/>
                  </a:lnTo>
                  <a:lnTo>
                    <a:pt x="172" y="236"/>
                  </a:lnTo>
                  <a:lnTo>
                    <a:pt x="170" y="238"/>
                  </a:lnTo>
                  <a:lnTo>
                    <a:pt x="168" y="238"/>
                  </a:lnTo>
                  <a:lnTo>
                    <a:pt x="166" y="239"/>
                  </a:lnTo>
                  <a:lnTo>
                    <a:pt x="164" y="240"/>
                  </a:lnTo>
                  <a:lnTo>
                    <a:pt x="158" y="242"/>
                  </a:lnTo>
                  <a:lnTo>
                    <a:pt x="152" y="245"/>
                  </a:lnTo>
                  <a:lnTo>
                    <a:pt x="147" y="247"/>
                  </a:lnTo>
                  <a:lnTo>
                    <a:pt x="143" y="248"/>
                  </a:lnTo>
                  <a:lnTo>
                    <a:pt x="141" y="248"/>
                  </a:lnTo>
                  <a:lnTo>
                    <a:pt x="132" y="249"/>
                  </a:lnTo>
                  <a:lnTo>
                    <a:pt x="130" y="250"/>
                  </a:lnTo>
                  <a:lnTo>
                    <a:pt x="128" y="251"/>
                  </a:lnTo>
                  <a:lnTo>
                    <a:pt x="127" y="252"/>
                  </a:lnTo>
                  <a:lnTo>
                    <a:pt x="126" y="253"/>
                  </a:lnTo>
                  <a:lnTo>
                    <a:pt x="124" y="255"/>
                  </a:lnTo>
                  <a:lnTo>
                    <a:pt x="123" y="256"/>
                  </a:lnTo>
                  <a:lnTo>
                    <a:pt x="122" y="259"/>
                  </a:lnTo>
                  <a:lnTo>
                    <a:pt x="119" y="264"/>
                  </a:lnTo>
                  <a:lnTo>
                    <a:pt x="118" y="266"/>
                  </a:lnTo>
                  <a:lnTo>
                    <a:pt x="117" y="267"/>
                  </a:lnTo>
                  <a:lnTo>
                    <a:pt x="117" y="268"/>
                  </a:lnTo>
                  <a:lnTo>
                    <a:pt x="116" y="269"/>
                  </a:lnTo>
                  <a:lnTo>
                    <a:pt x="115" y="269"/>
                  </a:lnTo>
                  <a:lnTo>
                    <a:pt x="113" y="270"/>
                  </a:lnTo>
                  <a:lnTo>
                    <a:pt x="111" y="270"/>
                  </a:lnTo>
                  <a:lnTo>
                    <a:pt x="106" y="270"/>
                  </a:lnTo>
                  <a:lnTo>
                    <a:pt x="102" y="270"/>
                  </a:lnTo>
                  <a:lnTo>
                    <a:pt x="93" y="269"/>
                  </a:lnTo>
                  <a:lnTo>
                    <a:pt x="89" y="268"/>
                  </a:lnTo>
                  <a:lnTo>
                    <a:pt x="86" y="268"/>
                  </a:lnTo>
                  <a:lnTo>
                    <a:pt x="85" y="267"/>
                  </a:lnTo>
                  <a:lnTo>
                    <a:pt x="84" y="266"/>
                  </a:lnTo>
                  <a:lnTo>
                    <a:pt x="82" y="265"/>
                  </a:lnTo>
                  <a:lnTo>
                    <a:pt x="80" y="264"/>
                  </a:lnTo>
                  <a:lnTo>
                    <a:pt x="79" y="263"/>
                  </a:lnTo>
                  <a:lnTo>
                    <a:pt x="78" y="263"/>
                  </a:lnTo>
                  <a:lnTo>
                    <a:pt x="76" y="261"/>
                  </a:lnTo>
                  <a:lnTo>
                    <a:pt x="75" y="261"/>
                  </a:lnTo>
                  <a:lnTo>
                    <a:pt x="75" y="259"/>
                  </a:lnTo>
                  <a:lnTo>
                    <a:pt x="75" y="258"/>
                  </a:lnTo>
                  <a:lnTo>
                    <a:pt x="74" y="256"/>
                  </a:lnTo>
                  <a:lnTo>
                    <a:pt x="74" y="255"/>
                  </a:lnTo>
                  <a:lnTo>
                    <a:pt x="74" y="252"/>
                  </a:lnTo>
                  <a:lnTo>
                    <a:pt x="75" y="250"/>
                  </a:lnTo>
                  <a:lnTo>
                    <a:pt x="76" y="246"/>
                  </a:lnTo>
                  <a:lnTo>
                    <a:pt x="76" y="245"/>
                  </a:lnTo>
                  <a:lnTo>
                    <a:pt x="76" y="243"/>
                  </a:lnTo>
                  <a:lnTo>
                    <a:pt x="76" y="242"/>
                  </a:lnTo>
                  <a:lnTo>
                    <a:pt x="76" y="241"/>
                  </a:lnTo>
                  <a:lnTo>
                    <a:pt x="75" y="240"/>
                  </a:lnTo>
                  <a:lnTo>
                    <a:pt x="75" y="238"/>
                  </a:lnTo>
                  <a:lnTo>
                    <a:pt x="75" y="238"/>
                  </a:lnTo>
                  <a:lnTo>
                    <a:pt x="74" y="237"/>
                  </a:lnTo>
                  <a:lnTo>
                    <a:pt x="74" y="235"/>
                  </a:lnTo>
                  <a:lnTo>
                    <a:pt x="75" y="230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4" y="225"/>
                  </a:lnTo>
                  <a:lnTo>
                    <a:pt x="74" y="224"/>
                  </a:lnTo>
                  <a:lnTo>
                    <a:pt x="73" y="222"/>
                  </a:lnTo>
                  <a:lnTo>
                    <a:pt x="73" y="221"/>
                  </a:lnTo>
                  <a:lnTo>
                    <a:pt x="72" y="220"/>
                  </a:lnTo>
                  <a:lnTo>
                    <a:pt x="70" y="219"/>
                  </a:lnTo>
                  <a:lnTo>
                    <a:pt x="68" y="218"/>
                  </a:lnTo>
                  <a:lnTo>
                    <a:pt x="63" y="216"/>
                  </a:lnTo>
                  <a:lnTo>
                    <a:pt x="61" y="215"/>
                  </a:lnTo>
                  <a:lnTo>
                    <a:pt x="59" y="214"/>
                  </a:lnTo>
                  <a:lnTo>
                    <a:pt x="57" y="213"/>
                  </a:lnTo>
                  <a:lnTo>
                    <a:pt x="55" y="211"/>
                  </a:lnTo>
                  <a:lnTo>
                    <a:pt x="54" y="209"/>
                  </a:lnTo>
                  <a:lnTo>
                    <a:pt x="53" y="208"/>
                  </a:lnTo>
                  <a:lnTo>
                    <a:pt x="52" y="206"/>
                  </a:lnTo>
                  <a:lnTo>
                    <a:pt x="52" y="205"/>
                  </a:lnTo>
                  <a:lnTo>
                    <a:pt x="52" y="204"/>
                  </a:lnTo>
                  <a:lnTo>
                    <a:pt x="52" y="203"/>
                  </a:lnTo>
                  <a:lnTo>
                    <a:pt x="52" y="201"/>
                  </a:lnTo>
                  <a:lnTo>
                    <a:pt x="52" y="199"/>
                  </a:lnTo>
                  <a:lnTo>
                    <a:pt x="52" y="198"/>
                  </a:lnTo>
                  <a:lnTo>
                    <a:pt x="53" y="194"/>
                  </a:lnTo>
                  <a:lnTo>
                    <a:pt x="54" y="193"/>
                  </a:lnTo>
                  <a:lnTo>
                    <a:pt x="54" y="191"/>
                  </a:lnTo>
                  <a:lnTo>
                    <a:pt x="54" y="190"/>
                  </a:lnTo>
                  <a:lnTo>
                    <a:pt x="54" y="188"/>
                  </a:lnTo>
                  <a:lnTo>
                    <a:pt x="53" y="186"/>
                  </a:lnTo>
                  <a:lnTo>
                    <a:pt x="53" y="184"/>
                  </a:lnTo>
                  <a:lnTo>
                    <a:pt x="52" y="182"/>
                  </a:lnTo>
                  <a:lnTo>
                    <a:pt x="50" y="181"/>
                  </a:lnTo>
                  <a:lnTo>
                    <a:pt x="42" y="174"/>
                  </a:lnTo>
                  <a:lnTo>
                    <a:pt x="38" y="170"/>
                  </a:lnTo>
                  <a:lnTo>
                    <a:pt x="35" y="167"/>
                  </a:lnTo>
                  <a:lnTo>
                    <a:pt x="32" y="164"/>
                  </a:lnTo>
                  <a:lnTo>
                    <a:pt x="30" y="161"/>
                  </a:lnTo>
                  <a:lnTo>
                    <a:pt x="29" y="159"/>
                  </a:lnTo>
                  <a:lnTo>
                    <a:pt x="27" y="156"/>
                  </a:lnTo>
                  <a:lnTo>
                    <a:pt x="24" y="149"/>
                  </a:lnTo>
                  <a:lnTo>
                    <a:pt x="23" y="147"/>
                  </a:lnTo>
                  <a:lnTo>
                    <a:pt x="22" y="146"/>
                  </a:lnTo>
                  <a:lnTo>
                    <a:pt x="18" y="141"/>
                  </a:lnTo>
                  <a:lnTo>
                    <a:pt x="18" y="139"/>
                  </a:lnTo>
                  <a:lnTo>
                    <a:pt x="17" y="137"/>
                  </a:lnTo>
                  <a:lnTo>
                    <a:pt x="17" y="136"/>
                  </a:lnTo>
                  <a:lnTo>
                    <a:pt x="16" y="136"/>
                  </a:lnTo>
                  <a:lnTo>
                    <a:pt x="17" y="134"/>
                  </a:lnTo>
                  <a:lnTo>
                    <a:pt x="17" y="132"/>
                  </a:lnTo>
                  <a:lnTo>
                    <a:pt x="18" y="130"/>
                  </a:lnTo>
                  <a:lnTo>
                    <a:pt x="20" y="127"/>
                  </a:lnTo>
                  <a:lnTo>
                    <a:pt x="21" y="126"/>
                  </a:lnTo>
                  <a:lnTo>
                    <a:pt x="22" y="125"/>
                  </a:lnTo>
                  <a:lnTo>
                    <a:pt x="24" y="124"/>
                  </a:lnTo>
                  <a:lnTo>
                    <a:pt x="30" y="121"/>
                  </a:lnTo>
                  <a:lnTo>
                    <a:pt x="31" y="120"/>
                  </a:lnTo>
                  <a:lnTo>
                    <a:pt x="32" y="118"/>
                  </a:lnTo>
                  <a:lnTo>
                    <a:pt x="33" y="117"/>
                  </a:lnTo>
                  <a:lnTo>
                    <a:pt x="33" y="116"/>
                  </a:lnTo>
                  <a:lnTo>
                    <a:pt x="33" y="114"/>
                  </a:lnTo>
                  <a:lnTo>
                    <a:pt x="32" y="113"/>
                  </a:lnTo>
                  <a:lnTo>
                    <a:pt x="32" y="112"/>
                  </a:lnTo>
                  <a:lnTo>
                    <a:pt x="31" y="111"/>
                  </a:lnTo>
                  <a:lnTo>
                    <a:pt x="28" y="107"/>
                  </a:lnTo>
                  <a:lnTo>
                    <a:pt x="22" y="101"/>
                  </a:lnTo>
                  <a:lnTo>
                    <a:pt x="17" y="96"/>
                  </a:lnTo>
                  <a:lnTo>
                    <a:pt x="13" y="92"/>
                  </a:lnTo>
                  <a:lnTo>
                    <a:pt x="11" y="91"/>
                  </a:lnTo>
                  <a:lnTo>
                    <a:pt x="9" y="89"/>
                  </a:lnTo>
                  <a:lnTo>
                    <a:pt x="7" y="88"/>
                  </a:lnTo>
                  <a:lnTo>
                    <a:pt x="3" y="86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1" y="82"/>
                  </a:lnTo>
                  <a:lnTo>
                    <a:pt x="1" y="81"/>
                  </a:lnTo>
                  <a:lnTo>
                    <a:pt x="2" y="80"/>
                  </a:lnTo>
                  <a:lnTo>
                    <a:pt x="4" y="79"/>
                  </a:lnTo>
                  <a:lnTo>
                    <a:pt x="7" y="78"/>
                  </a:lnTo>
                  <a:lnTo>
                    <a:pt x="8" y="76"/>
                  </a:lnTo>
                  <a:lnTo>
                    <a:pt x="16" y="73"/>
                  </a:lnTo>
                  <a:lnTo>
                    <a:pt x="22" y="71"/>
                  </a:lnTo>
                  <a:lnTo>
                    <a:pt x="28" y="69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41" y="65"/>
                  </a:lnTo>
                  <a:lnTo>
                    <a:pt x="47" y="62"/>
                  </a:lnTo>
                  <a:lnTo>
                    <a:pt x="50" y="61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6" y="60"/>
                  </a:lnTo>
                  <a:lnTo>
                    <a:pt x="58" y="61"/>
                  </a:lnTo>
                  <a:lnTo>
                    <a:pt x="59" y="61"/>
                  </a:lnTo>
                  <a:lnTo>
                    <a:pt x="61" y="62"/>
                  </a:lnTo>
                  <a:lnTo>
                    <a:pt x="65" y="65"/>
                  </a:lnTo>
                  <a:lnTo>
                    <a:pt x="67" y="66"/>
                  </a:lnTo>
                  <a:lnTo>
                    <a:pt x="70" y="67"/>
                  </a:lnTo>
                  <a:lnTo>
                    <a:pt x="73" y="67"/>
                  </a:lnTo>
                  <a:lnTo>
                    <a:pt x="75" y="68"/>
                  </a:lnTo>
                  <a:lnTo>
                    <a:pt x="79" y="68"/>
                  </a:lnTo>
                  <a:lnTo>
                    <a:pt x="83" y="67"/>
                  </a:lnTo>
                  <a:lnTo>
                    <a:pt x="86" y="67"/>
                  </a:lnTo>
                  <a:lnTo>
                    <a:pt x="87" y="66"/>
                  </a:lnTo>
                  <a:lnTo>
                    <a:pt x="88" y="65"/>
                  </a:lnTo>
                  <a:lnTo>
                    <a:pt x="89" y="64"/>
                  </a:lnTo>
                  <a:lnTo>
                    <a:pt x="90" y="62"/>
                  </a:lnTo>
                  <a:lnTo>
                    <a:pt x="91" y="60"/>
                  </a:lnTo>
                  <a:lnTo>
                    <a:pt x="92" y="58"/>
                  </a:lnTo>
                  <a:lnTo>
                    <a:pt x="94" y="51"/>
                  </a:lnTo>
                  <a:lnTo>
                    <a:pt x="95" y="48"/>
                  </a:lnTo>
                  <a:lnTo>
                    <a:pt x="96" y="46"/>
                  </a:lnTo>
                  <a:lnTo>
                    <a:pt x="97" y="45"/>
                  </a:lnTo>
                  <a:lnTo>
                    <a:pt x="98" y="43"/>
                  </a:lnTo>
                  <a:lnTo>
                    <a:pt x="99" y="41"/>
                  </a:lnTo>
                  <a:lnTo>
                    <a:pt x="100" y="40"/>
                  </a:lnTo>
                  <a:lnTo>
                    <a:pt x="103" y="38"/>
                  </a:lnTo>
                  <a:lnTo>
                    <a:pt x="104" y="38"/>
                  </a:lnTo>
                  <a:lnTo>
                    <a:pt x="106" y="37"/>
                  </a:lnTo>
                  <a:lnTo>
                    <a:pt x="109" y="37"/>
                  </a:lnTo>
                  <a:lnTo>
                    <a:pt x="112" y="36"/>
                  </a:lnTo>
                  <a:lnTo>
                    <a:pt x="119" y="36"/>
                  </a:lnTo>
                  <a:lnTo>
                    <a:pt x="121" y="35"/>
                  </a:lnTo>
                  <a:lnTo>
                    <a:pt x="125" y="34"/>
                  </a:lnTo>
                  <a:lnTo>
                    <a:pt x="132" y="33"/>
                  </a:lnTo>
                  <a:lnTo>
                    <a:pt x="135" y="32"/>
                  </a:lnTo>
                  <a:lnTo>
                    <a:pt x="139" y="30"/>
                  </a:lnTo>
                  <a:lnTo>
                    <a:pt x="149" y="25"/>
                  </a:lnTo>
                  <a:lnTo>
                    <a:pt x="152" y="23"/>
                  </a:lnTo>
                  <a:lnTo>
                    <a:pt x="155" y="23"/>
                  </a:lnTo>
                  <a:lnTo>
                    <a:pt x="163" y="20"/>
                  </a:lnTo>
                  <a:lnTo>
                    <a:pt x="167" y="18"/>
                  </a:lnTo>
                  <a:lnTo>
                    <a:pt x="171" y="16"/>
                  </a:lnTo>
                  <a:lnTo>
                    <a:pt x="178" y="12"/>
                  </a:lnTo>
                  <a:lnTo>
                    <a:pt x="181" y="11"/>
                  </a:lnTo>
                  <a:lnTo>
                    <a:pt x="185" y="9"/>
                  </a:lnTo>
                  <a:lnTo>
                    <a:pt x="191" y="7"/>
                  </a:lnTo>
                  <a:lnTo>
                    <a:pt x="197" y="5"/>
                  </a:lnTo>
                  <a:lnTo>
                    <a:pt x="202" y="4"/>
                  </a:lnTo>
                  <a:lnTo>
                    <a:pt x="214" y="1"/>
                  </a:lnTo>
                  <a:lnTo>
                    <a:pt x="221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3" y="0"/>
                  </a:lnTo>
                  <a:lnTo>
                    <a:pt x="223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6" name="Freeform 85">
              <a:extLst>
                <a:ext uri="{FF2B5EF4-FFF2-40B4-BE49-F238E27FC236}">
                  <a16:creationId xmlns:a16="http://schemas.microsoft.com/office/drawing/2014/main" id="{CB535B8C-7D87-4C33-A88D-D03D380C5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0" y="1496"/>
              <a:ext cx="1123" cy="1310"/>
            </a:xfrm>
            <a:custGeom>
              <a:avLst/>
              <a:gdLst>
                <a:gd name="T0" fmla="*/ 690 w 1123"/>
                <a:gd name="T1" fmla="*/ 25 h 1310"/>
                <a:gd name="T2" fmla="*/ 725 w 1123"/>
                <a:gd name="T3" fmla="*/ 24 h 1310"/>
                <a:gd name="T4" fmla="*/ 784 w 1123"/>
                <a:gd name="T5" fmla="*/ 74 h 1310"/>
                <a:gd name="T6" fmla="*/ 828 w 1123"/>
                <a:gd name="T7" fmla="*/ 114 h 1310"/>
                <a:gd name="T8" fmla="*/ 823 w 1123"/>
                <a:gd name="T9" fmla="*/ 167 h 1310"/>
                <a:gd name="T10" fmla="*/ 838 w 1123"/>
                <a:gd name="T11" fmla="*/ 228 h 1310"/>
                <a:gd name="T12" fmla="*/ 813 w 1123"/>
                <a:gd name="T13" fmla="*/ 275 h 1310"/>
                <a:gd name="T14" fmla="*/ 816 w 1123"/>
                <a:gd name="T15" fmla="*/ 310 h 1310"/>
                <a:gd name="T16" fmla="*/ 850 w 1123"/>
                <a:gd name="T17" fmla="*/ 328 h 1310"/>
                <a:gd name="T18" fmla="*/ 878 w 1123"/>
                <a:gd name="T19" fmla="*/ 367 h 1310"/>
                <a:gd name="T20" fmla="*/ 902 w 1123"/>
                <a:gd name="T21" fmla="*/ 388 h 1310"/>
                <a:gd name="T22" fmla="*/ 982 w 1123"/>
                <a:gd name="T23" fmla="*/ 381 h 1310"/>
                <a:gd name="T24" fmla="*/ 1006 w 1123"/>
                <a:gd name="T25" fmla="*/ 414 h 1310"/>
                <a:gd name="T26" fmla="*/ 1017 w 1123"/>
                <a:gd name="T27" fmla="*/ 481 h 1310"/>
                <a:gd name="T28" fmla="*/ 999 w 1123"/>
                <a:gd name="T29" fmla="*/ 530 h 1310"/>
                <a:gd name="T30" fmla="*/ 1008 w 1123"/>
                <a:gd name="T31" fmla="*/ 562 h 1310"/>
                <a:gd name="T32" fmla="*/ 1054 w 1123"/>
                <a:gd name="T33" fmla="*/ 587 h 1310"/>
                <a:gd name="T34" fmla="*/ 1034 w 1123"/>
                <a:gd name="T35" fmla="*/ 609 h 1310"/>
                <a:gd name="T36" fmla="*/ 1033 w 1123"/>
                <a:gd name="T37" fmla="*/ 630 h 1310"/>
                <a:gd name="T38" fmla="*/ 1014 w 1123"/>
                <a:gd name="T39" fmla="*/ 665 h 1310"/>
                <a:gd name="T40" fmla="*/ 1005 w 1123"/>
                <a:gd name="T41" fmla="*/ 682 h 1310"/>
                <a:gd name="T42" fmla="*/ 1033 w 1123"/>
                <a:gd name="T43" fmla="*/ 707 h 1310"/>
                <a:gd name="T44" fmla="*/ 1069 w 1123"/>
                <a:gd name="T45" fmla="*/ 725 h 1310"/>
                <a:gd name="T46" fmla="*/ 1085 w 1123"/>
                <a:gd name="T47" fmla="*/ 752 h 1310"/>
                <a:gd name="T48" fmla="*/ 1123 w 1123"/>
                <a:gd name="T49" fmla="*/ 790 h 1310"/>
                <a:gd name="T50" fmla="*/ 1111 w 1123"/>
                <a:gd name="T51" fmla="*/ 846 h 1310"/>
                <a:gd name="T52" fmla="*/ 1094 w 1123"/>
                <a:gd name="T53" fmla="*/ 902 h 1310"/>
                <a:gd name="T54" fmla="*/ 1049 w 1123"/>
                <a:gd name="T55" fmla="*/ 926 h 1310"/>
                <a:gd name="T56" fmla="*/ 1049 w 1123"/>
                <a:gd name="T57" fmla="*/ 962 h 1310"/>
                <a:gd name="T58" fmla="*/ 1016 w 1123"/>
                <a:gd name="T59" fmla="*/ 973 h 1310"/>
                <a:gd name="T60" fmla="*/ 970 w 1123"/>
                <a:gd name="T61" fmla="*/ 1002 h 1310"/>
                <a:gd name="T62" fmla="*/ 914 w 1123"/>
                <a:gd name="T63" fmla="*/ 1018 h 1310"/>
                <a:gd name="T64" fmla="*/ 889 w 1123"/>
                <a:gd name="T65" fmla="*/ 1034 h 1310"/>
                <a:gd name="T66" fmla="*/ 858 w 1123"/>
                <a:gd name="T67" fmla="*/ 1100 h 1310"/>
                <a:gd name="T68" fmla="*/ 897 w 1123"/>
                <a:gd name="T69" fmla="*/ 1134 h 1310"/>
                <a:gd name="T70" fmla="*/ 904 w 1123"/>
                <a:gd name="T71" fmla="*/ 1175 h 1310"/>
                <a:gd name="T72" fmla="*/ 861 w 1123"/>
                <a:gd name="T73" fmla="*/ 1187 h 1310"/>
                <a:gd name="T74" fmla="*/ 840 w 1123"/>
                <a:gd name="T75" fmla="*/ 1210 h 1310"/>
                <a:gd name="T76" fmla="*/ 787 w 1123"/>
                <a:gd name="T77" fmla="*/ 1202 h 1310"/>
                <a:gd name="T78" fmla="*/ 716 w 1123"/>
                <a:gd name="T79" fmla="*/ 1199 h 1310"/>
                <a:gd name="T80" fmla="*/ 705 w 1123"/>
                <a:gd name="T81" fmla="*/ 1221 h 1310"/>
                <a:gd name="T82" fmla="*/ 674 w 1123"/>
                <a:gd name="T83" fmla="*/ 1240 h 1310"/>
                <a:gd name="T84" fmla="*/ 651 w 1123"/>
                <a:gd name="T85" fmla="*/ 1266 h 1310"/>
                <a:gd name="T86" fmla="*/ 620 w 1123"/>
                <a:gd name="T87" fmla="*/ 1221 h 1310"/>
                <a:gd name="T88" fmla="*/ 589 w 1123"/>
                <a:gd name="T89" fmla="*/ 1219 h 1310"/>
                <a:gd name="T90" fmla="*/ 536 w 1123"/>
                <a:gd name="T91" fmla="*/ 1189 h 1310"/>
                <a:gd name="T92" fmla="*/ 510 w 1123"/>
                <a:gd name="T93" fmla="*/ 1224 h 1310"/>
                <a:gd name="T94" fmla="*/ 504 w 1123"/>
                <a:gd name="T95" fmla="*/ 1268 h 1310"/>
                <a:gd name="T96" fmla="*/ 448 w 1123"/>
                <a:gd name="T97" fmla="*/ 1309 h 1310"/>
                <a:gd name="T98" fmla="*/ 405 w 1123"/>
                <a:gd name="T99" fmla="*/ 1296 h 1310"/>
                <a:gd name="T100" fmla="*/ 397 w 1123"/>
                <a:gd name="T101" fmla="*/ 1277 h 1310"/>
                <a:gd name="T102" fmla="*/ 336 w 1123"/>
                <a:gd name="T103" fmla="*/ 1272 h 1310"/>
                <a:gd name="T104" fmla="*/ 290 w 1123"/>
                <a:gd name="T105" fmla="*/ 1269 h 1310"/>
                <a:gd name="T106" fmla="*/ 262 w 1123"/>
                <a:gd name="T107" fmla="*/ 1272 h 1310"/>
                <a:gd name="T108" fmla="*/ 222 w 1123"/>
                <a:gd name="T109" fmla="*/ 1287 h 1310"/>
                <a:gd name="T110" fmla="*/ 190 w 1123"/>
                <a:gd name="T111" fmla="*/ 1266 h 1310"/>
                <a:gd name="T112" fmla="*/ 150 w 1123"/>
                <a:gd name="T113" fmla="*/ 1243 h 1310"/>
                <a:gd name="T114" fmla="*/ 110 w 1123"/>
                <a:gd name="T115" fmla="*/ 1277 h 1310"/>
                <a:gd name="T116" fmla="*/ 30 w 1123"/>
                <a:gd name="T117" fmla="*/ 1280 h 1310"/>
                <a:gd name="T118" fmla="*/ 2 w 1123"/>
                <a:gd name="T119" fmla="*/ 1267 h 1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23" h="1310">
                  <a:moveTo>
                    <a:pt x="657" y="0"/>
                  </a:moveTo>
                  <a:lnTo>
                    <a:pt x="657" y="0"/>
                  </a:lnTo>
                  <a:lnTo>
                    <a:pt x="659" y="0"/>
                  </a:lnTo>
                  <a:lnTo>
                    <a:pt x="661" y="1"/>
                  </a:lnTo>
                  <a:lnTo>
                    <a:pt x="663" y="3"/>
                  </a:lnTo>
                  <a:lnTo>
                    <a:pt x="667" y="8"/>
                  </a:lnTo>
                  <a:lnTo>
                    <a:pt x="669" y="10"/>
                  </a:lnTo>
                  <a:lnTo>
                    <a:pt x="672" y="12"/>
                  </a:lnTo>
                  <a:lnTo>
                    <a:pt x="677" y="16"/>
                  </a:lnTo>
                  <a:lnTo>
                    <a:pt x="679" y="18"/>
                  </a:lnTo>
                  <a:lnTo>
                    <a:pt x="680" y="19"/>
                  </a:lnTo>
                  <a:lnTo>
                    <a:pt x="683" y="22"/>
                  </a:lnTo>
                  <a:lnTo>
                    <a:pt x="684" y="22"/>
                  </a:lnTo>
                  <a:lnTo>
                    <a:pt x="685" y="23"/>
                  </a:lnTo>
                  <a:lnTo>
                    <a:pt x="687" y="24"/>
                  </a:lnTo>
                  <a:lnTo>
                    <a:pt x="689" y="25"/>
                  </a:lnTo>
                  <a:lnTo>
                    <a:pt x="690" y="25"/>
                  </a:lnTo>
                  <a:lnTo>
                    <a:pt x="691" y="25"/>
                  </a:lnTo>
                  <a:lnTo>
                    <a:pt x="692" y="25"/>
                  </a:lnTo>
                  <a:lnTo>
                    <a:pt x="693" y="24"/>
                  </a:lnTo>
                  <a:lnTo>
                    <a:pt x="695" y="23"/>
                  </a:lnTo>
                  <a:lnTo>
                    <a:pt x="697" y="22"/>
                  </a:lnTo>
                  <a:lnTo>
                    <a:pt x="700" y="21"/>
                  </a:lnTo>
                  <a:lnTo>
                    <a:pt x="702" y="20"/>
                  </a:lnTo>
                  <a:lnTo>
                    <a:pt x="703" y="19"/>
                  </a:lnTo>
                  <a:lnTo>
                    <a:pt x="705" y="19"/>
                  </a:lnTo>
                  <a:lnTo>
                    <a:pt x="706" y="19"/>
                  </a:lnTo>
                  <a:lnTo>
                    <a:pt x="709" y="19"/>
                  </a:lnTo>
                  <a:lnTo>
                    <a:pt x="715" y="20"/>
                  </a:lnTo>
                  <a:lnTo>
                    <a:pt x="718" y="21"/>
                  </a:lnTo>
                  <a:lnTo>
                    <a:pt x="720" y="22"/>
                  </a:lnTo>
                  <a:lnTo>
                    <a:pt x="721" y="22"/>
                  </a:lnTo>
                  <a:lnTo>
                    <a:pt x="722" y="22"/>
                  </a:lnTo>
                  <a:lnTo>
                    <a:pt x="725" y="24"/>
                  </a:lnTo>
                  <a:lnTo>
                    <a:pt x="727" y="27"/>
                  </a:lnTo>
                  <a:lnTo>
                    <a:pt x="735" y="35"/>
                  </a:lnTo>
                  <a:lnTo>
                    <a:pt x="745" y="46"/>
                  </a:lnTo>
                  <a:lnTo>
                    <a:pt x="749" y="52"/>
                  </a:lnTo>
                  <a:lnTo>
                    <a:pt x="751" y="54"/>
                  </a:lnTo>
                  <a:lnTo>
                    <a:pt x="752" y="55"/>
                  </a:lnTo>
                  <a:lnTo>
                    <a:pt x="754" y="56"/>
                  </a:lnTo>
                  <a:lnTo>
                    <a:pt x="756" y="57"/>
                  </a:lnTo>
                  <a:lnTo>
                    <a:pt x="759" y="58"/>
                  </a:lnTo>
                  <a:lnTo>
                    <a:pt x="764" y="60"/>
                  </a:lnTo>
                  <a:lnTo>
                    <a:pt x="766" y="61"/>
                  </a:lnTo>
                  <a:lnTo>
                    <a:pt x="769" y="62"/>
                  </a:lnTo>
                  <a:lnTo>
                    <a:pt x="771" y="64"/>
                  </a:lnTo>
                  <a:lnTo>
                    <a:pt x="775" y="67"/>
                  </a:lnTo>
                  <a:lnTo>
                    <a:pt x="780" y="70"/>
                  </a:lnTo>
                  <a:lnTo>
                    <a:pt x="783" y="73"/>
                  </a:lnTo>
                  <a:lnTo>
                    <a:pt x="784" y="74"/>
                  </a:lnTo>
                  <a:lnTo>
                    <a:pt x="786" y="76"/>
                  </a:lnTo>
                  <a:lnTo>
                    <a:pt x="789" y="79"/>
                  </a:lnTo>
                  <a:lnTo>
                    <a:pt x="790" y="82"/>
                  </a:lnTo>
                  <a:lnTo>
                    <a:pt x="793" y="90"/>
                  </a:lnTo>
                  <a:lnTo>
                    <a:pt x="795" y="92"/>
                  </a:lnTo>
                  <a:lnTo>
                    <a:pt x="796" y="93"/>
                  </a:lnTo>
                  <a:lnTo>
                    <a:pt x="798" y="95"/>
                  </a:lnTo>
                  <a:lnTo>
                    <a:pt x="800" y="97"/>
                  </a:lnTo>
                  <a:lnTo>
                    <a:pt x="802" y="98"/>
                  </a:lnTo>
                  <a:lnTo>
                    <a:pt x="804" y="100"/>
                  </a:lnTo>
                  <a:lnTo>
                    <a:pt x="805" y="101"/>
                  </a:lnTo>
                  <a:lnTo>
                    <a:pt x="809" y="102"/>
                  </a:lnTo>
                  <a:lnTo>
                    <a:pt x="814" y="105"/>
                  </a:lnTo>
                  <a:lnTo>
                    <a:pt x="825" y="110"/>
                  </a:lnTo>
                  <a:lnTo>
                    <a:pt x="827" y="111"/>
                  </a:lnTo>
                  <a:lnTo>
                    <a:pt x="830" y="113"/>
                  </a:lnTo>
                  <a:lnTo>
                    <a:pt x="828" y="114"/>
                  </a:lnTo>
                  <a:lnTo>
                    <a:pt x="825" y="118"/>
                  </a:lnTo>
                  <a:lnTo>
                    <a:pt x="819" y="124"/>
                  </a:lnTo>
                  <a:lnTo>
                    <a:pt x="817" y="126"/>
                  </a:lnTo>
                  <a:lnTo>
                    <a:pt x="816" y="128"/>
                  </a:lnTo>
                  <a:lnTo>
                    <a:pt x="814" y="131"/>
                  </a:lnTo>
                  <a:lnTo>
                    <a:pt x="813" y="133"/>
                  </a:lnTo>
                  <a:lnTo>
                    <a:pt x="812" y="135"/>
                  </a:lnTo>
                  <a:lnTo>
                    <a:pt x="812" y="136"/>
                  </a:lnTo>
                  <a:lnTo>
                    <a:pt x="812" y="137"/>
                  </a:lnTo>
                  <a:lnTo>
                    <a:pt x="812" y="139"/>
                  </a:lnTo>
                  <a:lnTo>
                    <a:pt x="813" y="141"/>
                  </a:lnTo>
                  <a:lnTo>
                    <a:pt x="814" y="144"/>
                  </a:lnTo>
                  <a:lnTo>
                    <a:pt x="816" y="149"/>
                  </a:lnTo>
                  <a:lnTo>
                    <a:pt x="817" y="153"/>
                  </a:lnTo>
                  <a:lnTo>
                    <a:pt x="818" y="156"/>
                  </a:lnTo>
                  <a:lnTo>
                    <a:pt x="820" y="161"/>
                  </a:lnTo>
                  <a:lnTo>
                    <a:pt x="823" y="167"/>
                  </a:lnTo>
                  <a:lnTo>
                    <a:pt x="823" y="170"/>
                  </a:lnTo>
                  <a:lnTo>
                    <a:pt x="823" y="170"/>
                  </a:lnTo>
                  <a:lnTo>
                    <a:pt x="823" y="171"/>
                  </a:lnTo>
                  <a:lnTo>
                    <a:pt x="823" y="178"/>
                  </a:lnTo>
                  <a:lnTo>
                    <a:pt x="823" y="189"/>
                  </a:lnTo>
                  <a:lnTo>
                    <a:pt x="823" y="192"/>
                  </a:lnTo>
                  <a:lnTo>
                    <a:pt x="824" y="195"/>
                  </a:lnTo>
                  <a:lnTo>
                    <a:pt x="825" y="197"/>
                  </a:lnTo>
                  <a:lnTo>
                    <a:pt x="826" y="199"/>
                  </a:lnTo>
                  <a:lnTo>
                    <a:pt x="827" y="201"/>
                  </a:lnTo>
                  <a:lnTo>
                    <a:pt x="829" y="204"/>
                  </a:lnTo>
                  <a:lnTo>
                    <a:pt x="830" y="207"/>
                  </a:lnTo>
                  <a:lnTo>
                    <a:pt x="831" y="209"/>
                  </a:lnTo>
                  <a:lnTo>
                    <a:pt x="833" y="212"/>
                  </a:lnTo>
                  <a:lnTo>
                    <a:pt x="834" y="215"/>
                  </a:lnTo>
                  <a:lnTo>
                    <a:pt x="837" y="224"/>
                  </a:lnTo>
                  <a:lnTo>
                    <a:pt x="838" y="228"/>
                  </a:lnTo>
                  <a:lnTo>
                    <a:pt x="838" y="230"/>
                  </a:lnTo>
                  <a:lnTo>
                    <a:pt x="838" y="234"/>
                  </a:lnTo>
                  <a:lnTo>
                    <a:pt x="838" y="237"/>
                  </a:lnTo>
                  <a:lnTo>
                    <a:pt x="837" y="240"/>
                  </a:lnTo>
                  <a:lnTo>
                    <a:pt x="836" y="244"/>
                  </a:lnTo>
                  <a:lnTo>
                    <a:pt x="835" y="246"/>
                  </a:lnTo>
                  <a:lnTo>
                    <a:pt x="833" y="248"/>
                  </a:lnTo>
                  <a:lnTo>
                    <a:pt x="829" y="254"/>
                  </a:lnTo>
                  <a:lnTo>
                    <a:pt x="827" y="256"/>
                  </a:lnTo>
                  <a:lnTo>
                    <a:pt x="827" y="259"/>
                  </a:lnTo>
                  <a:lnTo>
                    <a:pt x="824" y="266"/>
                  </a:lnTo>
                  <a:lnTo>
                    <a:pt x="823" y="268"/>
                  </a:lnTo>
                  <a:lnTo>
                    <a:pt x="822" y="269"/>
                  </a:lnTo>
                  <a:lnTo>
                    <a:pt x="822" y="270"/>
                  </a:lnTo>
                  <a:lnTo>
                    <a:pt x="820" y="271"/>
                  </a:lnTo>
                  <a:lnTo>
                    <a:pt x="818" y="272"/>
                  </a:lnTo>
                  <a:lnTo>
                    <a:pt x="813" y="275"/>
                  </a:lnTo>
                  <a:lnTo>
                    <a:pt x="811" y="276"/>
                  </a:lnTo>
                  <a:lnTo>
                    <a:pt x="810" y="277"/>
                  </a:lnTo>
                  <a:lnTo>
                    <a:pt x="808" y="279"/>
                  </a:lnTo>
                  <a:lnTo>
                    <a:pt x="807" y="281"/>
                  </a:lnTo>
                  <a:lnTo>
                    <a:pt x="806" y="283"/>
                  </a:lnTo>
                  <a:lnTo>
                    <a:pt x="805" y="283"/>
                  </a:lnTo>
                  <a:lnTo>
                    <a:pt x="805" y="285"/>
                  </a:lnTo>
                  <a:lnTo>
                    <a:pt x="805" y="287"/>
                  </a:lnTo>
                  <a:lnTo>
                    <a:pt x="805" y="289"/>
                  </a:lnTo>
                  <a:lnTo>
                    <a:pt x="806" y="291"/>
                  </a:lnTo>
                  <a:lnTo>
                    <a:pt x="807" y="293"/>
                  </a:lnTo>
                  <a:lnTo>
                    <a:pt x="808" y="294"/>
                  </a:lnTo>
                  <a:lnTo>
                    <a:pt x="811" y="300"/>
                  </a:lnTo>
                  <a:lnTo>
                    <a:pt x="812" y="302"/>
                  </a:lnTo>
                  <a:lnTo>
                    <a:pt x="813" y="304"/>
                  </a:lnTo>
                  <a:lnTo>
                    <a:pt x="815" y="308"/>
                  </a:lnTo>
                  <a:lnTo>
                    <a:pt x="816" y="310"/>
                  </a:lnTo>
                  <a:lnTo>
                    <a:pt x="816" y="312"/>
                  </a:lnTo>
                  <a:lnTo>
                    <a:pt x="817" y="314"/>
                  </a:lnTo>
                  <a:lnTo>
                    <a:pt x="818" y="316"/>
                  </a:lnTo>
                  <a:lnTo>
                    <a:pt x="820" y="317"/>
                  </a:lnTo>
                  <a:lnTo>
                    <a:pt x="822" y="319"/>
                  </a:lnTo>
                  <a:lnTo>
                    <a:pt x="824" y="320"/>
                  </a:lnTo>
                  <a:lnTo>
                    <a:pt x="826" y="322"/>
                  </a:lnTo>
                  <a:lnTo>
                    <a:pt x="827" y="323"/>
                  </a:lnTo>
                  <a:lnTo>
                    <a:pt x="828" y="323"/>
                  </a:lnTo>
                  <a:lnTo>
                    <a:pt x="830" y="324"/>
                  </a:lnTo>
                  <a:lnTo>
                    <a:pt x="832" y="325"/>
                  </a:lnTo>
                  <a:lnTo>
                    <a:pt x="834" y="325"/>
                  </a:lnTo>
                  <a:lnTo>
                    <a:pt x="837" y="326"/>
                  </a:lnTo>
                  <a:lnTo>
                    <a:pt x="843" y="326"/>
                  </a:lnTo>
                  <a:lnTo>
                    <a:pt x="846" y="327"/>
                  </a:lnTo>
                  <a:lnTo>
                    <a:pt x="848" y="327"/>
                  </a:lnTo>
                  <a:lnTo>
                    <a:pt x="850" y="328"/>
                  </a:lnTo>
                  <a:lnTo>
                    <a:pt x="853" y="329"/>
                  </a:lnTo>
                  <a:lnTo>
                    <a:pt x="855" y="330"/>
                  </a:lnTo>
                  <a:lnTo>
                    <a:pt x="857" y="332"/>
                  </a:lnTo>
                  <a:lnTo>
                    <a:pt x="858" y="333"/>
                  </a:lnTo>
                  <a:lnTo>
                    <a:pt x="861" y="337"/>
                  </a:lnTo>
                  <a:lnTo>
                    <a:pt x="861" y="339"/>
                  </a:lnTo>
                  <a:lnTo>
                    <a:pt x="863" y="340"/>
                  </a:lnTo>
                  <a:lnTo>
                    <a:pt x="867" y="343"/>
                  </a:lnTo>
                  <a:lnTo>
                    <a:pt x="871" y="346"/>
                  </a:lnTo>
                  <a:lnTo>
                    <a:pt x="874" y="350"/>
                  </a:lnTo>
                  <a:lnTo>
                    <a:pt x="875" y="351"/>
                  </a:lnTo>
                  <a:lnTo>
                    <a:pt x="876" y="352"/>
                  </a:lnTo>
                  <a:lnTo>
                    <a:pt x="877" y="354"/>
                  </a:lnTo>
                  <a:lnTo>
                    <a:pt x="878" y="356"/>
                  </a:lnTo>
                  <a:lnTo>
                    <a:pt x="878" y="358"/>
                  </a:lnTo>
                  <a:lnTo>
                    <a:pt x="878" y="364"/>
                  </a:lnTo>
                  <a:lnTo>
                    <a:pt x="878" y="367"/>
                  </a:lnTo>
                  <a:lnTo>
                    <a:pt x="879" y="370"/>
                  </a:lnTo>
                  <a:lnTo>
                    <a:pt x="880" y="372"/>
                  </a:lnTo>
                  <a:lnTo>
                    <a:pt x="880" y="374"/>
                  </a:lnTo>
                  <a:lnTo>
                    <a:pt x="881" y="376"/>
                  </a:lnTo>
                  <a:lnTo>
                    <a:pt x="882" y="377"/>
                  </a:lnTo>
                  <a:lnTo>
                    <a:pt x="883" y="379"/>
                  </a:lnTo>
                  <a:lnTo>
                    <a:pt x="884" y="380"/>
                  </a:lnTo>
                  <a:lnTo>
                    <a:pt x="885" y="382"/>
                  </a:lnTo>
                  <a:lnTo>
                    <a:pt x="887" y="383"/>
                  </a:lnTo>
                  <a:lnTo>
                    <a:pt x="889" y="385"/>
                  </a:lnTo>
                  <a:lnTo>
                    <a:pt x="890" y="385"/>
                  </a:lnTo>
                  <a:lnTo>
                    <a:pt x="892" y="386"/>
                  </a:lnTo>
                  <a:lnTo>
                    <a:pt x="895" y="387"/>
                  </a:lnTo>
                  <a:lnTo>
                    <a:pt x="896" y="388"/>
                  </a:lnTo>
                  <a:lnTo>
                    <a:pt x="898" y="388"/>
                  </a:lnTo>
                  <a:lnTo>
                    <a:pt x="900" y="388"/>
                  </a:lnTo>
                  <a:lnTo>
                    <a:pt x="902" y="388"/>
                  </a:lnTo>
                  <a:lnTo>
                    <a:pt x="904" y="388"/>
                  </a:lnTo>
                  <a:lnTo>
                    <a:pt x="916" y="386"/>
                  </a:lnTo>
                  <a:lnTo>
                    <a:pt x="918" y="386"/>
                  </a:lnTo>
                  <a:lnTo>
                    <a:pt x="921" y="386"/>
                  </a:lnTo>
                  <a:lnTo>
                    <a:pt x="931" y="388"/>
                  </a:lnTo>
                  <a:lnTo>
                    <a:pt x="938" y="389"/>
                  </a:lnTo>
                  <a:lnTo>
                    <a:pt x="946" y="390"/>
                  </a:lnTo>
                  <a:lnTo>
                    <a:pt x="949" y="390"/>
                  </a:lnTo>
                  <a:lnTo>
                    <a:pt x="952" y="390"/>
                  </a:lnTo>
                  <a:lnTo>
                    <a:pt x="954" y="390"/>
                  </a:lnTo>
                  <a:lnTo>
                    <a:pt x="957" y="389"/>
                  </a:lnTo>
                  <a:lnTo>
                    <a:pt x="965" y="386"/>
                  </a:lnTo>
                  <a:lnTo>
                    <a:pt x="972" y="384"/>
                  </a:lnTo>
                  <a:lnTo>
                    <a:pt x="975" y="383"/>
                  </a:lnTo>
                  <a:lnTo>
                    <a:pt x="978" y="382"/>
                  </a:lnTo>
                  <a:lnTo>
                    <a:pt x="980" y="382"/>
                  </a:lnTo>
                  <a:lnTo>
                    <a:pt x="982" y="381"/>
                  </a:lnTo>
                  <a:lnTo>
                    <a:pt x="984" y="381"/>
                  </a:lnTo>
                  <a:lnTo>
                    <a:pt x="986" y="382"/>
                  </a:lnTo>
                  <a:lnTo>
                    <a:pt x="986" y="382"/>
                  </a:lnTo>
                  <a:lnTo>
                    <a:pt x="988" y="383"/>
                  </a:lnTo>
                  <a:lnTo>
                    <a:pt x="990" y="384"/>
                  </a:lnTo>
                  <a:lnTo>
                    <a:pt x="993" y="385"/>
                  </a:lnTo>
                  <a:lnTo>
                    <a:pt x="996" y="388"/>
                  </a:lnTo>
                  <a:lnTo>
                    <a:pt x="998" y="390"/>
                  </a:lnTo>
                  <a:lnTo>
                    <a:pt x="999" y="392"/>
                  </a:lnTo>
                  <a:lnTo>
                    <a:pt x="1001" y="394"/>
                  </a:lnTo>
                  <a:lnTo>
                    <a:pt x="1002" y="396"/>
                  </a:lnTo>
                  <a:lnTo>
                    <a:pt x="1003" y="397"/>
                  </a:lnTo>
                  <a:lnTo>
                    <a:pt x="1004" y="400"/>
                  </a:lnTo>
                  <a:lnTo>
                    <a:pt x="1005" y="403"/>
                  </a:lnTo>
                  <a:lnTo>
                    <a:pt x="1005" y="406"/>
                  </a:lnTo>
                  <a:lnTo>
                    <a:pt x="1006" y="409"/>
                  </a:lnTo>
                  <a:lnTo>
                    <a:pt x="1006" y="414"/>
                  </a:lnTo>
                  <a:lnTo>
                    <a:pt x="1007" y="422"/>
                  </a:lnTo>
                  <a:lnTo>
                    <a:pt x="1007" y="426"/>
                  </a:lnTo>
                  <a:lnTo>
                    <a:pt x="1006" y="430"/>
                  </a:lnTo>
                  <a:lnTo>
                    <a:pt x="1004" y="437"/>
                  </a:lnTo>
                  <a:lnTo>
                    <a:pt x="1004" y="439"/>
                  </a:lnTo>
                  <a:lnTo>
                    <a:pt x="1004" y="442"/>
                  </a:lnTo>
                  <a:lnTo>
                    <a:pt x="1004" y="445"/>
                  </a:lnTo>
                  <a:lnTo>
                    <a:pt x="1004" y="450"/>
                  </a:lnTo>
                  <a:lnTo>
                    <a:pt x="1005" y="453"/>
                  </a:lnTo>
                  <a:lnTo>
                    <a:pt x="1005" y="457"/>
                  </a:lnTo>
                  <a:lnTo>
                    <a:pt x="1006" y="459"/>
                  </a:lnTo>
                  <a:lnTo>
                    <a:pt x="1006" y="461"/>
                  </a:lnTo>
                  <a:lnTo>
                    <a:pt x="1008" y="464"/>
                  </a:lnTo>
                  <a:lnTo>
                    <a:pt x="1009" y="468"/>
                  </a:lnTo>
                  <a:lnTo>
                    <a:pt x="1014" y="475"/>
                  </a:lnTo>
                  <a:lnTo>
                    <a:pt x="1015" y="476"/>
                  </a:lnTo>
                  <a:lnTo>
                    <a:pt x="1017" y="481"/>
                  </a:lnTo>
                  <a:lnTo>
                    <a:pt x="1019" y="483"/>
                  </a:lnTo>
                  <a:lnTo>
                    <a:pt x="1020" y="487"/>
                  </a:lnTo>
                  <a:lnTo>
                    <a:pt x="1020" y="488"/>
                  </a:lnTo>
                  <a:lnTo>
                    <a:pt x="1020" y="490"/>
                  </a:lnTo>
                  <a:lnTo>
                    <a:pt x="1020" y="492"/>
                  </a:lnTo>
                  <a:lnTo>
                    <a:pt x="1020" y="495"/>
                  </a:lnTo>
                  <a:lnTo>
                    <a:pt x="1019" y="497"/>
                  </a:lnTo>
                  <a:lnTo>
                    <a:pt x="1019" y="498"/>
                  </a:lnTo>
                  <a:lnTo>
                    <a:pt x="1018" y="501"/>
                  </a:lnTo>
                  <a:lnTo>
                    <a:pt x="1015" y="507"/>
                  </a:lnTo>
                  <a:lnTo>
                    <a:pt x="1014" y="509"/>
                  </a:lnTo>
                  <a:lnTo>
                    <a:pt x="1013" y="511"/>
                  </a:lnTo>
                  <a:lnTo>
                    <a:pt x="1010" y="515"/>
                  </a:lnTo>
                  <a:lnTo>
                    <a:pt x="1008" y="521"/>
                  </a:lnTo>
                  <a:lnTo>
                    <a:pt x="1006" y="522"/>
                  </a:lnTo>
                  <a:lnTo>
                    <a:pt x="1002" y="527"/>
                  </a:lnTo>
                  <a:lnTo>
                    <a:pt x="999" y="530"/>
                  </a:lnTo>
                  <a:lnTo>
                    <a:pt x="997" y="533"/>
                  </a:lnTo>
                  <a:lnTo>
                    <a:pt x="996" y="535"/>
                  </a:lnTo>
                  <a:lnTo>
                    <a:pt x="996" y="536"/>
                  </a:lnTo>
                  <a:lnTo>
                    <a:pt x="996" y="538"/>
                  </a:lnTo>
                  <a:lnTo>
                    <a:pt x="996" y="539"/>
                  </a:lnTo>
                  <a:lnTo>
                    <a:pt x="997" y="543"/>
                  </a:lnTo>
                  <a:lnTo>
                    <a:pt x="997" y="545"/>
                  </a:lnTo>
                  <a:lnTo>
                    <a:pt x="997" y="546"/>
                  </a:lnTo>
                  <a:lnTo>
                    <a:pt x="996" y="548"/>
                  </a:lnTo>
                  <a:lnTo>
                    <a:pt x="994" y="554"/>
                  </a:lnTo>
                  <a:lnTo>
                    <a:pt x="994" y="555"/>
                  </a:lnTo>
                  <a:lnTo>
                    <a:pt x="994" y="555"/>
                  </a:lnTo>
                  <a:lnTo>
                    <a:pt x="995" y="556"/>
                  </a:lnTo>
                  <a:lnTo>
                    <a:pt x="996" y="557"/>
                  </a:lnTo>
                  <a:lnTo>
                    <a:pt x="997" y="558"/>
                  </a:lnTo>
                  <a:lnTo>
                    <a:pt x="999" y="559"/>
                  </a:lnTo>
                  <a:lnTo>
                    <a:pt x="1008" y="562"/>
                  </a:lnTo>
                  <a:lnTo>
                    <a:pt x="1016" y="565"/>
                  </a:lnTo>
                  <a:lnTo>
                    <a:pt x="1020" y="566"/>
                  </a:lnTo>
                  <a:lnTo>
                    <a:pt x="1022" y="566"/>
                  </a:lnTo>
                  <a:lnTo>
                    <a:pt x="1029" y="567"/>
                  </a:lnTo>
                  <a:lnTo>
                    <a:pt x="1032" y="568"/>
                  </a:lnTo>
                  <a:lnTo>
                    <a:pt x="1033" y="568"/>
                  </a:lnTo>
                  <a:lnTo>
                    <a:pt x="1035" y="569"/>
                  </a:lnTo>
                  <a:lnTo>
                    <a:pt x="1038" y="571"/>
                  </a:lnTo>
                  <a:lnTo>
                    <a:pt x="1044" y="575"/>
                  </a:lnTo>
                  <a:lnTo>
                    <a:pt x="1047" y="578"/>
                  </a:lnTo>
                  <a:lnTo>
                    <a:pt x="1050" y="579"/>
                  </a:lnTo>
                  <a:lnTo>
                    <a:pt x="1051" y="580"/>
                  </a:lnTo>
                  <a:lnTo>
                    <a:pt x="1052" y="582"/>
                  </a:lnTo>
                  <a:lnTo>
                    <a:pt x="1052" y="583"/>
                  </a:lnTo>
                  <a:lnTo>
                    <a:pt x="1053" y="584"/>
                  </a:lnTo>
                  <a:lnTo>
                    <a:pt x="1054" y="586"/>
                  </a:lnTo>
                  <a:lnTo>
                    <a:pt x="1054" y="587"/>
                  </a:lnTo>
                  <a:lnTo>
                    <a:pt x="1054" y="589"/>
                  </a:lnTo>
                  <a:lnTo>
                    <a:pt x="1054" y="589"/>
                  </a:lnTo>
                  <a:lnTo>
                    <a:pt x="1054" y="592"/>
                  </a:lnTo>
                  <a:lnTo>
                    <a:pt x="1054" y="595"/>
                  </a:lnTo>
                  <a:lnTo>
                    <a:pt x="1053" y="599"/>
                  </a:lnTo>
                  <a:lnTo>
                    <a:pt x="1053" y="600"/>
                  </a:lnTo>
                  <a:lnTo>
                    <a:pt x="1052" y="600"/>
                  </a:lnTo>
                  <a:lnTo>
                    <a:pt x="1052" y="601"/>
                  </a:lnTo>
                  <a:lnTo>
                    <a:pt x="1051" y="602"/>
                  </a:lnTo>
                  <a:lnTo>
                    <a:pt x="1050" y="603"/>
                  </a:lnTo>
                  <a:lnTo>
                    <a:pt x="1048" y="604"/>
                  </a:lnTo>
                  <a:lnTo>
                    <a:pt x="1047" y="605"/>
                  </a:lnTo>
                  <a:lnTo>
                    <a:pt x="1045" y="605"/>
                  </a:lnTo>
                  <a:lnTo>
                    <a:pt x="1043" y="606"/>
                  </a:lnTo>
                  <a:lnTo>
                    <a:pt x="1038" y="607"/>
                  </a:lnTo>
                  <a:lnTo>
                    <a:pt x="1036" y="608"/>
                  </a:lnTo>
                  <a:lnTo>
                    <a:pt x="1034" y="609"/>
                  </a:lnTo>
                  <a:lnTo>
                    <a:pt x="1033" y="610"/>
                  </a:lnTo>
                  <a:lnTo>
                    <a:pt x="1032" y="611"/>
                  </a:lnTo>
                  <a:lnTo>
                    <a:pt x="1032" y="612"/>
                  </a:lnTo>
                  <a:lnTo>
                    <a:pt x="1031" y="612"/>
                  </a:lnTo>
                  <a:lnTo>
                    <a:pt x="1031" y="613"/>
                  </a:lnTo>
                  <a:lnTo>
                    <a:pt x="1031" y="614"/>
                  </a:lnTo>
                  <a:lnTo>
                    <a:pt x="1031" y="615"/>
                  </a:lnTo>
                  <a:lnTo>
                    <a:pt x="1031" y="616"/>
                  </a:lnTo>
                  <a:lnTo>
                    <a:pt x="1032" y="618"/>
                  </a:lnTo>
                  <a:lnTo>
                    <a:pt x="1032" y="619"/>
                  </a:lnTo>
                  <a:lnTo>
                    <a:pt x="1034" y="621"/>
                  </a:lnTo>
                  <a:lnTo>
                    <a:pt x="1035" y="623"/>
                  </a:lnTo>
                  <a:lnTo>
                    <a:pt x="1036" y="623"/>
                  </a:lnTo>
                  <a:lnTo>
                    <a:pt x="1036" y="624"/>
                  </a:lnTo>
                  <a:lnTo>
                    <a:pt x="1036" y="625"/>
                  </a:lnTo>
                  <a:lnTo>
                    <a:pt x="1036" y="626"/>
                  </a:lnTo>
                  <a:lnTo>
                    <a:pt x="1033" y="630"/>
                  </a:lnTo>
                  <a:lnTo>
                    <a:pt x="1033" y="632"/>
                  </a:lnTo>
                  <a:lnTo>
                    <a:pt x="1032" y="633"/>
                  </a:lnTo>
                  <a:lnTo>
                    <a:pt x="1032" y="636"/>
                  </a:lnTo>
                  <a:lnTo>
                    <a:pt x="1031" y="643"/>
                  </a:lnTo>
                  <a:lnTo>
                    <a:pt x="1031" y="645"/>
                  </a:lnTo>
                  <a:lnTo>
                    <a:pt x="1030" y="647"/>
                  </a:lnTo>
                  <a:lnTo>
                    <a:pt x="1029" y="649"/>
                  </a:lnTo>
                  <a:lnTo>
                    <a:pt x="1029" y="650"/>
                  </a:lnTo>
                  <a:lnTo>
                    <a:pt x="1028" y="652"/>
                  </a:lnTo>
                  <a:lnTo>
                    <a:pt x="1026" y="653"/>
                  </a:lnTo>
                  <a:lnTo>
                    <a:pt x="1025" y="654"/>
                  </a:lnTo>
                  <a:lnTo>
                    <a:pt x="1023" y="656"/>
                  </a:lnTo>
                  <a:lnTo>
                    <a:pt x="1017" y="660"/>
                  </a:lnTo>
                  <a:lnTo>
                    <a:pt x="1015" y="662"/>
                  </a:lnTo>
                  <a:lnTo>
                    <a:pt x="1014" y="663"/>
                  </a:lnTo>
                  <a:lnTo>
                    <a:pt x="1014" y="664"/>
                  </a:lnTo>
                  <a:lnTo>
                    <a:pt x="1014" y="665"/>
                  </a:lnTo>
                  <a:lnTo>
                    <a:pt x="1014" y="666"/>
                  </a:lnTo>
                  <a:lnTo>
                    <a:pt x="1015" y="667"/>
                  </a:lnTo>
                  <a:lnTo>
                    <a:pt x="1016" y="667"/>
                  </a:lnTo>
                  <a:lnTo>
                    <a:pt x="1018" y="669"/>
                  </a:lnTo>
                  <a:lnTo>
                    <a:pt x="1019" y="671"/>
                  </a:lnTo>
                  <a:lnTo>
                    <a:pt x="1020" y="671"/>
                  </a:lnTo>
                  <a:lnTo>
                    <a:pt x="1020" y="672"/>
                  </a:lnTo>
                  <a:lnTo>
                    <a:pt x="1019" y="673"/>
                  </a:lnTo>
                  <a:lnTo>
                    <a:pt x="1019" y="674"/>
                  </a:lnTo>
                  <a:lnTo>
                    <a:pt x="1017" y="675"/>
                  </a:lnTo>
                  <a:lnTo>
                    <a:pt x="1014" y="676"/>
                  </a:lnTo>
                  <a:lnTo>
                    <a:pt x="1010" y="678"/>
                  </a:lnTo>
                  <a:lnTo>
                    <a:pt x="1009" y="678"/>
                  </a:lnTo>
                  <a:lnTo>
                    <a:pt x="1008" y="679"/>
                  </a:lnTo>
                  <a:lnTo>
                    <a:pt x="1007" y="680"/>
                  </a:lnTo>
                  <a:lnTo>
                    <a:pt x="1005" y="681"/>
                  </a:lnTo>
                  <a:lnTo>
                    <a:pt x="1005" y="682"/>
                  </a:lnTo>
                  <a:lnTo>
                    <a:pt x="1004" y="683"/>
                  </a:lnTo>
                  <a:lnTo>
                    <a:pt x="1004" y="684"/>
                  </a:lnTo>
                  <a:lnTo>
                    <a:pt x="1004" y="685"/>
                  </a:lnTo>
                  <a:lnTo>
                    <a:pt x="1004" y="687"/>
                  </a:lnTo>
                  <a:lnTo>
                    <a:pt x="1005" y="689"/>
                  </a:lnTo>
                  <a:lnTo>
                    <a:pt x="1006" y="691"/>
                  </a:lnTo>
                  <a:lnTo>
                    <a:pt x="1007" y="693"/>
                  </a:lnTo>
                  <a:lnTo>
                    <a:pt x="1009" y="695"/>
                  </a:lnTo>
                  <a:lnTo>
                    <a:pt x="1009" y="697"/>
                  </a:lnTo>
                  <a:lnTo>
                    <a:pt x="1011" y="698"/>
                  </a:lnTo>
                  <a:lnTo>
                    <a:pt x="1014" y="700"/>
                  </a:lnTo>
                  <a:lnTo>
                    <a:pt x="1016" y="702"/>
                  </a:lnTo>
                  <a:lnTo>
                    <a:pt x="1020" y="703"/>
                  </a:lnTo>
                  <a:lnTo>
                    <a:pt x="1022" y="704"/>
                  </a:lnTo>
                  <a:lnTo>
                    <a:pt x="1026" y="705"/>
                  </a:lnTo>
                  <a:lnTo>
                    <a:pt x="1032" y="707"/>
                  </a:lnTo>
                  <a:lnTo>
                    <a:pt x="1033" y="707"/>
                  </a:lnTo>
                  <a:lnTo>
                    <a:pt x="1036" y="708"/>
                  </a:lnTo>
                  <a:lnTo>
                    <a:pt x="1039" y="710"/>
                  </a:lnTo>
                  <a:lnTo>
                    <a:pt x="1042" y="712"/>
                  </a:lnTo>
                  <a:lnTo>
                    <a:pt x="1043" y="713"/>
                  </a:lnTo>
                  <a:lnTo>
                    <a:pt x="1044" y="714"/>
                  </a:lnTo>
                  <a:lnTo>
                    <a:pt x="1045" y="715"/>
                  </a:lnTo>
                  <a:lnTo>
                    <a:pt x="1047" y="716"/>
                  </a:lnTo>
                  <a:lnTo>
                    <a:pt x="1049" y="717"/>
                  </a:lnTo>
                  <a:lnTo>
                    <a:pt x="1052" y="718"/>
                  </a:lnTo>
                  <a:lnTo>
                    <a:pt x="1056" y="720"/>
                  </a:lnTo>
                  <a:lnTo>
                    <a:pt x="1059" y="720"/>
                  </a:lnTo>
                  <a:lnTo>
                    <a:pt x="1063" y="721"/>
                  </a:lnTo>
                  <a:lnTo>
                    <a:pt x="1065" y="721"/>
                  </a:lnTo>
                  <a:lnTo>
                    <a:pt x="1066" y="721"/>
                  </a:lnTo>
                  <a:lnTo>
                    <a:pt x="1066" y="722"/>
                  </a:lnTo>
                  <a:lnTo>
                    <a:pt x="1067" y="723"/>
                  </a:lnTo>
                  <a:lnTo>
                    <a:pt x="1069" y="725"/>
                  </a:lnTo>
                  <a:lnTo>
                    <a:pt x="1071" y="726"/>
                  </a:lnTo>
                  <a:lnTo>
                    <a:pt x="1072" y="727"/>
                  </a:lnTo>
                  <a:lnTo>
                    <a:pt x="1075" y="727"/>
                  </a:lnTo>
                  <a:lnTo>
                    <a:pt x="1076" y="728"/>
                  </a:lnTo>
                  <a:lnTo>
                    <a:pt x="1077" y="728"/>
                  </a:lnTo>
                  <a:lnTo>
                    <a:pt x="1077" y="730"/>
                  </a:lnTo>
                  <a:lnTo>
                    <a:pt x="1077" y="731"/>
                  </a:lnTo>
                  <a:lnTo>
                    <a:pt x="1077" y="732"/>
                  </a:lnTo>
                  <a:lnTo>
                    <a:pt x="1077" y="736"/>
                  </a:lnTo>
                  <a:lnTo>
                    <a:pt x="1078" y="741"/>
                  </a:lnTo>
                  <a:lnTo>
                    <a:pt x="1078" y="743"/>
                  </a:lnTo>
                  <a:lnTo>
                    <a:pt x="1079" y="744"/>
                  </a:lnTo>
                  <a:lnTo>
                    <a:pt x="1079" y="746"/>
                  </a:lnTo>
                  <a:lnTo>
                    <a:pt x="1080" y="747"/>
                  </a:lnTo>
                  <a:lnTo>
                    <a:pt x="1081" y="748"/>
                  </a:lnTo>
                  <a:lnTo>
                    <a:pt x="1083" y="750"/>
                  </a:lnTo>
                  <a:lnTo>
                    <a:pt x="1085" y="752"/>
                  </a:lnTo>
                  <a:lnTo>
                    <a:pt x="1088" y="755"/>
                  </a:lnTo>
                  <a:lnTo>
                    <a:pt x="1090" y="758"/>
                  </a:lnTo>
                  <a:lnTo>
                    <a:pt x="1095" y="760"/>
                  </a:lnTo>
                  <a:lnTo>
                    <a:pt x="1100" y="763"/>
                  </a:lnTo>
                  <a:lnTo>
                    <a:pt x="1102" y="764"/>
                  </a:lnTo>
                  <a:lnTo>
                    <a:pt x="1109" y="768"/>
                  </a:lnTo>
                  <a:lnTo>
                    <a:pt x="1111" y="770"/>
                  </a:lnTo>
                  <a:lnTo>
                    <a:pt x="1113" y="770"/>
                  </a:lnTo>
                  <a:lnTo>
                    <a:pt x="1117" y="773"/>
                  </a:lnTo>
                  <a:lnTo>
                    <a:pt x="1119" y="775"/>
                  </a:lnTo>
                  <a:lnTo>
                    <a:pt x="1120" y="777"/>
                  </a:lnTo>
                  <a:lnTo>
                    <a:pt x="1121" y="779"/>
                  </a:lnTo>
                  <a:lnTo>
                    <a:pt x="1122" y="780"/>
                  </a:lnTo>
                  <a:lnTo>
                    <a:pt x="1123" y="782"/>
                  </a:lnTo>
                  <a:lnTo>
                    <a:pt x="1123" y="784"/>
                  </a:lnTo>
                  <a:lnTo>
                    <a:pt x="1123" y="786"/>
                  </a:lnTo>
                  <a:lnTo>
                    <a:pt x="1123" y="790"/>
                  </a:lnTo>
                  <a:lnTo>
                    <a:pt x="1121" y="795"/>
                  </a:lnTo>
                  <a:lnTo>
                    <a:pt x="1121" y="797"/>
                  </a:lnTo>
                  <a:lnTo>
                    <a:pt x="1121" y="799"/>
                  </a:lnTo>
                  <a:lnTo>
                    <a:pt x="1121" y="800"/>
                  </a:lnTo>
                  <a:lnTo>
                    <a:pt x="1121" y="802"/>
                  </a:lnTo>
                  <a:lnTo>
                    <a:pt x="1121" y="804"/>
                  </a:lnTo>
                  <a:lnTo>
                    <a:pt x="1123" y="811"/>
                  </a:lnTo>
                  <a:lnTo>
                    <a:pt x="1123" y="813"/>
                  </a:lnTo>
                  <a:lnTo>
                    <a:pt x="1123" y="816"/>
                  </a:lnTo>
                  <a:lnTo>
                    <a:pt x="1123" y="818"/>
                  </a:lnTo>
                  <a:lnTo>
                    <a:pt x="1123" y="821"/>
                  </a:lnTo>
                  <a:lnTo>
                    <a:pt x="1122" y="824"/>
                  </a:lnTo>
                  <a:lnTo>
                    <a:pt x="1120" y="828"/>
                  </a:lnTo>
                  <a:lnTo>
                    <a:pt x="1118" y="832"/>
                  </a:lnTo>
                  <a:lnTo>
                    <a:pt x="1114" y="842"/>
                  </a:lnTo>
                  <a:lnTo>
                    <a:pt x="1113" y="844"/>
                  </a:lnTo>
                  <a:lnTo>
                    <a:pt x="1111" y="846"/>
                  </a:lnTo>
                  <a:lnTo>
                    <a:pt x="1108" y="851"/>
                  </a:lnTo>
                  <a:lnTo>
                    <a:pt x="1106" y="853"/>
                  </a:lnTo>
                  <a:lnTo>
                    <a:pt x="1106" y="854"/>
                  </a:lnTo>
                  <a:lnTo>
                    <a:pt x="1105" y="856"/>
                  </a:lnTo>
                  <a:lnTo>
                    <a:pt x="1104" y="859"/>
                  </a:lnTo>
                  <a:lnTo>
                    <a:pt x="1104" y="861"/>
                  </a:lnTo>
                  <a:lnTo>
                    <a:pt x="1103" y="869"/>
                  </a:lnTo>
                  <a:lnTo>
                    <a:pt x="1102" y="878"/>
                  </a:lnTo>
                  <a:lnTo>
                    <a:pt x="1100" y="887"/>
                  </a:lnTo>
                  <a:lnTo>
                    <a:pt x="1100" y="893"/>
                  </a:lnTo>
                  <a:lnTo>
                    <a:pt x="1100" y="894"/>
                  </a:lnTo>
                  <a:lnTo>
                    <a:pt x="1100" y="895"/>
                  </a:lnTo>
                  <a:lnTo>
                    <a:pt x="1100" y="895"/>
                  </a:lnTo>
                  <a:lnTo>
                    <a:pt x="1099" y="896"/>
                  </a:lnTo>
                  <a:lnTo>
                    <a:pt x="1097" y="898"/>
                  </a:lnTo>
                  <a:lnTo>
                    <a:pt x="1096" y="900"/>
                  </a:lnTo>
                  <a:lnTo>
                    <a:pt x="1094" y="902"/>
                  </a:lnTo>
                  <a:lnTo>
                    <a:pt x="1088" y="906"/>
                  </a:lnTo>
                  <a:lnTo>
                    <a:pt x="1082" y="911"/>
                  </a:lnTo>
                  <a:lnTo>
                    <a:pt x="1080" y="912"/>
                  </a:lnTo>
                  <a:lnTo>
                    <a:pt x="1079" y="913"/>
                  </a:lnTo>
                  <a:lnTo>
                    <a:pt x="1077" y="914"/>
                  </a:lnTo>
                  <a:lnTo>
                    <a:pt x="1076" y="915"/>
                  </a:lnTo>
                  <a:lnTo>
                    <a:pt x="1074" y="915"/>
                  </a:lnTo>
                  <a:lnTo>
                    <a:pt x="1072" y="916"/>
                  </a:lnTo>
                  <a:lnTo>
                    <a:pt x="1066" y="916"/>
                  </a:lnTo>
                  <a:lnTo>
                    <a:pt x="1064" y="917"/>
                  </a:lnTo>
                  <a:lnTo>
                    <a:pt x="1062" y="918"/>
                  </a:lnTo>
                  <a:lnTo>
                    <a:pt x="1059" y="918"/>
                  </a:lnTo>
                  <a:lnTo>
                    <a:pt x="1057" y="919"/>
                  </a:lnTo>
                  <a:lnTo>
                    <a:pt x="1055" y="920"/>
                  </a:lnTo>
                  <a:lnTo>
                    <a:pt x="1054" y="922"/>
                  </a:lnTo>
                  <a:lnTo>
                    <a:pt x="1053" y="923"/>
                  </a:lnTo>
                  <a:lnTo>
                    <a:pt x="1049" y="926"/>
                  </a:lnTo>
                  <a:lnTo>
                    <a:pt x="1047" y="929"/>
                  </a:lnTo>
                  <a:lnTo>
                    <a:pt x="1045" y="930"/>
                  </a:lnTo>
                  <a:lnTo>
                    <a:pt x="1044" y="931"/>
                  </a:lnTo>
                  <a:lnTo>
                    <a:pt x="1044" y="933"/>
                  </a:lnTo>
                  <a:lnTo>
                    <a:pt x="1043" y="934"/>
                  </a:lnTo>
                  <a:lnTo>
                    <a:pt x="1043" y="936"/>
                  </a:lnTo>
                  <a:lnTo>
                    <a:pt x="1043" y="937"/>
                  </a:lnTo>
                  <a:lnTo>
                    <a:pt x="1043" y="939"/>
                  </a:lnTo>
                  <a:lnTo>
                    <a:pt x="1043" y="940"/>
                  </a:lnTo>
                  <a:lnTo>
                    <a:pt x="1043" y="943"/>
                  </a:lnTo>
                  <a:lnTo>
                    <a:pt x="1043" y="945"/>
                  </a:lnTo>
                  <a:lnTo>
                    <a:pt x="1046" y="951"/>
                  </a:lnTo>
                  <a:lnTo>
                    <a:pt x="1048" y="955"/>
                  </a:lnTo>
                  <a:lnTo>
                    <a:pt x="1048" y="957"/>
                  </a:lnTo>
                  <a:lnTo>
                    <a:pt x="1049" y="959"/>
                  </a:lnTo>
                  <a:lnTo>
                    <a:pt x="1049" y="960"/>
                  </a:lnTo>
                  <a:lnTo>
                    <a:pt x="1049" y="962"/>
                  </a:lnTo>
                  <a:lnTo>
                    <a:pt x="1049" y="963"/>
                  </a:lnTo>
                  <a:lnTo>
                    <a:pt x="1049" y="964"/>
                  </a:lnTo>
                  <a:lnTo>
                    <a:pt x="1048" y="965"/>
                  </a:lnTo>
                  <a:lnTo>
                    <a:pt x="1047" y="966"/>
                  </a:lnTo>
                  <a:lnTo>
                    <a:pt x="1047" y="967"/>
                  </a:lnTo>
                  <a:lnTo>
                    <a:pt x="1046" y="968"/>
                  </a:lnTo>
                  <a:lnTo>
                    <a:pt x="1044" y="970"/>
                  </a:lnTo>
                  <a:lnTo>
                    <a:pt x="1043" y="970"/>
                  </a:lnTo>
                  <a:lnTo>
                    <a:pt x="1042" y="971"/>
                  </a:lnTo>
                  <a:lnTo>
                    <a:pt x="1040" y="972"/>
                  </a:lnTo>
                  <a:lnTo>
                    <a:pt x="1038" y="973"/>
                  </a:lnTo>
                  <a:lnTo>
                    <a:pt x="1036" y="973"/>
                  </a:lnTo>
                  <a:lnTo>
                    <a:pt x="1033" y="973"/>
                  </a:lnTo>
                  <a:lnTo>
                    <a:pt x="1031" y="973"/>
                  </a:lnTo>
                  <a:lnTo>
                    <a:pt x="1022" y="973"/>
                  </a:lnTo>
                  <a:lnTo>
                    <a:pt x="1018" y="972"/>
                  </a:lnTo>
                  <a:lnTo>
                    <a:pt x="1016" y="973"/>
                  </a:lnTo>
                  <a:lnTo>
                    <a:pt x="1015" y="973"/>
                  </a:lnTo>
                  <a:lnTo>
                    <a:pt x="1013" y="974"/>
                  </a:lnTo>
                  <a:lnTo>
                    <a:pt x="1011" y="974"/>
                  </a:lnTo>
                  <a:lnTo>
                    <a:pt x="1010" y="975"/>
                  </a:lnTo>
                  <a:lnTo>
                    <a:pt x="1009" y="977"/>
                  </a:lnTo>
                  <a:lnTo>
                    <a:pt x="1006" y="981"/>
                  </a:lnTo>
                  <a:lnTo>
                    <a:pt x="1001" y="987"/>
                  </a:lnTo>
                  <a:lnTo>
                    <a:pt x="999" y="989"/>
                  </a:lnTo>
                  <a:lnTo>
                    <a:pt x="998" y="990"/>
                  </a:lnTo>
                  <a:lnTo>
                    <a:pt x="996" y="992"/>
                  </a:lnTo>
                  <a:lnTo>
                    <a:pt x="991" y="995"/>
                  </a:lnTo>
                  <a:lnTo>
                    <a:pt x="988" y="997"/>
                  </a:lnTo>
                  <a:lnTo>
                    <a:pt x="986" y="997"/>
                  </a:lnTo>
                  <a:lnTo>
                    <a:pt x="983" y="998"/>
                  </a:lnTo>
                  <a:lnTo>
                    <a:pt x="976" y="1000"/>
                  </a:lnTo>
                  <a:lnTo>
                    <a:pt x="974" y="1001"/>
                  </a:lnTo>
                  <a:lnTo>
                    <a:pt x="970" y="1002"/>
                  </a:lnTo>
                  <a:lnTo>
                    <a:pt x="961" y="1005"/>
                  </a:lnTo>
                  <a:lnTo>
                    <a:pt x="958" y="1006"/>
                  </a:lnTo>
                  <a:lnTo>
                    <a:pt x="952" y="1008"/>
                  </a:lnTo>
                  <a:lnTo>
                    <a:pt x="949" y="1008"/>
                  </a:lnTo>
                  <a:lnTo>
                    <a:pt x="944" y="1010"/>
                  </a:lnTo>
                  <a:lnTo>
                    <a:pt x="941" y="1011"/>
                  </a:lnTo>
                  <a:lnTo>
                    <a:pt x="932" y="1016"/>
                  </a:lnTo>
                  <a:lnTo>
                    <a:pt x="930" y="1018"/>
                  </a:lnTo>
                  <a:lnTo>
                    <a:pt x="928" y="1019"/>
                  </a:lnTo>
                  <a:lnTo>
                    <a:pt x="925" y="1020"/>
                  </a:lnTo>
                  <a:lnTo>
                    <a:pt x="923" y="1020"/>
                  </a:lnTo>
                  <a:lnTo>
                    <a:pt x="922" y="1020"/>
                  </a:lnTo>
                  <a:lnTo>
                    <a:pt x="920" y="1020"/>
                  </a:lnTo>
                  <a:lnTo>
                    <a:pt x="918" y="1020"/>
                  </a:lnTo>
                  <a:lnTo>
                    <a:pt x="917" y="1020"/>
                  </a:lnTo>
                  <a:lnTo>
                    <a:pt x="915" y="1019"/>
                  </a:lnTo>
                  <a:lnTo>
                    <a:pt x="914" y="1018"/>
                  </a:lnTo>
                  <a:lnTo>
                    <a:pt x="911" y="1017"/>
                  </a:lnTo>
                  <a:lnTo>
                    <a:pt x="910" y="1017"/>
                  </a:lnTo>
                  <a:lnTo>
                    <a:pt x="908" y="1016"/>
                  </a:lnTo>
                  <a:lnTo>
                    <a:pt x="907" y="1016"/>
                  </a:lnTo>
                  <a:lnTo>
                    <a:pt x="905" y="1017"/>
                  </a:lnTo>
                  <a:lnTo>
                    <a:pt x="903" y="1017"/>
                  </a:lnTo>
                  <a:lnTo>
                    <a:pt x="901" y="1018"/>
                  </a:lnTo>
                  <a:lnTo>
                    <a:pt x="898" y="1019"/>
                  </a:lnTo>
                  <a:lnTo>
                    <a:pt x="897" y="1020"/>
                  </a:lnTo>
                  <a:lnTo>
                    <a:pt x="895" y="1021"/>
                  </a:lnTo>
                  <a:lnTo>
                    <a:pt x="895" y="1022"/>
                  </a:lnTo>
                  <a:lnTo>
                    <a:pt x="894" y="1023"/>
                  </a:lnTo>
                  <a:lnTo>
                    <a:pt x="893" y="1025"/>
                  </a:lnTo>
                  <a:lnTo>
                    <a:pt x="892" y="1027"/>
                  </a:lnTo>
                  <a:lnTo>
                    <a:pt x="891" y="1029"/>
                  </a:lnTo>
                  <a:lnTo>
                    <a:pt x="890" y="1032"/>
                  </a:lnTo>
                  <a:lnTo>
                    <a:pt x="889" y="1034"/>
                  </a:lnTo>
                  <a:lnTo>
                    <a:pt x="886" y="1041"/>
                  </a:lnTo>
                  <a:lnTo>
                    <a:pt x="884" y="1048"/>
                  </a:lnTo>
                  <a:lnTo>
                    <a:pt x="882" y="1051"/>
                  </a:lnTo>
                  <a:lnTo>
                    <a:pt x="881" y="1053"/>
                  </a:lnTo>
                  <a:lnTo>
                    <a:pt x="879" y="1055"/>
                  </a:lnTo>
                  <a:lnTo>
                    <a:pt x="864" y="1072"/>
                  </a:lnTo>
                  <a:lnTo>
                    <a:pt x="862" y="1075"/>
                  </a:lnTo>
                  <a:lnTo>
                    <a:pt x="861" y="1077"/>
                  </a:lnTo>
                  <a:lnTo>
                    <a:pt x="861" y="1079"/>
                  </a:lnTo>
                  <a:lnTo>
                    <a:pt x="860" y="1082"/>
                  </a:lnTo>
                  <a:lnTo>
                    <a:pt x="859" y="1085"/>
                  </a:lnTo>
                  <a:lnTo>
                    <a:pt x="859" y="1087"/>
                  </a:lnTo>
                  <a:lnTo>
                    <a:pt x="858" y="1089"/>
                  </a:lnTo>
                  <a:lnTo>
                    <a:pt x="858" y="1092"/>
                  </a:lnTo>
                  <a:lnTo>
                    <a:pt x="858" y="1095"/>
                  </a:lnTo>
                  <a:lnTo>
                    <a:pt x="858" y="1098"/>
                  </a:lnTo>
                  <a:lnTo>
                    <a:pt x="858" y="1100"/>
                  </a:lnTo>
                  <a:lnTo>
                    <a:pt x="858" y="1104"/>
                  </a:lnTo>
                  <a:lnTo>
                    <a:pt x="859" y="1107"/>
                  </a:lnTo>
                  <a:lnTo>
                    <a:pt x="860" y="1110"/>
                  </a:lnTo>
                  <a:lnTo>
                    <a:pt x="861" y="1111"/>
                  </a:lnTo>
                  <a:lnTo>
                    <a:pt x="861" y="1114"/>
                  </a:lnTo>
                  <a:lnTo>
                    <a:pt x="862" y="1116"/>
                  </a:lnTo>
                  <a:lnTo>
                    <a:pt x="864" y="1117"/>
                  </a:lnTo>
                  <a:lnTo>
                    <a:pt x="865" y="1119"/>
                  </a:lnTo>
                  <a:lnTo>
                    <a:pt x="867" y="1120"/>
                  </a:lnTo>
                  <a:lnTo>
                    <a:pt x="876" y="1124"/>
                  </a:lnTo>
                  <a:lnTo>
                    <a:pt x="881" y="1126"/>
                  </a:lnTo>
                  <a:lnTo>
                    <a:pt x="886" y="1128"/>
                  </a:lnTo>
                  <a:lnTo>
                    <a:pt x="889" y="1129"/>
                  </a:lnTo>
                  <a:lnTo>
                    <a:pt x="892" y="1131"/>
                  </a:lnTo>
                  <a:lnTo>
                    <a:pt x="895" y="1132"/>
                  </a:lnTo>
                  <a:lnTo>
                    <a:pt x="895" y="1133"/>
                  </a:lnTo>
                  <a:lnTo>
                    <a:pt x="897" y="1134"/>
                  </a:lnTo>
                  <a:lnTo>
                    <a:pt x="898" y="1135"/>
                  </a:lnTo>
                  <a:lnTo>
                    <a:pt x="900" y="1137"/>
                  </a:lnTo>
                  <a:lnTo>
                    <a:pt x="903" y="1141"/>
                  </a:lnTo>
                  <a:lnTo>
                    <a:pt x="905" y="1145"/>
                  </a:lnTo>
                  <a:lnTo>
                    <a:pt x="906" y="1147"/>
                  </a:lnTo>
                  <a:lnTo>
                    <a:pt x="907" y="1150"/>
                  </a:lnTo>
                  <a:lnTo>
                    <a:pt x="907" y="1153"/>
                  </a:lnTo>
                  <a:lnTo>
                    <a:pt x="908" y="1155"/>
                  </a:lnTo>
                  <a:lnTo>
                    <a:pt x="908" y="1157"/>
                  </a:lnTo>
                  <a:lnTo>
                    <a:pt x="908" y="1160"/>
                  </a:lnTo>
                  <a:lnTo>
                    <a:pt x="908" y="1163"/>
                  </a:lnTo>
                  <a:lnTo>
                    <a:pt x="908" y="1166"/>
                  </a:lnTo>
                  <a:lnTo>
                    <a:pt x="907" y="1167"/>
                  </a:lnTo>
                  <a:lnTo>
                    <a:pt x="907" y="1169"/>
                  </a:lnTo>
                  <a:lnTo>
                    <a:pt x="907" y="1171"/>
                  </a:lnTo>
                  <a:lnTo>
                    <a:pt x="906" y="1173"/>
                  </a:lnTo>
                  <a:lnTo>
                    <a:pt x="904" y="1175"/>
                  </a:lnTo>
                  <a:lnTo>
                    <a:pt x="903" y="1177"/>
                  </a:lnTo>
                  <a:lnTo>
                    <a:pt x="901" y="1178"/>
                  </a:lnTo>
                  <a:lnTo>
                    <a:pt x="899" y="1180"/>
                  </a:lnTo>
                  <a:lnTo>
                    <a:pt x="895" y="1183"/>
                  </a:lnTo>
                  <a:lnTo>
                    <a:pt x="893" y="1184"/>
                  </a:lnTo>
                  <a:lnTo>
                    <a:pt x="891" y="1185"/>
                  </a:lnTo>
                  <a:lnTo>
                    <a:pt x="889" y="1186"/>
                  </a:lnTo>
                  <a:lnTo>
                    <a:pt x="886" y="1187"/>
                  </a:lnTo>
                  <a:lnTo>
                    <a:pt x="884" y="1187"/>
                  </a:lnTo>
                  <a:lnTo>
                    <a:pt x="882" y="1187"/>
                  </a:lnTo>
                  <a:lnTo>
                    <a:pt x="877" y="1187"/>
                  </a:lnTo>
                  <a:lnTo>
                    <a:pt x="874" y="1187"/>
                  </a:lnTo>
                  <a:lnTo>
                    <a:pt x="869" y="1186"/>
                  </a:lnTo>
                  <a:lnTo>
                    <a:pt x="866" y="1186"/>
                  </a:lnTo>
                  <a:lnTo>
                    <a:pt x="864" y="1186"/>
                  </a:lnTo>
                  <a:lnTo>
                    <a:pt x="863" y="1186"/>
                  </a:lnTo>
                  <a:lnTo>
                    <a:pt x="861" y="1187"/>
                  </a:lnTo>
                  <a:lnTo>
                    <a:pt x="861" y="1187"/>
                  </a:lnTo>
                  <a:lnTo>
                    <a:pt x="859" y="1188"/>
                  </a:lnTo>
                  <a:lnTo>
                    <a:pt x="855" y="1190"/>
                  </a:lnTo>
                  <a:lnTo>
                    <a:pt x="854" y="1191"/>
                  </a:lnTo>
                  <a:lnTo>
                    <a:pt x="853" y="1192"/>
                  </a:lnTo>
                  <a:lnTo>
                    <a:pt x="852" y="1193"/>
                  </a:lnTo>
                  <a:lnTo>
                    <a:pt x="852" y="1194"/>
                  </a:lnTo>
                  <a:lnTo>
                    <a:pt x="850" y="1200"/>
                  </a:lnTo>
                  <a:lnTo>
                    <a:pt x="849" y="1202"/>
                  </a:lnTo>
                  <a:lnTo>
                    <a:pt x="847" y="1205"/>
                  </a:lnTo>
                  <a:lnTo>
                    <a:pt x="846" y="1207"/>
                  </a:lnTo>
                  <a:lnTo>
                    <a:pt x="845" y="1209"/>
                  </a:lnTo>
                  <a:lnTo>
                    <a:pt x="844" y="1209"/>
                  </a:lnTo>
                  <a:lnTo>
                    <a:pt x="843" y="1210"/>
                  </a:lnTo>
                  <a:lnTo>
                    <a:pt x="842" y="1210"/>
                  </a:lnTo>
                  <a:lnTo>
                    <a:pt x="841" y="1210"/>
                  </a:lnTo>
                  <a:lnTo>
                    <a:pt x="840" y="1210"/>
                  </a:lnTo>
                  <a:lnTo>
                    <a:pt x="838" y="1209"/>
                  </a:lnTo>
                  <a:lnTo>
                    <a:pt x="837" y="1208"/>
                  </a:lnTo>
                  <a:lnTo>
                    <a:pt x="832" y="1205"/>
                  </a:lnTo>
                  <a:lnTo>
                    <a:pt x="830" y="1204"/>
                  </a:lnTo>
                  <a:lnTo>
                    <a:pt x="828" y="1203"/>
                  </a:lnTo>
                  <a:lnTo>
                    <a:pt x="826" y="1202"/>
                  </a:lnTo>
                  <a:lnTo>
                    <a:pt x="820" y="1201"/>
                  </a:lnTo>
                  <a:lnTo>
                    <a:pt x="817" y="1201"/>
                  </a:lnTo>
                  <a:lnTo>
                    <a:pt x="814" y="1200"/>
                  </a:lnTo>
                  <a:lnTo>
                    <a:pt x="808" y="1197"/>
                  </a:lnTo>
                  <a:lnTo>
                    <a:pt x="807" y="1196"/>
                  </a:lnTo>
                  <a:lnTo>
                    <a:pt x="806" y="1196"/>
                  </a:lnTo>
                  <a:lnTo>
                    <a:pt x="805" y="1196"/>
                  </a:lnTo>
                  <a:lnTo>
                    <a:pt x="804" y="1196"/>
                  </a:lnTo>
                  <a:lnTo>
                    <a:pt x="801" y="1197"/>
                  </a:lnTo>
                  <a:lnTo>
                    <a:pt x="796" y="1199"/>
                  </a:lnTo>
                  <a:lnTo>
                    <a:pt x="787" y="1202"/>
                  </a:lnTo>
                  <a:lnTo>
                    <a:pt x="782" y="1204"/>
                  </a:lnTo>
                  <a:lnTo>
                    <a:pt x="781" y="1205"/>
                  </a:lnTo>
                  <a:lnTo>
                    <a:pt x="776" y="1206"/>
                  </a:lnTo>
                  <a:lnTo>
                    <a:pt x="773" y="1206"/>
                  </a:lnTo>
                  <a:lnTo>
                    <a:pt x="770" y="1207"/>
                  </a:lnTo>
                  <a:lnTo>
                    <a:pt x="766" y="1207"/>
                  </a:lnTo>
                  <a:lnTo>
                    <a:pt x="763" y="1207"/>
                  </a:lnTo>
                  <a:lnTo>
                    <a:pt x="760" y="1207"/>
                  </a:lnTo>
                  <a:lnTo>
                    <a:pt x="750" y="1205"/>
                  </a:lnTo>
                  <a:lnTo>
                    <a:pt x="746" y="1204"/>
                  </a:lnTo>
                  <a:lnTo>
                    <a:pt x="739" y="1204"/>
                  </a:lnTo>
                  <a:lnTo>
                    <a:pt x="736" y="1203"/>
                  </a:lnTo>
                  <a:lnTo>
                    <a:pt x="734" y="1203"/>
                  </a:lnTo>
                  <a:lnTo>
                    <a:pt x="730" y="1202"/>
                  </a:lnTo>
                  <a:lnTo>
                    <a:pt x="721" y="1200"/>
                  </a:lnTo>
                  <a:lnTo>
                    <a:pt x="719" y="1199"/>
                  </a:lnTo>
                  <a:lnTo>
                    <a:pt x="716" y="1199"/>
                  </a:lnTo>
                  <a:lnTo>
                    <a:pt x="714" y="1199"/>
                  </a:lnTo>
                  <a:lnTo>
                    <a:pt x="713" y="1200"/>
                  </a:lnTo>
                  <a:lnTo>
                    <a:pt x="711" y="1201"/>
                  </a:lnTo>
                  <a:lnTo>
                    <a:pt x="709" y="1201"/>
                  </a:lnTo>
                  <a:lnTo>
                    <a:pt x="708" y="1201"/>
                  </a:lnTo>
                  <a:lnTo>
                    <a:pt x="706" y="1202"/>
                  </a:lnTo>
                  <a:lnTo>
                    <a:pt x="705" y="1203"/>
                  </a:lnTo>
                  <a:lnTo>
                    <a:pt x="704" y="1204"/>
                  </a:lnTo>
                  <a:lnTo>
                    <a:pt x="704" y="1206"/>
                  </a:lnTo>
                  <a:lnTo>
                    <a:pt x="703" y="1207"/>
                  </a:lnTo>
                  <a:lnTo>
                    <a:pt x="703" y="1209"/>
                  </a:lnTo>
                  <a:lnTo>
                    <a:pt x="703" y="1211"/>
                  </a:lnTo>
                  <a:lnTo>
                    <a:pt x="703" y="1212"/>
                  </a:lnTo>
                  <a:lnTo>
                    <a:pt x="705" y="1217"/>
                  </a:lnTo>
                  <a:lnTo>
                    <a:pt x="705" y="1219"/>
                  </a:lnTo>
                  <a:lnTo>
                    <a:pt x="705" y="1220"/>
                  </a:lnTo>
                  <a:lnTo>
                    <a:pt x="705" y="1221"/>
                  </a:lnTo>
                  <a:lnTo>
                    <a:pt x="705" y="1222"/>
                  </a:lnTo>
                  <a:lnTo>
                    <a:pt x="704" y="1223"/>
                  </a:lnTo>
                  <a:lnTo>
                    <a:pt x="703" y="1224"/>
                  </a:lnTo>
                  <a:lnTo>
                    <a:pt x="702" y="1225"/>
                  </a:lnTo>
                  <a:lnTo>
                    <a:pt x="701" y="1226"/>
                  </a:lnTo>
                  <a:lnTo>
                    <a:pt x="700" y="1227"/>
                  </a:lnTo>
                  <a:lnTo>
                    <a:pt x="697" y="1227"/>
                  </a:lnTo>
                  <a:lnTo>
                    <a:pt x="694" y="1228"/>
                  </a:lnTo>
                  <a:lnTo>
                    <a:pt x="683" y="1231"/>
                  </a:lnTo>
                  <a:lnTo>
                    <a:pt x="680" y="1232"/>
                  </a:lnTo>
                  <a:lnTo>
                    <a:pt x="679" y="1233"/>
                  </a:lnTo>
                  <a:lnTo>
                    <a:pt x="679" y="1234"/>
                  </a:lnTo>
                  <a:lnTo>
                    <a:pt x="678" y="1235"/>
                  </a:lnTo>
                  <a:lnTo>
                    <a:pt x="677" y="1235"/>
                  </a:lnTo>
                  <a:lnTo>
                    <a:pt x="676" y="1236"/>
                  </a:lnTo>
                  <a:lnTo>
                    <a:pt x="675" y="1238"/>
                  </a:lnTo>
                  <a:lnTo>
                    <a:pt x="674" y="1240"/>
                  </a:lnTo>
                  <a:lnTo>
                    <a:pt x="673" y="1242"/>
                  </a:lnTo>
                  <a:lnTo>
                    <a:pt x="673" y="1245"/>
                  </a:lnTo>
                  <a:lnTo>
                    <a:pt x="671" y="1252"/>
                  </a:lnTo>
                  <a:lnTo>
                    <a:pt x="671" y="1255"/>
                  </a:lnTo>
                  <a:lnTo>
                    <a:pt x="670" y="1257"/>
                  </a:lnTo>
                  <a:lnTo>
                    <a:pt x="668" y="1262"/>
                  </a:lnTo>
                  <a:lnTo>
                    <a:pt x="668" y="1264"/>
                  </a:lnTo>
                  <a:lnTo>
                    <a:pt x="666" y="1265"/>
                  </a:lnTo>
                  <a:lnTo>
                    <a:pt x="664" y="1265"/>
                  </a:lnTo>
                  <a:lnTo>
                    <a:pt x="663" y="1266"/>
                  </a:lnTo>
                  <a:lnTo>
                    <a:pt x="661" y="1266"/>
                  </a:lnTo>
                  <a:lnTo>
                    <a:pt x="659" y="1267"/>
                  </a:lnTo>
                  <a:lnTo>
                    <a:pt x="657" y="1267"/>
                  </a:lnTo>
                  <a:lnTo>
                    <a:pt x="656" y="1267"/>
                  </a:lnTo>
                  <a:lnTo>
                    <a:pt x="654" y="1266"/>
                  </a:lnTo>
                  <a:lnTo>
                    <a:pt x="652" y="1266"/>
                  </a:lnTo>
                  <a:lnTo>
                    <a:pt x="651" y="1266"/>
                  </a:lnTo>
                  <a:lnTo>
                    <a:pt x="648" y="1264"/>
                  </a:lnTo>
                  <a:lnTo>
                    <a:pt x="646" y="1263"/>
                  </a:lnTo>
                  <a:lnTo>
                    <a:pt x="645" y="1262"/>
                  </a:lnTo>
                  <a:lnTo>
                    <a:pt x="642" y="1260"/>
                  </a:lnTo>
                  <a:lnTo>
                    <a:pt x="641" y="1259"/>
                  </a:lnTo>
                  <a:lnTo>
                    <a:pt x="639" y="1257"/>
                  </a:lnTo>
                  <a:lnTo>
                    <a:pt x="637" y="1255"/>
                  </a:lnTo>
                  <a:lnTo>
                    <a:pt x="635" y="1251"/>
                  </a:lnTo>
                  <a:lnTo>
                    <a:pt x="632" y="1245"/>
                  </a:lnTo>
                  <a:lnTo>
                    <a:pt x="629" y="1237"/>
                  </a:lnTo>
                  <a:lnTo>
                    <a:pt x="626" y="1233"/>
                  </a:lnTo>
                  <a:lnTo>
                    <a:pt x="624" y="1230"/>
                  </a:lnTo>
                  <a:lnTo>
                    <a:pt x="623" y="1225"/>
                  </a:lnTo>
                  <a:lnTo>
                    <a:pt x="622" y="1223"/>
                  </a:lnTo>
                  <a:lnTo>
                    <a:pt x="621" y="1222"/>
                  </a:lnTo>
                  <a:lnTo>
                    <a:pt x="621" y="1221"/>
                  </a:lnTo>
                  <a:lnTo>
                    <a:pt x="620" y="1221"/>
                  </a:lnTo>
                  <a:lnTo>
                    <a:pt x="619" y="1220"/>
                  </a:lnTo>
                  <a:lnTo>
                    <a:pt x="618" y="1220"/>
                  </a:lnTo>
                  <a:lnTo>
                    <a:pt x="616" y="1220"/>
                  </a:lnTo>
                  <a:lnTo>
                    <a:pt x="615" y="1220"/>
                  </a:lnTo>
                  <a:lnTo>
                    <a:pt x="612" y="1221"/>
                  </a:lnTo>
                  <a:lnTo>
                    <a:pt x="611" y="1221"/>
                  </a:lnTo>
                  <a:lnTo>
                    <a:pt x="609" y="1223"/>
                  </a:lnTo>
                  <a:lnTo>
                    <a:pt x="605" y="1224"/>
                  </a:lnTo>
                  <a:lnTo>
                    <a:pt x="603" y="1225"/>
                  </a:lnTo>
                  <a:lnTo>
                    <a:pt x="602" y="1225"/>
                  </a:lnTo>
                  <a:lnTo>
                    <a:pt x="601" y="1225"/>
                  </a:lnTo>
                  <a:lnTo>
                    <a:pt x="600" y="1225"/>
                  </a:lnTo>
                  <a:lnTo>
                    <a:pt x="600" y="1224"/>
                  </a:lnTo>
                  <a:lnTo>
                    <a:pt x="597" y="1223"/>
                  </a:lnTo>
                  <a:lnTo>
                    <a:pt x="595" y="1223"/>
                  </a:lnTo>
                  <a:lnTo>
                    <a:pt x="592" y="1221"/>
                  </a:lnTo>
                  <a:lnTo>
                    <a:pt x="589" y="1219"/>
                  </a:lnTo>
                  <a:lnTo>
                    <a:pt x="586" y="1216"/>
                  </a:lnTo>
                  <a:lnTo>
                    <a:pt x="577" y="1208"/>
                  </a:lnTo>
                  <a:lnTo>
                    <a:pt x="575" y="1206"/>
                  </a:lnTo>
                  <a:lnTo>
                    <a:pt x="573" y="1204"/>
                  </a:lnTo>
                  <a:lnTo>
                    <a:pt x="571" y="1203"/>
                  </a:lnTo>
                  <a:lnTo>
                    <a:pt x="568" y="1202"/>
                  </a:lnTo>
                  <a:lnTo>
                    <a:pt x="558" y="1197"/>
                  </a:lnTo>
                  <a:lnTo>
                    <a:pt x="554" y="1195"/>
                  </a:lnTo>
                  <a:lnTo>
                    <a:pt x="552" y="1193"/>
                  </a:lnTo>
                  <a:lnTo>
                    <a:pt x="546" y="1190"/>
                  </a:lnTo>
                  <a:lnTo>
                    <a:pt x="543" y="1189"/>
                  </a:lnTo>
                  <a:lnTo>
                    <a:pt x="542" y="1188"/>
                  </a:lnTo>
                  <a:lnTo>
                    <a:pt x="541" y="1188"/>
                  </a:lnTo>
                  <a:lnTo>
                    <a:pt x="539" y="1188"/>
                  </a:lnTo>
                  <a:lnTo>
                    <a:pt x="538" y="1188"/>
                  </a:lnTo>
                  <a:lnTo>
                    <a:pt x="537" y="1189"/>
                  </a:lnTo>
                  <a:lnTo>
                    <a:pt x="536" y="1189"/>
                  </a:lnTo>
                  <a:lnTo>
                    <a:pt x="531" y="1192"/>
                  </a:lnTo>
                  <a:lnTo>
                    <a:pt x="527" y="1195"/>
                  </a:lnTo>
                  <a:lnTo>
                    <a:pt x="525" y="1198"/>
                  </a:lnTo>
                  <a:lnTo>
                    <a:pt x="523" y="1199"/>
                  </a:lnTo>
                  <a:lnTo>
                    <a:pt x="522" y="1201"/>
                  </a:lnTo>
                  <a:lnTo>
                    <a:pt x="520" y="1203"/>
                  </a:lnTo>
                  <a:lnTo>
                    <a:pt x="520" y="1205"/>
                  </a:lnTo>
                  <a:lnTo>
                    <a:pt x="518" y="1206"/>
                  </a:lnTo>
                  <a:lnTo>
                    <a:pt x="515" y="1209"/>
                  </a:lnTo>
                  <a:lnTo>
                    <a:pt x="514" y="1210"/>
                  </a:lnTo>
                  <a:lnTo>
                    <a:pt x="513" y="1212"/>
                  </a:lnTo>
                  <a:lnTo>
                    <a:pt x="512" y="1213"/>
                  </a:lnTo>
                  <a:lnTo>
                    <a:pt x="511" y="1214"/>
                  </a:lnTo>
                  <a:lnTo>
                    <a:pt x="511" y="1215"/>
                  </a:lnTo>
                  <a:lnTo>
                    <a:pt x="511" y="1220"/>
                  </a:lnTo>
                  <a:lnTo>
                    <a:pt x="511" y="1222"/>
                  </a:lnTo>
                  <a:lnTo>
                    <a:pt x="510" y="1224"/>
                  </a:lnTo>
                  <a:lnTo>
                    <a:pt x="509" y="1231"/>
                  </a:lnTo>
                  <a:lnTo>
                    <a:pt x="509" y="1234"/>
                  </a:lnTo>
                  <a:lnTo>
                    <a:pt x="508" y="1236"/>
                  </a:lnTo>
                  <a:lnTo>
                    <a:pt x="509" y="1238"/>
                  </a:lnTo>
                  <a:lnTo>
                    <a:pt x="509" y="1241"/>
                  </a:lnTo>
                  <a:lnTo>
                    <a:pt x="509" y="1245"/>
                  </a:lnTo>
                  <a:lnTo>
                    <a:pt x="511" y="1249"/>
                  </a:lnTo>
                  <a:lnTo>
                    <a:pt x="512" y="1255"/>
                  </a:lnTo>
                  <a:lnTo>
                    <a:pt x="513" y="1257"/>
                  </a:lnTo>
                  <a:lnTo>
                    <a:pt x="513" y="1259"/>
                  </a:lnTo>
                  <a:lnTo>
                    <a:pt x="513" y="1260"/>
                  </a:lnTo>
                  <a:lnTo>
                    <a:pt x="512" y="1262"/>
                  </a:lnTo>
                  <a:lnTo>
                    <a:pt x="511" y="1263"/>
                  </a:lnTo>
                  <a:lnTo>
                    <a:pt x="510" y="1264"/>
                  </a:lnTo>
                  <a:lnTo>
                    <a:pt x="509" y="1265"/>
                  </a:lnTo>
                  <a:lnTo>
                    <a:pt x="508" y="1267"/>
                  </a:lnTo>
                  <a:lnTo>
                    <a:pt x="504" y="1268"/>
                  </a:lnTo>
                  <a:lnTo>
                    <a:pt x="501" y="1269"/>
                  </a:lnTo>
                  <a:lnTo>
                    <a:pt x="498" y="1270"/>
                  </a:lnTo>
                  <a:lnTo>
                    <a:pt x="491" y="1272"/>
                  </a:lnTo>
                  <a:lnTo>
                    <a:pt x="487" y="1274"/>
                  </a:lnTo>
                  <a:lnTo>
                    <a:pt x="486" y="1274"/>
                  </a:lnTo>
                  <a:lnTo>
                    <a:pt x="484" y="1276"/>
                  </a:lnTo>
                  <a:lnTo>
                    <a:pt x="478" y="1279"/>
                  </a:lnTo>
                  <a:lnTo>
                    <a:pt x="474" y="1282"/>
                  </a:lnTo>
                  <a:lnTo>
                    <a:pt x="466" y="1289"/>
                  </a:lnTo>
                  <a:lnTo>
                    <a:pt x="462" y="1292"/>
                  </a:lnTo>
                  <a:lnTo>
                    <a:pt x="459" y="1295"/>
                  </a:lnTo>
                  <a:lnTo>
                    <a:pt x="456" y="1299"/>
                  </a:lnTo>
                  <a:lnTo>
                    <a:pt x="454" y="1302"/>
                  </a:lnTo>
                  <a:lnTo>
                    <a:pt x="452" y="1305"/>
                  </a:lnTo>
                  <a:lnTo>
                    <a:pt x="451" y="1308"/>
                  </a:lnTo>
                  <a:lnTo>
                    <a:pt x="449" y="1309"/>
                  </a:lnTo>
                  <a:lnTo>
                    <a:pt x="448" y="1309"/>
                  </a:lnTo>
                  <a:lnTo>
                    <a:pt x="447" y="1310"/>
                  </a:lnTo>
                  <a:lnTo>
                    <a:pt x="446" y="1310"/>
                  </a:lnTo>
                  <a:lnTo>
                    <a:pt x="445" y="1310"/>
                  </a:lnTo>
                  <a:lnTo>
                    <a:pt x="444" y="1310"/>
                  </a:lnTo>
                  <a:lnTo>
                    <a:pt x="443" y="1310"/>
                  </a:lnTo>
                  <a:lnTo>
                    <a:pt x="442" y="1309"/>
                  </a:lnTo>
                  <a:lnTo>
                    <a:pt x="441" y="1308"/>
                  </a:lnTo>
                  <a:lnTo>
                    <a:pt x="437" y="1305"/>
                  </a:lnTo>
                  <a:lnTo>
                    <a:pt x="434" y="1303"/>
                  </a:lnTo>
                  <a:lnTo>
                    <a:pt x="431" y="1303"/>
                  </a:lnTo>
                  <a:lnTo>
                    <a:pt x="428" y="1301"/>
                  </a:lnTo>
                  <a:lnTo>
                    <a:pt x="423" y="1300"/>
                  </a:lnTo>
                  <a:lnTo>
                    <a:pt x="419" y="1299"/>
                  </a:lnTo>
                  <a:lnTo>
                    <a:pt x="416" y="1298"/>
                  </a:lnTo>
                  <a:lnTo>
                    <a:pt x="410" y="1297"/>
                  </a:lnTo>
                  <a:lnTo>
                    <a:pt x="406" y="1297"/>
                  </a:lnTo>
                  <a:lnTo>
                    <a:pt x="405" y="1296"/>
                  </a:lnTo>
                  <a:lnTo>
                    <a:pt x="404" y="1295"/>
                  </a:lnTo>
                  <a:lnTo>
                    <a:pt x="403" y="1295"/>
                  </a:lnTo>
                  <a:lnTo>
                    <a:pt x="401" y="1294"/>
                  </a:lnTo>
                  <a:lnTo>
                    <a:pt x="400" y="1293"/>
                  </a:lnTo>
                  <a:lnTo>
                    <a:pt x="399" y="1292"/>
                  </a:lnTo>
                  <a:lnTo>
                    <a:pt x="399" y="1291"/>
                  </a:lnTo>
                  <a:lnTo>
                    <a:pt x="399" y="1291"/>
                  </a:lnTo>
                  <a:lnTo>
                    <a:pt x="398" y="1289"/>
                  </a:lnTo>
                  <a:lnTo>
                    <a:pt x="399" y="1288"/>
                  </a:lnTo>
                  <a:lnTo>
                    <a:pt x="400" y="1281"/>
                  </a:lnTo>
                  <a:lnTo>
                    <a:pt x="400" y="1280"/>
                  </a:lnTo>
                  <a:lnTo>
                    <a:pt x="400" y="1279"/>
                  </a:lnTo>
                  <a:lnTo>
                    <a:pt x="400" y="1278"/>
                  </a:lnTo>
                  <a:lnTo>
                    <a:pt x="400" y="1277"/>
                  </a:lnTo>
                  <a:lnTo>
                    <a:pt x="399" y="1276"/>
                  </a:lnTo>
                  <a:lnTo>
                    <a:pt x="398" y="1276"/>
                  </a:lnTo>
                  <a:lnTo>
                    <a:pt x="397" y="1277"/>
                  </a:lnTo>
                  <a:lnTo>
                    <a:pt x="393" y="1278"/>
                  </a:lnTo>
                  <a:lnTo>
                    <a:pt x="389" y="1279"/>
                  </a:lnTo>
                  <a:lnTo>
                    <a:pt x="384" y="1280"/>
                  </a:lnTo>
                  <a:lnTo>
                    <a:pt x="380" y="1280"/>
                  </a:lnTo>
                  <a:lnTo>
                    <a:pt x="378" y="1281"/>
                  </a:lnTo>
                  <a:lnTo>
                    <a:pt x="376" y="1281"/>
                  </a:lnTo>
                  <a:lnTo>
                    <a:pt x="372" y="1281"/>
                  </a:lnTo>
                  <a:lnTo>
                    <a:pt x="368" y="1280"/>
                  </a:lnTo>
                  <a:lnTo>
                    <a:pt x="358" y="1280"/>
                  </a:lnTo>
                  <a:lnTo>
                    <a:pt x="353" y="1279"/>
                  </a:lnTo>
                  <a:lnTo>
                    <a:pt x="350" y="1278"/>
                  </a:lnTo>
                  <a:lnTo>
                    <a:pt x="349" y="1277"/>
                  </a:lnTo>
                  <a:lnTo>
                    <a:pt x="346" y="1276"/>
                  </a:lnTo>
                  <a:lnTo>
                    <a:pt x="340" y="1273"/>
                  </a:lnTo>
                  <a:lnTo>
                    <a:pt x="339" y="1273"/>
                  </a:lnTo>
                  <a:lnTo>
                    <a:pt x="338" y="1272"/>
                  </a:lnTo>
                  <a:lnTo>
                    <a:pt x="336" y="1272"/>
                  </a:lnTo>
                  <a:lnTo>
                    <a:pt x="333" y="1272"/>
                  </a:lnTo>
                  <a:lnTo>
                    <a:pt x="327" y="1271"/>
                  </a:lnTo>
                  <a:lnTo>
                    <a:pt x="325" y="1271"/>
                  </a:lnTo>
                  <a:lnTo>
                    <a:pt x="322" y="1271"/>
                  </a:lnTo>
                  <a:lnTo>
                    <a:pt x="321" y="1272"/>
                  </a:lnTo>
                  <a:lnTo>
                    <a:pt x="320" y="1272"/>
                  </a:lnTo>
                  <a:lnTo>
                    <a:pt x="317" y="1273"/>
                  </a:lnTo>
                  <a:lnTo>
                    <a:pt x="314" y="1276"/>
                  </a:lnTo>
                  <a:lnTo>
                    <a:pt x="310" y="1278"/>
                  </a:lnTo>
                  <a:lnTo>
                    <a:pt x="309" y="1278"/>
                  </a:lnTo>
                  <a:lnTo>
                    <a:pt x="308" y="1279"/>
                  </a:lnTo>
                  <a:lnTo>
                    <a:pt x="307" y="1279"/>
                  </a:lnTo>
                  <a:lnTo>
                    <a:pt x="306" y="1278"/>
                  </a:lnTo>
                  <a:lnTo>
                    <a:pt x="304" y="1278"/>
                  </a:lnTo>
                  <a:lnTo>
                    <a:pt x="302" y="1277"/>
                  </a:lnTo>
                  <a:lnTo>
                    <a:pt x="298" y="1275"/>
                  </a:lnTo>
                  <a:lnTo>
                    <a:pt x="290" y="1269"/>
                  </a:lnTo>
                  <a:lnTo>
                    <a:pt x="289" y="1268"/>
                  </a:lnTo>
                  <a:lnTo>
                    <a:pt x="286" y="1267"/>
                  </a:lnTo>
                  <a:lnTo>
                    <a:pt x="281" y="1265"/>
                  </a:lnTo>
                  <a:lnTo>
                    <a:pt x="280" y="1264"/>
                  </a:lnTo>
                  <a:lnTo>
                    <a:pt x="277" y="1263"/>
                  </a:lnTo>
                  <a:lnTo>
                    <a:pt x="270" y="1259"/>
                  </a:lnTo>
                  <a:lnTo>
                    <a:pt x="269" y="1258"/>
                  </a:lnTo>
                  <a:lnTo>
                    <a:pt x="267" y="1257"/>
                  </a:lnTo>
                  <a:lnTo>
                    <a:pt x="266" y="1257"/>
                  </a:lnTo>
                  <a:lnTo>
                    <a:pt x="264" y="1258"/>
                  </a:lnTo>
                  <a:lnTo>
                    <a:pt x="263" y="1259"/>
                  </a:lnTo>
                  <a:lnTo>
                    <a:pt x="262" y="1260"/>
                  </a:lnTo>
                  <a:lnTo>
                    <a:pt x="262" y="1261"/>
                  </a:lnTo>
                  <a:lnTo>
                    <a:pt x="262" y="1262"/>
                  </a:lnTo>
                  <a:lnTo>
                    <a:pt x="262" y="1268"/>
                  </a:lnTo>
                  <a:lnTo>
                    <a:pt x="262" y="1271"/>
                  </a:lnTo>
                  <a:lnTo>
                    <a:pt x="262" y="1272"/>
                  </a:lnTo>
                  <a:lnTo>
                    <a:pt x="261" y="1272"/>
                  </a:lnTo>
                  <a:lnTo>
                    <a:pt x="261" y="1273"/>
                  </a:lnTo>
                  <a:lnTo>
                    <a:pt x="260" y="1273"/>
                  </a:lnTo>
                  <a:lnTo>
                    <a:pt x="259" y="1273"/>
                  </a:lnTo>
                  <a:lnTo>
                    <a:pt x="255" y="1273"/>
                  </a:lnTo>
                  <a:lnTo>
                    <a:pt x="252" y="1273"/>
                  </a:lnTo>
                  <a:lnTo>
                    <a:pt x="250" y="1273"/>
                  </a:lnTo>
                  <a:lnTo>
                    <a:pt x="247" y="1274"/>
                  </a:lnTo>
                  <a:lnTo>
                    <a:pt x="245" y="1275"/>
                  </a:lnTo>
                  <a:lnTo>
                    <a:pt x="243" y="1277"/>
                  </a:lnTo>
                  <a:lnTo>
                    <a:pt x="240" y="1278"/>
                  </a:lnTo>
                  <a:lnTo>
                    <a:pt x="233" y="1283"/>
                  </a:lnTo>
                  <a:lnTo>
                    <a:pt x="232" y="1284"/>
                  </a:lnTo>
                  <a:lnTo>
                    <a:pt x="230" y="1285"/>
                  </a:lnTo>
                  <a:lnTo>
                    <a:pt x="229" y="1285"/>
                  </a:lnTo>
                  <a:lnTo>
                    <a:pt x="224" y="1287"/>
                  </a:lnTo>
                  <a:lnTo>
                    <a:pt x="222" y="1287"/>
                  </a:lnTo>
                  <a:lnTo>
                    <a:pt x="220" y="1287"/>
                  </a:lnTo>
                  <a:lnTo>
                    <a:pt x="217" y="1286"/>
                  </a:lnTo>
                  <a:lnTo>
                    <a:pt x="213" y="1285"/>
                  </a:lnTo>
                  <a:lnTo>
                    <a:pt x="208" y="1285"/>
                  </a:lnTo>
                  <a:lnTo>
                    <a:pt x="207" y="1284"/>
                  </a:lnTo>
                  <a:lnTo>
                    <a:pt x="206" y="1284"/>
                  </a:lnTo>
                  <a:lnTo>
                    <a:pt x="205" y="1283"/>
                  </a:lnTo>
                  <a:lnTo>
                    <a:pt x="204" y="1281"/>
                  </a:lnTo>
                  <a:lnTo>
                    <a:pt x="202" y="1277"/>
                  </a:lnTo>
                  <a:lnTo>
                    <a:pt x="202" y="1276"/>
                  </a:lnTo>
                  <a:lnTo>
                    <a:pt x="202" y="1275"/>
                  </a:lnTo>
                  <a:lnTo>
                    <a:pt x="200" y="1273"/>
                  </a:lnTo>
                  <a:lnTo>
                    <a:pt x="198" y="1271"/>
                  </a:lnTo>
                  <a:lnTo>
                    <a:pt x="197" y="1270"/>
                  </a:lnTo>
                  <a:lnTo>
                    <a:pt x="195" y="1269"/>
                  </a:lnTo>
                  <a:lnTo>
                    <a:pt x="193" y="1268"/>
                  </a:lnTo>
                  <a:lnTo>
                    <a:pt x="190" y="1266"/>
                  </a:lnTo>
                  <a:lnTo>
                    <a:pt x="187" y="1264"/>
                  </a:lnTo>
                  <a:lnTo>
                    <a:pt x="182" y="1263"/>
                  </a:lnTo>
                  <a:lnTo>
                    <a:pt x="180" y="1262"/>
                  </a:lnTo>
                  <a:lnTo>
                    <a:pt x="179" y="1261"/>
                  </a:lnTo>
                  <a:lnTo>
                    <a:pt x="178" y="1260"/>
                  </a:lnTo>
                  <a:lnTo>
                    <a:pt x="176" y="1258"/>
                  </a:lnTo>
                  <a:lnTo>
                    <a:pt x="175" y="1257"/>
                  </a:lnTo>
                  <a:lnTo>
                    <a:pt x="172" y="1253"/>
                  </a:lnTo>
                  <a:lnTo>
                    <a:pt x="170" y="1251"/>
                  </a:lnTo>
                  <a:lnTo>
                    <a:pt x="168" y="1249"/>
                  </a:lnTo>
                  <a:lnTo>
                    <a:pt x="167" y="1247"/>
                  </a:lnTo>
                  <a:lnTo>
                    <a:pt x="163" y="1246"/>
                  </a:lnTo>
                  <a:lnTo>
                    <a:pt x="160" y="1245"/>
                  </a:lnTo>
                  <a:lnTo>
                    <a:pt x="156" y="1244"/>
                  </a:lnTo>
                  <a:lnTo>
                    <a:pt x="154" y="1243"/>
                  </a:lnTo>
                  <a:lnTo>
                    <a:pt x="153" y="1243"/>
                  </a:lnTo>
                  <a:lnTo>
                    <a:pt x="150" y="1243"/>
                  </a:lnTo>
                  <a:lnTo>
                    <a:pt x="147" y="1243"/>
                  </a:lnTo>
                  <a:lnTo>
                    <a:pt x="145" y="1244"/>
                  </a:lnTo>
                  <a:lnTo>
                    <a:pt x="142" y="1245"/>
                  </a:lnTo>
                  <a:lnTo>
                    <a:pt x="133" y="1246"/>
                  </a:lnTo>
                  <a:lnTo>
                    <a:pt x="131" y="1247"/>
                  </a:lnTo>
                  <a:lnTo>
                    <a:pt x="129" y="1248"/>
                  </a:lnTo>
                  <a:lnTo>
                    <a:pt x="127" y="1250"/>
                  </a:lnTo>
                  <a:lnTo>
                    <a:pt x="125" y="1252"/>
                  </a:lnTo>
                  <a:lnTo>
                    <a:pt x="124" y="1254"/>
                  </a:lnTo>
                  <a:lnTo>
                    <a:pt x="122" y="1258"/>
                  </a:lnTo>
                  <a:lnTo>
                    <a:pt x="120" y="1263"/>
                  </a:lnTo>
                  <a:lnTo>
                    <a:pt x="118" y="1266"/>
                  </a:lnTo>
                  <a:lnTo>
                    <a:pt x="115" y="1269"/>
                  </a:lnTo>
                  <a:lnTo>
                    <a:pt x="113" y="1273"/>
                  </a:lnTo>
                  <a:lnTo>
                    <a:pt x="112" y="1275"/>
                  </a:lnTo>
                  <a:lnTo>
                    <a:pt x="111" y="1276"/>
                  </a:lnTo>
                  <a:lnTo>
                    <a:pt x="110" y="1277"/>
                  </a:lnTo>
                  <a:lnTo>
                    <a:pt x="109" y="1277"/>
                  </a:lnTo>
                  <a:lnTo>
                    <a:pt x="107" y="1277"/>
                  </a:lnTo>
                  <a:lnTo>
                    <a:pt x="106" y="1277"/>
                  </a:lnTo>
                  <a:lnTo>
                    <a:pt x="101" y="1277"/>
                  </a:lnTo>
                  <a:lnTo>
                    <a:pt x="98" y="1277"/>
                  </a:lnTo>
                  <a:lnTo>
                    <a:pt x="94" y="1278"/>
                  </a:lnTo>
                  <a:lnTo>
                    <a:pt x="86" y="1279"/>
                  </a:lnTo>
                  <a:lnTo>
                    <a:pt x="65" y="1280"/>
                  </a:lnTo>
                  <a:lnTo>
                    <a:pt x="63" y="1280"/>
                  </a:lnTo>
                  <a:lnTo>
                    <a:pt x="54" y="1280"/>
                  </a:lnTo>
                  <a:lnTo>
                    <a:pt x="51" y="1280"/>
                  </a:lnTo>
                  <a:lnTo>
                    <a:pt x="47" y="1280"/>
                  </a:lnTo>
                  <a:lnTo>
                    <a:pt x="43" y="1281"/>
                  </a:lnTo>
                  <a:lnTo>
                    <a:pt x="40" y="1281"/>
                  </a:lnTo>
                  <a:lnTo>
                    <a:pt x="36" y="1281"/>
                  </a:lnTo>
                  <a:lnTo>
                    <a:pt x="31" y="1280"/>
                  </a:lnTo>
                  <a:lnTo>
                    <a:pt x="30" y="1280"/>
                  </a:lnTo>
                  <a:lnTo>
                    <a:pt x="28" y="1280"/>
                  </a:lnTo>
                  <a:lnTo>
                    <a:pt x="24" y="1281"/>
                  </a:lnTo>
                  <a:lnTo>
                    <a:pt x="22" y="1282"/>
                  </a:lnTo>
                  <a:lnTo>
                    <a:pt x="19" y="1282"/>
                  </a:lnTo>
                  <a:lnTo>
                    <a:pt x="16" y="1282"/>
                  </a:lnTo>
                  <a:lnTo>
                    <a:pt x="14" y="1281"/>
                  </a:lnTo>
                  <a:lnTo>
                    <a:pt x="12" y="1281"/>
                  </a:lnTo>
                  <a:lnTo>
                    <a:pt x="9" y="1280"/>
                  </a:lnTo>
                  <a:lnTo>
                    <a:pt x="8" y="1280"/>
                  </a:lnTo>
                  <a:lnTo>
                    <a:pt x="7" y="1279"/>
                  </a:lnTo>
                  <a:lnTo>
                    <a:pt x="6" y="1277"/>
                  </a:lnTo>
                  <a:lnTo>
                    <a:pt x="5" y="1276"/>
                  </a:lnTo>
                  <a:lnTo>
                    <a:pt x="4" y="1274"/>
                  </a:lnTo>
                  <a:lnTo>
                    <a:pt x="3" y="1272"/>
                  </a:lnTo>
                  <a:lnTo>
                    <a:pt x="2" y="1270"/>
                  </a:lnTo>
                  <a:lnTo>
                    <a:pt x="2" y="1269"/>
                  </a:lnTo>
                  <a:lnTo>
                    <a:pt x="2" y="1267"/>
                  </a:lnTo>
                  <a:lnTo>
                    <a:pt x="1" y="1261"/>
                  </a:lnTo>
                  <a:lnTo>
                    <a:pt x="1" y="1251"/>
                  </a:lnTo>
                  <a:lnTo>
                    <a:pt x="1" y="1248"/>
                  </a:lnTo>
                  <a:lnTo>
                    <a:pt x="0" y="1246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7" name="Freeform 86">
              <a:extLst>
                <a:ext uri="{FF2B5EF4-FFF2-40B4-BE49-F238E27FC236}">
                  <a16:creationId xmlns:a16="http://schemas.microsoft.com/office/drawing/2014/main" id="{746E2BFE-FFC4-4C07-BE9A-9FDD19D5E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3" y="1496"/>
              <a:ext cx="1154" cy="1311"/>
            </a:xfrm>
            <a:custGeom>
              <a:avLst/>
              <a:gdLst>
                <a:gd name="T0" fmla="*/ 457 w 1154"/>
                <a:gd name="T1" fmla="*/ 1266 h 1311"/>
                <a:gd name="T2" fmla="*/ 426 w 1154"/>
                <a:gd name="T3" fmla="*/ 1298 h 1311"/>
                <a:gd name="T4" fmla="*/ 382 w 1154"/>
                <a:gd name="T5" fmla="*/ 1311 h 1311"/>
                <a:gd name="T6" fmla="*/ 347 w 1154"/>
                <a:gd name="T7" fmla="*/ 1291 h 1311"/>
                <a:gd name="T8" fmla="*/ 312 w 1154"/>
                <a:gd name="T9" fmla="*/ 1290 h 1311"/>
                <a:gd name="T10" fmla="*/ 267 w 1154"/>
                <a:gd name="T11" fmla="*/ 1298 h 1311"/>
                <a:gd name="T12" fmla="*/ 256 w 1154"/>
                <a:gd name="T13" fmla="*/ 1259 h 1311"/>
                <a:gd name="T14" fmla="*/ 254 w 1154"/>
                <a:gd name="T15" fmla="*/ 1200 h 1311"/>
                <a:gd name="T16" fmla="*/ 236 w 1154"/>
                <a:gd name="T17" fmla="*/ 1166 h 1311"/>
                <a:gd name="T18" fmla="*/ 220 w 1154"/>
                <a:gd name="T19" fmla="*/ 1154 h 1311"/>
                <a:gd name="T20" fmla="*/ 223 w 1154"/>
                <a:gd name="T21" fmla="*/ 1141 h 1311"/>
                <a:gd name="T22" fmla="*/ 214 w 1154"/>
                <a:gd name="T23" fmla="*/ 1115 h 1311"/>
                <a:gd name="T24" fmla="*/ 221 w 1154"/>
                <a:gd name="T25" fmla="*/ 1098 h 1311"/>
                <a:gd name="T26" fmla="*/ 200 w 1154"/>
                <a:gd name="T27" fmla="*/ 1084 h 1311"/>
                <a:gd name="T28" fmla="*/ 241 w 1154"/>
                <a:gd name="T29" fmla="*/ 1044 h 1311"/>
                <a:gd name="T30" fmla="*/ 271 w 1154"/>
                <a:gd name="T31" fmla="*/ 1048 h 1311"/>
                <a:gd name="T32" fmla="*/ 301 w 1154"/>
                <a:gd name="T33" fmla="*/ 1011 h 1311"/>
                <a:gd name="T34" fmla="*/ 293 w 1154"/>
                <a:gd name="T35" fmla="*/ 973 h 1311"/>
                <a:gd name="T36" fmla="*/ 301 w 1154"/>
                <a:gd name="T37" fmla="*/ 911 h 1311"/>
                <a:gd name="T38" fmla="*/ 321 w 1154"/>
                <a:gd name="T39" fmla="*/ 869 h 1311"/>
                <a:gd name="T40" fmla="*/ 286 w 1154"/>
                <a:gd name="T41" fmla="*/ 796 h 1311"/>
                <a:gd name="T42" fmla="*/ 257 w 1154"/>
                <a:gd name="T43" fmla="*/ 770 h 1311"/>
                <a:gd name="T44" fmla="*/ 206 w 1154"/>
                <a:gd name="T45" fmla="*/ 740 h 1311"/>
                <a:gd name="T46" fmla="*/ 157 w 1154"/>
                <a:gd name="T47" fmla="*/ 727 h 1311"/>
                <a:gd name="T48" fmla="*/ 95 w 1154"/>
                <a:gd name="T49" fmla="*/ 702 h 1311"/>
                <a:gd name="T50" fmla="*/ 93 w 1154"/>
                <a:gd name="T51" fmla="*/ 683 h 1311"/>
                <a:gd name="T52" fmla="*/ 62 w 1154"/>
                <a:gd name="T53" fmla="*/ 675 h 1311"/>
                <a:gd name="T54" fmla="*/ 7 w 1154"/>
                <a:gd name="T55" fmla="*/ 679 h 1311"/>
                <a:gd name="T56" fmla="*/ 9 w 1154"/>
                <a:gd name="T57" fmla="*/ 650 h 1311"/>
                <a:gd name="T58" fmla="*/ 4 w 1154"/>
                <a:gd name="T59" fmla="*/ 612 h 1311"/>
                <a:gd name="T60" fmla="*/ 37 w 1154"/>
                <a:gd name="T61" fmla="*/ 591 h 1311"/>
                <a:gd name="T62" fmla="*/ 62 w 1154"/>
                <a:gd name="T63" fmla="*/ 566 h 1311"/>
                <a:gd name="T64" fmla="*/ 71 w 1154"/>
                <a:gd name="T65" fmla="*/ 530 h 1311"/>
                <a:gd name="T66" fmla="*/ 117 w 1154"/>
                <a:gd name="T67" fmla="*/ 497 h 1311"/>
                <a:gd name="T68" fmla="*/ 170 w 1154"/>
                <a:gd name="T69" fmla="*/ 477 h 1311"/>
                <a:gd name="T70" fmla="*/ 212 w 1154"/>
                <a:gd name="T71" fmla="*/ 453 h 1311"/>
                <a:gd name="T72" fmla="*/ 268 w 1154"/>
                <a:gd name="T73" fmla="*/ 452 h 1311"/>
                <a:gd name="T74" fmla="*/ 313 w 1154"/>
                <a:gd name="T75" fmla="*/ 419 h 1311"/>
                <a:gd name="T76" fmla="*/ 346 w 1154"/>
                <a:gd name="T77" fmla="*/ 432 h 1311"/>
                <a:gd name="T78" fmla="*/ 383 w 1154"/>
                <a:gd name="T79" fmla="*/ 403 h 1311"/>
                <a:gd name="T80" fmla="*/ 426 w 1154"/>
                <a:gd name="T81" fmla="*/ 371 h 1311"/>
                <a:gd name="T82" fmla="*/ 449 w 1154"/>
                <a:gd name="T83" fmla="*/ 358 h 1311"/>
                <a:gd name="T84" fmla="*/ 462 w 1154"/>
                <a:gd name="T85" fmla="*/ 322 h 1311"/>
                <a:gd name="T86" fmla="*/ 554 w 1154"/>
                <a:gd name="T87" fmla="*/ 333 h 1311"/>
                <a:gd name="T88" fmla="*/ 627 w 1154"/>
                <a:gd name="T89" fmla="*/ 330 h 1311"/>
                <a:gd name="T90" fmla="*/ 670 w 1154"/>
                <a:gd name="T91" fmla="*/ 316 h 1311"/>
                <a:gd name="T92" fmla="*/ 734 w 1154"/>
                <a:gd name="T93" fmla="*/ 309 h 1311"/>
                <a:gd name="T94" fmla="*/ 741 w 1154"/>
                <a:gd name="T95" fmla="*/ 254 h 1311"/>
                <a:gd name="T96" fmla="*/ 745 w 1154"/>
                <a:gd name="T97" fmla="*/ 220 h 1311"/>
                <a:gd name="T98" fmla="*/ 777 w 1154"/>
                <a:gd name="T99" fmla="*/ 218 h 1311"/>
                <a:gd name="T100" fmla="*/ 815 w 1154"/>
                <a:gd name="T101" fmla="*/ 189 h 1311"/>
                <a:gd name="T102" fmla="*/ 814 w 1154"/>
                <a:gd name="T103" fmla="*/ 142 h 1311"/>
                <a:gd name="T104" fmla="*/ 833 w 1154"/>
                <a:gd name="T105" fmla="*/ 136 h 1311"/>
                <a:gd name="T106" fmla="*/ 869 w 1154"/>
                <a:gd name="T107" fmla="*/ 136 h 1311"/>
                <a:gd name="T108" fmla="*/ 896 w 1154"/>
                <a:gd name="T109" fmla="*/ 135 h 1311"/>
                <a:gd name="T110" fmla="*/ 915 w 1154"/>
                <a:gd name="T111" fmla="*/ 166 h 1311"/>
                <a:gd name="T112" fmla="*/ 975 w 1154"/>
                <a:gd name="T113" fmla="*/ 158 h 1311"/>
                <a:gd name="T114" fmla="*/ 1021 w 1154"/>
                <a:gd name="T115" fmla="*/ 116 h 1311"/>
                <a:gd name="T116" fmla="*/ 1040 w 1154"/>
                <a:gd name="T117" fmla="*/ 78 h 1311"/>
                <a:gd name="T118" fmla="*/ 1092 w 1154"/>
                <a:gd name="T119" fmla="*/ 84 h 1311"/>
                <a:gd name="T120" fmla="*/ 1110 w 1154"/>
                <a:gd name="T121" fmla="*/ 56 h 1311"/>
                <a:gd name="T122" fmla="*/ 1145 w 1154"/>
                <a:gd name="T123" fmla="*/ 20 h 1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4" h="1311">
                  <a:moveTo>
                    <a:pt x="497" y="1246"/>
                  </a:moveTo>
                  <a:lnTo>
                    <a:pt x="497" y="1246"/>
                  </a:lnTo>
                  <a:lnTo>
                    <a:pt x="496" y="1245"/>
                  </a:lnTo>
                  <a:lnTo>
                    <a:pt x="495" y="1245"/>
                  </a:lnTo>
                  <a:lnTo>
                    <a:pt x="491" y="1246"/>
                  </a:lnTo>
                  <a:lnTo>
                    <a:pt x="487" y="1246"/>
                  </a:lnTo>
                  <a:lnTo>
                    <a:pt x="483" y="1248"/>
                  </a:lnTo>
                  <a:lnTo>
                    <a:pt x="481" y="1249"/>
                  </a:lnTo>
                  <a:lnTo>
                    <a:pt x="473" y="1253"/>
                  </a:lnTo>
                  <a:lnTo>
                    <a:pt x="466" y="1257"/>
                  </a:lnTo>
                  <a:lnTo>
                    <a:pt x="462" y="1258"/>
                  </a:lnTo>
                  <a:lnTo>
                    <a:pt x="460" y="1260"/>
                  </a:lnTo>
                  <a:lnTo>
                    <a:pt x="460" y="1261"/>
                  </a:lnTo>
                  <a:lnTo>
                    <a:pt x="459" y="1262"/>
                  </a:lnTo>
                  <a:lnTo>
                    <a:pt x="458" y="1264"/>
                  </a:lnTo>
                  <a:lnTo>
                    <a:pt x="457" y="1266"/>
                  </a:lnTo>
                  <a:lnTo>
                    <a:pt x="455" y="1271"/>
                  </a:lnTo>
                  <a:lnTo>
                    <a:pt x="453" y="1276"/>
                  </a:lnTo>
                  <a:lnTo>
                    <a:pt x="451" y="1279"/>
                  </a:lnTo>
                  <a:lnTo>
                    <a:pt x="450" y="1280"/>
                  </a:lnTo>
                  <a:lnTo>
                    <a:pt x="449" y="1283"/>
                  </a:lnTo>
                  <a:lnTo>
                    <a:pt x="447" y="1287"/>
                  </a:lnTo>
                  <a:lnTo>
                    <a:pt x="446" y="1288"/>
                  </a:lnTo>
                  <a:lnTo>
                    <a:pt x="445" y="1289"/>
                  </a:lnTo>
                  <a:lnTo>
                    <a:pt x="444" y="1289"/>
                  </a:lnTo>
                  <a:lnTo>
                    <a:pt x="443" y="1290"/>
                  </a:lnTo>
                  <a:lnTo>
                    <a:pt x="438" y="1291"/>
                  </a:lnTo>
                  <a:lnTo>
                    <a:pt x="437" y="1291"/>
                  </a:lnTo>
                  <a:lnTo>
                    <a:pt x="435" y="1292"/>
                  </a:lnTo>
                  <a:lnTo>
                    <a:pt x="431" y="1295"/>
                  </a:lnTo>
                  <a:lnTo>
                    <a:pt x="428" y="1297"/>
                  </a:lnTo>
                  <a:lnTo>
                    <a:pt x="426" y="1298"/>
                  </a:lnTo>
                  <a:lnTo>
                    <a:pt x="425" y="1299"/>
                  </a:lnTo>
                  <a:lnTo>
                    <a:pt x="423" y="1300"/>
                  </a:lnTo>
                  <a:lnTo>
                    <a:pt x="420" y="1300"/>
                  </a:lnTo>
                  <a:lnTo>
                    <a:pt x="410" y="1301"/>
                  </a:lnTo>
                  <a:lnTo>
                    <a:pt x="408" y="1302"/>
                  </a:lnTo>
                  <a:lnTo>
                    <a:pt x="406" y="1303"/>
                  </a:lnTo>
                  <a:lnTo>
                    <a:pt x="403" y="1303"/>
                  </a:lnTo>
                  <a:lnTo>
                    <a:pt x="403" y="1304"/>
                  </a:lnTo>
                  <a:lnTo>
                    <a:pt x="398" y="1307"/>
                  </a:lnTo>
                  <a:lnTo>
                    <a:pt x="396" y="1309"/>
                  </a:lnTo>
                  <a:lnTo>
                    <a:pt x="394" y="1310"/>
                  </a:lnTo>
                  <a:lnTo>
                    <a:pt x="392" y="1310"/>
                  </a:lnTo>
                  <a:lnTo>
                    <a:pt x="389" y="1311"/>
                  </a:lnTo>
                  <a:lnTo>
                    <a:pt x="387" y="1311"/>
                  </a:lnTo>
                  <a:lnTo>
                    <a:pt x="384" y="1311"/>
                  </a:lnTo>
                  <a:lnTo>
                    <a:pt x="382" y="1311"/>
                  </a:lnTo>
                  <a:lnTo>
                    <a:pt x="380" y="1310"/>
                  </a:lnTo>
                  <a:lnTo>
                    <a:pt x="378" y="1309"/>
                  </a:lnTo>
                  <a:lnTo>
                    <a:pt x="375" y="1308"/>
                  </a:lnTo>
                  <a:lnTo>
                    <a:pt x="370" y="1306"/>
                  </a:lnTo>
                  <a:lnTo>
                    <a:pt x="369" y="1306"/>
                  </a:lnTo>
                  <a:lnTo>
                    <a:pt x="368" y="1305"/>
                  </a:lnTo>
                  <a:lnTo>
                    <a:pt x="367" y="1304"/>
                  </a:lnTo>
                  <a:lnTo>
                    <a:pt x="365" y="1303"/>
                  </a:lnTo>
                  <a:lnTo>
                    <a:pt x="364" y="1302"/>
                  </a:lnTo>
                  <a:lnTo>
                    <a:pt x="363" y="1301"/>
                  </a:lnTo>
                  <a:lnTo>
                    <a:pt x="359" y="1299"/>
                  </a:lnTo>
                  <a:lnTo>
                    <a:pt x="358" y="1297"/>
                  </a:lnTo>
                  <a:lnTo>
                    <a:pt x="351" y="1292"/>
                  </a:lnTo>
                  <a:lnTo>
                    <a:pt x="350" y="1292"/>
                  </a:lnTo>
                  <a:lnTo>
                    <a:pt x="348" y="1291"/>
                  </a:lnTo>
                  <a:lnTo>
                    <a:pt x="347" y="1291"/>
                  </a:lnTo>
                  <a:lnTo>
                    <a:pt x="346" y="1291"/>
                  </a:lnTo>
                  <a:lnTo>
                    <a:pt x="344" y="1291"/>
                  </a:lnTo>
                  <a:lnTo>
                    <a:pt x="341" y="1291"/>
                  </a:lnTo>
                  <a:lnTo>
                    <a:pt x="339" y="1292"/>
                  </a:lnTo>
                  <a:lnTo>
                    <a:pt x="333" y="1295"/>
                  </a:lnTo>
                  <a:lnTo>
                    <a:pt x="330" y="1297"/>
                  </a:lnTo>
                  <a:lnTo>
                    <a:pt x="329" y="1297"/>
                  </a:lnTo>
                  <a:lnTo>
                    <a:pt x="327" y="1298"/>
                  </a:lnTo>
                  <a:lnTo>
                    <a:pt x="326" y="1298"/>
                  </a:lnTo>
                  <a:lnTo>
                    <a:pt x="324" y="1298"/>
                  </a:lnTo>
                  <a:lnTo>
                    <a:pt x="322" y="1298"/>
                  </a:lnTo>
                  <a:lnTo>
                    <a:pt x="321" y="1297"/>
                  </a:lnTo>
                  <a:lnTo>
                    <a:pt x="320" y="1297"/>
                  </a:lnTo>
                  <a:lnTo>
                    <a:pt x="319" y="1296"/>
                  </a:lnTo>
                  <a:lnTo>
                    <a:pt x="313" y="1291"/>
                  </a:lnTo>
                  <a:lnTo>
                    <a:pt x="312" y="1290"/>
                  </a:lnTo>
                  <a:lnTo>
                    <a:pt x="311" y="1290"/>
                  </a:lnTo>
                  <a:lnTo>
                    <a:pt x="310" y="1289"/>
                  </a:lnTo>
                  <a:lnTo>
                    <a:pt x="308" y="1289"/>
                  </a:lnTo>
                  <a:lnTo>
                    <a:pt x="307" y="1289"/>
                  </a:lnTo>
                  <a:lnTo>
                    <a:pt x="306" y="1289"/>
                  </a:lnTo>
                  <a:lnTo>
                    <a:pt x="304" y="1290"/>
                  </a:lnTo>
                  <a:lnTo>
                    <a:pt x="300" y="1291"/>
                  </a:lnTo>
                  <a:lnTo>
                    <a:pt x="296" y="1293"/>
                  </a:lnTo>
                  <a:lnTo>
                    <a:pt x="286" y="1295"/>
                  </a:lnTo>
                  <a:lnTo>
                    <a:pt x="278" y="1298"/>
                  </a:lnTo>
                  <a:lnTo>
                    <a:pt x="275" y="1299"/>
                  </a:lnTo>
                  <a:lnTo>
                    <a:pt x="272" y="1299"/>
                  </a:lnTo>
                  <a:lnTo>
                    <a:pt x="269" y="1299"/>
                  </a:lnTo>
                  <a:lnTo>
                    <a:pt x="268" y="1299"/>
                  </a:lnTo>
                  <a:lnTo>
                    <a:pt x="267" y="1299"/>
                  </a:lnTo>
                  <a:lnTo>
                    <a:pt x="267" y="1298"/>
                  </a:lnTo>
                  <a:lnTo>
                    <a:pt x="266" y="1298"/>
                  </a:lnTo>
                  <a:lnTo>
                    <a:pt x="267" y="1297"/>
                  </a:lnTo>
                  <a:lnTo>
                    <a:pt x="267" y="1295"/>
                  </a:lnTo>
                  <a:lnTo>
                    <a:pt x="267" y="1291"/>
                  </a:lnTo>
                  <a:lnTo>
                    <a:pt x="267" y="1288"/>
                  </a:lnTo>
                  <a:lnTo>
                    <a:pt x="267" y="1283"/>
                  </a:lnTo>
                  <a:lnTo>
                    <a:pt x="267" y="1280"/>
                  </a:lnTo>
                  <a:lnTo>
                    <a:pt x="267" y="1278"/>
                  </a:lnTo>
                  <a:lnTo>
                    <a:pt x="266" y="1275"/>
                  </a:lnTo>
                  <a:lnTo>
                    <a:pt x="265" y="1271"/>
                  </a:lnTo>
                  <a:lnTo>
                    <a:pt x="264" y="1269"/>
                  </a:lnTo>
                  <a:lnTo>
                    <a:pt x="263" y="1266"/>
                  </a:lnTo>
                  <a:lnTo>
                    <a:pt x="261" y="1264"/>
                  </a:lnTo>
                  <a:lnTo>
                    <a:pt x="260" y="1262"/>
                  </a:lnTo>
                  <a:lnTo>
                    <a:pt x="259" y="1261"/>
                  </a:lnTo>
                  <a:lnTo>
                    <a:pt x="256" y="1259"/>
                  </a:lnTo>
                  <a:lnTo>
                    <a:pt x="255" y="1257"/>
                  </a:lnTo>
                  <a:lnTo>
                    <a:pt x="251" y="1256"/>
                  </a:lnTo>
                  <a:lnTo>
                    <a:pt x="250" y="1256"/>
                  </a:lnTo>
                  <a:lnTo>
                    <a:pt x="250" y="1255"/>
                  </a:lnTo>
                  <a:lnTo>
                    <a:pt x="249" y="1254"/>
                  </a:lnTo>
                  <a:lnTo>
                    <a:pt x="249" y="1253"/>
                  </a:lnTo>
                  <a:lnTo>
                    <a:pt x="249" y="1252"/>
                  </a:lnTo>
                  <a:lnTo>
                    <a:pt x="249" y="1249"/>
                  </a:lnTo>
                  <a:lnTo>
                    <a:pt x="248" y="1239"/>
                  </a:lnTo>
                  <a:lnTo>
                    <a:pt x="248" y="1236"/>
                  </a:lnTo>
                  <a:lnTo>
                    <a:pt x="249" y="1231"/>
                  </a:lnTo>
                  <a:lnTo>
                    <a:pt x="250" y="1222"/>
                  </a:lnTo>
                  <a:lnTo>
                    <a:pt x="250" y="1217"/>
                  </a:lnTo>
                  <a:lnTo>
                    <a:pt x="251" y="1213"/>
                  </a:lnTo>
                  <a:lnTo>
                    <a:pt x="253" y="1203"/>
                  </a:lnTo>
                  <a:lnTo>
                    <a:pt x="254" y="1200"/>
                  </a:lnTo>
                  <a:lnTo>
                    <a:pt x="255" y="1197"/>
                  </a:lnTo>
                  <a:lnTo>
                    <a:pt x="255" y="1193"/>
                  </a:lnTo>
                  <a:lnTo>
                    <a:pt x="255" y="1188"/>
                  </a:lnTo>
                  <a:lnTo>
                    <a:pt x="255" y="1182"/>
                  </a:lnTo>
                  <a:lnTo>
                    <a:pt x="255" y="1179"/>
                  </a:lnTo>
                  <a:lnTo>
                    <a:pt x="254" y="1177"/>
                  </a:lnTo>
                  <a:lnTo>
                    <a:pt x="253" y="1176"/>
                  </a:lnTo>
                  <a:lnTo>
                    <a:pt x="252" y="1174"/>
                  </a:lnTo>
                  <a:lnTo>
                    <a:pt x="251" y="1173"/>
                  </a:lnTo>
                  <a:lnTo>
                    <a:pt x="250" y="1172"/>
                  </a:lnTo>
                  <a:lnTo>
                    <a:pt x="248" y="1170"/>
                  </a:lnTo>
                  <a:lnTo>
                    <a:pt x="246" y="1169"/>
                  </a:lnTo>
                  <a:lnTo>
                    <a:pt x="244" y="1167"/>
                  </a:lnTo>
                  <a:lnTo>
                    <a:pt x="241" y="1167"/>
                  </a:lnTo>
                  <a:lnTo>
                    <a:pt x="239" y="1167"/>
                  </a:lnTo>
                  <a:lnTo>
                    <a:pt x="236" y="1166"/>
                  </a:lnTo>
                  <a:lnTo>
                    <a:pt x="233" y="1166"/>
                  </a:lnTo>
                  <a:lnTo>
                    <a:pt x="228" y="1166"/>
                  </a:lnTo>
                  <a:lnTo>
                    <a:pt x="225" y="1166"/>
                  </a:lnTo>
                  <a:lnTo>
                    <a:pt x="223" y="1166"/>
                  </a:lnTo>
                  <a:lnTo>
                    <a:pt x="222" y="1165"/>
                  </a:lnTo>
                  <a:lnTo>
                    <a:pt x="221" y="1165"/>
                  </a:lnTo>
                  <a:lnTo>
                    <a:pt x="221" y="1164"/>
                  </a:lnTo>
                  <a:lnTo>
                    <a:pt x="221" y="1163"/>
                  </a:lnTo>
                  <a:lnTo>
                    <a:pt x="220" y="1163"/>
                  </a:lnTo>
                  <a:lnTo>
                    <a:pt x="220" y="1162"/>
                  </a:lnTo>
                  <a:lnTo>
                    <a:pt x="220" y="1161"/>
                  </a:lnTo>
                  <a:lnTo>
                    <a:pt x="221" y="1159"/>
                  </a:lnTo>
                  <a:lnTo>
                    <a:pt x="221" y="1157"/>
                  </a:lnTo>
                  <a:lnTo>
                    <a:pt x="221" y="1155"/>
                  </a:lnTo>
                  <a:lnTo>
                    <a:pt x="221" y="1155"/>
                  </a:lnTo>
                  <a:lnTo>
                    <a:pt x="220" y="1154"/>
                  </a:lnTo>
                  <a:lnTo>
                    <a:pt x="218" y="1153"/>
                  </a:lnTo>
                  <a:lnTo>
                    <a:pt x="216" y="1151"/>
                  </a:lnTo>
                  <a:lnTo>
                    <a:pt x="212" y="1149"/>
                  </a:lnTo>
                  <a:lnTo>
                    <a:pt x="210" y="1148"/>
                  </a:lnTo>
                  <a:lnTo>
                    <a:pt x="210" y="1146"/>
                  </a:lnTo>
                  <a:lnTo>
                    <a:pt x="209" y="1145"/>
                  </a:lnTo>
                  <a:lnTo>
                    <a:pt x="210" y="1145"/>
                  </a:lnTo>
                  <a:lnTo>
                    <a:pt x="210" y="1144"/>
                  </a:lnTo>
                  <a:lnTo>
                    <a:pt x="210" y="1144"/>
                  </a:lnTo>
                  <a:lnTo>
                    <a:pt x="211" y="1144"/>
                  </a:lnTo>
                  <a:lnTo>
                    <a:pt x="217" y="1144"/>
                  </a:lnTo>
                  <a:lnTo>
                    <a:pt x="219" y="1144"/>
                  </a:lnTo>
                  <a:lnTo>
                    <a:pt x="220" y="1143"/>
                  </a:lnTo>
                  <a:lnTo>
                    <a:pt x="221" y="1143"/>
                  </a:lnTo>
                  <a:lnTo>
                    <a:pt x="222" y="1142"/>
                  </a:lnTo>
                  <a:lnTo>
                    <a:pt x="223" y="1141"/>
                  </a:lnTo>
                  <a:lnTo>
                    <a:pt x="224" y="1140"/>
                  </a:lnTo>
                  <a:lnTo>
                    <a:pt x="224" y="1139"/>
                  </a:lnTo>
                  <a:lnTo>
                    <a:pt x="224" y="1137"/>
                  </a:lnTo>
                  <a:lnTo>
                    <a:pt x="224" y="1135"/>
                  </a:lnTo>
                  <a:lnTo>
                    <a:pt x="223" y="1133"/>
                  </a:lnTo>
                  <a:lnTo>
                    <a:pt x="222" y="1132"/>
                  </a:lnTo>
                  <a:lnTo>
                    <a:pt x="221" y="1130"/>
                  </a:lnTo>
                  <a:lnTo>
                    <a:pt x="220" y="1128"/>
                  </a:lnTo>
                  <a:lnTo>
                    <a:pt x="216" y="1124"/>
                  </a:lnTo>
                  <a:lnTo>
                    <a:pt x="215" y="1123"/>
                  </a:lnTo>
                  <a:lnTo>
                    <a:pt x="214" y="1122"/>
                  </a:lnTo>
                  <a:lnTo>
                    <a:pt x="214" y="1121"/>
                  </a:lnTo>
                  <a:lnTo>
                    <a:pt x="213" y="1120"/>
                  </a:lnTo>
                  <a:lnTo>
                    <a:pt x="213" y="1118"/>
                  </a:lnTo>
                  <a:lnTo>
                    <a:pt x="213" y="1116"/>
                  </a:lnTo>
                  <a:lnTo>
                    <a:pt x="214" y="1115"/>
                  </a:lnTo>
                  <a:lnTo>
                    <a:pt x="215" y="1114"/>
                  </a:lnTo>
                  <a:lnTo>
                    <a:pt x="216" y="1113"/>
                  </a:lnTo>
                  <a:lnTo>
                    <a:pt x="225" y="1109"/>
                  </a:lnTo>
                  <a:lnTo>
                    <a:pt x="228" y="1108"/>
                  </a:lnTo>
                  <a:lnTo>
                    <a:pt x="230" y="1107"/>
                  </a:lnTo>
                  <a:lnTo>
                    <a:pt x="231" y="1105"/>
                  </a:lnTo>
                  <a:lnTo>
                    <a:pt x="232" y="1104"/>
                  </a:lnTo>
                  <a:lnTo>
                    <a:pt x="232" y="1103"/>
                  </a:lnTo>
                  <a:lnTo>
                    <a:pt x="232" y="1102"/>
                  </a:lnTo>
                  <a:lnTo>
                    <a:pt x="232" y="1101"/>
                  </a:lnTo>
                  <a:lnTo>
                    <a:pt x="231" y="1100"/>
                  </a:lnTo>
                  <a:lnTo>
                    <a:pt x="230" y="1099"/>
                  </a:lnTo>
                  <a:lnTo>
                    <a:pt x="228" y="1099"/>
                  </a:lnTo>
                  <a:lnTo>
                    <a:pt x="227" y="1099"/>
                  </a:lnTo>
                  <a:lnTo>
                    <a:pt x="225" y="1099"/>
                  </a:lnTo>
                  <a:lnTo>
                    <a:pt x="221" y="1098"/>
                  </a:lnTo>
                  <a:lnTo>
                    <a:pt x="219" y="1097"/>
                  </a:lnTo>
                  <a:lnTo>
                    <a:pt x="216" y="1097"/>
                  </a:lnTo>
                  <a:lnTo>
                    <a:pt x="213" y="1098"/>
                  </a:lnTo>
                  <a:lnTo>
                    <a:pt x="208" y="1099"/>
                  </a:lnTo>
                  <a:lnTo>
                    <a:pt x="206" y="1099"/>
                  </a:lnTo>
                  <a:lnTo>
                    <a:pt x="205" y="1099"/>
                  </a:lnTo>
                  <a:lnTo>
                    <a:pt x="204" y="1099"/>
                  </a:lnTo>
                  <a:lnTo>
                    <a:pt x="202" y="1098"/>
                  </a:lnTo>
                  <a:lnTo>
                    <a:pt x="202" y="1097"/>
                  </a:lnTo>
                  <a:lnTo>
                    <a:pt x="201" y="1096"/>
                  </a:lnTo>
                  <a:lnTo>
                    <a:pt x="200" y="1094"/>
                  </a:lnTo>
                  <a:lnTo>
                    <a:pt x="200" y="1093"/>
                  </a:lnTo>
                  <a:lnTo>
                    <a:pt x="200" y="1091"/>
                  </a:lnTo>
                  <a:lnTo>
                    <a:pt x="200" y="1089"/>
                  </a:lnTo>
                  <a:lnTo>
                    <a:pt x="200" y="1087"/>
                  </a:lnTo>
                  <a:lnTo>
                    <a:pt x="200" y="1084"/>
                  </a:lnTo>
                  <a:lnTo>
                    <a:pt x="201" y="1082"/>
                  </a:lnTo>
                  <a:lnTo>
                    <a:pt x="201" y="1080"/>
                  </a:lnTo>
                  <a:lnTo>
                    <a:pt x="203" y="1077"/>
                  </a:lnTo>
                  <a:lnTo>
                    <a:pt x="206" y="1074"/>
                  </a:lnTo>
                  <a:lnTo>
                    <a:pt x="212" y="1065"/>
                  </a:lnTo>
                  <a:lnTo>
                    <a:pt x="215" y="1062"/>
                  </a:lnTo>
                  <a:lnTo>
                    <a:pt x="217" y="1060"/>
                  </a:lnTo>
                  <a:lnTo>
                    <a:pt x="219" y="1057"/>
                  </a:lnTo>
                  <a:lnTo>
                    <a:pt x="221" y="1055"/>
                  </a:lnTo>
                  <a:lnTo>
                    <a:pt x="223" y="1054"/>
                  </a:lnTo>
                  <a:lnTo>
                    <a:pt x="225" y="1052"/>
                  </a:lnTo>
                  <a:lnTo>
                    <a:pt x="228" y="1050"/>
                  </a:lnTo>
                  <a:lnTo>
                    <a:pt x="232" y="1048"/>
                  </a:lnTo>
                  <a:lnTo>
                    <a:pt x="234" y="1047"/>
                  </a:lnTo>
                  <a:lnTo>
                    <a:pt x="237" y="1045"/>
                  </a:lnTo>
                  <a:lnTo>
                    <a:pt x="241" y="1044"/>
                  </a:lnTo>
                  <a:lnTo>
                    <a:pt x="243" y="1043"/>
                  </a:lnTo>
                  <a:lnTo>
                    <a:pt x="244" y="1042"/>
                  </a:lnTo>
                  <a:lnTo>
                    <a:pt x="247" y="1042"/>
                  </a:lnTo>
                  <a:lnTo>
                    <a:pt x="249" y="1042"/>
                  </a:lnTo>
                  <a:lnTo>
                    <a:pt x="250" y="1042"/>
                  </a:lnTo>
                  <a:lnTo>
                    <a:pt x="251" y="1043"/>
                  </a:lnTo>
                  <a:lnTo>
                    <a:pt x="253" y="1044"/>
                  </a:lnTo>
                  <a:lnTo>
                    <a:pt x="259" y="1048"/>
                  </a:lnTo>
                  <a:lnTo>
                    <a:pt x="261" y="1049"/>
                  </a:lnTo>
                  <a:lnTo>
                    <a:pt x="263" y="1050"/>
                  </a:lnTo>
                  <a:lnTo>
                    <a:pt x="265" y="1050"/>
                  </a:lnTo>
                  <a:lnTo>
                    <a:pt x="266" y="1050"/>
                  </a:lnTo>
                  <a:lnTo>
                    <a:pt x="267" y="1050"/>
                  </a:lnTo>
                  <a:lnTo>
                    <a:pt x="268" y="1050"/>
                  </a:lnTo>
                  <a:lnTo>
                    <a:pt x="269" y="1049"/>
                  </a:lnTo>
                  <a:lnTo>
                    <a:pt x="271" y="1048"/>
                  </a:lnTo>
                  <a:lnTo>
                    <a:pt x="272" y="1047"/>
                  </a:lnTo>
                  <a:lnTo>
                    <a:pt x="274" y="1045"/>
                  </a:lnTo>
                  <a:lnTo>
                    <a:pt x="276" y="1043"/>
                  </a:lnTo>
                  <a:lnTo>
                    <a:pt x="280" y="1037"/>
                  </a:lnTo>
                  <a:lnTo>
                    <a:pt x="282" y="1034"/>
                  </a:lnTo>
                  <a:lnTo>
                    <a:pt x="284" y="1032"/>
                  </a:lnTo>
                  <a:lnTo>
                    <a:pt x="287" y="1031"/>
                  </a:lnTo>
                  <a:lnTo>
                    <a:pt x="294" y="1024"/>
                  </a:lnTo>
                  <a:lnTo>
                    <a:pt x="298" y="1020"/>
                  </a:lnTo>
                  <a:lnTo>
                    <a:pt x="299" y="1020"/>
                  </a:lnTo>
                  <a:lnTo>
                    <a:pt x="300" y="1019"/>
                  </a:lnTo>
                  <a:lnTo>
                    <a:pt x="301" y="1017"/>
                  </a:lnTo>
                  <a:lnTo>
                    <a:pt x="301" y="1016"/>
                  </a:lnTo>
                  <a:lnTo>
                    <a:pt x="301" y="1014"/>
                  </a:lnTo>
                  <a:lnTo>
                    <a:pt x="301" y="1013"/>
                  </a:lnTo>
                  <a:lnTo>
                    <a:pt x="301" y="1011"/>
                  </a:lnTo>
                  <a:lnTo>
                    <a:pt x="301" y="1009"/>
                  </a:lnTo>
                  <a:lnTo>
                    <a:pt x="299" y="1008"/>
                  </a:lnTo>
                  <a:lnTo>
                    <a:pt x="298" y="1007"/>
                  </a:lnTo>
                  <a:lnTo>
                    <a:pt x="296" y="1006"/>
                  </a:lnTo>
                  <a:lnTo>
                    <a:pt x="293" y="1004"/>
                  </a:lnTo>
                  <a:lnTo>
                    <a:pt x="291" y="1002"/>
                  </a:lnTo>
                  <a:lnTo>
                    <a:pt x="290" y="1001"/>
                  </a:lnTo>
                  <a:lnTo>
                    <a:pt x="290" y="998"/>
                  </a:lnTo>
                  <a:lnTo>
                    <a:pt x="290" y="997"/>
                  </a:lnTo>
                  <a:lnTo>
                    <a:pt x="292" y="993"/>
                  </a:lnTo>
                  <a:lnTo>
                    <a:pt x="292" y="990"/>
                  </a:lnTo>
                  <a:lnTo>
                    <a:pt x="293" y="987"/>
                  </a:lnTo>
                  <a:lnTo>
                    <a:pt x="293" y="985"/>
                  </a:lnTo>
                  <a:lnTo>
                    <a:pt x="293" y="982"/>
                  </a:lnTo>
                  <a:lnTo>
                    <a:pt x="293" y="979"/>
                  </a:lnTo>
                  <a:lnTo>
                    <a:pt x="293" y="973"/>
                  </a:lnTo>
                  <a:lnTo>
                    <a:pt x="294" y="969"/>
                  </a:lnTo>
                  <a:lnTo>
                    <a:pt x="294" y="966"/>
                  </a:lnTo>
                  <a:lnTo>
                    <a:pt x="294" y="964"/>
                  </a:lnTo>
                  <a:lnTo>
                    <a:pt x="294" y="963"/>
                  </a:lnTo>
                  <a:lnTo>
                    <a:pt x="295" y="961"/>
                  </a:lnTo>
                  <a:lnTo>
                    <a:pt x="298" y="953"/>
                  </a:lnTo>
                  <a:lnTo>
                    <a:pt x="299" y="950"/>
                  </a:lnTo>
                  <a:lnTo>
                    <a:pt x="300" y="946"/>
                  </a:lnTo>
                  <a:lnTo>
                    <a:pt x="301" y="944"/>
                  </a:lnTo>
                  <a:lnTo>
                    <a:pt x="301" y="941"/>
                  </a:lnTo>
                  <a:lnTo>
                    <a:pt x="301" y="939"/>
                  </a:lnTo>
                  <a:lnTo>
                    <a:pt x="301" y="936"/>
                  </a:lnTo>
                  <a:lnTo>
                    <a:pt x="300" y="929"/>
                  </a:lnTo>
                  <a:lnTo>
                    <a:pt x="300" y="925"/>
                  </a:lnTo>
                  <a:lnTo>
                    <a:pt x="300" y="922"/>
                  </a:lnTo>
                  <a:lnTo>
                    <a:pt x="301" y="911"/>
                  </a:lnTo>
                  <a:lnTo>
                    <a:pt x="301" y="908"/>
                  </a:lnTo>
                  <a:lnTo>
                    <a:pt x="302" y="906"/>
                  </a:lnTo>
                  <a:lnTo>
                    <a:pt x="305" y="898"/>
                  </a:lnTo>
                  <a:lnTo>
                    <a:pt x="307" y="892"/>
                  </a:lnTo>
                  <a:lnTo>
                    <a:pt x="308" y="889"/>
                  </a:lnTo>
                  <a:lnTo>
                    <a:pt x="309" y="887"/>
                  </a:lnTo>
                  <a:lnTo>
                    <a:pt x="310" y="885"/>
                  </a:lnTo>
                  <a:lnTo>
                    <a:pt x="312" y="884"/>
                  </a:lnTo>
                  <a:lnTo>
                    <a:pt x="312" y="883"/>
                  </a:lnTo>
                  <a:lnTo>
                    <a:pt x="317" y="879"/>
                  </a:lnTo>
                  <a:lnTo>
                    <a:pt x="318" y="877"/>
                  </a:lnTo>
                  <a:lnTo>
                    <a:pt x="319" y="876"/>
                  </a:lnTo>
                  <a:lnTo>
                    <a:pt x="320" y="874"/>
                  </a:lnTo>
                  <a:lnTo>
                    <a:pt x="320" y="873"/>
                  </a:lnTo>
                  <a:lnTo>
                    <a:pt x="321" y="872"/>
                  </a:lnTo>
                  <a:lnTo>
                    <a:pt x="321" y="869"/>
                  </a:lnTo>
                  <a:lnTo>
                    <a:pt x="321" y="866"/>
                  </a:lnTo>
                  <a:lnTo>
                    <a:pt x="320" y="856"/>
                  </a:lnTo>
                  <a:lnTo>
                    <a:pt x="320" y="852"/>
                  </a:lnTo>
                  <a:lnTo>
                    <a:pt x="319" y="842"/>
                  </a:lnTo>
                  <a:lnTo>
                    <a:pt x="318" y="833"/>
                  </a:lnTo>
                  <a:lnTo>
                    <a:pt x="318" y="829"/>
                  </a:lnTo>
                  <a:lnTo>
                    <a:pt x="317" y="816"/>
                  </a:lnTo>
                  <a:lnTo>
                    <a:pt x="317" y="816"/>
                  </a:lnTo>
                  <a:lnTo>
                    <a:pt x="317" y="814"/>
                  </a:lnTo>
                  <a:lnTo>
                    <a:pt x="316" y="813"/>
                  </a:lnTo>
                  <a:lnTo>
                    <a:pt x="315" y="812"/>
                  </a:lnTo>
                  <a:lnTo>
                    <a:pt x="314" y="811"/>
                  </a:lnTo>
                  <a:lnTo>
                    <a:pt x="312" y="810"/>
                  </a:lnTo>
                  <a:lnTo>
                    <a:pt x="296" y="801"/>
                  </a:lnTo>
                  <a:lnTo>
                    <a:pt x="290" y="798"/>
                  </a:lnTo>
                  <a:lnTo>
                    <a:pt x="286" y="796"/>
                  </a:lnTo>
                  <a:lnTo>
                    <a:pt x="280" y="794"/>
                  </a:lnTo>
                  <a:lnTo>
                    <a:pt x="274" y="793"/>
                  </a:lnTo>
                  <a:lnTo>
                    <a:pt x="267" y="792"/>
                  </a:lnTo>
                  <a:lnTo>
                    <a:pt x="266" y="791"/>
                  </a:lnTo>
                  <a:lnTo>
                    <a:pt x="265" y="790"/>
                  </a:lnTo>
                  <a:lnTo>
                    <a:pt x="264" y="789"/>
                  </a:lnTo>
                  <a:lnTo>
                    <a:pt x="263" y="789"/>
                  </a:lnTo>
                  <a:lnTo>
                    <a:pt x="263" y="788"/>
                  </a:lnTo>
                  <a:lnTo>
                    <a:pt x="262" y="787"/>
                  </a:lnTo>
                  <a:lnTo>
                    <a:pt x="262" y="785"/>
                  </a:lnTo>
                  <a:lnTo>
                    <a:pt x="261" y="778"/>
                  </a:lnTo>
                  <a:lnTo>
                    <a:pt x="260" y="776"/>
                  </a:lnTo>
                  <a:lnTo>
                    <a:pt x="259" y="775"/>
                  </a:lnTo>
                  <a:lnTo>
                    <a:pt x="259" y="773"/>
                  </a:lnTo>
                  <a:lnTo>
                    <a:pt x="258" y="772"/>
                  </a:lnTo>
                  <a:lnTo>
                    <a:pt x="257" y="770"/>
                  </a:lnTo>
                  <a:lnTo>
                    <a:pt x="256" y="770"/>
                  </a:lnTo>
                  <a:lnTo>
                    <a:pt x="255" y="769"/>
                  </a:lnTo>
                  <a:lnTo>
                    <a:pt x="253" y="767"/>
                  </a:lnTo>
                  <a:lnTo>
                    <a:pt x="250" y="766"/>
                  </a:lnTo>
                  <a:lnTo>
                    <a:pt x="247" y="765"/>
                  </a:lnTo>
                  <a:lnTo>
                    <a:pt x="245" y="764"/>
                  </a:lnTo>
                  <a:lnTo>
                    <a:pt x="243" y="764"/>
                  </a:lnTo>
                  <a:lnTo>
                    <a:pt x="234" y="762"/>
                  </a:lnTo>
                  <a:lnTo>
                    <a:pt x="233" y="762"/>
                  </a:lnTo>
                  <a:lnTo>
                    <a:pt x="230" y="761"/>
                  </a:lnTo>
                  <a:lnTo>
                    <a:pt x="228" y="759"/>
                  </a:lnTo>
                  <a:lnTo>
                    <a:pt x="225" y="759"/>
                  </a:lnTo>
                  <a:lnTo>
                    <a:pt x="219" y="751"/>
                  </a:lnTo>
                  <a:lnTo>
                    <a:pt x="212" y="747"/>
                  </a:lnTo>
                  <a:lnTo>
                    <a:pt x="210" y="744"/>
                  </a:lnTo>
                  <a:lnTo>
                    <a:pt x="206" y="740"/>
                  </a:lnTo>
                  <a:lnTo>
                    <a:pt x="200" y="733"/>
                  </a:lnTo>
                  <a:lnTo>
                    <a:pt x="198" y="730"/>
                  </a:lnTo>
                  <a:lnTo>
                    <a:pt x="196" y="728"/>
                  </a:lnTo>
                  <a:lnTo>
                    <a:pt x="195" y="727"/>
                  </a:lnTo>
                  <a:lnTo>
                    <a:pt x="193" y="726"/>
                  </a:lnTo>
                  <a:lnTo>
                    <a:pt x="191" y="725"/>
                  </a:lnTo>
                  <a:lnTo>
                    <a:pt x="188" y="725"/>
                  </a:lnTo>
                  <a:lnTo>
                    <a:pt x="186" y="724"/>
                  </a:lnTo>
                  <a:lnTo>
                    <a:pt x="183" y="724"/>
                  </a:lnTo>
                  <a:lnTo>
                    <a:pt x="180" y="724"/>
                  </a:lnTo>
                  <a:lnTo>
                    <a:pt x="177" y="724"/>
                  </a:lnTo>
                  <a:lnTo>
                    <a:pt x="175" y="724"/>
                  </a:lnTo>
                  <a:lnTo>
                    <a:pt x="165" y="726"/>
                  </a:lnTo>
                  <a:lnTo>
                    <a:pt x="163" y="727"/>
                  </a:lnTo>
                  <a:lnTo>
                    <a:pt x="160" y="727"/>
                  </a:lnTo>
                  <a:lnTo>
                    <a:pt x="157" y="727"/>
                  </a:lnTo>
                  <a:lnTo>
                    <a:pt x="154" y="728"/>
                  </a:lnTo>
                  <a:lnTo>
                    <a:pt x="151" y="728"/>
                  </a:lnTo>
                  <a:lnTo>
                    <a:pt x="147" y="728"/>
                  </a:lnTo>
                  <a:lnTo>
                    <a:pt x="144" y="727"/>
                  </a:lnTo>
                  <a:lnTo>
                    <a:pt x="141" y="727"/>
                  </a:lnTo>
                  <a:lnTo>
                    <a:pt x="137" y="726"/>
                  </a:lnTo>
                  <a:lnTo>
                    <a:pt x="134" y="725"/>
                  </a:lnTo>
                  <a:lnTo>
                    <a:pt x="131" y="725"/>
                  </a:lnTo>
                  <a:lnTo>
                    <a:pt x="129" y="724"/>
                  </a:lnTo>
                  <a:lnTo>
                    <a:pt x="127" y="723"/>
                  </a:lnTo>
                  <a:lnTo>
                    <a:pt x="124" y="722"/>
                  </a:lnTo>
                  <a:lnTo>
                    <a:pt x="120" y="719"/>
                  </a:lnTo>
                  <a:lnTo>
                    <a:pt x="111" y="713"/>
                  </a:lnTo>
                  <a:lnTo>
                    <a:pt x="108" y="710"/>
                  </a:lnTo>
                  <a:lnTo>
                    <a:pt x="102" y="706"/>
                  </a:lnTo>
                  <a:lnTo>
                    <a:pt x="95" y="702"/>
                  </a:lnTo>
                  <a:lnTo>
                    <a:pt x="91" y="701"/>
                  </a:lnTo>
                  <a:lnTo>
                    <a:pt x="89" y="699"/>
                  </a:lnTo>
                  <a:lnTo>
                    <a:pt x="87" y="697"/>
                  </a:lnTo>
                  <a:lnTo>
                    <a:pt x="85" y="696"/>
                  </a:lnTo>
                  <a:lnTo>
                    <a:pt x="85" y="694"/>
                  </a:lnTo>
                  <a:lnTo>
                    <a:pt x="84" y="693"/>
                  </a:lnTo>
                  <a:lnTo>
                    <a:pt x="84" y="692"/>
                  </a:lnTo>
                  <a:lnTo>
                    <a:pt x="83" y="691"/>
                  </a:lnTo>
                  <a:lnTo>
                    <a:pt x="83" y="691"/>
                  </a:lnTo>
                  <a:lnTo>
                    <a:pt x="83" y="690"/>
                  </a:lnTo>
                  <a:lnTo>
                    <a:pt x="84" y="689"/>
                  </a:lnTo>
                  <a:lnTo>
                    <a:pt x="84" y="688"/>
                  </a:lnTo>
                  <a:lnTo>
                    <a:pt x="85" y="687"/>
                  </a:lnTo>
                  <a:lnTo>
                    <a:pt x="86" y="686"/>
                  </a:lnTo>
                  <a:lnTo>
                    <a:pt x="88" y="685"/>
                  </a:lnTo>
                  <a:lnTo>
                    <a:pt x="93" y="683"/>
                  </a:lnTo>
                  <a:lnTo>
                    <a:pt x="94" y="682"/>
                  </a:lnTo>
                  <a:lnTo>
                    <a:pt x="94" y="681"/>
                  </a:lnTo>
                  <a:lnTo>
                    <a:pt x="94" y="680"/>
                  </a:lnTo>
                  <a:lnTo>
                    <a:pt x="93" y="680"/>
                  </a:lnTo>
                  <a:lnTo>
                    <a:pt x="93" y="680"/>
                  </a:lnTo>
                  <a:lnTo>
                    <a:pt x="89" y="678"/>
                  </a:lnTo>
                  <a:lnTo>
                    <a:pt x="86" y="676"/>
                  </a:lnTo>
                  <a:lnTo>
                    <a:pt x="85" y="676"/>
                  </a:lnTo>
                  <a:lnTo>
                    <a:pt x="84" y="675"/>
                  </a:lnTo>
                  <a:lnTo>
                    <a:pt x="81" y="675"/>
                  </a:lnTo>
                  <a:lnTo>
                    <a:pt x="79" y="675"/>
                  </a:lnTo>
                  <a:lnTo>
                    <a:pt x="75" y="675"/>
                  </a:lnTo>
                  <a:lnTo>
                    <a:pt x="68" y="676"/>
                  </a:lnTo>
                  <a:lnTo>
                    <a:pt x="66" y="676"/>
                  </a:lnTo>
                  <a:lnTo>
                    <a:pt x="64" y="676"/>
                  </a:lnTo>
                  <a:lnTo>
                    <a:pt x="62" y="675"/>
                  </a:lnTo>
                  <a:lnTo>
                    <a:pt x="55" y="674"/>
                  </a:lnTo>
                  <a:lnTo>
                    <a:pt x="51" y="673"/>
                  </a:lnTo>
                  <a:lnTo>
                    <a:pt x="48" y="673"/>
                  </a:lnTo>
                  <a:lnTo>
                    <a:pt x="44" y="673"/>
                  </a:lnTo>
                  <a:lnTo>
                    <a:pt x="39" y="674"/>
                  </a:lnTo>
                  <a:lnTo>
                    <a:pt x="38" y="674"/>
                  </a:lnTo>
                  <a:lnTo>
                    <a:pt x="35" y="675"/>
                  </a:lnTo>
                  <a:lnTo>
                    <a:pt x="32" y="676"/>
                  </a:lnTo>
                  <a:lnTo>
                    <a:pt x="26" y="679"/>
                  </a:lnTo>
                  <a:lnTo>
                    <a:pt x="23" y="680"/>
                  </a:lnTo>
                  <a:lnTo>
                    <a:pt x="20" y="680"/>
                  </a:lnTo>
                  <a:lnTo>
                    <a:pt x="19" y="680"/>
                  </a:lnTo>
                  <a:lnTo>
                    <a:pt x="17" y="680"/>
                  </a:lnTo>
                  <a:lnTo>
                    <a:pt x="17" y="680"/>
                  </a:lnTo>
                  <a:lnTo>
                    <a:pt x="15" y="680"/>
                  </a:lnTo>
                  <a:lnTo>
                    <a:pt x="7" y="679"/>
                  </a:lnTo>
                  <a:lnTo>
                    <a:pt x="5" y="678"/>
                  </a:lnTo>
                  <a:lnTo>
                    <a:pt x="3" y="677"/>
                  </a:lnTo>
                  <a:lnTo>
                    <a:pt x="2" y="677"/>
                  </a:lnTo>
                  <a:lnTo>
                    <a:pt x="1" y="676"/>
                  </a:lnTo>
                  <a:lnTo>
                    <a:pt x="1" y="675"/>
                  </a:lnTo>
                  <a:lnTo>
                    <a:pt x="0" y="674"/>
                  </a:lnTo>
                  <a:lnTo>
                    <a:pt x="0" y="673"/>
                  </a:lnTo>
                  <a:lnTo>
                    <a:pt x="0" y="671"/>
                  </a:lnTo>
                  <a:lnTo>
                    <a:pt x="0" y="669"/>
                  </a:lnTo>
                  <a:lnTo>
                    <a:pt x="0" y="668"/>
                  </a:lnTo>
                  <a:lnTo>
                    <a:pt x="1" y="666"/>
                  </a:lnTo>
                  <a:lnTo>
                    <a:pt x="2" y="664"/>
                  </a:lnTo>
                  <a:lnTo>
                    <a:pt x="3" y="662"/>
                  </a:lnTo>
                  <a:lnTo>
                    <a:pt x="5" y="657"/>
                  </a:lnTo>
                  <a:lnTo>
                    <a:pt x="7" y="654"/>
                  </a:lnTo>
                  <a:lnTo>
                    <a:pt x="9" y="650"/>
                  </a:lnTo>
                  <a:lnTo>
                    <a:pt x="14" y="646"/>
                  </a:lnTo>
                  <a:lnTo>
                    <a:pt x="15" y="644"/>
                  </a:lnTo>
                  <a:lnTo>
                    <a:pt x="16" y="642"/>
                  </a:lnTo>
                  <a:lnTo>
                    <a:pt x="16" y="641"/>
                  </a:lnTo>
                  <a:lnTo>
                    <a:pt x="16" y="639"/>
                  </a:lnTo>
                  <a:lnTo>
                    <a:pt x="16" y="637"/>
                  </a:lnTo>
                  <a:lnTo>
                    <a:pt x="16" y="635"/>
                  </a:lnTo>
                  <a:lnTo>
                    <a:pt x="16" y="633"/>
                  </a:lnTo>
                  <a:lnTo>
                    <a:pt x="15" y="630"/>
                  </a:lnTo>
                  <a:lnTo>
                    <a:pt x="14" y="628"/>
                  </a:lnTo>
                  <a:lnTo>
                    <a:pt x="12" y="625"/>
                  </a:lnTo>
                  <a:lnTo>
                    <a:pt x="10" y="622"/>
                  </a:lnTo>
                  <a:lnTo>
                    <a:pt x="9" y="620"/>
                  </a:lnTo>
                  <a:lnTo>
                    <a:pt x="5" y="615"/>
                  </a:lnTo>
                  <a:lnTo>
                    <a:pt x="5" y="613"/>
                  </a:lnTo>
                  <a:lnTo>
                    <a:pt x="4" y="612"/>
                  </a:lnTo>
                  <a:lnTo>
                    <a:pt x="4" y="612"/>
                  </a:lnTo>
                  <a:lnTo>
                    <a:pt x="4" y="611"/>
                  </a:lnTo>
                  <a:lnTo>
                    <a:pt x="5" y="609"/>
                  </a:lnTo>
                  <a:lnTo>
                    <a:pt x="5" y="607"/>
                  </a:lnTo>
                  <a:lnTo>
                    <a:pt x="7" y="605"/>
                  </a:lnTo>
                  <a:lnTo>
                    <a:pt x="10" y="603"/>
                  </a:lnTo>
                  <a:lnTo>
                    <a:pt x="13" y="600"/>
                  </a:lnTo>
                  <a:lnTo>
                    <a:pt x="17" y="598"/>
                  </a:lnTo>
                  <a:lnTo>
                    <a:pt x="19" y="596"/>
                  </a:lnTo>
                  <a:lnTo>
                    <a:pt x="21" y="595"/>
                  </a:lnTo>
                  <a:lnTo>
                    <a:pt x="23" y="594"/>
                  </a:lnTo>
                  <a:lnTo>
                    <a:pt x="26" y="593"/>
                  </a:lnTo>
                  <a:lnTo>
                    <a:pt x="28" y="593"/>
                  </a:lnTo>
                  <a:lnTo>
                    <a:pt x="30" y="592"/>
                  </a:lnTo>
                  <a:lnTo>
                    <a:pt x="35" y="592"/>
                  </a:lnTo>
                  <a:lnTo>
                    <a:pt x="37" y="591"/>
                  </a:lnTo>
                  <a:lnTo>
                    <a:pt x="39" y="591"/>
                  </a:lnTo>
                  <a:lnTo>
                    <a:pt x="40" y="591"/>
                  </a:lnTo>
                  <a:lnTo>
                    <a:pt x="42" y="590"/>
                  </a:lnTo>
                  <a:lnTo>
                    <a:pt x="43" y="589"/>
                  </a:lnTo>
                  <a:lnTo>
                    <a:pt x="44" y="589"/>
                  </a:lnTo>
                  <a:lnTo>
                    <a:pt x="46" y="588"/>
                  </a:lnTo>
                  <a:lnTo>
                    <a:pt x="49" y="584"/>
                  </a:lnTo>
                  <a:lnTo>
                    <a:pt x="51" y="581"/>
                  </a:lnTo>
                  <a:lnTo>
                    <a:pt x="51" y="579"/>
                  </a:lnTo>
                  <a:lnTo>
                    <a:pt x="53" y="573"/>
                  </a:lnTo>
                  <a:lnTo>
                    <a:pt x="54" y="572"/>
                  </a:lnTo>
                  <a:lnTo>
                    <a:pt x="55" y="570"/>
                  </a:lnTo>
                  <a:lnTo>
                    <a:pt x="56" y="569"/>
                  </a:lnTo>
                  <a:lnTo>
                    <a:pt x="57" y="568"/>
                  </a:lnTo>
                  <a:lnTo>
                    <a:pt x="62" y="566"/>
                  </a:lnTo>
                  <a:lnTo>
                    <a:pt x="62" y="566"/>
                  </a:lnTo>
                  <a:lnTo>
                    <a:pt x="63" y="565"/>
                  </a:lnTo>
                  <a:lnTo>
                    <a:pt x="64" y="565"/>
                  </a:lnTo>
                  <a:lnTo>
                    <a:pt x="64" y="564"/>
                  </a:lnTo>
                  <a:lnTo>
                    <a:pt x="65" y="563"/>
                  </a:lnTo>
                  <a:lnTo>
                    <a:pt x="66" y="561"/>
                  </a:lnTo>
                  <a:lnTo>
                    <a:pt x="66" y="559"/>
                  </a:lnTo>
                  <a:lnTo>
                    <a:pt x="66" y="556"/>
                  </a:lnTo>
                  <a:lnTo>
                    <a:pt x="66" y="552"/>
                  </a:lnTo>
                  <a:lnTo>
                    <a:pt x="67" y="551"/>
                  </a:lnTo>
                  <a:lnTo>
                    <a:pt x="67" y="549"/>
                  </a:lnTo>
                  <a:lnTo>
                    <a:pt x="68" y="545"/>
                  </a:lnTo>
                  <a:lnTo>
                    <a:pt x="69" y="544"/>
                  </a:lnTo>
                  <a:lnTo>
                    <a:pt x="69" y="541"/>
                  </a:lnTo>
                  <a:lnTo>
                    <a:pt x="70" y="535"/>
                  </a:lnTo>
                  <a:lnTo>
                    <a:pt x="70" y="533"/>
                  </a:lnTo>
                  <a:lnTo>
                    <a:pt x="71" y="530"/>
                  </a:lnTo>
                  <a:lnTo>
                    <a:pt x="72" y="529"/>
                  </a:lnTo>
                  <a:lnTo>
                    <a:pt x="72" y="527"/>
                  </a:lnTo>
                  <a:lnTo>
                    <a:pt x="73" y="526"/>
                  </a:lnTo>
                  <a:lnTo>
                    <a:pt x="75" y="524"/>
                  </a:lnTo>
                  <a:lnTo>
                    <a:pt x="81" y="521"/>
                  </a:lnTo>
                  <a:lnTo>
                    <a:pt x="84" y="518"/>
                  </a:lnTo>
                  <a:lnTo>
                    <a:pt x="87" y="515"/>
                  </a:lnTo>
                  <a:lnTo>
                    <a:pt x="91" y="510"/>
                  </a:lnTo>
                  <a:lnTo>
                    <a:pt x="93" y="509"/>
                  </a:lnTo>
                  <a:lnTo>
                    <a:pt x="97" y="506"/>
                  </a:lnTo>
                  <a:lnTo>
                    <a:pt x="102" y="502"/>
                  </a:lnTo>
                  <a:lnTo>
                    <a:pt x="105" y="500"/>
                  </a:lnTo>
                  <a:lnTo>
                    <a:pt x="108" y="499"/>
                  </a:lnTo>
                  <a:lnTo>
                    <a:pt x="110" y="498"/>
                  </a:lnTo>
                  <a:lnTo>
                    <a:pt x="113" y="498"/>
                  </a:lnTo>
                  <a:lnTo>
                    <a:pt x="117" y="497"/>
                  </a:lnTo>
                  <a:lnTo>
                    <a:pt x="119" y="497"/>
                  </a:lnTo>
                  <a:lnTo>
                    <a:pt x="122" y="497"/>
                  </a:lnTo>
                  <a:lnTo>
                    <a:pt x="129" y="498"/>
                  </a:lnTo>
                  <a:lnTo>
                    <a:pt x="131" y="498"/>
                  </a:lnTo>
                  <a:lnTo>
                    <a:pt x="134" y="498"/>
                  </a:lnTo>
                  <a:lnTo>
                    <a:pt x="138" y="497"/>
                  </a:lnTo>
                  <a:lnTo>
                    <a:pt x="142" y="496"/>
                  </a:lnTo>
                  <a:lnTo>
                    <a:pt x="146" y="495"/>
                  </a:lnTo>
                  <a:lnTo>
                    <a:pt x="151" y="493"/>
                  </a:lnTo>
                  <a:lnTo>
                    <a:pt x="155" y="491"/>
                  </a:lnTo>
                  <a:lnTo>
                    <a:pt x="157" y="490"/>
                  </a:lnTo>
                  <a:lnTo>
                    <a:pt x="159" y="488"/>
                  </a:lnTo>
                  <a:lnTo>
                    <a:pt x="161" y="487"/>
                  </a:lnTo>
                  <a:lnTo>
                    <a:pt x="164" y="485"/>
                  </a:lnTo>
                  <a:lnTo>
                    <a:pt x="166" y="482"/>
                  </a:lnTo>
                  <a:lnTo>
                    <a:pt x="170" y="477"/>
                  </a:lnTo>
                  <a:lnTo>
                    <a:pt x="172" y="476"/>
                  </a:lnTo>
                  <a:lnTo>
                    <a:pt x="173" y="475"/>
                  </a:lnTo>
                  <a:lnTo>
                    <a:pt x="178" y="470"/>
                  </a:lnTo>
                  <a:lnTo>
                    <a:pt x="184" y="464"/>
                  </a:lnTo>
                  <a:lnTo>
                    <a:pt x="195" y="454"/>
                  </a:lnTo>
                  <a:lnTo>
                    <a:pt x="198" y="453"/>
                  </a:lnTo>
                  <a:lnTo>
                    <a:pt x="199" y="452"/>
                  </a:lnTo>
                  <a:lnTo>
                    <a:pt x="201" y="450"/>
                  </a:lnTo>
                  <a:lnTo>
                    <a:pt x="202" y="450"/>
                  </a:lnTo>
                  <a:lnTo>
                    <a:pt x="203" y="450"/>
                  </a:lnTo>
                  <a:lnTo>
                    <a:pt x="204" y="449"/>
                  </a:lnTo>
                  <a:lnTo>
                    <a:pt x="205" y="450"/>
                  </a:lnTo>
                  <a:lnTo>
                    <a:pt x="206" y="450"/>
                  </a:lnTo>
                  <a:lnTo>
                    <a:pt x="208" y="451"/>
                  </a:lnTo>
                  <a:lnTo>
                    <a:pt x="210" y="453"/>
                  </a:lnTo>
                  <a:lnTo>
                    <a:pt x="212" y="453"/>
                  </a:lnTo>
                  <a:lnTo>
                    <a:pt x="213" y="453"/>
                  </a:lnTo>
                  <a:lnTo>
                    <a:pt x="215" y="454"/>
                  </a:lnTo>
                  <a:lnTo>
                    <a:pt x="220" y="455"/>
                  </a:lnTo>
                  <a:lnTo>
                    <a:pt x="224" y="456"/>
                  </a:lnTo>
                  <a:lnTo>
                    <a:pt x="227" y="457"/>
                  </a:lnTo>
                  <a:lnTo>
                    <a:pt x="230" y="457"/>
                  </a:lnTo>
                  <a:lnTo>
                    <a:pt x="233" y="457"/>
                  </a:lnTo>
                  <a:lnTo>
                    <a:pt x="237" y="457"/>
                  </a:lnTo>
                  <a:lnTo>
                    <a:pt x="249" y="457"/>
                  </a:lnTo>
                  <a:lnTo>
                    <a:pt x="253" y="456"/>
                  </a:lnTo>
                  <a:lnTo>
                    <a:pt x="255" y="456"/>
                  </a:lnTo>
                  <a:lnTo>
                    <a:pt x="258" y="455"/>
                  </a:lnTo>
                  <a:lnTo>
                    <a:pt x="261" y="455"/>
                  </a:lnTo>
                  <a:lnTo>
                    <a:pt x="264" y="454"/>
                  </a:lnTo>
                  <a:lnTo>
                    <a:pt x="267" y="453"/>
                  </a:lnTo>
                  <a:lnTo>
                    <a:pt x="268" y="452"/>
                  </a:lnTo>
                  <a:lnTo>
                    <a:pt x="274" y="447"/>
                  </a:lnTo>
                  <a:lnTo>
                    <a:pt x="276" y="446"/>
                  </a:lnTo>
                  <a:lnTo>
                    <a:pt x="278" y="445"/>
                  </a:lnTo>
                  <a:lnTo>
                    <a:pt x="280" y="444"/>
                  </a:lnTo>
                  <a:lnTo>
                    <a:pt x="282" y="443"/>
                  </a:lnTo>
                  <a:lnTo>
                    <a:pt x="283" y="442"/>
                  </a:lnTo>
                  <a:lnTo>
                    <a:pt x="285" y="442"/>
                  </a:lnTo>
                  <a:lnTo>
                    <a:pt x="288" y="440"/>
                  </a:lnTo>
                  <a:lnTo>
                    <a:pt x="290" y="438"/>
                  </a:lnTo>
                  <a:lnTo>
                    <a:pt x="293" y="434"/>
                  </a:lnTo>
                  <a:lnTo>
                    <a:pt x="301" y="427"/>
                  </a:lnTo>
                  <a:lnTo>
                    <a:pt x="304" y="424"/>
                  </a:lnTo>
                  <a:lnTo>
                    <a:pt x="306" y="422"/>
                  </a:lnTo>
                  <a:lnTo>
                    <a:pt x="309" y="420"/>
                  </a:lnTo>
                  <a:lnTo>
                    <a:pt x="311" y="419"/>
                  </a:lnTo>
                  <a:lnTo>
                    <a:pt x="313" y="419"/>
                  </a:lnTo>
                  <a:lnTo>
                    <a:pt x="315" y="418"/>
                  </a:lnTo>
                  <a:lnTo>
                    <a:pt x="318" y="418"/>
                  </a:lnTo>
                  <a:lnTo>
                    <a:pt x="320" y="419"/>
                  </a:lnTo>
                  <a:lnTo>
                    <a:pt x="323" y="419"/>
                  </a:lnTo>
                  <a:lnTo>
                    <a:pt x="325" y="420"/>
                  </a:lnTo>
                  <a:lnTo>
                    <a:pt x="326" y="421"/>
                  </a:lnTo>
                  <a:lnTo>
                    <a:pt x="328" y="423"/>
                  </a:lnTo>
                  <a:lnTo>
                    <a:pt x="333" y="428"/>
                  </a:lnTo>
                  <a:lnTo>
                    <a:pt x="335" y="430"/>
                  </a:lnTo>
                  <a:lnTo>
                    <a:pt x="336" y="431"/>
                  </a:lnTo>
                  <a:lnTo>
                    <a:pt x="338" y="432"/>
                  </a:lnTo>
                  <a:lnTo>
                    <a:pt x="339" y="432"/>
                  </a:lnTo>
                  <a:lnTo>
                    <a:pt x="341" y="432"/>
                  </a:lnTo>
                  <a:lnTo>
                    <a:pt x="342" y="432"/>
                  </a:lnTo>
                  <a:lnTo>
                    <a:pt x="344" y="432"/>
                  </a:lnTo>
                  <a:lnTo>
                    <a:pt x="346" y="432"/>
                  </a:lnTo>
                  <a:lnTo>
                    <a:pt x="346" y="432"/>
                  </a:lnTo>
                  <a:lnTo>
                    <a:pt x="348" y="431"/>
                  </a:lnTo>
                  <a:lnTo>
                    <a:pt x="349" y="430"/>
                  </a:lnTo>
                  <a:lnTo>
                    <a:pt x="350" y="430"/>
                  </a:lnTo>
                  <a:lnTo>
                    <a:pt x="353" y="428"/>
                  </a:lnTo>
                  <a:lnTo>
                    <a:pt x="356" y="425"/>
                  </a:lnTo>
                  <a:lnTo>
                    <a:pt x="360" y="419"/>
                  </a:lnTo>
                  <a:lnTo>
                    <a:pt x="364" y="415"/>
                  </a:lnTo>
                  <a:lnTo>
                    <a:pt x="366" y="413"/>
                  </a:lnTo>
                  <a:lnTo>
                    <a:pt x="368" y="411"/>
                  </a:lnTo>
                  <a:lnTo>
                    <a:pt x="370" y="409"/>
                  </a:lnTo>
                  <a:lnTo>
                    <a:pt x="372" y="408"/>
                  </a:lnTo>
                  <a:lnTo>
                    <a:pt x="375" y="407"/>
                  </a:lnTo>
                  <a:lnTo>
                    <a:pt x="378" y="406"/>
                  </a:lnTo>
                  <a:lnTo>
                    <a:pt x="380" y="404"/>
                  </a:lnTo>
                  <a:lnTo>
                    <a:pt x="383" y="403"/>
                  </a:lnTo>
                  <a:lnTo>
                    <a:pt x="387" y="402"/>
                  </a:lnTo>
                  <a:lnTo>
                    <a:pt x="394" y="400"/>
                  </a:lnTo>
                  <a:lnTo>
                    <a:pt x="397" y="399"/>
                  </a:lnTo>
                  <a:lnTo>
                    <a:pt x="399" y="398"/>
                  </a:lnTo>
                  <a:lnTo>
                    <a:pt x="402" y="396"/>
                  </a:lnTo>
                  <a:lnTo>
                    <a:pt x="405" y="395"/>
                  </a:lnTo>
                  <a:lnTo>
                    <a:pt x="408" y="393"/>
                  </a:lnTo>
                  <a:lnTo>
                    <a:pt x="411" y="391"/>
                  </a:lnTo>
                  <a:lnTo>
                    <a:pt x="413" y="389"/>
                  </a:lnTo>
                  <a:lnTo>
                    <a:pt x="417" y="385"/>
                  </a:lnTo>
                  <a:lnTo>
                    <a:pt x="419" y="383"/>
                  </a:lnTo>
                  <a:lnTo>
                    <a:pt x="421" y="381"/>
                  </a:lnTo>
                  <a:lnTo>
                    <a:pt x="422" y="379"/>
                  </a:lnTo>
                  <a:lnTo>
                    <a:pt x="424" y="376"/>
                  </a:lnTo>
                  <a:lnTo>
                    <a:pt x="424" y="374"/>
                  </a:lnTo>
                  <a:lnTo>
                    <a:pt x="426" y="371"/>
                  </a:lnTo>
                  <a:lnTo>
                    <a:pt x="426" y="370"/>
                  </a:lnTo>
                  <a:lnTo>
                    <a:pt x="426" y="369"/>
                  </a:lnTo>
                  <a:lnTo>
                    <a:pt x="427" y="368"/>
                  </a:lnTo>
                  <a:lnTo>
                    <a:pt x="429" y="367"/>
                  </a:lnTo>
                  <a:lnTo>
                    <a:pt x="431" y="367"/>
                  </a:lnTo>
                  <a:lnTo>
                    <a:pt x="435" y="366"/>
                  </a:lnTo>
                  <a:lnTo>
                    <a:pt x="439" y="366"/>
                  </a:lnTo>
                  <a:lnTo>
                    <a:pt x="442" y="365"/>
                  </a:lnTo>
                  <a:lnTo>
                    <a:pt x="443" y="365"/>
                  </a:lnTo>
                  <a:lnTo>
                    <a:pt x="445" y="364"/>
                  </a:lnTo>
                  <a:lnTo>
                    <a:pt x="446" y="364"/>
                  </a:lnTo>
                  <a:lnTo>
                    <a:pt x="447" y="363"/>
                  </a:lnTo>
                  <a:lnTo>
                    <a:pt x="448" y="362"/>
                  </a:lnTo>
                  <a:lnTo>
                    <a:pt x="449" y="361"/>
                  </a:lnTo>
                  <a:lnTo>
                    <a:pt x="449" y="360"/>
                  </a:lnTo>
                  <a:lnTo>
                    <a:pt x="449" y="358"/>
                  </a:lnTo>
                  <a:lnTo>
                    <a:pt x="449" y="355"/>
                  </a:lnTo>
                  <a:lnTo>
                    <a:pt x="449" y="351"/>
                  </a:lnTo>
                  <a:lnTo>
                    <a:pt x="449" y="349"/>
                  </a:lnTo>
                  <a:lnTo>
                    <a:pt x="449" y="343"/>
                  </a:lnTo>
                  <a:lnTo>
                    <a:pt x="449" y="340"/>
                  </a:lnTo>
                  <a:lnTo>
                    <a:pt x="449" y="339"/>
                  </a:lnTo>
                  <a:lnTo>
                    <a:pt x="449" y="337"/>
                  </a:lnTo>
                  <a:lnTo>
                    <a:pt x="450" y="336"/>
                  </a:lnTo>
                  <a:lnTo>
                    <a:pt x="450" y="334"/>
                  </a:lnTo>
                  <a:lnTo>
                    <a:pt x="452" y="332"/>
                  </a:lnTo>
                  <a:lnTo>
                    <a:pt x="453" y="330"/>
                  </a:lnTo>
                  <a:lnTo>
                    <a:pt x="455" y="328"/>
                  </a:lnTo>
                  <a:lnTo>
                    <a:pt x="456" y="327"/>
                  </a:lnTo>
                  <a:lnTo>
                    <a:pt x="459" y="325"/>
                  </a:lnTo>
                  <a:lnTo>
                    <a:pt x="460" y="323"/>
                  </a:lnTo>
                  <a:lnTo>
                    <a:pt x="462" y="322"/>
                  </a:lnTo>
                  <a:lnTo>
                    <a:pt x="465" y="320"/>
                  </a:lnTo>
                  <a:lnTo>
                    <a:pt x="467" y="320"/>
                  </a:lnTo>
                  <a:lnTo>
                    <a:pt x="469" y="319"/>
                  </a:lnTo>
                  <a:lnTo>
                    <a:pt x="471" y="319"/>
                  </a:lnTo>
                  <a:lnTo>
                    <a:pt x="473" y="319"/>
                  </a:lnTo>
                  <a:lnTo>
                    <a:pt x="476" y="319"/>
                  </a:lnTo>
                  <a:lnTo>
                    <a:pt x="489" y="320"/>
                  </a:lnTo>
                  <a:lnTo>
                    <a:pt x="493" y="321"/>
                  </a:lnTo>
                  <a:lnTo>
                    <a:pt x="497" y="322"/>
                  </a:lnTo>
                  <a:lnTo>
                    <a:pt x="506" y="325"/>
                  </a:lnTo>
                  <a:lnTo>
                    <a:pt x="518" y="328"/>
                  </a:lnTo>
                  <a:lnTo>
                    <a:pt x="524" y="329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50" y="332"/>
                  </a:lnTo>
                  <a:lnTo>
                    <a:pt x="554" y="333"/>
                  </a:lnTo>
                  <a:lnTo>
                    <a:pt x="562" y="333"/>
                  </a:lnTo>
                  <a:lnTo>
                    <a:pt x="568" y="333"/>
                  </a:lnTo>
                  <a:lnTo>
                    <a:pt x="574" y="333"/>
                  </a:lnTo>
                  <a:lnTo>
                    <a:pt x="579" y="332"/>
                  </a:lnTo>
                  <a:lnTo>
                    <a:pt x="584" y="331"/>
                  </a:lnTo>
                  <a:lnTo>
                    <a:pt x="589" y="330"/>
                  </a:lnTo>
                  <a:lnTo>
                    <a:pt x="593" y="328"/>
                  </a:lnTo>
                  <a:lnTo>
                    <a:pt x="598" y="327"/>
                  </a:lnTo>
                  <a:lnTo>
                    <a:pt x="599" y="326"/>
                  </a:lnTo>
                  <a:lnTo>
                    <a:pt x="601" y="326"/>
                  </a:lnTo>
                  <a:lnTo>
                    <a:pt x="603" y="326"/>
                  </a:lnTo>
                  <a:lnTo>
                    <a:pt x="605" y="326"/>
                  </a:lnTo>
                  <a:lnTo>
                    <a:pt x="607" y="326"/>
                  </a:lnTo>
                  <a:lnTo>
                    <a:pt x="613" y="328"/>
                  </a:lnTo>
                  <a:lnTo>
                    <a:pt x="617" y="328"/>
                  </a:lnTo>
                  <a:lnTo>
                    <a:pt x="627" y="330"/>
                  </a:lnTo>
                  <a:lnTo>
                    <a:pt x="636" y="332"/>
                  </a:lnTo>
                  <a:lnTo>
                    <a:pt x="640" y="332"/>
                  </a:lnTo>
                  <a:lnTo>
                    <a:pt x="642" y="333"/>
                  </a:lnTo>
                  <a:lnTo>
                    <a:pt x="644" y="333"/>
                  </a:lnTo>
                  <a:lnTo>
                    <a:pt x="646" y="333"/>
                  </a:lnTo>
                  <a:lnTo>
                    <a:pt x="647" y="332"/>
                  </a:lnTo>
                  <a:lnTo>
                    <a:pt x="649" y="332"/>
                  </a:lnTo>
                  <a:lnTo>
                    <a:pt x="651" y="331"/>
                  </a:lnTo>
                  <a:lnTo>
                    <a:pt x="653" y="329"/>
                  </a:lnTo>
                  <a:lnTo>
                    <a:pt x="654" y="328"/>
                  </a:lnTo>
                  <a:lnTo>
                    <a:pt x="657" y="325"/>
                  </a:lnTo>
                  <a:lnTo>
                    <a:pt x="662" y="320"/>
                  </a:lnTo>
                  <a:lnTo>
                    <a:pt x="665" y="318"/>
                  </a:lnTo>
                  <a:lnTo>
                    <a:pt x="666" y="317"/>
                  </a:lnTo>
                  <a:lnTo>
                    <a:pt x="668" y="316"/>
                  </a:lnTo>
                  <a:lnTo>
                    <a:pt x="670" y="316"/>
                  </a:lnTo>
                  <a:lnTo>
                    <a:pt x="672" y="315"/>
                  </a:lnTo>
                  <a:lnTo>
                    <a:pt x="675" y="314"/>
                  </a:lnTo>
                  <a:lnTo>
                    <a:pt x="690" y="312"/>
                  </a:lnTo>
                  <a:lnTo>
                    <a:pt x="696" y="311"/>
                  </a:lnTo>
                  <a:lnTo>
                    <a:pt x="707" y="309"/>
                  </a:lnTo>
                  <a:lnTo>
                    <a:pt x="710" y="309"/>
                  </a:lnTo>
                  <a:lnTo>
                    <a:pt x="713" y="310"/>
                  </a:lnTo>
                  <a:lnTo>
                    <a:pt x="716" y="310"/>
                  </a:lnTo>
                  <a:lnTo>
                    <a:pt x="723" y="312"/>
                  </a:lnTo>
                  <a:lnTo>
                    <a:pt x="725" y="312"/>
                  </a:lnTo>
                  <a:lnTo>
                    <a:pt x="727" y="312"/>
                  </a:lnTo>
                  <a:lnTo>
                    <a:pt x="729" y="312"/>
                  </a:lnTo>
                  <a:lnTo>
                    <a:pt x="731" y="311"/>
                  </a:lnTo>
                  <a:lnTo>
                    <a:pt x="733" y="311"/>
                  </a:lnTo>
                  <a:lnTo>
                    <a:pt x="733" y="310"/>
                  </a:lnTo>
                  <a:lnTo>
                    <a:pt x="734" y="309"/>
                  </a:lnTo>
                  <a:lnTo>
                    <a:pt x="735" y="308"/>
                  </a:lnTo>
                  <a:lnTo>
                    <a:pt x="736" y="307"/>
                  </a:lnTo>
                  <a:lnTo>
                    <a:pt x="738" y="305"/>
                  </a:lnTo>
                  <a:lnTo>
                    <a:pt x="739" y="302"/>
                  </a:lnTo>
                  <a:lnTo>
                    <a:pt x="739" y="300"/>
                  </a:lnTo>
                  <a:lnTo>
                    <a:pt x="740" y="298"/>
                  </a:lnTo>
                  <a:lnTo>
                    <a:pt x="742" y="287"/>
                  </a:lnTo>
                  <a:lnTo>
                    <a:pt x="743" y="280"/>
                  </a:lnTo>
                  <a:lnTo>
                    <a:pt x="744" y="278"/>
                  </a:lnTo>
                  <a:lnTo>
                    <a:pt x="744" y="275"/>
                  </a:lnTo>
                  <a:lnTo>
                    <a:pt x="744" y="272"/>
                  </a:lnTo>
                  <a:lnTo>
                    <a:pt x="744" y="270"/>
                  </a:lnTo>
                  <a:lnTo>
                    <a:pt x="744" y="266"/>
                  </a:lnTo>
                  <a:lnTo>
                    <a:pt x="744" y="264"/>
                  </a:lnTo>
                  <a:lnTo>
                    <a:pt x="743" y="261"/>
                  </a:lnTo>
                  <a:lnTo>
                    <a:pt x="741" y="254"/>
                  </a:lnTo>
                  <a:lnTo>
                    <a:pt x="741" y="250"/>
                  </a:lnTo>
                  <a:lnTo>
                    <a:pt x="740" y="249"/>
                  </a:lnTo>
                  <a:lnTo>
                    <a:pt x="740" y="247"/>
                  </a:lnTo>
                  <a:lnTo>
                    <a:pt x="740" y="243"/>
                  </a:lnTo>
                  <a:lnTo>
                    <a:pt x="740" y="240"/>
                  </a:lnTo>
                  <a:lnTo>
                    <a:pt x="740" y="238"/>
                  </a:lnTo>
                  <a:lnTo>
                    <a:pt x="739" y="233"/>
                  </a:lnTo>
                  <a:lnTo>
                    <a:pt x="739" y="226"/>
                  </a:lnTo>
                  <a:lnTo>
                    <a:pt x="739" y="225"/>
                  </a:lnTo>
                  <a:lnTo>
                    <a:pt x="739" y="224"/>
                  </a:lnTo>
                  <a:lnTo>
                    <a:pt x="740" y="223"/>
                  </a:lnTo>
                  <a:lnTo>
                    <a:pt x="741" y="222"/>
                  </a:lnTo>
                  <a:lnTo>
                    <a:pt x="743" y="221"/>
                  </a:lnTo>
                  <a:lnTo>
                    <a:pt x="744" y="221"/>
                  </a:lnTo>
                  <a:lnTo>
                    <a:pt x="744" y="220"/>
                  </a:lnTo>
                  <a:lnTo>
                    <a:pt x="745" y="220"/>
                  </a:lnTo>
                  <a:lnTo>
                    <a:pt x="747" y="220"/>
                  </a:lnTo>
                  <a:lnTo>
                    <a:pt x="748" y="220"/>
                  </a:lnTo>
                  <a:lnTo>
                    <a:pt x="751" y="221"/>
                  </a:lnTo>
                  <a:lnTo>
                    <a:pt x="760" y="225"/>
                  </a:lnTo>
                  <a:lnTo>
                    <a:pt x="763" y="225"/>
                  </a:lnTo>
                  <a:lnTo>
                    <a:pt x="766" y="226"/>
                  </a:lnTo>
                  <a:lnTo>
                    <a:pt x="767" y="226"/>
                  </a:lnTo>
                  <a:lnTo>
                    <a:pt x="769" y="226"/>
                  </a:lnTo>
                  <a:lnTo>
                    <a:pt x="771" y="226"/>
                  </a:lnTo>
                  <a:lnTo>
                    <a:pt x="773" y="226"/>
                  </a:lnTo>
                  <a:lnTo>
                    <a:pt x="774" y="226"/>
                  </a:lnTo>
                  <a:lnTo>
                    <a:pt x="774" y="225"/>
                  </a:lnTo>
                  <a:lnTo>
                    <a:pt x="775" y="224"/>
                  </a:lnTo>
                  <a:lnTo>
                    <a:pt x="776" y="223"/>
                  </a:lnTo>
                  <a:lnTo>
                    <a:pt x="776" y="220"/>
                  </a:lnTo>
                  <a:lnTo>
                    <a:pt x="777" y="218"/>
                  </a:lnTo>
                  <a:lnTo>
                    <a:pt x="779" y="212"/>
                  </a:lnTo>
                  <a:lnTo>
                    <a:pt x="783" y="204"/>
                  </a:lnTo>
                  <a:lnTo>
                    <a:pt x="784" y="204"/>
                  </a:lnTo>
                  <a:lnTo>
                    <a:pt x="786" y="202"/>
                  </a:lnTo>
                  <a:lnTo>
                    <a:pt x="787" y="201"/>
                  </a:lnTo>
                  <a:lnTo>
                    <a:pt x="789" y="201"/>
                  </a:lnTo>
                  <a:lnTo>
                    <a:pt x="797" y="199"/>
                  </a:lnTo>
                  <a:lnTo>
                    <a:pt x="802" y="196"/>
                  </a:lnTo>
                  <a:lnTo>
                    <a:pt x="809" y="194"/>
                  </a:lnTo>
                  <a:lnTo>
                    <a:pt x="810" y="194"/>
                  </a:lnTo>
                  <a:lnTo>
                    <a:pt x="812" y="193"/>
                  </a:lnTo>
                  <a:lnTo>
                    <a:pt x="812" y="192"/>
                  </a:lnTo>
                  <a:lnTo>
                    <a:pt x="813" y="192"/>
                  </a:lnTo>
                  <a:lnTo>
                    <a:pt x="814" y="192"/>
                  </a:lnTo>
                  <a:lnTo>
                    <a:pt x="814" y="190"/>
                  </a:lnTo>
                  <a:lnTo>
                    <a:pt x="815" y="189"/>
                  </a:lnTo>
                  <a:lnTo>
                    <a:pt x="816" y="187"/>
                  </a:lnTo>
                  <a:lnTo>
                    <a:pt x="816" y="185"/>
                  </a:lnTo>
                  <a:lnTo>
                    <a:pt x="816" y="184"/>
                  </a:lnTo>
                  <a:lnTo>
                    <a:pt x="817" y="181"/>
                  </a:lnTo>
                  <a:lnTo>
                    <a:pt x="817" y="180"/>
                  </a:lnTo>
                  <a:lnTo>
                    <a:pt x="816" y="172"/>
                  </a:lnTo>
                  <a:lnTo>
                    <a:pt x="816" y="168"/>
                  </a:lnTo>
                  <a:lnTo>
                    <a:pt x="815" y="163"/>
                  </a:lnTo>
                  <a:lnTo>
                    <a:pt x="813" y="155"/>
                  </a:lnTo>
                  <a:lnTo>
                    <a:pt x="812" y="152"/>
                  </a:lnTo>
                  <a:lnTo>
                    <a:pt x="812" y="150"/>
                  </a:lnTo>
                  <a:lnTo>
                    <a:pt x="812" y="148"/>
                  </a:lnTo>
                  <a:lnTo>
                    <a:pt x="813" y="147"/>
                  </a:lnTo>
                  <a:lnTo>
                    <a:pt x="813" y="145"/>
                  </a:lnTo>
                  <a:lnTo>
                    <a:pt x="813" y="144"/>
                  </a:lnTo>
                  <a:lnTo>
                    <a:pt x="814" y="142"/>
                  </a:lnTo>
                  <a:lnTo>
                    <a:pt x="816" y="140"/>
                  </a:lnTo>
                  <a:lnTo>
                    <a:pt x="817" y="138"/>
                  </a:lnTo>
                  <a:lnTo>
                    <a:pt x="819" y="136"/>
                  </a:lnTo>
                  <a:lnTo>
                    <a:pt x="821" y="135"/>
                  </a:lnTo>
                  <a:lnTo>
                    <a:pt x="822" y="134"/>
                  </a:lnTo>
                  <a:lnTo>
                    <a:pt x="823" y="133"/>
                  </a:lnTo>
                  <a:lnTo>
                    <a:pt x="824" y="132"/>
                  </a:lnTo>
                  <a:lnTo>
                    <a:pt x="825" y="132"/>
                  </a:lnTo>
                  <a:lnTo>
                    <a:pt x="826" y="132"/>
                  </a:lnTo>
                  <a:lnTo>
                    <a:pt x="827" y="132"/>
                  </a:lnTo>
                  <a:lnTo>
                    <a:pt x="828" y="132"/>
                  </a:lnTo>
                  <a:lnTo>
                    <a:pt x="829" y="133"/>
                  </a:lnTo>
                  <a:lnTo>
                    <a:pt x="830" y="134"/>
                  </a:lnTo>
                  <a:lnTo>
                    <a:pt x="831" y="135"/>
                  </a:lnTo>
                  <a:lnTo>
                    <a:pt x="832" y="136"/>
                  </a:lnTo>
                  <a:lnTo>
                    <a:pt x="833" y="136"/>
                  </a:lnTo>
                  <a:lnTo>
                    <a:pt x="835" y="137"/>
                  </a:lnTo>
                  <a:lnTo>
                    <a:pt x="835" y="137"/>
                  </a:lnTo>
                  <a:lnTo>
                    <a:pt x="836" y="137"/>
                  </a:lnTo>
                  <a:lnTo>
                    <a:pt x="838" y="137"/>
                  </a:lnTo>
                  <a:lnTo>
                    <a:pt x="840" y="137"/>
                  </a:lnTo>
                  <a:lnTo>
                    <a:pt x="842" y="136"/>
                  </a:lnTo>
                  <a:lnTo>
                    <a:pt x="846" y="134"/>
                  </a:lnTo>
                  <a:lnTo>
                    <a:pt x="847" y="133"/>
                  </a:lnTo>
                  <a:lnTo>
                    <a:pt x="850" y="132"/>
                  </a:lnTo>
                  <a:lnTo>
                    <a:pt x="852" y="132"/>
                  </a:lnTo>
                  <a:lnTo>
                    <a:pt x="854" y="132"/>
                  </a:lnTo>
                  <a:lnTo>
                    <a:pt x="856" y="132"/>
                  </a:lnTo>
                  <a:lnTo>
                    <a:pt x="858" y="133"/>
                  </a:lnTo>
                  <a:lnTo>
                    <a:pt x="864" y="136"/>
                  </a:lnTo>
                  <a:lnTo>
                    <a:pt x="866" y="136"/>
                  </a:lnTo>
                  <a:lnTo>
                    <a:pt x="869" y="136"/>
                  </a:lnTo>
                  <a:lnTo>
                    <a:pt x="870" y="137"/>
                  </a:lnTo>
                  <a:lnTo>
                    <a:pt x="871" y="137"/>
                  </a:lnTo>
                  <a:lnTo>
                    <a:pt x="874" y="137"/>
                  </a:lnTo>
                  <a:lnTo>
                    <a:pt x="876" y="136"/>
                  </a:lnTo>
                  <a:lnTo>
                    <a:pt x="877" y="136"/>
                  </a:lnTo>
                  <a:lnTo>
                    <a:pt x="881" y="135"/>
                  </a:lnTo>
                  <a:lnTo>
                    <a:pt x="882" y="134"/>
                  </a:lnTo>
                  <a:lnTo>
                    <a:pt x="885" y="133"/>
                  </a:lnTo>
                  <a:lnTo>
                    <a:pt x="888" y="132"/>
                  </a:lnTo>
                  <a:lnTo>
                    <a:pt x="890" y="131"/>
                  </a:lnTo>
                  <a:lnTo>
                    <a:pt x="891" y="131"/>
                  </a:lnTo>
                  <a:lnTo>
                    <a:pt x="892" y="131"/>
                  </a:lnTo>
                  <a:lnTo>
                    <a:pt x="893" y="132"/>
                  </a:lnTo>
                  <a:lnTo>
                    <a:pt x="894" y="132"/>
                  </a:lnTo>
                  <a:lnTo>
                    <a:pt x="895" y="133"/>
                  </a:lnTo>
                  <a:lnTo>
                    <a:pt x="896" y="135"/>
                  </a:lnTo>
                  <a:lnTo>
                    <a:pt x="897" y="136"/>
                  </a:lnTo>
                  <a:lnTo>
                    <a:pt x="898" y="138"/>
                  </a:lnTo>
                  <a:lnTo>
                    <a:pt x="898" y="141"/>
                  </a:lnTo>
                  <a:lnTo>
                    <a:pt x="900" y="147"/>
                  </a:lnTo>
                  <a:lnTo>
                    <a:pt x="901" y="151"/>
                  </a:lnTo>
                  <a:lnTo>
                    <a:pt x="902" y="154"/>
                  </a:lnTo>
                  <a:lnTo>
                    <a:pt x="903" y="156"/>
                  </a:lnTo>
                  <a:lnTo>
                    <a:pt x="903" y="158"/>
                  </a:lnTo>
                  <a:lnTo>
                    <a:pt x="904" y="159"/>
                  </a:lnTo>
                  <a:lnTo>
                    <a:pt x="905" y="161"/>
                  </a:lnTo>
                  <a:lnTo>
                    <a:pt x="906" y="162"/>
                  </a:lnTo>
                  <a:lnTo>
                    <a:pt x="907" y="163"/>
                  </a:lnTo>
                  <a:lnTo>
                    <a:pt x="908" y="164"/>
                  </a:lnTo>
                  <a:lnTo>
                    <a:pt x="910" y="165"/>
                  </a:lnTo>
                  <a:lnTo>
                    <a:pt x="912" y="166"/>
                  </a:lnTo>
                  <a:lnTo>
                    <a:pt x="915" y="166"/>
                  </a:lnTo>
                  <a:lnTo>
                    <a:pt x="916" y="167"/>
                  </a:lnTo>
                  <a:lnTo>
                    <a:pt x="918" y="167"/>
                  </a:lnTo>
                  <a:lnTo>
                    <a:pt x="919" y="167"/>
                  </a:lnTo>
                  <a:lnTo>
                    <a:pt x="921" y="167"/>
                  </a:lnTo>
                  <a:lnTo>
                    <a:pt x="922" y="167"/>
                  </a:lnTo>
                  <a:lnTo>
                    <a:pt x="924" y="166"/>
                  </a:lnTo>
                  <a:lnTo>
                    <a:pt x="927" y="164"/>
                  </a:lnTo>
                  <a:lnTo>
                    <a:pt x="929" y="163"/>
                  </a:lnTo>
                  <a:lnTo>
                    <a:pt x="938" y="160"/>
                  </a:lnTo>
                  <a:lnTo>
                    <a:pt x="940" y="160"/>
                  </a:lnTo>
                  <a:lnTo>
                    <a:pt x="943" y="160"/>
                  </a:lnTo>
                  <a:lnTo>
                    <a:pt x="949" y="159"/>
                  </a:lnTo>
                  <a:lnTo>
                    <a:pt x="951" y="159"/>
                  </a:lnTo>
                  <a:lnTo>
                    <a:pt x="956" y="158"/>
                  </a:lnTo>
                  <a:lnTo>
                    <a:pt x="959" y="158"/>
                  </a:lnTo>
                  <a:lnTo>
                    <a:pt x="975" y="158"/>
                  </a:lnTo>
                  <a:lnTo>
                    <a:pt x="977" y="157"/>
                  </a:lnTo>
                  <a:lnTo>
                    <a:pt x="979" y="157"/>
                  </a:lnTo>
                  <a:lnTo>
                    <a:pt x="981" y="156"/>
                  </a:lnTo>
                  <a:lnTo>
                    <a:pt x="982" y="155"/>
                  </a:lnTo>
                  <a:lnTo>
                    <a:pt x="987" y="149"/>
                  </a:lnTo>
                  <a:lnTo>
                    <a:pt x="996" y="143"/>
                  </a:lnTo>
                  <a:lnTo>
                    <a:pt x="999" y="140"/>
                  </a:lnTo>
                  <a:lnTo>
                    <a:pt x="1001" y="138"/>
                  </a:lnTo>
                  <a:lnTo>
                    <a:pt x="1003" y="136"/>
                  </a:lnTo>
                  <a:lnTo>
                    <a:pt x="1005" y="134"/>
                  </a:lnTo>
                  <a:lnTo>
                    <a:pt x="1010" y="126"/>
                  </a:lnTo>
                  <a:lnTo>
                    <a:pt x="1011" y="124"/>
                  </a:lnTo>
                  <a:lnTo>
                    <a:pt x="1013" y="123"/>
                  </a:lnTo>
                  <a:lnTo>
                    <a:pt x="1014" y="122"/>
                  </a:lnTo>
                  <a:lnTo>
                    <a:pt x="1016" y="121"/>
                  </a:lnTo>
                  <a:lnTo>
                    <a:pt x="1021" y="116"/>
                  </a:lnTo>
                  <a:lnTo>
                    <a:pt x="1023" y="115"/>
                  </a:lnTo>
                  <a:lnTo>
                    <a:pt x="1025" y="113"/>
                  </a:lnTo>
                  <a:lnTo>
                    <a:pt x="1026" y="112"/>
                  </a:lnTo>
                  <a:lnTo>
                    <a:pt x="1027" y="110"/>
                  </a:lnTo>
                  <a:lnTo>
                    <a:pt x="1028" y="109"/>
                  </a:lnTo>
                  <a:lnTo>
                    <a:pt x="1028" y="106"/>
                  </a:lnTo>
                  <a:lnTo>
                    <a:pt x="1029" y="103"/>
                  </a:lnTo>
                  <a:lnTo>
                    <a:pt x="1030" y="100"/>
                  </a:lnTo>
                  <a:lnTo>
                    <a:pt x="1031" y="90"/>
                  </a:lnTo>
                  <a:lnTo>
                    <a:pt x="1031" y="87"/>
                  </a:lnTo>
                  <a:lnTo>
                    <a:pt x="1032" y="86"/>
                  </a:lnTo>
                  <a:lnTo>
                    <a:pt x="1033" y="82"/>
                  </a:lnTo>
                  <a:lnTo>
                    <a:pt x="1035" y="80"/>
                  </a:lnTo>
                  <a:lnTo>
                    <a:pt x="1036" y="80"/>
                  </a:lnTo>
                  <a:lnTo>
                    <a:pt x="1038" y="79"/>
                  </a:lnTo>
                  <a:lnTo>
                    <a:pt x="1040" y="78"/>
                  </a:lnTo>
                  <a:lnTo>
                    <a:pt x="1041" y="78"/>
                  </a:lnTo>
                  <a:lnTo>
                    <a:pt x="1044" y="78"/>
                  </a:lnTo>
                  <a:lnTo>
                    <a:pt x="1047" y="78"/>
                  </a:lnTo>
                  <a:lnTo>
                    <a:pt x="1051" y="78"/>
                  </a:lnTo>
                  <a:lnTo>
                    <a:pt x="1055" y="79"/>
                  </a:lnTo>
                  <a:lnTo>
                    <a:pt x="1061" y="80"/>
                  </a:lnTo>
                  <a:lnTo>
                    <a:pt x="1066" y="81"/>
                  </a:lnTo>
                  <a:lnTo>
                    <a:pt x="1075" y="84"/>
                  </a:lnTo>
                  <a:lnTo>
                    <a:pt x="1079" y="85"/>
                  </a:lnTo>
                  <a:lnTo>
                    <a:pt x="1082" y="86"/>
                  </a:lnTo>
                  <a:lnTo>
                    <a:pt x="1083" y="86"/>
                  </a:lnTo>
                  <a:lnTo>
                    <a:pt x="1085" y="86"/>
                  </a:lnTo>
                  <a:lnTo>
                    <a:pt x="1086" y="86"/>
                  </a:lnTo>
                  <a:lnTo>
                    <a:pt x="1088" y="85"/>
                  </a:lnTo>
                  <a:lnTo>
                    <a:pt x="1090" y="85"/>
                  </a:lnTo>
                  <a:lnTo>
                    <a:pt x="1092" y="84"/>
                  </a:lnTo>
                  <a:lnTo>
                    <a:pt x="1094" y="82"/>
                  </a:lnTo>
                  <a:lnTo>
                    <a:pt x="1096" y="81"/>
                  </a:lnTo>
                  <a:lnTo>
                    <a:pt x="1097" y="80"/>
                  </a:lnTo>
                  <a:lnTo>
                    <a:pt x="1099" y="79"/>
                  </a:lnTo>
                  <a:lnTo>
                    <a:pt x="1101" y="77"/>
                  </a:lnTo>
                  <a:lnTo>
                    <a:pt x="1102" y="76"/>
                  </a:lnTo>
                  <a:lnTo>
                    <a:pt x="1103" y="74"/>
                  </a:lnTo>
                  <a:lnTo>
                    <a:pt x="1104" y="72"/>
                  </a:lnTo>
                  <a:lnTo>
                    <a:pt x="1105" y="71"/>
                  </a:lnTo>
                  <a:lnTo>
                    <a:pt x="1105" y="69"/>
                  </a:lnTo>
                  <a:lnTo>
                    <a:pt x="1107" y="64"/>
                  </a:lnTo>
                  <a:lnTo>
                    <a:pt x="1107" y="61"/>
                  </a:lnTo>
                  <a:lnTo>
                    <a:pt x="1108" y="59"/>
                  </a:lnTo>
                  <a:lnTo>
                    <a:pt x="1108" y="58"/>
                  </a:lnTo>
                  <a:lnTo>
                    <a:pt x="1109" y="56"/>
                  </a:lnTo>
                  <a:lnTo>
                    <a:pt x="1110" y="56"/>
                  </a:lnTo>
                  <a:lnTo>
                    <a:pt x="1112" y="55"/>
                  </a:lnTo>
                  <a:lnTo>
                    <a:pt x="1114" y="53"/>
                  </a:lnTo>
                  <a:lnTo>
                    <a:pt x="1117" y="51"/>
                  </a:lnTo>
                  <a:lnTo>
                    <a:pt x="1119" y="49"/>
                  </a:lnTo>
                  <a:lnTo>
                    <a:pt x="1124" y="46"/>
                  </a:lnTo>
                  <a:lnTo>
                    <a:pt x="1133" y="42"/>
                  </a:lnTo>
                  <a:lnTo>
                    <a:pt x="1136" y="41"/>
                  </a:lnTo>
                  <a:lnTo>
                    <a:pt x="1138" y="40"/>
                  </a:lnTo>
                  <a:lnTo>
                    <a:pt x="1139" y="38"/>
                  </a:lnTo>
                  <a:lnTo>
                    <a:pt x="1140" y="37"/>
                  </a:lnTo>
                  <a:lnTo>
                    <a:pt x="1142" y="35"/>
                  </a:lnTo>
                  <a:lnTo>
                    <a:pt x="1142" y="34"/>
                  </a:lnTo>
                  <a:lnTo>
                    <a:pt x="1143" y="31"/>
                  </a:lnTo>
                  <a:lnTo>
                    <a:pt x="1143" y="29"/>
                  </a:lnTo>
                  <a:lnTo>
                    <a:pt x="1144" y="22"/>
                  </a:lnTo>
                  <a:lnTo>
                    <a:pt x="1145" y="20"/>
                  </a:lnTo>
                  <a:lnTo>
                    <a:pt x="1146" y="16"/>
                  </a:lnTo>
                  <a:lnTo>
                    <a:pt x="1149" y="10"/>
                  </a:lnTo>
                  <a:lnTo>
                    <a:pt x="1150" y="8"/>
                  </a:lnTo>
                  <a:lnTo>
                    <a:pt x="1151" y="5"/>
                  </a:lnTo>
                  <a:lnTo>
                    <a:pt x="1152" y="0"/>
                  </a:lnTo>
                  <a:lnTo>
                    <a:pt x="1153" y="0"/>
                  </a:lnTo>
                  <a:lnTo>
                    <a:pt x="1154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8" name="Freeform 87">
              <a:extLst>
                <a:ext uri="{FF2B5EF4-FFF2-40B4-BE49-F238E27FC236}">
                  <a16:creationId xmlns:a16="http://schemas.microsoft.com/office/drawing/2014/main" id="{BBA7BA53-2C3A-48DB-8374-EF987827A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" y="2017"/>
              <a:ext cx="352" cy="270"/>
            </a:xfrm>
            <a:custGeom>
              <a:avLst/>
              <a:gdLst>
                <a:gd name="T0" fmla="*/ 197 w 352"/>
                <a:gd name="T1" fmla="*/ 5 h 270"/>
                <a:gd name="T2" fmla="*/ 167 w 352"/>
                <a:gd name="T3" fmla="*/ 18 h 270"/>
                <a:gd name="T4" fmla="*/ 135 w 352"/>
                <a:gd name="T5" fmla="*/ 32 h 270"/>
                <a:gd name="T6" fmla="*/ 109 w 352"/>
                <a:gd name="T7" fmla="*/ 37 h 270"/>
                <a:gd name="T8" fmla="*/ 98 w 352"/>
                <a:gd name="T9" fmla="*/ 43 h 270"/>
                <a:gd name="T10" fmla="*/ 91 w 352"/>
                <a:gd name="T11" fmla="*/ 60 h 270"/>
                <a:gd name="T12" fmla="*/ 83 w 352"/>
                <a:gd name="T13" fmla="*/ 67 h 270"/>
                <a:gd name="T14" fmla="*/ 65 w 352"/>
                <a:gd name="T15" fmla="*/ 65 h 270"/>
                <a:gd name="T16" fmla="*/ 52 w 352"/>
                <a:gd name="T17" fmla="*/ 60 h 270"/>
                <a:gd name="T18" fmla="*/ 35 w 352"/>
                <a:gd name="T19" fmla="*/ 67 h 270"/>
                <a:gd name="T20" fmla="*/ 4 w 352"/>
                <a:gd name="T21" fmla="*/ 79 h 270"/>
                <a:gd name="T22" fmla="*/ 1 w 352"/>
                <a:gd name="T23" fmla="*/ 84 h 270"/>
                <a:gd name="T24" fmla="*/ 11 w 352"/>
                <a:gd name="T25" fmla="*/ 91 h 270"/>
                <a:gd name="T26" fmla="*/ 32 w 352"/>
                <a:gd name="T27" fmla="*/ 112 h 270"/>
                <a:gd name="T28" fmla="*/ 31 w 352"/>
                <a:gd name="T29" fmla="*/ 120 h 270"/>
                <a:gd name="T30" fmla="*/ 18 w 352"/>
                <a:gd name="T31" fmla="*/ 130 h 270"/>
                <a:gd name="T32" fmla="*/ 18 w 352"/>
                <a:gd name="T33" fmla="*/ 139 h 270"/>
                <a:gd name="T34" fmla="*/ 29 w 352"/>
                <a:gd name="T35" fmla="*/ 159 h 270"/>
                <a:gd name="T36" fmla="*/ 50 w 352"/>
                <a:gd name="T37" fmla="*/ 181 h 270"/>
                <a:gd name="T38" fmla="*/ 54 w 352"/>
                <a:gd name="T39" fmla="*/ 191 h 270"/>
                <a:gd name="T40" fmla="*/ 52 w 352"/>
                <a:gd name="T41" fmla="*/ 203 h 270"/>
                <a:gd name="T42" fmla="*/ 55 w 352"/>
                <a:gd name="T43" fmla="*/ 211 h 270"/>
                <a:gd name="T44" fmla="*/ 70 w 352"/>
                <a:gd name="T45" fmla="*/ 219 h 270"/>
                <a:gd name="T46" fmla="*/ 75 w 352"/>
                <a:gd name="T47" fmla="*/ 227 h 270"/>
                <a:gd name="T48" fmla="*/ 75 w 352"/>
                <a:gd name="T49" fmla="*/ 238 h 270"/>
                <a:gd name="T50" fmla="*/ 76 w 352"/>
                <a:gd name="T51" fmla="*/ 246 h 270"/>
                <a:gd name="T52" fmla="*/ 75 w 352"/>
                <a:gd name="T53" fmla="*/ 259 h 270"/>
                <a:gd name="T54" fmla="*/ 82 w 352"/>
                <a:gd name="T55" fmla="*/ 265 h 270"/>
                <a:gd name="T56" fmla="*/ 102 w 352"/>
                <a:gd name="T57" fmla="*/ 270 h 270"/>
                <a:gd name="T58" fmla="*/ 117 w 352"/>
                <a:gd name="T59" fmla="*/ 268 h 270"/>
                <a:gd name="T60" fmla="*/ 124 w 352"/>
                <a:gd name="T61" fmla="*/ 255 h 270"/>
                <a:gd name="T62" fmla="*/ 141 w 352"/>
                <a:gd name="T63" fmla="*/ 248 h 270"/>
                <a:gd name="T64" fmla="*/ 166 w 352"/>
                <a:gd name="T65" fmla="*/ 239 h 270"/>
                <a:gd name="T66" fmla="*/ 193 w 352"/>
                <a:gd name="T67" fmla="*/ 220 h 270"/>
                <a:gd name="T68" fmla="*/ 212 w 352"/>
                <a:gd name="T69" fmla="*/ 212 h 270"/>
                <a:gd name="T70" fmla="*/ 224 w 352"/>
                <a:gd name="T71" fmla="*/ 201 h 270"/>
                <a:gd name="T72" fmla="*/ 241 w 352"/>
                <a:gd name="T73" fmla="*/ 197 h 270"/>
                <a:gd name="T74" fmla="*/ 261 w 352"/>
                <a:gd name="T75" fmla="*/ 196 h 270"/>
                <a:gd name="T76" fmla="*/ 281 w 352"/>
                <a:gd name="T77" fmla="*/ 205 h 270"/>
                <a:gd name="T78" fmla="*/ 298 w 352"/>
                <a:gd name="T79" fmla="*/ 211 h 270"/>
                <a:gd name="T80" fmla="*/ 308 w 352"/>
                <a:gd name="T81" fmla="*/ 208 h 270"/>
                <a:gd name="T82" fmla="*/ 324 w 352"/>
                <a:gd name="T83" fmla="*/ 193 h 270"/>
                <a:gd name="T84" fmla="*/ 322 w 352"/>
                <a:gd name="T85" fmla="*/ 166 h 270"/>
                <a:gd name="T86" fmla="*/ 317 w 352"/>
                <a:gd name="T87" fmla="*/ 158 h 270"/>
                <a:gd name="T88" fmla="*/ 313 w 352"/>
                <a:gd name="T89" fmla="*/ 147 h 270"/>
                <a:gd name="T90" fmla="*/ 319 w 352"/>
                <a:gd name="T91" fmla="*/ 138 h 270"/>
                <a:gd name="T92" fmla="*/ 345 w 352"/>
                <a:gd name="T93" fmla="*/ 123 h 270"/>
                <a:gd name="T94" fmla="*/ 352 w 352"/>
                <a:gd name="T95" fmla="*/ 112 h 270"/>
                <a:gd name="T96" fmla="*/ 349 w 352"/>
                <a:gd name="T97" fmla="*/ 101 h 270"/>
                <a:gd name="T98" fmla="*/ 331 w 352"/>
                <a:gd name="T99" fmla="*/ 85 h 270"/>
                <a:gd name="T100" fmla="*/ 319 w 352"/>
                <a:gd name="T101" fmla="*/ 71 h 270"/>
                <a:gd name="T102" fmla="*/ 299 w 352"/>
                <a:gd name="T103" fmla="*/ 58 h 270"/>
                <a:gd name="T104" fmla="*/ 280 w 352"/>
                <a:gd name="T105" fmla="*/ 50 h 270"/>
                <a:gd name="T106" fmla="*/ 270 w 352"/>
                <a:gd name="T107" fmla="*/ 34 h 270"/>
                <a:gd name="T108" fmla="*/ 258 w 352"/>
                <a:gd name="T109" fmla="*/ 28 h 270"/>
                <a:gd name="T110" fmla="*/ 233 w 352"/>
                <a:gd name="T111" fmla="*/ 11 h 270"/>
                <a:gd name="T112" fmla="*/ 226 w 352"/>
                <a:gd name="T113" fmla="*/ 3 h 270"/>
                <a:gd name="T114" fmla="*/ 223 w 352"/>
                <a:gd name="T115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2" h="270">
                  <a:moveTo>
                    <a:pt x="222" y="0"/>
                  </a:moveTo>
                  <a:lnTo>
                    <a:pt x="222" y="0"/>
                  </a:lnTo>
                  <a:lnTo>
                    <a:pt x="221" y="0"/>
                  </a:lnTo>
                  <a:lnTo>
                    <a:pt x="214" y="1"/>
                  </a:lnTo>
                  <a:lnTo>
                    <a:pt x="202" y="4"/>
                  </a:lnTo>
                  <a:lnTo>
                    <a:pt x="197" y="5"/>
                  </a:lnTo>
                  <a:lnTo>
                    <a:pt x="191" y="7"/>
                  </a:lnTo>
                  <a:lnTo>
                    <a:pt x="185" y="9"/>
                  </a:lnTo>
                  <a:lnTo>
                    <a:pt x="181" y="11"/>
                  </a:lnTo>
                  <a:lnTo>
                    <a:pt x="178" y="12"/>
                  </a:lnTo>
                  <a:lnTo>
                    <a:pt x="171" y="16"/>
                  </a:lnTo>
                  <a:lnTo>
                    <a:pt x="167" y="18"/>
                  </a:lnTo>
                  <a:lnTo>
                    <a:pt x="163" y="20"/>
                  </a:lnTo>
                  <a:lnTo>
                    <a:pt x="155" y="23"/>
                  </a:lnTo>
                  <a:lnTo>
                    <a:pt x="152" y="23"/>
                  </a:lnTo>
                  <a:lnTo>
                    <a:pt x="149" y="25"/>
                  </a:lnTo>
                  <a:lnTo>
                    <a:pt x="139" y="30"/>
                  </a:lnTo>
                  <a:lnTo>
                    <a:pt x="135" y="32"/>
                  </a:lnTo>
                  <a:lnTo>
                    <a:pt x="132" y="33"/>
                  </a:lnTo>
                  <a:lnTo>
                    <a:pt x="125" y="34"/>
                  </a:lnTo>
                  <a:lnTo>
                    <a:pt x="121" y="35"/>
                  </a:lnTo>
                  <a:lnTo>
                    <a:pt x="119" y="36"/>
                  </a:lnTo>
                  <a:lnTo>
                    <a:pt x="112" y="36"/>
                  </a:lnTo>
                  <a:lnTo>
                    <a:pt x="109" y="37"/>
                  </a:lnTo>
                  <a:lnTo>
                    <a:pt x="106" y="37"/>
                  </a:lnTo>
                  <a:lnTo>
                    <a:pt x="104" y="38"/>
                  </a:lnTo>
                  <a:lnTo>
                    <a:pt x="103" y="38"/>
                  </a:lnTo>
                  <a:lnTo>
                    <a:pt x="100" y="40"/>
                  </a:lnTo>
                  <a:lnTo>
                    <a:pt x="99" y="41"/>
                  </a:lnTo>
                  <a:lnTo>
                    <a:pt x="98" y="43"/>
                  </a:lnTo>
                  <a:lnTo>
                    <a:pt x="97" y="45"/>
                  </a:lnTo>
                  <a:lnTo>
                    <a:pt x="96" y="46"/>
                  </a:lnTo>
                  <a:lnTo>
                    <a:pt x="95" y="48"/>
                  </a:lnTo>
                  <a:lnTo>
                    <a:pt x="94" y="51"/>
                  </a:lnTo>
                  <a:lnTo>
                    <a:pt x="92" y="58"/>
                  </a:lnTo>
                  <a:lnTo>
                    <a:pt x="91" y="60"/>
                  </a:lnTo>
                  <a:lnTo>
                    <a:pt x="90" y="62"/>
                  </a:lnTo>
                  <a:lnTo>
                    <a:pt x="89" y="64"/>
                  </a:lnTo>
                  <a:lnTo>
                    <a:pt x="88" y="65"/>
                  </a:lnTo>
                  <a:lnTo>
                    <a:pt x="87" y="66"/>
                  </a:lnTo>
                  <a:lnTo>
                    <a:pt x="86" y="67"/>
                  </a:lnTo>
                  <a:lnTo>
                    <a:pt x="83" y="67"/>
                  </a:lnTo>
                  <a:lnTo>
                    <a:pt x="79" y="68"/>
                  </a:lnTo>
                  <a:lnTo>
                    <a:pt x="75" y="68"/>
                  </a:lnTo>
                  <a:lnTo>
                    <a:pt x="73" y="67"/>
                  </a:lnTo>
                  <a:lnTo>
                    <a:pt x="70" y="67"/>
                  </a:lnTo>
                  <a:lnTo>
                    <a:pt x="67" y="66"/>
                  </a:lnTo>
                  <a:lnTo>
                    <a:pt x="65" y="65"/>
                  </a:lnTo>
                  <a:lnTo>
                    <a:pt x="61" y="62"/>
                  </a:lnTo>
                  <a:lnTo>
                    <a:pt x="59" y="61"/>
                  </a:lnTo>
                  <a:lnTo>
                    <a:pt x="58" y="61"/>
                  </a:lnTo>
                  <a:lnTo>
                    <a:pt x="56" y="60"/>
                  </a:lnTo>
                  <a:lnTo>
                    <a:pt x="54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0" y="61"/>
                  </a:lnTo>
                  <a:lnTo>
                    <a:pt x="47" y="62"/>
                  </a:lnTo>
                  <a:lnTo>
                    <a:pt x="41" y="65"/>
                  </a:lnTo>
                  <a:lnTo>
                    <a:pt x="37" y="67"/>
                  </a:lnTo>
                  <a:lnTo>
                    <a:pt x="35" y="67"/>
                  </a:lnTo>
                  <a:lnTo>
                    <a:pt x="28" y="69"/>
                  </a:lnTo>
                  <a:lnTo>
                    <a:pt x="22" y="71"/>
                  </a:lnTo>
                  <a:lnTo>
                    <a:pt x="16" y="73"/>
                  </a:lnTo>
                  <a:lnTo>
                    <a:pt x="8" y="76"/>
                  </a:lnTo>
                  <a:lnTo>
                    <a:pt x="7" y="78"/>
                  </a:lnTo>
                  <a:lnTo>
                    <a:pt x="4" y="79"/>
                  </a:lnTo>
                  <a:lnTo>
                    <a:pt x="2" y="80"/>
                  </a:lnTo>
                  <a:lnTo>
                    <a:pt x="1" y="81"/>
                  </a:lnTo>
                  <a:lnTo>
                    <a:pt x="1" y="82"/>
                  </a:lnTo>
                  <a:lnTo>
                    <a:pt x="0" y="82"/>
                  </a:lnTo>
                  <a:lnTo>
                    <a:pt x="0" y="83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2" y="85"/>
                  </a:lnTo>
                  <a:lnTo>
                    <a:pt x="3" y="86"/>
                  </a:lnTo>
                  <a:lnTo>
                    <a:pt x="7" y="88"/>
                  </a:lnTo>
                  <a:lnTo>
                    <a:pt x="9" y="89"/>
                  </a:lnTo>
                  <a:lnTo>
                    <a:pt x="11" y="91"/>
                  </a:lnTo>
                  <a:lnTo>
                    <a:pt x="13" y="92"/>
                  </a:lnTo>
                  <a:lnTo>
                    <a:pt x="17" y="96"/>
                  </a:lnTo>
                  <a:lnTo>
                    <a:pt x="22" y="101"/>
                  </a:lnTo>
                  <a:lnTo>
                    <a:pt x="28" y="107"/>
                  </a:lnTo>
                  <a:lnTo>
                    <a:pt x="31" y="111"/>
                  </a:lnTo>
                  <a:lnTo>
                    <a:pt x="32" y="112"/>
                  </a:lnTo>
                  <a:lnTo>
                    <a:pt x="32" y="113"/>
                  </a:lnTo>
                  <a:lnTo>
                    <a:pt x="33" y="114"/>
                  </a:lnTo>
                  <a:lnTo>
                    <a:pt x="33" y="116"/>
                  </a:lnTo>
                  <a:lnTo>
                    <a:pt x="33" y="117"/>
                  </a:lnTo>
                  <a:lnTo>
                    <a:pt x="32" y="118"/>
                  </a:lnTo>
                  <a:lnTo>
                    <a:pt x="31" y="120"/>
                  </a:lnTo>
                  <a:lnTo>
                    <a:pt x="30" y="121"/>
                  </a:lnTo>
                  <a:lnTo>
                    <a:pt x="24" y="124"/>
                  </a:lnTo>
                  <a:lnTo>
                    <a:pt x="22" y="125"/>
                  </a:lnTo>
                  <a:lnTo>
                    <a:pt x="21" y="126"/>
                  </a:lnTo>
                  <a:lnTo>
                    <a:pt x="20" y="127"/>
                  </a:lnTo>
                  <a:lnTo>
                    <a:pt x="18" y="130"/>
                  </a:lnTo>
                  <a:lnTo>
                    <a:pt x="17" y="132"/>
                  </a:lnTo>
                  <a:lnTo>
                    <a:pt x="17" y="134"/>
                  </a:lnTo>
                  <a:lnTo>
                    <a:pt x="16" y="136"/>
                  </a:lnTo>
                  <a:lnTo>
                    <a:pt x="17" y="136"/>
                  </a:lnTo>
                  <a:lnTo>
                    <a:pt x="17" y="137"/>
                  </a:lnTo>
                  <a:lnTo>
                    <a:pt x="18" y="139"/>
                  </a:lnTo>
                  <a:lnTo>
                    <a:pt x="18" y="141"/>
                  </a:lnTo>
                  <a:lnTo>
                    <a:pt x="22" y="146"/>
                  </a:lnTo>
                  <a:lnTo>
                    <a:pt x="23" y="147"/>
                  </a:lnTo>
                  <a:lnTo>
                    <a:pt x="24" y="149"/>
                  </a:lnTo>
                  <a:lnTo>
                    <a:pt x="27" y="156"/>
                  </a:lnTo>
                  <a:lnTo>
                    <a:pt x="29" y="159"/>
                  </a:lnTo>
                  <a:lnTo>
                    <a:pt x="30" y="161"/>
                  </a:lnTo>
                  <a:lnTo>
                    <a:pt x="32" y="164"/>
                  </a:lnTo>
                  <a:lnTo>
                    <a:pt x="35" y="167"/>
                  </a:lnTo>
                  <a:lnTo>
                    <a:pt x="38" y="170"/>
                  </a:lnTo>
                  <a:lnTo>
                    <a:pt x="42" y="174"/>
                  </a:lnTo>
                  <a:lnTo>
                    <a:pt x="50" y="181"/>
                  </a:lnTo>
                  <a:lnTo>
                    <a:pt x="52" y="182"/>
                  </a:lnTo>
                  <a:lnTo>
                    <a:pt x="53" y="184"/>
                  </a:lnTo>
                  <a:lnTo>
                    <a:pt x="53" y="186"/>
                  </a:lnTo>
                  <a:lnTo>
                    <a:pt x="54" y="188"/>
                  </a:lnTo>
                  <a:lnTo>
                    <a:pt x="54" y="190"/>
                  </a:lnTo>
                  <a:lnTo>
                    <a:pt x="54" y="191"/>
                  </a:lnTo>
                  <a:lnTo>
                    <a:pt x="54" y="193"/>
                  </a:lnTo>
                  <a:lnTo>
                    <a:pt x="53" y="194"/>
                  </a:lnTo>
                  <a:lnTo>
                    <a:pt x="52" y="198"/>
                  </a:lnTo>
                  <a:lnTo>
                    <a:pt x="52" y="199"/>
                  </a:lnTo>
                  <a:lnTo>
                    <a:pt x="52" y="201"/>
                  </a:lnTo>
                  <a:lnTo>
                    <a:pt x="52" y="203"/>
                  </a:lnTo>
                  <a:lnTo>
                    <a:pt x="52" y="204"/>
                  </a:lnTo>
                  <a:lnTo>
                    <a:pt x="52" y="205"/>
                  </a:lnTo>
                  <a:lnTo>
                    <a:pt x="52" y="206"/>
                  </a:lnTo>
                  <a:lnTo>
                    <a:pt x="53" y="208"/>
                  </a:lnTo>
                  <a:lnTo>
                    <a:pt x="54" y="209"/>
                  </a:lnTo>
                  <a:lnTo>
                    <a:pt x="55" y="211"/>
                  </a:lnTo>
                  <a:lnTo>
                    <a:pt x="57" y="213"/>
                  </a:lnTo>
                  <a:lnTo>
                    <a:pt x="59" y="214"/>
                  </a:lnTo>
                  <a:lnTo>
                    <a:pt x="61" y="215"/>
                  </a:lnTo>
                  <a:lnTo>
                    <a:pt x="63" y="216"/>
                  </a:lnTo>
                  <a:lnTo>
                    <a:pt x="68" y="218"/>
                  </a:lnTo>
                  <a:lnTo>
                    <a:pt x="70" y="219"/>
                  </a:lnTo>
                  <a:lnTo>
                    <a:pt x="72" y="220"/>
                  </a:lnTo>
                  <a:lnTo>
                    <a:pt x="73" y="221"/>
                  </a:lnTo>
                  <a:lnTo>
                    <a:pt x="73" y="222"/>
                  </a:lnTo>
                  <a:lnTo>
                    <a:pt x="74" y="224"/>
                  </a:lnTo>
                  <a:lnTo>
                    <a:pt x="74" y="225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5" y="230"/>
                  </a:lnTo>
                  <a:lnTo>
                    <a:pt x="74" y="235"/>
                  </a:lnTo>
                  <a:lnTo>
                    <a:pt x="74" y="237"/>
                  </a:lnTo>
                  <a:lnTo>
                    <a:pt x="75" y="238"/>
                  </a:lnTo>
                  <a:lnTo>
                    <a:pt x="75" y="238"/>
                  </a:lnTo>
                  <a:lnTo>
                    <a:pt x="75" y="240"/>
                  </a:lnTo>
                  <a:lnTo>
                    <a:pt x="76" y="241"/>
                  </a:lnTo>
                  <a:lnTo>
                    <a:pt x="76" y="242"/>
                  </a:lnTo>
                  <a:lnTo>
                    <a:pt x="76" y="243"/>
                  </a:lnTo>
                  <a:lnTo>
                    <a:pt x="76" y="245"/>
                  </a:lnTo>
                  <a:lnTo>
                    <a:pt x="76" y="246"/>
                  </a:lnTo>
                  <a:lnTo>
                    <a:pt x="75" y="250"/>
                  </a:lnTo>
                  <a:lnTo>
                    <a:pt x="74" y="252"/>
                  </a:lnTo>
                  <a:lnTo>
                    <a:pt x="74" y="255"/>
                  </a:lnTo>
                  <a:lnTo>
                    <a:pt x="74" y="256"/>
                  </a:lnTo>
                  <a:lnTo>
                    <a:pt x="75" y="258"/>
                  </a:lnTo>
                  <a:lnTo>
                    <a:pt x="75" y="259"/>
                  </a:lnTo>
                  <a:lnTo>
                    <a:pt x="75" y="261"/>
                  </a:lnTo>
                  <a:lnTo>
                    <a:pt x="76" y="261"/>
                  </a:lnTo>
                  <a:lnTo>
                    <a:pt x="78" y="263"/>
                  </a:lnTo>
                  <a:lnTo>
                    <a:pt x="79" y="263"/>
                  </a:lnTo>
                  <a:lnTo>
                    <a:pt x="80" y="264"/>
                  </a:lnTo>
                  <a:lnTo>
                    <a:pt x="82" y="265"/>
                  </a:lnTo>
                  <a:lnTo>
                    <a:pt x="84" y="266"/>
                  </a:lnTo>
                  <a:lnTo>
                    <a:pt x="85" y="267"/>
                  </a:lnTo>
                  <a:lnTo>
                    <a:pt x="86" y="268"/>
                  </a:lnTo>
                  <a:lnTo>
                    <a:pt x="89" y="268"/>
                  </a:lnTo>
                  <a:lnTo>
                    <a:pt x="93" y="269"/>
                  </a:lnTo>
                  <a:lnTo>
                    <a:pt x="102" y="270"/>
                  </a:lnTo>
                  <a:lnTo>
                    <a:pt x="106" y="270"/>
                  </a:lnTo>
                  <a:lnTo>
                    <a:pt x="111" y="270"/>
                  </a:lnTo>
                  <a:lnTo>
                    <a:pt x="113" y="270"/>
                  </a:lnTo>
                  <a:lnTo>
                    <a:pt x="115" y="269"/>
                  </a:lnTo>
                  <a:lnTo>
                    <a:pt x="116" y="269"/>
                  </a:lnTo>
                  <a:lnTo>
                    <a:pt x="117" y="268"/>
                  </a:lnTo>
                  <a:lnTo>
                    <a:pt x="117" y="267"/>
                  </a:lnTo>
                  <a:lnTo>
                    <a:pt x="118" y="266"/>
                  </a:lnTo>
                  <a:lnTo>
                    <a:pt x="119" y="264"/>
                  </a:lnTo>
                  <a:lnTo>
                    <a:pt x="122" y="259"/>
                  </a:lnTo>
                  <a:lnTo>
                    <a:pt x="123" y="256"/>
                  </a:lnTo>
                  <a:lnTo>
                    <a:pt x="124" y="255"/>
                  </a:lnTo>
                  <a:lnTo>
                    <a:pt x="126" y="253"/>
                  </a:lnTo>
                  <a:lnTo>
                    <a:pt x="127" y="252"/>
                  </a:lnTo>
                  <a:lnTo>
                    <a:pt x="128" y="251"/>
                  </a:lnTo>
                  <a:lnTo>
                    <a:pt x="130" y="250"/>
                  </a:lnTo>
                  <a:lnTo>
                    <a:pt x="132" y="249"/>
                  </a:lnTo>
                  <a:lnTo>
                    <a:pt x="141" y="248"/>
                  </a:lnTo>
                  <a:lnTo>
                    <a:pt x="143" y="248"/>
                  </a:lnTo>
                  <a:lnTo>
                    <a:pt x="147" y="247"/>
                  </a:lnTo>
                  <a:lnTo>
                    <a:pt x="152" y="245"/>
                  </a:lnTo>
                  <a:lnTo>
                    <a:pt x="158" y="242"/>
                  </a:lnTo>
                  <a:lnTo>
                    <a:pt x="164" y="240"/>
                  </a:lnTo>
                  <a:lnTo>
                    <a:pt x="166" y="239"/>
                  </a:lnTo>
                  <a:lnTo>
                    <a:pt x="168" y="238"/>
                  </a:lnTo>
                  <a:lnTo>
                    <a:pt x="170" y="238"/>
                  </a:lnTo>
                  <a:lnTo>
                    <a:pt x="172" y="236"/>
                  </a:lnTo>
                  <a:lnTo>
                    <a:pt x="186" y="226"/>
                  </a:lnTo>
                  <a:lnTo>
                    <a:pt x="191" y="221"/>
                  </a:lnTo>
                  <a:lnTo>
                    <a:pt x="193" y="220"/>
                  </a:lnTo>
                  <a:lnTo>
                    <a:pt x="195" y="218"/>
                  </a:lnTo>
                  <a:lnTo>
                    <a:pt x="199" y="216"/>
                  </a:lnTo>
                  <a:lnTo>
                    <a:pt x="201" y="215"/>
                  </a:lnTo>
                  <a:lnTo>
                    <a:pt x="208" y="214"/>
                  </a:lnTo>
                  <a:lnTo>
                    <a:pt x="210" y="213"/>
                  </a:lnTo>
                  <a:lnTo>
                    <a:pt x="212" y="212"/>
                  </a:lnTo>
                  <a:lnTo>
                    <a:pt x="214" y="210"/>
                  </a:lnTo>
                  <a:lnTo>
                    <a:pt x="217" y="208"/>
                  </a:lnTo>
                  <a:lnTo>
                    <a:pt x="219" y="206"/>
                  </a:lnTo>
                  <a:lnTo>
                    <a:pt x="222" y="203"/>
                  </a:lnTo>
                  <a:lnTo>
                    <a:pt x="223" y="202"/>
                  </a:lnTo>
                  <a:lnTo>
                    <a:pt x="224" y="201"/>
                  </a:lnTo>
                  <a:lnTo>
                    <a:pt x="226" y="200"/>
                  </a:lnTo>
                  <a:lnTo>
                    <a:pt x="227" y="199"/>
                  </a:lnTo>
                  <a:lnTo>
                    <a:pt x="229" y="199"/>
                  </a:lnTo>
                  <a:lnTo>
                    <a:pt x="231" y="198"/>
                  </a:lnTo>
                  <a:lnTo>
                    <a:pt x="233" y="198"/>
                  </a:lnTo>
                  <a:lnTo>
                    <a:pt x="241" y="197"/>
                  </a:lnTo>
                  <a:lnTo>
                    <a:pt x="244" y="196"/>
                  </a:lnTo>
                  <a:lnTo>
                    <a:pt x="246" y="196"/>
                  </a:lnTo>
                  <a:lnTo>
                    <a:pt x="252" y="196"/>
                  </a:lnTo>
                  <a:lnTo>
                    <a:pt x="258" y="195"/>
                  </a:lnTo>
                  <a:lnTo>
                    <a:pt x="260" y="195"/>
                  </a:lnTo>
                  <a:lnTo>
                    <a:pt x="261" y="196"/>
                  </a:lnTo>
                  <a:lnTo>
                    <a:pt x="263" y="196"/>
                  </a:lnTo>
                  <a:lnTo>
                    <a:pt x="267" y="197"/>
                  </a:lnTo>
                  <a:lnTo>
                    <a:pt x="269" y="199"/>
                  </a:lnTo>
                  <a:lnTo>
                    <a:pt x="272" y="200"/>
                  </a:lnTo>
                  <a:lnTo>
                    <a:pt x="277" y="202"/>
                  </a:lnTo>
                  <a:lnTo>
                    <a:pt x="281" y="205"/>
                  </a:lnTo>
                  <a:lnTo>
                    <a:pt x="284" y="207"/>
                  </a:lnTo>
                  <a:lnTo>
                    <a:pt x="286" y="208"/>
                  </a:lnTo>
                  <a:lnTo>
                    <a:pt x="289" y="209"/>
                  </a:lnTo>
                  <a:lnTo>
                    <a:pt x="291" y="210"/>
                  </a:lnTo>
                  <a:lnTo>
                    <a:pt x="294" y="211"/>
                  </a:lnTo>
                  <a:lnTo>
                    <a:pt x="298" y="211"/>
                  </a:lnTo>
                  <a:lnTo>
                    <a:pt x="301" y="211"/>
                  </a:lnTo>
                  <a:lnTo>
                    <a:pt x="303" y="211"/>
                  </a:lnTo>
                  <a:lnTo>
                    <a:pt x="304" y="211"/>
                  </a:lnTo>
                  <a:lnTo>
                    <a:pt x="306" y="210"/>
                  </a:lnTo>
                  <a:lnTo>
                    <a:pt x="307" y="209"/>
                  </a:lnTo>
                  <a:lnTo>
                    <a:pt x="308" y="208"/>
                  </a:lnTo>
                  <a:lnTo>
                    <a:pt x="312" y="205"/>
                  </a:lnTo>
                  <a:lnTo>
                    <a:pt x="318" y="201"/>
                  </a:lnTo>
                  <a:lnTo>
                    <a:pt x="319" y="200"/>
                  </a:lnTo>
                  <a:lnTo>
                    <a:pt x="321" y="198"/>
                  </a:lnTo>
                  <a:lnTo>
                    <a:pt x="323" y="196"/>
                  </a:lnTo>
                  <a:lnTo>
                    <a:pt x="324" y="193"/>
                  </a:lnTo>
                  <a:lnTo>
                    <a:pt x="325" y="191"/>
                  </a:lnTo>
                  <a:lnTo>
                    <a:pt x="325" y="189"/>
                  </a:lnTo>
                  <a:lnTo>
                    <a:pt x="325" y="186"/>
                  </a:lnTo>
                  <a:lnTo>
                    <a:pt x="325" y="182"/>
                  </a:lnTo>
                  <a:lnTo>
                    <a:pt x="323" y="173"/>
                  </a:lnTo>
                  <a:lnTo>
                    <a:pt x="322" y="166"/>
                  </a:lnTo>
                  <a:lnTo>
                    <a:pt x="322" y="164"/>
                  </a:lnTo>
                  <a:lnTo>
                    <a:pt x="321" y="163"/>
                  </a:lnTo>
                  <a:lnTo>
                    <a:pt x="320" y="161"/>
                  </a:lnTo>
                  <a:lnTo>
                    <a:pt x="319" y="159"/>
                  </a:lnTo>
                  <a:lnTo>
                    <a:pt x="318" y="159"/>
                  </a:lnTo>
                  <a:lnTo>
                    <a:pt x="317" y="158"/>
                  </a:lnTo>
                  <a:lnTo>
                    <a:pt x="314" y="154"/>
                  </a:lnTo>
                  <a:lnTo>
                    <a:pt x="314" y="153"/>
                  </a:lnTo>
                  <a:lnTo>
                    <a:pt x="314" y="152"/>
                  </a:lnTo>
                  <a:lnTo>
                    <a:pt x="313" y="150"/>
                  </a:lnTo>
                  <a:lnTo>
                    <a:pt x="313" y="149"/>
                  </a:lnTo>
                  <a:lnTo>
                    <a:pt x="313" y="147"/>
                  </a:lnTo>
                  <a:lnTo>
                    <a:pt x="314" y="146"/>
                  </a:lnTo>
                  <a:lnTo>
                    <a:pt x="314" y="145"/>
                  </a:lnTo>
                  <a:lnTo>
                    <a:pt x="314" y="144"/>
                  </a:lnTo>
                  <a:lnTo>
                    <a:pt x="315" y="142"/>
                  </a:lnTo>
                  <a:lnTo>
                    <a:pt x="316" y="141"/>
                  </a:lnTo>
                  <a:lnTo>
                    <a:pt x="319" y="138"/>
                  </a:lnTo>
                  <a:lnTo>
                    <a:pt x="321" y="137"/>
                  </a:lnTo>
                  <a:lnTo>
                    <a:pt x="324" y="136"/>
                  </a:lnTo>
                  <a:lnTo>
                    <a:pt x="336" y="129"/>
                  </a:lnTo>
                  <a:lnTo>
                    <a:pt x="341" y="125"/>
                  </a:lnTo>
                  <a:lnTo>
                    <a:pt x="343" y="124"/>
                  </a:lnTo>
                  <a:lnTo>
                    <a:pt x="345" y="123"/>
                  </a:lnTo>
                  <a:lnTo>
                    <a:pt x="347" y="121"/>
                  </a:lnTo>
                  <a:lnTo>
                    <a:pt x="348" y="120"/>
                  </a:lnTo>
                  <a:lnTo>
                    <a:pt x="349" y="119"/>
                  </a:lnTo>
                  <a:lnTo>
                    <a:pt x="350" y="116"/>
                  </a:lnTo>
                  <a:lnTo>
                    <a:pt x="351" y="113"/>
                  </a:lnTo>
                  <a:lnTo>
                    <a:pt x="352" y="112"/>
                  </a:lnTo>
                  <a:lnTo>
                    <a:pt x="352" y="109"/>
                  </a:lnTo>
                  <a:lnTo>
                    <a:pt x="352" y="108"/>
                  </a:lnTo>
                  <a:lnTo>
                    <a:pt x="352" y="107"/>
                  </a:lnTo>
                  <a:lnTo>
                    <a:pt x="351" y="104"/>
                  </a:lnTo>
                  <a:lnTo>
                    <a:pt x="350" y="102"/>
                  </a:lnTo>
                  <a:lnTo>
                    <a:pt x="349" y="101"/>
                  </a:lnTo>
                  <a:lnTo>
                    <a:pt x="348" y="99"/>
                  </a:lnTo>
                  <a:lnTo>
                    <a:pt x="346" y="96"/>
                  </a:lnTo>
                  <a:lnTo>
                    <a:pt x="344" y="93"/>
                  </a:lnTo>
                  <a:lnTo>
                    <a:pt x="342" y="92"/>
                  </a:lnTo>
                  <a:lnTo>
                    <a:pt x="340" y="91"/>
                  </a:lnTo>
                  <a:lnTo>
                    <a:pt x="331" y="85"/>
                  </a:lnTo>
                  <a:lnTo>
                    <a:pt x="329" y="83"/>
                  </a:lnTo>
                  <a:lnTo>
                    <a:pt x="327" y="81"/>
                  </a:lnTo>
                  <a:lnTo>
                    <a:pt x="326" y="79"/>
                  </a:lnTo>
                  <a:lnTo>
                    <a:pt x="325" y="78"/>
                  </a:lnTo>
                  <a:lnTo>
                    <a:pt x="321" y="72"/>
                  </a:lnTo>
                  <a:lnTo>
                    <a:pt x="319" y="71"/>
                  </a:lnTo>
                  <a:lnTo>
                    <a:pt x="318" y="69"/>
                  </a:lnTo>
                  <a:lnTo>
                    <a:pt x="316" y="68"/>
                  </a:lnTo>
                  <a:lnTo>
                    <a:pt x="314" y="67"/>
                  </a:lnTo>
                  <a:lnTo>
                    <a:pt x="312" y="65"/>
                  </a:lnTo>
                  <a:lnTo>
                    <a:pt x="303" y="60"/>
                  </a:lnTo>
                  <a:lnTo>
                    <a:pt x="299" y="58"/>
                  </a:lnTo>
                  <a:lnTo>
                    <a:pt x="291" y="56"/>
                  </a:lnTo>
                  <a:lnTo>
                    <a:pt x="287" y="55"/>
                  </a:lnTo>
                  <a:lnTo>
                    <a:pt x="285" y="54"/>
                  </a:lnTo>
                  <a:lnTo>
                    <a:pt x="283" y="53"/>
                  </a:lnTo>
                  <a:lnTo>
                    <a:pt x="281" y="51"/>
                  </a:lnTo>
                  <a:lnTo>
                    <a:pt x="280" y="50"/>
                  </a:lnTo>
                  <a:lnTo>
                    <a:pt x="278" y="48"/>
                  </a:lnTo>
                  <a:lnTo>
                    <a:pt x="276" y="46"/>
                  </a:lnTo>
                  <a:lnTo>
                    <a:pt x="275" y="45"/>
                  </a:lnTo>
                  <a:lnTo>
                    <a:pt x="273" y="42"/>
                  </a:lnTo>
                  <a:lnTo>
                    <a:pt x="272" y="40"/>
                  </a:lnTo>
                  <a:lnTo>
                    <a:pt x="270" y="34"/>
                  </a:lnTo>
                  <a:lnTo>
                    <a:pt x="269" y="33"/>
                  </a:lnTo>
                  <a:lnTo>
                    <a:pt x="268" y="32"/>
                  </a:lnTo>
                  <a:lnTo>
                    <a:pt x="267" y="31"/>
                  </a:lnTo>
                  <a:lnTo>
                    <a:pt x="266" y="30"/>
                  </a:lnTo>
                  <a:lnTo>
                    <a:pt x="264" y="29"/>
                  </a:lnTo>
                  <a:lnTo>
                    <a:pt x="258" y="28"/>
                  </a:lnTo>
                  <a:lnTo>
                    <a:pt x="256" y="27"/>
                  </a:lnTo>
                  <a:lnTo>
                    <a:pt x="253" y="26"/>
                  </a:lnTo>
                  <a:lnTo>
                    <a:pt x="250" y="24"/>
                  </a:lnTo>
                  <a:lnTo>
                    <a:pt x="243" y="18"/>
                  </a:lnTo>
                  <a:lnTo>
                    <a:pt x="239" y="15"/>
                  </a:lnTo>
                  <a:lnTo>
                    <a:pt x="233" y="11"/>
                  </a:lnTo>
                  <a:lnTo>
                    <a:pt x="231" y="10"/>
                  </a:lnTo>
                  <a:lnTo>
                    <a:pt x="229" y="9"/>
                  </a:lnTo>
                  <a:lnTo>
                    <a:pt x="228" y="7"/>
                  </a:lnTo>
                  <a:lnTo>
                    <a:pt x="227" y="6"/>
                  </a:lnTo>
                  <a:lnTo>
                    <a:pt x="226" y="4"/>
                  </a:lnTo>
                  <a:lnTo>
                    <a:pt x="226" y="3"/>
                  </a:lnTo>
                  <a:lnTo>
                    <a:pt x="226" y="2"/>
                  </a:lnTo>
                  <a:lnTo>
                    <a:pt x="226" y="1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2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9" name="Freeform 88">
              <a:extLst>
                <a:ext uri="{FF2B5EF4-FFF2-40B4-BE49-F238E27FC236}">
                  <a16:creationId xmlns:a16="http://schemas.microsoft.com/office/drawing/2014/main" id="{2A3162D9-15B0-4E65-B263-2AF5BDAA9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9" y="2684"/>
              <a:ext cx="1183" cy="1090"/>
            </a:xfrm>
            <a:custGeom>
              <a:avLst/>
              <a:gdLst>
                <a:gd name="T0" fmla="*/ 13 w 1183"/>
                <a:gd name="T1" fmla="*/ 93 h 1090"/>
                <a:gd name="T2" fmla="*/ 87 w 1183"/>
                <a:gd name="T3" fmla="*/ 91 h 1090"/>
                <a:gd name="T4" fmla="*/ 128 w 1183"/>
                <a:gd name="T5" fmla="*/ 62 h 1090"/>
                <a:gd name="T6" fmla="*/ 176 w 1183"/>
                <a:gd name="T7" fmla="*/ 69 h 1090"/>
                <a:gd name="T8" fmla="*/ 206 w 1183"/>
                <a:gd name="T9" fmla="*/ 95 h 1090"/>
                <a:gd name="T10" fmla="*/ 251 w 1183"/>
                <a:gd name="T11" fmla="*/ 85 h 1090"/>
                <a:gd name="T12" fmla="*/ 270 w 1183"/>
                <a:gd name="T13" fmla="*/ 70 h 1090"/>
                <a:gd name="T14" fmla="*/ 318 w 1183"/>
                <a:gd name="T15" fmla="*/ 85 h 1090"/>
                <a:gd name="T16" fmla="*/ 373 w 1183"/>
                <a:gd name="T17" fmla="*/ 93 h 1090"/>
                <a:gd name="T18" fmla="*/ 400 w 1183"/>
                <a:gd name="T19" fmla="*/ 103 h 1090"/>
                <a:gd name="T20" fmla="*/ 442 w 1183"/>
                <a:gd name="T21" fmla="*/ 120 h 1090"/>
                <a:gd name="T22" fmla="*/ 479 w 1183"/>
                <a:gd name="T23" fmla="*/ 91 h 1090"/>
                <a:gd name="T24" fmla="*/ 512 w 1183"/>
                <a:gd name="T25" fmla="*/ 61 h 1090"/>
                <a:gd name="T26" fmla="*/ 521 w 1183"/>
                <a:gd name="T27" fmla="*/ 17 h 1090"/>
                <a:gd name="T28" fmla="*/ 559 w 1183"/>
                <a:gd name="T29" fmla="*/ 9 h 1090"/>
                <a:gd name="T30" fmla="*/ 610 w 1183"/>
                <a:gd name="T31" fmla="*/ 35 h 1090"/>
                <a:gd name="T32" fmla="*/ 638 w 1183"/>
                <a:gd name="T33" fmla="*/ 67 h 1090"/>
                <a:gd name="T34" fmla="*/ 669 w 1183"/>
                <a:gd name="T35" fmla="*/ 76 h 1090"/>
                <a:gd name="T36" fmla="*/ 658 w 1183"/>
                <a:gd name="T37" fmla="*/ 108 h 1090"/>
                <a:gd name="T38" fmla="*/ 663 w 1183"/>
                <a:gd name="T39" fmla="*/ 141 h 1090"/>
                <a:gd name="T40" fmla="*/ 649 w 1183"/>
                <a:gd name="T41" fmla="*/ 217 h 1090"/>
                <a:gd name="T42" fmla="*/ 639 w 1183"/>
                <a:gd name="T43" fmla="*/ 271 h 1090"/>
                <a:gd name="T44" fmla="*/ 664 w 1183"/>
                <a:gd name="T45" fmla="*/ 308 h 1090"/>
                <a:gd name="T46" fmla="*/ 666 w 1183"/>
                <a:gd name="T47" fmla="*/ 356 h 1090"/>
                <a:gd name="T48" fmla="*/ 718 w 1183"/>
                <a:gd name="T49" fmla="*/ 392 h 1090"/>
                <a:gd name="T50" fmla="*/ 771 w 1183"/>
                <a:gd name="T51" fmla="*/ 399 h 1090"/>
                <a:gd name="T52" fmla="*/ 794 w 1183"/>
                <a:gd name="T53" fmla="*/ 424 h 1090"/>
                <a:gd name="T54" fmla="*/ 810 w 1183"/>
                <a:gd name="T55" fmla="*/ 437 h 1090"/>
                <a:gd name="T56" fmla="*/ 847 w 1183"/>
                <a:gd name="T57" fmla="*/ 463 h 1090"/>
                <a:gd name="T58" fmla="*/ 911 w 1183"/>
                <a:gd name="T59" fmla="*/ 466 h 1090"/>
                <a:gd name="T60" fmla="*/ 970 w 1183"/>
                <a:gd name="T61" fmla="*/ 468 h 1090"/>
                <a:gd name="T62" fmla="*/ 989 w 1183"/>
                <a:gd name="T63" fmla="*/ 500 h 1090"/>
                <a:gd name="T64" fmla="*/ 1020 w 1183"/>
                <a:gd name="T65" fmla="*/ 562 h 1090"/>
                <a:gd name="T66" fmla="*/ 1069 w 1183"/>
                <a:gd name="T67" fmla="*/ 576 h 1090"/>
                <a:gd name="T68" fmla="*/ 1138 w 1183"/>
                <a:gd name="T69" fmla="*/ 569 h 1090"/>
                <a:gd name="T70" fmla="*/ 1158 w 1183"/>
                <a:gd name="T71" fmla="*/ 581 h 1090"/>
                <a:gd name="T72" fmla="*/ 1182 w 1183"/>
                <a:gd name="T73" fmla="*/ 617 h 1090"/>
                <a:gd name="T74" fmla="*/ 1156 w 1183"/>
                <a:gd name="T75" fmla="*/ 640 h 1090"/>
                <a:gd name="T76" fmla="*/ 1132 w 1183"/>
                <a:gd name="T77" fmla="*/ 689 h 1090"/>
                <a:gd name="T78" fmla="*/ 1106 w 1183"/>
                <a:gd name="T79" fmla="*/ 728 h 1090"/>
                <a:gd name="T80" fmla="*/ 1135 w 1183"/>
                <a:gd name="T81" fmla="*/ 749 h 1090"/>
                <a:gd name="T82" fmla="*/ 1177 w 1183"/>
                <a:gd name="T83" fmla="*/ 785 h 1090"/>
                <a:gd name="T84" fmla="*/ 1159 w 1183"/>
                <a:gd name="T85" fmla="*/ 807 h 1090"/>
                <a:gd name="T86" fmla="*/ 1143 w 1183"/>
                <a:gd name="T87" fmla="*/ 833 h 1090"/>
                <a:gd name="T88" fmla="*/ 1088 w 1183"/>
                <a:gd name="T89" fmla="*/ 788 h 1090"/>
                <a:gd name="T90" fmla="*/ 1008 w 1183"/>
                <a:gd name="T91" fmla="*/ 750 h 1090"/>
                <a:gd name="T92" fmla="*/ 945 w 1183"/>
                <a:gd name="T93" fmla="*/ 740 h 1090"/>
                <a:gd name="T94" fmla="*/ 921 w 1183"/>
                <a:gd name="T95" fmla="*/ 773 h 1090"/>
                <a:gd name="T96" fmla="*/ 854 w 1183"/>
                <a:gd name="T97" fmla="*/ 790 h 1090"/>
                <a:gd name="T98" fmla="*/ 845 w 1183"/>
                <a:gd name="T99" fmla="*/ 754 h 1090"/>
                <a:gd name="T100" fmla="*/ 797 w 1183"/>
                <a:gd name="T101" fmla="*/ 727 h 1090"/>
                <a:gd name="T102" fmla="*/ 751 w 1183"/>
                <a:gd name="T103" fmla="*/ 708 h 1090"/>
                <a:gd name="T104" fmla="*/ 715 w 1183"/>
                <a:gd name="T105" fmla="*/ 728 h 1090"/>
                <a:gd name="T106" fmla="*/ 707 w 1183"/>
                <a:gd name="T107" fmla="*/ 807 h 1090"/>
                <a:gd name="T108" fmla="*/ 702 w 1183"/>
                <a:gd name="T109" fmla="*/ 895 h 1090"/>
                <a:gd name="T110" fmla="*/ 689 w 1183"/>
                <a:gd name="T111" fmla="*/ 971 h 1090"/>
                <a:gd name="T112" fmla="*/ 686 w 1183"/>
                <a:gd name="T113" fmla="*/ 1006 h 1090"/>
                <a:gd name="T114" fmla="*/ 597 w 1183"/>
                <a:gd name="T115" fmla="*/ 984 h 1090"/>
                <a:gd name="T116" fmla="*/ 567 w 1183"/>
                <a:gd name="T117" fmla="*/ 1020 h 1090"/>
                <a:gd name="T118" fmla="*/ 521 w 1183"/>
                <a:gd name="T119" fmla="*/ 1080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3" h="1090">
                  <a:moveTo>
                    <a:pt x="0" y="57"/>
                  </a:moveTo>
                  <a:lnTo>
                    <a:pt x="1" y="58"/>
                  </a:lnTo>
                  <a:lnTo>
                    <a:pt x="1" y="58"/>
                  </a:lnTo>
                  <a:lnTo>
                    <a:pt x="2" y="60"/>
                  </a:lnTo>
                  <a:lnTo>
                    <a:pt x="2" y="63"/>
                  </a:lnTo>
                  <a:lnTo>
                    <a:pt x="2" y="73"/>
                  </a:lnTo>
                  <a:lnTo>
                    <a:pt x="3" y="79"/>
                  </a:lnTo>
                  <a:lnTo>
                    <a:pt x="3" y="81"/>
                  </a:lnTo>
                  <a:lnTo>
                    <a:pt x="3" y="82"/>
                  </a:lnTo>
                  <a:lnTo>
                    <a:pt x="4" y="84"/>
                  </a:lnTo>
                  <a:lnTo>
                    <a:pt x="5" y="86"/>
                  </a:lnTo>
                  <a:lnTo>
                    <a:pt x="6" y="88"/>
                  </a:lnTo>
                  <a:lnTo>
                    <a:pt x="7" y="89"/>
                  </a:lnTo>
                  <a:lnTo>
                    <a:pt x="8" y="91"/>
                  </a:lnTo>
                  <a:lnTo>
                    <a:pt x="9" y="92"/>
                  </a:lnTo>
                  <a:lnTo>
                    <a:pt x="10" y="92"/>
                  </a:lnTo>
                  <a:lnTo>
                    <a:pt x="13" y="93"/>
                  </a:lnTo>
                  <a:lnTo>
                    <a:pt x="15" y="93"/>
                  </a:lnTo>
                  <a:lnTo>
                    <a:pt x="17" y="94"/>
                  </a:lnTo>
                  <a:lnTo>
                    <a:pt x="20" y="94"/>
                  </a:lnTo>
                  <a:lnTo>
                    <a:pt x="23" y="94"/>
                  </a:lnTo>
                  <a:lnTo>
                    <a:pt x="25" y="93"/>
                  </a:lnTo>
                  <a:lnTo>
                    <a:pt x="29" y="92"/>
                  </a:lnTo>
                  <a:lnTo>
                    <a:pt x="31" y="92"/>
                  </a:lnTo>
                  <a:lnTo>
                    <a:pt x="32" y="92"/>
                  </a:lnTo>
                  <a:lnTo>
                    <a:pt x="37" y="93"/>
                  </a:lnTo>
                  <a:lnTo>
                    <a:pt x="41" y="93"/>
                  </a:lnTo>
                  <a:lnTo>
                    <a:pt x="44" y="93"/>
                  </a:lnTo>
                  <a:lnTo>
                    <a:pt x="48" y="92"/>
                  </a:lnTo>
                  <a:lnTo>
                    <a:pt x="52" y="92"/>
                  </a:lnTo>
                  <a:lnTo>
                    <a:pt x="55" y="92"/>
                  </a:lnTo>
                  <a:lnTo>
                    <a:pt x="64" y="92"/>
                  </a:lnTo>
                  <a:lnTo>
                    <a:pt x="66" y="92"/>
                  </a:lnTo>
                  <a:lnTo>
                    <a:pt x="87" y="91"/>
                  </a:lnTo>
                  <a:lnTo>
                    <a:pt x="95" y="90"/>
                  </a:lnTo>
                  <a:lnTo>
                    <a:pt x="99" y="89"/>
                  </a:lnTo>
                  <a:lnTo>
                    <a:pt x="102" y="89"/>
                  </a:lnTo>
                  <a:lnTo>
                    <a:pt x="107" y="89"/>
                  </a:lnTo>
                  <a:lnTo>
                    <a:pt x="108" y="89"/>
                  </a:lnTo>
                  <a:lnTo>
                    <a:pt x="110" y="89"/>
                  </a:lnTo>
                  <a:lnTo>
                    <a:pt x="111" y="89"/>
                  </a:lnTo>
                  <a:lnTo>
                    <a:pt x="112" y="88"/>
                  </a:lnTo>
                  <a:lnTo>
                    <a:pt x="113" y="87"/>
                  </a:lnTo>
                  <a:lnTo>
                    <a:pt x="114" y="85"/>
                  </a:lnTo>
                  <a:lnTo>
                    <a:pt x="116" y="81"/>
                  </a:lnTo>
                  <a:lnTo>
                    <a:pt x="119" y="78"/>
                  </a:lnTo>
                  <a:lnTo>
                    <a:pt x="121" y="75"/>
                  </a:lnTo>
                  <a:lnTo>
                    <a:pt x="123" y="70"/>
                  </a:lnTo>
                  <a:lnTo>
                    <a:pt x="125" y="66"/>
                  </a:lnTo>
                  <a:lnTo>
                    <a:pt x="126" y="64"/>
                  </a:lnTo>
                  <a:lnTo>
                    <a:pt x="128" y="62"/>
                  </a:lnTo>
                  <a:lnTo>
                    <a:pt x="130" y="60"/>
                  </a:lnTo>
                  <a:lnTo>
                    <a:pt x="132" y="59"/>
                  </a:lnTo>
                  <a:lnTo>
                    <a:pt x="134" y="58"/>
                  </a:lnTo>
                  <a:lnTo>
                    <a:pt x="143" y="57"/>
                  </a:lnTo>
                  <a:lnTo>
                    <a:pt x="146" y="56"/>
                  </a:lnTo>
                  <a:lnTo>
                    <a:pt x="148" y="55"/>
                  </a:lnTo>
                  <a:lnTo>
                    <a:pt x="151" y="55"/>
                  </a:lnTo>
                  <a:lnTo>
                    <a:pt x="154" y="55"/>
                  </a:lnTo>
                  <a:lnTo>
                    <a:pt x="155" y="55"/>
                  </a:lnTo>
                  <a:lnTo>
                    <a:pt x="157" y="56"/>
                  </a:lnTo>
                  <a:lnTo>
                    <a:pt x="161" y="57"/>
                  </a:lnTo>
                  <a:lnTo>
                    <a:pt x="164" y="58"/>
                  </a:lnTo>
                  <a:lnTo>
                    <a:pt x="168" y="59"/>
                  </a:lnTo>
                  <a:lnTo>
                    <a:pt x="169" y="61"/>
                  </a:lnTo>
                  <a:lnTo>
                    <a:pt x="171" y="63"/>
                  </a:lnTo>
                  <a:lnTo>
                    <a:pt x="173" y="65"/>
                  </a:lnTo>
                  <a:lnTo>
                    <a:pt x="176" y="69"/>
                  </a:lnTo>
                  <a:lnTo>
                    <a:pt x="177" y="70"/>
                  </a:lnTo>
                  <a:lnTo>
                    <a:pt x="179" y="72"/>
                  </a:lnTo>
                  <a:lnTo>
                    <a:pt x="180" y="73"/>
                  </a:lnTo>
                  <a:lnTo>
                    <a:pt x="181" y="74"/>
                  </a:lnTo>
                  <a:lnTo>
                    <a:pt x="183" y="75"/>
                  </a:lnTo>
                  <a:lnTo>
                    <a:pt x="188" y="76"/>
                  </a:lnTo>
                  <a:lnTo>
                    <a:pt x="191" y="78"/>
                  </a:lnTo>
                  <a:lnTo>
                    <a:pt x="194" y="80"/>
                  </a:lnTo>
                  <a:lnTo>
                    <a:pt x="196" y="81"/>
                  </a:lnTo>
                  <a:lnTo>
                    <a:pt x="198" y="82"/>
                  </a:lnTo>
                  <a:lnTo>
                    <a:pt x="199" y="83"/>
                  </a:lnTo>
                  <a:lnTo>
                    <a:pt x="201" y="85"/>
                  </a:lnTo>
                  <a:lnTo>
                    <a:pt x="203" y="87"/>
                  </a:lnTo>
                  <a:lnTo>
                    <a:pt x="203" y="88"/>
                  </a:lnTo>
                  <a:lnTo>
                    <a:pt x="203" y="89"/>
                  </a:lnTo>
                  <a:lnTo>
                    <a:pt x="205" y="93"/>
                  </a:lnTo>
                  <a:lnTo>
                    <a:pt x="206" y="95"/>
                  </a:lnTo>
                  <a:lnTo>
                    <a:pt x="207" y="96"/>
                  </a:lnTo>
                  <a:lnTo>
                    <a:pt x="208" y="96"/>
                  </a:lnTo>
                  <a:lnTo>
                    <a:pt x="209" y="97"/>
                  </a:lnTo>
                  <a:lnTo>
                    <a:pt x="214" y="97"/>
                  </a:lnTo>
                  <a:lnTo>
                    <a:pt x="218" y="98"/>
                  </a:lnTo>
                  <a:lnTo>
                    <a:pt x="221" y="99"/>
                  </a:lnTo>
                  <a:lnTo>
                    <a:pt x="223" y="99"/>
                  </a:lnTo>
                  <a:lnTo>
                    <a:pt x="225" y="99"/>
                  </a:lnTo>
                  <a:lnTo>
                    <a:pt x="230" y="97"/>
                  </a:lnTo>
                  <a:lnTo>
                    <a:pt x="231" y="97"/>
                  </a:lnTo>
                  <a:lnTo>
                    <a:pt x="233" y="96"/>
                  </a:lnTo>
                  <a:lnTo>
                    <a:pt x="234" y="95"/>
                  </a:lnTo>
                  <a:lnTo>
                    <a:pt x="241" y="90"/>
                  </a:lnTo>
                  <a:lnTo>
                    <a:pt x="244" y="89"/>
                  </a:lnTo>
                  <a:lnTo>
                    <a:pt x="246" y="87"/>
                  </a:lnTo>
                  <a:lnTo>
                    <a:pt x="248" y="86"/>
                  </a:lnTo>
                  <a:lnTo>
                    <a:pt x="251" y="85"/>
                  </a:lnTo>
                  <a:lnTo>
                    <a:pt x="253" y="85"/>
                  </a:lnTo>
                  <a:lnTo>
                    <a:pt x="256" y="85"/>
                  </a:lnTo>
                  <a:lnTo>
                    <a:pt x="260" y="85"/>
                  </a:lnTo>
                  <a:lnTo>
                    <a:pt x="261" y="85"/>
                  </a:lnTo>
                  <a:lnTo>
                    <a:pt x="262" y="85"/>
                  </a:lnTo>
                  <a:lnTo>
                    <a:pt x="262" y="84"/>
                  </a:lnTo>
                  <a:lnTo>
                    <a:pt x="263" y="84"/>
                  </a:lnTo>
                  <a:lnTo>
                    <a:pt x="263" y="83"/>
                  </a:lnTo>
                  <a:lnTo>
                    <a:pt x="263" y="80"/>
                  </a:lnTo>
                  <a:lnTo>
                    <a:pt x="263" y="74"/>
                  </a:lnTo>
                  <a:lnTo>
                    <a:pt x="263" y="73"/>
                  </a:lnTo>
                  <a:lnTo>
                    <a:pt x="263" y="72"/>
                  </a:lnTo>
                  <a:lnTo>
                    <a:pt x="264" y="71"/>
                  </a:lnTo>
                  <a:lnTo>
                    <a:pt x="265" y="70"/>
                  </a:lnTo>
                  <a:lnTo>
                    <a:pt x="267" y="69"/>
                  </a:lnTo>
                  <a:lnTo>
                    <a:pt x="268" y="69"/>
                  </a:lnTo>
                  <a:lnTo>
                    <a:pt x="270" y="70"/>
                  </a:lnTo>
                  <a:lnTo>
                    <a:pt x="271" y="71"/>
                  </a:lnTo>
                  <a:lnTo>
                    <a:pt x="278" y="75"/>
                  </a:lnTo>
                  <a:lnTo>
                    <a:pt x="281" y="76"/>
                  </a:lnTo>
                  <a:lnTo>
                    <a:pt x="282" y="77"/>
                  </a:lnTo>
                  <a:lnTo>
                    <a:pt x="287" y="79"/>
                  </a:lnTo>
                  <a:lnTo>
                    <a:pt x="290" y="80"/>
                  </a:lnTo>
                  <a:lnTo>
                    <a:pt x="291" y="81"/>
                  </a:lnTo>
                  <a:lnTo>
                    <a:pt x="299" y="87"/>
                  </a:lnTo>
                  <a:lnTo>
                    <a:pt x="303" y="89"/>
                  </a:lnTo>
                  <a:lnTo>
                    <a:pt x="305" y="90"/>
                  </a:lnTo>
                  <a:lnTo>
                    <a:pt x="307" y="90"/>
                  </a:lnTo>
                  <a:lnTo>
                    <a:pt x="308" y="91"/>
                  </a:lnTo>
                  <a:lnTo>
                    <a:pt x="309" y="91"/>
                  </a:lnTo>
                  <a:lnTo>
                    <a:pt x="310" y="90"/>
                  </a:lnTo>
                  <a:lnTo>
                    <a:pt x="311" y="90"/>
                  </a:lnTo>
                  <a:lnTo>
                    <a:pt x="315" y="88"/>
                  </a:lnTo>
                  <a:lnTo>
                    <a:pt x="318" y="85"/>
                  </a:lnTo>
                  <a:lnTo>
                    <a:pt x="321" y="84"/>
                  </a:lnTo>
                  <a:lnTo>
                    <a:pt x="322" y="84"/>
                  </a:lnTo>
                  <a:lnTo>
                    <a:pt x="323" y="83"/>
                  </a:lnTo>
                  <a:lnTo>
                    <a:pt x="326" y="83"/>
                  </a:lnTo>
                  <a:lnTo>
                    <a:pt x="328" y="83"/>
                  </a:lnTo>
                  <a:lnTo>
                    <a:pt x="334" y="84"/>
                  </a:lnTo>
                  <a:lnTo>
                    <a:pt x="337" y="84"/>
                  </a:lnTo>
                  <a:lnTo>
                    <a:pt x="339" y="84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7" y="88"/>
                  </a:lnTo>
                  <a:lnTo>
                    <a:pt x="350" y="89"/>
                  </a:lnTo>
                  <a:lnTo>
                    <a:pt x="351" y="90"/>
                  </a:lnTo>
                  <a:lnTo>
                    <a:pt x="354" y="91"/>
                  </a:lnTo>
                  <a:lnTo>
                    <a:pt x="359" y="92"/>
                  </a:lnTo>
                  <a:lnTo>
                    <a:pt x="369" y="92"/>
                  </a:lnTo>
                  <a:lnTo>
                    <a:pt x="373" y="93"/>
                  </a:lnTo>
                  <a:lnTo>
                    <a:pt x="377" y="93"/>
                  </a:lnTo>
                  <a:lnTo>
                    <a:pt x="379" y="93"/>
                  </a:lnTo>
                  <a:lnTo>
                    <a:pt x="381" y="92"/>
                  </a:lnTo>
                  <a:lnTo>
                    <a:pt x="385" y="92"/>
                  </a:lnTo>
                  <a:lnTo>
                    <a:pt x="390" y="91"/>
                  </a:lnTo>
                  <a:lnTo>
                    <a:pt x="394" y="90"/>
                  </a:lnTo>
                  <a:lnTo>
                    <a:pt x="398" y="89"/>
                  </a:lnTo>
                  <a:lnTo>
                    <a:pt x="399" y="88"/>
                  </a:lnTo>
                  <a:lnTo>
                    <a:pt x="400" y="88"/>
                  </a:lnTo>
                  <a:lnTo>
                    <a:pt x="401" y="89"/>
                  </a:lnTo>
                  <a:lnTo>
                    <a:pt x="401" y="90"/>
                  </a:lnTo>
                  <a:lnTo>
                    <a:pt x="401" y="91"/>
                  </a:lnTo>
                  <a:lnTo>
                    <a:pt x="401" y="92"/>
                  </a:lnTo>
                  <a:lnTo>
                    <a:pt x="401" y="93"/>
                  </a:lnTo>
                  <a:lnTo>
                    <a:pt x="400" y="100"/>
                  </a:lnTo>
                  <a:lnTo>
                    <a:pt x="399" y="101"/>
                  </a:lnTo>
                  <a:lnTo>
                    <a:pt x="400" y="103"/>
                  </a:lnTo>
                  <a:lnTo>
                    <a:pt x="400" y="103"/>
                  </a:lnTo>
                  <a:lnTo>
                    <a:pt x="400" y="104"/>
                  </a:lnTo>
                  <a:lnTo>
                    <a:pt x="401" y="105"/>
                  </a:lnTo>
                  <a:lnTo>
                    <a:pt x="402" y="106"/>
                  </a:lnTo>
                  <a:lnTo>
                    <a:pt x="404" y="107"/>
                  </a:lnTo>
                  <a:lnTo>
                    <a:pt x="405" y="107"/>
                  </a:lnTo>
                  <a:lnTo>
                    <a:pt x="406" y="108"/>
                  </a:lnTo>
                  <a:lnTo>
                    <a:pt x="407" y="109"/>
                  </a:lnTo>
                  <a:lnTo>
                    <a:pt x="411" y="109"/>
                  </a:lnTo>
                  <a:lnTo>
                    <a:pt x="417" y="110"/>
                  </a:lnTo>
                  <a:lnTo>
                    <a:pt x="420" y="111"/>
                  </a:lnTo>
                  <a:lnTo>
                    <a:pt x="424" y="112"/>
                  </a:lnTo>
                  <a:lnTo>
                    <a:pt x="429" y="113"/>
                  </a:lnTo>
                  <a:lnTo>
                    <a:pt x="432" y="115"/>
                  </a:lnTo>
                  <a:lnTo>
                    <a:pt x="435" y="115"/>
                  </a:lnTo>
                  <a:lnTo>
                    <a:pt x="438" y="117"/>
                  </a:lnTo>
                  <a:lnTo>
                    <a:pt x="442" y="120"/>
                  </a:lnTo>
                  <a:lnTo>
                    <a:pt x="443" y="121"/>
                  </a:lnTo>
                  <a:lnTo>
                    <a:pt x="444" y="122"/>
                  </a:lnTo>
                  <a:lnTo>
                    <a:pt x="445" y="122"/>
                  </a:lnTo>
                  <a:lnTo>
                    <a:pt x="446" y="122"/>
                  </a:lnTo>
                  <a:lnTo>
                    <a:pt x="447" y="122"/>
                  </a:lnTo>
                  <a:lnTo>
                    <a:pt x="448" y="122"/>
                  </a:lnTo>
                  <a:lnTo>
                    <a:pt x="449" y="121"/>
                  </a:lnTo>
                  <a:lnTo>
                    <a:pt x="450" y="121"/>
                  </a:lnTo>
                  <a:lnTo>
                    <a:pt x="452" y="120"/>
                  </a:lnTo>
                  <a:lnTo>
                    <a:pt x="453" y="117"/>
                  </a:lnTo>
                  <a:lnTo>
                    <a:pt x="455" y="114"/>
                  </a:lnTo>
                  <a:lnTo>
                    <a:pt x="457" y="111"/>
                  </a:lnTo>
                  <a:lnTo>
                    <a:pt x="460" y="107"/>
                  </a:lnTo>
                  <a:lnTo>
                    <a:pt x="463" y="104"/>
                  </a:lnTo>
                  <a:lnTo>
                    <a:pt x="467" y="101"/>
                  </a:lnTo>
                  <a:lnTo>
                    <a:pt x="475" y="94"/>
                  </a:lnTo>
                  <a:lnTo>
                    <a:pt x="479" y="91"/>
                  </a:lnTo>
                  <a:lnTo>
                    <a:pt x="485" y="88"/>
                  </a:lnTo>
                  <a:lnTo>
                    <a:pt x="487" y="86"/>
                  </a:lnTo>
                  <a:lnTo>
                    <a:pt x="488" y="86"/>
                  </a:lnTo>
                  <a:lnTo>
                    <a:pt x="492" y="84"/>
                  </a:lnTo>
                  <a:lnTo>
                    <a:pt x="499" y="82"/>
                  </a:lnTo>
                  <a:lnTo>
                    <a:pt x="502" y="81"/>
                  </a:lnTo>
                  <a:lnTo>
                    <a:pt x="505" y="80"/>
                  </a:lnTo>
                  <a:lnTo>
                    <a:pt x="509" y="79"/>
                  </a:lnTo>
                  <a:lnTo>
                    <a:pt x="510" y="77"/>
                  </a:lnTo>
                  <a:lnTo>
                    <a:pt x="511" y="76"/>
                  </a:lnTo>
                  <a:lnTo>
                    <a:pt x="512" y="75"/>
                  </a:lnTo>
                  <a:lnTo>
                    <a:pt x="513" y="74"/>
                  </a:lnTo>
                  <a:lnTo>
                    <a:pt x="514" y="72"/>
                  </a:lnTo>
                  <a:lnTo>
                    <a:pt x="514" y="71"/>
                  </a:lnTo>
                  <a:lnTo>
                    <a:pt x="514" y="69"/>
                  </a:lnTo>
                  <a:lnTo>
                    <a:pt x="513" y="67"/>
                  </a:lnTo>
                  <a:lnTo>
                    <a:pt x="512" y="61"/>
                  </a:lnTo>
                  <a:lnTo>
                    <a:pt x="510" y="57"/>
                  </a:lnTo>
                  <a:lnTo>
                    <a:pt x="510" y="53"/>
                  </a:lnTo>
                  <a:lnTo>
                    <a:pt x="510" y="50"/>
                  </a:lnTo>
                  <a:lnTo>
                    <a:pt x="509" y="48"/>
                  </a:lnTo>
                  <a:lnTo>
                    <a:pt x="510" y="46"/>
                  </a:lnTo>
                  <a:lnTo>
                    <a:pt x="510" y="43"/>
                  </a:lnTo>
                  <a:lnTo>
                    <a:pt x="511" y="36"/>
                  </a:lnTo>
                  <a:lnTo>
                    <a:pt x="512" y="34"/>
                  </a:lnTo>
                  <a:lnTo>
                    <a:pt x="512" y="32"/>
                  </a:lnTo>
                  <a:lnTo>
                    <a:pt x="512" y="27"/>
                  </a:lnTo>
                  <a:lnTo>
                    <a:pt x="512" y="26"/>
                  </a:lnTo>
                  <a:lnTo>
                    <a:pt x="513" y="25"/>
                  </a:lnTo>
                  <a:lnTo>
                    <a:pt x="514" y="24"/>
                  </a:lnTo>
                  <a:lnTo>
                    <a:pt x="515" y="22"/>
                  </a:lnTo>
                  <a:lnTo>
                    <a:pt x="516" y="21"/>
                  </a:lnTo>
                  <a:lnTo>
                    <a:pt x="519" y="18"/>
                  </a:lnTo>
                  <a:lnTo>
                    <a:pt x="521" y="17"/>
                  </a:lnTo>
                  <a:lnTo>
                    <a:pt x="521" y="15"/>
                  </a:lnTo>
                  <a:lnTo>
                    <a:pt x="523" y="13"/>
                  </a:lnTo>
                  <a:lnTo>
                    <a:pt x="524" y="11"/>
                  </a:lnTo>
                  <a:lnTo>
                    <a:pt x="526" y="10"/>
                  </a:lnTo>
                  <a:lnTo>
                    <a:pt x="528" y="7"/>
                  </a:lnTo>
                  <a:lnTo>
                    <a:pt x="532" y="4"/>
                  </a:lnTo>
                  <a:lnTo>
                    <a:pt x="537" y="1"/>
                  </a:lnTo>
                  <a:lnTo>
                    <a:pt x="538" y="1"/>
                  </a:lnTo>
                  <a:lnTo>
                    <a:pt x="539" y="0"/>
                  </a:lnTo>
                  <a:lnTo>
                    <a:pt x="540" y="0"/>
                  </a:lnTo>
                  <a:lnTo>
                    <a:pt x="542" y="0"/>
                  </a:lnTo>
                  <a:lnTo>
                    <a:pt x="543" y="0"/>
                  </a:lnTo>
                  <a:lnTo>
                    <a:pt x="544" y="1"/>
                  </a:lnTo>
                  <a:lnTo>
                    <a:pt x="547" y="2"/>
                  </a:lnTo>
                  <a:lnTo>
                    <a:pt x="553" y="5"/>
                  </a:lnTo>
                  <a:lnTo>
                    <a:pt x="555" y="7"/>
                  </a:lnTo>
                  <a:lnTo>
                    <a:pt x="559" y="9"/>
                  </a:lnTo>
                  <a:lnTo>
                    <a:pt x="569" y="14"/>
                  </a:lnTo>
                  <a:lnTo>
                    <a:pt x="572" y="15"/>
                  </a:lnTo>
                  <a:lnTo>
                    <a:pt x="574" y="16"/>
                  </a:lnTo>
                  <a:lnTo>
                    <a:pt x="576" y="18"/>
                  </a:lnTo>
                  <a:lnTo>
                    <a:pt x="578" y="20"/>
                  </a:lnTo>
                  <a:lnTo>
                    <a:pt x="587" y="28"/>
                  </a:lnTo>
                  <a:lnTo>
                    <a:pt x="590" y="31"/>
                  </a:lnTo>
                  <a:lnTo>
                    <a:pt x="593" y="33"/>
                  </a:lnTo>
                  <a:lnTo>
                    <a:pt x="596" y="35"/>
                  </a:lnTo>
                  <a:lnTo>
                    <a:pt x="598" y="35"/>
                  </a:lnTo>
                  <a:lnTo>
                    <a:pt x="601" y="36"/>
                  </a:lnTo>
                  <a:lnTo>
                    <a:pt x="601" y="37"/>
                  </a:lnTo>
                  <a:lnTo>
                    <a:pt x="602" y="37"/>
                  </a:lnTo>
                  <a:lnTo>
                    <a:pt x="603" y="37"/>
                  </a:lnTo>
                  <a:lnTo>
                    <a:pt x="604" y="37"/>
                  </a:lnTo>
                  <a:lnTo>
                    <a:pt x="606" y="36"/>
                  </a:lnTo>
                  <a:lnTo>
                    <a:pt x="610" y="35"/>
                  </a:lnTo>
                  <a:lnTo>
                    <a:pt x="612" y="33"/>
                  </a:lnTo>
                  <a:lnTo>
                    <a:pt x="613" y="33"/>
                  </a:lnTo>
                  <a:lnTo>
                    <a:pt x="616" y="32"/>
                  </a:lnTo>
                  <a:lnTo>
                    <a:pt x="617" y="32"/>
                  </a:lnTo>
                  <a:lnTo>
                    <a:pt x="619" y="32"/>
                  </a:lnTo>
                  <a:lnTo>
                    <a:pt x="620" y="32"/>
                  </a:lnTo>
                  <a:lnTo>
                    <a:pt x="621" y="33"/>
                  </a:lnTo>
                  <a:lnTo>
                    <a:pt x="622" y="33"/>
                  </a:lnTo>
                  <a:lnTo>
                    <a:pt x="622" y="34"/>
                  </a:lnTo>
                  <a:lnTo>
                    <a:pt x="623" y="35"/>
                  </a:lnTo>
                  <a:lnTo>
                    <a:pt x="624" y="37"/>
                  </a:lnTo>
                  <a:lnTo>
                    <a:pt x="625" y="42"/>
                  </a:lnTo>
                  <a:lnTo>
                    <a:pt x="627" y="45"/>
                  </a:lnTo>
                  <a:lnTo>
                    <a:pt x="630" y="49"/>
                  </a:lnTo>
                  <a:lnTo>
                    <a:pt x="633" y="57"/>
                  </a:lnTo>
                  <a:lnTo>
                    <a:pt x="636" y="63"/>
                  </a:lnTo>
                  <a:lnTo>
                    <a:pt x="638" y="67"/>
                  </a:lnTo>
                  <a:lnTo>
                    <a:pt x="640" y="69"/>
                  </a:lnTo>
                  <a:lnTo>
                    <a:pt x="642" y="71"/>
                  </a:lnTo>
                  <a:lnTo>
                    <a:pt x="643" y="72"/>
                  </a:lnTo>
                  <a:lnTo>
                    <a:pt x="646" y="74"/>
                  </a:lnTo>
                  <a:lnTo>
                    <a:pt x="647" y="75"/>
                  </a:lnTo>
                  <a:lnTo>
                    <a:pt x="649" y="76"/>
                  </a:lnTo>
                  <a:lnTo>
                    <a:pt x="652" y="78"/>
                  </a:lnTo>
                  <a:lnTo>
                    <a:pt x="653" y="78"/>
                  </a:lnTo>
                  <a:lnTo>
                    <a:pt x="655" y="78"/>
                  </a:lnTo>
                  <a:lnTo>
                    <a:pt x="657" y="79"/>
                  </a:lnTo>
                  <a:lnTo>
                    <a:pt x="658" y="79"/>
                  </a:lnTo>
                  <a:lnTo>
                    <a:pt x="660" y="79"/>
                  </a:lnTo>
                  <a:lnTo>
                    <a:pt x="662" y="78"/>
                  </a:lnTo>
                  <a:lnTo>
                    <a:pt x="664" y="78"/>
                  </a:lnTo>
                  <a:lnTo>
                    <a:pt x="665" y="77"/>
                  </a:lnTo>
                  <a:lnTo>
                    <a:pt x="667" y="77"/>
                  </a:lnTo>
                  <a:lnTo>
                    <a:pt x="669" y="76"/>
                  </a:lnTo>
                  <a:lnTo>
                    <a:pt x="668" y="76"/>
                  </a:lnTo>
                  <a:lnTo>
                    <a:pt x="668" y="77"/>
                  </a:lnTo>
                  <a:lnTo>
                    <a:pt x="669" y="78"/>
                  </a:lnTo>
                  <a:lnTo>
                    <a:pt x="670" y="88"/>
                  </a:lnTo>
                  <a:lnTo>
                    <a:pt x="670" y="91"/>
                  </a:lnTo>
                  <a:lnTo>
                    <a:pt x="670" y="93"/>
                  </a:lnTo>
                  <a:lnTo>
                    <a:pt x="670" y="95"/>
                  </a:lnTo>
                  <a:lnTo>
                    <a:pt x="670" y="97"/>
                  </a:lnTo>
                  <a:lnTo>
                    <a:pt x="670" y="98"/>
                  </a:lnTo>
                  <a:lnTo>
                    <a:pt x="669" y="100"/>
                  </a:lnTo>
                  <a:lnTo>
                    <a:pt x="669" y="102"/>
                  </a:lnTo>
                  <a:lnTo>
                    <a:pt x="668" y="103"/>
                  </a:lnTo>
                  <a:lnTo>
                    <a:pt x="667" y="104"/>
                  </a:lnTo>
                  <a:lnTo>
                    <a:pt x="665" y="105"/>
                  </a:lnTo>
                  <a:lnTo>
                    <a:pt x="663" y="106"/>
                  </a:lnTo>
                  <a:lnTo>
                    <a:pt x="660" y="107"/>
                  </a:lnTo>
                  <a:lnTo>
                    <a:pt x="658" y="108"/>
                  </a:lnTo>
                  <a:lnTo>
                    <a:pt x="656" y="109"/>
                  </a:lnTo>
                  <a:lnTo>
                    <a:pt x="654" y="110"/>
                  </a:lnTo>
                  <a:lnTo>
                    <a:pt x="653" y="111"/>
                  </a:lnTo>
                  <a:lnTo>
                    <a:pt x="653" y="112"/>
                  </a:lnTo>
                  <a:lnTo>
                    <a:pt x="652" y="113"/>
                  </a:lnTo>
                  <a:lnTo>
                    <a:pt x="652" y="115"/>
                  </a:lnTo>
                  <a:lnTo>
                    <a:pt x="652" y="115"/>
                  </a:lnTo>
                  <a:lnTo>
                    <a:pt x="652" y="116"/>
                  </a:lnTo>
                  <a:lnTo>
                    <a:pt x="652" y="117"/>
                  </a:lnTo>
                  <a:lnTo>
                    <a:pt x="653" y="119"/>
                  </a:lnTo>
                  <a:lnTo>
                    <a:pt x="654" y="121"/>
                  </a:lnTo>
                  <a:lnTo>
                    <a:pt x="658" y="129"/>
                  </a:lnTo>
                  <a:lnTo>
                    <a:pt x="659" y="131"/>
                  </a:lnTo>
                  <a:lnTo>
                    <a:pt x="660" y="134"/>
                  </a:lnTo>
                  <a:lnTo>
                    <a:pt x="661" y="136"/>
                  </a:lnTo>
                  <a:lnTo>
                    <a:pt x="662" y="138"/>
                  </a:lnTo>
                  <a:lnTo>
                    <a:pt x="663" y="141"/>
                  </a:lnTo>
                  <a:lnTo>
                    <a:pt x="663" y="144"/>
                  </a:lnTo>
                  <a:lnTo>
                    <a:pt x="664" y="148"/>
                  </a:lnTo>
                  <a:lnTo>
                    <a:pt x="664" y="151"/>
                  </a:lnTo>
                  <a:lnTo>
                    <a:pt x="664" y="154"/>
                  </a:lnTo>
                  <a:lnTo>
                    <a:pt x="663" y="161"/>
                  </a:lnTo>
                  <a:lnTo>
                    <a:pt x="662" y="164"/>
                  </a:lnTo>
                  <a:lnTo>
                    <a:pt x="662" y="167"/>
                  </a:lnTo>
                  <a:lnTo>
                    <a:pt x="663" y="173"/>
                  </a:lnTo>
                  <a:lnTo>
                    <a:pt x="662" y="176"/>
                  </a:lnTo>
                  <a:lnTo>
                    <a:pt x="662" y="180"/>
                  </a:lnTo>
                  <a:lnTo>
                    <a:pt x="661" y="183"/>
                  </a:lnTo>
                  <a:lnTo>
                    <a:pt x="661" y="186"/>
                  </a:lnTo>
                  <a:lnTo>
                    <a:pt x="659" y="190"/>
                  </a:lnTo>
                  <a:lnTo>
                    <a:pt x="658" y="194"/>
                  </a:lnTo>
                  <a:lnTo>
                    <a:pt x="655" y="202"/>
                  </a:lnTo>
                  <a:lnTo>
                    <a:pt x="652" y="210"/>
                  </a:lnTo>
                  <a:lnTo>
                    <a:pt x="649" y="217"/>
                  </a:lnTo>
                  <a:lnTo>
                    <a:pt x="648" y="219"/>
                  </a:lnTo>
                  <a:lnTo>
                    <a:pt x="648" y="220"/>
                  </a:lnTo>
                  <a:lnTo>
                    <a:pt x="648" y="222"/>
                  </a:lnTo>
                  <a:lnTo>
                    <a:pt x="648" y="223"/>
                  </a:lnTo>
                  <a:lnTo>
                    <a:pt x="649" y="226"/>
                  </a:lnTo>
                  <a:lnTo>
                    <a:pt x="649" y="227"/>
                  </a:lnTo>
                  <a:lnTo>
                    <a:pt x="649" y="228"/>
                  </a:lnTo>
                  <a:lnTo>
                    <a:pt x="649" y="229"/>
                  </a:lnTo>
                  <a:lnTo>
                    <a:pt x="646" y="239"/>
                  </a:lnTo>
                  <a:lnTo>
                    <a:pt x="646" y="245"/>
                  </a:lnTo>
                  <a:lnTo>
                    <a:pt x="645" y="249"/>
                  </a:lnTo>
                  <a:lnTo>
                    <a:pt x="643" y="253"/>
                  </a:lnTo>
                  <a:lnTo>
                    <a:pt x="641" y="260"/>
                  </a:lnTo>
                  <a:lnTo>
                    <a:pt x="640" y="262"/>
                  </a:lnTo>
                  <a:lnTo>
                    <a:pt x="639" y="266"/>
                  </a:lnTo>
                  <a:lnTo>
                    <a:pt x="639" y="269"/>
                  </a:lnTo>
                  <a:lnTo>
                    <a:pt x="639" y="271"/>
                  </a:lnTo>
                  <a:lnTo>
                    <a:pt x="639" y="273"/>
                  </a:lnTo>
                  <a:lnTo>
                    <a:pt x="640" y="275"/>
                  </a:lnTo>
                  <a:lnTo>
                    <a:pt x="640" y="277"/>
                  </a:lnTo>
                  <a:lnTo>
                    <a:pt x="641" y="279"/>
                  </a:lnTo>
                  <a:lnTo>
                    <a:pt x="642" y="282"/>
                  </a:lnTo>
                  <a:lnTo>
                    <a:pt x="644" y="284"/>
                  </a:lnTo>
                  <a:lnTo>
                    <a:pt x="646" y="286"/>
                  </a:lnTo>
                  <a:lnTo>
                    <a:pt x="649" y="289"/>
                  </a:lnTo>
                  <a:lnTo>
                    <a:pt x="655" y="293"/>
                  </a:lnTo>
                  <a:lnTo>
                    <a:pt x="657" y="295"/>
                  </a:lnTo>
                  <a:lnTo>
                    <a:pt x="658" y="296"/>
                  </a:lnTo>
                  <a:lnTo>
                    <a:pt x="659" y="298"/>
                  </a:lnTo>
                  <a:lnTo>
                    <a:pt x="661" y="300"/>
                  </a:lnTo>
                  <a:lnTo>
                    <a:pt x="663" y="304"/>
                  </a:lnTo>
                  <a:lnTo>
                    <a:pt x="664" y="306"/>
                  </a:lnTo>
                  <a:lnTo>
                    <a:pt x="664" y="307"/>
                  </a:lnTo>
                  <a:lnTo>
                    <a:pt x="664" y="308"/>
                  </a:lnTo>
                  <a:lnTo>
                    <a:pt x="663" y="309"/>
                  </a:lnTo>
                  <a:lnTo>
                    <a:pt x="662" y="310"/>
                  </a:lnTo>
                  <a:lnTo>
                    <a:pt x="659" y="315"/>
                  </a:lnTo>
                  <a:lnTo>
                    <a:pt x="657" y="318"/>
                  </a:lnTo>
                  <a:lnTo>
                    <a:pt x="655" y="321"/>
                  </a:lnTo>
                  <a:lnTo>
                    <a:pt x="653" y="323"/>
                  </a:lnTo>
                  <a:lnTo>
                    <a:pt x="653" y="325"/>
                  </a:lnTo>
                  <a:lnTo>
                    <a:pt x="652" y="328"/>
                  </a:lnTo>
                  <a:lnTo>
                    <a:pt x="652" y="329"/>
                  </a:lnTo>
                  <a:lnTo>
                    <a:pt x="651" y="330"/>
                  </a:lnTo>
                  <a:lnTo>
                    <a:pt x="652" y="332"/>
                  </a:lnTo>
                  <a:lnTo>
                    <a:pt x="652" y="334"/>
                  </a:lnTo>
                  <a:lnTo>
                    <a:pt x="653" y="336"/>
                  </a:lnTo>
                  <a:lnTo>
                    <a:pt x="654" y="338"/>
                  </a:lnTo>
                  <a:lnTo>
                    <a:pt x="656" y="341"/>
                  </a:lnTo>
                  <a:lnTo>
                    <a:pt x="661" y="348"/>
                  </a:lnTo>
                  <a:lnTo>
                    <a:pt x="666" y="356"/>
                  </a:lnTo>
                  <a:lnTo>
                    <a:pt x="667" y="357"/>
                  </a:lnTo>
                  <a:lnTo>
                    <a:pt x="669" y="359"/>
                  </a:lnTo>
                  <a:lnTo>
                    <a:pt x="678" y="368"/>
                  </a:lnTo>
                  <a:lnTo>
                    <a:pt x="680" y="370"/>
                  </a:lnTo>
                  <a:lnTo>
                    <a:pt x="684" y="375"/>
                  </a:lnTo>
                  <a:lnTo>
                    <a:pt x="687" y="378"/>
                  </a:lnTo>
                  <a:lnTo>
                    <a:pt x="693" y="384"/>
                  </a:lnTo>
                  <a:lnTo>
                    <a:pt x="699" y="389"/>
                  </a:lnTo>
                  <a:lnTo>
                    <a:pt x="703" y="391"/>
                  </a:lnTo>
                  <a:lnTo>
                    <a:pt x="703" y="392"/>
                  </a:lnTo>
                  <a:lnTo>
                    <a:pt x="704" y="393"/>
                  </a:lnTo>
                  <a:lnTo>
                    <a:pt x="707" y="393"/>
                  </a:lnTo>
                  <a:lnTo>
                    <a:pt x="709" y="394"/>
                  </a:lnTo>
                  <a:lnTo>
                    <a:pt x="712" y="394"/>
                  </a:lnTo>
                  <a:lnTo>
                    <a:pt x="714" y="393"/>
                  </a:lnTo>
                  <a:lnTo>
                    <a:pt x="715" y="393"/>
                  </a:lnTo>
                  <a:lnTo>
                    <a:pt x="718" y="392"/>
                  </a:lnTo>
                  <a:lnTo>
                    <a:pt x="728" y="387"/>
                  </a:lnTo>
                  <a:lnTo>
                    <a:pt x="731" y="385"/>
                  </a:lnTo>
                  <a:lnTo>
                    <a:pt x="734" y="384"/>
                  </a:lnTo>
                  <a:lnTo>
                    <a:pt x="737" y="383"/>
                  </a:lnTo>
                  <a:lnTo>
                    <a:pt x="739" y="383"/>
                  </a:lnTo>
                  <a:lnTo>
                    <a:pt x="742" y="382"/>
                  </a:lnTo>
                  <a:lnTo>
                    <a:pt x="744" y="383"/>
                  </a:lnTo>
                  <a:lnTo>
                    <a:pt x="746" y="383"/>
                  </a:lnTo>
                  <a:lnTo>
                    <a:pt x="748" y="384"/>
                  </a:lnTo>
                  <a:lnTo>
                    <a:pt x="749" y="385"/>
                  </a:lnTo>
                  <a:lnTo>
                    <a:pt x="751" y="386"/>
                  </a:lnTo>
                  <a:lnTo>
                    <a:pt x="753" y="387"/>
                  </a:lnTo>
                  <a:lnTo>
                    <a:pt x="759" y="392"/>
                  </a:lnTo>
                  <a:lnTo>
                    <a:pt x="762" y="394"/>
                  </a:lnTo>
                  <a:lnTo>
                    <a:pt x="766" y="397"/>
                  </a:lnTo>
                  <a:lnTo>
                    <a:pt x="770" y="398"/>
                  </a:lnTo>
                  <a:lnTo>
                    <a:pt x="771" y="399"/>
                  </a:lnTo>
                  <a:lnTo>
                    <a:pt x="774" y="400"/>
                  </a:lnTo>
                  <a:lnTo>
                    <a:pt x="783" y="404"/>
                  </a:lnTo>
                  <a:lnTo>
                    <a:pt x="787" y="405"/>
                  </a:lnTo>
                  <a:lnTo>
                    <a:pt x="790" y="406"/>
                  </a:lnTo>
                  <a:lnTo>
                    <a:pt x="792" y="408"/>
                  </a:lnTo>
                  <a:lnTo>
                    <a:pt x="794" y="409"/>
                  </a:lnTo>
                  <a:lnTo>
                    <a:pt x="794" y="409"/>
                  </a:lnTo>
                  <a:lnTo>
                    <a:pt x="795" y="410"/>
                  </a:lnTo>
                  <a:lnTo>
                    <a:pt x="796" y="412"/>
                  </a:lnTo>
                  <a:lnTo>
                    <a:pt x="797" y="413"/>
                  </a:lnTo>
                  <a:lnTo>
                    <a:pt x="797" y="415"/>
                  </a:lnTo>
                  <a:lnTo>
                    <a:pt x="797" y="416"/>
                  </a:lnTo>
                  <a:lnTo>
                    <a:pt x="797" y="418"/>
                  </a:lnTo>
                  <a:lnTo>
                    <a:pt x="796" y="420"/>
                  </a:lnTo>
                  <a:lnTo>
                    <a:pt x="795" y="421"/>
                  </a:lnTo>
                  <a:lnTo>
                    <a:pt x="795" y="423"/>
                  </a:lnTo>
                  <a:lnTo>
                    <a:pt x="794" y="424"/>
                  </a:lnTo>
                  <a:lnTo>
                    <a:pt x="794" y="425"/>
                  </a:lnTo>
                  <a:lnTo>
                    <a:pt x="793" y="427"/>
                  </a:lnTo>
                  <a:lnTo>
                    <a:pt x="791" y="427"/>
                  </a:lnTo>
                  <a:lnTo>
                    <a:pt x="788" y="429"/>
                  </a:lnTo>
                  <a:lnTo>
                    <a:pt x="788" y="430"/>
                  </a:lnTo>
                  <a:lnTo>
                    <a:pt x="787" y="430"/>
                  </a:lnTo>
                  <a:lnTo>
                    <a:pt x="787" y="431"/>
                  </a:lnTo>
                  <a:lnTo>
                    <a:pt x="788" y="432"/>
                  </a:lnTo>
                  <a:lnTo>
                    <a:pt x="789" y="432"/>
                  </a:lnTo>
                  <a:lnTo>
                    <a:pt x="790" y="433"/>
                  </a:lnTo>
                  <a:lnTo>
                    <a:pt x="792" y="434"/>
                  </a:lnTo>
                  <a:lnTo>
                    <a:pt x="794" y="434"/>
                  </a:lnTo>
                  <a:lnTo>
                    <a:pt x="796" y="435"/>
                  </a:lnTo>
                  <a:lnTo>
                    <a:pt x="798" y="435"/>
                  </a:lnTo>
                  <a:lnTo>
                    <a:pt x="805" y="436"/>
                  </a:lnTo>
                  <a:lnTo>
                    <a:pt x="808" y="437"/>
                  </a:lnTo>
                  <a:lnTo>
                    <a:pt x="810" y="437"/>
                  </a:lnTo>
                  <a:lnTo>
                    <a:pt x="812" y="438"/>
                  </a:lnTo>
                  <a:lnTo>
                    <a:pt x="813" y="439"/>
                  </a:lnTo>
                  <a:lnTo>
                    <a:pt x="815" y="439"/>
                  </a:lnTo>
                  <a:lnTo>
                    <a:pt x="817" y="441"/>
                  </a:lnTo>
                  <a:lnTo>
                    <a:pt x="817" y="442"/>
                  </a:lnTo>
                  <a:lnTo>
                    <a:pt x="820" y="444"/>
                  </a:lnTo>
                  <a:lnTo>
                    <a:pt x="824" y="448"/>
                  </a:lnTo>
                  <a:lnTo>
                    <a:pt x="828" y="455"/>
                  </a:lnTo>
                  <a:lnTo>
                    <a:pt x="830" y="456"/>
                  </a:lnTo>
                  <a:lnTo>
                    <a:pt x="831" y="457"/>
                  </a:lnTo>
                  <a:lnTo>
                    <a:pt x="833" y="459"/>
                  </a:lnTo>
                  <a:lnTo>
                    <a:pt x="835" y="460"/>
                  </a:lnTo>
                  <a:lnTo>
                    <a:pt x="837" y="461"/>
                  </a:lnTo>
                  <a:lnTo>
                    <a:pt x="839" y="462"/>
                  </a:lnTo>
                  <a:lnTo>
                    <a:pt x="841" y="463"/>
                  </a:lnTo>
                  <a:lnTo>
                    <a:pt x="844" y="463"/>
                  </a:lnTo>
                  <a:lnTo>
                    <a:pt x="847" y="463"/>
                  </a:lnTo>
                  <a:lnTo>
                    <a:pt x="850" y="463"/>
                  </a:lnTo>
                  <a:lnTo>
                    <a:pt x="852" y="462"/>
                  </a:lnTo>
                  <a:lnTo>
                    <a:pt x="855" y="461"/>
                  </a:lnTo>
                  <a:lnTo>
                    <a:pt x="858" y="460"/>
                  </a:lnTo>
                  <a:lnTo>
                    <a:pt x="865" y="456"/>
                  </a:lnTo>
                  <a:lnTo>
                    <a:pt x="868" y="455"/>
                  </a:lnTo>
                  <a:lnTo>
                    <a:pt x="870" y="455"/>
                  </a:lnTo>
                  <a:lnTo>
                    <a:pt x="871" y="454"/>
                  </a:lnTo>
                  <a:lnTo>
                    <a:pt x="873" y="454"/>
                  </a:lnTo>
                  <a:lnTo>
                    <a:pt x="874" y="454"/>
                  </a:lnTo>
                  <a:lnTo>
                    <a:pt x="875" y="455"/>
                  </a:lnTo>
                  <a:lnTo>
                    <a:pt x="878" y="455"/>
                  </a:lnTo>
                  <a:lnTo>
                    <a:pt x="890" y="458"/>
                  </a:lnTo>
                  <a:lnTo>
                    <a:pt x="898" y="461"/>
                  </a:lnTo>
                  <a:lnTo>
                    <a:pt x="905" y="463"/>
                  </a:lnTo>
                  <a:lnTo>
                    <a:pt x="908" y="465"/>
                  </a:lnTo>
                  <a:lnTo>
                    <a:pt x="911" y="466"/>
                  </a:lnTo>
                  <a:lnTo>
                    <a:pt x="913" y="467"/>
                  </a:lnTo>
                  <a:lnTo>
                    <a:pt x="914" y="468"/>
                  </a:lnTo>
                  <a:lnTo>
                    <a:pt x="918" y="472"/>
                  </a:lnTo>
                  <a:lnTo>
                    <a:pt x="919" y="473"/>
                  </a:lnTo>
                  <a:lnTo>
                    <a:pt x="920" y="474"/>
                  </a:lnTo>
                  <a:lnTo>
                    <a:pt x="921" y="475"/>
                  </a:lnTo>
                  <a:lnTo>
                    <a:pt x="923" y="475"/>
                  </a:lnTo>
                  <a:lnTo>
                    <a:pt x="924" y="475"/>
                  </a:lnTo>
                  <a:lnTo>
                    <a:pt x="934" y="474"/>
                  </a:lnTo>
                  <a:lnTo>
                    <a:pt x="937" y="473"/>
                  </a:lnTo>
                  <a:lnTo>
                    <a:pt x="943" y="471"/>
                  </a:lnTo>
                  <a:lnTo>
                    <a:pt x="947" y="471"/>
                  </a:lnTo>
                  <a:lnTo>
                    <a:pt x="950" y="470"/>
                  </a:lnTo>
                  <a:lnTo>
                    <a:pt x="957" y="469"/>
                  </a:lnTo>
                  <a:lnTo>
                    <a:pt x="964" y="468"/>
                  </a:lnTo>
                  <a:lnTo>
                    <a:pt x="966" y="468"/>
                  </a:lnTo>
                  <a:lnTo>
                    <a:pt x="970" y="468"/>
                  </a:lnTo>
                  <a:lnTo>
                    <a:pt x="972" y="468"/>
                  </a:lnTo>
                  <a:lnTo>
                    <a:pt x="974" y="469"/>
                  </a:lnTo>
                  <a:lnTo>
                    <a:pt x="977" y="469"/>
                  </a:lnTo>
                  <a:lnTo>
                    <a:pt x="978" y="470"/>
                  </a:lnTo>
                  <a:lnTo>
                    <a:pt x="980" y="471"/>
                  </a:lnTo>
                  <a:lnTo>
                    <a:pt x="981" y="472"/>
                  </a:lnTo>
                  <a:lnTo>
                    <a:pt x="983" y="473"/>
                  </a:lnTo>
                  <a:lnTo>
                    <a:pt x="984" y="475"/>
                  </a:lnTo>
                  <a:lnTo>
                    <a:pt x="985" y="477"/>
                  </a:lnTo>
                  <a:lnTo>
                    <a:pt x="986" y="478"/>
                  </a:lnTo>
                  <a:lnTo>
                    <a:pt x="987" y="481"/>
                  </a:lnTo>
                  <a:lnTo>
                    <a:pt x="987" y="486"/>
                  </a:lnTo>
                  <a:lnTo>
                    <a:pt x="988" y="489"/>
                  </a:lnTo>
                  <a:lnTo>
                    <a:pt x="988" y="491"/>
                  </a:lnTo>
                  <a:lnTo>
                    <a:pt x="989" y="494"/>
                  </a:lnTo>
                  <a:lnTo>
                    <a:pt x="989" y="497"/>
                  </a:lnTo>
                  <a:lnTo>
                    <a:pt x="989" y="500"/>
                  </a:lnTo>
                  <a:lnTo>
                    <a:pt x="988" y="505"/>
                  </a:lnTo>
                  <a:lnTo>
                    <a:pt x="987" y="512"/>
                  </a:lnTo>
                  <a:lnTo>
                    <a:pt x="987" y="516"/>
                  </a:lnTo>
                  <a:lnTo>
                    <a:pt x="987" y="521"/>
                  </a:lnTo>
                  <a:lnTo>
                    <a:pt x="987" y="523"/>
                  </a:lnTo>
                  <a:lnTo>
                    <a:pt x="987" y="526"/>
                  </a:lnTo>
                  <a:lnTo>
                    <a:pt x="988" y="529"/>
                  </a:lnTo>
                  <a:lnTo>
                    <a:pt x="990" y="533"/>
                  </a:lnTo>
                  <a:lnTo>
                    <a:pt x="992" y="536"/>
                  </a:lnTo>
                  <a:lnTo>
                    <a:pt x="993" y="538"/>
                  </a:lnTo>
                  <a:lnTo>
                    <a:pt x="995" y="540"/>
                  </a:lnTo>
                  <a:lnTo>
                    <a:pt x="997" y="542"/>
                  </a:lnTo>
                  <a:lnTo>
                    <a:pt x="1001" y="545"/>
                  </a:lnTo>
                  <a:lnTo>
                    <a:pt x="1004" y="548"/>
                  </a:lnTo>
                  <a:lnTo>
                    <a:pt x="1010" y="553"/>
                  </a:lnTo>
                  <a:lnTo>
                    <a:pt x="1017" y="559"/>
                  </a:lnTo>
                  <a:lnTo>
                    <a:pt x="1020" y="562"/>
                  </a:lnTo>
                  <a:lnTo>
                    <a:pt x="1023" y="564"/>
                  </a:lnTo>
                  <a:lnTo>
                    <a:pt x="1028" y="567"/>
                  </a:lnTo>
                  <a:lnTo>
                    <a:pt x="1040" y="574"/>
                  </a:lnTo>
                  <a:lnTo>
                    <a:pt x="1046" y="577"/>
                  </a:lnTo>
                  <a:lnTo>
                    <a:pt x="1047" y="578"/>
                  </a:lnTo>
                  <a:lnTo>
                    <a:pt x="1048" y="578"/>
                  </a:lnTo>
                  <a:lnTo>
                    <a:pt x="1049" y="578"/>
                  </a:lnTo>
                  <a:lnTo>
                    <a:pt x="1051" y="578"/>
                  </a:lnTo>
                  <a:lnTo>
                    <a:pt x="1052" y="578"/>
                  </a:lnTo>
                  <a:lnTo>
                    <a:pt x="1053" y="578"/>
                  </a:lnTo>
                  <a:lnTo>
                    <a:pt x="1056" y="576"/>
                  </a:lnTo>
                  <a:lnTo>
                    <a:pt x="1058" y="576"/>
                  </a:lnTo>
                  <a:lnTo>
                    <a:pt x="1061" y="575"/>
                  </a:lnTo>
                  <a:lnTo>
                    <a:pt x="1064" y="575"/>
                  </a:lnTo>
                  <a:lnTo>
                    <a:pt x="1066" y="575"/>
                  </a:lnTo>
                  <a:lnTo>
                    <a:pt x="1067" y="576"/>
                  </a:lnTo>
                  <a:lnTo>
                    <a:pt x="1069" y="576"/>
                  </a:lnTo>
                  <a:lnTo>
                    <a:pt x="1078" y="579"/>
                  </a:lnTo>
                  <a:lnTo>
                    <a:pt x="1080" y="579"/>
                  </a:lnTo>
                  <a:lnTo>
                    <a:pt x="1083" y="579"/>
                  </a:lnTo>
                  <a:lnTo>
                    <a:pt x="1087" y="579"/>
                  </a:lnTo>
                  <a:lnTo>
                    <a:pt x="1093" y="579"/>
                  </a:lnTo>
                  <a:lnTo>
                    <a:pt x="1099" y="579"/>
                  </a:lnTo>
                  <a:lnTo>
                    <a:pt x="1102" y="579"/>
                  </a:lnTo>
                  <a:lnTo>
                    <a:pt x="1106" y="579"/>
                  </a:lnTo>
                  <a:lnTo>
                    <a:pt x="1109" y="579"/>
                  </a:lnTo>
                  <a:lnTo>
                    <a:pt x="1112" y="578"/>
                  </a:lnTo>
                  <a:lnTo>
                    <a:pt x="1118" y="575"/>
                  </a:lnTo>
                  <a:lnTo>
                    <a:pt x="1121" y="574"/>
                  </a:lnTo>
                  <a:lnTo>
                    <a:pt x="1124" y="573"/>
                  </a:lnTo>
                  <a:lnTo>
                    <a:pt x="1131" y="572"/>
                  </a:lnTo>
                  <a:lnTo>
                    <a:pt x="1133" y="571"/>
                  </a:lnTo>
                  <a:lnTo>
                    <a:pt x="1135" y="570"/>
                  </a:lnTo>
                  <a:lnTo>
                    <a:pt x="1138" y="569"/>
                  </a:lnTo>
                  <a:lnTo>
                    <a:pt x="1139" y="568"/>
                  </a:lnTo>
                  <a:lnTo>
                    <a:pt x="1141" y="568"/>
                  </a:lnTo>
                  <a:lnTo>
                    <a:pt x="1143" y="568"/>
                  </a:lnTo>
                  <a:lnTo>
                    <a:pt x="1144" y="568"/>
                  </a:lnTo>
                  <a:lnTo>
                    <a:pt x="1145" y="568"/>
                  </a:lnTo>
                  <a:lnTo>
                    <a:pt x="1146" y="568"/>
                  </a:lnTo>
                  <a:lnTo>
                    <a:pt x="1147" y="569"/>
                  </a:lnTo>
                  <a:lnTo>
                    <a:pt x="1149" y="570"/>
                  </a:lnTo>
                  <a:lnTo>
                    <a:pt x="1151" y="571"/>
                  </a:lnTo>
                  <a:lnTo>
                    <a:pt x="1154" y="573"/>
                  </a:lnTo>
                  <a:lnTo>
                    <a:pt x="1155" y="574"/>
                  </a:lnTo>
                  <a:lnTo>
                    <a:pt x="1156" y="575"/>
                  </a:lnTo>
                  <a:lnTo>
                    <a:pt x="1157" y="576"/>
                  </a:lnTo>
                  <a:lnTo>
                    <a:pt x="1158" y="578"/>
                  </a:lnTo>
                  <a:lnTo>
                    <a:pt x="1158" y="579"/>
                  </a:lnTo>
                  <a:lnTo>
                    <a:pt x="1158" y="580"/>
                  </a:lnTo>
                  <a:lnTo>
                    <a:pt x="1158" y="581"/>
                  </a:lnTo>
                  <a:lnTo>
                    <a:pt x="1158" y="583"/>
                  </a:lnTo>
                  <a:lnTo>
                    <a:pt x="1157" y="586"/>
                  </a:lnTo>
                  <a:lnTo>
                    <a:pt x="1157" y="587"/>
                  </a:lnTo>
                  <a:lnTo>
                    <a:pt x="1157" y="589"/>
                  </a:lnTo>
                  <a:lnTo>
                    <a:pt x="1158" y="591"/>
                  </a:lnTo>
                  <a:lnTo>
                    <a:pt x="1158" y="591"/>
                  </a:lnTo>
                  <a:lnTo>
                    <a:pt x="1159" y="592"/>
                  </a:lnTo>
                  <a:lnTo>
                    <a:pt x="1161" y="594"/>
                  </a:lnTo>
                  <a:lnTo>
                    <a:pt x="1163" y="596"/>
                  </a:lnTo>
                  <a:lnTo>
                    <a:pt x="1166" y="598"/>
                  </a:lnTo>
                  <a:lnTo>
                    <a:pt x="1170" y="601"/>
                  </a:lnTo>
                  <a:lnTo>
                    <a:pt x="1172" y="602"/>
                  </a:lnTo>
                  <a:lnTo>
                    <a:pt x="1174" y="603"/>
                  </a:lnTo>
                  <a:lnTo>
                    <a:pt x="1175" y="605"/>
                  </a:lnTo>
                  <a:lnTo>
                    <a:pt x="1181" y="613"/>
                  </a:lnTo>
                  <a:lnTo>
                    <a:pt x="1181" y="615"/>
                  </a:lnTo>
                  <a:lnTo>
                    <a:pt x="1182" y="617"/>
                  </a:lnTo>
                  <a:lnTo>
                    <a:pt x="1183" y="618"/>
                  </a:lnTo>
                  <a:lnTo>
                    <a:pt x="1183" y="620"/>
                  </a:lnTo>
                  <a:lnTo>
                    <a:pt x="1183" y="622"/>
                  </a:lnTo>
                  <a:lnTo>
                    <a:pt x="1182" y="624"/>
                  </a:lnTo>
                  <a:lnTo>
                    <a:pt x="1181" y="627"/>
                  </a:lnTo>
                  <a:lnTo>
                    <a:pt x="1181" y="630"/>
                  </a:lnTo>
                  <a:lnTo>
                    <a:pt x="1180" y="631"/>
                  </a:lnTo>
                  <a:lnTo>
                    <a:pt x="1179" y="632"/>
                  </a:lnTo>
                  <a:lnTo>
                    <a:pt x="1178" y="633"/>
                  </a:lnTo>
                  <a:lnTo>
                    <a:pt x="1176" y="634"/>
                  </a:lnTo>
                  <a:lnTo>
                    <a:pt x="1174" y="635"/>
                  </a:lnTo>
                  <a:lnTo>
                    <a:pt x="1171" y="636"/>
                  </a:lnTo>
                  <a:lnTo>
                    <a:pt x="1166" y="636"/>
                  </a:lnTo>
                  <a:lnTo>
                    <a:pt x="1160" y="638"/>
                  </a:lnTo>
                  <a:lnTo>
                    <a:pt x="1158" y="638"/>
                  </a:lnTo>
                  <a:lnTo>
                    <a:pt x="1157" y="639"/>
                  </a:lnTo>
                  <a:lnTo>
                    <a:pt x="1156" y="640"/>
                  </a:lnTo>
                  <a:lnTo>
                    <a:pt x="1155" y="641"/>
                  </a:lnTo>
                  <a:lnTo>
                    <a:pt x="1154" y="642"/>
                  </a:lnTo>
                  <a:lnTo>
                    <a:pt x="1152" y="644"/>
                  </a:lnTo>
                  <a:lnTo>
                    <a:pt x="1149" y="648"/>
                  </a:lnTo>
                  <a:lnTo>
                    <a:pt x="1147" y="652"/>
                  </a:lnTo>
                  <a:lnTo>
                    <a:pt x="1146" y="655"/>
                  </a:lnTo>
                  <a:lnTo>
                    <a:pt x="1145" y="658"/>
                  </a:lnTo>
                  <a:lnTo>
                    <a:pt x="1144" y="660"/>
                  </a:lnTo>
                  <a:lnTo>
                    <a:pt x="1143" y="665"/>
                  </a:lnTo>
                  <a:lnTo>
                    <a:pt x="1143" y="667"/>
                  </a:lnTo>
                  <a:lnTo>
                    <a:pt x="1142" y="669"/>
                  </a:lnTo>
                  <a:lnTo>
                    <a:pt x="1141" y="670"/>
                  </a:lnTo>
                  <a:lnTo>
                    <a:pt x="1140" y="672"/>
                  </a:lnTo>
                  <a:lnTo>
                    <a:pt x="1135" y="679"/>
                  </a:lnTo>
                  <a:lnTo>
                    <a:pt x="1135" y="681"/>
                  </a:lnTo>
                  <a:lnTo>
                    <a:pt x="1134" y="682"/>
                  </a:lnTo>
                  <a:lnTo>
                    <a:pt x="1132" y="689"/>
                  </a:lnTo>
                  <a:lnTo>
                    <a:pt x="1131" y="692"/>
                  </a:lnTo>
                  <a:lnTo>
                    <a:pt x="1130" y="693"/>
                  </a:lnTo>
                  <a:lnTo>
                    <a:pt x="1128" y="695"/>
                  </a:lnTo>
                  <a:lnTo>
                    <a:pt x="1126" y="697"/>
                  </a:lnTo>
                  <a:lnTo>
                    <a:pt x="1121" y="704"/>
                  </a:lnTo>
                  <a:lnTo>
                    <a:pt x="1117" y="707"/>
                  </a:lnTo>
                  <a:lnTo>
                    <a:pt x="1116" y="709"/>
                  </a:lnTo>
                  <a:lnTo>
                    <a:pt x="1112" y="713"/>
                  </a:lnTo>
                  <a:lnTo>
                    <a:pt x="1110" y="716"/>
                  </a:lnTo>
                  <a:lnTo>
                    <a:pt x="1108" y="719"/>
                  </a:lnTo>
                  <a:lnTo>
                    <a:pt x="1107" y="721"/>
                  </a:lnTo>
                  <a:lnTo>
                    <a:pt x="1106" y="723"/>
                  </a:lnTo>
                  <a:lnTo>
                    <a:pt x="1106" y="725"/>
                  </a:lnTo>
                  <a:lnTo>
                    <a:pt x="1106" y="726"/>
                  </a:lnTo>
                  <a:lnTo>
                    <a:pt x="1106" y="727"/>
                  </a:lnTo>
                  <a:lnTo>
                    <a:pt x="1106" y="727"/>
                  </a:lnTo>
                  <a:lnTo>
                    <a:pt x="1106" y="728"/>
                  </a:lnTo>
                  <a:lnTo>
                    <a:pt x="1107" y="729"/>
                  </a:lnTo>
                  <a:lnTo>
                    <a:pt x="1108" y="730"/>
                  </a:lnTo>
                  <a:lnTo>
                    <a:pt x="1109" y="730"/>
                  </a:lnTo>
                  <a:lnTo>
                    <a:pt x="1111" y="730"/>
                  </a:lnTo>
                  <a:lnTo>
                    <a:pt x="1115" y="731"/>
                  </a:lnTo>
                  <a:lnTo>
                    <a:pt x="1118" y="731"/>
                  </a:lnTo>
                  <a:lnTo>
                    <a:pt x="1119" y="732"/>
                  </a:lnTo>
                  <a:lnTo>
                    <a:pt x="1121" y="732"/>
                  </a:lnTo>
                  <a:lnTo>
                    <a:pt x="1122" y="733"/>
                  </a:lnTo>
                  <a:lnTo>
                    <a:pt x="1124" y="734"/>
                  </a:lnTo>
                  <a:lnTo>
                    <a:pt x="1124" y="735"/>
                  </a:lnTo>
                  <a:lnTo>
                    <a:pt x="1126" y="737"/>
                  </a:lnTo>
                  <a:lnTo>
                    <a:pt x="1127" y="738"/>
                  </a:lnTo>
                  <a:lnTo>
                    <a:pt x="1131" y="744"/>
                  </a:lnTo>
                  <a:lnTo>
                    <a:pt x="1132" y="746"/>
                  </a:lnTo>
                  <a:lnTo>
                    <a:pt x="1134" y="748"/>
                  </a:lnTo>
                  <a:lnTo>
                    <a:pt x="1135" y="749"/>
                  </a:lnTo>
                  <a:lnTo>
                    <a:pt x="1137" y="751"/>
                  </a:lnTo>
                  <a:lnTo>
                    <a:pt x="1140" y="753"/>
                  </a:lnTo>
                  <a:lnTo>
                    <a:pt x="1144" y="754"/>
                  </a:lnTo>
                  <a:lnTo>
                    <a:pt x="1150" y="757"/>
                  </a:lnTo>
                  <a:lnTo>
                    <a:pt x="1154" y="760"/>
                  </a:lnTo>
                  <a:lnTo>
                    <a:pt x="1157" y="761"/>
                  </a:lnTo>
                  <a:lnTo>
                    <a:pt x="1159" y="762"/>
                  </a:lnTo>
                  <a:lnTo>
                    <a:pt x="1163" y="765"/>
                  </a:lnTo>
                  <a:lnTo>
                    <a:pt x="1165" y="767"/>
                  </a:lnTo>
                  <a:lnTo>
                    <a:pt x="1167" y="769"/>
                  </a:lnTo>
                  <a:lnTo>
                    <a:pt x="1169" y="771"/>
                  </a:lnTo>
                  <a:lnTo>
                    <a:pt x="1169" y="772"/>
                  </a:lnTo>
                  <a:lnTo>
                    <a:pt x="1171" y="774"/>
                  </a:lnTo>
                  <a:lnTo>
                    <a:pt x="1172" y="776"/>
                  </a:lnTo>
                  <a:lnTo>
                    <a:pt x="1175" y="782"/>
                  </a:lnTo>
                  <a:lnTo>
                    <a:pt x="1176" y="783"/>
                  </a:lnTo>
                  <a:lnTo>
                    <a:pt x="1177" y="785"/>
                  </a:lnTo>
                  <a:lnTo>
                    <a:pt x="1178" y="786"/>
                  </a:lnTo>
                  <a:lnTo>
                    <a:pt x="1177" y="788"/>
                  </a:lnTo>
                  <a:lnTo>
                    <a:pt x="1173" y="792"/>
                  </a:lnTo>
                  <a:lnTo>
                    <a:pt x="1172" y="793"/>
                  </a:lnTo>
                  <a:lnTo>
                    <a:pt x="1171" y="793"/>
                  </a:lnTo>
                  <a:lnTo>
                    <a:pt x="1170" y="794"/>
                  </a:lnTo>
                  <a:lnTo>
                    <a:pt x="1169" y="794"/>
                  </a:lnTo>
                  <a:lnTo>
                    <a:pt x="1166" y="795"/>
                  </a:lnTo>
                  <a:lnTo>
                    <a:pt x="1165" y="795"/>
                  </a:lnTo>
                  <a:lnTo>
                    <a:pt x="1164" y="795"/>
                  </a:lnTo>
                  <a:lnTo>
                    <a:pt x="1164" y="798"/>
                  </a:lnTo>
                  <a:lnTo>
                    <a:pt x="1164" y="799"/>
                  </a:lnTo>
                  <a:lnTo>
                    <a:pt x="1163" y="802"/>
                  </a:lnTo>
                  <a:lnTo>
                    <a:pt x="1162" y="803"/>
                  </a:lnTo>
                  <a:lnTo>
                    <a:pt x="1159" y="806"/>
                  </a:lnTo>
                  <a:lnTo>
                    <a:pt x="1159" y="806"/>
                  </a:lnTo>
                  <a:lnTo>
                    <a:pt x="1159" y="807"/>
                  </a:lnTo>
                  <a:lnTo>
                    <a:pt x="1159" y="808"/>
                  </a:lnTo>
                  <a:lnTo>
                    <a:pt x="1160" y="809"/>
                  </a:lnTo>
                  <a:lnTo>
                    <a:pt x="1161" y="809"/>
                  </a:lnTo>
                  <a:lnTo>
                    <a:pt x="1160" y="809"/>
                  </a:lnTo>
                  <a:lnTo>
                    <a:pt x="1160" y="810"/>
                  </a:lnTo>
                  <a:lnTo>
                    <a:pt x="1158" y="811"/>
                  </a:lnTo>
                  <a:lnTo>
                    <a:pt x="1156" y="813"/>
                  </a:lnTo>
                  <a:lnTo>
                    <a:pt x="1155" y="814"/>
                  </a:lnTo>
                  <a:lnTo>
                    <a:pt x="1153" y="815"/>
                  </a:lnTo>
                  <a:lnTo>
                    <a:pt x="1151" y="815"/>
                  </a:lnTo>
                  <a:lnTo>
                    <a:pt x="1151" y="816"/>
                  </a:lnTo>
                  <a:lnTo>
                    <a:pt x="1150" y="817"/>
                  </a:lnTo>
                  <a:lnTo>
                    <a:pt x="1149" y="818"/>
                  </a:lnTo>
                  <a:lnTo>
                    <a:pt x="1146" y="828"/>
                  </a:lnTo>
                  <a:lnTo>
                    <a:pt x="1144" y="830"/>
                  </a:lnTo>
                  <a:lnTo>
                    <a:pt x="1144" y="833"/>
                  </a:lnTo>
                  <a:lnTo>
                    <a:pt x="1143" y="833"/>
                  </a:lnTo>
                  <a:lnTo>
                    <a:pt x="1141" y="832"/>
                  </a:lnTo>
                  <a:lnTo>
                    <a:pt x="1138" y="831"/>
                  </a:lnTo>
                  <a:lnTo>
                    <a:pt x="1135" y="829"/>
                  </a:lnTo>
                  <a:lnTo>
                    <a:pt x="1132" y="827"/>
                  </a:lnTo>
                  <a:lnTo>
                    <a:pt x="1127" y="824"/>
                  </a:lnTo>
                  <a:lnTo>
                    <a:pt x="1124" y="820"/>
                  </a:lnTo>
                  <a:lnTo>
                    <a:pt x="1121" y="817"/>
                  </a:lnTo>
                  <a:lnTo>
                    <a:pt x="1117" y="813"/>
                  </a:lnTo>
                  <a:lnTo>
                    <a:pt x="1111" y="804"/>
                  </a:lnTo>
                  <a:lnTo>
                    <a:pt x="1107" y="800"/>
                  </a:lnTo>
                  <a:lnTo>
                    <a:pt x="1105" y="798"/>
                  </a:lnTo>
                  <a:lnTo>
                    <a:pt x="1102" y="795"/>
                  </a:lnTo>
                  <a:lnTo>
                    <a:pt x="1100" y="794"/>
                  </a:lnTo>
                  <a:lnTo>
                    <a:pt x="1096" y="792"/>
                  </a:lnTo>
                  <a:lnTo>
                    <a:pt x="1093" y="790"/>
                  </a:lnTo>
                  <a:lnTo>
                    <a:pt x="1090" y="789"/>
                  </a:lnTo>
                  <a:lnTo>
                    <a:pt x="1088" y="788"/>
                  </a:lnTo>
                  <a:lnTo>
                    <a:pt x="1086" y="787"/>
                  </a:lnTo>
                  <a:lnTo>
                    <a:pt x="1082" y="786"/>
                  </a:lnTo>
                  <a:lnTo>
                    <a:pt x="1077" y="785"/>
                  </a:lnTo>
                  <a:lnTo>
                    <a:pt x="1074" y="784"/>
                  </a:lnTo>
                  <a:lnTo>
                    <a:pt x="1063" y="782"/>
                  </a:lnTo>
                  <a:lnTo>
                    <a:pt x="1060" y="781"/>
                  </a:lnTo>
                  <a:lnTo>
                    <a:pt x="1057" y="780"/>
                  </a:lnTo>
                  <a:lnTo>
                    <a:pt x="1054" y="779"/>
                  </a:lnTo>
                  <a:lnTo>
                    <a:pt x="1051" y="778"/>
                  </a:lnTo>
                  <a:lnTo>
                    <a:pt x="1048" y="776"/>
                  </a:lnTo>
                  <a:lnTo>
                    <a:pt x="1045" y="775"/>
                  </a:lnTo>
                  <a:lnTo>
                    <a:pt x="1040" y="772"/>
                  </a:lnTo>
                  <a:lnTo>
                    <a:pt x="1030" y="765"/>
                  </a:lnTo>
                  <a:lnTo>
                    <a:pt x="1020" y="758"/>
                  </a:lnTo>
                  <a:lnTo>
                    <a:pt x="1016" y="755"/>
                  </a:lnTo>
                  <a:lnTo>
                    <a:pt x="1012" y="753"/>
                  </a:lnTo>
                  <a:lnTo>
                    <a:pt x="1008" y="750"/>
                  </a:lnTo>
                  <a:lnTo>
                    <a:pt x="1003" y="749"/>
                  </a:lnTo>
                  <a:lnTo>
                    <a:pt x="999" y="748"/>
                  </a:lnTo>
                  <a:lnTo>
                    <a:pt x="996" y="747"/>
                  </a:lnTo>
                  <a:lnTo>
                    <a:pt x="993" y="746"/>
                  </a:lnTo>
                  <a:lnTo>
                    <a:pt x="989" y="746"/>
                  </a:lnTo>
                  <a:lnTo>
                    <a:pt x="985" y="746"/>
                  </a:lnTo>
                  <a:lnTo>
                    <a:pt x="980" y="746"/>
                  </a:lnTo>
                  <a:lnTo>
                    <a:pt x="974" y="747"/>
                  </a:lnTo>
                  <a:lnTo>
                    <a:pt x="971" y="747"/>
                  </a:lnTo>
                  <a:lnTo>
                    <a:pt x="968" y="747"/>
                  </a:lnTo>
                  <a:lnTo>
                    <a:pt x="965" y="747"/>
                  </a:lnTo>
                  <a:lnTo>
                    <a:pt x="960" y="746"/>
                  </a:lnTo>
                  <a:lnTo>
                    <a:pt x="958" y="745"/>
                  </a:lnTo>
                  <a:lnTo>
                    <a:pt x="956" y="745"/>
                  </a:lnTo>
                  <a:lnTo>
                    <a:pt x="953" y="743"/>
                  </a:lnTo>
                  <a:lnTo>
                    <a:pt x="948" y="740"/>
                  </a:lnTo>
                  <a:lnTo>
                    <a:pt x="945" y="740"/>
                  </a:lnTo>
                  <a:lnTo>
                    <a:pt x="944" y="739"/>
                  </a:lnTo>
                  <a:lnTo>
                    <a:pt x="943" y="739"/>
                  </a:lnTo>
                  <a:lnTo>
                    <a:pt x="942" y="739"/>
                  </a:lnTo>
                  <a:lnTo>
                    <a:pt x="942" y="740"/>
                  </a:lnTo>
                  <a:lnTo>
                    <a:pt x="941" y="741"/>
                  </a:lnTo>
                  <a:lnTo>
                    <a:pt x="940" y="742"/>
                  </a:lnTo>
                  <a:lnTo>
                    <a:pt x="939" y="743"/>
                  </a:lnTo>
                  <a:lnTo>
                    <a:pt x="938" y="745"/>
                  </a:lnTo>
                  <a:lnTo>
                    <a:pt x="936" y="752"/>
                  </a:lnTo>
                  <a:lnTo>
                    <a:pt x="934" y="756"/>
                  </a:lnTo>
                  <a:lnTo>
                    <a:pt x="932" y="761"/>
                  </a:lnTo>
                  <a:lnTo>
                    <a:pt x="929" y="767"/>
                  </a:lnTo>
                  <a:lnTo>
                    <a:pt x="927" y="769"/>
                  </a:lnTo>
                  <a:lnTo>
                    <a:pt x="926" y="771"/>
                  </a:lnTo>
                  <a:lnTo>
                    <a:pt x="924" y="772"/>
                  </a:lnTo>
                  <a:lnTo>
                    <a:pt x="922" y="773"/>
                  </a:lnTo>
                  <a:lnTo>
                    <a:pt x="921" y="773"/>
                  </a:lnTo>
                  <a:lnTo>
                    <a:pt x="920" y="774"/>
                  </a:lnTo>
                  <a:lnTo>
                    <a:pt x="918" y="774"/>
                  </a:lnTo>
                  <a:lnTo>
                    <a:pt x="915" y="775"/>
                  </a:lnTo>
                  <a:lnTo>
                    <a:pt x="908" y="775"/>
                  </a:lnTo>
                  <a:lnTo>
                    <a:pt x="901" y="776"/>
                  </a:lnTo>
                  <a:lnTo>
                    <a:pt x="897" y="776"/>
                  </a:lnTo>
                  <a:lnTo>
                    <a:pt x="894" y="777"/>
                  </a:lnTo>
                  <a:lnTo>
                    <a:pt x="889" y="778"/>
                  </a:lnTo>
                  <a:lnTo>
                    <a:pt x="885" y="780"/>
                  </a:lnTo>
                  <a:lnTo>
                    <a:pt x="880" y="782"/>
                  </a:lnTo>
                  <a:lnTo>
                    <a:pt x="872" y="786"/>
                  </a:lnTo>
                  <a:lnTo>
                    <a:pt x="869" y="787"/>
                  </a:lnTo>
                  <a:lnTo>
                    <a:pt x="867" y="788"/>
                  </a:lnTo>
                  <a:lnTo>
                    <a:pt x="865" y="788"/>
                  </a:lnTo>
                  <a:lnTo>
                    <a:pt x="863" y="789"/>
                  </a:lnTo>
                  <a:lnTo>
                    <a:pt x="858" y="790"/>
                  </a:lnTo>
                  <a:lnTo>
                    <a:pt x="854" y="790"/>
                  </a:lnTo>
                  <a:lnTo>
                    <a:pt x="853" y="789"/>
                  </a:lnTo>
                  <a:lnTo>
                    <a:pt x="852" y="789"/>
                  </a:lnTo>
                  <a:lnTo>
                    <a:pt x="851" y="788"/>
                  </a:lnTo>
                  <a:lnTo>
                    <a:pt x="850" y="788"/>
                  </a:lnTo>
                  <a:lnTo>
                    <a:pt x="850" y="787"/>
                  </a:lnTo>
                  <a:lnTo>
                    <a:pt x="849" y="786"/>
                  </a:lnTo>
                  <a:lnTo>
                    <a:pt x="848" y="785"/>
                  </a:lnTo>
                  <a:lnTo>
                    <a:pt x="848" y="784"/>
                  </a:lnTo>
                  <a:lnTo>
                    <a:pt x="848" y="783"/>
                  </a:lnTo>
                  <a:lnTo>
                    <a:pt x="848" y="781"/>
                  </a:lnTo>
                  <a:lnTo>
                    <a:pt x="848" y="772"/>
                  </a:lnTo>
                  <a:lnTo>
                    <a:pt x="848" y="770"/>
                  </a:lnTo>
                  <a:lnTo>
                    <a:pt x="848" y="767"/>
                  </a:lnTo>
                  <a:lnTo>
                    <a:pt x="848" y="765"/>
                  </a:lnTo>
                  <a:lnTo>
                    <a:pt x="847" y="762"/>
                  </a:lnTo>
                  <a:lnTo>
                    <a:pt x="846" y="757"/>
                  </a:lnTo>
                  <a:lnTo>
                    <a:pt x="845" y="754"/>
                  </a:lnTo>
                  <a:lnTo>
                    <a:pt x="842" y="748"/>
                  </a:lnTo>
                  <a:lnTo>
                    <a:pt x="840" y="742"/>
                  </a:lnTo>
                  <a:lnTo>
                    <a:pt x="840" y="740"/>
                  </a:lnTo>
                  <a:lnTo>
                    <a:pt x="839" y="739"/>
                  </a:lnTo>
                  <a:lnTo>
                    <a:pt x="839" y="738"/>
                  </a:lnTo>
                  <a:lnTo>
                    <a:pt x="837" y="736"/>
                  </a:lnTo>
                  <a:lnTo>
                    <a:pt x="835" y="735"/>
                  </a:lnTo>
                  <a:lnTo>
                    <a:pt x="833" y="733"/>
                  </a:lnTo>
                  <a:lnTo>
                    <a:pt x="830" y="731"/>
                  </a:lnTo>
                  <a:lnTo>
                    <a:pt x="828" y="730"/>
                  </a:lnTo>
                  <a:lnTo>
                    <a:pt x="825" y="729"/>
                  </a:lnTo>
                  <a:lnTo>
                    <a:pt x="822" y="728"/>
                  </a:lnTo>
                  <a:lnTo>
                    <a:pt x="817" y="728"/>
                  </a:lnTo>
                  <a:lnTo>
                    <a:pt x="812" y="727"/>
                  </a:lnTo>
                  <a:lnTo>
                    <a:pt x="807" y="727"/>
                  </a:lnTo>
                  <a:lnTo>
                    <a:pt x="801" y="727"/>
                  </a:lnTo>
                  <a:lnTo>
                    <a:pt x="797" y="727"/>
                  </a:lnTo>
                  <a:lnTo>
                    <a:pt x="794" y="727"/>
                  </a:lnTo>
                  <a:lnTo>
                    <a:pt x="791" y="727"/>
                  </a:lnTo>
                  <a:lnTo>
                    <a:pt x="787" y="726"/>
                  </a:lnTo>
                  <a:lnTo>
                    <a:pt x="784" y="725"/>
                  </a:lnTo>
                  <a:lnTo>
                    <a:pt x="782" y="724"/>
                  </a:lnTo>
                  <a:lnTo>
                    <a:pt x="780" y="724"/>
                  </a:lnTo>
                  <a:lnTo>
                    <a:pt x="778" y="722"/>
                  </a:lnTo>
                  <a:lnTo>
                    <a:pt x="776" y="721"/>
                  </a:lnTo>
                  <a:lnTo>
                    <a:pt x="774" y="719"/>
                  </a:lnTo>
                  <a:lnTo>
                    <a:pt x="769" y="715"/>
                  </a:lnTo>
                  <a:lnTo>
                    <a:pt x="768" y="714"/>
                  </a:lnTo>
                  <a:lnTo>
                    <a:pt x="766" y="713"/>
                  </a:lnTo>
                  <a:lnTo>
                    <a:pt x="764" y="712"/>
                  </a:lnTo>
                  <a:lnTo>
                    <a:pt x="763" y="711"/>
                  </a:lnTo>
                  <a:lnTo>
                    <a:pt x="761" y="710"/>
                  </a:lnTo>
                  <a:lnTo>
                    <a:pt x="760" y="710"/>
                  </a:lnTo>
                  <a:lnTo>
                    <a:pt x="751" y="708"/>
                  </a:lnTo>
                  <a:lnTo>
                    <a:pt x="742" y="706"/>
                  </a:lnTo>
                  <a:lnTo>
                    <a:pt x="740" y="706"/>
                  </a:lnTo>
                  <a:lnTo>
                    <a:pt x="738" y="706"/>
                  </a:lnTo>
                  <a:lnTo>
                    <a:pt x="736" y="706"/>
                  </a:lnTo>
                  <a:lnTo>
                    <a:pt x="733" y="706"/>
                  </a:lnTo>
                  <a:lnTo>
                    <a:pt x="730" y="707"/>
                  </a:lnTo>
                  <a:lnTo>
                    <a:pt x="727" y="708"/>
                  </a:lnTo>
                  <a:lnTo>
                    <a:pt x="724" y="710"/>
                  </a:lnTo>
                  <a:lnTo>
                    <a:pt x="722" y="712"/>
                  </a:lnTo>
                  <a:lnTo>
                    <a:pt x="721" y="713"/>
                  </a:lnTo>
                  <a:lnTo>
                    <a:pt x="720" y="713"/>
                  </a:lnTo>
                  <a:lnTo>
                    <a:pt x="719" y="715"/>
                  </a:lnTo>
                  <a:lnTo>
                    <a:pt x="719" y="715"/>
                  </a:lnTo>
                  <a:lnTo>
                    <a:pt x="718" y="717"/>
                  </a:lnTo>
                  <a:lnTo>
                    <a:pt x="717" y="723"/>
                  </a:lnTo>
                  <a:lnTo>
                    <a:pt x="716" y="725"/>
                  </a:lnTo>
                  <a:lnTo>
                    <a:pt x="715" y="728"/>
                  </a:lnTo>
                  <a:lnTo>
                    <a:pt x="714" y="731"/>
                  </a:lnTo>
                  <a:lnTo>
                    <a:pt x="713" y="736"/>
                  </a:lnTo>
                  <a:lnTo>
                    <a:pt x="710" y="741"/>
                  </a:lnTo>
                  <a:lnTo>
                    <a:pt x="709" y="744"/>
                  </a:lnTo>
                  <a:lnTo>
                    <a:pt x="707" y="746"/>
                  </a:lnTo>
                  <a:lnTo>
                    <a:pt x="706" y="749"/>
                  </a:lnTo>
                  <a:lnTo>
                    <a:pt x="705" y="752"/>
                  </a:lnTo>
                  <a:lnTo>
                    <a:pt x="705" y="755"/>
                  </a:lnTo>
                  <a:lnTo>
                    <a:pt x="704" y="758"/>
                  </a:lnTo>
                  <a:lnTo>
                    <a:pt x="704" y="761"/>
                  </a:lnTo>
                  <a:lnTo>
                    <a:pt x="703" y="764"/>
                  </a:lnTo>
                  <a:lnTo>
                    <a:pt x="703" y="769"/>
                  </a:lnTo>
                  <a:lnTo>
                    <a:pt x="703" y="774"/>
                  </a:lnTo>
                  <a:lnTo>
                    <a:pt x="704" y="779"/>
                  </a:lnTo>
                  <a:lnTo>
                    <a:pt x="705" y="787"/>
                  </a:lnTo>
                  <a:lnTo>
                    <a:pt x="707" y="798"/>
                  </a:lnTo>
                  <a:lnTo>
                    <a:pt x="707" y="807"/>
                  </a:lnTo>
                  <a:lnTo>
                    <a:pt x="708" y="810"/>
                  </a:lnTo>
                  <a:lnTo>
                    <a:pt x="711" y="825"/>
                  </a:lnTo>
                  <a:lnTo>
                    <a:pt x="712" y="829"/>
                  </a:lnTo>
                  <a:lnTo>
                    <a:pt x="712" y="833"/>
                  </a:lnTo>
                  <a:lnTo>
                    <a:pt x="712" y="837"/>
                  </a:lnTo>
                  <a:lnTo>
                    <a:pt x="712" y="840"/>
                  </a:lnTo>
                  <a:lnTo>
                    <a:pt x="712" y="842"/>
                  </a:lnTo>
                  <a:lnTo>
                    <a:pt x="711" y="847"/>
                  </a:lnTo>
                  <a:lnTo>
                    <a:pt x="710" y="853"/>
                  </a:lnTo>
                  <a:lnTo>
                    <a:pt x="706" y="868"/>
                  </a:lnTo>
                  <a:lnTo>
                    <a:pt x="705" y="871"/>
                  </a:lnTo>
                  <a:lnTo>
                    <a:pt x="703" y="875"/>
                  </a:lnTo>
                  <a:lnTo>
                    <a:pt x="703" y="878"/>
                  </a:lnTo>
                  <a:lnTo>
                    <a:pt x="703" y="882"/>
                  </a:lnTo>
                  <a:lnTo>
                    <a:pt x="702" y="886"/>
                  </a:lnTo>
                  <a:lnTo>
                    <a:pt x="702" y="890"/>
                  </a:lnTo>
                  <a:lnTo>
                    <a:pt x="702" y="895"/>
                  </a:lnTo>
                  <a:lnTo>
                    <a:pt x="703" y="904"/>
                  </a:lnTo>
                  <a:lnTo>
                    <a:pt x="703" y="907"/>
                  </a:lnTo>
                  <a:lnTo>
                    <a:pt x="702" y="908"/>
                  </a:lnTo>
                  <a:lnTo>
                    <a:pt x="702" y="910"/>
                  </a:lnTo>
                  <a:lnTo>
                    <a:pt x="701" y="912"/>
                  </a:lnTo>
                  <a:lnTo>
                    <a:pt x="699" y="918"/>
                  </a:lnTo>
                  <a:lnTo>
                    <a:pt x="697" y="922"/>
                  </a:lnTo>
                  <a:lnTo>
                    <a:pt x="694" y="933"/>
                  </a:lnTo>
                  <a:lnTo>
                    <a:pt x="692" y="942"/>
                  </a:lnTo>
                  <a:lnTo>
                    <a:pt x="691" y="945"/>
                  </a:lnTo>
                  <a:lnTo>
                    <a:pt x="690" y="949"/>
                  </a:lnTo>
                  <a:lnTo>
                    <a:pt x="689" y="953"/>
                  </a:lnTo>
                  <a:lnTo>
                    <a:pt x="688" y="959"/>
                  </a:lnTo>
                  <a:lnTo>
                    <a:pt x="688" y="963"/>
                  </a:lnTo>
                  <a:lnTo>
                    <a:pt x="688" y="965"/>
                  </a:lnTo>
                  <a:lnTo>
                    <a:pt x="688" y="968"/>
                  </a:lnTo>
                  <a:lnTo>
                    <a:pt x="689" y="971"/>
                  </a:lnTo>
                  <a:lnTo>
                    <a:pt x="690" y="973"/>
                  </a:lnTo>
                  <a:lnTo>
                    <a:pt x="691" y="975"/>
                  </a:lnTo>
                  <a:lnTo>
                    <a:pt x="692" y="976"/>
                  </a:lnTo>
                  <a:lnTo>
                    <a:pt x="695" y="982"/>
                  </a:lnTo>
                  <a:lnTo>
                    <a:pt x="697" y="984"/>
                  </a:lnTo>
                  <a:lnTo>
                    <a:pt x="698" y="987"/>
                  </a:lnTo>
                  <a:lnTo>
                    <a:pt x="698" y="988"/>
                  </a:lnTo>
                  <a:lnTo>
                    <a:pt x="699" y="990"/>
                  </a:lnTo>
                  <a:lnTo>
                    <a:pt x="699" y="993"/>
                  </a:lnTo>
                  <a:lnTo>
                    <a:pt x="699" y="995"/>
                  </a:lnTo>
                  <a:lnTo>
                    <a:pt x="698" y="997"/>
                  </a:lnTo>
                  <a:lnTo>
                    <a:pt x="696" y="999"/>
                  </a:lnTo>
                  <a:lnTo>
                    <a:pt x="694" y="1001"/>
                  </a:lnTo>
                  <a:lnTo>
                    <a:pt x="692" y="1003"/>
                  </a:lnTo>
                  <a:lnTo>
                    <a:pt x="691" y="1004"/>
                  </a:lnTo>
                  <a:lnTo>
                    <a:pt x="688" y="1005"/>
                  </a:lnTo>
                  <a:lnTo>
                    <a:pt x="686" y="1006"/>
                  </a:lnTo>
                  <a:lnTo>
                    <a:pt x="683" y="1006"/>
                  </a:lnTo>
                  <a:lnTo>
                    <a:pt x="680" y="1006"/>
                  </a:lnTo>
                  <a:lnTo>
                    <a:pt x="676" y="1006"/>
                  </a:lnTo>
                  <a:lnTo>
                    <a:pt x="672" y="1005"/>
                  </a:lnTo>
                  <a:lnTo>
                    <a:pt x="660" y="1001"/>
                  </a:lnTo>
                  <a:lnTo>
                    <a:pt x="652" y="999"/>
                  </a:lnTo>
                  <a:lnTo>
                    <a:pt x="648" y="999"/>
                  </a:lnTo>
                  <a:lnTo>
                    <a:pt x="645" y="997"/>
                  </a:lnTo>
                  <a:lnTo>
                    <a:pt x="635" y="994"/>
                  </a:lnTo>
                  <a:lnTo>
                    <a:pt x="633" y="993"/>
                  </a:lnTo>
                  <a:lnTo>
                    <a:pt x="628" y="990"/>
                  </a:lnTo>
                  <a:lnTo>
                    <a:pt x="625" y="989"/>
                  </a:lnTo>
                  <a:lnTo>
                    <a:pt x="623" y="988"/>
                  </a:lnTo>
                  <a:lnTo>
                    <a:pt x="619" y="987"/>
                  </a:lnTo>
                  <a:lnTo>
                    <a:pt x="608" y="986"/>
                  </a:lnTo>
                  <a:lnTo>
                    <a:pt x="601" y="985"/>
                  </a:lnTo>
                  <a:lnTo>
                    <a:pt x="597" y="984"/>
                  </a:lnTo>
                  <a:lnTo>
                    <a:pt x="595" y="984"/>
                  </a:lnTo>
                  <a:lnTo>
                    <a:pt x="592" y="984"/>
                  </a:lnTo>
                  <a:lnTo>
                    <a:pt x="589" y="984"/>
                  </a:lnTo>
                  <a:lnTo>
                    <a:pt x="587" y="985"/>
                  </a:lnTo>
                  <a:lnTo>
                    <a:pt x="585" y="985"/>
                  </a:lnTo>
                  <a:lnTo>
                    <a:pt x="583" y="985"/>
                  </a:lnTo>
                  <a:lnTo>
                    <a:pt x="582" y="986"/>
                  </a:lnTo>
                  <a:lnTo>
                    <a:pt x="580" y="987"/>
                  </a:lnTo>
                  <a:lnTo>
                    <a:pt x="578" y="987"/>
                  </a:lnTo>
                  <a:lnTo>
                    <a:pt x="578" y="989"/>
                  </a:lnTo>
                  <a:lnTo>
                    <a:pt x="576" y="990"/>
                  </a:lnTo>
                  <a:lnTo>
                    <a:pt x="575" y="992"/>
                  </a:lnTo>
                  <a:lnTo>
                    <a:pt x="574" y="995"/>
                  </a:lnTo>
                  <a:lnTo>
                    <a:pt x="573" y="997"/>
                  </a:lnTo>
                  <a:lnTo>
                    <a:pt x="572" y="999"/>
                  </a:lnTo>
                  <a:lnTo>
                    <a:pt x="571" y="1007"/>
                  </a:lnTo>
                  <a:lnTo>
                    <a:pt x="567" y="1020"/>
                  </a:lnTo>
                  <a:lnTo>
                    <a:pt x="567" y="1023"/>
                  </a:lnTo>
                  <a:lnTo>
                    <a:pt x="566" y="1031"/>
                  </a:lnTo>
                  <a:lnTo>
                    <a:pt x="566" y="1034"/>
                  </a:lnTo>
                  <a:lnTo>
                    <a:pt x="565" y="1036"/>
                  </a:lnTo>
                  <a:lnTo>
                    <a:pt x="564" y="1038"/>
                  </a:lnTo>
                  <a:lnTo>
                    <a:pt x="563" y="1040"/>
                  </a:lnTo>
                  <a:lnTo>
                    <a:pt x="561" y="1043"/>
                  </a:lnTo>
                  <a:lnTo>
                    <a:pt x="558" y="1047"/>
                  </a:lnTo>
                  <a:lnTo>
                    <a:pt x="555" y="1052"/>
                  </a:lnTo>
                  <a:lnTo>
                    <a:pt x="552" y="1055"/>
                  </a:lnTo>
                  <a:lnTo>
                    <a:pt x="548" y="1059"/>
                  </a:lnTo>
                  <a:lnTo>
                    <a:pt x="546" y="1061"/>
                  </a:lnTo>
                  <a:lnTo>
                    <a:pt x="544" y="1063"/>
                  </a:lnTo>
                  <a:lnTo>
                    <a:pt x="541" y="1065"/>
                  </a:lnTo>
                  <a:lnTo>
                    <a:pt x="532" y="1070"/>
                  </a:lnTo>
                  <a:lnTo>
                    <a:pt x="524" y="1078"/>
                  </a:lnTo>
                  <a:lnTo>
                    <a:pt x="521" y="1080"/>
                  </a:lnTo>
                  <a:lnTo>
                    <a:pt x="518" y="1083"/>
                  </a:lnTo>
                  <a:lnTo>
                    <a:pt x="516" y="1085"/>
                  </a:lnTo>
                  <a:lnTo>
                    <a:pt x="515" y="1087"/>
                  </a:lnTo>
                  <a:lnTo>
                    <a:pt x="512" y="109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0" name="Freeform 89">
              <a:extLst>
                <a:ext uri="{FF2B5EF4-FFF2-40B4-BE49-F238E27FC236}">
                  <a16:creationId xmlns:a16="http://schemas.microsoft.com/office/drawing/2014/main" id="{691FB159-B4DB-4973-81CA-A429E5837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" y="2741"/>
              <a:ext cx="926" cy="1189"/>
            </a:xfrm>
            <a:custGeom>
              <a:avLst/>
              <a:gdLst>
                <a:gd name="T0" fmla="*/ 912 w 926"/>
                <a:gd name="T1" fmla="*/ 1079 h 1189"/>
                <a:gd name="T2" fmla="*/ 908 w 926"/>
                <a:gd name="T3" fmla="*/ 1145 h 1189"/>
                <a:gd name="T4" fmla="*/ 890 w 926"/>
                <a:gd name="T5" fmla="*/ 1158 h 1189"/>
                <a:gd name="T6" fmla="*/ 868 w 926"/>
                <a:gd name="T7" fmla="*/ 1150 h 1189"/>
                <a:gd name="T8" fmla="*/ 841 w 926"/>
                <a:gd name="T9" fmla="*/ 1126 h 1189"/>
                <a:gd name="T10" fmla="*/ 818 w 926"/>
                <a:gd name="T11" fmla="*/ 1115 h 1189"/>
                <a:gd name="T12" fmla="*/ 776 w 926"/>
                <a:gd name="T13" fmla="*/ 1125 h 1189"/>
                <a:gd name="T14" fmla="*/ 723 w 926"/>
                <a:gd name="T15" fmla="*/ 1091 h 1189"/>
                <a:gd name="T16" fmla="*/ 706 w 926"/>
                <a:gd name="T17" fmla="*/ 1092 h 1189"/>
                <a:gd name="T18" fmla="*/ 695 w 926"/>
                <a:gd name="T19" fmla="*/ 1135 h 1189"/>
                <a:gd name="T20" fmla="*/ 666 w 926"/>
                <a:gd name="T21" fmla="*/ 1150 h 1189"/>
                <a:gd name="T22" fmla="*/ 651 w 926"/>
                <a:gd name="T23" fmla="*/ 1168 h 1189"/>
                <a:gd name="T24" fmla="*/ 621 w 926"/>
                <a:gd name="T25" fmla="*/ 1185 h 1189"/>
                <a:gd name="T26" fmla="*/ 565 w 926"/>
                <a:gd name="T27" fmla="*/ 1167 h 1189"/>
                <a:gd name="T28" fmla="*/ 498 w 926"/>
                <a:gd name="T29" fmla="*/ 1148 h 1189"/>
                <a:gd name="T30" fmla="*/ 436 w 926"/>
                <a:gd name="T31" fmla="*/ 1146 h 1189"/>
                <a:gd name="T32" fmla="*/ 400 w 926"/>
                <a:gd name="T33" fmla="*/ 1132 h 1189"/>
                <a:gd name="T34" fmla="*/ 379 w 926"/>
                <a:gd name="T35" fmla="*/ 1106 h 1189"/>
                <a:gd name="T36" fmla="*/ 369 w 926"/>
                <a:gd name="T37" fmla="*/ 1085 h 1189"/>
                <a:gd name="T38" fmla="*/ 391 w 926"/>
                <a:gd name="T39" fmla="*/ 1067 h 1189"/>
                <a:gd name="T40" fmla="*/ 381 w 926"/>
                <a:gd name="T41" fmla="*/ 1043 h 1189"/>
                <a:gd name="T42" fmla="*/ 349 w 926"/>
                <a:gd name="T43" fmla="*/ 1010 h 1189"/>
                <a:gd name="T44" fmla="*/ 303 w 926"/>
                <a:gd name="T45" fmla="*/ 985 h 1189"/>
                <a:gd name="T46" fmla="*/ 253 w 926"/>
                <a:gd name="T47" fmla="*/ 940 h 1189"/>
                <a:gd name="T48" fmla="*/ 207 w 926"/>
                <a:gd name="T49" fmla="*/ 919 h 1189"/>
                <a:gd name="T50" fmla="*/ 189 w 926"/>
                <a:gd name="T51" fmla="*/ 868 h 1189"/>
                <a:gd name="T52" fmla="*/ 168 w 926"/>
                <a:gd name="T53" fmla="*/ 845 h 1189"/>
                <a:gd name="T54" fmla="*/ 145 w 926"/>
                <a:gd name="T55" fmla="*/ 800 h 1189"/>
                <a:gd name="T56" fmla="*/ 103 w 926"/>
                <a:gd name="T57" fmla="*/ 797 h 1189"/>
                <a:gd name="T58" fmla="*/ 66 w 926"/>
                <a:gd name="T59" fmla="*/ 736 h 1189"/>
                <a:gd name="T60" fmla="*/ 47 w 926"/>
                <a:gd name="T61" fmla="*/ 721 h 1189"/>
                <a:gd name="T62" fmla="*/ 23 w 926"/>
                <a:gd name="T63" fmla="*/ 698 h 1189"/>
                <a:gd name="T64" fmla="*/ 1 w 926"/>
                <a:gd name="T65" fmla="*/ 676 h 1189"/>
                <a:gd name="T66" fmla="*/ 6 w 926"/>
                <a:gd name="T67" fmla="*/ 631 h 1189"/>
                <a:gd name="T68" fmla="*/ 33 w 926"/>
                <a:gd name="T69" fmla="*/ 602 h 1189"/>
                <a:gd name="T70" fmla="*/ 48 w 926"/>
                <a:gd name="T71" fmla="*/ 580 h 1189"/>
                <a:gd name="T72" fmla="*/ 38 w 926"/>
                <a:gd name="T73" fmla="*/ 534 h 1189"/>
                <a:gd name="T74" fmla="*/ 50 w 926"/>
                <a:gd name="T75" fmla="*/ 488 h 1189"/>
                <a:gd name="T76" fmla="*/ 82 w 926"/>
                <a:gd name="T77" fmla="*/ 487 h 1189"/>
                <a:gd name="T78" fmla="*/ 120 w 926"/>
                <a:gd name="T79" fmla="*/ 456 h 1189"/>
                <a:gd name="T80" fmla="*/ 137 w 926"/>
                <a:gd name="T81" fmla="*/ 424 h 1189"/>
                <a:gd name="T82" fmla="*/ 123 w 926"/>
                <a:gd name="T83" fmla="*/ 392 h 1189"/>
                <a:gd name="T84" fmla="*/ 140 w 926"/>
                <a:gd name="T85" fmla="*/ 370 h 1189"/>
                <a:gd name="T86" fmla="*/ 140 w 926"/>
                <a:gd name="T87" fmla="*/ 353 h 1189"/>
                <a:gd name="T88" fmla="*/ 134 w 926"/>
                <a:gd name="T89" fmla="*/ 336 h 1189"/>
                <a:gd name="T90" fmla="*/ 150 w 926"/>
                <a:gd name="T91" fmla="*/ 321 h 1189"/>
                <a:gd name="T92" fmla="*/ 152 w 926"/>
                <a:gd name="T93" fmla="*/ 296 h 1189"/>
                <a:gd name="T94" fmla="*/ 185 w 926"/>
                <a:gd name="T95" fmla="*/ 258 h 1189"/>
                <a:gd name="T96" fmla="*/ 196 w 926"/>
                <a:gd name="T97" fmla="*/ 222 h 1189"/>
                <a:gd name="T98" fmla="*/ 181 w 926"/>
                <a:gd name="T99" fmla="*/ 171 h 1189"/>
                <a:gd name="T100" fmla="*/ 191 w 926"/>
                <a:gd name="T101" fmla="*/ 138 h 1189"/>
                <a:gd name="T102" fmla="*/ 180 w 926"/>
                <a:gd name="T103" fmla="*/ 90 h 1189"/>
                <a:gd name="T104" fmla="*/ 178 w 926"/>
                <a:gd name="T105" fmla="*/ 60 h 1189"/>
                <a:gd name="T106" fmla="*/ 193 w 926"/>
                <a:gd name="T107" fmla="*/ 54 h 1189"/>
                <a:gd name="T108" fmla="*/ 231 w 926"/>
                <a:gd name="T109" fmla="*/ 46 h 1189"/>
                <a:gd name="T110" fmla="*/ 259 w 926"/>
                <a:gd name="T111" fmla="*/ 46 h 1189"/>
                <a:gd name="T112" fmla="*/ 285 w 926"/>
                <a:gd name="T113" fmla="*/ 59 h 1189"/>
                <a:gd name="T114" fmla="*/ 312 w 926"/>
                <a:gd name="T115" fmla="*/ 65 h 1189"/>
                <a:gd name="T116" fmla="*/ 346 w 926"/>
                <a:gd name="T117" fmla="*/ 52 h 1189"/>
                <a:gd name="T118" fmla="*/ 369 w 926"/>
                <a:gd name="T119" fmla="*/ 34 h 1189"/>
                <a:gd name="T120" fmla="*/ 401 w 926"/>
                <a:gd name="T121" fmla="*/ 3 h 1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26" h="1189">
                  <a:moveTo>
                    <a:pt x="926" y="1033"/>
                  </a:moveTo>
                  <a:lnTo>
                    <a:pt x="924" y="1038"/>
                  </a:lnTo>
                  <a:lnTo>
                    <a:pt x="922" y="1043"/>
                  </a:lnTo>
                  <a:lnTo>
                    <a:pt x="920" y="1046"/>
                  </a:lnTo>
                  <a:lnTo>
                    <a:pt x="918" y="1052"/>
                  </a:lnTo>
                  <a:lnTo>
                    <a:pt x="916" y="1058"/>
                  </a:lnTo>
                  <a:lnTo>
                    <a:pt x="915" y="1062"/>
                  </a:lnTo>
                  <a:lnTo>
                    <a:pt x="914" y="1066"/>
                  </a:lnTo>
                  <a:lnTo>
                    <a:pt x="913" y="1069"/>
                  </a:lnTo>
                  <a:lnTo>
                    <a:pt x="913" y="1073"/>
                  </a:lnTo>
                  <a:lnTo>
                    <a:pt x="912" y="1076"/>
                  </a:lnTo>
                  <a:lnTo>
                    <a:pt x="912" y="1079"/>
                  </a:lnTo>
                  <a:lnTo>
                    <a:pt x="913" y="1094"/>
                  </a:lnTo>
                  <a:lnTo>
                    <a:pt x="914" y="1099"/>
                  </a:lnTo>
                  <a:lnTo>
                    <a:pt x="914" y="1102"/>
                  </a:lnTo>
                  <a:lnTo>
                    <a:pt x="913" y="1107"/>
                  </a:lnTo>
                  <a:lnTo>
                    <a:pt x="912" y="1120"/>
                  </a:lnTo>
                  <a:lnTo>
                    <a:pt x="912" y="1129"/>
                  </a:lnTo>
                  <a:lnTo>
                    <a:pt x="912" y="1131"/>
                  </a:lnTo>
                  <a:lnTo>
                    <a:pt x="912" y="1134"/>
                  </a:lnTo>
                  <a:lnTo>
                    <a:pt x="912" y="1137"/>
                  </a:lnTo>
                  <a:lnTo>
                    <a:pt x="911" y="1140"/>
                  </a:lnTo>
                  <a:lnTo>
                    <a:pt x="910" y="1142"/>
                  </a:lnTo>
                  <a:lnTo>
                    <a:pt x="908" y="1145"/>
                  </a:lnTo>
                  <a:lnTo>
                    <a:pt x="907" y="1147"/>
                  </a:lnTo>
                  <a:lnTo>
                    <a:pt x="905" y="1150"/>
                  </a:lnTo>
                  <a:lnTo>
                    <a:pt x="903" y="1152"/>
                  </a:lnTo>
                  <a:lnTo>
                    <a:pt x="902" y="1154"/>
                  </a:lnTo>
                  <a:lnTo>
                    <a:pt x="901" y="1155"/>
                  </a:lnTo>
                  <a:lnTo>
                    <a:pt x="900" y="1156"/>
                  </a:lnTo>
                  <a:lnTo>
                    <a:pt x="899" y="1157"/>
                  </a:lnTo>
                  <a:lnTo>
                    <a:pt x="897" y="1157"/>
                  </a:lnTo>
                  <a:lnTo>
                    <a:pt x="896" y="1157"/>
                  </a:lnTo>
                  <a:lnTo>
                    <a:pt x="894" y="1158"/>
                  </a:lnTo>
                  <a:lnTo>
                    <a:pt x="892" y="1158"/>
                  </a:lnTo>
                  <a:lnTo>
                    <a:pt x="890" y="1158"/>
                  </a:lnTo>
                  <a:lnTo>
                    <a:pt x="887" y="1159"/>
                  </a:lnTo>
                  <a:lnTo>
                    <a:pt x="885" y="1159"/>
                  </a:lnTo>
                  <a:lnTo>
                    <a:pt x="883" y="1159"/>
                  </a:lnTo>
                  <a:lnTo>
                    <a:pt x="880" y="1158"/>
                  </a:lnTo>
                  <a:lnTo>
                    <a:pt x="878" y="1158"/>
                  </a:lnTo>
                  <a:lnTo>
                    <a:pt x="878" y="1157"/>
                  </a:lnTo>
                  <a:lnTo>
                    <a:pt x="876" y="1157"/>
                  </a:lnTo>
                  <a:lnTo>
                    <a:pt x="875" y="1157"/>
                  </a:lnTo>
                  <a:lnTo>
                    <a:pt x="874" y="1155"/>
                  </a:lnTo>
                  <a:lnTo>
                    <a:pt x="872" y="1154"/>
                  </a:lnTo>
                  <a:lnTo>
                    <a:pt x="871" y="1153"/>
                  </a:lnTo>
                  <a:lnTo>
                    <a:pt x="868" y="1150"/>
                  </a:lnTo>
                  <a:lnTo>
                    <a:pt x="863" y="1143"/>
                  </a:lnTo>
                  <a:lnTo>
                    <a:pt x="861" y="1140"/>
                  </a:lnTo>
                  <a:lnTo>
                    <a:pt x="859" y="1138"/>
                  </a:lnTo>
                  <a:lnTo>
                    <a:pt x="857" y="1136"/>
                  </a:lnTo>
                  <a:lnTo>
                    <a:pt x="856" y="1135"/>
                  </a:lnTo>
                  <a:lnTo>
                    <a:pt x="853" y="1134"/>
                  </a:lnTo>
                  <a:lnTo>
                    <a:pt x="849" y="1133"/>
                  </a:lnTo>
                  <a:lnTo>
                    <a:pt x="847" y="1132"/>
                  </a:lnTo>
                  <a:lnTo>
                    <a:pt x="845" y="1131"/>
                  </a:lnTo>
                  <a:lnTo>
                    <a:pt x="844" y="1130"/>
                  </a:lnTo>
                  <a:lnTo>
                    <a:pt x="842" y="1128"/>
                  </a:lnTo>
                  <a:lnTo>
                    <a:pt x="841" y="1126"/>
                  </a:lnTo>
                  <a:lnTo>
                    <a:pt x="839" y="1124"/>
                  </a:lnTo>
                  <a:lnTo>
                    <a:pt x="835" y="1119"/>
                  </a:lnTo>
                  <a:lnTo>
                    <a:pt x="833" y="1116"/>
                  </a:lnTo>
                  <a:lnTo>
                    <a:pt x="832" y="1114"/>
                  </a:lnTo>
                  <a:lnTo>
                    <a:pt x="830" y="1113"/>
                  </a:lnTo>
                  <a:lnTo>
                    <a:pt x="829" y="1112"/>
                  </a:lnTo>
                  <a:lnTo>
                    <a:pt x="827" y="1112"/>
                  </a:lnTo>
                  <a:lnTo>
                    <a:pt x="826" y="1112"/>
                  </a:lnTo>
                  <a:lnTo>
                    <a:pt x="824" y="1112"/>
                  </a:lnTo>
                  <a:lnTo>
                    <a:pt x="822" y="1112"/>
                  </a:lnTo>
                  <a:lnTo>
                    <a:pt x="821" y="1113"/>
                  </a:lnTo>
                  <a:lnTo>
                    <a:pt x="818" y="1115"/>
                  </a:lnTo>
                  <a:lnTo>
                    <a:pt x="803" y="1124"/>
                  </a:lnTo>
                  <a:lnTo>
                    <a:pt x="800" y="1125"/>
                  </a:lnTo>
                  <a:lnTo>
                    <a:pt x="798" y="1127"/>
                  </a:lnTo>
                  <a:lnTo>
                    <a:pt x="795" y="1128"/>
                  </a:lnTo>
                  <a:lnTo>
                    <a:pt x="792" y="1129"/>
                  </a:lnTo>
                  <a:lnTo>
                    <a:pt x="790" y="1129"/>
                  </a:lnTo>
                  <a:lnTo>
                    <a:pt x="789" y="1129"/>
                  </a:lnTo>
                  <a:lnTo>
                    <a:pt x="787" y="1129"/>
                  </a:lnTo>
                  <a:lnTo>
                    <a:pt x="786" y="1129"/>
                  </a:lnTo>
                  <a:lnTo>
                    <a:pt x="785" y="1129"/>
                  </a:lnTo>
                  <a:lnTo>
                    <a:pt x="782" y="1128"/>
                  </a:lnTo>
                  <a:lnTo>
                    <a:pt x="776" y="1125"/>
                  </a:lnTo>
                  <a:lnTo>
                    <a:pt x="765" y="1123"/>
                  </a:lnTo>
                  <a:lnTo>
                    <a:pt x="761" y="1121"/>
                  </a:lnTo>
                  <a:lnTo>
                    <a:pt x="752" y="1117"/>
                  </a:lnTo>
                  <a:lnTo>
                    <a:pt x="749" y="1115"/>
                  </a:lnTo>
                  <a:lnTo>
                    <a:pt x="746" y="1114"/>
                  </a:lnTo>
                  <a:lnTo>
                    <a:pt x="744" y="1112"/>
                  </a:lnTo>
                  <a:lnTo>
                    <a:pt x="742" y="1111"/>
                  </a:lnTo>
                  <a:lnTo>
                    <a:pt x="741" y="1109"/>
                  </a:lnTo>
                  <a:lnTo>
                    <a:pt x="736" y="1104"/>
                  </a:lnTo>
                  <a:lnTo>
                    <a:pt x="734" y="1101"/>
                  </a:lnTo>
                  <a:lnTo>
                    <a:pt x="727" y="1094"/>
                  </a:lnTo>
                  <a:lnTo>
                    <a:pt x="723" y="1091"/>
                  </a:lnTo>
                  <a:lnTo>
                    <a:pt x="721" y="1089"/>
                  </a:lnTo>
                  <a:lnTo>
                    <a:pt x="719" y="1089"/>
                  </a:lnTo>
                  <a:lnTo>
                    <a:pt x="718" y="1088"/>
                  </a:lnTo>
                  <a:lnTo>
                    <a:pt x="717" y="1088"/>
                  </a:lnTo>
                  <a:lnTo>
                    <a:pt x="715" y="1088"/>
                  </a:lnTo>
                  <a:lnTo>
                    <a:pt x="713" y="1089"/>
                  </a:lnTo>
                  <a:lnTo>
                    <a:pt x="711" y="1089"/>
                  </a:lnTo>
                  <a:lnTo>
                    <a:pt x="710" y="1089"/>
                  </a:lnTo>
                  <a:lnTo>
                    <a:pt x="708" y="1090"/>
                  </a:lnTo>
                  <a:lnTo>
                    <a:pt x="708" y="1090"/>
                  </a:lnTo>
                  <a:lnTo>
                    <a:pt x="707" y="1091"/>
                  </a:lnTo>
                  <a:lnTo>
                    <a:pt x="706" y="1092"/>
                  </a:lnTo>
                  <a:lnTo>
                    <a:pt x="706" y="1094"/>
                  </a:lnTo>
                  <a:lnTo>
                    <a:pt x="705" y="1095"/>
                  </a:lnTo>
                  <a:lnTo>
                    <a:pt x="705" y="1098"/>
                  </a:lnTo>
                  <a:lnTo>
                    <a:pt x="704" y="1106"/>
                  </a:lnTo>
                  <a:lnTo>
                    <a:pt x="704" y="1110"/>
                  </a:lnTo>
                  <a:lnTo>
                    <a:pt x="703" y="1113"/>
                  </a:lnTo>
                  <a:lnTo>
                    <a:pt x="701" y="1119"/>
                  </a:lnTo>
                  <a:lnTo>
                    <a:pt x="699" y="1125"/>
                  </a:lnTo>
                  <a:lnTo>
                    <a:pt x="698" y="1128"/>
                  </a:lnTo>
                  <a:lnTo>
                    <a:pt x="697" y="1131"/>
                  </a:lnTo>
                  <a:lnTo>
                    <a:pt x="696" y="1134"/>
                  </a:lnTo>
                  <a:lnTo>
                    <a:pt x="695" y="1135"/>
                  </a:lnTo>
                  <a:lnTo>
                    <a:pt x="694" y="1138"/>
                  </a:lnTo>
                  <a:lnTo>
                    <a:pt x="692" y="1140"/>
                  </a:lnTo>
                  <a:lnTo>
                    <a:pt x="690" y="1142"/>
                  </a:lnTo>
                  <a:lnTo>
                    <a:pt x="689" y="1144"/>
                  </a:lnTo>
                  <a:lnTo>
                    <a:pt x="687" y="1146"/>
                  </a:lnTo>
                  <a:lnTo>
                    <a:pt x="685" y="1146"/>
                  </a:lnTo>
                  <a:lnTo>
                    <a:pt x="684" y="1147"/>
                  </a:lnTo>
                  <a:lnTo>
                    <a:pt x="682" y="1148"/>
                  </a:lnTo>
                  <a:lnTo>
                    <a:pt x="681" y="1148"/>
                  </a:lnTo>
                  <a:lnTo>
                    <a:pt x="678" y="1148"/>
                  </a:lnTo>
                  <a:lnTo>
                    <a:pt x="670" y="1149"/>
                  </a:lnTo>
                  <a:lnTo>
                    <a:pt x="666" y="1150"/>
                  </a:lnTo>
                  <a:lnTo>
                    <a:pt x="662" y="1151"/>
                  </a:lnTo>
                  <a:lnTo>
                    <a:pt x="662" y="1151"/>
                  </a:lnTo>
                  <a:lnTo>
                    <a:pt x="661" y="1152"/>
                  </a:lnTo>
                  <a:lnTo>
                    <a:pt x="659" y="1153"/>
                  </a:lnTo>
                  <a:lnTo>
                    <a:pt x="658" y="1154"/>
                  </a:lnTo>
                  <a:lnTo>
                    <a:pt x="657" y="1155"/>
                  </a:lnTo>
                  <a:lnTo>
                    <a:pt x="656" y="1157"/>
                  </a:lnTo>
                  <a:lnTo>
                    <a:pt x="654" y="1162"/>
                  </a:lnTo>
                  <a:lnTo>
                    <a:pt x="653" y="1165"/>
                  </a:lnTo>
                  <a:lnTo>
                    <a:pt x="652" y="1166"/>
                  </a:lnTo>
                  <a:lnTo>
                    <a:pt x="651" y="1167"/>
                  </a:lnTo>
                  <a:lnTo>
                    <a:pt x="651" y="1168"/>
                  </a:lnTo>
                  <a:lnTo>
                    <a:pt x="649" y="1169"/>
                  </a:lnTo>
                  <a:lnTo>
                    <a:pt x="647" y="1170"/>
                  </a:lnTo>
                  <a:lnTo>
                    <a:pt x="645" y="1171"/>
                  </a:lnTo>
                  <a:lnTo>
                    <a:pt x="642" y="1172"/>
                  </a:lnTo>
                  <a:lnTo>
                    <a:pt x="637" y="1173"/>
                  </a:lnTo>
                  <a:lnTo>
                    <a:pt x="635" y="1174"/>
                  </a:lnTo>
                  <a:lnTo>
                    <a:pt x="634" y="1175"/>
                  </a:lnTo>
                  <a:lnTo>
                    <a:pt x="632" y="1176"/>
                  </a:lnTo>
                  <a:lnTo>
                    <a:pt x="630" y="1177"/>
                  </a:lnTo>
                  <a:lnTo>
                    <a:pt x="628" y="1179"/>
                  </a:lnTo>
                  <a:lnTo>
                    <a:pt x="624" y="1183"/>
                  </a:lnTo>
                  <a:lnTo>
                    <a:pt x="621" y="1185"/>
                  </a:lnTo>
                  <a:lnTo>
                    <a:pt x="619" y="1187"/>
                  </a:lnTo>
                  <a:lnTo>
                    <a:pt x="617" y="1188"/>
                  </a:lnTo>
                  <a:lnTo>
                    <a:pt x="616" y="1189"/>
                  </a:lnTo>
                  <a:lnTo>
                    <a:pt x="614" y="1189"/>
                  </a:lnTo>
                  <a:lnTo>
                    <a:pt x="611" y="1189"/>
                  </a:lnTo>
                  <a:lnTo>
                    <a:pt x="610" y="1189"/>
                  </a:lnTo>
                  <a:lnTo>
                    <a:pt x="609" y="1189"/>
                  </a:lnTo>
                  <a:lnTo>
                    <a:pt x="606" y="1188"/>
                  </a:lnTo>
                  <a:lnTo>
                    <a:pt x="600" y="1184"/>
                  </a:lnTo>
                  <a:lnTo>
                    <a:pt x="592" y="1180"/>
                  </a:lnTo>
                  <a:lnTo>
                    <a:pt x="583" y="1176"/>
                  </a:lnTo>
                  <a:lnTo>
                    <a:pt x="565" y="1167"/>
                  </a:lnTo>
                  <a:lnTo>
                    <a:pt x="561" y="1165"/>
                  </a:lnTo>
                  <a:lnTo>
                    <a:pt x="558" y="1164"/>
                  </a:lnTo>
                  <a:lnTo>
                    <a:pt x="555" y="1163"/>
                  </a:lnTo>
                  <a:lnTo>
                    <a:pt x="552" y="1162"/>
                  </a:lnTo>
                  <a:lnTo>
                    <a:pt x="543" y="1161"/>
                  </a:lnTo>
                  <a:lnTo>
                    <a:pt x="539" y="1160"/>
                  </a:lnTo>
                  <a:lnTo>
                    <a:pt x="536" y="1159"/>
                  </a:lnTo>
                  <a:lnTo>
                    <a:pt x="524" y="1155"/>
                  </a:lnTo>
                  <a:lnTo>
                    <a:pt x="512" y="1151"/>
                  </a:lnTo>
                  <a:lnTo>
                    <a:pt x="504" y="1149"/>
                  </a:lnTo>
                  <a:lnTo>
                    <a:pt x="502" y="1148"/>
                  </a:lnTo>
                  <a:lnTo>
                    <a:pt x="498" y="1148"/>
                  </a:lnTo>
                  <a:lnTo>
                    <a:pt x="493" y="1147"/>
                  </a:lnTo>
                  <a:lnTo>
                    <a:pt x="485" y="1147"/>
                  </a:lnTo>
                  <a:lnTo>
                    <a:pt x="481" y="1147"/>
                  </a:lnTo>
                  <a:lnTo>
                    <a:pt x="479" y="1146"/>
                  </a:lnTo>
                  <a:lnTo>
                    <a:pt x="469" y="1145"/>
                  </a:lnTo>
                  <a:lnTo>
                    <a:pt x="464" y="1145"/>
                  </a:lnTo>
                  <a:lnTo>
                    <a:pt x="458" y="1144"/>
                  </a:lnTo>
                  <a:lnTo>
                    <a:pt x="455" y="1144"/>
                  </a:lnTo>
                  <a:lnTo>
                    <a:pt x="452" y="1144"/>
                  </a:lnTo>
                  <a:lnTo>
                    <a:pt x="444" y="1146"/>
                  </a:lnTo>
                  <a:lnTo>
                    <a:pt x="440" y="1146"/>
                  </a:lnTo>
                  <a:lnTo>
                    <a:pt x="436" y="1146"/>
                  </a:lnTo>
                  <a:lnTo>
                    <a:pt x="435" y="1146"/>
                  </a:lnTo>
                  <a:lnTo>
                    <a:pt x="433" y="1146"/>
                  </a:lnTo>
                  <a:lnTo>
                    <a:pt x="431" y="1145"/>
                  </a:lnTo>
                  <a:lnTo>
                    <a:pt x="429" y="1145"/>
                  </a:lnTo>
                  <a:lnTo>
                    <a:pt x="423" y="1142"/>
                  </a:lnTo>
                  <a:lnTo>
                    <a:pt x="421" y="1141"/>
                  </a:lnTo>
                  <a:lnTo>
                    <a:pt x="416" y="1140"/>
                  </a:lnTo>
                  <a:lnTo>
                    <a:pt x="409" y="1138"/>
                  </a:lnTo>
                  <a:lnTo>
                    <a:pt x="406" y="1137"/>
                  </a:lnTo>
                  <a:lnTo>
                    <a:pt x="405" y="1136"/>
                  </a:lnTo>
                  <a:lnTo>
                    <a:pt x="404" y="1136"/>
                  </a:lnTo>
                  <a:lnTo>
                    <a:pt x="400" y="1132"/>
                  </a:lnTo>
                  <a:lnTo>
                    <a:pt x="394" y="1128"/>
                  </a:lnTo>
                  <a:lnTo>
                    <a:pt x="392" y="1126"/>
                  </a:lnTo>
                  <a:lnTo>
                    <a:pt x="391" y="1125"/>
                  </a:lnTo>
                  <a:lnTo>
                    <a:pt x="389" y="1123"/>
                  </a:lnTo>
                  <a:lnTo>
                    <a:pt x="388" y="1121"/>
                  </a:lnTo>
                  <a:lnTo>
                    <a:pt x="387" y="1119"/>
                  </a:lnTo>
                  <a:lnTo>
                    <a:pt x="386" y="1117"/>
                  </a:lnTo>
                  <a:lnTo>
                    <a:pt x="383" y="1111"/>
                  </a:lnTo>
                  <a:lnTo>
                    <a:pt x="382" y="1109"/>
                  </a:lnTo>
                  <a:lnTo>
                    <a:pt x="381" y="1108"/>
                  </a:lnTo>
                  <a:lnTo>
                    <a:pt x="380" y="1107"/>
                  </a:lnTo>
                  <a:lnTo>
                    <a:pt x="379" y="1106"/>
                  </a:lnTo>
                  <a:lnTo>
                    <a:pt x="376" y="1102"/>
                  </a:lnTo>
                  <a:lnTo>
                    <a:pt x="374" y="1101"/>
                  </a:lnTo>
                  <a:lnTo>
                    <a:pt x="372" y="1100"/>
                  </a:lnTo>
                  <a:lnTo>
                    <a:pt x="370" y="1098"/>
                  </a:lnTo>
                  <a:lnTo>
                    <a:pt x="369" y="1095"/>
                  </a:lnTo>
                  <a:lnTo>
                    <a:pt x="368" y="1093"/>
                  </a:lnTo>
                  <a:lnTo>
                    <a:pt x="367" y="1091"/>
                  </a:lnTo>
                  <a:lnTo>
                    <a:pt x="367" y="1089"/>
                  </a:lnTo>
                  <a:lnTo>
                    <a:pt x="367" y="1089"/>
                  </a:lnTo>
                  <a:lnTo>
                    <a:pt x="367" y="1088"/>
                  </a:lnTo>
                  <a:lnTo>
                    <a:pt x="368" y="1086"/>
                  </a:lnTo>
                  <a:lnTo>
                    <a:pt x="369" y="1085"/>
                  </a:lnTo>
                  <a:lnTo>
                    <a:pt x="370" y="1083"/>
                  </a:lnTo>
                  <a:lnTo>
                    <a:pt x="371" y="1081"/>
                  </a:lnTo>
                  <a:lnTo>
                    <a:pt x="372" y="1080"/>
                  </a:lnTo>
                  <a:lnTo>
                    <a:pt x="373" y="1078"/>
                  </a:lnTo>
                  <a:lnTo>
                    <a:pt x="376" y="1077"/>
                  </a:lnTo>
                  <a:lnTo>
                    <a:pt x="378" y="1076"/>
                  </a:lnTo>
                  <a:lnTo>
                    <a:pt x="380" y="1074"/>
                  </a:lnTo>
                  <a:lnTo>
                    <a:pt x="386" y="1071"/>
                  </a:lnTo>
                  <a:lnTo>
                    <a:pt x="389" y="1070"/>
                  </a:lnTo>
                  <a:lnTo>
                    <a:pt x="389" y="1069"/>
                  </a:lnTo>
                  <a:lnTo>
                    <a:pt x="390" y="1068"/>
                  </a:lnTo>
                  <a:lnTo>
                    <a:pt x="391" y="1067"/>
                  </a:lnTo>
                  <a:lnTo>
                    <a:pt x="392" y="1066"/>
                  </a:lnTo>
                  <a:lnTo>
                    <a:pt x="393" y="1064"/>
                  </a:lnTo>
                  <a:lnTo>
                    <a:pt x="394" y="1062"/>
                  </a:lnTo>
                  <a:lnTo>
                    <a:pt x="394" y="1060"/>
                  </a:lnTo>
                  <a:lnTo>
                    <a:pt x="394" y="1058"/>
                  </a:lnTo>
                  <a:lnTo>
                    <a:pt x="394" y="1055"/>
                  </a:lnTo>
                  <a:lnTo>
                    <a:pt x="393" y="1054"/>
                  </a:lnTo>
                  <a:lnTo>
                    <a:pt x="392" y="1052"/>
                  </a:lnTo>
                  <a:lnTo>
                    <a:pt x="391" y="1051"/>
                  </a:lnTo>
                  <a:lnTo>
                    <a:pt x="389" y="1049"/>
                  </a:lnTo>
                  <a:lnTo>
                    <a:pt x="388" y="1048"/>
                  </a:lnTo>
                  <a:lnTo>
                    <a:pt x="381" y="1043"/>
                  </a:lnTo>
                  <a:lnTo>
                    <a:pt x="378" y="1041"/>
                  </a:lnTo>
                  <a:lnTo>
                    <a:pt x="377" y="1038"/>
                  </a:lnTo>
                  <a:lnTo>
                    <a:pt x="375" y="1036"/>
                  </a:lnTo>
                  <a:lnTo>
                    <a:pt x="368" y="1029"/>
                  </a:lnTo>
                  <a:lnTo>
                    <a:pt x="366" y="1025"/>
                  </a:lnTo>
                  <a:lnTo>
                    <a:pt x="362" y="1021"/>
                  </a:lnTo>
                  <a:lnTo>
                    <a:pt x="359" y="1018"/>
                  </a:lnTo>
                  <a:lnTo>
                    <a:pt x="356" y="1015"/>
                  </a:lnTo>
                  <a:lnTo>
                    <a:pt x="355" y="1013"/>
                  </a:lnTo>
                  <a:lnTo>
                    <a:pt x="353" y="1012"/>
                  </a:lnTo>
                  <a:lnTo>
                    <a:pt x="351" y="1010"/>
                  </a:lnTo>
                  <a:lnTo>
                    <a:pt x="349" y="1010"/>
                  </a:lnTo>
                  <a:lnTo>
                    <a:pt x="347" y="1009"/>
                  </a:lnTo>
                  <a:lnTo>
                    <a:pt x="343" y="1007"/>
                  </a:lnTo>
                  <a:lnTo>
                    <a:pt x="335" y="1005"/>
                  </a:lnTo>
                  <a:lnTo>
                    <a:pt x="331" y="1003"/>
                  </a:lnTo>
                  <a:lnTo>
                    <a:pt x="326" y="1001"/>
                  </a:lnTo>
                  <a:lnTo>
                    <a:pt x="323" y="999"/>
                  </a:lnTo>
                  <a:lnTo>
                    <a:pt x="321" y="998"/>
                  </a:lnTo>
                  <a:lnTo>
                    <a:pt x="319" y="997"/>
                  </a:lnTo>
                  <a:lnTo>
                    <a:pt x="310" y="991"/>
                  </a:lnTo>
                  <a:lnTo>
                    <a:pt x="308" y="989"/>
                  </a:lnTo>
                  <a:lnTo>
                    <a:pt x="305" y="987"/>
                  </a:lnTo>
                  <a:lnTo>
                    <a:pt x="303" y="985"/>
                  </a:lnTo>
                  <a:lnTo>
                    <a:pt x="299" y="982"/>
                  </a:lnTo>
                  <a:lnTo>
                    <a:pt x="296" y="978"/>
                  </a:lnTo>
                  <a:lnTo>
                    <a:pt x="285" y="965"/>
                  </a:lnTo>
                  <a:lnTo>
                    <a:pt x="281" y="962"/>
                  </a:lnTo>
                  <a:lnTo>
                    <a:pt x="277" y="958"/>
                  </a:lnTo>
                  <a:lnTo>
                    <a:pt x="274" y="954"/>
                  </a:lnTo>
                  <a:lnTo>
                    <a:pt x="270" y="952"/>
                  </a:lnTo>
                  <a:lnTo>
                    <a:pt x="266" y="949"/>
                  </a:lnTo>
                  <a:lnTo>
                    <a:pt x="263" y="946"/>
                  </a:lnTo>
                  <a:lnTo>
                    <a:pt x="259" y="943"/>
                  </a:lnTo>
                  <a:lnTo>
                    <a:pt x="255" y="942"/>
                  </a:lnTo>
                  <a:lnTo>
                    <a:pt x="253" y="940"/>
                  </a:lnTo>
                  <a:lnTo>
                    <a:pt x="249" y="938"/>
                  </a:lnTo>
                  <a:lnTo>
                    <a:pt x="245" y="936"/>
                  </a:lnTo>
                  <a:lnTo>
                    <a:pt x="241" y="935"/>
                  </a:lnTo>
                  <a:lnTo>
                    <a:pt x="225" y="930"/>
                  </a:lnTo>
                  <a:lnTo>
                    <a:pt x="220" y="930"/>
                  </a:lnTo>
                  <a:lnTo>
                    <a:pt x="218" y="928"/>
                  </a:lnTo>
                  <a:lnTo>
                    <a:pt x="216" y="927"/>
                  </a:lnTo>
                  <a:lnTo>
                    <a:pt x="213" y="925"/>
                  </a:lnTo>
                  <a:lnTo>
                    <a:pt x="211" y="924"/>
                  </a:lnTo>
                  <a:lnTo>
                    <a:pt x="210" y="923"/>
                  </a:lnTo>
                  <a:lnTo>
                    <a:pt x="208" y="921"/>
                  </a:lnTo>
                  <a:lnTo>
                    <a:pt x="207" y="919"/>
                  </a:lnTo>
                  <a:lnTo>
                    <a:pt x="207" y="917"/>
                  </a:lnTo>
                  <a:lnTo>
                    <a:pt x="206" y="914"/>
                  </a:lnTo>
                  <a:lnTo>
                    <a:pt x="205" y="911"/>
                  </a:lnTo>
                  <a:lnTo>
                    <a:pt x="204" y="903"/>
                  </a:lnTo>
                  <a:lnTo>
                    <a:pt x="203" y="901"/>
                  </a:lnTo>
                  <a:lnTo>
                    <a:pt x="203" y="898"/>
                  </a:lnTo>
                  <a:lnTo>
                    <a:pt x="202" y="896"/>
                  </a:lnTo>
                  <a:lnTo>
                    <a:pt x="199" y="889"/>
                  </a:lnTo>
                  <a:lnTo>
                    <a:pt x="195" y="878"/>
                  </a:lnTo>
                  <a:lnTo>
                    <a:pt x="193" y="874"/>
                  </a:lnTo>
                  <a:lnTo>
                    <a:pt x="191" y="872"/>
                  </a:lnTo>
                  <a:lnTo>
                    <a:pt x="189" y="868"/>
                  </a:lnTo>
                  <a:lnTo>
                    <a:pt x="188" y="866"/>
                  </a:lnTo>
                  <a:lnTo>
                    <a:pt x="187" y="865"/>
                  </a:lnTo>
                  <a:lnTo>
                    <a:pt x="185" y="863"/>
                  </a:lnTo>
                  <a:lnTo>
                    <a:pt x="185" y="862"/>
                  </a:lnTo>
                  <a:lnTo>
                    <a:pt x="178" y="858"/>
                  </a:lnTo>
                  <a:lnTo>
                    <a:pt x="176" y="856"/>
                  </a:lnTo>
                  <a:lnTo>
                    <a:pt x="174" y="855"/>
                  </a:lnTo>
                  <a:lnTo>
                    <a:pt x="173" y="853"/>
                  </a:lnTo>
                  <a:lnTo>
                    <a:pt x="173" y="852"/>
                  </a:lnTo>
                  <a:lnTo>
                    <a:pt x="171" y="851"/>
                  </a:lnTo>
                  <a:lnTo>
                    <a:pt x="170" y="848"/>
                  </a:lnTo>
                  <a:lnTo>
                    <a:pt x="168" y="845"/>
                  </a:lnTo>
                  <a:lnTo>
                    <a:pt x="167" y="841"/>
                  </a:lnTo>
                  <a:lnTo>
                    <a:pt x="165" y="838"/>
                  </a:lnTo>
                  <a:lnTo>
                    <a:pt x="162" y="828"/>
                  </a:lnTo>
                  <a:lnTo>
                    <a:pt x="158" y="818"/>
                  </a:lnTo>
                  <a:lnTo>
                    <a:pt x="156" y="814"/>
                  </a:lnTo>
                  <a:lnTo>
                    <a:pt x="154" y="810"/>
                  </a:lnTo>
                  <a:lnTo>
                    <a:pt x="153" y="807"/>
                  </a:lnTo>
                  <a:lnTo>
                    <a:pt x="151" y="805"/>
                  </a:lnTo>
                  <a:lnTo>
                    <a:pt x="150" y="803"/>
                  </a:lnTo>
                  <a:lnTo>
                    <a:pt x="148" y="802"/>
                  </a:lnTo>
                  <a:lnTo>
                    <a:pt x="147" y="801"/>
                  </a:lnTo>
                  <a:lnTo>
                    <a:pt x="145" y="800"/>
                  </a:lnTo>
                  <a:lnTo>
                    <a:pt x="143" y="800"/>
                  </a:lnTo>
                  <a:lnTo>
                    <a:pt x="140" y="800"/>
                  </a:lnTo>
                  <a:lnTo>
                    <a:pt x="134" y="801"/>
                  </a:lnTo>
                  <a:lnTo>
                    <a:pt x="129" y="801"/>
                  </a:lnTo>
                  <a:lnTo>
                    <a:pt x="126" y="801"/>
                  </a:lnTo>
                  <a:lnTo>
                    <a:pt x="118" y="801"/>
                  </a:lnTo>
                  <a:lnTo>
                    <a:pt x="116" y="801"/>
                  </a:lnTo>
                  <a:lnTo>
                    <a:pt x="113" y="800"/>
                  </a:lnTo>
                  <a:lnTo>
                    <a:pt x="109" y="800"/>
                  </a:lnTo>
                  <a:lnTo>
                    <a:pt x="106" y="799"/>
                  </a:lnTo>
                  <a:lnTo>
                    <a:pt x="105" y="798"/>
                  </a:lnTo>
                  <a:lnTo>
                    <a:pt x="103" y="797"/>
                  </a:lnTo>
                  <a:lnTo>
                    <a:pt x="102" y="796"/>
                  </a:lnTo>
                  <a:lnTo>
                    <a:pt x="99" y="794"/>
                  </a:lnTo>
                  <a:lnTo>
                    <a:pt x="97" y="793"/>
                  </a:lnTo>
                  <a:lnTo>
                    <a:pt x="90" y="784"/>
                  </a:lnTo>
                  <a:lnTo>
                    <a:pt x="88" y="783"/>
                  </a:lnTo>
                  <a:lnTo>
                    <a:pt x="87" y="780"/>
                  </a:lnTo>
                  <a:lnTo>
                    <a:pt x="83" y="775"/>
                  </a:lnTo>
                  <a:lnTo>
                    <a:pt x="82" y="771"/>
                  </a:lnTo>
                  <a:lnTo>
                    <a:pt x="77" y="761"/>
                  </a:lnTo>
                  <a:lnTo>
                    <a:pt x="74" y="755"/>
                  </a:lnTo>
                  <a:lnTo>
                    <a:pt x="71" y="746"/>
                  </a:lnTo>
                  <a:lnTo>
                    <a:pt x="66" y="736"/>
                  </a:lnTo>
                  <a:lnTo>
                    <a:pt x="63" y="728"/>
                  </a:lnTo>
                  <a:lnTo>
                    <a:pt x="62" y="726"/>
                  </a:lnTo>
                  <a:lnTo>
                    <a:pt x="61" y="726"/>
                  </a:lnTo>
                  <a:lnTo>
                    <a:pt x="61" y="725"/>
                  </a:lnTo>
                  <a:lnTo>
                    <a:pt x="60" y="725"/>
                  </a:lnTo>
                  <a:lnTo>
                    <a:pt x="60" y="724"/>
                  </a:lnTo>
                  <a:lnTo>
                    <a:pt x="59" y="724"/>
                  </a:lnTo>
                  <a:lnTo>
                    <a:pt x="57" y="724"/>
                  </a:lnTo>
                  <a:lnTo>
                    <a:pt x="52" y="724"/>
                  </a:lnTo>
                  <a:lnTo>
                    <a:pt x="50" y="723"/>
                  </a:lnTo>
                  <a:lnTo>
                    <a:pt x="48" y="722"/>
                  </a:lnTo>
                  <a:lnTo>
                    <a:pt x="47" y="721"/>
                  </a:lnTo>
                  <a:lnTo>
                    <a:pt x="44" y="719"/>
                  </a:lnTo>
                  <a:lnTo>
                    <a:pt x="42" y="716"/>
                  </a:lnTo>
                  <a:lnTo>
                    <a:pt x="40" y="715"/>
                  </a:lnTo>
                  <a:lnTo>
                    <a:pt x="37" y="708"/>
                  </a:lnTo>
                  <a:lnTo>
                    <a:pt x="35" y="706"/>
                  </a:lnTo>
                  <a:lnTo>
                    <a:pt x="34" y="705"/>
                  </a:lnTo>
                  <a:lnTo>
                    <a:pt x="32" y="704"/>
                  </a:lnTo>
                  <a:lnTo>
                    <a:pt x="30" y="702"/>
                  </a:lnTo>
                  <a:lnTo>
                    <a:pt x="28" y="700"/>
                  </a:lnTo>
                  <a:lnTo>
                    <a:pt x="26" y="699"/>
                  </a:lnTo>
                  <a:lnTo>
                    <a:pt x="24" y="698"/>
                  </a:lnTo>
                  <a:lnTo>
                    <a:pt x="23" y="698"/>
                  </a:lnTo>
                  <a:lnTo>
                    <a:pt x="20" y="697"/>
                  </a:lnTo>
                  <a:lnTo>
                    <a:pt x="17" y="696"/>
                  </a:lnTo>
                  <a:lnTo>
                    <a:pt x="14" y="696"/>
                  </a:lnTo>
                  <a:lnTo>
                    <a:pt x="11" y="695"/>
                  </a:lnTo>
                  <a:lnTo>
                    <a:pt x="7" y="695"/>
                  </a:lnTo>
                  <a:lnTo>
                    <a:pt x="6" y="696"/>
                  </a:lnTo>
                  <a:lnTo>
                    <a:pt x="6" y="695"/>
                  </a:lnTo>
                  <a:lnTo>
                    <a:pt x="5" y="693"/>
                  </a:lnTo>
                  <a:lnTo>
                    <a:pt x="3" y="683"/>
                  </a:lnTo>
                  <a:lnTo>
                    <a:pt x="2" y="681"/>
                  </a:lnTo>
                  <a:lnTo>
                    <a:pt x="1" y="679"/>
                  </a:lnTo>
                  <a:lnTo>
                    <a:pt x="1" y="676"/>
                  </a:lnTo>
                  <a:lnTo>
                    <a:pt x="0" y="673"/>
                  </a:lnTo>
                  <a:lnTo>
                    <a:pt x="0" y="670"/>
                  </a:lnTo>
                  <a:lnTo>
                    <a:pt x="0" y="667"/>
                  </a:lnTo>
                  <a:lnTo>
                    <a:pt x="0" y="664"/>
                  </a:lnTo>
                  <a:lnTo>
                    <a:pt x="0" y="660"/>
                  </a:lnTo>
                  <a:lnTo>
                    <a:pt x="0" y="656"/>
                  </a:lnTo>
                  <a:lnTo>
                    <a:pt x="1" y="652"/>
                  </a:lnTo>
                  <a:lnTo>
                    <a:pt x="2" y="647"/>
                  </a:lnTo>
                  <a:lnTo>
                    <a:pt x="3" y="642"/>
                  </a:lnTo>
                  <a:lnTo>
                    <a:pt x="4" y="637"/>
                  </a:lnTo>
                  <a:lnTo>
                    <a:pt x="5" y="634"/>
                  </a:lnTo>
                  <a:lnTo>
                    <a:pt x="6" y="631"/>
                  </a:lnTo>
                  <a:lnTo>
                    <a:pt x="7" y="628"/>
                  </a:lnTo>
                  <a:lnTo>
                    <a:pt x="11" y="623"/>
                  </a:lnTo>
                  <a:lnTo>
                    <a:pt x="14" y="616"/>
                  </a:lnTo>
                  <a:lnTo>
                    <a:pt x="15" y="613"/>
                  </a:lnTo>
                  <a:lnTo>
                    <a:pt x="17" y="612"/>
                  </a:lnTo>
                  <a:lnTo>
                    <a:pt x="19" y="610"/>
                  </a:lnTo>
                  <a:lnTo>
                    <a:pt x="21" y="608"/>
                  </a:lnTo>
                  <a:lnTo>
                    <a:pt x="23" y="607"/>
                  </a:lnTo>
                  <a:lnTo>
                    <a:pt x="25" y="605"/>
                  </a:lnTo>
                  <a:lnTo>
                    <a:pt x="26" y="604"/>
                  </a:lnTo>
                  <a:lnTo>
                    <a:pt x="27" y="603"/>
                  </a:lnTo>
                  <a:lnTo>
                    <a:pt x="33" y="602"/>
                  </a:lnTo>
                  <a:lnTo>
                    <a:pt x="35" y="601"/>
                  </a:lnTo>
                  <a:lnTo>
                    <a:pt x="37" y="599"/>
                  </a:lnTo>
                  <a:lnTo>
                    <a:pt x="39" y="597"/>
                  </a:lnTo>
                  <a:lnTo>
                    <a:pt x="41" y="595"/>
                  </a:lnTo>
                  <a:lnTo>
                    <a:pt x="42" y="594"/>
                  </a:lnTo>
                  <a:lnTo>
                    <a:pt x="44" y="592"/>
                  </a:lnTo>
                  <a:lnTo>
                    <a:pt x="45" y="590"/>
                  </a:lnTo>
                  <a:lnTo>
                    <a:pt x="46" y="590"/>
                  </a:lnTo>
                  <a:lnTo>
                    <a:pt x="46" y="588"/>
                  </a:lnTo>
                  <a:lnTo>
                    <a:pt x="47" y="586"/>
                  </a:lnTo>
                  <a:lnTo>
                    <a:pt x="48" y="583"/>
                  </a:lnTo>
                  <a:lnTo>
                    <a:pt x="48" y="580"/>
                  </a:lnTo>
                  <a:lnTo>
                    <a:pt x="48" y="578"/>
                  </a:lnTo>
                  <a:lnTo>
                    <a:pt x="48" y="574"/>
                  </a:lnTo>
                  <a:lnTo>
                    <a:pt x="47" y="570"/>
                  </a:lnTo>
                  <a:lnTo>
                    <a:pt x="44" y="560"/>
                  </a:lnTo>
                  <a:lnTo>
                    <a:pt x="43" y="556"/>
                  </a:lnTo>
                  <a:lnTo>
                    <a:pt x="42" y="553"/>
                  </a:lnTo>
                  <a:lnTo>
                    <a:pt x="39" y="546"/>
                  </a:lnTo>
                  <a:lnTo>
                    <a:pt x="39" y="544"/>
                  </a:lnTo>
                  <a:lnTo>
                    <a:pt x="38" y="541"/>
                  </a:lnTo>
                  <a:lnTo>
                    <a:pt x="38" y="538"/>
                  </a:lnTo>
                  <a:lnTo>
                    <a:pt x="38" y="536"/>
                  </a:lnTo>
                  <a:lnTo>
                    <a:pt x="38" y="534"/>
                  </a:lnTo>
                  <a:lnTo>
                    <a:pt x="40" y="528"/>
                  </a:lnTo>
                  <a:lnTo>
                    <a:pt x="41" y="524"/>
                  </a:lnTo>
                  <a:lnTo>
                    <a:pt x="42" y="520"/>
                  </a:lnTo>
                  <a:lnTo>
                    <a:pt x="42" y="511"/>
                  </a:lnTo>
                  <a:lnTo>
                    <a:pt x="42" y="506"/>
                  </a:lnTo>
                  <a:lnTo>
                    <a:pt x="43" y="500"/>
                  </a:lnTo>
                  <a:lnTo>
                    <a:pt x="45" y="491"/>
                  </a:lnTo>
                  <a:lnTo>
                    <a:pt x="46" y="490"/>
                  </a:lnTo>
                  <a:lnTo>
                    <a:pt x="47" y="489"/>
                  </a:lnTo>
                  <a:lnTo>
                    <a:pt x="48" y="488"/>
                  </a:lnTo>
                  <a:lnTo>
                    <a:pt x="48" y="488"/>
                  </a:lnTo>
                  <a:lnTo>
                    <a:pt x="50" y="488"/>
                  </a:lnTo>
                  <a:lnTo>
                    <a:pt x="51" y="488"/>
                  </a:lnTo>
                  <a:lnTo>
                    <a:pt x="53" y="488"/>
                  </a:lnTo>
                  <a:lnTo>
                    <a:pt x="61" y="489"/>
                  </a:lnTo>
                  <a:lnTo>
                    <a:pt x="65" y="490"/>
                  </a:lnTo>
                  <a:lnTo>
                    <a:pt x="67" y="490"/>
                  </a:lnTo>
                  <a:lnTo>
                    <a:pt x="70" y="490"/>
                  </a:lnTo>
                  <a:lnTo>
                    <a:pt x="71" y="490"/>
                  </a:lnTo>
                  <a:lnTo>
                    <a:pt x="73" y="490"/>
                  </a:lnTo>
                  <a:lnTo>
                    <a:pt x="75" y="489"/>
                  </a:lnTo>
                  <a:lnTo>
                    <a:pt x="78" y="488"/>
                  </a:lnTo>
                  <a:lnTo>
                    <a:pt x="80" y="488"/>
                  </a:lnTo>
                  <a:lnTo>
                    <a:pt x="82" y="487"/>
                  </a:lnTo>
                  <a:lnTo>
                    <a:pt x="84" y="484"/>
                  </a:lnTo>
                  <a:lnTo>
                    <a:pt x="89" y="481"/>
                  </a:lnTo>
                  <a:lnTo>
                    <a:pt x="96" y="476"/>
                  </a:lnTo>
                  <a:lnTo>
                    <a:pt x="99" y="474"/>
                  </a:lnTo>
                  <a:lnTo>
                    <a:pt x="102" y="472"/>
                  </a:lnTo>
                  <a:lnTo>
                    <a:pt x="105" y="470"/>
                  </a:lnTo>
                  <a:lnTo>
                    <a:pt x="113" y="467"/>
                  </a:lnTo>
                  <a:lnTo>
                    <a:pt x="115" y="466"/>
                  </a:lnTo>
                  <a:lnTo>
                    <a:pt x="116" y="466"/>
                  </a:lnTo>
                  <a:lnTo>
                    <a:pt x="117" y="464"/>
                  </a:lnTo>
                  <a:lnTo>
                    <a:pt x="117" y="463"/>
                  </a:lnTo>
                  <a:lnTo>
                    <a:pt x="120" y="456"/>
                  </a:lnTo>
                  <a:lnTo>
                    <a:pt x="123" y="446"/>
                  </a:lnTo>
                  <a:lnTo>
                    <a:pt x="124" y="444"/>
                  </a:lnTo>
                  <a:lnTo>
                    <a:pt x="125" y="443"/>
                  </a:lnTo>
                  <a:lnTo>
                    <a:pt x="126" y="440"/>
                  </a:lnTo>
                  <a:lnTo>
                    <a:pt x="128" y="437"/>
                  </a:lnTo>
                  <a:lnTo>
                    <a:pt x="129" y="435"/>
                  </a:lnTo>
                  <a:lnTo>
                    <a:pt x="133" y="432"/>
                  </a:lnTo>
                  <a:lnTo>
                    <a:pt x="135" y="430"/>
                  </a:lnTo>
                  <a:lnTo>
                    <a:pt x="136" y="429"/>
                  </a:lnTo>
                  <a:lnTo>
                    <a:pt x="136" y="427"/>
                  </a:lnTo>
                  <a:lnTo>
                    <a:pt x="136" y="426"/>
                  </a:lnTo>
                  <a:lnTo>
                    <a:pt x="137" y="424"/>
                  </a:lnTo>
                  <a:lnTo>
                    <a:pt x="137" y="422"/>
                  </a:lnTo>
                  <a:lnTo>
                    <a:pt x="136" y="420"/>
                  </a:lnTo>
                  <a:lnTo>
                    <a:pt x="136" y="417"/>
                  </a:lnTo>
                  <a:lnTo>
                    <a:pt x="135" y="415"/>
                  </a:lnTo>
                  <a:lnTo>
                    <a:pt x="134" y="413"/>
                  </a:lnTo>
                  <a:lnTo>
                    <a:pt x="133" y="411"/>
                  </a:lnTo>
                  <a:lnTo>
                    <a:pt x="129" y="407"/>
                  </a:lnTo>
                  <a:lnTo>
                    <a:pt x="128" y="404"/>
                  </a:lnTo>
                  <a:lnTo>
                    <a:pt x="125" y="399"/>
                  </a:lnTo>
                  <a:lnTo>
                    <a:pt x="124" y="397"/>
                  </a:lnTo>
                  <a:lnTo>
                    <a:pt x="123" y="395"/>
                  </a:lnTo>
                  <a:lnTo>
                    <a:pt x="123" y="392"/>
                  </a:lnTo>
                  <a:lnTo>
                    <a:pt x="123" y="390"/>
                  </a:lnTo>
                  <a:lnTo>
                    <a:pt x="123" y="388"/>
                  </a:lnTo>
                  <a:lnTo>
                    <a:pt x="124" y="386"/>
                  </a:lnTo>
                  <a:lnTo>
                    <a:pt x="125" y="385"/>
                  </a:lnTo>
                  <a:lnTo>
                    <a:pt x="125" y="384"/>
                  </a:lnTo>
                  <a:lnTo>
                    <a:pt x="126" y="383"/>
                  </a:lnTo>
                  <a:lnTo>
                    <a:pt x="128" y="380"/>
                  </a:lnTo>
                  <a:lnTo>
                    <a:pt x="131" y="377"/>
                  </a:lnTo>
                  <a:lnTo>
                    <a:pt x="134" y="374"/>
                  </a:lnTo>
                  <a:lnTo>
                    <a:pt x="136" y="373"/>
                  </a:lnTo>
                  <a:lnTo>
                    <a:pt x="137" y="372"/>
                  </a:lnTo>
                  <a:lnTo>
                    <a:pt x="140" y="370"/>
                  </a:lnTo>
                  <a:lnTo>
                    <a:pt x="142" y="369"/>
                  </a:lnTo>
                  <a:lnTo>
                    <a:pt x="143" y="369"/>
                  </a:lnTo>
                  <a:lnTo>
                    <a:pt x="143" y="368"/>
                  </a:lnTo>
                  <a:lnTo>
                    <a:pt x="144" y="367"/>
                  </a:lnTo>
                  <a:lnTo>
                    <a:pt x="145" y="365"/>
                  </a:lnTo>
                  <a:lnTo>
                    <a:pt x="146" y="363"/>
                  </a:lnTo>
                  <a:lnTo>
                    <a:pt x="146" y="361"/>
                  </a:lnTo>
                  <a:lnTo>
                    <a:pt x="146" y="359"/>
                  </a:lnTo>
                  <a:lnTo>
                    <a:pt x="146" y="358"/>
                  </a:lnTo>
                  <a:lnTo>
                    <a:pt x="146" y="357"/>
                  </a:lnTo>
                  <a:lnTo>
                    <a:pt x="144" y="356"/>
                  </a:lnTo>
                  <a:lnTo>
                    <a:pt x="140" y="353"/>
                  </a:lnTo>
                  <a:lnTo>
                    <a:pt x="139" y="352"/>
                  </a:lnTo>
                  <a:lnTo>
                    <a:pt x="137" y="350"/>
                  </a:lnTo>
                  <a:lnTo>
                    <a:pt x="137" y="349"/>
                  </a:lnTo>
                  <a:lnTo>
                    <a:pt x="136" y="347"/>
                  </a:lnTo>
                  <a:lnTo>
                    <a:pt x="135" y="346"/>
                  </a:lnTo>
                  <a:lnTo>
                    <a:pt x="134" y="344"/>
                  </a:lnTo>
                  <a:lnTo>
                    <a:pt x="134" y="342"/>
                  </a:lnTo>
                  <a:lnTo>
                    <a:pt x="134" y="341"/>
                  </a:lnTo>
                  <a:lnTo>
                    <a:pt x="134" y="340"/>
                  </a:lnTo>
                  <a:lnTo>
                    <a:pt x="134" y="339"/>
                  </a:lnTo>
                  <a:lnTo>
                    <a:pt x="134" y="337"/>
                  </a:lnTo>
                  <a:lnTo>
                    <a:pt x="134" y="336"/>
                  </a:lnTo>
                  <a:lnTo>
                    <a:pt x="134" y="335"/>
                  </a:lnTo>
                  <a:lnTo>
                    <a:pt x="135" y="334"/>
                  </a:lnTo>
                  <a:lnTo>
                    <a:pt x="136" y="333"/>
                  </a:lnTo>
                  <a:lnTo>
                    <a:pt x="138" y="332"/>
                  </a:lnTo>
                  <a:lnTo>
                    <a:pt x="143" y="330"/>
                  </a:lnTo>
                  <a:lnTo>
                    <a:pt x="144" y="329"/>
                  </a:lnTo>
                  <a:lnTo>
                    <a:pt x="145" y="328"/>
                  </a:lnTo>
                  <a:lnTo>
                    <a:pt x="147" y="326"/>
                  </a:lnTo>
                  <a:lnTo>
                    <a:pt x="148" y="325"/>
                  </a:lnTo>
                  <a:lnTo>
                    <a:pt x="148" y="324"/>
                  </a:lnTo>
                  <a:lnTo>
                    <a:pt x="149" y="322"/>
                  </a:lnTo>
                  <a:lnTo>
                    <a:pt x="150" y="321"/>
                  </a:lnTo>
                  <a:lnTo>
                    <a:pt x="150" y="319"/>
                  </a:lnTo>
                  <a:lnTo>
                    <a:pt x="151" y="318"/>
                  </a:lnTo>
                  <a:lnTo>
                    <a:pt x="151" y="318"/>
                  </a:lnTo>
                  <a:lnTo>
                    <a:pt x="151" y="316"/>
                  </a:lnTo>
                  <a:lnTo>
                    <a:pt x="150" y="311"/>
                  </a:lnTo>
                  <a:lnTo>
                    <a:pt x="150" y="308"/>
                  </a:lnTo>
                  <a:lnTo>
                    <a:pt x="150" y="307"/>
                  </a:lnTo>
                  <a:lnTo>
                    <a:pt x="150" y="305"/>
                  </a:lnTo>
                  <a:lnTo>
                    <a:pt x="150" y="302"/>
                  </a:lnTo>
                  <a:lnTo>
                    <a:pt x="151" y="299"/>
                  </a:lnTo>
                  <a:lnTo>
                    <a:pt x="151" y="297"/>
                  </a:lnTo>
                  <a:lnTo>
                    <a:pt x="152" y="296"/>
                  </a:lnTo>
                  <a:lnTo>
                    <a:pt x="153" y="295"/>
                  </a:lnTo>
                  <a:lnTo>
                    <a:pt x="158" y="289"/>
                  </a:lnTo>
                  <a:lnTo>
                    <a:pt x="161" y="287"/>
                  </a:lnTo>
                  <a:lnTo>
                    <a:pt x="162" y="285"/>
                  </a:lnTo>
                  <a:lnTo>
                    <a:pt x="169" y="281"/>
                  </a:lnTo>
                  <a:lnTo>
                    <a:pt x="176" y="275"/>
                  </a:lnTo>
                  <a:lnTo>
                    <a:pt x="178" y="274"/>
                  </a:lnTo>
                  <a:lnTo>
                    <a:pt x="179" y="273"/>
                  </a:lnTo>
                  <a:lnTo>
                    <a:pt x="180" y="271"/>
                  </a:lnTo>
                  <a:lnTo>
                    <a:pt x="182" y="269"/>
                  </a:lnTo>
                  <a:lnTo>
                    <a:pt x="184" y="264"/>
                  </a:lnTo>
                  <a:lnTo>
                    <a:pt x="185" y="258"/>
                  </a:lnTo>
                  <a:lnTo>
                    <a:pt x="187" y="255"/>
                  </a:lnTo>
                  <a:lnTo>
                    <a:pt x="189" y="250"/>
                  </a:lnTo>
                  <a:lnTo>
                    <a:pt x="192" y="246"/>
                  </a:lnTo>
                  <a:lnTo>
                    <a:pt x="193" y="243"/>
                  </a:lnTo>
                  <a:lnTo>
                    <a:pt x="194" y="241"/>
                  </a:lnTo>
                  <a:lnTo>
                    <a:pt x="195" y="237"/>
                  </a:lnTo>
                  <a:lnTo>
                    <a:pt x="196" y="232"/>
                  </a:lnTo>
                  <a:lnTo>
                    <a:pt x="197" y="230"/>
                  </a:lnTo>
                  <a:lnTo>
                    <a:pt x="197" y="228"/>
                  </a:lnTo>
                  <a:lnTo>
                    <a:pt x="196" y="226"/>
                  </a:lnTo>
                  <a:lnTo>
                    <a:pt x="196" y="224"/>
                  </a:lnTo>
                  <a:lnTo>
                    <a:pt x="196" y="222"/>
                  </a:lnTo>
                  <a:lnTo>
                    <a:pt x="195" y="220"/>
                  </a:lnTo>
                  <a:lnTo>
                    <a:pt x="190" y="215"/>
                  </a:lnTo>
                  <a:lnTo>
                    <a:pt x="189" y="214"/>
                  </a:lnTo>
                  <a:lnTo>
                    <a:pt x="187" y="210"/>
                  </a:lnTo>
                  <a:lnTo>
                    <a:pt x="184" y="203"/>
                  </a:lnTo>
                  <a:lnTo>
                    <a:pt x="182" y="199"/>
                  </a:lnTo>
                  <a:lnTo>
                    <a:pt x="181" y="195"/>
                  </a:lnTo>
                  <a:lnTo>
                    <a:pt x="180" y="191"/>
                  </a:lnTo>
                  <a:lnTo>
                    <a:pt x="179" y="187"/>
                  </a:lnTo>
                  <a:lnTo>
                    <a:pt x="179" y="184"/>
                  </a:lnTo>
                  <a:lnTo>
                    <a:pt x="180" y="180"/>
                  </a:lnTo>
                  <a:lnTo>
                    <a:pt x="181" y="171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4" y="163"/>
                  </a:lnTo>
                  <a:lnTo>
                    <a:pt x="185" y="160"/>
                  </a:lnTo>
                  <a:lnTo>
                    <a:pt x="186" y="158"/>
                  </a:lnTo>
                  <a:lnTo>
                    <a:pt x="192" y="148"/>
                  </a:lnTo>
                  <a:lnTo>
                    <a:pt x="193" y="147"/>
                  </a:lnTo>
                  <a:lnTo>
                    <a:pt x="194" y="146"/>
                  </a:lnTo>
                  <a:lnTo>
                    <a:pt x="193" y="145"/>
                  </a:lnTo>
                  <a:lnTo>
                    <a:pt x="193" y="144"/>
                  </a:lnTo>
                  <a:lnTo>
                    <a:pt x="192" y="140"/>
                  </a:lnTo>
                  <a:lnTo>
                    <a:pt x="191" y="138"/>
                  </a:lnTo>
                  <a:lnTo>
                    <a:pt x="188" y="133"/>
                  </a:lnTo>
                  <a:lnTo>
                    <a:pt x="186" y="128"/>
                  </a:lnTo>
                  <a:lnTo>
                    <a:pt x="185" y="125"/>
                  </a:lnTo>
                  <a:lnTo>
                    <a:pt x="185" y="122"/>
                  </a:lnTo>
                  <a:lnTo>
                    <a:pt x="184" y="116"/>
                  </a:lnTo>
                  <a:lnTo>
                    <a:pt x="183" y="114"/>
                  </a:lnTo>
                  <a:lnTo>
                    <a:pt x="183" y="103"/>
                  </a:lnTo>
                  <a:lnTo>
                    <a:pt x="182" y="101"/>
                  </a:lnTo>
                  <a:lnTo>
                    <a:pt x="182" y="97"/>
                  </a:lnTo>
                  <a:lnTo>
                    <a:pt x="181" y="93"/>
                  </a:lnTo>
                  <a:lnTo>
                    <a:pt x="180" y="91"/>
                  </a:lnTo>
                  <a:lnTo>
                    <a:pt x="180" y="90"/>
                  </a:lnTo>
                  <a:lnTo>
                    <a:pt x="179" y="89"/>
                  </a:lnTo>
                  <a:lnTo>
                    <a:pt x="176" y="86"/>
                  </a:lnTo>
                  <a:lnTo>
                    <a:pt x="175" y="84"/>
                  </a:lnTo>
                  <a:lnTo>
                    <a:pt x="174" y="82"/>
                  </a:lnTo>
                  <a:lnTo>
                    <a:pt x="174" y="81"/>
                  </a:lnTo>
                  <a:lnTo>
                    <a:pt x="173" y="80"/>
                  </a:lnTo>
                  <a:lnTo>
                    <a:pt x="173" y="79"/>
                  </a:lnTo>
                  <a:lnTo>
                    <a:pt x="173" y="78"/>
                  </a:lnTo>
                  <a:lnTo>
                    <a:pt x="173" y="76"/>
                  </a:lnTo>
                  <a:lnTo>
                    <a:pt x="174" y="73"/>
                  </a:lnTo>
                  <a:lnTo>
                    <a:pt x="177" y="63"/>
                  </a:lnTo>
                  <a:lnTo>
                    <a:pt x="178" y="60"/>
                  </a:lnTo>
                  <a:lnTo>
                    <a:pt x="179" y="58"/>
                  </a:lnTo>
                  <a:lnTo>
                    <a:pt x="180" y="58"/>
                  </a:lnTo>
                  <a:lnTo>
                    <a:pt x="181" y="55"/>
                  </a:lnTo>
                  <a:lnTo>
                    <a:pt x="182" y="54"/>
                  </a:lnTo>
                  <a:lnTo>
                    <a:pt x="183" y="53"/>
                  </a:lnTo>
                  <a:lnTo>
                    <a:pt x="184" y="53"/>
                  </a:lnTo>
                  <a:lnTo>
                    <a:pt x="185" y="53"/>
                  </a:lnTo>
                  <a:lnTo>
                    <a:pt x="185" y="54"/>
                  </a:lnTo>
                  <a:lnTo>
                    <a:pt x="186" y="54"/>
                  </a:lnTo>
                  <a:lnTo>
                    <a:pt x="187" y="54"/>
                  </a:lnTo>
                  <a:lnTo>
                    <a:pt x="190" y="54"/>
                  </a:lnTo>
                  <a:lnTo>
                    <a:pt x="193" y="54"/>
                  </a:lnTo>
                  <a:lnTo>
                    <a:pt x="196" y="53"/>
                  </a:lnTo>
                  <a:lnTo>
                    <a:pt x="204" y="50"/>
                  </a:lnTo>
                  <a:lnTo>
                    <a:pt x="214" y="48"/>
                  </a:lnTo>
                  <a:lnTo>
                    <a:pt x="218" y="46"/>
                  </a:lnTo>
                  <a:lnTo>
                    <a:pt x="222" y="45"/>
                  </a:lnTo>
                  <a:lnTo>
                    <a:pt x="224" y="44"/>
                  </a:lnTo>
                  <a:lnTo>
                    <a:pt x="225" y="44"/>
                  </a:lnTo>
                  <a:lnTo>
                    <a:pt x="226" y="44"/>
                  </a:lnTo>
                  <a:lnTo>
                    <a:pt x="228" y="44"/>
                  </a:lnTo>
                  <a:lnTo>
                    <a:pt x="229" y="45"/>
                  </a:lnTo>
                  <a:lnTo>
                    <a:pt x="230" y="45"/>
                  </a:lnTo>
                  <a:lnTo>
                    <a:pt x="231" y="46"/>
                  </a:lnTo>
                  <a:lnTo>
                    <a:pt x="237" y="51"/>
                  </a:lnTo>
                  <a:lnTo>
                    <a:pt x="238" y="52"/>
                  </a:lnTo>
                  <a:lnTo>
                    <a:pt x="239" y="52"/>
                  </a:lnTo>
                  <a:lnTo>
                    <a:pt x="240" y="53"/>
                  </a:lnTo>
                  <a:lnTo>
                    <a:pt x="242" y="53"/>
                  </a:lnTo>
                  <a:lnTo>
                    <a:pt x="244" y="53"/>
                  </a:lnTo>
                  <a:lnTo>
                    <a:pt x="245" y="53"/>
                  </a:lnTo>
                  <a:lnTo>
                    <a:pt x="247" y="52"/>
                  </a:lnTo>
                  <a:lnTo>
                    <a:pt x="248" y="52"/>
                  </a:lnTo>
                  <a:lnTo>
                    <a:pt x="251" y="50"/>
                  </a:lnTo>
                  <a:lnTo>
                    <a:pt x="257" y="47"/>
                  </a:lnTo>
                  <a:lnTo>
                    <a:pt x="259" y="46"/>
                  </a:lnTo>
                  <a:lnTo>
                    <a:pt x="262" y="46"/>
                  </a:lnTo>
                  <a:lnTo>
                    <a:pt x="264" y="46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8" y="47"/>
                  </a:lnTo>
                  <a:lnTo>
                    <a:pt x="269" y="47"/>
                  </a:lnTo>
                  <a:lnTo>
                    <a:pt x="276" y="52"/>
                  </a:lnTo>
                  <a:lnTo>
                    <a:pt x="277" y="54"/>
                  </a:lnTo>
                  <a:lnTo>
                    <a:pt x="281" y="56"/>
                  </a:lnTo>
                  <a:lnTo>
                    <a:pt x="282" y="57"/>
                  </a:lnTo>
                  <a:lnTo>
                    <a:pt x="283" y="58"/>
                  </a:lnTo>
                  <a:lnTo>
                    <a:pt x="285" y="59"/>
                  </a:lnTo>
                  <a:lnTo>
                    <a:pt x="286" y="60"/>
                  </a:lnTo>
                  <a:lnTo>
                    <a:pt x="287" y="61"/>
                  </a:lnTo>
                  <a:lnTo>
                    <a:pt x="288" y="61"/>
                  </a:lnTo>
                  <a:lnTo>
                    <a:pt x="293" y="63"/>
                  </a:lnTo>
                  <a:lnTo>
                    <a:pt x="296" y="64"/>
                  </a:lnTo>
                  <a:lnTo>
                    <a:pt x="298" y="65"/>
                  </a:lnTo>
                  <a:lnTo>
                    <a:pt x="300" y="66"/>
                  </a:lnTo>
                  <a:lnTo>
                    <a:pt x="302" y="66"/>
                  </a:lnTo>
                  <a:lnTo>
                    <a:pt x="305" y="66"/>
                  </a:lnTo>
                  <a:lnTo>
                    <a:pt x="307" y="66"/>
                  </a:lnTo>
                  <a:lnTo>
                    <a:pt x="310" y="65"/>
                  </a:lnTo>
                  <a:lnTo>
                    <a:pt x="312" y="65"/>
                  </a:lnTo>
                  <a:lnTo>
                    <a:pt x="314" y="64"/>
                  </a:lnTo>
                  <a:lnTo>
                    <a:pt x="316" y="62"/>
                  </a:lnTo>
                  <a:lnTo>
                    <a:pt x="321" y="59"/>
                  </a:lnTo>
                  <a:lnTo>
                    <a:pt x="321" y="58"/>
                  </a:lnTo>
                  <a:lnTo>
                    <a:pt x="324" y="58"/>
                  </a:lnTo>
                  <a:lnTo>
                    <a:pt x="326" y="57"/>
                  </a:lnTo>
                  <a:lnTo>
                    <a:pt x="328" y="56"/>
                  </a:lnTo>
                  <a:lnTo>
                    <a:pt x="338" y="55"/>
                  </a:lnTo>
                  <a:lnTo>
                    <a:pt x="341" y="55"/>
                  </a:lnTo>
                  <a:lnTo>
                    <a:pt x="343" y="54"/>
                  </a:lnTo>
                  <a:lnTo>
                    <a:pt x="344" y="53"/>
                  </a:lnTo>
                  <a:lnTo>
                    <a:pt x="346" y="52"/>
                  </a:lnTo>
                  <a:lnTo>
                    <a:pt x="349" y="50"/>
                  </a:lnTo>
                  <a:lnTo>
                    <a:pt x="353" y="47"/>
                  </a:lnTo>
                  <a:lnTo>
                    <a:pt x="355" y="46"/>
                  </a:lnTo>
                  <a:lnTo>
                    <a:pt x="356" y="46"/>
                  </a:lnTo>
                  <a:lnTo>
                    <a:pt x="361" y="45"/>
                  </a:lnTo>
                  <a:lnTo>
                    <a:pt x="362" y="44"/>
                  </a:lnTo>
                  <a:lnTo>
                    <a:pt x="363" y="44"/>
                  </a:lnTo>
                  <a:lnTo>
                    <a:pt x="364" y="43"/>
                  </a:lnTo>
                  <a:lnTo>
                    <a:pt x="365" y="42"/>
                  </a:lnTo>
                  <a:lnTo>
                    <a:pt x="367" y="38"/>
                  </a:lnTo>
                  <a:lnTo>
                    <a:pt x="368" y="35"/>
                  </a:lnTo>
                  <a:lnTo>
                    <a:pt x="369" y="34"/>
                  </a:lnTo>
                  <a:lnTo>
                    <a:pt x="371" y="31"/>
                  </a:lnTo>
                  <a:lnTo>
                    <a:pt x="373" y="26"/>
                  </a:lnTo>
                  <a:lnTo>
                    <a:pt x="375" y="21"/>
                  </a:lnTo>
                  <a:lnTo>
                    <a:pt x="376" y="19"/>
                  </a:lnTo>
                  <a:lnTo>
                    <a:pt x="377" y="17"/>
                  </a:lnTo>
                  <a:lnTo>
                    <a:pt x="378" y="16"/>
                  </a:lnTo>
                  <a:lnTo>
                    <a:pt x="378" y="15"/>
                  </a:lnTo>
                  <a:lnTo>
                    <a:pt x="380" y="13"/>
                  </a:lnTo>
                  <a:lnTo>
                    <a:pt x="384" y="12"/>
                  </a:lnTo>
                  <a:lnTo>
                    <a:pt x="391" y="8"/>
                  </a:lnTo>
                  <a:lnTo>
                    <a:pt x="399" y="4"/>
                  </a:lnTo>
                  <a:lnTo>
                    <a:pt x="401" y="3"/>
                  </a:lnTo>
                  <a:lnTo>
                    <a:pt x="405" y="1"/>
                  </a:lnTo>
                  <a:lnTo>
                    <a:pt x="409" y="1"/>
                  </a:lnTo>
                  <a:lnTo>
                    <a:pt x="413" y="0"/>
                  </a:lnTo>
                  <a:lnTo>
                    <a:pt x="414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1" name="Freeform 90">
              <a:extLst>
                <a:ext uri="{FF2B5EF4-FFF2-40B4-BE49-F238E27FC236}">
                  <a16:creationId xmlns:a16="http://schemas.microsoft.com/office/drawing/2014/main" id="{CA78E11F-9C76-459F-B251-95A6CC604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" y="2091"/>
              <a:ext cx="1092" cy="1370"/>
            </a:xfrm>
            <a:custGeom>
              <a:avLst/>
              <a:gdLst>
                <a:gd name="T0" fmla="*/ 727 w 1092"/>
                <a:gd name="T1" fmla="*/ 6 h 1370"/>
                <a:gd name="T2" fmla="*/ 752 w 1092"/>
                <a:gd name="T3" fmla="*/ 28 h 1370"/>
                <a:gd name="T4" fmla="*/ 785 w 1092"/>
                <a:gd name="T5" fmla="*/ 33 h 1370"/>
                <a:gd name="T6" fmla="*/ 771 w 1092"/>
                <a:gd name="T7" fmla="*/ 74 h 1370"/>
                <a:gd name="T8" fmla="*/ 803 w 1092"/>
                <a:gd name="T9" fmla="*/ 81 h 1370"/>
                <a:gd name="T10" fmla="*/ 857 w 1092"/>
                <a:gd name="T11" fmla="*/ 81 h 1370"/>
                <a:gd name="T12" fmla="*/ 855 w 1092"/>
                <a:gd name="T13" fmla="*/ 98 h 1370"/>
                <a:gd name="T14" fmla="*/ 912 w 1092"/>
                <a:gd name="T15" fmla="*/ 132 h 1370"/>
                <a:gd name="T16" fmla="*/ 966 w 1092"/>
                <a:gd name="T17" fmla="*/ 132 h 1370"/>
                <a:gd name="T18" fmla="*/ 1024 w 1092"/>
                <a:gd name="T19" fmla="*/ 172 h 1370"/>
                <a:gd name="T20" fmla="*/ 1045 w 1092"/>
                <a:gd name="T21" fmla="*/ 198 h 1370"/>
                <a:gd name="T22" fmla="*/ 1092 w 1092"/>
                <a:gd name="T23" fmla="*/ 271 h 1370"/>
                <a:gd name="T24" fmla="*/ 1072 w 1092"/>
                <a:gd name="T25" fmla="*/ 316 h 1370"/>
                <a:gd name="T26" fmla="*/ 1064 w 1092"/>
                <a:gd name="T27" fmla="*/ 384 h 1370"/>
                <a:gd name="T28" fmla="*/ 1072 w 1092"/>
                <a:gd name="T29" fmla="*/ 419 h 1370"/>
                <a:gd name="T30" fmla="*/ 1038 w 1092"/>
                <a:gd name="T31" fmla="*/ 455 h 1370"/>
                <a:gd name="T32" fmla="*/ 999 w 1092"/>
                <a:gd name="T33" fmla="*/ 455 h 1370"/>
                <a:gd name="T34" fmla="*/ 971 w 1092"/>
                <a:gd name="T35" fmla="*/ 499 h 1370"/>
                <a:gd name="T36" fmla="*/ 1003 w 1092"/>
                <a:gd name="T37" fmla="*/ 506 h 1370"/>
                <a:gd name="T38" fmla="*/ 987 w 1092"/>
                <a:gd name="T39" fmla="*/ 529 h 1370"/>
                <a:gd name="T40" fmla="*/ 981 w 1092"/>
                <a:gd name="T41" fmla="*/ 549 h 1370"/>
                <a:gd name="T42" fmla="*/ 992 w 1092"/>
                <a:gd name="T43" fmla="*/ 569 h 1370"/>
                <a:gd name="T44" fmla="*/ 1025 w 1092"/>
                <a:gd name="T45" fmla="*/ 582 h 1370"/>
                <a:gd name="T46" fmla="*/ 1020 w 1092"/>
                <a:gd name="T47" fmla="*/ 659 h 1370"/>
                <a:gd name="T48" fmla="*/ 1038 w 1092"/>
                <a:gd name="T49" fmla="*/ 696 h 1370"/>
                <a:gd name="T50" fmla="*/ 1027 w 1092"/>
                <a:gd name="T51" fmla="*/ 732 h 1370"/>
                <a:gd name="T52" fmla="*/ 1045 w 1092"/>
                <a:gd name="T53" fmla="*/ 790 h 1370"/>
                <a:gd name="T54" fmla="*/ 1035 w 1092"/>
                <a:gd name="T55" fmla="*/ 849 h 1370"/>
                <a:gd name="T56" fmla="*/ 1040 w 1092"/>
                <a:gd name="T57" fmla="*/ 905 h 1370"/>
                <a:gd name="T58" fmla="*/ 1003 w 1092"/>
                <a:gd name="T59" fmla="*/ 955 h 1370"/>
                <a:gd name="T60" fmla="*/ 989 w 1092"/>
                <a:gd name="T61" fmla="*/ 983 h 1370"/>
                <a:gd name="T62" fmla="*/ 999 w 1092"/>
                <a:gd name="T63" fmla="*/ 1007 h 1370"/>
                <a:gd name="T64" fmla="*/ 978 w 1092"/>
                <a:gd name="T65" fmla="*/ 1034 h 1370"/>
                <a:gd name="T66" fmla="*/ 990 w 1092"/>
                <a:gd name="T67" fmla="*/ 1074 h 1370"/>
                <a:gd name="T68" fmla="*/ 966 w 1092"/>
                <a:gd name="T69" fmla="*/ 1117 h 1370"/>
                <a:gd name="T70" fmla="*/ 906 w 1092"/>
                <a:gd name="T71" fmla="*/ 1138 h 1370"/>
                <a:gd name="T72" fmla="*/ 891 w 1092"/>
                <a:gd name="T73" fmla="*/ 1191 h 1370"/>
                <a:gd name="T74" fmla="*/ 894 w 1092"/>
                <a:gd name="T75" fmla="*/ 1245 h 1370"/>
                <a:gd name="T76" fmla="*/ 858 w 1092"/>
                <a:gd name="T77" fmla="*/ 1284 h 1370"/>
                <a:gd name="T78" fmla="*/ 859 w 1092"/>
                <a:gd name="T79" fmla="*/ 1346 h 1370"/>
                <a:gd name="T80" fmla="*/ 827 w 1092"/>
                <a:gd name="T81" fmla="*/ 1358 h 1370"/>
                <a:gd name="T82" fmla="*/ 776 w 1092"/>
                <a:gd name="T83" fmla="*/ 1346 h 1370"/>
                <a:gd name="T84" fmla="*/ 743 w 1092"/>
                <a:gd name="T85" fmla="*/ 1270 h 1370"/>
                <a:gd name="T86" fmla="*/ 685 w 1092"/>
                <a:gd name="T87" fmla="*/ 1186 h 1370"/>
                <a:gd name="T88" fmla="*/ 616 w 1092"/>
                <a:gd name="T89" fmla="*/ 1163 h 1370"/>
                <a:gd name="T90" fmla="*/ 572 w 1092"/>
                <a:gd name="T91" fmla="*/ 1125 h 1370"/>
                <a:gd name="T92" fmla="*/ 523 w 1092"/>
                <a:gd name="T93" fmla="*/ 1047 h 1370"/>
                <a:gd name="T94" fmla="*/ 472 w 1092"/>
                <a:gd name="T95" fmla="*/ 984 h 1370"/>
                <a:gd name="T96" fmla="*/ 443 w 1092"/>
                <a:gd name="T97" fmla="*/ 927 h 1370"/>
                <a:gd name="T98" fmla="*/ 363 w 1092"/>
                <a:gd name="T99" fmla="*/ 885 h 1370"/>
                <a:gd name="T100" fmla="*/ 332 w 1092"/>
                <a:gd name="T101" fmla="*/ 895 h 1370"/>
                <a:gd name="T102" fmla="*/ 274 w 1092"/>
                <a:gd name="T103" fmla="*/ 875 h 1370"/>
                <a:gd name="T104" fmla="*/ 220 w 1092"/>
                <a:gd name="T105" fmla="*/ 796 h 1370"/>
                <a:gd name="T106" fmla="*/ 178 w 1092"/>
                <a:gd name="T107" fmla="*/ 753 h 1370"/>
                <a:gd name="T108" fmla="*/ 170 w 1092"/>
                <a:gd name="T109" fmla="*/ 675 h 1370"/>
                <a:gd name="T110" fmla="*/ 129 w 1092"/>
                <a:gd name="T111" fmla="*/ 639 h 1370"/>
                <a:gd name="T112" fmla="*/ 107 w 1092"/>
                <a:gd name="T113" fmla="*/ 560 h 1370"/>
                <a:gd name="T114" fmla="*/ 84 w 1092"/>
                <a:gd name="T115" fmla="*/ 523 h 1370"/>
                <a:gd name="T116" fmla="*/ 66 w 1092"/>
                <a:gd name="T117" fmla="*/ 472 h 1370"/>
                <a:gd name="T118" fmla="*/ 3 w 1092"/>
                <a:gd name="T119" fmla="*/ 413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2" h="1370">
                  <a:moveTo>
                    <a:pt x="712" y="0"/>
                  </a:moveTo>
                  <a:lnTo>
                    <a:pt x="712" y="1"/>
                  </a:lnTo>
                  <a:lnTo>
                    <a:pt x="712" y="2"/>
                  </a:lnTo>
                  <a:lnTo>
                    <a:pt x="712" y="4"/>
                  </a:lnTo>
                  <a:lnTo>
                    <a:pt x="713" y="7"/>
                  </a:lnTo>
                  <a:lnTo>
                    <a:pt x="713" y="9"/>
                  </a:lnTo>
                  <a:lnTo>
                    <a:pt x="714" y="11"/>
                  </a:lnTo>
                  <a:lnTo>
                    <a:pt x="715" y="12"/>
                  </a:lnTo>
                  <a:lnTo>
                    <a:pt x="716" y="13"/>
                  </a:lnTo>
                  <a:lnTo>
                    <a:pt x="717" y="14"/>
                  </a:lnTo>
                  <a:lnTo>
                    <a:pt x="719" y="14"/>
                  </a:lnTo>
                  <a:lnTo>
                    <a:pt x="719" y="14"/>
                  </a:lnTo>
                  <a:lnTo>
                    <a:pt x="720" y="14"/>
                  </a:lnTo>
                  <a:lnTo>
                    <a:pt x="721" y="13"/>
                  </a:lnTo>
                  <a:lnTo>
                    <a:pt x="722" y="13"/>
                  </a:lnTo>
                  <a:lnTo>
                    <a:pt x="724" y="11"/>
                  </a:lnTo>
                  <a:lnTo>
                    <a:pt x="727" y="6"/>
                  </a:lnTo>
                  <a:lnTo>
                    <a:pt x="729" y="5"/>
                  </a:lnTo>
                  <a:lnTo>
                    <a:pt x="730" y="5"/>
                  </a:lnTo>
                  <a:lnTo>
                    <a:pt x="731" y="3"/>
                  </a:lnTo>
                  <a:lnTo>
                    <a:pt x="733" y="3"/>
                  </a:lnTo>
                  <a:lnTo>
                    <a:pt x="734" y="2"/>
                  </a:lnTo>
                  <a:lnTo>
                    <a:pt x="735" y="3"/>
                  </a:lnTo>
                  <a:lnTo>
                    <a:pt x="737" y="5"/>
                  </a:lnTo>
                  <a:lnTo>
                    <a:pt x="739" y="10"/>
                  </a:lnTo>
                  <a:lnTo>
                    <a:pt x="742" y="15"/>
                  </a:lnTo>
                  <a:lnTo>
                    <a:pt x="744" y="17"/>
                  </a:lnTo>
                  <a:lnTo>
                    <a:pt x="745" y="19"/>
                  </a:lnTo>
                  <a:lnTo>
                    <a:pt x="747" y="24"/>
                  </a:lnTo>
                  <a:lnTo>
                    <a:pt x="748" y="26"/>
                  </a:lnTo>
                  <a:lnTo>
                    <a:pt x="749" y="27"/>
                  </a:lnTo>
                  <a:lnTo>
                    <a:pt x="750" y="28"/>
                  </a:lnTo>
                  <a:lnTo>
                    <a:pt x="751" y="28"/>
                  </a:lnTo>
                  <a:lnTo>
                    <a:pt x="752" y="28"/>
                  </a:lnTo>
                  <a:lnTo>
                    <a:pt x="753" y="28"/>
                  </a:lnTo>
                  <a:lnTo>
                    <a:pt x="753" y="28"/>
                  </a:lnTo>
                  <a:lnTo>
                    <a:pt x="756" y="28"/>
                  </a:lnTo>
                  <a:lnTo>
                    <a:pt x="763" y="28"/>
                  </a:lnTo>
                  <a:lnTo>
                    <a:pt x="764" y="27"/>
                  </a:lnTo>
                  <a:lnTo>
                    <a:pt x="765" y="26"/>
                  </a:lnTo>
                  <a:lnTo>
                    <a:pt x="768" y="24"/>
                  </a:lnTo>
                  <a:lnTo>
                    <a:pt x="771" y="22"/>
                  </a:lnTo>
                  <a:lnTo>
                    <a:pt x="772" y="21"/>
                  </a:lnTo>
                  <a:lnTo>
                    <a:pt x="773" y="20"/>
                  </a:lnTo>
                  <a:lnTo>
                    <a:pt x="775" y="17"/>
                  </a:lnTo>
                  <a:lnTo>
                    <a:pt x="776" y="18"/>
                  </a:lnTo>
                  <a:lnTo>
                    <a:pt x="776" y="20"/>
                  </a:lnTo>
                  <a:lnTo>
                    <a:pt x="780" y="25"/>
                  </a:lnTo>
                  <a:lnTo>
                    <a:pt x="781" y="27"/>
                  </a:lnTo>
                  <a:lnTo>
                    <a:pt x="783" y="30"/>
                  </a:lnTo>
                  <a:lnTo>
                    <a:pt x="785" y="33"/>
                  </a:lnTo>
                  <a:lnTo>
                    <a:pt x="786" y="35"/>
                  </a:lnTo>
                  <a:lnTo>
                    <a:pt x="787" y="38"/>
                  </a:lnTo>
                  <a:lnTo>
                    <a:pt x="787" y="40"/>
                  </a:lnTo>
                  <a:lnTo>
                    <a:pt x="787" y="42"/>
                  </a:lnTo>
                  <a:lnTo>
                    <a:pt x="787" y="44"/>
                  </a:lnTo>
                  <a:lnTo>
                    <a:pt x="787" y="46"/>
                  </a:lnTo>
                  <a:lnTo>
                    <a:pt x="787" y="47"/>
                  </a:lnTo>
                  <a:lnTo>
                    <a:pt x="786" y="49"/>
                  </a:lnTo>
                  <a:lnTo>
                    <a:pt x="785" y="51"/>
                  </a:lnTo>
                  <a:lnTo>
                    <a:pt x="780" y="55"/>
                  </a:lnTo>
                  <a:lnTo>
                    <a:pt x="778" y="59"/>
                  </a:lnTo>
                  <a:lnTo>
                    <a:pt x="776" y="62"/>
                  </a:lnTo>
                  <a:lnTo>
                    <a:pt x="774" y="67"/>
                  </a:lnTo>
                  <a:lnTo>
                    <a:pt x="773" y="69"/>
                  </a:lnTo>
                  <a:lnTo>
                    <a:pt x="772" y="71"/>
                  </a:lnTo>
                  <a:lnTo>
                    <a:pt x="771" y="73"/>
                  </a:lnTo>
                  <a:lnTo>
                    <a:pt x="771" y="74"/>
                  </a:lnTo>
                  <a:lnTo>
                    <a:pt x="771" y="76"/>
                  </a:lnTo>
                  <a:lnTo>
                    <a:pt x="771" y="78"/>
                  </a:lnTo>
                  <a:lnTo>
                    <a:pt x="771" y="79"/>
                  </a:lnTo>
                  <a:lnTo>
                    <a:pt x="772" y="80"/>
                  </a:lnTo>
                  <a:lnTo>
                    <a:pt x="772" y="81"/>
                  </a:lnTo>
                  <a:lnTo>
                    <a:pt x="773" y="82"/>
                  </a:lnTo>
                  <a:lnTo>
                    <a:pt x="774" y="82"/>
                  </a:lnTo>
                  <a:lnTo>
                    <a:pt x="776" y="83"/>
                  </a:lnTo>
                  <a:lnTo>
                    <a:pt x="778" y="84"/>
                  </a:lnTo>
                  <a:lnTo>
                    <a:pt x="786" y="85"/>
                  </a:lnTo>
                  <a:lnTo>
                    <a:pt x="788" y="85"/>
                  </a:lnTo>
                  <a:lnTo>
                    <a:pt x="788" y="85"/>
                  </a:lnTo>
                  <a:lnTo>
                    <a:pt x="790" y="85"/>
                  </a:lnTo>
                  <a:lnTo>
                    <a:pt x="791" y="85"/>
                  </a:lnTo>
                  <a:lnTo>
                    <a:pt x="794" y="85"/>
                  </a:lnTo>
                  <a:lnTo>
                    <a:pt x="797" y="84"/>
                  </a:lnTo>
                  <a:lnTo>
                    <a:pt x="803" y="81"/>
                  </a:lnTo>
                  <a:lnTo>
                    <a:pt x="806" y="80"/>
                  </a:lnTo>
                  <a:lnTo>
                    <a:pt x="809" y="79"/>
                  </a:lnTo>
                  <a:lnTo>
                    <a:pt x="810" y="79"/>
                  </a:lnTo>
                  <a:lnTo>
                    <a:pt x="815" y="78"/>
                  </a:lnTo>
                  <a:lnTo>
                    <a:pt x="819" y="78"/>
                  </a:lnTo>
                  <a:lnTo>
                    <a:pt x="822" y="78"/>
                  </a:lnTo>
                  <a:lnTo>
                    <a:pt x="826" y="79"/>
                  </a:lnTo>
                  <a:lnTo>
                    <a:pt x="833" y="80"/>
                  </a:lnTo>
                  <a:lnTo>
                    <a:pt x="835" y="81"/>
                  </a:lnTo>
                  <a:lnTo>
                    <a:pt x="837" y="81"/>
                  </a:lnTo>
                  <a:lnTo>
                    <a:pt x="839" y="81"/>
                  </a:lnTo>
                  <a:lnTo>
                    <a:pt x="846" y="80"/>
                  </a:lnTo>
                  <a:lnTo>
                    <a:pt x="850" y="80"/>
                  </a:lnTo>
                  <a:lnTo>
                    <a:pt x="852" y="80"/>
                  </a:lnTo>
                  <a:lnTo>
                    <a:pt x="855" y="80"/>
                  </a:lnTo>
                  <a:lnTo>
                    <a:pt x="856" y="81"/>
                  </a:lnTo>
                  <a:lnTo>
                    <a:pt x="857" y="81"/>
                  </a:lnTo>
                  <a:lnTo>
                    <a:pt x="860" y="83"/>
                  </a:lnTo>
                  <a:lnTo>
                    <a:pt x="864" y="85"/>
                  </a:lnTo>
                  <a:lnTo>
                    <a:pt x="864" y="85"/>
                  </a:lnTo>
                  <a:lnTo>
                    <a:pt x="865" y="85"/>
                  </a:lnTo>
                  <a:lnTo>
                    <a:pt x="865" y="86"/>
                  </a:lnTo>
                  <a:lnTo>
                    <a:pt x="865" y="87"/>
                  </a:lnTo>
                  <a:lnTo>
                    <a:pt x="864" y="88"/>
                  </a:lnTo>
                  <a:lnTo>
                    <a:pt x="859" y="90"/>
                  </a:lnTo>
                  <a:lnTo>
                    <a:pt x="857" y="91"/>
                  </a:lnTo>
                  <a:lnTo>
                    <a:pt x="856" y="92"/>
                  </a:lnTo>
                  <a:lnTo>
                    <a:pt x="855" y="93"/>
                  </a:lnTo>
                  <a:lnTo>
                    <a:pt x="855" y="94"/>
                  </a:lnTo>
                  <a:lnTo>
                    <a:pt x="854" y="95"/>
                  </a:lnTo>
                  <a:lnTo>
                    <a:pt x="854" y="96"/>
                  </a:lnTo>
                  <a:lnTo>
                    <a:pt x="854" y="96"/>
                  </a:lnTo>
                  <a:lnTo>
                    <a:pt x="855" y="97"/>
                  </a:lnTo>
                  <a:lnTo>
                    <a:pt x="855" y="98"/>
                  </a:lnTo>
                  <a:lnTo>
                    <a:pt x="856" y="99"/>
                  </a:lnTo>
                  <a:lnTo>
                    <a:pt x="856" y="101"/>
                  </a:lnTo>
                  <a:lnTo>
                    <a:pt x="858" y="102"/>
                  </a:lnTo>
                  <a:lnTo>
                    <a:pt x="860" y="104"/>
                  </a:lnTo>
                  <a:lnTo>
                    <a:pt x="862" y="106"/>
                  </a:lnTo>
                  <a:lnTo>
                    <a:pt x="866" y="107"/>
                  </a:lnTo>
                  <a:lnTo>
                    <a:pt x="873" y="111"/>
                  </a:lnTo>
                  <a:lnTo>
                    <a:pt x="879" y="115"/>
                  </a:lnTo>
                  <a:lnTo>
                    <a:pt x="882" y="118"/>
                  </a:lnTo>
                  <a:lnTo>
                    <a:pt x="891" y="124"/>
                  </a:lnTo>
                  <a:lnTo>
                    <a:pt x="895" y="127"/>
                  </a:lnTo>
                  <a:lnTo>
                    <a:pt x="898" y="128"/>
                  </a:lnTo>
                  <a:lnTo>
                    <a:pt x="900" y="129"/>
                  </a:lnTo>
                  <a:lnTo>
                    <a:pt x="902" y="130"/>
                  </a:lnTo>
                  <a:lnTo>
                    <a:pt x="905" y="130"/>
                  </a:lnTo>
                  <a:lnTo>
                    <a:pt x="908" y="131"/>
                  </a:lnTo>
                  <a:lnTo>
                    <a:pt x="912" y="132"/>
                  </a:lnTo>
                  <a:lnTo>
                    <a:pt x="915" y="132"/>
                  </a:lnTo>
                  <a:lnTo>
                    <a:pt x="918" y="133"/>
                  </a:lnTo>
                  <a:lnTo>
                    <a:pt x="922" y="133"/>
                  </a:lnTo>
                  <a:lnTo>
                    <a:pt x="925" y="133"/>
                  </a:lnTo>
                  <a:lnTo>
                    <a:pt x="928" y="132"/>
                  </a:lnTo>
                  <a:lnTo>
                    <a:pt x="931" y="132"/>
                  </a:lnTo>
                  <a:lnTo>
                    <a:pt x="934" y="132"/>
                  </a:lnTo>
                  <a:lnTo>
                    <a:pt x="936" y="131"/>
                  </a:lnTo>
                  <a:lnTo>
                    <a:pt x="946" y="129"/>
                  </a:lnTo>
                  <a:lnTo>
                    <a:pt x="948" y="129"/>
                  </a:lnTo>
                  <a:lnTo>
                    <a:pt x="951" y="129"/>
                  </a:lnTo>
                  <a:lnTo>
                    <a:pt x="954" y="129"/>
                  </a:lnTo>
                  <a:lnTo>
                    <a:pt x="957" y="129"/>
                  </a:lnTo>
                  <a:lnTo>
                    <a:pt x="959" y="130"/>
                  </a:lnTo>
                  <a:lnTo>
                    <a:pt x="962" y="130"/>
                  </a:lnTo>
                  <a:lnTo>
                    <a:pt x="964" y="131"/>
                  </a:lnTo>
                  <a:lnTo>
                    <a:pt x="966" y="132"/>
                  </a:lnTo>
                  <a:lnTo>
                    <a:pt x="967" y="133"/>
                  </a:lnTo>
                  <a:lnTo>
                    <a:pt x="969" y="135"/>
                  </a:lnTo>
                  <a:lnTo>
                    <a:pt x="971" y="138"/>
                  </a:lnTo>
                  <a:lnTo>
                    <a:pt x="977" y="145"/>
                  </a:lnTo>
                  <a:lnTo>
                    <a:pt x="981" y="149"/>
                  </a:lnTo>
                  <a:lnTo>
                    <a:pt x="983" y="152"/>
                  </a:lnTo>
                  <a:lnTo>
                    <a:pt x="990" y="156"/>
                  </a:lnTo>
                  <a:lnTo>
                    <a:pt x="996" y="164"/>
                  </a:lnTo>
                  <a:lnTo>
                    <a:pt x="999" y="164"/>
                  </a:lnTo>
                  <a:lnTo>
                    <a:pt x="1001" y="166"/>
                  </a:lnTo>
                  <a:lnTo>
                    <a:pt x="1004" y="167"/>
                  </a:lnTo>
                  <a:lnTo>
                    <a:pt x="1005" y="167"/>
                  </a:lnTo>
                  <a:lnTo>
                    <a:pt x="1014" y="169"/>
                  </a:lnTo>
                  <a:lnTo>
                    <a:pt x="1016" y="169"/>
                  </a:lnTo>
                  <a:lnTo>
                    <a:pt x="1018" y="170"/>
                  </a:lnTo>
                  <a:lnTo>
                    <a:pt x="1021" y="171"/>
                  </a:lnTo>
                  <a:lnTo>
                    <a:pt x="1024" y="172"/>
                  </a:lnTo>
                  <a:lnTo>
                    <a:pt x="1026" y="174"/>
                  </a:lnTo>
                  <a:lnTo>
                    <a:pt x="1027" y="175"/>
                  </a:lnTo>
                  <a:lnTo>
                    <a:pt x="1028" y="175"/>
                  </a:lnTo>
                  <a:lnTo>
                    <a:pt x="1029" y="177"/>
                  </a:lnTo>
                  <a:lnTo>
                    <a:pt x="1030" y="178"/>
                  </a:lnTo>
                  <a:lnTo>
                    <a:pt x="1030" y="180"/>
                  </a:lnTo>
                  <a:lnTo>
                    <a:pt x="1031" y="181"/>
                  </a:lnTo>
                  <a:lnTo>
                    <a:pt x="1032" y="183"/>
                  </a:lnTo>
                  <a:lnTo>
                    <a:pt x="1033" y="190"/>
                  </a:lnTo>
                  <a:lnTo>
                    <a:pt x="1033" y="192"/>
                  </a:lnTo>
                  <a:lnTo>
                    <a:pt x="1034" y="193"/>
                  </a:lnTo>
                  <a:lnTo>
                    <a:pt x="1034" y="194"/>
                  </a:lnTo>
                  <a:lnTo>
                    <a:pt x="1035" y="194"/>
                  </a:lnTo>
                  <a:lnTo>
                    <a:pt x="1036" y="195"/>
                  </a:lnTo>
                  <a:lnTo>
                    <a:pt x="1037" y="196"/>
                  </a:lnTo>
                  <a:lnTo>
                    <a:pt x="1038" y="197"/>
                  </a:lnTo>
                  <a:lnTo>
                    <a:pt x="1045" y="198"/>
                  </a:lnTo>
                  <a:lnTo>
                    <a:pt x="1051" y="199"/>
                  </a:lnTo>
                  <a:lnTo>
                    <a:pt x="1057" y="201"/>
                  </a:lnTo>
                  <a:lnTo>
                    <a:pt x="1061" y="203"/>
                  </a:lnTo>
                  <a:lnTo>
                    <a:pt x="1067" y="206"/>
                  </a:lnTo>
                  <a:lnTo>
                    <a:pt x="1083" y="215"/>
                  </a:lnTo>
                  <a:lnTo>
                    <a:pt x="1085" y="216"/>
                  </a:lnTo>
                  <a:lnTo>
                    <a:pt x="1086" y="217"/>
                  </a:lnTo>
                  <a:lnTo>
                    <a:pt x="1087" y="218"/>
                  </a:lnTo>
                  <a:lnTo>
                    <a:pt x="1088" y="219"/>
                  </a:lnTo>
                  <a:lnTo>
                    <a:pt x="1088" y="221"/>
                  </a:lnTo>
                  <a:lnTo>
                    <a:pt x="1088" y="221"/>
                  </a:lnTo>
                  <a:lnTo>
                    <a:pt x="1089" y="234"/>
                  </a:lnTo>
                  <a:lnTo>
                    <a:pt x="1089" y="238"/>
                  </a:lnTo>
                  <a:lnTo>
                    <a:pt x="1090" y="247"/>
                  </a:lnTo>
                  <a:lnTo>
                    <a:pt x="1091" y="257"/>
                  </a:lnTo>
                  <a:lnTo>
                    <a:pt x="1091" y="261"/>
                  </a:lnTo>
                  <a:lnTo>
                    <a:pt x="1092" y="271"/>
                  </a:lnTo>
                  <a:lnTo>
                    <a:pt x="1092" y="274"/>
                  </a:lnTo>
                  <a:lnTo>
                    <a:pt x="1092" y="277"/>
                  </a:lnTo>
                  <a:lnTo>
                    <a:pt x="1091" y="278"/>
                  </a:lnTo>
                  <a:lnTo>
                    <a:pt x="1091" y="279"/>
                  </a:lnTo>
                  <a:lnTo>
                    <a:pt x="1090" y="281"/>
                  </a:lnTo>
                  <a:lnTo>
                    <a:pt x="1089" y="282"/>
                  </a:lnTo>
                  <a:lnTo>
                    <a:pt x="1088" y="284"/>
                  </a:lnTo>
                  <a:lnTo>
                    <a:pt x="1083" y="288"/>
                  </a:lnTo>
                  <a:lnTo>
                    <a:pt x="1083" y="289"/>
                  </a:lnTo>
                  <a:lnTo>
                    <a:pt x="1081" y="290"/>
                  </a:lnTo>
                  <a:lnTo>
                    <a:pt x="1080" y="292"/>
                  </a:lnTo>
                  <a:lnTo>
                    <a:pt x="1079" y="294"/>
                  </a:lnTo>
                  <a:lnTo>
                    <a:pt x="1078" y="297"/>
                  </a:lnTo>
                  <a:lnTo>
                    <a:pt x="1076" y="303"/>
                  </a:lnTo>
                  <a:lnTo>
                    <a:pt x="1073" y="311"/>
                  </a:lnTo>
                  <a:lnTo>
                    <a:pt x="1072" y="313"/>
                  </a:lnTo>
                  <a:lnTo>
                    <a:pt x="1072" y="316"/>
                  </a:lnTo>
                  <a:lnTo>
                    <a:pt x="1071" y="327"/>
                  </a:lnTo>
                  <a:lnTo>
                    <a:pt x="1071" y="330"/>
                  </a:lnTo>
                  <a:lnTo>
                    <a:pt x="1071" y="334"/>
                  </a:lnTo>
                  <a:lnTo>
                    <a:pt x="1072" y="341"/>
                  </a:lnTo>
                  <a:lnTo>
                    <a:pt x="1072" y="344"/>
                  </a:lnTo>
                  <a:lnTo>
                    <a:pt x="1072" y="346"/>
                  </a:lnTo>
                  <a:lnTo>
                    <a:pt x="1072" y="349"/>
                  </a:lnTo>
                  <a:lnTo>
                    <a:pt x="1071" y="351"/>
                  </a:lnTo>
                  <a:lnTo>
                    <a:pt x="1070" y="355"/>
                  </a:lnTo>
                  <a:lnTo>
                    <a:pt x="1069" y="358"/>
                  </a:lnTo>
                  <a:lnTo>
                    <a:pt x="1066" y="366"/>
                  </a:lnTo>
                  <a:lnTo>
                    <a:pt x="1065" y="368"/>
                  </a:lnTo>
                  <a:lnTo>
                    <a:pt x="1065" y="369"/>
                  </a:lnTo>
                  <a:lnTo>
                    <a:pt x="1065" y="371"/>
                  </a:lnTo>
                  <a:lnTo>
                    <a:pt x="1065" y="374"/>
                  </a:lnTo>
                  <a:lnTo>
                    <a:pt x="1064" y="378"/>
                  </a:lnTo>
                  <a:lnTo>
                    <a:pt x="1064" y="384"/>
                  </a:lnTo>
                  <a:lnTo>
                    <a:pt x="1064" y="387"/>
                  </a:lnTo>
                  <a:lnTo>
                    <a:pt x="1064" y="390"/>
                  </a:lnTo>
                  <a:lnTo>
                    <a:pt x="1064" y="392"/>
                  </a:lnTo>
                  <a:lnTo>
                    <a:pt x="1063" y="395"/>
                  </a:lnTo>
                  <a:lnTo>
                    <a:pt x="1063" y="398"/>
                  </a:lnTo>
                  <a:lnTo>
                    <a:pt x="1061" y="402"/>
                  </a:lnTo>
                  <a:lnTo>
                    <a:pt x="1061" y="403"/>
                  </a:lnTo>
                  <a:lnTo>
                    <a:pt x="1061" y="406"/>
                  </a:lnTo>
                  <a:lnTo>
                    <a:pt x="1062" y="407"/>
                  </a:lnTo>
                  <a:lnTo>
                    <a:pt x="1064" y="409"/>
                  </a:lnTo>
                  <a:lnTo>
                    <a:pt x="1067" y="411"/>
                  </a:lnTo>
                  <a:lnTo>
                    <a:pt x="1069" y="412"/>
                  </a:lnTo>
                  <a:lnTo>
                    <a:pt x="1070" y="413"/>
                  </a:lnTo>
                  <a:lnTo>
                    <a:pt x="1072" y="414"/>
                  </a:lnTo>
                  <a:lnTo>
                    <a:pt x="1072" y="416"/>
                  </a:lnTo>
                  <a:lnTo>
                    <a:pt x="1072" y="418"/>
                  </a:lnTo>
                  <a:lnTo>
                    <a:pt x="1072" y="419"/>
                  </a:lnTo>
                  <a:lnTo>
                    <a:pt x="1072" y="421"/>
                  </a:lnTo>
                  <a:lnTo>
                    <a:pt x="1072" y="422"/>
                  </a:lnTo>
                  <a:lnTo>
                    <a:pt x="1071" y="424"/>
                  </a:lnTo>
                  <a:lnTo>
                    <a:pt x="1070" y="425"/>
                  </a:lnTo>
                  <a:lnTo>
                    <a:pt x="1069" y="425"/>
                  </a:lnTo>
                  <a:lnTo>
                    <a:pt x="1065" y="429"/>
                  </a:lnTo>
                  <a:lnTo>
                    <a:pt x="1058" y="436"/>
                  </a:lnTo>
                  <a:lnTo>
                    <a:pt x="1055" y="437"/>
                  </a:lnTo>
                  <a:lnTo>
                    <a:pt x="1053" y="439"/>
                  </a:lnTo>
                  <a:lnTo>
                    <a:pt x="1051" y="442"/>
                  </a:lnTo>
                  <a:lnTo>
                    <a:pt x="1047" y="448"/>
                  </a:lnTo>
                  <a:lnTo>
                    <a:pt x="1045" y="450"/>
                  </a:lnTo>
                  <a:lnTo>
                    <a:pt x="1043" y="452"/>
                  </a:lnTo>
                  <a:lnTo>
                    <a:pt x="1042" y="453"/>
                  </a:lnTo>
                  <a:lnTo>
                    <a:pt x="1040" y="454"/>
                  </a:lnTo>
                  <a:lnTo>
                    <a:pt x="1039" y="455"/>
                  </a:lnTo>
                  <a:lnTo>
                    <a:pt x="1038" y="455"/>
                  </a:lnTo>
                  <a:lnTo>
                    <a:pt x="1037" y="455"/>
                  </a:lnTo>
                  <a:lnTo>
                    <a:pt x="1036" y="455"/>
                  </a:lnTo>
                  <a:lnTo>
                    <a:pt x="1034" y="455"/>
                  </a:lnTo>
                  <a:lnTo>
                    <a:pt x="1032" y="454"/>
                  </a:lnTo>
                  <a:lnTo>
                    <a:pt x="1030" y="453"/>
                  </a:lnTo>
                  <a:lnTo>
                    <a:pt x="1024" y="449"/>
                  </a:lnTo>
                  <a:lnTo>
                    <a:pt x="1022" y="448"/>
                  </a:lnTo>
                  <a:lnTo>
                    <a:pt x="1021" y="447"/>
                  </a:lnTo>
                  <a:lnTo>
                    <a:pt x="1020" y="447"/>
                  </a:lnTo>
                  <a:lnTo>
                    <a:pt x="1018" y="447"/>
                  </a:lnTo>
                  <a:lnTo>
                    <a:pt x="1015" y="447"/>
                  </a:lnTo>
                  <a:lnTo>
                    <a:pt x="1014" y="448"/>
                  </a:lnTo>
                  <a:lnTo>
                    <a:pt x="1012" y="449"/>
                  </a:lnTo>
                  <a:lnTo>
                    <a:pt x="1008" y="450"/>
                  </a:lnTo>
                  <a:lnTo>
                    <a:pt x="1005" y="452"/>
                  </a:lnTo>
                  <a:lnTo>
                    <a:pt x="1003" y="453"/>
                  </a:lnTo>
                  <a:lnTo>
                    <a:pt x="999" y="455"/>
                  </a:lnTo>
                  <a:lnTo>
                    <a:pt x="996" y="457"/>
                  </a:lnTo>
                  <a:lnTo>
                    <a:pt x="994" y="459"/>
                  </a:lnTo>
                  <a:lnTo>
                    <a:pt x="992" y="460"/>
                  </a:lnTo>
                  <a:lnTo>
                    <a:pt x="990" y="462"/>
                  </a:lnTo>
                  <a:lnTo>
                    <a:pt x="988" y="465"/>
                  </a:lnTo>
                  <a:lnTo>
                    <a:pt x="986" y="467"/>
                  </a:lnTo>
                  <a:lnTo>
                    <a:pt x="983" y="470"/>
                  </a:lnTo>
                  <a:lnTo>
                    <a:pt x="977" y="479"/>
                  </a:lnTo>
                  <a:lnTo>
                    <a:pt x="974" y="482"/>
                  </a:lnTo>
                  <a:lnTo>
                    <a:pt x="972" y="485"/>
                  </a:lnTo>
                  <a:lnTo>
                    <a:pt x="972" y="487"/>
                  </a:lnTo>
                  <a:lnTo>
                    <a:pt x="971" y="489"/>
                  </a:lnTo>
                  <a:lnTo>
                    <a:pt x="971" y="492"/>
                  </a:lnTo>
                  <a:lnTo>
                    <a:pt x="971" y="494"/>
                  </a:lnTo>
                  <a:lnTo>
                    <a:pt x="971" y="496"/>
                  </a:lnTo>
                  <a:lnTo>
                    <a:pt x="971" y="498"/>
                  </a:lnTo>
                  <a:lnTo>
                    <a:pt x="971" y="499"/>
                  </a:lnTo>
                  <a:lnTo>
                    <a:pt x="972" y="501"/>
                  </a:lnTo>
                  <a:lnTo>
                    <a:pt x="973" y="502"/>
                  </a:lnTo>
                  <a:lnTo>
                    <a:pt x="973" y="503"/>
                  </a:lnTo>
                  <a:lnTo>
                    <a:pt x="975" y="504"/>
                  </a:lnTo>
                  <a:lnTo>
                    <a:pt x="976" y="504"/>
                  </a:lnTo>
                  <a:lnTo>
                    <a:pt x="977" y="504"/>
                  </a:lnTo>
                  <a:lnTo>
                    <a:pt x="979" y="504"/>
                  </a:lnTo>
                  <a:lnTo>
                    <a:pt x="984" y="503"/>
                  </a:lnTo>
                  <a:lnTo>
                    <a:pt x="987" y="502"/>
                  </a:lnTo>
                  <a:lnTo>
                    <a:pt x="990" y="502"/>
                  </a:lnTo>
                  <a:lnTo>
                    <a:pt x="992" y="503"/>
                  </a:lnTo>
                  <a:lnTo>
                    <a:pt x="996" y="504"/>
                  </a:lnTo>
                  <a:lnTo>
                    <a:pt x="998" y="504"/>
                  </a:lnTo>
                  <a:lnTo>
                    <a:pt x="999" y="504"/>
                  </a:lnTo>
                  <a:lnTo>
                    <a:pt x="1001" y="504"/>
                  </a:lnTo>
                  <a:lnTo>
                    <a:pt x="1002" y="505"/>
                  </a:lnTo>
                  <a:lnTo>
                    <a:pt x="1003" y="506"/>
                  </a:lnTo>
                  <a:lnTo>
                    <a:pt x="1003" y="507"/>
                  </a:lnTo>
                  <a:lnTo>
                    <a:pt x="1003" y="508"/>
                  </a:lnTo>
                  <a:lnTo>
                    <a:pt x="1003" y="509"/>
                  </a:lnTo>
                  <a:lnTo>
                    <a:pt x="1002" y="510"/>
                  </a:lnTo>
                  <a:lnTo>
                    <a:pt x="1001" y="512"/>
                  </a:lnTo>
                  <a:lnTo>
                    <a:pt x="999" y="513"/>
                  </a:lnTo>
                  <a:lnTo>
                    <a:pt x="996" y="514"/>
                  </a:lnTo>
                  <a:lnTo>
                    <a:pt x="987" y="518"/>
                  </a:lnTo>
                  <a:lnTo>
                    <a:pt x="986" y="519"/>
                  </a:lnTo>
                  <a:lnTo>
                    <a:pt x="985" y="520"/>
                  </a:lnTo>
                  <a:lnTo>
                    <a:pt x="984" y="521"/>
                  </a:lnTo>
                  <a:lnTo>
                    <a:pt x="984" y="523"/>
                  </a:lnTo>
                  <a:lnTo>
                    <a:pt x="984" y="525"/>
                  </a:lnTo>
                  <a:lnTo>
                    <a:pt x="985" y="526"/>
                  </a:lnTo>
                  <a:lnTo>
                    <a:pt x="985" y="527"/>
                  </a:lnTo>
                  <a:lnTo>
                    <a:pt x="986" y="528"/>
                  </a:lnTo>
                  <a:lnTo>
                    <a:pt x="987" y="529"/>
                  </a:lnTo>
                  <a:lnTo>
                    <a:pt x="991" y="533"/>
                  </a:lnTo>
                  <a:lnTo>
                    <a:pt x="992" y="535"/>
                  </a:lnTo>
                  <a:lnTo>
                    <a:pt x="993" y="537"/>
                  </a:lnTo>
                  <a:lnTo>
                    <a:pt x="994" y="538"/>
                  </a:lnTo>
                  <a:lnTo>
                    <a:pt x="995" y="540"/>
                  </a:lnTo>
                  <a:lnTo>
                    <a:pt x="995" y="542"/>
                  </a:lnTo>
                  <a:lnTo>
                    <a:pt x="995" y="544"/>
                  </a:lnTo>
                  <a:lnTo>
                    <a:pt x="995" y="545"/>
                  </a:lnTo>
                  <a:lnTo>
                    <a:pt x="994" y="546"/>
                  </a:lnTo>
                  <a:lnTo>
                    <a:pt x="993" y="547"/>
                  </a:lnTo>
                  <a:lnTo>
                    <a:pt x="992" y="548"/>
                  </a:lnTo>
                  <a:lnTo>
                    <a:pt x="991" y="548"/>
                  </a:lnTo>
                  <a:lnTo>
                    <a:pt x="990" y="549"/>
                  </a:lnTo>
                  <a:lnTo>
                    <a:pt x="988" y="549"/>
                  </a:lnTo>
                  <a:lnTo>
                    <a:pt x="982" y="549"/>
                  </a:lnTo>
                  <a:lnTo>
                    <a:pt x="981" y="549"/>
                  </a:lnTo>
                  <a:lnTo>
                    <a:pt x="981" y="549"/>
                  </a:lnTo>
                  <a:lnTo>
                    <a:pt x="981" y="550"/>
                  </a:lnTo>
                  <a:lnTo>
                    <a:pt x="980" y="550"/>
                  </a:lnTo>
                  <a:lnTo>
                    <a:pt x="981" y="551"/>
                  </a:lnTo>
                  <a:lnTo>
                    <a:pt x="981" y="553"/>
                  </a:lnTo>
                  <a:lnTo>
                    <a:pt x="983" y="554"/>
                  </a:lnTo>
                  <a:lnTo>
                    <a:pt x="987" y="556"/>
                  </a:lnTo>
                  <a:lnTo>
                    <a:pt x="989" y="558"/>
                  </a:lnTo>
                  <a:lnTo>
                    <a:pt x="991" y="559"/>
                  </a:lnTo>
                  <a:lnTo>
                    <a:pt x="992" y="560"/>
                  </a:lnTo>
                  <a:lnTo>
                    <a:pt x="992" y="560"/>
                  </a:lnTo>
                  <a:lnTo>
                    <a:pt x="992" y="562"/>
                  </a:lnTo>
                  <a:lnTo>
                    <a:pt x="992" y="564"/>
                  </a:lnTo>
                  <a:lnTo>
                    <a:pt x="991" y="566"/>
                  </a:lnTo>
                  <a:lnTo>
                    <a:pt x="991" y="567"/>
                  </a:lnTo>
                  <a:lnTo>
                    <a:pt x="991" y="568"/>
                  </a:lnTo>
                  <a:lnTo>
                    <a:pt x="992" y="568"/>
                  </a:lnTo>
                  <a:lnTo>
                    <a:pt x="992" y="569"/>
                  </a:lnTo>
                  <a:lnTo>
                    <a:pt x="992" y="570"/>
                  </a:lnTo>
                  <a:lnTo>
                    <a:pt x="993" y="570"/>
                  </a:lnTo>
                  <a:lnTo>
                    <a:pt x="994" y="571"/>
                  </a:lnTo>
                  <a:lnTo>
                    <a:pt x="996" y="571"/>
                  </a:lnTo>
                  <a:lnTo>
                    <a:pt x="999" y="571"/>
                  </a:lnTo>
                  <a:lnTo>
                    <a:pt x="1004" y="571"/>
                  </a:lnTo>
                  <a:lnTo>
                    <a:pt x="1007" y="571"/>
                  </a:lnTo>
                  <a:lnTo>
                    <a:pt x="1010" y="572"/>
                  </a:lnTo>
                  <a:lnTo>
                    <a:pt x="1012" y="572"/>
                  </a:lnTo>
                  <a:lnTo>
                    <a:pt x="1015" y="572"/>
                  </a:lnTo>
                  <a:lnTo>
                    <a:pt x="1017" y="574"/>
                  </a:lnTo>
                  <a:lnTo>
                    <a:pt x="1019" y="575"/>
                  </a:lnTo>
                  <a:lnTo>
                    <a:pt x="1021" y="577"/>
                  </a:lnTo>
                  <a:lnTo>
                    <a:pt x="1022" y="578"/>
                  </a:lnTo>
                  <a:lnTo>
                    <a:pt x="1023" y="579"/>
                  </a:lnTo>
                  <a:lnTo>
                    <a:pt x="1024" y="581"/>
                  </a:lnTo>
                  <a:lnTo>
                    <a:pt x="1025" y="582"/>
                  </a:lnTo>
                  <a:lnTo>
                    <a:pt x="1026" y="584"/>
                  </a:lnTo>
                  <a:lnTo>
                    <a:pt x="1026" y="587"/>
                  </a:lnTo>
                  <a:lnTo>
                    <a:pt x="1026" y="593"/>
                  </a:lnTo>
                  <a:lnTo>
                    <a:pt x="1026" y="598"/>
                  </a:lnTo>
                  <a:lnTo>
                    <a:pt x="1026" y="602"/>
                  </a:lnTo>
                  <a:lnTo>
                    <a:pt x="1025" y="605"/>
                  </a:lnTo>
                  <a:lnTo>
                    <a:pt x="1024" y="608"/>
                  </a:lnTo>
                  <a:lnTo>
                    <a:pt x="1022" y="618"/>
                  </a:lnTo>
                  <a:lnTo>
                    <a:pt x="1021" y="622"/>
                  </a:lnTo>
                  <a:lnTo>
                    <a:pt x="1021" y="627"/>
                  </a:lnTo>
                  <a:lnTo>
                    <a:pt x="1020" y="636"/>
                  </a:lnTo>
                  <a:lnTo>
                    <a:pt x="1019" y="641"/>
                  </a:lnTo>
                  <a:lnTo>
                    <a:pt x="1019" y="644"/>
                  </a:lnTo>
                  <a:lnTo>
                    <a:pt x="1020" y="654"/>
                  </a:lnTo>
                  <a:lnTo>
                    <a:pt x="1020" y="657"/>
                  </a:lnTo>
                  <a:lnTo>
                    <a:pt x="1020" y="658"/>
                  </a:lnTo>
                  <a:lnTo>
                    <a:pt x="1020" y="659"/>
                  </a:lnTo>
                  <a:lnTo>
                    <a:pt x="1021" y="660"/>
                  </a:lnTo>
                  <a:lnTo>
                    <a:pt x="1021" y="661"/>
                  </a:lnTo>
                  <a:lnTo>
                    <a:pt x="1022" y="661"/>
                  </a:lnTo>
                  <a:lnTo>
                    <a:pt x="1026" y="662"/>
                  </a:lnTo>
                  <a:lnTo>
                    <a:pt x="1027" y="664"/>
                  </a:lnTo>
                  <a:lnTo>
                    <a:pt x="1030" y="666"/>
                  </a:lnTo>
                  <a:lnTo>
                    <a:pt x="1031" y="667"/>
                  </a:lnTo>
                  <a:lnTo>
                    <a:pt x="1032" y="669"/>
                  </a:lnTo>
                  <a:lnTo>
                    <a:pt x="1034" y="671"/>
                  </a:lnTo>
                  <a:lnTo>
                    <a:pt x="1035" y="674"/>
                  </a:lnTo>
                  <a:lnTo>
                    <a:pt x="1036" y="676"/>
                  </a:lnTo>
                  <a:lnTo>
                    <a:pt x="1037" y="680"/>
                  </a:lnTo>
                  <a:lnTo>
                    <a:pt x="1038" y="683"/>
                  </a:lnTo>
                  <a:lnTo>
                    <a:pt x="1038" y="685"/>
                  </a:lnTo>
                  <a:lnTo>
                    <a:pt x="1038" y="688"/>
                  </a:lnTo>
                  <a:lnTo>
                    <a:pt x="1038" y="693"/>
                  </a:lnTo>
                  <a:lnTo>
                    <a:pt x="1038" y="696"/>
                  </a:lnTo>
                  <a:lnTo>
                    <a:pt x="1038" y="700"/>
                  </a:lnTo>
                  <a:lnTo>
                    <a:pt x="1038" y="702"/>
                  </a:lnTo>
                  <a:lnTo>
                    <a:pt x="1037" y="703"/>
                  </a:lnTo>
                  <a:lnTo>
                    <a:pt x="1036" y="703"/>
                  </a:lnTo>
                  <a:lnTo>
                    <a:pt x="1035" y="704"/>
                  </a:lnTo>
                  <a:lnTo>
                    <a:pt x="1034" y="705"/>
                  </a:lnTo>
                  <a:lnTo>
                    <a:pt x="1033" y="708"/>
                  </a:lnTo>
                  <a:lnTo>
                    <a:pt x="1032" y="708"/>
                  </a:lnTo>
                  <a:lnTo>
                    <a:pt x="1031" y="710"/>
                  </a:lnTo>
                  <a:lnTo>
                    <a:pt x="1030" y="713"/>
                  </a:lnTo>
                  <a:lnTo>
                    <a:pt x="1027" y="723"/>
                  </a:lnTo>
                  <a:lnTo>
                    <a:pt x="1026" y="726"/>
                  </a:lnTo>
                  <a:lnTo>
                    <a:pt x="1026" y="728"/>
                  </a:lnTo>
                  <a:lnTo>
                    <a:pt x="1026" y="729"/>
                  </a:lnTo>
                  <a:lnTo>
                    <a:pt x="1026" y="730"/>
                  </a:lnTo>
                  <a:lnTo>
                    <a:pt x="1027" y="731"/>
                  </a:lnTo>
                  <a:lnTo>
                    <a:pt x="1027" y="732"/>
                  </a:lnTo>
                  <a:lnTo>
                    <a:pt x="1028" y="734"/>
                  </a:lnTo>
                  <a:lnTo>
                    <a:pt x="1029" y="736"/>
                  </a:lnTo>
                  <a:lnTo>
                    <a:pt x="1032" y="739"/>
                  </a:lnTo>
                  <a:lnTo>
                    <a:pt x="1033" y="740"/>
                  </a:lnTo>
                  <a:lnTo>
                    <a:pt x="1033" y="741"/>
                  </a:lnTo>
                  <a:lnTo>
                    <a:pt x="1034" y="743"/>
                  </a:lnTo>
                  <a:lnTo>
                    <a:pt x="1035" y="747"/>
                  </a:lnTo>
                  <a:lnTo>
                    <a:pt x="1035" y="751"/>
                  </a:lnTo>
                  <a:lnTo>
                    <a:pt x="1036" y="753"/>
                  </a:lnTo>
                  <a:lnTo>
                    <a:pt x="1036" y="764"/>
                  </a:lnTo>
                  <a:lnTo>
                    <a:pt x="1037" y="766"/>
                  </a:lnTo>
                  <a:lnTo>
                    <a:pt x="1038" y="772"/>
                  </a:lnTo>
                  <a:lnTo>
                    <a:pt x="1038" y="775"/>
                  </a:lnTo>
                  <a:lnTo>
                    <a:pt x="1039" y="778"/>
                  </a:lnTo>
                  <a:lnTo>
                    <a:pt x="1041" y="783"/>
                  </a:lnTo>
                  <a:lnTo>
                    <a:pt x="1044" y="788"/>
                  </a:lnTo>
                  <a:lnTo>
                    <a:pt x="1045" y="790"/>
                  </a:lnTo>
                  <a:lnTo>
                    <a:pt x="1046" y="794"/>
                  </a:lnTo>
                  <a:lnTo>
                    <a:pt x="1046" y="795"/>
                  </a:lnTo>
                  <a:lnTo>
                    <a:pt x="1047" y="796"/>
                  </a:lnTo>
                  <a:lnTo>
                    <a:pt x="1046" y="797"/>
                  </a:lnTo>
                  <a:lnTo>
                    <a:pt x="1045" y="798"/>
                  </a:lnTo>
                  <a:lnTo>
                    <a:pt x="1039" y="808"/>
                  </a:lnTo>
                  <a:lnTo>
                    <a:pt x="1038" y="810"/>
                  </a:lnTo>
                  <a:lnTo>
                    <a:pt x="1037" y="813"/>
                  </a:lnTo>
                  <a:lnTo>
                    <a:pt x="1035" y="817"/>
                  </a:lnTo>
                  <a:lnTo>
                    <a:pt x="1035" y="819"/>
                  </a:lnTo>
                  <a:lnTo>
                    <a:pt x="1034" y="821"/>
                  </a:lnTo>
                  <a:lnTo>
                    <a:pt x="1033" y="830"/>
                  </a:lnTo>
                  <a:lnTo>
                    <a:pt x="1032" y="834"/>
                  </a:lnTo>
                  <a:lnTo>
                    <a:pt x="1032" y="837"/>
                  </a:lnTo>
                  <a:lnTo>
                    <a:pt x="1033" y="841"/>
                  </a:lnTo>
                  <a:lnTo>
                    <a:pt x="1034" y="845"/>
                  </a:lnTo>
                  <a:lnTo>
                    <a:pt x="1035" y="849"/>
                  </a:lnTo>
                  <a:lnTo>
                    <a:pt x="1037" y="853"/>
                  </a:lnTo>
                  <a:lnTo>
                    <a:pt x="1040" y="860"/>
                  </a:lnTo>
                  <a:lnTo>
                    <a:pt x="1042" y="864"/>
                  </a:lnTo>
                  <a:lnTo>
                    <a:pt x="1043" y="865"/>
                  </a:lnTo>
                  <a:lnTo>
                    <a:pt x="1048" y="870"/>
                  </a:lnTo>
                  <a:lnTo>
                    <a:pt x="1049" y="872"/>
                  </a:lnTo>
                  <a:lnTo>
                    <a:pt x="1049" y="874"/>
                  </a:lnTo>
                  <a:lnTo>
                    <a:pt x="1049" y="876"/>
                  </a:lnTo>
                  <a:lnTo>
                    <a:pt x="1050" y="878"/>
                  </a:lnTo>
                  <a:lnTo>
                    <a:pt x="1050" y="880"/>
                  </a:lnTo>
                  <a:lnTo>
                    <a:pt x="1049" y="882"/>
                  </a:lnTo>
                  <a:lnTo>
                    <a:pt x="1048" y="887"/>
                  </a:lnTo>
                  <a:lnTo>
                    <a:pt x="1047" y="891"/>
                  </a:lnTo>
                  <a:lnTo>
                    <a:pt x="1046" y="893"/>
                  </a:lnTo>
                  <a:lnTo>
                    <a:pt x="1045" y="896"/>
                  </a:lnTo>
                  <a:lnTo>
                    <a:pt x="1042" y="900"/>
                  </a:lnTo>
                  <a:lnTo>
                    <a:pt x="1040" y="905"/>
                  </a:lnTo>
                  <a:lnTo>
                    <a:pt x="1038" y="908"/>
                  </a:lnTo>
                  <a:lnTo>
                    <a:pt x="1037" y="914"/>
                  </a:lnTo>
                  <a:lnTo>
                    <a:pt x="1035" y="919"/>
                  </a:lnTo>
                  <a:lnTo>
                    <a:pt x="1033" y="921"/>
                  </a:lnTo>
                  <a:lnTo>
                    <a:pt x="1032" y="923"/>
                  </a:lnTo>
                  <a:lnTo>
                    <a:pt x="1031" y="924"/>
                  </a:lnTo>
                  <a:lnTo>
                    <a:pt x="1029" y="925"/>
                  </a:lnTo>
                  <a:lnTo>
                    <a:pt x="1022" y="931"/>
                  </a:lnTo>
                  <a:lnTo>
                    <a:pt x="1015" y="935"/>
                  </a:lnTo>
                  <a:lnTo>
                    <a:pt x="1014" y="937"/>
                  </a:lnTo>
                  <a:lnTo>
                    <a:pt x="1011" y="939"/>
                  </a:lnTo>
                  <a:lnTo>
                    <a:pt x="1006" y="945"/>
                  </a:lnTo>
                  <a:lnTo>
                    <a:pt x="1005" y="946"/>
                  </a:lnTo>
                  <a:lnTo>
                    <a:pt x="1004" y="947"/>
                  </a:lnTo>
                  <a:lnTo>
                    <a:pt x="1004" y="949"/>
                  </a:lnTo>
                  <a:lnTo>
                    <a:pt x="1003" y="952"/>
                  </a:lnTo>
                  <a:lnTo>
                    <a:pt x="1003" y="955"/>
                  </a:lnTo>
                  <a:lnTo>
                    <a:pt x="1003" y="957"/>
                  </a:lnTo>
                  <a:lnTo>
                    <a:pt x="1003" y="958"/>
                  </a:lnTo>
                  <a:lnTo>
                    <a:pt x="1003" y="961"/>
                  </a:lnTo>
                  <a:lnTo>
                    <a:pt x="1004" y="966"/>
                  </a:lnTo>
                  <a:lnTo>
                    <a:pt x="1004" y="968"/>
                  </a:lnTo>
                  <a:lnTo>
                    <a:pt x="1004" y="968"/>
                  </a:lnTo>
                  <a:lnTo>
                    <a:pt x="1003" y="969"/>
                  </a:lnTo>
                  <a:lnTo>
                    <a:pt x="1003" y="971"/>
                  </a:lnTo>
                  <a:lnTo>
                    <a:pt x="1002" y="972"/>
                  </a:lnTo>
                  <a:lnTo>
                    <a:pt x="1001" y="974"/>
                  </a:lnTo>
                  <a:lnTo>
                    <a:pt x="1001" y="975"/>
                  </a:lnTo>
                  <a:lnTo>
                    <a:pt x="1000" y="976"/>
                  </a:lnTo>
                  <a:lnTo>
                    <a:pt x="998" y="978"/>
                  </a:lnTo>
                  <a:lnTo>
                    <a:pt x="997" y="979"/>
                  </a:lnTo>
                  <a:lnTo>
                    <a:pt x="996" y="980"/>
                  </a:lnTo>
                  <a:lnTo>
                    <a:pt x="991" y="982"/>
                  </a:lnTo>
                  <a:lnTo>
                    <a:pt x="989" y="983"/>
                  </a:lnTo>
                  <a:lnTo>
                    <a:pt x="988" y="984"/>
                  </a:lnTo>
                  <a:lnTo>
                    <a:pt x="987" y="985"/>
                  </a:lnTo>
                  <a:lnTo>
                    <a:pt x="987" y="986"/>
                  </a:lnTo>
                  <a:lnTo>
                    <a:pt x="987" y="987"/>
                  </a:lnTo>
                  <a:lnTo>
                    <a:pt x="987" y="989"/>
                  </a:lnTo>
                  <a:lnTo>
                    <a:pt x="987" y="990"/>
                  </a:lnTo>
                  <a:lnTo>
                    <a:pt x="987" y="991"/>
                  </a:lnTo>
                  <a:lnTo>
                    <a:pt x="987" y="992"/>
                  </a:lnTo>
                  <a:lnTo>
                    <a:pt x="987" y="994"/>
                  </a:lnTo>
                  <a:lnTo>
                    <a:pt x="988" y="996"/>
                  </a:lnTo>
                  <a:lnTo>
                    <a:pt x="989" y="997"/>
                  </a:lnTo>
                  <a:lnTo>
                    <a:pt x="990" y="999"/>
                  </a:lnTo>
                  <a:lnTo>
                    <a:pt x="990" y="1000"/>
                  </a:lnTo>
                  <a:lnTo>
                    <a:pt x="992" y="1002"/>
                  </a:lnTo>
                  <a:lnTo>
                    <a:pt x="993" y="1003"/>
                  </a:lnTo>
                  <a:lnTo>
                    <a:pt x="997" y="1006"/>
                  </a:lnTo>
                  <a:lnTo>
                    <a:pt x="999" y="1007"/>
                  </a:lnTo>
                  <a:lnTo>
                    <a:pt x="999" y="1008"/>
                  </a:lnTo>
                  <a:lnTo>
                    <a:pt x="999" y="1009"/>
                  </a:lnTo>
                  <a:lnTo>
                    <a:pt x="999" y="1011"/>
                  </a:lnTo>
                  <a:lnTo>
                    <a:pt x="999" y="1013"/>
                  </a:lnTo>
                  <a:lnTo>
                    <a:pt x="998" y="1015"/>
                  </a:lnTo>
                  <a:lnTo>
                    <a:pt x="997" y="1017"/>
                  </a:lnTo>
                  <a:lnTo>
                    <a:pt x="996" y="1018"/>
                  </a:lnTo>
                  <a:lnTo>
                    <a:pt x="996" y="1019"/>
                  </a:lnTo>
                  <a:lnTo>
                    <a:pt x="995" y="1019"/>
                  </a:lnTo>
                  <a:lnTo>
                    <a:pt x="993" y="1020"/>
                  </a:lnTo>
                  <a:lnTo>
                    <a:pt x="990" y="1022"/>
                  </a:lnTo>
                  <a:lnTo>
                    <a:pt x="989" y="1023"/>
                  </a:lnTo>
                  <a:lnTo>
                    <a:pt x="987" y="1024"/>
                  </a:lnTo>
                  <a:lnTo>
                    <a:pt x="984" y="1027"/>
                  </a:lnTo>
                  <a:lnTo>
                    <a:pt x="981" y="1030"/>
                  </a:lnTo>
                  <a:lnTo>
                    <a:pt x="979" y="1033"/>
                  </a:lnTo>
                  <a:lnTo>
                    <a:pt x="978" y="1034"/>
                  </a:lnTo>
                  <a:lnTo>
                    <a:pt x="978" y="1035"/>
                  </a:lnTo>
                  <a:lnTo>
                    <a:pt x="977" y="1036"/>
                  </a:lnTo>
                  <a:lnTo>
                    <a:pt x="976" y="1038"/>
                  </a:lnTo>
                  <a:lnTo>
                    <a:pt x="976" y="1040"/>
                  </a:lnTo>
                  <a:lnTo>
                    <a:pt x="976" y="1042"/>
                  </a:lnTo>
                  <a:lnTo>
                    <a:pt x="976" y="1045"/>
                  </a:lnTo>
                  <a:lnTo>
                    <a:pt x="977" y="1047"/>
                  </a:lnTo>
                  <a:lnTo>
                    <a:pt x="978" y="1049"/>
                  </a:lnTo>
                  <a:lnTo>
                    <a:pt x="981" y="1054"/>
                  </a:lnTo>
                  <a:lnTo>
                    <a:pt x="982" y="1057"/>
                  </a:lnTo>
                  <a:lnTo>
                    <a:pt x="986" y="1061"/>
                  </a:lnTo>
                  <a:lnTo>
                    <a:pt x="987" y="1063"/>
                  </a:lnTo>
                  <a:lnTo>
                    <a:pt x="988" y="1065"/>
                  </a:lnTo>
                  <a:lnTo>
                    <a:pt x="989" y="1067"/>
                  </a:lnTo>
                  <a:lnTo>
                    <a:pt x="989" y="1070"/>
                  </a:lnTo>
                  <a:lnTo>
                    <a:pt x="990" y="1072"/>
                  </a:lnTo>
                  <a:lnTo>
                    <a:pt x="990" y="1074"/>
                  </a:lnTo>
                  <a:lnTo>
                    <a:pt x="989" y="1076"/>
                  </a:lnTo>
                  <a:lnTo>
                    <a:pt x="989" y="1077"/>
                  </a:lnTo>
                  <a:lnTo>
                    <a:pt x="989" y="1079"/>
                  </a:lnTo>
                  <a:lnTo>
                    <a:pt x="988" y="1080"/>
                  </a:lnTo>
                  <a:lnTo>
                    <a:pt x="986" y="1082"/>
                  </a:lnTo>
                  <a:lnTo>
                    <a:pt x="982" y="1085"/>
                  </a:lnTo>
                  <a:lnTo>
                    <a:pt x="981" y="1087"/>
                  </a:lnTo>
                  <a:lnTo>
                    <a:pt x="979" y="1090"/>
                  </a:lnTo>
                  <a:lnTo>
                    <a:pt x="978" y="1093"/>
                  </a:lnTo>
                  <a:lnTo>
                    <a:pt x="977" y="1094"/>
                  </a:lnTo>
                  <a:lnTo>
                    <a:pt x="976" y="1096"/>
                  </a:lnTo>
                  <a:lnTo>
                    <a:pt x="973" y="1106"/>
                  </a:lnTo>
                  <a:lnTo>
                    <a:pt x="970" y="1113"/>
                  </a:lnTo>
                  <a:lnTo>
                    <a:pt x="970" y="1114"/>
                  </a:lnTo>
                  <a:lnTo>
                    <a:pt x="969" y="1116"/>
                  </a:lnTo>
                  <a:lnTo>
                    <a:pt x="968" y="1116"/>
                  </a:lnTo>
                  <a:lnTo>
                    <a:pt x="966" y="1117"/>
                  </a:lnTo>
                  <a:lnTo>
                    <a:pt x="958" y="1120"/>
                  </a:lnTo>
                  <a:lnTo>
                    <a:pt x="955" y="1122"/>
                  </a:lnTo>
                  <a:lnTo>
                    <a:pt x="952" y="1124"/>
                  </a:lnTo>
                  <a:lnTo>
                    <a:pt x="949" y="1126"/>
                  </a:lnTo>
                  <a:lnTo>
                    <a:pt x="942" y="1131"/>
                  </a:lnTo>
                  <a:lnTo>
                    <a:pt x="937" y="1134"/>
                  </a:lnTo>
                  <a:lnTo>
                    <a:pt x="935" y="1137"/>
                  </a:lnTo>
                  <a:lnTo>
                    <a:pt x="933" y="1138"/>
                  </a:lnTo>
                  <a:lnTo>
                    <a:pt x="931" y="1138"/>
                  </a:lnTo>
                  <a:lnTo>
                    <a:pt x="928" y="1139"/>
                  </a:lnTo>
                  <a:lnTo>
                    <a:pt x="926" y="1140"/>
                  </a:lnTo>
                  <a:lnTo>
                    <a:pt x="924" y="1140"/>
                  </a:lnTo>
                  <a:lnTo>
                    <a:pt x="923" y="1140"/>
                  </a:lnTo>
                  <a:lnTo>
                    <a:pt x="920" y="1140"/>
                  </a:lnTo>
                  <a:lnTo>
                    <a:pt x="918" y="1140"/>
                  </a:lnTo>
                  <a:lnTo>
                    <a:pt x="914" y="1139"/>
                  </a:lnTo>
                  <a:lnTo>
                    <a:pt x="906" y="1138"/>
                  </a:lnTo>
                  <a:lnTo>
                    <a:pt x="904" y="1138"/>
                  </a:lnTo>
                  <a:lnTo>
                    <a:pt x="903" y="1138"/>
                  </a:lnTo>
                  <a:lnTo>
                    <a:pt x="901" y="1138"/>
                  </a:lnTo>
                  <a:lnTo>
                    <a:pt x="901" y="1138"/>
                  </a:lnTo>
                  <a:lnTo>
                    <a:pt x="900" y="1139"/>
                  </a:lnTo>
                  <a:lnTo>
                    <a:pt x="899" y="1140"/>
                  </a:lnTo>
                  <a:lnTo>
                    <a:pt x="898" y="1141"/>
                  </a:lnTo>
                  <a:lnTo>
                    <a:pt x="896" y="1150"/>
                  </a:lnTo>
                  <a:lnTo>
                    <a:pt x="895" y="1156"/>
                  </a:lnTo>
                  <a:lnTo>
                    <a:pt x="895" y="1161"/>
                  </a:lnTo>
                  <a:lnTo>
                    <a:pt x="895" y="1170"/>
                  </a:lnTo>
                  <a:lnTo>
                    <a:pt x="894" y="1174"/>
                  </a:lnTo>
                  <a:lnTo>
                    <a:pt x="893" y="1178"/>
                  </a:lnTo>
                  <a:lnTo>
                    <a:pt x="891" y="1184"/>
                  </a:lnTo>
                  <a:lnTo>
                    <a:pt x="891" y="1186"/>
                  </a:lnTo>
                  <a:lnTo>
                    <a:pt x="891" y="1188"/>
                  </a:lnTo>
                  <a:lnTo>
                    <a:pt x="891" y="1191"/>
                  </a:lnTo>
                  <a:lnTo>
                    <a:pt x="892" y="1194"/>
                  </a:lnTo>
                  <a:lnTo>
                    <a:pt x="892" y="1196"/>
                  </a:lnTo>
                  <a:lnTo>
                    <a:pt x="895" y="1203"/>
                  </a:lnTo>
                  <a:lnTo>
                    <a:pt x="896" y="1206"/>
                  </a:lnTo>
                  <a:lnTo>
                    <a:pt x="897" y="1210"/>
                  </a:lnTo>
                  <a:lnTo>
                    <a:pt x="900" y="1220"/>
                  </a:lnTo>
                  <a:lnTo>
                    <a:pt x="901" y="1224"/>
                  </a:lnTo>
                  <a:lnTo>
                    <a:pt x="901" y="1228"/>
                  </a:lnTo>
                  <a:lnTo>
                    <a:pt x="901" y="1230"/>
                  </a:lnTo>
                  <a:lnTo>
                    <a:pt x="901" y="1233"/>
                  </a:lnTo>
                  <a:lnTo>
                    <a:pt x="900" y="1236"/>
                  </a:lnTo>
                  <a:lnTo>
                    <a:pt x="899" y="1238"/>
                  </a:lnTo>
                  <a:lnTo>
                    <a:pt x="899" y="1240"/>
                  </a:lnTo>
                  <a:lnTo>
                    <a:pt x="898" y="1240"/>
                  </a:lnTo>
                  <a:lnTo>
                    <a:pt x="897" y="1242"/>
                  </a:lnTo>
                  <a:lnTo>
                    <a:pt x="895" y="1244"/>
                  </a:lnTo>
                  <a:lnTo>
                    <a:pt x="894" y="1245"/>
                  </a:lnTo>
                  <a:lnTo>
                    <a:pt x="892" y="1247"/>
                  </a:lnTo>
                  <a:lnTo>
                    <a:pt x="890" y="1249"/>
                  </a:lnTo>
                  <a:lnTo>
                    <a:pt x="888" y="1251"/>
                  </a:lnTo>
                  <a:lnTo>
                    <a:pt x="886" y="1252"/>
                  </a:lnTo>
                  <a:lnTo>
                    <a:pt x="880" y="1253"/>
                  </a:lnTo>
                  <a:lnTo>
                    <a:pt x="879" y="1254"/>
                  </a:lnTo>
                  <a:lnTo>
                    <a:pt x="878" y="1255"/>
                  </a:lnTo>
                  <a:lnTo>
                    <a:pt x="876" y="1257"/>
                  </a:lnTo>
                  <a:lnTo>
                    <a:pt x="874" y="1258"/>
                  </a:lnTo>
                  <a:lnTo>
                    <a:pt x="872" y="1260"/>
                  </a:lnTo>
                  <a:lnTo>
                    <a:pt x="870" y="1262"/>
                  </a:lnTo>
                  <a:lnTo>
                    <a:pt x="868" y="1263"/>
                  </a:lnTo>
                  <a:lnTo>
                    <a:pt x="867" y="1266"/>
                  </a:lnTo>
                  <a:lnTo>
                    <a:pt x="864" y="1273"/>
                  </a:lnTo>
                  <a:lnTo>
                    <a:pt x="860" y="1278"/>
                  </a:lnTo>
                  <a:lnTo>
                    <a:pt x="859" y="1281"/>
                  </a:lnTo>
                  <a:lnTo>
                    <a:pt x="858" y="1284"/>
                  </a:lnTo>
                  <a:lnTo>
                    <a:pt x="857" y="1287"/>
                  </a:lnTo>
                  <a:lnTo>
                    <a:pt x="856" y="1292"/>
                  </a:lnTo>
                  <a:lnTo>
                    <a:pt x="855" y="1297"/>
                  </a:lnTo>
                  <a:lnTo>
                    <a:pt x="854" y="1302"/>
                  </a:lnTo>
                  <a:lnTo>
                    <a:pt x="853" y="1306"/>
                  </a:lnTo>
                  <a:lnTo>
                    <a:pt x="853" y="1310"/>
                  </a:lnTo>
                  <a:lnTo>
                    <a:pt x="853" y="1314"/>
                  </a:lnTo>
                  <a:lnTo>
                    <a:pt x="853" y="1317"/>
                  </a:lnTo>
                  <a:lnTo>
                    <a:pt x="853" y="1320"/>
                  </a:lnTo>
                  <a:lnTo>
                    <a:pt x="853" y="1323"/>
                  </a:lnTo>
                  <a:lnTo>
                    <a:pt x="854" y="1326"/>
                  </a:lnTo>
                  <a:lnTo>
                    <a:pt x="854" y="1329"/>
                  </a:lnTo>
                  <a:lnTo>
                    <a:pt x="855" y="1331"/>
                  </a:lnTo>
                  <a:lnTo>
                    <a:pt x="856" y="1333"/>
                  </a:lnTo>
                  <a:lnTo>
                    <a:pt x="858" y="1343"/>
                  </a:lnTo>
                  <a:lnTo>
                    <a:pt x="859" y="1345"/>
                  </a:lnTo>
                  <a:lnTo>
                    <a:pt x="859" y="1346"/>
                  </a:lnTo>
                  <a:lnTo>
                    <a:pt x="859" y="1345"/>
                  </a:lnTo>
                  <a:lnTo>
                    <a:pt x="858" y="1345"/>
                  </a:lnTo>
                  <a:lnTo>
                    <a:pt x="856" y="1344"/>
                  </a:lnTo>
                  <a:lnTo>
                    <a:pt x="854" y="1344"/>
                  </a:lnTo>
                  <a:lnTo>
                    <a:pt x="852" y="1344"/>
                  </a:lnTo>
                  <a:lnTo>
                    <a:pt x="849" y="1344"/>
                  </a:lnTo>
                  <a:lnTo>
                    <a:pt x="846" y="1344"/>
                  </a:lnTo>
                  <a:lnTo>
                    <a:pt x="844" y="1345"/>
                  </a:lnTo>
                  <a:lnTo>
                    <a:pt x="842" y="1346"/>
                  </a:lnTo>
                  <a:lnTo>
                    <a:pt x="839" y="1347"/>
                  </a:lnTo>
                  <a:lnTo>
                    <a:pt x="836" y="1348"/>
                  </a:lnTo>
                  <a:lnTo>
                    <a:pt x="834" y="1350"/>
                  </a:lnTo>
                  <a:lnTo>
                    <a:pt x="833" y="1352"/>
                  </a:lnTo>
                  <a:lnTo>
                    <a:pt x="831" y="1353"/>
                  </a:lnTo>
                  <a:lnTo>
                    <a:pt x="829" y="1354"/>
                  </a:lnTo>
                  <a:lnTo>
                    <a:pt x="828" y="1356"/>
                  </a:lnTo>
                  <a:lnTo>
                    <a:pt x="827" y="1358"/>
                  </a:lnTo>
                  <a:lnTo>
                    <a:pt x="823" y="1365"/>
                  </a:lnTo>
                  <a:lnTo>
                    <a:pt x="822" y="1367"/>
                  </a:lnTo>
                  <a:lnTo>
                    <a:pt x="822" y="1368"/>
                  </a:lnTo>
                  <a:lnTo>
                    <a:pt x="821" y="1368"/>
                  </a:lnTo>
                  <a:lnTo>
                    <a:pt x="820" y="1369"/>
                  </a:lnTo>
                  <a:lnTo>
                    <a:pt x="819" y="1370"/>
                  </a:lnTo>
                  <a:lnTo>
                    <a:pt x="817" y="1370"/>
                  </a:lnTo>
                  <a:lnTo>
                    <a:pt x="815" y="1370"/>
                  </a:lnTo>
                  <a:lnTo>
                    <a:pt x="813" y="1370"/>
                  </a:lnTo>
                  <a:lnTo>
                    <a:pt x="812" y="1369"/>
                  </a:lnTo>
                  <a:lnTo>
                    <a:pt x="810" y="1369"/>
                  </a:lnTo>
                  <a:lnTo>
                    <a:pt x="809" y="1368"/>
                  </a:lnTo>
                  <a:lnTo>
                    <a:pt x="805" y="1366"/>
                  </a:lnTo>
                  <a:lnTo>
                    <a:pt x="798" y="1362"/>
                  </a:lnTo>
                  <a:lnTo>
                    <a:pt x="794" y="1359"/>
                  </a:lnTo>
                  <a:lnTo>
                    <a:pt x="786" y="1354"/>
                  </a:lnTo>
                  <a:lnTo>
                    <a:pt x="776" y="1346"/>
                  </a:lnTo>
                  <a:lnTo>
                    <a:pt x="771" y="1342"/>
                  </a:lnTo>
                  <a:lnTo>
                    <a:pt x="766" y="1339"/>
                  </a:lnTo>
                  <a:lnTo>
                    <a:pt x="764" y="1336"/>
                  </a:lnTo>
                  <a:lnTo>
                    <a:pt x="760" y="1333"/>
                  </a:lnTo>
                  <a:lnTo>
                    <a:pt x="756" y="1330"/>
                  </a:lnTo>
                  <a:lnTo>
                    <a:pt x="754" y="1327"/>
                  </a:lnTo>
                  <a:lnTo>
                    <a:pt x="753" y="1324"/>
                  </a:lnTo>
                  <a:lnTo>
                    <a:pt x="751" y="1321"/>
                  </a:lnTo>
                  <a:lnTo>
                    <a:pt x="750" y="1320"/>
                  </a:lnTo>
                  <a:lnTo>
                    <a:pt x="749" y="1317"/>
                  </a:lnTo>
                  <a:lnTo>
                    <a:pt x="748" y="1313"/>
                  </a:lnTo>
                  <a:lnTo>
                    <a:pt x="748" y="1310"/>
                  </a:lnTo>
                  <a:lnTo>
                    <a:pt x="746" y="1299"/>
                  </a:lnTo>
                  <a:lnTo>
                    <a:pt x="745" y="1288"/>
                  </a:lnTo>
                  <a:lnTo>
                    <a:pt x="744" y="1278"/>
                  </a:lnTo>
                  <a:lnTo>
                    <a:pt x="744" y="1275"/>
                  </a:lnTo>
                  <a:lnTo>
                    <a:pt x="743" y="1270"/>
                  </a:lnTo>
                  <a:lnTo>
                    <a:pt x="742" y="1266"/>
                  </a:lnTo>
                  <a:lnTo>
                    <a:pt x="742" y="1262"/>
                  </a:lnTo>
                  <a:lnTo>
                    <a:pt x="740" y="1252"/>
                  </a:lnTo>
                  <a:lnTo>
                    <a:pt x="738" y="1249"/>
                  </a:lnTo>
                  <a:lnTo>
                    <a:pt x="737" y="1247"/>
                  </a:lnTo>
                  <a:lnTo>
                    <a:pt x="736" y="1245"/>
                  </a:lnTo>
                  <a:lnTo>
                    <a:pt x="735" y="1243"/>
                  </a:lnTo>
                  <a:lnTo>
                    <a:pt x="732" y="1240"/>
                  </a:lnTo>
                  <a:lnTo>
                    <a:pt x="727" y="1233"/>
                  </a:lnTo>
                  <a:lnTo>
                    <a:pt x="720" y="1226"/>
                  </a:lnTo>
                  <a:lnTo>
                    <a:pt x="713" y="1217"/>
                  </a:lnTo>
                  <a:lnTo>
                    <a:pt x="701" y="1202"/>
                  </a:lnTo>
                  <a:lnTo>
                    <a:pt x="698" y="1199"/>
                  </a:lnTo>
                  <a:lnTo>
                    <a:pt x="696" y="1195"/>
                  </a:lnTo>
                  <a:lnTo>
                    <a:pt x="693" y="1193"/>
                  </a:lnTo>
                  <a:lnTo>
                    <a:pt x="690" y="1190"/>
                  </a:lnTo>
                  <a:lnTo>
                    <a:pt x="685" y="1186"/>
                  </a:lnTo>
                  <a:lnTo>
                    <a:pt x="682" y="1183"/>
                  </a:lnTo>
                  <a:lnTo>
                    <a:pt x="679" y="1181"/>
                  </a:lnTo>
                  <a:lnTo>
                    <a:pt x="675" y="1178"/>
                  </a:lnTo>
                  <a:lnTo>
                    <a:pt x="672" y="1175"/>
                  </a:lnTo>
                  <a:lnTo>
                    <a:pt x="668" y="1172"/>
                  </a:lnTo>
                  <a:lnTo>
                    <a:pt x="663" y="1170"/>
                  </a:lnTo>
                  <a:lnTo>
                    <a:pt x="660" y="1168"/>
                  </a:lnTo>
                  <a:lnTo>
                    <a:pt x="658" y="1167"/>
                  </a:lnTo>
                  <a:lnTo>
                    <a:pt x="655" y="1166"/>
                  </a:lnTo>
                  <a:lnTo>
                    <a:pt x="651" y="1165"/>
                  </a:lnTo>
                  <a:lnTo>
                    <a:pt x="647" y="1164"/>
                  </a:lnTo>
                  <a:lnTo>
                    <a:pt x="642" y="1164"/>
                  </a:lnTo>
                  <a:lnTo>
                    <a:pt x="637" y="1164"/>
                  </a:lnTo>
                  <a:lnTo>
                    <a:pt x="627" y="1164"/>
                  </a:lnTo>
                  <a:lnTo>
                    <a:pt x="621" y="1164"/>
                  </a:lnTo>
                  <a:lnTo>
                    <a:pt x="618" y="1163"/>
                  </a:lnTo>
                  <a:lnTo>
                    <a:pt x="616" y="1163"/>
                  </a:lnTo>
                  <a:lnTo>
                    <a:pt x="613" y="1162"/>
                  </a:lnTo>
                  <a:lnTo>
                    <a:pt x="609" y="1161"/>
                  </a:lnTo>
                  <a:lnTo>
                    <a:pt x="606" y="1161"/>
                  </a:lnTo>
                  <a:lnTo>
                    <a:pt x="603" y="1159"/>
                  </a:lnTo>
                  <a:lnTo>
                    <a:pt x="599" y="1157"/>
                  </a:lnTo>
                  <a:lnTo>
                    <a:pt x="594" y="1155"/>
                  </a:lnTo>
                  <a:lnTo>
                    <a:pt x="591" y="1152"/>
                  </a:lnTo>
                  <a:lnTo>
                    <a:pt x="588" y="1150"/>
                  </a:lnTo>
                  <a:lnTo>
                    <a:pt x="585" y="1147"/>
                  </a:lnTo>
                  <a:lnTo>
                    <a:pt x="583" y="1144"/>
                  </a:lnTo>
                  <a:lnTo>
                    <a:pt x="580" y="1141"/>
                  </a:lnTo>
                  <a:lnTo>
                    <a:pt x="578" y="1138"/>
                  </a:lnTo>
                  <a:lnTo>
                    <a:pt x="577" y="1138"/>
                  </a:lnTo>
                  <a:lnTo>
                    <a:pt x="575" y="1134"/>
                  </a:lnTo>
                  <a:lnTo>
                    <a:pt x="573" y="1131"/>
                  </a:lnTo>
                  <a:lnTo>
                    <a:pt x="572" y="1128"/>
                  </a:lnTo>
                  <a:lnTo>
                    <a:pt x="572" y="1125"/>
                  </a:lnTo>
                  <a:lnTo>
                    <a:pt x="570" y="1113"/>
                  </a:lnTo>
                  <a:lnTo>
                    <a:pt x="569" y="1109"/>
                  </a:lnTo>
                  <a:lnTo>
                    <a:pt x="568" y="1106"/>
                  </a:lnTo>
                  <a:lnTo>
                    <a:pt x="567" y="1104"/>
                  </a:lnTo>
                  <a:lnTo>
                    <a:pt x="566" y="1101"/>
                  </a:lnTo>
                  <a:lnTo>
                    <a:pt x="564" y="1099"/>
                  </a:lnTo>
                  <a:lnTo>
                    <a:pt x="563" y="1097"/>
                  </a:lnTo>
                  <a:lnTo>
                    <a:pt x="560" y="1094"/>
                  </a:lnTo>
                  <a:lnTo>
                    <a:pt x="555" y="1087"/>
                  </a:lnTo>
                  <a:lnTo>
                    <a:pt x="546" y="1078"/>
                  </a:lnTo>
                  <a:lnTo>
                    <a:pt x="534" y="1065"/>
                  </a:lnTo>
                  <a:lnTo>
                    <a:pt x="532" y="1063"/>
                  </a:lnTo>
                  <a:lnTo>
                    <a:pt x="530" y="1061"/>
                  </a:lnTo>
                  <a:lnTo>
                    <a:pt x="528" y="1059"/>
                  </a:lnTo>
                  <a:lnTo>
                    <a:pt x="527" y="1056"/>
                  </a:lnTo>
                  <a:lnTo>
                    <a:pt x="526" y="1054"/>
                  </a:lnTo>
                  <a:lnTo>
                    <a:pt x="523" y="1047"/>
                  </a:lnTo>
                  <a:lnTo>
                    <a:pt x="521" y="1043"/>
                  </a:lnTo>
                  <a:lnTo>
                    <a:pt x="518" y="1039"/>
                  </a:lnTo>
                  <a:lnTo>
                    <a:pt x="513" y="1032"/>
                  </a:lnTo>
                  <a:lnTo>
                    <a:pt x="511" y="1029"/>
                  </a:lnTo>
                  <a:lnTo>
                    <a:pt x="509" y="1026"/>
                  </a:lnTo>
                  <a:lnTo>
                    <a:pt x="504" y="1018"/>
                  </a:lnTo>
                  <a:lnTo>
                    <a:pt x="503" y="1015"/>
                  </a:lnTo>
                  <a:lnTo>
                    <a:pt x="501" y="1014"/>
                  </a:lnTo>
                  <a:lnTo>
                    <a:pt x="500" y="1012"/>
                  </a:lnTo>
                  <a:lnTo>
                    <a:pt x="498" y="1010"/>
                  </a:lnTo>
                  <a:lnTo>
                    <a:pt x="491" y="1003"/>
                  </a:lnTo>
                  <a:lnTo>
                    <a:pt x="488" y="1001"/>
                  </a:lnTo>
                  <a:lnTo>
                    <a:pt x="485" y="998"/>
                  </a:lnTo>
                  <a:lnTo>
                    <a:pt x="481" y="993"/>
                  </a:lnTo>
                  <a:lnTo>
                    <a:pt x="480" y="991"/>
                  </a:lnTo>
                  <a:lnTo>
                    <a:pt x="478" y="989"/>
                  </a:lnTo>
                  <a:lnTo>
                    <a:pt x="472" y="984"/>
                  </a:lnTo>
                  <a:lnTo>
                    <a:pt x="470" y="981"/>
                  </a:lnTo>
                  <a:lnTo>
                    <a:pt x="469" y="980"/>
                  </a:lnTo>
                  <a:lnTo>
                    <a:pt x="468" y="979"/>
                  </a:lnTo>
                  <a:lnTo>
                    <a:pt x="467" y="976"/>
                  </a:lnTo>
                  <a:lnTo>
                    <a:pt x="465" y="973"/>
                  </a:lnTo>
                  <a:lnTo>
                    <a:pt x="465" y="970"/>
                  </a:lnTo>
                  <a:lnTo>
                    <a:pt x="464" y="967"/>
                  </a:lnTo>
                  <a:lnTo>
                    <a:pt x="462" y="957"/>
                  </a:lnTo>
                  <a:lnTo>
                    <a:pt x="461" y="952"/>
                  </a:lnTo>
                  <a:lnTo>
                    <a:pt x="460" y="950"/>
                  </a:lnTo>
                  <a:lnTo>
                    <a:pt x="459" y="948"/>
                  </a:lnTo>
                  <a:lnTo>
                    <a:pt x="458" y="946"/>
                  </a:lnTo>
                  <a:lnTo>
                    <a:pt x="458" y="944"/>
                  </a:lnTo>
                  <a:lnTo>
                    <a:pt x="457" y="942"/>
                  </a:lnTo>
                  <a:lnTo>
                    <a:pt x="455" y="940"/>
                  </a:lnTo>
                  <a:lnTo>
                    <a:pt x="448" y="934"/>
                  </a:lnTo>
                  <a:lnTo>
                    <a:pt x="443" y="927"/>
                  </a:lnTo>
                  <a:lnTo>
                    <a:pt x="434" y="918"/>
                  </a:lnTo>
                  <a:lnTo>
                    <a:pt x="429" y="913"/>
                  </a:lnTo>
                  <a:lnTo>
                    <a:pt x="425" y="910"/>
                  </a:lnTo>
                  <a:lnTo>
                    <a:pt x="423" y="907"/>
                  </a:lnTo>
                  <a:lnTo>
                    <a:pt x="420" y="904"/>
                  </a:lnTo>
                  <a:lnTo>
                    <a:pt x="417" y="902"/>
                  </a:lnTo>
                  <a:lnTo>
                    <a:pt x="414" y="900"/>
                  </a:lnTo>
                  <a:lnTo>
                    <a:pt x="412" y="899"/>
                  </a:lnTo>
                  <a:lnTo>
                    <a:pt x="407" y="896"/>
                  </a:lnTo>
                  <a:lnTo>
                    <a:pt x="403" y="895"/>
                  </a:lnTo>
                  <a:lnTo>
                    <a:pt x="401" y="893"/>
                  </a:lnTo>
                  <a:lnTo>
                    <a:pt x="398" y="892"/>
                  </a:lnTo>
                  <a:lnTo>
                    <a:pt x="391" y="890"/>
                  </a:lnTo>
                  <a:lnTo>
                    <a:pt x="386" y="889"/>
                  </a:lnTo>
                  <a:lnTo>
                    <a:pt x="372" y="886"/>
                  </a:lnTo>
                  <a:lnTo>
                    <a:pt x="367" y="885"/>
                  </a:lnTo>
                  <a:lnTo>
                    <a:pt x="363" y="885"/>
                  </a:lnTo>
                  <a:lnTo>
                    <a:pt x="361" y="885"/>
                  </a:lnTo>
                  <a:lnTo>
                    <a:pt x="360" y="885"/>
                  </a:lnTo>
                  <a:lnTo>
                    <a:pt x="358" y="886"/>
                  </a:lnTo>
                  <a:lnTo>
                    <a:pt x="357" y="886"/>
                  </a:lnTo>
                  <a:lnTo>
                    <a:pt x="355" y="887"/>
                  </a:lnTo>
                  <a:lnTo>
                    <a:pt x="355" y="889"/>
                  </a:lnTo>
                  <a:lnTo>
                    <a:pt x="353" y="889"/>
                  </a:lnTo>
                  <a:lnTo>
                    <a:pt x="351" y="894"/>
                  </a:lnTo>
                  <a:lnTo>
                    <a:pt x="350" y="895"/>
                  </a:lnTo>
                  <a:lnTo>
                    <a:pt x="350" y="896"/>
                  </a:lnTo>
                  <a:lnTo>
                    <a:pt x="348" y="896"/>
                  </a:lnTo>
                  <a:lnTo>
                    <a:pt x="347" y="897"/>
                  </a:lnTo>
                  <a:lnTo>
                    <a:pt x="345" y="897"/>
                  </a:lnTo>
                  <a:lnTo>
                    <a:pt x="344" y="897"/>
                  </a:lnTo>
                  <a:lnTo>
                    <a:pt x="341" y="897"/>
                  </a:lnTo>
                  <a:lnTo>
                    <a:pt x="338" y="897"/>
                  </a:lnTo>
                  <a:lnTo>
                    <a:pt x="332" y="895"/>
                  </a:lnTo>
                  <a:lnTo>
                    <a:pt x="325" y="893"/>
                  </a:lnTo>
                  <a:lnTo>
                    <a:pt x="322" y="892"/>
                  </a:lnTo>
                  <a:lnTo>
                    <a:pt x="319" y="892"/>
                  </a:lnTo>
                  <a:lnTo>
                    <a:pt x="311" y="891"/>
                  </a:lnTo>
                  <a:lnTo>
                    <a:pt x="306" y="890"/>
                  </a:lnTo>
                  <a:lnTo>
                    <a:pt x="302" y="890"/>
                  </a:lnTo>
                  <a:lnTo>
                    <a:pt x="298" y="889"/>
                  </a:lnTo>
                  <a:lnTo>
                    <a:pt x="294" y="889"/>
                  </a:lnTo>
                  <a:lnTo>
                    <a:pt x="290" y="888"/>
                  </a:lnTo>
                  <a:lnTo>
                    <a:pt x="287" y="886"/>
                  </a:lnTo>
                  <a:lnTo>
                    <a:pt x="284" y="885"/>
                  </a:lnTo>
                  <a:lnTo>
                    <a:pt x="282" y="883"/>
                  </a:lnTo>
                  <a:lnTo>
                    <a:pt x="280" y="882"/>
                  </a:lnTo>
                  <a:lnTo>
                    <a:pt x="278" y="880"/>
                  </a:lnTo>
                  <a:lnTo>
                    <a:pt x="276" y="878"/>
                  </a:lnTo>
                  <a:lnTo>
                    <a:pt x="275" y="876"/>
                  </a:lnTo>
                  <a:lnTo>
                    <a:pt x="274" y="875"/>
                  </a:lnTo>
                  <a:lnTo>
                    <a:pt x="270" y="867"/>
                  </a:lnTo>
                  <a:lnTo>
                    <a:pt x="265" y="858"/>
                  </a:lnTo>
                  <a:lnTo>
                    <a:pt x="262" y="854"/>
                  </a:lnTo>
                  <a:lnTo>
                    <a:pt x="261" y="850"/>
                  </a:lnTo>
                  <a:lnTo>
                    <a:pt x="260" y="848"/>
                  </a:lnTo>
                  <a:lnTo>
                    <a:pt x="257" y="839"/>
                  </a:lnTo>
                  <a:lnTo>
                    <a:pt x="255" y="835"/>
                  </a:lnTo>
                  <a:lnTo>
                    <a:pt x="254" y="832"/>
                  </a:lnTo>
                  <a:lnTo>
                    <a:pt x="253" y="829"/>
                  </a:lnTo>
                  <a:lnTo>
                    <a:pt x="252" y="826"/>
                  </a:lnTo>
                  <a:lnTo>
                    <a:pt x="249" y="822"/>
                  </a:lnTo>
                  <a:lnTo>
                    <a:pt x="247" y="820"/>
                  </a:lnTo>
                  <a:lnTo>
                    <a:pt x="244" y="816"/>
                  </a:lnTo>
                  <a:lnTo>
                    <a:pt x="240" y="812"/>
                  </a:lnTo>
                  <a:lnTo>
                    <a:pt x="236" y="808"/>
                  </a:lnTo>
                  <a:lnTo>
                    <a:pt x="223" y="798"/>
                  </a:lnTo>
                  <a:lnTo>
                    <a:pt x="220" y="796"/>
                  </a:lnTo>
                  <a:lnTo>
                    <a:pt x="217" y="793"/>
                  </a:lnTo>
                  <a:lnTo>
                    <a:pt x="213" y="791"/>
                  </a:lnTo>
                  <a:lnTo>
                    <a:pt x="210" y="789"/>
                  </a:lnTo>
                  <a:lnTo>
                    <a:pt x="200" y="786"/>
                  </a:lnTo>
                  <a:lnTo>
                    <a:pt x="197" y="784"/>
                  </a:lnTo>
                  <a:lnTo>
                    <a:pt x="195" y="782"/>
                  </a:lnTo>
                  <a:lnTo>
                    <a:pt x="191" y="780"/>
                  </a:lnTo>
                  <a:lnTo>
                    <a:pt x="188" y="778"/>
                  </a:lnTo>
                  <a:lnTo>
                    <a:pt x="186" y="776"/>
                  </a:lnTo>
                  <a:lnTo>
                    <a:pt x="185" y="775"/>
                  </a:lnTo>
                  <a:lnTo>
                    <a:pt x="185" y="774"/>
                  </a:lnTo>
                  <a:lnTo>
                    <a:pt x="184" y="772"/>
                  </a:lnTo>
                  <a:lnTo>
                    <a:pt x="183" y="770"/>
                  </a:lnTo>
                  <a:lnTo>
                    <a:pt x="182" y="768"/>
                  </a:lnTo>
                  <a:lnTo>
                    <a:pt x="181" y="766"/>
                  </a:lnTo>
                  <a:lnTo>
                    <a:pt x="180" y="762"/>
                  </a:lnTo>
                  <a:lnTo>
                    <a:pt x="178" y="753"/>
                  </a:lnTo>
                  <a:lnTo>
                    <a:pt x="176" y="748"/>
                  </a:lnTo>
                  <a:lnTo>
                    <a:pt x="174" y="742"/>
                  </a:lnTo>
                  <a:lnTo>
                    <a:pt x="171" y="733"/>
                  </a:lnTo>
                  <a:lnTo>
                    <a:pt x="170" y="730"/>
                  </a:lnTo>
                  <a:lnTo>
                    <a:pt x="169" y="727"/>
                  </a:lnTo>
                  <a:lnTo>
                    <a:pt x="169" y="725"/>
                  </a:lnTo>
                  <a:lnTo>
                    <a:pt x="169" y="722"/>
                  </a:lnTo>
                  <a:lnTo>
                    <a:pt x="169" y="720"/>
                  </a:lnTo>
                  <a:lnTo>
                    <a:pt x="171" y="714"/>
                  </a:lnTo>
                  <a:lnTo>
                    <a:pt x="171" y="708"/>
                  </a:lnTo>
                  <a:lnTo>
                    <a:pt x="171" y="705"/>
                  </a:lnTo>
                  <a:lnTo>
                    <a:pt x="171" y="697"/>
                  </a:lnTo>
                  <a:lnTo>
                    <a:pt x="172" y="688"/>
                  </a:lnTo>
                  <a:lnTo>
                    <a:pt x="172" y="685"/>
                  </a:lnTo>
                  <a:lnTo>
                    <a:pt x="171" y="682"/>
                  </a:lnTo>
                  <a:lnTo>
                    <a:pt x="171" y="678"/>
                  </a:lnTo>
                  <a:lnTo>
                    <a:pt x="170" y="675"/>
                  </a:lnTo>
                  <a:lnTo>
                    <a:pt x="169" y="673"/>
                  </a:lnTo>
                  <a:lnTo>
                    <a:pt x="167" y="671"/>
                  </a:lnTo>
                  <a:lnTo>
                    <a:pt x="165" y="669"/>
                  </a:lnTo>
                  <a:lnTo>
                    <a:pt x="164" y="667"/>
                  </a:lnTo>
                  <a:lnTo>
                    <a:pt x="162" y="666"/>
                  </a:lnTo>
                  <a:lnTo>
                    <a:pt x="156" y="663"/>
                  </a:lnTo>
                  <a:lnTo>
                    <a:pt x="152" y="662"/>
                  </a:lnTo>
                  <a:lnTo>
                    <a:pt x="148" y="660"/>
                  </a:lnTo>
                  <a:lnTo>
                    <a:pt x="146" y="659"/>
                  </a:lnTo>
                  <a:lnTo>
                    <a:pt x="144" y="657"/>
                  </a:lnTo>
                  <a:lnTo>
                    <a:pt x="141" y="656"/>
                  </a:lnTo>
                  <a:lnTo>
                    <a:pt x="139" y="654"/>
                  </a:lnTo>
                  <a:lnTo>
                    <a:pt x="139" y="652"/>
                  </a:lnTo>
                  <a:lnTo>
                    <a:pt x="137" y="651"/>
                  </a:lnTo>
                  <a:lnTo>
                    <a:pt x="135" y="648"/>
                  </a:lnTo>
                  <a:lnTo>
                    <a:pt x="131" y="641"/>
                  </a:lnTo>
                  <a:lnTo>
                    <a:pt x="129" y="639"/>
                  </a:lnTo>
                  <a:lnTo>
                    <a:pt x="128" y="636"/>
                  </a:lnTo>
                  <a:lnTo>
                    <a:pt x="126" y="631"/>
                  </a:lnTo>
                  <a:lnTo>
                    <a:pt x="125" y="627"/>
                  </a:lnTo>
                  <a:lnTo>
                    <a:pt x="124" y="624"/>
                  </a:lnTo>
                  <a:lnTo>
                    <a:pt x="123" y="619"/>
                  </a:lnTo>
                  <a:lnTo>
                    <a:pt x="122" y="617"/>
                  </a:lnTo>
                  <a:lnTo>
                    <a:pt x="122" y="614"/>
                  </a:lnTo>
                  <a:lnTo>
                    <a:pt x="120" y="598"/>
                  </a:lnTo>
                  <a:lnTo>
                    <a:pt x="120" y="595"/>
                  </a:lnTo>
                  <a:lnTo>
                    <a:pt x="119" y="593"/>
                  </a:lnTo>
                  <a:lnTo>
                    <a:pt x="118" y="587"/>
                  </a:lnTo>
                  <a:lnTo>
                    <a:pt x="115" y="576"/>
                  </a:lnTo>
                  <a:lnTo>
                    <a:pt x="113" y="572"/>
                  </a:lnTo>
                  <a:lnTo>
                    <a:pt x="112" y="569"/>
                  </a:lnTo>
                  <a:lnTo>
                    <a:pt x="110" y="565"/>
                  </a:lnTo>
                  <a:lnTo>
                    <a:pt x="108" y="562"/>
                  </a:lnTo>
                  <a:lnTo>
                    <a:pt x="107" y="560"/>
                  </a:lnTo>
                  <a:lnTo>
                    <a:pt x="105" y="559"/>
                  </a:lnTo>
                  <a:lnTo>
                    <a:pt x="104" y="557"/>
                  </a:lnTo>
                  <a:lnTo>
                    <a:pt x="102" y="556"/>
                  </a:lnTo>
                  <a:lnTo>
                    <a:pt x="96" y="554"/>
                  </a:lnTo>
                  <a:lnTo>
                    <a:pt x="95" y="553"/>
                  </a:lnTo>
                  <a:lnTo>
                    <a:pt x="94" y="552"/>
                  </a:lnTo>
                  <a:lnTo>
                    <a:pt x="93" y="550"/>
                  </a:lnTo>
                  <a:lnTo>
                    <a:pt x="92" y="549"/>
                  </a:lnTo>
                  <a:lnTo>
                    <a:pt x="88" y="545"/>
                  </a:lnTo>
                  <a:lnTo>
                    <a:pt x="87" y="543"/>
                  </a:lnTo>
                  <a:lnTo>
                    <a:pt x="87" y="541"/>
                  </a:lnTo>
                  <a:lnTo>
                    <a:pt x="86" y="538"/>
                  </a:lnTo>
                  <a:lnTo>
                    <a:pt x="86" y="532"/>
                  </a:lnTo>
                  <a:lnTo>
                    <a:pt x="85" y="530"/>
                  </a:lnTo>
                  <a:lnTo>
                    <a:pt x="84" y="526"/>
                  </a:lnTo>
                  <a:lnTo>
                    <a:pt x="84" y="524"/>
                  </a:lnTo>
                  <a:lnTo>
                    <a:pt x="84" y="523"/>
                  </a:lnTo>
                  <a:lnTo>
                    <a:pt x="85" y="519"/>
                  </a:lnTo>
                  <a:lnTo>
                    <a:pt x="86" y="514"/>
                  </a:lnTo>
                  <a:lnTo>
                    <a:pt x="87" y="507"/>
                  </a:lnTo>
                  <a:lnTo>
                    <a:pt x="88" y="502"/>
                  </a:lnTo>
                  <a:lnTo>
                    <a:pt x="89" y="499"/>
                  </a:lnTo>
                  <a:lnTo>
                    <a:pt x="89" y="497"/>
                  </a:lnTo>
                  <a:lnTo>
                    <a:pt x="88" y="494"/>
                  </a:lnTo>
                  <a:lnTo>
                    <a:pt x="88" y="491"/>
                  </a:lnTo>
                  <a:lnTo>
                    <a:pt x="87" y="488"/>
                  </a:lnTo>
                  <a:lnTo>
                    <a:pt x="85" y="485"/>
                  </a:lnTo>
                  <a:lnTo>
                    <a:pt x="84" y="483"/>
                  </a:lnTo>
                  <a:lnTo>
                    <a:pt x="83" y="481"/>
                  </a:lnTo>
                  <a:lnTo>
                    <a:pt x="82" y="480"/>
                  </a:lnTo>
                  <a:lnTo>
                    <a:pt x="80" y="479"/>
                  </a:lnTo>
                  <a:lnTo>
                    <a:pt x="78" y="477"/>
                  </a:lnTo>
                  <a:lnTo>
                    <a:pt x="76" y="476"/>
                  </a:lnTo>
                  <a:lnTo>
                    <a:pt x="66" y="472"/>
                  </a:lnTo>
                  <a:lnTo>
                    <a:pt x="63" y="471"/>
                  </a:lnTo>
                  <a:lnTo>
                    <a:pt x="60" y="470"/>
                  </a:lnTo>
                  <a:lnTo>
                    <a:pt x="53" y="465"/>
                  </a:lnTo>
                  <a:lnTo>
                    <a:pt x="41" y="459"/>
                  </a:lnTo>
                  <a:lnTo>
                    <a:pt x="36" y="455"/>
                  </a:lnTo>
                  <a:lnTo>
                    <a:pt x="34" y="454"/>
                  </a:lnTo>
                  <a:lnTo>
                    <a:pt x="31" y="452"/>
                  </a:lnTo>
                  <a:lnTo>
                    <a:pt x="29" y="450"/>
                  </a:lnTo>
                  <a:lnTo>
                    <a:pt x="27" y="448"/>
                  </a:lnTo>
                  <a:lnTo>
                    <a:pt x="26" y="447"/>
                  </a:lnTo>
                  <a:lnTo>
                    <a:pt x="24" y="445"/>
                  </a:lnTo>
                  <a:lnTo>
                    <a:pt x="22" y="442"/>
                  </a:lnTo>
                  <a:lnTo>
                    <a:pt x="20" y="440"/>
                  </a:lnTo>
                  <a:lnTo>
                    <a:pt x="16" y="435"/>
                  </a:lnTo>
                  <a:lnTo>
                    <a:pt x="11" y="425"/>
                  </a:lnTo>
                  <a:lnTo>
                    <a:pt x="5" y="416"/>
                  </a:lnTo>
                  <a:lnTo>
                    <a:pt x="3" y="413"/>
                  </a:lnTo>
                  <a:lnTo>
                    <a:pt x="2" y="409"/>
                  </a:lnTo>
                  <a:lnTo>
                    <a:pt x="1" y="405"/>
                  </a:lnTo>
                  <a:lnTo>
                    <a:pt x="1" y="402"/>
                  </a:lnTo>
                  <a:lnTo>
                    <a:pt x="0" y="399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2" name="Freeform 91">
              <a:extLst>
                <a:ext uri="{FF2B5EF4-FFF2-40B4-BE49-F238E27FC236}">
                  <a16:creationId xmlns:a16="http://schemas.microsoft.com/office/drawing/2014/main" id="{C040CC98-2122-4629-AE1A-9C11BE5BA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" y="2091"/>
              <a:ext cx="712" cy="399"/>
            </a:xfrm>
            <a:custGeom>
              <a:avLst/>
              <a:gdLst>
                <a:gd name="T0" fmla="*/ 2 w 712"/>
                <a:gd name="T1" fmla="*/ 389 h 399"/>
                <a:gd name="T2" fmla="*/ 10 w 712"/>
                <a:gd name="T3" fmla="*/ 379 h 399"/>
                <a:gd name="T4" fmla="*/ 39 w 712"/>
                <a:gd name="T5" fmla="*/ 359 h 399"/>
                <a:gd name="T6" fmla="*/ 47 w 712"/>
                <a:gd name="T7" fmla="*/ 351 h 399"/>
                <a:gd name="T8" fmla="*/ 52 w 712"/>
                <a:gd name="T9" fmla="*/ 325 h 399"/>
                <a:gd name="T10" fmla="*/ 62 w 712"/>
                <a:gd name="T11" fmla="*/ 297 h 399"/>
                <a:gd name="T12" fmla="*/ 73 w 712"/>
                <a:gd name="T13" fmla="*/ 285 h 399"/>
                <a:gd name="T14" fmla="*/ 87 w 712"/>
                <a:gd name="T15" fmla="*/ 262 h 399"/>
                <a:gd name="T16" fmla="*/ 105 w 712"/>
                <a:gd name="T17" fmla="*/ 232 h 399"/>
                <a:gd name="T18" fmla="*/ 121 w 712"/>
                <a:gd name="T19" fmla="*/ 219 h 399"/>
                <a:gd name="T20" fmla="*/ 150 w 712"/>
                <a:gd name="T21" fmla="*/ 226 h 399"/>
                <a:gd name="T22" fmla="*/ 160 w 712"/>
                <a:gd name="T23" fmla="*/ 221 h 399"/>
                <a:gd name="T24" fmla="*/ 176 w 712"/>
                <a:gd name="T25" fmla="*/ 212 h 399"/>
                <a:gd name="T26" fmla="*/ 190 w 712"/>
                <a:gd name="T27" fmla="*/ 212 h 399"/>
                <a:gd name="T28" fmla="*/ 203 w 712"/>
                <a:gd name="T29" fmla="*/ 221 h 399"/>
                <a:gd name="T30" fmla="*/ 210 w 712"/>
                <a:gd name="T31" fmla="*/ 230 h 399"/>
                <a:gd name="T32" fmla="*/ 214 w 712"/>
                <a:gd name="T33" fmla="*/ 229 h 399"/>
                <a:gd name="T34" fmla="*/ 218 w 712"/>
                <a:gd name="T35" fmla="*/ 221 h 399"/>
                <a:gd name="T36" fmla="*/ 230 w 712"/>
                <a:gd name="T37" fmla="*/ 211 h 399"/>
                <a:gd name="T38" fmla="*/ 239 w 712"/>
                <a:gd name="T39" fmla="*/ 203 h 399"/>
                <a:gd name="T40" fmla="*/ 253 w 712"/>
                <a:gd name="T41" fmla="*/ 198 h 399"/>
                <a:gd name="T42" fmla="*/ 278 w 712"/>
                <a:gd name="T43" fmla="*/ 191 h 399"/>
                <a:gd name="T44" fmla="*/ 298 w 712"/>
                <a:gd name="T45" fmla="*/ 187 h 399"/>
                <a:gd name="T46" fmla="*/ 310 w 712"/>
                <a:gd name="T47" fmla="*/ 186 h 399"/>
                <a:gd name="T48" fmla="*/ 324 w 712"/>
                <a:gd name="T49" fmla="*/ 190 h 399"/>
                <a:gd name="T50" fmla="*/ 351 w 712"/>
                <a:gd name="T51" fmla="*/ 198 h 399"/>
                <a:gd name="T52" fmla="*/ 367 w 712"/>
                <a:gd name="T53" fmla="*/ 198 h 399"/>
                <a:gd name="T54" fmla="*/ 382 w 712"/>
                <a:gd name="T55" fmla="*/ 197 h 399"/>
                <a:gd name="T56" fmla="*/ 399 w 712"/>
                <a:gd name="T57" fmla="*/ 202 h 399"/>
                <a:gd name="T58" fmla="*/ 411 w 712"/>
                <a:gd name="T59" fmla="*/ 200 h 399"/>
                <a:gd name="T60" fmla="*/ 426 w 712"/>
                <a:gd name="T61" fmla="*/ 187 h 399"/>
                <a:gd name="T62" fmla="*/ 435 w 712"/>
                <a:gd name="T63" fmla="*/ 166 h 399"/>
                <a:gd name="T64" fmla="*/ 435 w 712"/>
                <a:gd name="T65" fmla="*/ 153 h 399"/>
                <a:gd name="T66" fmla="*/ 439 w 712"/>
                <a:gd name="T67" fmla="*/ 145 h 399"/>
                <a:gd name="T68" fmla="*/ 460 w 712"/>
                <a:gd name="T69" fmla="*/ 136 h 399"/>
                <a:gd name="T70" fmla="*/ 477 w 712"/>
                <a:gd name="T71" fmla="*/ 126 h 399"/>
                <a:gd name="T72" fmla="*/ 510 w 712"/>
                <a:gd name="T73" fmla="*/ 105 h 399"/>
                <a:gd name="T74" fmla="*/ 528 w 712"/>
                <a:gd name="T75" fmla="*/ 88 h 399"/>
                <a:gd name="T76" fmla="*/ 536 w 712"/>
                <a:gd name="T77" fmla="*/ 84 h 399"/>
                <a:gd name="T78" fmla="*/ 552 w 712"/>
                <a:gd name="T79" fmla="*/ 86 h 399"/>
                <a:gd name="T80" fmla="*/ 577 w 712"/>
                <a:gd name="T81" fmla="*/ 89 h 399"/>
                <a:gd name="T82" fmla="*/ 592 w 712"/>
                <a:gd name="T83" fmla="*/ 96 h 399"/>
                <a:gd name="T84" fmla="*/ 612 w 712"/>
                <a:gd name="T85" fmla="*/ 111 h 399"/>
                <a:gd name="T86" fmla="*/ 624 w 712"/>
                <a:gd name="T87" fmla="*/ 119 h 399"/>
                <a:gd name="T88" fmla="*/ 633 w 712"/>
                <a:gd name="T89" fmla="*/ 119 h 399"/>
                <a:gd name="T90" fmla="*/ 639 w 712"/>
                <a:gd name="T91" fmla="*/ 111 h 399"/>
                <a:gd name="T92" fmla="*/ 644 w 712"/>
                <a:gd name="T93" fmla="*/ 85 h 399"/>
                <a:gd name="T94" fmla="*/ 644 w 712"/>
                <a:gd name="T95" fmla="*/ 70 h 399"/>
                <a:gd name="T96" fmla="*/ 648 w 712"/>
                <a:gd name="T97" fmla="*/ 65 h 399"/>
                <a:gd name="T98" fmla="*/ 669 w 712"/>
                <a:gd name="T99" fmla="*/ 58 h 399"/>
                <a:gd name="T100" fmla="*/ 682 w 712"/>
                <a:gd name="T101" fmla="*/ 50 h 399"/>
                <a:gd name="T102" fmla="*/ 687 w 712"/>
                <a:gd name="T103" fmla="*/ 42 h 399"/>
                <a:gd name="T104" fmla="*/ 686 w 712"/>
                <a:gd name="T105" fmla="*/ 35 h 399"/>
                <a:gd name="T106" fmla="*/ 682 w 712"/>
                <a:gd name="T107" fmla="*/ 26 h 399"/>
                <a:gd name="T108" fmla="*/ 685 w 712"/>
                <a:gd name="T109" fmla="*/ 14 h 399"/>
                <a:gd name="T110" fmla="*/ 691 w 712"/>
                <a:gd name="T111" fmla="*/ 5 h 399"/>
                <a:gd name="T112" fmla="*/ 698 w 712"/>
                <a:gd name="T113" fmla="*/ 3 h 399"/>
                <a:gd name="T114" fmla="*/ 710 w 712"/>
                <a:gd name="T115" fmla="*/ 2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12" h="399">
                  <a:moveTo>
                    <a:pt x="0" y="399"/>
                  </a:moveTo>
                  <a:lnTo>
                    <a:pt x="0" y="396"/>
                  </a:lnTo>
                  <a:lnTo>
                    <a:pt x="1" y="393"/>
                  </a:lnTo>
                  <a:lnTo>
                    <a:pt x="1" y="391"/>
                  </a:lnTo>
                  <a:lnTo>
                    <a:pt x="2" y="389"/>
                  </a:lnTo>
                  <a:lnTo>
                    <a:pt x="3" y="387"/>
                  </a:lnTo>
                  <a:lnTo>
                    <a:pt x="4" y="384"/>
                  </a:lnTo>
                  <a:lnTo>
                    <a:pt x="6" y="382"/>
                  </a:lnTo>
                  <a:lnTo>
                    <a:pt x="8" y="380"/>
                  </a:lnTo>
                  <a:lnTo>
                    <a:pt x="10" y="379"/>
                  </a:lnTo>
                  <a:lnTo>
                    <a:pt x="15" y="375"/>
                  </a:lnTo>
                  <a:lnTo>
                    <a:pt x="21" y="371"/>
                  </a:lnTo>
                  <a:lnTo>
                    <a:pt x="34" y="363"/>
                  </a:lnTo>
                  <a:lnTo>
                    <a:pt x="37" y="361"/>
                  </a:lnTo>
                  <a:lnTo>
                    <a:pt x="39" y="359"/>
                  </a:lnTo>
                  <a:lnTo>
                    <a:pt x="41" y="357"/>
                  </a:lnTo>
                  <a:lnTo>
                    <a:pt x="44" y="356"/>
                  </a:lnTo>
                  <a:lnTo>
                    <a:pt x="45" y="354"/>
                  </a:lnTo>
                  <a:lnTo>
                    <a:pt x="47" y="352"/>
                  </a:lnTo>
                  <a:lnTo>
                    <a:pt x="47" y="351"/>
                  </a:lnTo>
                  <a:lnTo>
                    <a:pt x="48" y="349"/>
                  </a:lnTo>
                  <a:lnTo>
                    <a:pt x="49" y="346"/>
                  </a:lnTo>
                  <a:lnTo>
                    <a:pt x="49" y="339"/>
                  </a:lnTo>
                  <a:lnTo>
                    <a:pt x="51" y="330"/>
                  </a:lnTo>
                  <a:lnTo>
                    <a:pt x="52" y="325"/>
                  </a:lnTo>
                  <a:lnTo>
                    <a:pt x="57" y="308"/>
                  </a:lnTo>
                  <a:lnTo>
                    <a:pt x="58" y="305"/>
                  </a:lnTo>
                  <a:lnTo>
                    <a:pt x="59" y="301"/>
                  </a:lnTo>
                  <a:lnTo>
                    <a:pt x="60" y="299"/>
                  </a:lnTo>
                  <a:lnTo>
                    <a:pt x="62" y="297"/>
                  </a:lnTo>
                  <a:lnTo>
                    <a:pt x="64" y="295"/>
                  </a:lnTo>
                  <a:lnTo>
                    <a:pt x="69" y="291"/>
                  </a:lnTo>
                  <a:lnTo>
                    <a:pt x="71" y="289"/>
                  </a:lnTo>
                  <a:lnTo>
                    <a:pt x="71" y="289"/>
                  </a:lnTo>
                  <a:lnTo>
                    <a:pt x="73" y="285"/>
                  </a:lnTo>
                  <a:lnTo>
                    <a:pt x="77" y="277"/>
                  </a:lnTo>
                  <a:lnTo>
                    <a:pt x="79" y="275"/>
                  </a:lnTo>
                  <a:lnTo>
                    <a:pt x="83" y="269"/>
                  </a:lnTo>
                  <a:lnTo>
                    <a:pt x="85" y="266"/>
                  </a:lnTo>
                  <a:lnTo>
                    <a:pt x="87" y="262"/>
                  </a:lnTo>
                  <a:lnTo>
                    <a:pt x="94" y="250"/>
                  </a:lnTo>
                  <a:lnTo>
                    <a:pt x="97" y="244"/>
                  </a:lnTo>
                  <a:lnTo>
                    <a:pt x="99" y="241"/>
                  </a:lnTo>
                  <a:lnTo>
                    <a:pt x="103" y="236"/>
                  </a:lnTo>
                  <a:lnTo>
                    <a:pt x="105" y="232"/>
                  </a:lnTo>
                  <a:lnTo>
                    <a:pt x="112" y="224"/>
                  </a:lnTo>
                  <a:lnTo>
                    <a:pt x="115" y="221"/>
                  </a:lnTo>
                  <a:lnTo>
                    <a:pt x="117" y="219"/>
                  </a:lnTo>
                  <a:lnTo>
                    <a:pt x="117" y="218"/>
                  </a:lnTo>
                  <a:lnTo>
                    <a:pt x="121" y="219"/>
                  </a:lnTo>
                  <a:lnTo>
                    <a:pt x="131" y="221"/>
                  </a:lnTo>
                  <a:lnTo>
                    <a:pt x="143" y="225"/>
                  </a:lnTo>
                  <a:lnTo>
                    <a:pt x="147" y="226"/>
                  </a:lnTo>
                  <a:lnTo>
                    <a:pt x="149" y="226"/>
                  </a:lnTo>
                  <a:lnTo>
                    <a:pt x="150" y="226"/>
                  </a:lnTo>
                  <a:lnTo>
                    <a:pt x="152" y="225"/>
                  </a:lnTo>
                  <a:lnTo>
                    <a:pt x="154" y="225"/>
                  </a:lnTo>
                  <a:lnTo>
                    <a:pt x="156" y="224"/>
                  </a:lnTo>
                  <a:lnTo>
                    <a:pt x="158" y="223"/>
                  </a:lnTo>
                  <a:lnTo>
                    <a:pt x="160" y="221"/>
                  </a:lnTo>
                  <a:lnTo>
                    <a:pt x="164" y="218"/>
                  </a:lnTo>
                  <a:lnTo>
                    <a:pt x="167" y="216"/>
                  </a:lnTo>
                  <a:lnTo>
                    <a:pt x="170" y="215"/>
                  </a:lnTo>
                  <a:lnTo>
                    <a:pt x="173" y="213"/>
                  </a:lnTo>
                  <a:lnTo>
                    <a:pt x="176" y="212"/>
                  </a:lnTo>
                  <a:lnTo>
                    <a:pt x="179" y="211"/>
                  </a:lnTo>
                  <a:lnTo>
                    <a:pt x="183" y="211"/>
                  </a:lnTo>
                  <a:lnTo>
                    <a:pt x="185" y="211"/>
                  </a:lnTo>
                  <a:lnTo>
                    <a:pt x="187" y="211"/>
                  </a:lnTo>
                  <a:lnTo>
                    <a:pt x="190" y="212"/>
                  </a:lnTo>
                  <a:lnTo>
                    <a:pt x="193" y="213"/>
                  </a:lnTo>
                  <a:lnTo>
                    <a:pt x="196" y="214"/>
                  </a:lnTo>
                  <a:lnTo>
                    <a:pt x="198" y="216"/>
                  </a:lnTo>
                  <a:lnTo>
                    <a:pt x="200" y="218"/>
                  </a:lnTo>
                  <a:lnTo>
                    <a:pt x="203" y="221"/>
                  </a:lnTo>
                  <a:lnTo>
                    <a:pt x="204" y="222"/>
                  </a:lnTo>
                  <a:lnTo>
                    <a:pt x="208" y="226"/>
                  </a:lnTo>
                  <a:lnTo>
                    <a:pt x="209" y="228"/>
                  </a:lnTo>
                  <a:lnTo>
                    <a:pt x="209" y="229"/>
                  </a:lnTo>
                  <a:lnTo>
                    <a:pt x="210" y="230"/>
                  </a:lnTo>
                  <a:lnTo>
                    <a:pt x="211" y="230"/>
                  </a:lnTo>
                  <a:lnTo>
                    <a:pt x="212" y="230"/>
                  </a:lnTo>
                  <a:lnTo>
                    <a:pt x="213" y="230"/>
                  </a:lnTo>
                  <a:lnTo>
                    <a:pt x="213" y="229"/>
                  </a:lnTo>
                  <a:lnTo>
                    <a:pt x="214" y="229"/>
                  </a:lnTo>
                  <a:lnTo>
                    <a:pt x="214" y="228"/>
                  </a:lnTo>
                  <a:lnTo>
                    <a:pt x="215" y="227"/>
                  </a:lnTo>
                  <a:lnTo>
                    <a:pt x="216" y="223"/>
                  </a:lnTo>
                  <a:lnTo>
                    <a:pt x="218" y="221"/>
                  </a:lnTo>
                  <a:lnTo>
                    <a:pt x="218" y="221"/>
                  </a:lnTo>
                  <a:lnTo>
                    <a:pt x="219" y="219"/>
                  </a:lnTo>
                  <a:lnTo>
                    <a:pt x="220" y="218"/>
                  </a:lnTo>
                  <a:lnTo>
                    <a:pt x="223" y="216"/>
                  </a:lnTo>
                  <a:lnTo>
                    <a:pt x="225" y="214"/>
                  </a:lnTo>
                  <a:lnTo>
                    <a:pt x="230" y="211"/>
                  </a:lnTo>
                  <a:lnTo>
                    <a:pt x="233" y="210"/>
                  </a:lnTo>
                  <a:lnTo>
                    <a:pt x="234" y="209"/>
                  </a:lnTo>
                  <a:lnTo>
                    <a:pt x="235" y="208"/>
                  </a:lnTo>
                  <a:lnTo>
                    <a:pt x="238" y="204"/>
                  </a:lnTo>
                  <a:lnTo>
                    <a:pt x="239" y="203"/>
                  </a:lnTo>
                  <a:lnTo>
                    <a:pt x="240" y="202"/>
                  </a:lnTo>
                  <a:lnTo>
                    <a:pt x="242" y="201"/>
                  </a:lnTo>
                  <a:lnTo>
                    <a:pt x="244" y="200"/>
                  </a:lnTo>
                  <a:lnTo>
                    <a:pt x="250" y="198"/>
                  </a:lnTo>
                  <a:lnTo>
                    <a:pt x="253" y="198"/>
                  </a:lnTo>
                  <a:lnTo>
                    <a:pt x="257" y="197"/>
                  </a:lnTo>
                  <a:lnTo>
                    <a:pt x="263" y="194"/>
                  </a:lnTo>
                  <a:lnTo>
                    <a:pt x="265" y="193"/>
                  </a:lnTo>
                  <a:lnTo>
                    <a:pt x="269" y="192"/>
                  </a:lnTo>
                  <a:lnTo>
                    <a:pt x="278" y="191"/>
                  </a:lnTo>
                  <a:lnTo>
                    <a:pt x="280" y="191"/>
                  </a:lnTo>
                  <a:lnTo>
                    <a:pt x="286" y="190"/>
                  </a:lnTo>
                  <a:lnTo>
                    <a:pt x="287" y="190"/>
                  </a:lnTo>
                  <a:lnTo>
                    <a:pt x="290" y="189"/>
                  </a:lnTo>
                  <a:lnTo>
                    <a:pt x="298" y="187"/>
                  </a:lnTo>
                  <a:lnTo>
                    <a:pt x="299" y="186"/>
                  </a:lnTo>
                  <a:lnTo>
                    <a:pt x="302" y="186"/>
                  </a:lnTo>
                  <a:lnTo>
                    <a:pt x="304" y="185"/>
                  </a:lnTo>
                  <a:lnTo>
                    <a:pt x="306" y="185"/>
                  </a:lnTo>
                  <a:lnTo>
                    <a:pt x="310" y="186"/>
                  </a:lnTo>
                  <a:lnTo>
                    <a:pt x="312" y="186"/>
                  </a:lnTo>
                  <a:lnTo>
                    <a:pt x="314" y="187"/>
                  </a:lnTo>
                  <a:lnTo>
                    <a:pt x="317" y="187"/>
                  </a:lnTo>
                  <a:lnTo>
                    <a:pt x="321" y="188"/>
                  </a:lnTo>
                  <a:lnTo>
                    <a:pt x="324" y="190"/>
                  </a:lnTo>
                  <a:lnTo>
                    <a:pt x="336" y="193"/>
                  </a:lnTo>
                  <a:lnTo>
                    <a:pt x="339" y="194"/>
                  </a:lnTo>
                  <a:lnTo>
                    <a:pt x="347" y="197"/>
                  </a:lnTo>
                  <a:lnTo>
                    <a:pt x="349" y="198"/>
                  </a:lnTo>
                  <a:lnTo>
                    <a:pt x="351" y="198"/>
                  </a:lnTo>
                  <a:lnTo>
                    <a:pt x="354" y="198"/>
                  </a:lnTo>
                  <a:lnTo>
                    <a:pt x="356" y="198"/>
                  </a:lnTo>
                  <a:lnTo>
                    <a:pt x="360" y="198"/>
                  </a:lnTo>
                  <a:lnTo>
                    <a:pt x="363" y="198"/>
                  </a:lnTo>
                  <a:lnTo>
                    <a:pt x="367" y="198"/>
                  </a:lnTo>
                  <a:lnTo>
                    <a:pt x="372" y="198"/>
                  </a:lnTo>
                  <a:lnTo>
                    <a:pt x="375" y="197"/>
                  </a:lnTo>
                  <a:lnTo>
                    <a:pt x="377" y="197"/>
                  </a:lnTo>
                  <a:lnTo>
                    <a:pt x="379" y="197"/>
                  </a:lnTo>
                  <a:lnTo>
                    <a:pt x="382" y="197"/>
                  </a:lnTo>
                  <a:lnTo>
                    <a:pt x="385" y="198"/>
                  </a:lnTo>
                  <a:lnTo>
                    <a:pt x="388" y="198"/>
                  </a:lnTo>
                  <a:lnTo>
                    <a:pt x="395" y="201"/>
                  </a:lnTo>
                  <a:lnTo>
                    <a:pt x="398" y="202"/>
                  </a:lnTo>
                  <a:lnTo>
                    <a:pt x="399" y="202"/>
                  </a:lnTo>
                  <a:lnTo>
                    <a:pt x="401" y="202"/>
                  </a:lnTo>
                  <a:lnTo>
                    <a:pt x="403" y="202"/>
                  </a:lnTo>
                  <a:lnTo>
                    <a:pt x="405" y="202"/>
                  </a:lnTo>
                  <a:lnTo>
                    <a:pt x="408" y="201"/>
                  </a:lnTo>
                  <a:lnTo>
                    <a:pt x="411" y="200"/>
                  </a:lnTo>
                  <a:lnTo>
                    <a:pt x="414" y="198"/>
                  </a:lnTo>
                  <a:lnTo>
                    <a:pt x="417" y="196"/>
                  </a:lnTo>
                  <a:lnTo>
                    <a:pt x="420" y="194"/>
                  </a:lnTo>
                  <a:lnTo>
                    <a:pt x="424" y="190"/>
                  </a:lnTo>
                  <a:lnTo>
                    <a:pt x="426" y="187"/>
                  </a:lnTo>
                  <a:lnTo>
                    <a:pt x="428" y="185"/>
                  </a:lnTo>
                  <a:lnTo>
                    <a:pt x="430" y="182"/>
                  </a:lnTo>
                  <a:lnTo>
                    <a:pt x="431" y="181"/>
                  </a:lnTo>
                  <a:lnTo>
                    <a:pt x="432" y="179"/>
                  </a:lnTo>
                  <a:lnTo>
                    <a:pt x="435" y="166"/>
                  </a:lnTo>
                  <a:lnTo>
                    <a:pt x="435" y="164"/>
                  </a:lnTo>
                  <a:lnTo>
                    <a:pt x="435" y="163"/>
                  </a:lnTo>
                  <a:lnTo>
                    <a:pt x="435" y="155"/>
                  </a:lnTo>
                  <a:lnTo>
                    <a:pt x="435" y="153"/>
                  </a:lnTo>
                  <a:lnTo>
                    <a:pt x="435" y="153"/>
                  </a:lnTo>
                  <a:lnTo>
                    <a:pt x="435" y="151"/>
                  </a:lnTo>
                  <a:lnTo>
                    <a:pt x="435" y="150"/>
                  </a:lnTo>
                  <a:lnTo>
                    <a:pt x="436" y="148"/>
                  </a:lnTo>
                  <a:lnTo>
                    <a:pt x="437" y="147"/>
                  </a:lnTo>
                  <a:lnTo>
                    <a:pt x="439" y="145"/>
                  </a:lnTo>
                  <a:lnTo>
                    <a:pt x="442" y="144"/>
                  </a:lnTo>
                  <a:lnTo>
                    <a:pt x="444" y="143"/>
                  </a:lnTo>
                  <a:lnTo>
                    <a:pt x="450" y="141"/>
                  </a:lnTo>
                  <a:lnTo>
                    <a:pt x="458" y="137"/>
                  </a:lnTo>
                  <a:lnTo>
                    <a:pt x="460" y="136"/>
                  </a:lnTo>
                  <a:lnTo>
                    <a:pt x="465" y="132"/>
                  </a:lnTo>
                  <a:lnTo>
                    <a:pt x="467" y="131"/>
                  </a:lnTo>
                  <a:lnTo>
                    <a:pt x="469" y="130"/>
                  </a:lnTo>
                  <a:lnTo>
                    <a:pt x="475" y="128"/>
                  </a:lnTo>
                  <a:lnTo>
                    <a:pt x="477" y="126"/>
                  </a:lnTo>
                  <a:lnTo>
                    <a:pt x="489" y="119"/>
                  </a:lnTo>
                  <a:lnTo>
                    <a:pt x="494" y="115"/>
                  </a:lnTo>
                  <a:lnTo>
                    <a:pt x="499" y="112"/>
                  </a:lnTo>
                  <a:lnTo>
                    <a:pt x="503" y="108"/>
                  </a:lnTo>
                  <a:lnTo>
                    <a:pt x="510" y="105"/>
                  </a:lnTo>
                  <a:lnTo>
                    <a:pt x="512" y="104"/>
                  </a:lnTo>
                  <a:lnTo>
                    <a:pt x="515" y="101"/>
                  </a:lnTo>
                  <a:lnTo>
                    <a:pt x="519" y="96"/>
                  </a:lnTo>
                  <a:lnTo>
                    <a:pt x="525" y="92"/>
                  </a:lnTo>
                  <a:lnTo>
                    <a:pt x="528" y="88"/>
                  </a:lnTo>
                  <a:lnTo>
                    <a:pt x="529" y="86"/>
                  </a:lnTo>
                  <a:lnTo>
                    <a:pt x="531" y="85"/>
                  </a:lnTo>
                  <a:lnTo>
                    <a:pt x="533" y="85"/>
                  </a:lnTo>
                  <a:lnTo>
                    <a:pt x="535" y="84"/>
                  </a:lnTo>
                  <a:lnTo>
                    <a:pt x="536" y="84"/>
                  </a:lnTo>
                  <a:lnTo>
                    <a:pt x="537" y="83"/>
                  </a:lnTo>
                  <a:lnTo>
                    <a:pt x="538" y="83"/>
                  </a:lnTo>
                  <a:lnTo>
                    <a:pt x="540" y="84"/>
                  </a:lnTo>
                  <a:lnTo>
                    <a:pt x="547" y="85"/>
                  </a:lnTo>
                  <a:lnTo>
                    <a:pt x="552" y="86"/>
                  </a:lnTo>
                  <a:lnTo>
                    <a:pt x="555" y="87"/>
                  </a:lnTo>
                  <a:lnTo>
                    <a:pt x="563" y="87"/>
                  </a:lnTo>
                  <a:lnTo>
                    <a:pt x="572" y="88"/>
                  </a:lnTo>
                  <a:lnTo>
                    <a:pt x="574" y="88"/>
                  </a:lnTo>
                  <a:lnTo>
                    <a:pt x="577" y="89"/>
                  </a:lnTo>
                  <a:lnTo>
                    <a:pt x="583" y="91"/>
                  </a:lnTo>
                  <a:lnTo>
                    <a:pt x="584" y="92"/>
                  </a:lnTo>
                  <a:lnTo>
                    <a:pt x="586" y="93"/>
                  </a:lnTo>
                  <a:lnTo>
                    <a:pt x="588" y="94"/>
                  </a:lnTo>
                  <a:lnTo>
                    <a:pt x="592" y="96"/>
                  </a:lnTo>
                  <a:lnTo>
                    <a:pt x="595" y="98"/>
                  </a:lnTo>
                  <a:lnTo>
                    <a:pt x="600" y="103"/>
                  </a:lnTo>
                  <a:lnTo>
                    <a:pt x="601" y="104"/>
                  </a:lnTo>
                  <a:lnTo>
                    <a:pt x="605" y="106"/>
                  </a:lnTo>
                  <a:lnTo>
                    <a:pt x="612" y="111"/>
                  </a:lnTo>
                  <a:lnTo>
                    <a:pt x="616" y="114"/>
                  </a:lnTo>
                  <a:lnTo>
                    <a:pt x="618" y="116"/>
                  </a:lnTo>
                  <a:lnTo>
                    <a:pt x="620" y="117"/>
                  </a:lnTo>
                  <a:lnTo>
                    <a:pt x="622" y="118"/>
                  </a:lnTo>
                  <a:lnTo>
                    <a:pt x="624" y="119"/>
                  </a:lnTo>
                  <a:lnTo>
                    <a:pt x="627" y="119"/>
                  </a:lnTo>
                  <a:lnTo>
                    <a:pt x="628" y="119"/>
                  </a:lnTo>
                  <a:lnTo>
                    <a:pt x="630" y="119"/>
                  </a:lnTo>
                  <a:lnTo>
                    <a:pt x="631" y="119"/>
                  </a:lnTo>
                  <a:lnTo>
                    <a:pt x="633" y="119"/>
                  </a:lnTo>
                  <a:lnTo>
                    <a:pt x="635" y="118"/>
                  </a:lnTo>
                  <a:lnTo>
                    <a:pt x="636" y="117"/>
                  </a:lnTo>
                  <a:lnTo>
                    <a:pt x="637" y="115"/>
                  </a:lnTo>
                  <a:lnTo>
                    <a:pt x="638" y="113"/>
                  </a:lnTo>
                  <a:lnTo>
                    <a:pt x="639" y="111"/>
                  </a:lnTo>
                  <a:lnTo>
                    <a:pt x="640" y="108"/>
                  </a:lnTo>
                  <a:lnTo>
                    <a:pt x="643" y="94"/>
                  </a:lnTo>
                  <a:lnTo>
                    <a:pt x="644" y="90"/>
                  </a:lnTo>
                  <a:lnTo>
                    <a:pt x="644" y="87"/>
                  </a:lnTo>
                  <a:lnTo>
                    <a:pt x="644" y="85"/>
                  </a:lnTo>
                  <a:lnTo>
                    <a:pt x="644" y="80"/>
                  </a:lnTo>
                  <a:lnTo>
                    <a:pt x="644" y="77"/>
                  </a:lnTo>
                  <a:lnTo>
                    <a:pt x="643" y="73"/>
                  </a:lnTo>
                  <a:lnTo>
                    <a:pt x="643" y="72"/>
                  </a:lnTo>
                  <a:lnTo>
                    <a:pt x="644" y="70"/>
                  </a:lnTo>
                  <a:lnTo>
                    <a:pt x="644" y="68"/>
                  </a:lnTo>
                  <a:lnTo>
                    <a:pt x="645" y="67"/>
                  </a:lnTo>
                  <a:lnTo>
                    <a:pt x="646" y="66"/>
                  </a:lnTo>
                  <a:lnTo>
                    <a:pt x="647" y="65"/>
                  </a:lnTo>
                  <a:lnTo>
                    <a:pt x="648" y="65"/>
                  </a:lnTo>
                  <a:lnTo>
                    <a:pt x="651" y="63"/>
                  </a:lnTo>
                  <a:lnTo>
                    <a:pt x="655" y="62"/>
                  </a:lnTo>
                  <a:lnTo>
                    <a:pt x="657" y="62"/>
                  </a:lnTo>
                  <a:lnTo>
                    <a:pt x="662" y="61"/>
                  </a:lnTo>
                  <a:lnTo>
                    <a:pt x="669" y="58"/>
                  </a:lnTo>
                  <a:lnTo>
                    <a:pt x="672" y="56"/>
                  </a:lnTo>
                  <a:lnTo>
                    <a:pt x="674" y="55"/>
                  </a:lnTo>
                  <a:lnTo>
                    <a:pt x="677" y="52"/>
                  </a:lnTo>
                  <a:lnTo>
                    <a:pt x="680" y="51"/>
                  </a:lnTo>
                  <a:lnTo>
                    <a:pt x="682" y="50"/>
                  </a:lnTo>
                  <a:lnTo>
                    <a:pt x="684" y="49"/>
                  </a:lnTo>
                  <a:lnTo>
                    <a:pt x="685" y="47"/>
                  </a:lnTo>
                  <a:lnTo>
                    <a:pt x="685" y="45"/>
                  </a:lnTo>
                  <a:lnTo>
                    <a:pt x="686" y="44"/>
                  </a:lnTo>
                  <a:lnTo>
                    <a:pt x="687" y="42"/>
                  </a:lnTo>
                  <a:lnTo>
                    <a:pt x="687" y="40"/>
                  </a:lnTo>
                  <a:lnTo>
                    <a:pt x="687" y="39"/>
                  </a:lnTo>
                  <a:lnTo>
                    <a:pt x="687" y="39"/>
                  </a:lnTo>
                  <a:lnTo>
                    <a:pt x="687" y="36"/>
                  </a:lnTo>
                  <a:lnTo>
                    <a:pt x="686" y="35"/>
                  </a:lnTo>
                  <a:lnTo>
                    <a:pt x="685" y="33"/>
                  </a:lnTo>
                  <a:lnTo>
                    <a:pt x="683" y="30"/>
                  </a:lnTo>
                  <a:lnTo>
                    <a:pt x="683" y="28"/>
                  </a:lnTo>
                  <a:lnTo>
                    <a:pt x="682" y="28"/>
                  </a:lnTo>
                  <a:lnTo>
                    <a:pt x="682" y="26"/>
                  </a:lnTo>
                  <a:lnTo>
                    <a:pt x="682" y="24"/>
                  </a:lnTo>
                  <a:lnTo>
                    <a:pt x="682" y="22"/>
                  </a:lnTo>
                  <a:lnTo>
                    <a:pt x="682" y="20"/>
                  </a:lnTo>
                  <a:lnTo>
                    <a:pt x="683" y="17"/>
                  </a:lnTo>
                  <a:lnTo>
                    <a:pt x="685" y="14"/>
                  </a:lnTo>
                  <a:lnTo>
                    <a:pt x="686" y="10"/>
                  </a:lnTo>
                  <a:lnTo>
                    <a:pt x="687" y="8"/>
                  </a:lnTo>
                  <a:lnTo>
                    <a:pt x="688" y="7"/>
                  </a:lnTo>
                  <a:lnTo>
                    <a:pt x="689" y="6"/>
                  </a:lnTo>
                  <a:lnTo>
                    <a:pt x="691" y="5"/>
                  </a:lnTo>
                  <a:lnTo>
                    <a:pt x="693" y="5"/>
                  </a:lnTo>
                  <a:lnTo>
                    <a:pt x="696" y="4"/>
                  </a:lnTo>
                  <a:lnTo>
                    <a:pt x="697" y="3"/>
                  </a:lnTo>
                  <a:lnTo>
                    <a:pt x="697" y="3"/>
                  </a:lnTo>
                  <a:lnTo>
                    <a:pt x="698" y="3"/>
                  </a:lnTo>
                  <a:lnTo>
                    <a:pt x="699" y="3"/>
                  </a:lnTo>
                  <a:lnTo>
                    <a:pt x="700" y="3"/>
                  </a:lnTo>
                  <a:lnTo>
                    <a:pt x="704" y="3"/>
                  </a:lnTo>
                  <a:lnTo>
                    <a:pt x="709" y="2"/>
                  </a:lnTo>
                  <a:lnTo>
                    <a:pt x="710" y="2"/>
                  </a:lnTo>
                  <a:lnTo>
                    <a:pt x="710" y="1"/>
                  </a:lnTo>
                  <a:lnTo>
                    <a:pt x="711" y="0"/>
                  </a:lnTo>
                  <a:lnTo>
                    <a:pt x="712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3" name="Freeform 92">
              <a:extLst>
                <a:ext uri="{FF2B5EF4-FFF2-40B4-BE49-F238E27FC236}">
                  <a16:creationId xmlns:a16="http://schemas.microsoft.com/office/drawing/2014/main" id="{BA159B33-EF31-401E-9F73-219A2D825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" y="1660"/>
              <a:ext cx="908" cy="661"/>
            </a:xfrm>
            <a:custGeom>
              <a:avLst/>
              <a:gdLst>
                <a:gd name="T0" fmla="*/ 626 w 908"/>
                <a:gd name="T1" fmla="*/ 48 h 661"/>
                <a:gd name="T2" fmla="*/ 679 w 908"/>
                <a:gd name="T3" fmla="*/ 81 h 661"/>
                <a:gd name="T4" fmla="*/ 745 w 908"/>
                <a:gd name="T5" fmla="*/ 94 h 661"/>
                <a:gd name="T6" fmla="*/ 762 w 908"/>
                <a:gd name="T7" fmla="*/ 124 h 661"/>
                <a:gd name="T8" fmla="*/ 785 w 908"/>
                <a:gd name="T9" fmla="*/ 129 h 661"/>
                <a:gd name="T10" fmla="*/ 844 w 908"/>
                <a:gd name="T11" fmla="*/ 130 h 661"/>
                <a:gd name="T12" fmla="*/ 861 w 908"/>
                <a:gd name="T13" fmla="*/ 164 h 661"/>
                <a:gd name="T14" fmla="*/ 852 w 908"/>
                <a:gd name="T15" fmla="*/ 221 h 661"/>
                <a:gd name="T16" fmla="*/ 857 w 908"/>
                <a:gd name="T17" fmla="*/ 267 h 661"/>
                <a:gd name="T18" fmla="*/ 871 w 908"/>
                <a:gd name="T19" fmla="*/ 303 h 661"/>
                <a:gd name="T20" fmla="*/ 893 w 908"/>
                <a:gd name="T21" fmla="*/ 360 h 661"/>
                <a:gd name="T22" fmla="*/ 887 w 908"/>
                <a:gd name="T23" fmla="*/ 385 h 661"/>
                <a:gd name="T24" fmla="*/ 859 w 908"/>
                <a:gd name="T25" fmla="*/ 393 h 661"/>
                <a:gd name="T26" fmla="*/ 891 w 908"/>
                <a:gd name="T27" fmla="*/ 409 h 661"/>
                <a:gd name="T28" fmla="*/ 898 w 908"/>
                <a:gd name="T29" fmla="*/ 441 h 661"/>
                <a:gd name="T30" fmla="*/ 899 w 908"/>
                <a:gd name="T31" fmla="*/ 471 h 661"/>
                <a:gd name="T32" fmla="*/ 863 w 908"/>
                <a:gd name="T33" fmla="*/ 494 h 661"/>
                <a:gd name="T34" fmla="*/ 852 w 908"/>
                <a:gd name="T35" fmla="*/ 539 h 661"/>
                <a:gd name="T36" fmla="*/ 828 w 908"/>
                <a:gd name="T37" fmla="*/ 545 h 661"/>
                <a:gd name="T38" fmla="*/ 767 w 908"/>
                <a:gd name="T39" fmla="*/ 518 h 661"/>
                <a:gd name="T40" fmla="*/ 724 w 908"/>
                <a:gd name="T41" fmla="*/ 535 h 661"/>
                <a:gd name="T42" fmla="*/ 654 w 908"/>
                <a:gd name="T43" fmla="*/ 575 h 661"/>
                <a:gd name="T44" fmla="*/ 640 w 908"/>
                <a:gd name="T45" fmla="*/ 616 h 661"/>
                <a:gd name="T46" fmla="*/ 597 w 908"/>
                <a:gd name="T47" fmla="*/ 629 h 661"/>
                <a:gd name="T48" fmla="*/ 548 w 908"/>
                <a:gd name="T49" fmla="*/ 624 h 661"/>
                <a:gd name="T50" fmla="*/ 492 w 908"/>
                <a:gd name="T51" fmla="*/ 622 h 661"/>
                <a:gd name="T52" fmla="*/ 445 w 908"/>
                <a:gd name="T53" fmla="*/ 641 h 661"/>
                <a:gd name="T54" fmla="*/ 423 w 908"/>
                <a:gd name="T55" fmla="*/ 661 h 661"/>
                <a:gd name="T56" fmla="*/ 391 w 908"/>
                <a:gd name="T57" fmla="*/ 642 h 661"/>
                <a:gd name="T58" fmla="*/ 343 w 908"/>
                <a:gd name="T59" fmla="*/ 652 h 661"/>
                <a:gd name="T60" fmla="*/ 292 w 908"/>
                <a:gd name="T61" fmla="*/ 617 h 661"/>
                <a:gd name="T62" fmla="*/ 279 w 908"/>
                <a:gd name="T63" fmla="*/ 586 h 661"/>
                <a:gd name="T64" fmla="*/ 274 w 908"/>
                <a:gd name="T65" fmla="*/ 553 h 661"/>
                <a:gd name="T66" fmla="*/ 239 w 908"/>
                <a:gd name="T67" fmla="*/ 538 h 661"/>
                <a:gd name="T68" fmla="*/ 189 w 908"/>
                <a:gd name="T69" fmla="*/ 503 h 661"/>
                <a:gd name="T70" fmla="*/ 149 w 908"/>
                <a:gd name="T71" fmla="*/ 469 h 661"/>
                <a:gd name="T72" fmla="*/ 119 w 908"/>
                <a:gd name="T73" fmla="*/ 444 h 661"/>
                <a:gd name="T74" fmla="*/ 91 w 908"/>
                <a:gd name="T75" fmla="*/ 411 h 661"/>
                <a:gd name="T76" fmla="*/ 69 w 908"/>
                <a:gd name="T77" fmla="*/ 369 h 661"/>
                <a:gd name="T78" fmla="*/ 73 w 908"/>
                <a:gd name="T79" fmla="*/ 306 h 661"/>
                <a:gd name="T80" fmla="*/ 36 w 908"/>
                <a:gd name="T81" fmla="*/ 254 h 661"/>
                <a:gd name="T82" fmla="*/ 2 w 908"/>
                <a:gd name="T83" fmla="*/ 232 h 661"/>
                <a:gd name="T84" fmla="*/ 17 w 908"/>
                <a:gd name="T85" fmla="*/ 205 h 661"/>
                <a:gd name="T86" fmla="*/ 19 w 908"/>
                <a:gd name="T87" fmla="*/ 165 h 661"/>
                <a:gd name="T88" fmla="*/ 33 w 908"/>
                <a:gd name="T89" fmla="*/ 146 h 661"/>
                <a:gd name="T90" fmla="*/ 74 w 908"/>
                <a:gd name="T91" fmla="*/ 165 h 661"/>
                <a:gd name="T92" fmla="*/ 96 w 908"/>
                <a:gd name="T93" fmla="*/ 207 h 661"/>
                <a:gd name="T94" fmla="*/ 116 w 908"/>
                <a:gd name="T95" fmla="*/ 230 h 661"/>
                <a:gd name="T96" fmla="*/ 134 w 908"/>
                <a:gd name="T97" fmla="*/ 260 h 661"/>
                <a:gd name="T98" fmla="*/ 137 w 908"/>
                <a:gd name="T99" fmla="*/ 304 h 661"/>
                <a:gd name="T100" fmla="*/ 166 w 908"/>
                <a:gd name="T101" fmla="*/ 325 h 661"/>
                <a:gd name="T102" fmla="*/ 172 w 908"/>
                <a:gd name="T103" fmla="*/ 286 h 661"/>
                <a:gd name="T104" fmla="*/ 188 w 908"/>
                <a:gd name="T105" fmla="*/ 246 h 661"/>
                <a:gd name="T106" fmla="*/ 204 w 908"/>
                <a:gd name="T107" fmla="*/ 205 h 661"/>
                <a:gd name="T108" fmla="*/ 237 w 908"/>
                <a:gd name="T109" fmla="*/ 155 h 661"/>
                <a:gd name="T110" fmla="*/ 283 w 908"/>
                <a:gd name="T111" fmla="*/ 120 h 661"/>
                <a:gd name="T112" fmla="*/ 311 w 908"/>
                <a:gd name="T113" fmla="*/ 80 h 661"/>
                <a:gd name="T114" fmla="*/ 394 w 908"/>
                <a:gd name="T115" fmla="*/ 51 h 661"/>
                <a:gd name="T116" fmla="*/ 460 w 908"/>
                <a:gd name="T117" fmla="*/ 62 h 661"/>
                <a:gd name="T118" fmla="*/ 516 w 908"/>
                <a:gd name="T119" fmla="*/ 20 h 661"/>
                <a:gd name="T120" fmla="*/ 545 w 908"/>
                <a:gd name="T121" fmla="*/ 2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8" h="661">
                  <a:moveTo>
                    <a:pt x="556" y="1"/>
                  </a:moveTo>
                  <a:lnTo>
                    <a:pt x="559" y="3"/>
                  </a:lnTo>
                  <a:lnTo>
                    <a:pt x="564" y="6"/>
                  </a:lnTo>
                  <a:lnTo>
                    <a:pt x="567" y="7"/>
                  </a:lnTo>
                  <a:lnTo>
                    <a:pt x="579" y="17"/>
                  </a:lnTo>
                  <a:lnTo>
                    <a:pt x="591" y="25"/>
                  </a:lnTo>
                  <a:lnTo>
                    <a:pt x="598" y="29"/>
                  </a:lnTo>
                  <a:lnTo>
                    <a:pt x="602" y="31"/>
                  </a:lnTo>
                  <a:lnTo>
                    <a:pt x="608" y="37"/>
                  </a:lnTo>
                  <a:lnTo>
                    <a:pt x="613" y="40"/>
                  </a:lnTo>
                  <a:lnTo>
                    <a:pt x="614" y="42"/>
                  </a:lnTo>
                  <a:lnTo>
                    <a:pt x="616" y="43"/>
                  </a:lnTo>
                  <a:lnTo>
                    <a:pt x="622" y="46"/>
                  </a:lnTo>
                  <a:lnTo>
                    <a:pt x="623" y="46"/>
                  </a:lnTo>
                  <a:lnTo>
                    <a:pt x="626" y="48"/>
                  </a:lnTo>
                  <a:lnTo>
                    <a:pt x="630" y="51"/>
                  </a:lnTo>
                  <a:lnTo>
                    <a:pt x="636" y="57"/>
                  </a:lnTo>
                  <a:lnTo>
                    <a:pt x="639" y="60"/>
                  </a:lnTo>
                  <a:lnTo>
                    <a:pt x="643" y="63"/>
                  </a:lnTo>
                  <a:lnTo>
                    <a:pt x="645" y="65"/>
                  </a:lnTo>
                  <a:lnTo>
                    <a:pt x="646" y="66"/>
                  </a:lnTo>
                  <a:lnTo>
                    <a:pt x="647" y="67"/>
                  </a:lnTo>
                  <a:lnTo>
                    <a:pt x="647" y="67"/>
                  </a:lnTo>
                  <a:lnTo>
                    <a:pt x="648" y="67"/>
                  </a:lnTo>
                  <a:lnTo>
                    <a:pt x="658" y="74"/>
                  </a:lnTo>
                  <a:lnTo>
                    <a:pt x="662" y="75"/>
                  </a:lnTo>
                  <a:lnTo>
                    <a:pt x="665" y="77"/>
                  </a:lnTo>
                  <a:lnTo>
                    <a:pt x="668" y="78"/>
                  </a:lnTo>
                  <a:lnTo>
                    <a:pt x="672" y="79"/>
                  </a:lnTo>
                  <a:lnTo>
                    <a:pt x="679" y="81"/>
                  </a:lnTo>
                  <a:lnTo>
                    <a:pt x="684" y="82"/>
                  </a:lnTo>
                  <a:lnTo>
                    <a:pt x="689" y="83"/>
                  </a:lnTo>
                  <a:lnTo>
                    <a:pt x="697" y="83"/>
                  </a:lnTo>
                  <a:lnTo>
                    <a:pt x="701" y="84"/>
                  </a:lnTo>
                  <a:lnTo>
                    <a:pt x="704" y="85"/>
                  </a:lnTo>
                  <a:lnTo>
                    <a:pt x="712" y="86"/>
                  </a:lnTo>
                  <a:lnTo>
                    <a:pt x="717" y="88"/>
                  </a:lnTo>
                  <a:lnTo>
                    <a:pt x="720" y="88"/>
                  </a:lnTo>
                  <a:lnTo>
                    <a:pt x="726" y="89"/>
                  </a:lnTo>
                  <a:lnTo>
                    <a:pt x="729" y="89"/>
                  </a:lnTo>
                  <a:lnTo>
                    <a:pt x="734" y="90"/>
                  </a:lnTo>
                  <a:lnTo>
                    <a:pt x="738" y="91"/>
                  </a:lnTo>
                  <a:lnTo>
                    <a:pt x="739" y="92"/>
                  </a:lnTo>
                  <a:lnTo>
                    <a:pt x="741" y="92"/>
                  </a:lnTo>
                  <a:lnTo>
                    <a:pt x="745" y="94"/>
                  </a:lnTo>
                  <a:lnTo>
                    <a:pt x="752" y="98"/>
                  </a:lnTo>
                  <a:lnTo>
                    <a:pt x="755" y="99"/>
                  </a:lnTo>
                  <a:lnTo>
                    <a:pt x="756" y="101"/>
                  </a:lnTo>
                  <a:lnTo>
                    <a:pt x="758" y="102"/>
                  </a:lnTo>
                  <a:lnTo>
                    <a:pt x="759" y="103"/>
                  </a:lnTo>
                  <a:lnTo>
                    <a:pt x="760" y="104"/>
                  </a:lnTo>
                  <a:lnTo>
                    <a:pt x="761" y="106"/>
                  </a:lnTo>
                  <a:lnTo>
                    <a:pt x="761" y="107"/>
                  </a:lnTo>
                  <a:lnTo>
                    <a:pt x="761" y="108"/>
                  </a:lnTo>
                  <a:lnTo>
                    <a:pt x="761" y="110"/>
                  </a:lnTo>
                  <a:lnTo>
                    <a:pt x="762" y="112"/>
                  </a:lnTo>
                  <a:lnTo>
                    <a:pt x="762" y="119"/>
                  </a:lnTo>
                  <a:lnTo>
                    <a:pt x="762" y="121"/>
                  </a:lnTo>
                  <a:lnTo>
                    <a:pt x="762" y="123"/>
                  </a:lnTo>
                  <a:lnTo>
                    <a:pt x="762" y="124"/>
                  </a:lnTo>
                  <a:lnTo>
                    <a:pt x="763" y="125"/>
                  </a:lnTo>
                  <a:lnTo>
                    <a:pt x="764" y="126"/>
                  </a:lnTo>
                  <a:lnTo>
                    <a:pt x="765" y="127"/>
                  </a:lnTo>
                  <a:lnTo>
                    <a:pt x="766" y="128"/>
                  </a:lnTo>
                  <a:lnTo>
                    <a:pt x="767" y="129"/>
                  </a:lnTo>
                  <a:lnTo>
                    <a:pt x="768" y="130"/>
                  </a:lnTo>
                  <a:lnTo>
                    <a:pt x="770" y="130"/>
                  </a:lnTo>
                  <a:lnTo>
                    <a:pt x="771" y="130"/>
                  </a:lnTo>
                  <a:lnTo>
                    <a:pt x="772" y="131"/>
                  </a:lnTo>
                  <a:lnTo>
                    <a:pt x="773" y="131"/>
                  </a:lnTo>
                  <a:lnTo>
                    <a:pt x="774" y="131"/>
                  </a:lnTo>
                  <a:lnTo>
                    <a:pt x="775" y="131"/>
                  </a:lnTo>
                  <a:lnTo>
                    <a:pt x="778" y="130"/>
                  </a:lnTo>
                  <a:lnTo>
                    <a:pt x="783" y="130"/>
                  </a:lnTo>
                  <a:lnTo>
                    <a:pt x="785" y="129"/>
                  </a:lnTo>
                  <a:lnTo>
                    <a:pt x="787" y="129"/>
                  </a:lnTo>
                  <a:lnTo>
                    <a:pt x="790" y="129"/>
                  </a:lnTo>
                  <a:lnTo>
                    <a:pt x="793" y="129"/>
                  </a:lnTo>
                  <a:lnTo>
                    <a:pt x="796" y="129"/>
                  </a:lnTo>
                  <a:lnTo>
                    <a:pt x="806" y="130"/>
                  </a:lnTo>
                  <a:lnTo>
                    <a:pt x="811" y="130"/>
                  </a:lnTo>
                  <a:lnTo>
                    <a:pt x="816" y="131"/>
                  </a:lnTo>
                  <a:lnTo>
                    <a:pt x="823" y="131"/>
                  </a:lnTo>
                  <a:lnTo>
                    <a:pt x="826" y="131"/>
                  </a:lnTo>
                  <a:lnTo>
                    <a:pt x="828" y="131"/>
                  </a:lnTo>
                  <a:lnTo>
                    <a:pt x="838" y="130"/>
                  </a:lnTo>
                  <a:lnTo>
                    <a:pt x="840" y="130"/>
                  </a:lnTo>
                  <a:lnTo>
                    <a:pt x="840" y="130"/>
                  </a:lnTo>
                  <a:lnTo>
                    <a:pt x="842" y="130"/>
                  </a:lnTo>
                  <a:lnTo>
                    <a:pt x="844" y="130"/>
                  </a:lnTo>
                  <a:lnTo>
                    <a:pt x="845" y="131"/>
                  </a:lnTo>
                  <a:lnTo>
                    <a:pt x="847" y="132"/>
                  </a:lnTo>
                  <a:lnTo>
                    <a:pt x="849" y="134"/>
                  </a:lnTo>
                  <a:lnTo>
                    <a:pt x="851" y="135"/>
                  </a:lnTo>
                  <a:lnTo>
                    <a:pt x="852" y="137"/>
                  </a:lnTo>
                  <a:lnTo>
                    <a:pt x="853" y="139"/>
                  </a:lnTo>
                  <a:lnTo>
                    <a:pt x="855" y="142"/>
                  </a:lnTo>
                  <a:lnTo>
                    <a:pt x="856" y="144"/>
                  </a:lnTo>
                  <a:lnTo>
                    <a:pt x="858" y="147"/>
                  </a:lnTo>
                  <a:lnTo>
                    <a:pt x="860" y="152"/>
                  </a:lnTo>
                  <a:lnTo>
                    <a:pt x="861" y="153"/>
                  </a:lnTo>
                  <a:lnTo>
                    <a:pt x="861" y="155"/>
                  </a:lnTo>
                  <a:lnTo>
                    <a:pt x="861" y="158"/>
                  </a:lnTo>
                  <a:lnTo>
                    <a:pt x="862" y="161"/>
                  </a:lnTo>
                  <a:lnTo>
                    <a:pt x="861" y="164"/>
                  </a:lnTo>
                  <a:lnTo>
                    <a:pt x="861" y="168"/>
                  </a:lnTo>
                  <a:lnTo>
                    <a:pt x="860" y="170"/>
                  </a:lnTo>
                  <a:lnTo>
                    <a:pt x="858" y="177"/>
                  </a:lnTo>
                  <a:lnTo>
                    <a:pt x="857" y="179"/>
                  </a:lnTo>
                  <a:lnTo>
                    <a:pt x="857" y="181"/>
                  </a:lnTo>
                  <a:lnTo>
                    <a:pt x="857" y="184"/>
                  </a:lnTo>
                  <a:lnTo>
                    <a:pt x="857" y="186"/>
                  </a:lnTo>
                  <a:lnTo>
                    <a:pt x="857" y="194"/>
                  </a:lnTo>
                  <a:lnTo>
                    <a:pt x="857" y="196"/>
                  </a:lnTo>
                  <a:lnTo>
                    <a:pt x="857" y="198"/>
                  </a:lnTo>
                  <a:lnTo>
                    <a:pt x="856" y="199"/>
                  </a:lnTo>
                  <a:lnTo>
                    <a:pt x="855" y="205"/>
                  </a:lnTo>
                  <a:lnTo>
                    <a:pt x="852" y="213"/>
                  </a:lnTo>
                  <a:lnTo>
                    <a:pt x="852" y="217"/>
                  </a:lnTo>
                  <a:lnTo>
                    <a:pt x="852" y="221"/>
                  </a:lnTo>
                  <a:lnTo>
                    <a:pt x="852" y="223"/>
                  </a:lnTo>
                  <a:lnTo>
                    <a:pt x="852" y="225"/>
                  </a:lnTo>
                  <a:lnTo>
                    <a:pt x="853" y="227"/>
                  </a:lnTo>
                  <a:lnTo>
                    <a:pt x="855" y="232"/>
                  </a:lnTo>
                  <a:lnTo>
                    <a:pt x="856" y="235"/>
                  </a:lnTo>
                  <a:lnTo>
                    <a:pt x="857" y="242"/>
                  </a:lnTo>
                  <a:lnTo>
                    <a:pt x="858" y="245"/>
                  </a:lnTo>
                  <a:lnTo>
                    <a:pt x="858" y="249"/>
                  </a:lnTo>
                  <a:lnTo>
                    <a:pt x="858" y="253"/>
                  </a:lnTo>
                  <a:lnTo>
                    <a:pt x="858" y="255"/>
                  </a:lnTo>
                  <a:lnTo>
                    <a:pt x="857" y="261"/>
                  </a:lnTo>
                  <a:lnTo>
                    <a:pt x="857" y="262"/>
                  </a:lnTo>
                  <a:lnTo>
                    <a:pt x="857" y="264"/>
                  </a:lnTo>
                  <a:lnTo>
                    <a:pt x="857" y="266"/>
                  </a:lnTo>
                  <a:lnTo>
                    <a:pt x="857" y="267"/>
                  </a:lnTo>
                  <a:lnTo>
                    <a:pt x="858" y="269"/>
                  </a:lnTo>
                  <a:lnTo>
                    <a:pt x="859" y="270"/>
                  </a:lnTo>
                  <a:lnTo>
                    <a:pt x="860" y="272"/>
                  </a:lnTo>
                  <a:lnTo>
                    <a:pt x="862" y="274"/>
                  </a:lnTo>
                  <a:lnTo>
                    <a:pt x="864" y="278"/>
                  </a:lnTo>
                  <a:lnTo>
                    <a:pt x="866" y="279"/>
                  </a:lnTo>
                  <a:lnTo>
                    <a:pt x="868" y="281"/>
                  </a:lnTo>
                  <a:lnTo>
                    <a:pt x="869" y="283"/>
                  </a:lnTo>
                  <a:lnTo>
                    <a:pt x="869" y="285"/>
                  </a:lnTo>
                  <a:lnTo>
                    <a:pt x="870" y="289"/>
                  </a:lnTo>
                  <a:lnTo>
                    <a:pt x="870" y="291"/>
                  </a:lnTo>
                  <a:lnTo>
                    <a:pt x="870" y="299"/>
                  </a:lnTo>
                  <a:lnTo>
                    <a:pt x="870" y="300"/>
                  </a:lnTo>
                  <a:lnTo>
                    <a:pt x="870" y="302"/>
                  </a:lnTo>
                  <a:lnTo>
                    <a:pt x="871" y="303"/>
                  </a:lnTo>
                  <a:lnTo>
                    <a:pt x="872" y="305"/>
                  </a:lnTo>
                  <a:lnTo>
                    <a:pt x="876" y="311"/>
                  </a:lnTo>
                  <a:lnTo>
                    <a:pt x="878" y="314"/>
                  </a:lnTo>
                  <a:lnTo>
                    <a:pt x="882" y="320"/>
                  </a:lnTo>
                  <a:lnTo>
                    <a:pt x="884" y="323"/>
                  </a:lnTo>
                  <a:lnTo>
                    <a:pt x="887" y="334"/>
                  </a:lnTo>
                  <a:lnTo>
                    <a:pt x="889" y="339"/>
                  </a:lnTo>
                  <a:lnTo>
                    <a:pt x="890" y="343"/>
                  </a:lnTo>
                  <a:lnTo>
                    <a:pt x="892" y="349"/>
                  </a:lnTo>
                  <a:lnTo>
                    <a:pt x="893" y="354"/>
                  </a:lnTo>
                  <a:lnTo>
                    <a:pt x="893" y="355"/>
                  </a:lnTo>
                  <a:lnTo>
                    <a:pt x="893" y="357"/>
                  </a:lnTo>
                  <a:lnTo>
                    <a:pt x="893" y="357"/>
                  </a:lnTo>
                  <a:lnTo>
                    <a:pt x="893" y="359"/>
                  </a:lnTo>
                  <a:lnTo>
                    <a:pt x="893" y="360"/>
                  </a:lnTo>
                  <a:lnTo>
                    <a:pt x="892" y="362"/>
                  </a:lnTo>
                  <a:lnTo>
                    <a:pt x="891" y="363"/>
                  </a:lnTo>
                  <a:lnTo>
                    <a:pt x="889" y="367"/>
                  </a:lnTo>
                  <a:lnTo>
                    <a:pt x="888" y="368"/>
                  </a:lnTo>
                  <a:lnTo>
                    <a:pt x="888" y="369"/>
                  </a:lnTo>
                  <a:lnTo>
                    <a:pt x="888" y="370"/>
                  </a:lnTo>
                  <a:lnTo>
                    <a:pt x="888" y="372"/>
                  </a:lnTo>
                  <a:lnTo>
                    <a:pt x="890" y="377"/>
                  </a:lnTo>
                  <a:lnTo>
                    <a:pt x="890" y="380"/>
                  </a:lnTo>
                  <a:lnTo>
                    <a:pt x="890" y="381"/>
                  </a:lnTo>
                  <a:lnTo>
                    <a:pt x="890" y="382"/>
                  </a:lnTo>
                  <a:lnTo>
                    <a:pt x="890" y="383"/>
                  </a:lnTo>
                  <a:lnTo>
                    <a:pt x="889" y="384"/>
                  </a:lnTo>
                  <a:lnTo>
                    <a:pt x="888" y="385"/>
                  </a:lnTo>
                  <a:lnTo>
                    <a:pt x="887" y="385"/>
                  </a:lnTo>
                  <a:lnTo>
                    <a:pt x="885" y="385"/>
                  </a:lnTo>
                  <a:lnTo>
                    <a:pt x="879" y="384"/>
                  </a:lnTo>
                  <a:lnTo>
                    <a:pt x="875" y="383"/>
                  </a:lnTo>
                  <a:lnTo>
                    <a:pt x="873" y="383"/>
                  </a:lnTo>
                  <a:lnTo>
                    <a:pt x="872" y="383"/>
                  </a:lnTo>
                  <a:lnTo>
                    <a:pt x="870" y="384"/>
                  </a:lnTo>
                  <a:lnTo>
                    <a:pt x="868" y="384"/>
                  </a:lnTo>
                  <a:lnTo>
                    <a:pt x="866" y="385"/>
                  </a:lnTo>
                  <a:lnTo>
                    <a:pt x="864" y="386"/>
                  </a:lnTo>
                  <a:lnTo>
                    <a:pt x="863" y="387"/>
                  </a:lnTo>
                  <a:lnTo>
                    <a:pt x="863" y="388"/>
                  </a:lnTo>
                  <a:lnTo>
                    <a:pt x="862" y="389"/>
                  </a:lnTo>
                  <a:lnTo>
                    <a:pt x="860" y="391"/>
                  </a:lnTo>
                  <a:lnTo>
                    <a:pt x="859" y="392"/>
                  </a:lnTo>
                  <a:lnTo>
                    <a:pt x="859" y="393"/>
                  </a:lnTo>
                  <a:lnTo>
                    <a:pt x="860" y="394"/>
                  </a:lnTo>
                  <a:lnTo>
                    <a:pt x="860" y="395"/>
                  </a:lnTo>
                  <a:lnTo>
                    <a:pt x="861" y="396"/>
                  </a:lnTo>
                  <a:lnTo>
                    <a:pt x="862" y="397"/>
                  </a:lnTo>
                  <a:lnTo>
                    <a:pt x="863" y="398"/>
                  </a:lnTo>
                  <a:lnTo>
                    <a:pt x="865" y="400"/>
                  </a:lnTo>
                  <a:lnTo>
                    <a:pt x="867" y="401"/>
                  </a:lnTo>
                  <a:lnTo>
                    <a:pt x="868" y="401"/>
                  </a:lnTo>
                  <a:lnTo>
                    <a:pt x="878" y="402"/>
                  </a:lnTo>
                  <a:lnTo>
                    <a:pt x="880" y="403"/>
                  </a:lnTo>
                  <a:lnTo>
                    <a:pt x="882" y="404"/>
                  </a:lnTo>
                  <a:lnTo>
                    <a:pt x="885" y="405"/>
                  </a:lnTo>
                  <a:lnTo>
                    <a:pt x="886" y="406"/>
                  </a:lnTo>
                  <a:lnTo>
                    <a:pt x="888" y="407"/>
                  </a:lnTo>
                  <a:lnTo>
                    <a:pt x="891" y="409"/>
                  </a:lnTo>
                  <a:lnTo>
                    <a:pt x="893" y="411"/>
                  </a:lnTo>
                  <a:lnTo>
                    <a:pt x="894" y="413"/>
                  </a:lnTo>
                  <a:lnTo>
                    <a:pt x="899" y="420"/>
                  </a:lnTo>
                  <a:lnTo>
                    <a:pt x="901" y="423"/>
                  </a:lnTo>
                  <a:lnTo>
                    <a:pt x="903" y="425"/>
                  </a:lnTo>
                  <a:lnTo>
                    <a:pt x="904" y="427"/>
                  </a:lnTo>
                  <a:lnTo>
                    <a:pt x="906" y="430"/>
                  </a:lnTo>
                  <a:lnTo>
                    <a:pt x="907" y="435"/>
                  </a:lnTo>
                  <a:lnTo>
                    <a:pt x="908" y="435"/>
                  </a:lnTo>
                  <a:lnTo>
                    <a:pt x="905" y="436"/>
                  </a:lnTo>
                  <a:lnTo>
                    <a:pt x="903" y="436"/>
                  </a:lnTo>
                  <a:lnTo>
                    <a:pt x="901" y="437"/>
                  </a:lnTo>
                  <a:lnTo>
                    <a:pt x="900" y="438"/>
                  </a:lnTo>
                  <a:lnTo>
                    <a:pt x="899" y="439"/>
                  </a:lnTo>
                  <a:lnTo>
                    <a:pt x="898" y="441"/>
                  </a:lnTo>
                  <a:lnTo>
                    <a:pt x="897" y="445"/>
                  </a:lnTo>
                  <a:lnTo>
                    <a:pt x="895" y="448"/>
                  </a:lnTo>
                  <a:lnTo>
                    <a:pt x="894" y="451"/>
                  </a:lnTo>
                  <a:lnTo>
                    <a:pt x="894" y="453"/>
                  </a:lnTo>
                  <a:lnTo>
                    <a:pt x="894" y="455"/>
                  </a:lnTo>
                  <a:lnTo>
                    <a:pt x="894" y="457"/>
                  </a:lnTo>
                  <a:lnTo>
                    <a:pt x="894" y="459"/>
                  </a:lnTo>
                  <a:lnTo>
                    <a:pt x="895" y="459"/>
                  </a:lnTo>
                  <a:lnTo>
                    <a:pt x="895" y="461"/>
                  </a:lnTo>
                  <a:lnTo>
                    <a:pt x="897" y="464"/>
                  </a:lnTo>
                  <a:lnTo>
                    <a:pt x="898" y="466"/>
                  </a:lnTo>
                  <a:lnTo>
                    <a:pt x="899" y="467"/>
                  </a:lnTo>
                  <a:lnTo>
                    <a:pt x="899" y="470"/>
                  </a:lnTo>
                  <a:lnTo>
                    <a:pt x="899" y="470"/>
                  </a:lnTo>
                  <a:lnTo>
                    <a:pt x="899" y="471"/>
                  </a:lnTo>
                  <a:lnTo>
                    <a:pt x="899" y="473"/>
                  </a:lnTo>
                  <a:lnTo>
                    <a:pt x="898" y="475"/>
                  </a:lnTo>
                  <a:lnTo>
                    <a:pt x="897" y="476"/>
                  </a:lnTo>
                  <a:lnTo>
                    <a:pt x="897" y="478"/>
                  </a:lnTo>
                  <a:lnTo>
                    <a:pt x="896" y="480"/>
                  </a:lnTo>
                  <a:lnTo>
                    <a:pt x="894" y="481"/>
                  </a:lnTo>
                  <a:lnTo>
                    <a:pt x="892" y="482"/>
                  </a:lnTo>
                  <a:lnTo>
                    <a:pt x="889" y="483"/>
                  </a:lnTo>
                  <a:lnTo>
                    <a:pt x="886" y="486"/>
                  </a:lnTo>
                  <a:lnTo>
                    <a:pt x="884" y="487"/>
                  </a:lnTo>
                  <a:lnTo>
                    <a:pt x="881" y="489"/>
                  </a:lnTo>
                  <a:lnTo>
                    <a:pt x="874" y="492"/>
                  </a:lnTo>
                  <a:lnTo>
                    <a:pt x="869" y="493"/>
                  </a:lnTo>
                  <a:lnTo>
                    <a:pt x="867" y="493"/>
                  </a:lnTo>
                  <a:lnTo>
                    <a:pt x="863" y="494"/>
                  </a:lnTo>
                  <a:lnTo>
                    <a:pt x="860" y="496"/>
                  </a:lnTo>
                  <a:lnTo>
                    <a:pt x="859" y="496"/>
                  </a:lnTo>
                  <a:lnTo>
                    <a:pt x="858" y="497"/>
                  </a:lnTo>
                  <a:lnTo>
                    <a:pt x="857" y="498"/>
                  </a:lnTo>
                  <a:lnTo>
                    <a:pt x="856" y="499"/>
                  </a:lnTo>
                  <a:lnTo>
                    <a:pt x="856" y="501"/>
                  </a:lnTo>
                  <a:lnTo>
                    <a:pt x="855" y="503"/>
                  </a:lnTo>
                  <a:lnTo>
                    <a:pt x="855" y="504"/>
                  </a:lnTo>
                  <a:lnTo>
                    <a:pt x="856" y="508"/>
                  </a:lnTo>
                  <a:lnTo>
                    <a:pt x="856" y="511"/>
                  </a:lnTo>
                  <a:lnTo>
                    <a:pt x="856" y="516"/>
                  </a:lnTo>
                  <a:lnTo>
                    <a:pt x="856" y="518"/>
                  </a:lnTo>
                  <a:lnTo>
                    <a:pt x="856" y="521"/>
                  </a:lnTo>
                  <a:lnTo>
                    <a:pt x="855" y="525"/>
                  </a:lnTo>
                  <a:lnTo>
                    <a:pt x="852" y="539"/>
                  </a:lnTo>
                  <a:lnTo>
                    <a:pt x="851" y="542"/>
                  </a:lnTo>
                  <a:lnTo>
                    <a:pt x="850" y="544"/>
                  </a:lnTo>
                  <a:lnTo>
                    <a:pt x="849" y="546"/>
                  </a:lnTo>
                  <a:lnTo>
                    <a:pt x="848" y="548"/>
                  </a:lnTo>
                  <a:lnTo>
                    <a:pt x="847" y="549"/>
                  </a:lnTo>
                  <a:lnTo>
                    <a:pt x="845" y="550"/>
                  </a:lnTo>
                  <a:lnTo>
                    <a:pt x="843" y="550"/>
                  </a:lnTo>
                  <a:lnTo>
                    <a:pt x="842" y="550"/>
                  </a:lnTo>
                  <a:lnTo>
                    <a:pt x="840" y="550"/>
                  </a:lnTo>
                  <a:lnTo>
                    <a:pt x="839" y="550"/>
                  </a:lnTo>
                  <a:lnTo>
                    <a:pt x="836" y="550"/>
                  </a:lnTo>
                  <a:lnTo>
                    <a:pt x="834" y="549"/>
                  </a:lnTo>
                  <a:lnTo>
                    <a:pt x="832" y="548"/>
                  </a:lnTo>
                  <a:lnTo>
                    <a:pt x="830" y="547"/>
                  </a:lnTo>
                  <a:lnTo>
                    <a:pt x="828" y="545"/>
                  </a:lnTo>
                  <a:lnTo>
                    <a:pt x="824" y="542"/>
                  </a:lnTo>
                  <a:lnTo>
                    <a:pt x="817" y="537"/>
                  </a:lnTo>
                  <a:lnTo>
                    <a:pt x="813" y="535"/>
                  </a:lnTo>
                  <a:lnTo>
                    <a:pt x="812" y="534"/>
                  </a:lnTo>
                  <a:lnTo>
                    <a:pt x="807" y="529"/>
                  </a:lnTo>
                  <a:lnTo>
                    <a:pt x="804" y="527"/>
                  </a:lnTo>
                  <a:lnTo>
                    <a:pt x="800" y="525"/>
                  </a:lnTo>
                  <a:lnTo>
                    <a:pt x="798" y="524"/>
                  </a:lnTo>
                  <a:lnTo>
                    <a:pt x="796" y="523"/>
                  </a:lnTo>
                  <a:lnTo>
                    <a:pt x="795" y="522"/>
                  </a:lnTo>
                  <a:lnTo>
                    <a:pt x="789" y="520"/>
                  </a:lnTo>
                  <a:lnTo>
                    <a:pt x="786" y="519"/>
                  </a:lnTo>
                  <a:lnTo>
                    <a:pt x="784" y="519"/>
                  </a:lnTo>
                  <a:lnTo>
                    <a:pt x="775" y="518"/>
                  </a:lnTo>
                  <a:lnTo>
                    <a:pt x="767" y="518"/>
                  </a:lnTo>
                  <a:lnTo>
                    <a:pt x="764" y="517"/>
                  </a:lnTo>
                  <a:lnTo>
                    <a:pt x="759" y="516"/>
                  </a:lnTo>
                  <a:lnTo>
                    <a:pt x="752" y="515"/>
                  </a:lnTo>
                  <a:lnTo>
                    <a:pt x="750" y="514"/>
                  </a:lnTo>
                  <a:lnTo>
                    <a:pt x="749" y="514"/>
                  </a:lnTo>
                  <a:lnTo>
                    <a:pt x="748" y="515"/>
                  </a:lnTo>
                  <a:lnTo>
                    <a:pt x="747" y="515"/>
                  </a:lnTo>
                  <a:lnTo>
                    <a:pt x="745" y="516"/>
                  </a:lnTo>
                  <a:lnTo>
                    <a:pt x="743" y="516"/>
                  </a:lnTo>
                  <a:lnTo>
                    <a:pt x="741" y="517"/>
                  </a:lnTo>
                  <a:lnTo>
                    <a:pt x="740" y="519"/>
                  </a:lnTo>
                  <a:lnTo>
                    <a:pt x="737" y="523"/>
                  </a:lnTo>
                  <a:lnTo>
                    <a:pt x="731" y="527"/>
                  </a:lnTo>
                  <a:lnTo>
                    <a:pt x="727" y="532"/>
                  </a:lnTo>
                  <a:lnTo>
                    <a:pt x="724" y="535"/>
                  </a:lnTo>
                  <a:lnTo>
                    <a:pt x="722" y="536"/>
                  </a:lnTo>
                  <a:lnTo>
                    <a:pt x="715" y="539"/>
                  </a:lnTo>
                  <a:lnTo>
                    <a:pt x="711" y="543"/>
                  </a:lnTo>
                  <a:lnTo>
                    <a:pt x="706" y="546"/>
                  </a:lnTo>
                  <a:lnTo>
                    <a:pt x="701" y="550"/>
                  </a:lnTo>
                  <a:lnTo>
                    <a:pt x="689" y="557"/>
                  </a:lnTo>
                  <a:lnTo>
                    <a:pt x="687" y="559"/>
                  </a:lnTo>
                  <a:lnTo>
                    <a:pt x="681" y="561"/>
                  </a:lnTo>
                  <a:lnTo>
                    <a:pt x="679" y="562"/>
                  </a:lnTo>
                  <a:lnTo>
                    <a:pt x="677" y="563"/>
                  </a:lnTo>
                  <a:lnTo>
                    <a:pt x="672" y="567"/>
                  </a:lnTo>
                  <a:lnTo>
                    <a:pt x="670" y="568"/>
                  </a:lnTo>
                  <a:lnTo>
                    <a:pt x="662" y="572"/>
                  </a:lnTo>
                  <a:lnTo>
                    <a:pt x="656" y="574"/>
                  </a:lnTo>
                  <a:lnTo>
                    <a:pt x="654" y="575"/>
                  </a:lnTo>
                  <a:lnTo>
                    <a:pt x="651" y="576"/>
                  </a:lnTo>
                  <a:lnTo>
                    <a:pt x="649" y="578"/>
                  </a:lnTo>
                  <a:lnTo>
                    <a:pt x="648" y="579"/>
                  </a:lnTo>
                  <a:lnTo>
                    <a:pt x="647" y="581"/>
                  </a:lnTo>
                  <a:lnTo>
                    <a:pt x="647" y="582"/>
                  </a:lnTo>
                  <a:lnTo>
                    <a:pt x="647" y="584"/>
                  </a:lnTo>
                  <a:lnTo>
                    <a:pt x="647" y="584"/>
                  </a:lnTo>
                  <a:lnTo>
                    <a:pt x="647" y="586"/>
                  </a:lnTo>
                  <a:lnTo>
                    <a:pt x="647" y="594"/>
                  </a:lnTo>
                  <a:lnTo>
                    <a:pt x="647" y="595"/>
                  </a:lnTo>
                  <a:lnTo>
                    <a:pt x="647" y="597"/>
                  </a:lnTo>
                  <a:lnTo>
                    <a:pt x="644" y="610"/>
                  </a:lnTo>
                  <a:lnTo>
                    <a:pt x="643" y="612"/>
                  </a:lnTo>
                  <a:lnTo>
                    <a:pt x="642" y="613"/>
                  </a:lnTo>
                  <a:lnTo>
                    <a:pt x="640" y="616"/>
                  </a:lnTo>
                  <a:lnTo>
                    <a:pt x="638" y="618"/>
                  </a:lnTo>
                  <a:lnTo>
                    <a:pt x="636" y="621"/>
                  </a:lnTo>
                  <a:lnTo>
                    <a:pt x="632" y="625"/>
                  </a:lnTo>
                  <a:lnTo>
                    <a:pt x="629" y="627"/>
                  </a:lnTo>
                  <a:lnTo>
                    <a:pt x="626" y="629"/>
                  </a:lnTo>
                  <a:lnTo>
                    <a:pt x="623" y="631"/>
                  </a:lnTo>
                  <a:lnTo>
                    <a:pt x="620" y="632"/>
                  </a:lnTo>
                  <a:lnTo>
                    <a:pt x="617" y="633"/>
                  </a:lnTo>
                  <a:lnTo>
                    <a:pt x="615" y="633"/>
                  </a:lnTo>
                  <a:lnTo>
                    <a:pt x="613" y="633"/>
                  </a:lnTo>
                  <a:lnTo>
                    <a:pt x="611" y="633"/>
                  </a:lnTo>
                  <a:lnTo>
                    <a:pt x="610" y="633"/>
                  </a:lnTo>
                  <a:lnTo>
                    <a:pt x="607" y="632"/>
                  </a:lnTo>
                  <a:lnTo>
                    <a:pt x="600" y="629"/>
                  </a:lnTo>
                  <a:lnTo>
                    <a:pt x="597" y="629"/>
                  </a:lnTo>
                  <a:lnTo>
                    <a:pt x="594" y="628"/>
                  </a:lnTo>
                  <a:lnTo>
                    <a:pt x="591" y="628"/>
                  </a:lnTo>
                  <a:lnTo>
                    <a:pt x="589" y="628"/>
                  </a:lnTo>
                  <a:lnTo>
                    <a:pt x="587" y="628"/>
                  </a:lnTo>
                  <a:lnTo>
                    <a:pt x="584" y="629"/>
                  </a:lnTo>
                  <a:lnTo>
                    <a:pt x="579" y="629"/>
                  </a:lnTo>
                  <a:lnTo>
                    <a:pt x="575" y="629"/>
                  </a:lnTo>
                  <a:lnTo>
                    <a:pt x="572" y="629"/>
                  </a:lnTo>
                  <a:lnTo>
                    <a:pt x="568" y="629"/>
                  </a:lnTo>
                  <a:lnTo>
                    <a:pt x="566" y="629"/>
                  </a:lnTo>
                  <a:lnTo>
                    <a:pt x="563" y="629"/>
                  </a:lnTo>
                  <a:lnTo>
                    <a:pt x="561" y="629"/>
                  </a:lnTo>
                  <a:lnTo>
                    <a:pt x="559" y="628"/>
                  </a:lnTo>
                  <a:lnTo>
                    <a:pt x="551" y="625"/>
                  </a:lnTo>
                  <a:lnTo>
                    <a:pt x="548" y="624"/>
                  </a:lnTo>
                  <a:lnTo>
                    <a:pt x="536" y="621"/>
                  </a:lnTo>
                  <a:lnTo>
                    <a:pt x="533" y="619"/>
                  </a:lnTo>
                  <a:lnTo>
                    <a:pt x="529" y="618"/>
                  </a:lnTo>
                  <a:lnTo>
                    <a:pt x="526" y="618"/>
                  </a:lnTo>
                  <a:lnTo>
                    <a:pt x="524" y="617"/>
                  </a:lnTo>
                  <a:lnTo>
                    <a:pt x="522" y="617"/>
                  </a:lnTo>
                  <a:lnTo>
                    <a:pt x="518" y="616"/>
                  </a:lnTo>
                  <a:lnTo>
                    <a:pt x="516" y="616"/>
                  </a:lnTo>
                  <a:lnTo>
                    <a:pt x="514" y="617"/>
                  </a:lnTo>
                  <a:lnTo>
                    <a:pt x="511" y="617"/>
                  </a:lnTo>
                  <a:lnTo>
                    <a:pt x="510" y="618"/>
                  </a:lnTo>
                  <a:lnTo>
                    <a:pt x="502" y="620"/>
                  </a:lnTo>
                  <a:lnTo>
                    <a:pt x="499" y="621"/>
                  </a:lnTo>
                  <a:lnTo>
                    <a:pt x="498" y="621"/>
                  </a:lnTo>
                  <a:lnTo>
                    <a:pt x="492" y="622"/>
                  </a:lnTo>
                  <a:lnTo>
                    <a:pt x="490" y="622"/>
                  </a:lnTo>
                  <a:lnTo>
                    <a:pt x="481" y="623"/>
                  </a:lnTo>
                  <a:lnTo>
                    <a:pt x="477" y="624"/>
                  </a:lnTo>
                  <a:lnTo>
                    <a:pt x="475" y="625"/>
                  </a:lnTo>
                  <a:lnTo>
                    <a:pt x="469" y="628"/>
                  </a:lnTo>
                  <a:lnTo>
                    <a:pt x="465" y="629"/>
                  </a:lnTo>
                  <a:lnTo>
                    <a:pt x="462" y="629"/>
                  </a:lnTo>
                  <a:lnTo>
                    <a:pt x="456" y="631"/>
                  </a:lnTo>
                  <a:lnTo>
                    <a:pt x="454" y="632"/>
                  </a:lnTo>
                  <a:lnTo>
                    <a:pt x="452" y="633"/>
                  </a:lnTo>
                  <a:lnTo>
                    <a:pt x="451" y="634"/>
                  </a:lnTo>
                  <a:lnTo>
                    <a:pt x="450" y="635"/>
                  </a:lnTo>
                  <a:lnTo>
                    <a:pt x="447" y="639"/>
                  </a:lnTo>
                  <a:lnTo>
                    <a:pt x="446" y="640"/>
                  </a:lnTo>
                  <a:lnTo>
                    <a:pt x="445" y="641"/>
                  </a:lnTo>
                  <a:lnTo>
                    <a:pt x="442" y="642"/>
                  </a:lnTo>
                  <a:lnTo>
                    <a:pt x="437" y="645"/>
                  </a:lnTo>
                  <a:lnTo>
                    <a:pt x="435" y="647"/>
                  </a:lnTo>
                  <a:lnTo>
                    <a:pt x="432" y="649"/>
                  </a:lnTo>
                  <a:lnTo>
                    <a:pt x="431" y="650"/>
                  </a:lnTo>
                  <a:lnTo>
                    <a:pt x="430" y="652"/>
                  </a:lnTo>
                  <a:lnTo>
                    <a:pt x="430" y="652"/>
                  </a:lnTo>
                  <a:lnTo>
                    <a:pt x="428" y="654"/>
                  </a:lnTo>
                  <a:lnTo>
                    <a:pt x="427" y="658"/>
                  </a:lnTo>
                  <a:lnTo>
                    <a:pt x="426" y="659"/>
                  </a:lnTo>
                  <a:lnTo>
                    <a:pt x="426" y="660"/>
                  </a:lnTo>
                  <a:lnTo>
                    <a:pt x="425" y="660"/>
                  </a:lnTo>
                  <a:lnTo>
                    <a:pt x="425" y="661"/>
                  </a:lnTo>
                  <a:lnTo>
                    <a:pt x="424" y="661"/>
                  </a:lnTo>
                  <a:lnTo>
                    <a:pt x="423" y="661"/>
                  </a:lnTo>
                  <a:lnTo>
                    <a:pt x="422" y="661"/>
                  </a:lnTo>
                  <a:lnTo>
                    <a:pt x="421" y="660"/>
                  </a:lnTo>
                  <a:lnTo>
                    <a:pt x="421" y="659"/>
                  </a:lnTo>
                  <a:lnTo>
                    <a:pt x="420" y="657"/>
                  </a:lnTo>
                  <a:lnTo>
                    <a:pt x="416" y="653"/>
                  </a:lnTo>
                  <a:lnTo>
                    <a:pt x="415" y="652"/>
                  </a:lnTo>
                  <a:lnTo>
                    <a:pt x="412" y="649"/>
                  </a:lnTo>
                  <a:lnTo>
                    <a:pt x="410" y="647"/>
                  </a:lnTo>
                  <a:lnTo>
                    <a:pt x="408" y="645"/>
                  </a:lnTo>
                  <a:lnTo>
                    <a:pt x="405" y="644"/>
                  </a:lnTo>
                  <a:lnTo>
                    <a:pt x="402" y="643"/>
                  </a:lnTo>
                  <a:lnTo>
                    <a:pt x="399" y="642"/>
                  </a:lnTo>
                  <a:lnTo>
                    <a:pt x="397" y="642"/>
                  </a:lnTo>
                  <a:lnTo>
                    <a:pt x="395" y="642"/>
                  </a:lnTo>
                  <a:lnTo>
                    <a:pt x="391" y="642"/>
                  </a:lnTo>
                  <a:lnTo>
                    <a:pt x="388" y="643"/>
                  </a:lnTo>
                  <a:lnTo>
                    <a:pt x="385" y="644"/>
                  </a:lnTo>
                  <a:lnTo>
                    <a:pt x="382" y="646"/>
                  </a:lnTo>
                  <a:lnTo>
                    <a:pt x="379" y="647"/>
                  </a:lnTo>
                  <a:lnTo>
                    <a:pt x="376" y="649"/>
                  </a:lnTo>
                  <a:lnTo>
                    <a:pt x="372" y="652"/>
                  </a:lnTo>
                  <a:lnTo>
                    <a:pt x="370" y="654"/>
                  </a:lnTo>
                  <a:lnTo>
                    <a:pt x="368" y="655"/>
                  </a:lnTo>
                  <a:lnTo>
                    <a:pt x="366" y="656"/>
                  </a:lnTo>
                  <a:lnTo>
                    <a:pt x="364" y="656"/>
                  </a:lnTo>
                  <a:lnTo>
                    <a:pt x="362" y="657"/>
                  </a:lnTo>
                  <a:lnTo>
                    <a:pt x="361" y="657"/>
                  </a:lnTo>
                  <a:lnTo>
                    <a:pt x="359" y="657"/>
                  </a:lnTo>
                  <a:lnTo>
                    <a:pt x="355" y="656"/>
                  </a:lnTo>
                  <a:lnTo>
                    <a:pt x="343" y="652"/>
                  </a:lnTo>
                  <a:lnTo>
                    <a:pt x="333" y="650"/>
                  </a:lnTo>
                  <a:lnTo>
                    <a:pt x="329" y="649"/>
                  </a:lnTo>
                  <a:lnTo>
                    <a:pt x="329" y="648"/>
                  </a:lnTo>
                  <a:lnTo>
                    <a:pt x="329" y="646"/>
                  </a:lnTo>
                  <a:lnTo>
                    <a:pt x="328" y="644"/>
                  </a:lnTo>
                  <a:lnTo>
                    <a:pt x="327" y="641"/>
                  </a:lnTo>
                  <a:lnTo>
                    <a:pt x="326" y="640"/>
                  </a:lnTo>
                  <a:lnTo>
                    <a:pt x="324" y="638"/>
                  </a:lnTo>
                  <a:lnTo>
                    <a:pt x="321" y="635"/>
                  </a:lnTo>
                  <a:lnTo>
                    <a:pt x="319" y="633"/>
                  </a:lnTo>
                  <a:lnTo>
                    <a:pt x="317" y="631"/>
                  </a:lnTo>
                  <a:lnTo>
                    <a:pt x="315" y="629"/>
                  </a:lnTo>
                  <a:lnTo>
                    <a:pt x="309" y="626"/>
                  </a:lnTo>
                  <a:lnTo>
                    <a:pt x="306" y="624"/>
                  </a:lnTo>
                  <a:lnTo>
                    <a:pt x="292" y="617"/>
                  </a:lnTo>
                  <a:lnTo>
                    <a:pt x="287" y="614"/>
                  </a:lnTo>
                  <a:lnTo>
                    <a:pt x="283" y="610"/>
                  </a:lnTo>
                  <a:lnTo>
                    <a:pt x="281" y="608"/>
                  </a:lnTo>
                  <a:lnTo>
                    <a:pt x="279" y="606"/>
                  </a:lnTo>
                  <a:lnTo>
                    <a:pt x="278" y="606"/>
                  </a:lnTo>
                  <a:lnTo>
                    <a:pt x="277" y="605"/>
                  </a:lnTo>
                  <a:lnTo>
                    <a:pt x="276" y="602"/>
                  </a:lnTo>
                  <a:lnTo>
                    <a:pt x="275" y="601"/>
                  </a:lnTo>
                  <a:lnTo>
                    <a:pt x="275" y="599"/>
                  </a:lnTo>
                  <a:lnTo>
                    <a:pt x="275" y="597"/>
                  </a:lnTo>
                  <a:lnTo>
                    <a:pt x="275" y="595"/>
                  </a:lnTo>
                  <a:lnTo>
                    <a:pt x="275" y="594"/>
                  </a:lnTo>
                  <a:lnTo>
                    <a:pt x="276" y="591"/>
                  </a:lnTo>
                  <a:lnTo>
                    <a:pt x="277" y="589"/>
                  </a:lnTo>
                  <a:lnTo>
                    <a:pt x="279" y="586"/>
                  </a:lnTo>
                  <a:lnTo>
                    <a:pt x="282" y="582"/>
                  </a:lnTo>
                  <a:lnTo>
                    <a:pt x="283" y="578"/>
                  </a:lnTo>
                  <a:lnTo>
                    <a:pt x="283" y="576"/>
                  </a:lnTo>
                  <a:lnTo>
                    <a:pt x="283" y="574"/>
                  </a:lnTo>
                  <a:lnTo>
                    <a:pt x="284" y="572"/>
                  </a:lnTo>
                  <a:lnTo>
                    <a:pt x="284" y="570"/>
                  </a:lnTo>
                  <a:lnTo>
                    <a:pt x="284" y="568"/>
                  </a:lnTo>
                  <a:lnTo>
                    <a:pt x="284" y="567"/>
                  </a:lnTo>
                  <a:lnTo>
                    <a:pt x="283" y="565"/>
                  </a:lnTo>
                  <a:lnTo>
                    <a:pt x="283" y="563"/>
                  </a:lnTo>
                  <a:lnTo>
                    <a:pt x="283" y="561"/>
                  </a:lnTo>
                  <a:lnTo>
                    <a:pt x="282" y="561"/>
                  </a:lnTo>
                  <a:lnTo>
                    <a:pt x="281" y="559"/>
                  </a:lnTo>
                  <a:lnTo>
                    <a:pt x="279" y="558"/>
                  </a:lnTo>
                  <a:lnTo>
                    <a:pt x="274" y="553"/>
                  </a:lnTo>
                  <a:lnTo>
                    <a:pt x="271" y="550"/>
                  </a:lnTo>
                  <a:lnTo>
                    <a:pt x="268" y="549"/>
                  </a:lnTo>
                  <a:lnTo>
                    <a:pt x="267" y="548"/>
                  </a:lnTo>
                  <a:lnTo>
                    <a:pt x="265" y="547"/>
                  </a:lnTo>
                  <a:lnTo>
                    <a:pt x="262" y="546"/>
                  </a:lnTo>
                  <a:lnTo>
                    <a:pt x="260" y="546"/>
                  </a:lnTo>
                  <a:lnTo>
                    <a:pt x="257" y="546"/>
                  </a:lnTo>
                  <a:lnTo>
                    <a:pt x="251" y="546"/>
                  </a:lnTo>
                  <a:lnTo>
                    <a:pt x="249" y="545"/>
                  </a:lnTo>
                  <a:lnTo>
                    <a:pt x="247" y="545"/>
                  </a:lnTo>
                  <a:lnTo>
                    <a:pt x="245" y="544"/>
                  </a:lnTo>
                  <a:lnTo>
                    <a:pt x="243" y="543"/>
                  </a:lnTo>
                  <a:lnTo>
                    <a:pt x="242" y="542"/>
                  </a:lnTo>
                  <a:lnTo>
                    <a:pt x="241" y="541"/>
                  </a:lnTo>
                  <a:lnTo>
                    <a:pt x="239" y="538"/>
                  </a:lnTo>
                  <a:lnTo>
                    <a:pt x="238" y="536"/>
                  </a:lnTo>
                  <a:lnTo>
                    <a:pt x="237" y="534"/>
                  </a:lnTo>
                  <a:lnTo>
                    <a:pt x="235" y="533"/>
                  </a:lnTo>
                  <a:lnTo>
                    <a:pt x="230" y="530"/>
                  </a:lnTo>
                  <a:lnTo>
                    <a:pt x="223" y="525"/>
                  </a:lnTo>
                  <a:lnTo>
                    <a:pt x="219" y="523"/>
                  </a:lnTo>
                  <a:lnTo>
                    <a:pt x="216" y="519"/>
                  </a:lnTo>
                  <a:lnTo>
                    <a:pt x="215" y="518"/>
                  </a:lnTo>
                  <a:lnTo>
                    <a:pt x="213" y="517"/>
                  </a:lnTo>
                  <a:lnTo>
                    <a:pt x="207" y="515"/>
                  </a:lnTo>
                  <a:lnTo>
                    <a:pt x="205" y="514"/>
                  </a:lnTo>
                  <a:lnTo>
                    <a:pt x="203" y="512"/>
                  </a:lnTo>
                  <a:lnTo>
                    <a:pt x="196" y="508"/>
                  </a:lnTo>
                  <a:lnTo>
                    <a:pt x="193" y="506"/>
                  </a:lnTo>
                  <a:lnTo>
                    <a:pt x="189" y="503"/>
                  </a:lnTo>
                  <a:lnTo>
                    <a:pt x="180" y="493"/>
                  </a:lnTo>
                  <a:lnTo>
                    <a:pt x="178" y="493"/>
                  </a:lnTo>
                  <a:lnTo>
                    <a:pt x="176" y="491"/>
                  </a:lnTo>
                  <a:lnTo>
                    <a:pt x="174" y="490"/>
                  </a:lnTo>
                  <a:lnTo>
                    <a:pt x="172" y="489"/>
                  </a:lnTo>
                  <a:lnTo>
                    <a:pt x="167" y="486"/>
                  </a:lnTo>
                  <a:lnTo>
                    <a:pt x="165" y="486"/>
                  </a:lnTo>
                  <a:lnTo>
                    <a:pt x="164" y="485"/>
                  </a:lnTo>
                  <a:lnTo>
                    <a:pt x="162" y="483"/>
                  </a:lnTo>
                  <a:lnTo>
                    <a:pt x="160" y="481"/>
                  </a:lnTo>
                  <a:lnTo>
                    <a:pt x="158" y="478"/>
                  </a:lnTo>
                  <a:lnTo>
                    <a:pt x="154" y="473"/>
                  </a:lnTo>
                  <a:lnTo>
                    <a:pt x="153" y="471"/>
                  </a:lnTo>
                  <a:lnTo>
                    <a:pt x="151" y="470"/>
                  </a:lnTo>
                  <a:lnTo>
                    <a:pt x="149" y="469"/>
                  </a:lnTo>
                  <a:lnTo>
                    <a:pt x="146" y="466"/>
                  </a:lnTo>
                  <a:lnTo>
                    <a:pt x="142" y="465"/>
                  </a:lnTo>
                  <a:lnTo>
                    <a:pt x="139" y="463"/>
                  </a:lnTo>
                  <a:lnTo>
                    <a:pt x="131" y="461"/>
                  </a:lnTo>
                  <a:lnTo>
                    <a:pt x="128" y="460"/>
                  </a:lnTo>
                  <a:lnTo>
                    <a:pt x="124" y="458"/>
                  </a:lnTo>
                  <a:lnTo>
                    <a:pt x="123" y="457"/>
                  </a:lnTo>
                  <a:lnTo>
                    <a:pt x="122" y="456"/>
                  </a:lnTo>
                  <a:lnTo>
                    <a:pt x="121" y="455"/>
                  </a:lnTo>
                  <a:lnTo>
                    <a:pt x="120" y="454"/>
                  </a:lnTo>
                  <a:lnTo>
                    <a:pt x="119" y="453"/>
                  </a:lnTo>
                  <a:lnTo>
                    <a:pt x="119" y="451"/>
                  </a:lnTo>
                  <a:lnTo>
                    <a:pt x="119" y="450"/>
                  </a:lnTo>
                  <a:lnTo>
                    <a:pt x="118" y="449"/>
                  </a:lnTo>
                  <a:lnTo>
                    <a:pt x="119" y="444"/>
                  </a:lnTo>
                  <a:lnTo>
                    <a:pt x="119" y="442"/>
                  </a:lnTo>
                  <a:lnTo>
                    <a:pt x="118" y="439"/>
                  </a:lnTo>
                  <a:lnTo>
                    <a:pt x="118" y="437"/>
                  </a:lnTo>
                  <a:lnTo>
                    <a:pt x="117" y="436"/>
                  </a:lnTo>
                  <a:lnTo>
                    <a:pt x="114" y="432"/>
                  </a:lnTo>
                  <a:lnTo>
                    <a:pt x="113" y="428"/>
                  </a:lnTo>
                  <a:lnTo>
                    <a:pt x="109" y="424"/>
                  </a:lnTo>
                  <a:lnTo>
                    <a:pt x="107" y="422"/>
                  </a:lnTo>
                  <a:lnTo>
                    <a:pt x="104" y="419"/>
                  </a:lnTo>
                  <a:lnTo>
                    <a:pt x="103" y="418"/>
                  </a:lnTo>
                  <a:lnTo>
                    <a:pt x="101" y="416"/>
                  </a:lnTo>
                  <a:lnTo>
                    <a:pt x="100" y="415"/>
                  </a:lnTo>
                  <a:lnTo>
                    <a:pt x="95" y="414"/>
                  </a:lnTo>
                  <a:lnTo>
                    <a:pt x="92" y="412"/>
                  </a:lnTo>
                  <a:lnTo>
                    <a:pt x="91" y="411"/>
                  </a:lnTo>
                  <a:lnTo>
                    <a:pt x="87" y="408"/>
                  </a:lnTo>
                  <a:lnTo>
                    <a:pt x="82" y="405"/>
                  </a:lnTo>
                  <a:lnTo>
                    <a:pt x="80" y="403"/>
                  </a:lnTo>
                  <a:lnTo>
                    <a:pt x="79" y="402"/>
                  </a:lnTo>
                  <a:lnTo>
                    <a:pt x="78" y="401"/>
                  </a:lnTo>
                  <a:lnTo>
                    <a:pt x="76" y="399"/>
                  </a:lnTo>
                  <a:lnTo>
                    <a:pt x="75" y="397"/>
                  </a:lnTo>
                  <a:lnTo>
                    <a:pt x="73" y="395"/>
                  </a:lnTo>
                  <a:lnTo>
                    <a:pt x="72" y="392"/>
                  </a:lnTo>
                  <a:lnTo>
                    <a:pt x="71" y="389"/>
                  </a:lnTo>
                  <a:lnTo>
                    <a:pt x="70" y="384"/>
                  </a:lnTo>
                  <a:lnTo>
                    <a:pt x="69" y="381"/>
                  </a:lnTo>
                  <a:lnTo>
                    <a:pt x="69" y="378"/>
                  </a:lnTo>
                  <a:lnTo>
                    <a:pt x="69" y="373"/>
                  </a:lnTo>
                  <a:lnTo>
                    <a:pt x="69" y="369"/>
                  </a:lnTo>
                  <a:lnTo>
                    <a:pt x="69" y="365"/>
                  </a:lnTo>
                  <a:lnTo>
                    <a:pt x="70" y="362"/>
                  </a:lnTo>
                  <a:lnTo>
                    <a:pt x="71" y="359"/>
                  </a:lnTo>
                  <a:lnTo>
                    <a:pt x="74" y="347"/>
                  </a:lnTo>
                  <a:lnTo>
                    <a:pt x="77" y="339"/>
                  </a:lnTo>
                  <a:lnTo>
                    <a:pt x="78" y="336"/>
                  </a:lnTo>
                  <a:lnTo>
                    <a:pt x="79" y="333"/>
                  </a:lnTo>
                  <a:lnTo>
                    <a:pt x="79" y="331"/>
                  </a:lnTo>
                  <a:lnTo>
                    <a:pt x="79" y="328"/>
                  </a:lnTo>
                  <a:lnTo>
                    <a:pt x="78" y="324"/>
                  </a:lnTo>
                  <a:lnTo>
                    <a:pt x="78" y="321"/>
                  </a:lnTo>
                  <a:lnTo>
                    <a:pt x="77" y="316"/>
                  </a:lnTo>
                  <a:lnTo>
                    <a:pt x="75" y="312"/>
                  </a:lnTo>
                  <a:lnTo>
                    <a:pt x="74" y="309"/>
                  </a:lnTo>
                  <a:lnTo>
                    <a:pt x="73" y="306"/>
                  </a:lnTo>
                  <a:lnTo>
                    <a:pt x="70" y="299"/>
                  </a:lnTo>
                  <a:lnTo>
                    <a:pt x="68" y="294"/>
                  </a:lnTo>
                  <a:lnTo>
                    <a:pt x="67" y="293"/>
                  </a:lnTo>
                  <a:lnTo>
                    <a:pt x="67" y="291"/>
                  </a:lnTo>
                  <a:lnTo>
                    <a:pt x="63" y="288"/>
                  </a:lnTo>
                  <a:lnTo>
                    <a:pt x="60" y="284"/>
                  </a:lnTo>
                  <a:lnTo>
                    <a:pt x="56" y="279"/>
                  </a:lnTo>
                  <a:lnTo>
                    <a:pt x="54" y="278"/>
                  </a:lnTo>
                  <a:lnTo>
                    <a:pt x="50" y="274"/>
                  </a:lnTo>
                  <a:lnTo>
                    <a:pt x="48" y="272"/>
                  </a:lnTo>
                  <a:lnTo>
                    <a:pt x="46" y="270"/>
                  </a:lnTo>
                  <a:lnTo>
                    <a:pt x="44" y="263"/>
                  </a:lnTo>
                  <a:lnTo>
                    <a:pt x="41" y="260"/>
                  </a:lnTo>
                  <a:lnTo>
                    <a:pt x="39" y="257"/>
                  </a:lnTo>
                  <a:lnTo>
                    <a:pt x="36" y="254"/>
                  </a:lnTo>
                  <a:lnTo>
                    <a:pt x="34" y="253"/>
                  </a:lnTo>
                  <a:lnTo>
                    <a:pt x="33" y="252"/>
                  </a:lnTo>
                  <a:lnTo>
                    <a:pt x="31" y="251"/>
                  </a:lnTo>
                  <a:lnTo>
                    <a:pt x="24" y="249"/>
                  </a:lnTo>
                  <a:lnTo>
                    <a:pt x="21" y="247"/>
                  </a:lnTo>
                  <a:lnTo>
                    <a:pt x="18" y="246"/>
                  </a:lnTo>
                  <a:lnTo>
                    <a:pt x="16" y="245"/>
                  </a:lnTo>
                  <a:lnTo>
                    <a:pt x="14" y="244"/>
                  </a:lnTo>
                  <a:lnTo>
                    <a:pt x="12" y="243"/>
                  </a:lnTo>
                  <a:lnTo>
                    <a:pt x="10" y="241"/>
                  </a:lnTo>
                  <a:lnTo>
                    <a:pt x="9" y="240"/>
                  </a:lnTo>
                  <a:lnTo>
                    <a:pt x="7" y="237"/>
                  </a:lnTo>
                  <a:lnTo>
                    <a:pt x="5" y="235"/>
                  </a:lnTo>
                  <a:lnTo>
                    <a:pt x="3" y="233"/>
                  </a:lnTo>
                  <a:lnTo>
                    <a:pt x="2" y="232"/>
                  </a:lnTo>
                  <a:lnTo>
                    <a:pt x="1" y="230"/>
                  </a:lnTo>
                  <a:lnTo>
                    <a:pt x="0" y="229"/>
                  </a:lnTo>
                  <a:lnTo>
                    <a:pt x="0" y="227"/>
                  </a:lnTo>
                  <a:lnTo>
                    <a:pt x="0" y="226"/>
                  </a:lnTo>
                  <a:lnTo>
                    <a:pt x="0" y="225"/>
                  </a:lnTo>
                  <a:lnTo>
                    <a:pt x="1" y="223"/>
                  </a:lnTo>
                  <a:lnTo>
                    <a:pt x="1" y="221"/>
                  </a:lnTo>
                  <a:lnTo>
                    <a:pt x="2" y="220"/>
                  </a:lnTo>
                  <a:lnTo>
                    <a:pt x="3" y="218"/>
                  </a:lnTo>
                  <a:lnTo>
                    <a:pt x="4" y="217"/>
                  </a:lnTo>
                  <a:lnTo>
                    <a:pt x="6" y="214"/>
                  </a:lnTo>
                  <a:lnTo>
                    <a:pt x="9" y="212"/>
                  </a:lnTo>
                  <a:lnTo>
                    <a:pt x="10" y="210"/>
                  </a:lnTo>
                  <a:lnTo>
                    <a:pt x="15" y="207"/>
                  </a:lnTo>
                  <a:lnTo>
                    <a:pt x="17" y="205"/>
                  </a:lnTo>
                  <a:lnTo>
                    <a:pt x="20" y="203"/>
                  </a:lnTo>
                  <a:lnTo>
                    <a:pt x="21" y="202"/>
                  </a:lnTo>
                  <a:lnTo>
                    <a:pt x="22" y="200"/>
                  </a:lnTo>
                  <a:lnTo>
                    <a:pt x="23" y="198"/>
                  </a:lnTo>
                  <a:lnTo>
                    <a:pt x="24" y="196"/>
                  </a:lnTo>
                  <a:lnTo>
                    <a:pt x="25" y="194"/>
                  </a:lnTo>
                  <a:lnTo>
                    <a:pt x="25" y="193"/>
                  </a:lnTo>
                  <a:lnTo>
                    <a:pt x="25" y="191"/>
                  </a:lnTo>
                  <a:lnTo>
                    <a:pt x="25" y="189"/>
                  </a:lnTo>
                  <a:lnTo>
                    <a:pt x="24" y="188"/>
                  </a:lnTo>
                  <a:lnTo>
                    <a:pt x="23" y="186"/>
                  </a:lnTo>
                  <a:lnTo>
                    <a:pt x="22" y="179"/>
                  </a:lnTo>
                  <a:lnTo>
                    <a:pt x="21" y="176"/>
                  </a:lnTo>
                  <a:lnTo>
                    <a:pt x="20" y="172"/>
                  </a:lnTo>
                  <a:lnTo>
                    <a:pt x="19" y="165"/>
                  </a:lnTo>
                  <a:lnTo>
                    <a:pt x="18" y="163"/>
                  </a:lnTo>
                  <a:lnTo>
                    <a:pt x="17" y="161"/>
                  </a:lnTo>
                  <a:lnTo>
                    <a:pt x="16" y="158"/>
                  </a:lnTo>
                  <a:lnTo>
                    <a:pt x="14" y="156"/>
                  </a:lnTo>
                  <a:lnTo>
                    <a:pt x="11" y="153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0" y="149"/>
                  </a:lnTo>
                  <a:lnTo>
                    <a:pt x="11" y="148"/>
                  </a:lnTo>
                  <a:lnTo>
                    <a:pt x="12" y="148"/>
                  </a:lnTo>
                  <a:lnTo>
                    <a:pt x="14" y="148"/>
                  </a:lnTo>
                  <a:lnTo>
                    <a:pt x="18" y="148"/>
                  </a:lnTo>
                  <a:lnTo>
                    <a:pt x="21" y="148"/>
                  </a:lnTo>
                  <a:lnTo>
                    <a:pt x="23" y="148"/>
                  </a:lnTo>
                  <a:lnTo>
                    <a:pt x="33" y="146"/>
                  </a:lnTo>
                  <a:lnTo>
                    <a:pt x="37" y="146"/>
                  </a:lnTo>
                  <a:lnTo>
                    <a:pt x="43" y="145"/>
                  </a:lnTo>
                  <a:lnTo>
                    <a:pt x="47" y="146"/>
                  </a:lnTo>
                  <a:lnTo>
                    <a:pt x="51" y="146"/>
                  </a:lnTo>
                  <a:lnTo>
                    <a:pt x="55" y="147"/>
                  </a:lnTo>
                  <a:lnTo>
                    <a:pt x="57" y="147"/>
                  </a:lnTo>
                  <a:lnTo>
                    <a:pt x="59" y="148"/>
                  </a:lnTo>
                  <a:lnTo>
                    <a:pt x="61" y="149"/>
                  </a:lnTo>
                  <a:lnTo>
                    <a:pt x="63" y="151"/>
                  </a:lnTo>
                  <a:lnTo>
                    <a:pt x="65" y="152"/>
                  </a:lnTo>
                  <a:lnTo>
                    <a:pt x="67" y="153"/>
                  </a:lnTo>
                  <a:lnTo>
                    <a:pt x="69" y="157"/>
                  </a:lnTo>
                  <a:lnTo>
                    <a:pt x="72" y="160"/>
                  </a:lnTo>
                  <a:lnTo>
                    <a:pt x="73" y="163"/>
                  </a:lnTo>
                  <a:lnTo>
                    <a:pt x="74" y="165"/>
                  </a:lnTo>
                  <a:lnTo>
                    <a:pt x="75" y="167"/>
                  </a:lnTo>
                  <a:lnTo>
                    <a:pt x="76" y="170"/>
                  </a:lnTo>
                  <a:lnTo>
                    <a:pt x="77" y="177"/>
                  </a:lnTo>
                  <a:lnTo>
                    <a:pt x="78" y="181"/>
                  </a:lnTo>
                  <a:lnTo>
                    <a:pt x="79" y="189"/>
                  </a:lnTo>
                  <a:lnTo>
                    <a:pt x="81" y="193"/>
                  </a:lnTo>
                  <a:lnTo>
                    <a:pt x="82" y="196"/>
                  </a:lnTo>
                  <a:lnTo>
                    <a:pt x="83" y="198"/>
                  </a:lnTo>
                  <a:lnTo>
                    <a:pt x="84" y="199"/>
                  </a:lnTo>
                  <a:lnTo>
                    <a:pt x="86" y="201"/>
                  </a:lnTo>
                  <a:lnTo>
                    <a:pt x="88" y="202"/>
                  </a:lnTo>
                  <a:lnTo>
                    <a:pt x="90" y="204"/>
                  </a:lnTo>
                  <a:lnTo>
                    <a:pt x="92" y="205"/>
                  </a:lnTo>
                  <a:lnTo>
                    <a:pt x="94" y="206"/>
                  </a:lnTo>
                  <a:lnTo>
                    <a:pt x="96" y="207"/>
                  </a:lnTo>
                  <a:lnTo>
                    <a:pt x="110" y="211"/>
                  </a:lnTo>
                  <a:lnTo>
                    <a:pt x="112" y="212"/>
                  </a:lnTo>
                  <a:lnTo>
                    <a:pt x="113" y="213"/>
                  </a:lnTo>
                  <a:lnTo>
                    <a:pt x="115" y="215"/>
                  </a:lnTo>
                  <a:lnTo>
                    <a:pt x="117" y="216"/>
                  </a:lnTo>
                  <a:lnTo>
                    <a:pt x="119" y="218"/>
                  </a:lnTo>
                  <a:lnTo>
                    <a:pt x="120" y="220"/>
                  </a:lnTo>
                  <a:lnTo>
                    <a:pt x="121" y="221"/>
                  </a:lnTo>
                  <a:lnTo>
                    <a:pt x="121" y="223"/>
                  </a:lnTo>
                  <a:lnTo>
                    <a:pt x="121" y="224"/>
                  </a:lnTo>
                  <a:lnTo>
                    <a:pt x="121" y="226"/>
                  </a:lnTo>
                  <a:lnTo>
                    <a:pt x="120" y="227"/>
                  </a:lnTo>
                  <a:lnTo>
                    <a:pt x="119" y="228"/>
                  </a:lnTo>
                  <a:lnTo>
                    <a:pt x="118" y="228"/>
                  </a:lnTo>
                  <a:lnTo>
                    <a:pt x="116" y="230"/>
                  </a:lnTo>
                  <a:lnTo>
                    <a:pt x="115" y="231"/>
                  </a:lnTo>
                  <a:lnTo>
                    <a:pt x="114" y="232"/>
                  </a:lnTo>
                  <a:lnTo>
                    <a:pt x="113" y="232"/>
                  </a:lnTo>
                  <a:lnTo>
                    <a:pt x="113" y="234"/>
                  </a:lnTo>
                  <a:lnTo>
                    <a:pt x="113" y="236"/>
                  </a:lnTo>
                  <a:lnTo>
                    <a:pt x="113" y="237"/>
                  </a:lnTo>
                  <a:lnTo>
                    <a:pt x="114" y="239"/>
                  </a:lnTo>
                  <a:lnTo>
                    <a:pt x="115" y="241"/>
                  </a:lnTo>
                  <a:lnTo>
                    <a:pt x="117" y="244"/>
                  </a:lnTo>
                  <a:lnTo>
                    <a:pt x="119" y="246"/>
                  </a:lnTo>
                  <a:lnTo>
                    <a:pt x="121" y="248"/>
                  </a:lnTo>
                  <a:lnTo>
                    <a:pt x="124" y="251"/>
                  </a:lnTo>
                  <a:lnTo>
                    <a:pt x="131" y="256"/>
                  </a:lnTo>
                  <a:lnTo>
                    <a:pt x="133" y="258"/>
                  </a:lnTo>
                  <a:lnTo>
                    <a:pt x="134" y="260"/>
                  </a:lnTo>
                  <a:lnTo>
                    <a:pt x="135" y="262"/>
                  </a:lnTo>
                  <a:lnTo>
                    <a:pt x="138" y="267"/>
                  </a:lnTo>
                  <a:lnTo>
                    <a:pt x="139" y="268"/>
                  </a:lnTo>
                  <a:lnTo>
                    <a:pt x="139" y="269"/>
                  </a:lnTo>
                  <a:lnTo>
                    <a:pt x="140" y="270"/>
                  </a:lnTo>
                  <a:lnTo>
                    <a:pt x="140" y="273"/>
                  </a:lnTo>
                  <a:lnTo>
                    <a:pt x="139" y="278"/>
                  </a:lnTo>
                  <a:lnTo>
                    <a:pt x="138" y="285"/>
                  </a:lnTo>
                  <a:lnTo>
                    <a:pt x="137" y="289"/>
                  </a:lnTo>
                  <a:lnTo>
                    <a:pt x="136" y="295"/>
                  </a:lnTo>
                  <a:lnTo>
                    <a:pt x="136" y="297"/>
                  </a:lnTo>
                  <a:lnTo>
                    <a:pt x="136" y="299"/>
                  </a:lnTo>
                  <a:lnTo>
                    <a:pt x="136" y="300"/>
                  </a:lnTo>
                  <a:lnTo>
                    <a:pt x="136" y="301"/>
                  </a:lnTo>
                  <a:lnTo>
                    <a:pt x="137" y="304"/>
                  </a:lnTo>
                  <a:lnTo>
                    <a:pt x="139" y="308"/>
                  </a:lnTo>
                  <a:lnTo>
                    <a:pt x="141" y="312"/>
                  </a:lnTo>
                  <a:lnTo>
                    <a:pt x="143" y="315"/>
                  </a:lnTo>
                  <a:lnTo>
                    <a:pt x="146" y="318"/>
                  </a:lnTo>
                  <a:lnTo>
                    <a:pt x="147" y="319"/>
                  </a:lnTo>
                  <a:lnTo>
                    <a:pt x="147" y="320"/>
                  </a:lnTo>
                  <a:lnTo>
                    <a:pt x="149" y="322"/>
                  </a:lnTo>
                  <a:lnTo>
                    <a:pt x="150" y="322"/>
                  </a:lnTo>
                  <a:lnTo>
                    <a:pt x="153" y="323"/>
                  </a:lnTo>
                  <a:lnTo>
                    <a:pt x="155" y="324"/>
                  </a:lnTo>
                  <a:lnTo>
                    <a:pt x="158" y="324"/>
                  </a:lnTo>
                  <a:lnTo>
                    <a:pt x="159" y="325"/>
                  </a:lnTo>
                  <a:lnTo>
                    <a:pt x="162" y="325"/>
                  </a:lnTo>
                  <a:lnTo>
                    <a:pt x="164" y="325"/>
                  </a:lnTo>
                  <a:lnTo>
                    <a:pt x="166" y="325"/>
                  </a:lnTo>
                  <a:lnTo>
                    <a:pt x="168" y="325"/>
                  </a:lnTo>
                  <a:lnTo>
                    <a:pt x="169" y="325"/>
                  </a:lnTo>
                  <a:lnTo>
                    <a:pt x="170" y="324"/>
                  </a:lnTo>
                  <a:lnTo>
                    <a:pt x="170" y="323"/>
                  </a:lnTo>
                  <a:lnTo>
                    <a:pt x="170" y="323"/>
                  </a:lnTo>
                  <a:lnTo>
                    <a:pt x="170" y="321"/>
                  </a:lnTo>
                  <a:lnTo>
                    <a:pt x="171" y="315"/>
                  </a:lnTo>
                  <a:lnTo>
                    <a:pt x="173" y="309"/>
                  </a:lnTo>
                  <a:lnTo>
                    <a:pt x="173" y="306"/>
                  </a:lnTo>
                  <a:lnTo>
                    <a:pt x="173" y="303"/>
                  </a:lnTo>
                  <a:lnTo>
                    <a:pt x="173" y="300"/>
                  </a:lnTo>
                  <a:lnTo>
                    <a:pt x="173" y="297"/>
                  </a:lnTo>
                  <a:lnTo>
                    <a:pt x="172" y="291"/>
                  </a:lnTo>
                  <a:lnTo>
                    <a:pt x="172" y="289"/>
                  </a:lnTo>
                  <a:lnTo>
                    <a:pt x="172" y="286"/>
                  </a:lnTo>
                  <a:lnTo>
                    <a:pt x="172" y="282"/>
                  </a:lnTo>
                  <a:lnTo>
                    <a:pt x="172" y="278"/>
                  </a:lnTo>
                  <a:lnTo>
                    <a:pt x="174" y="269"/>
                  </a:lnTo>
                  <a:lnTo>
                    <a:pt x="175" y="262"/>
                  </a:lnTo>
                  <a:lnTo>
                    <a:pt x="175" y="258"/>
                  </a:lnTo>
                  <a:lnTo>
                    <a:pt x="176" y="255"/>
                  </a:lnTo>
                  <a:lnTo>
                    <a:pt x="177" y="254"/>
                  </a:lnTo>
                  <a:lnTo>
                    <a:pt x="178" y="252"/>
                  </a:lnTo>
                  <a:lnTo>
                    <a:pt x="179" y="251"/>
                  </a:lnTo>
                  <a:lnTo>
                    <a:pt x="180" y="250"/>
                  </a:lnTo>
                  <a:lnTo>
                    <a:pt x="181" y="249"/>
                  </a:lnTo>
                  <a:lnTo>
                    <a:pt x="181" y="249"/>
                  </a:lnTo>
                  <a:lnTo>
                    <a:pt x="186" y="247"/>
                  </a:lnTo>
                  <a:lnTo>
                    <a:pt x="187" y="247"/>
                  </a:lnTo>
                  <a:lnTo>
                    <a:pt x="188" y="246"/>
                  </a:lnTo>
                  <a:lnTo>
                    <a:pt x="189" y="245"/>
                  </a:lnTo>
                  <a:lnTo>
                    <a:pt x="190" y="244"/>
                  </a:lnTo>
                  <a:lnTo>
                    <a:pt x="191" y="244"/>
                  </a:lnTo>
                  <a:lnTo>
                    <a:pt x="192" y="242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2" y="232"/>
                  </a:lnTo>
                  <a:lnTo>
                    <a:pt x="192" y="230"/>
                  </a:lnTo>
                  <a:lnTo>
                    <a:pt x="193" y="226"/>
                  </a:lnTo>
                  <a:lnTo>
                    <a:pt x="194" y="223"/>
                  </a:lnTo>
                  <a:lnTo>
                    <a:pt x="195" y="220"/>
                  </a:lnTo>
                  <a:lnTo>
                    <a:pt x="197" y="215"/>
                  </a:lnTo>
                  <a:lnTo>
                    <a:pt x="200" y="210"/>
                  </a:lnTo>
                  <a:lnTo>
                    <a:pt x="202" y="207"/>
                  </a:lnTo>
                  <a:lnTo>
                    <a:pt x="204" y="205"/>
                  </a:lnTo>
                  <a:lnTo>
                    <a:pt x="204" y="202"/>
                  </a:lnTo>
                  <a:lnTo>
                    <a:pt x="208" y="198"/>
                  </a:lnTo>
                  <a:lnTo>
                    <a:pt x="212" y="195"/>
                  </a:lnTo>
                  <a:lnTo>
                    <a:pt x="220" y="187"/>
                  </a:lnTo>
                  <a:lnTo>
                    <a:pt x="222" y="185"/>
                  </a:lnTo>
                  <a:lnTo>
                    <a:pt x="224" y="182"/>
                  </a:lnTo>
                  <a:lnTo>
                    <a:pt x="226" y="179"/>
                  </a:lnTo>
                  <a:lnTo>
                    <a:pt x="227" y="176"/>
                  </a:lnTo>
                  <a:lnTo>
                    <a:pt x="228" y="173"/>
                  </a:lnTo>
                  <a:lnTo>
                    <a:pt x="231" y="165"/>
                  </a:lnTo>
                  <a:lnTo>
                    <a:pt x="233" y="161"/>
                  </a:lnTo>
                  <a:lnTo>
                    <a:pt x="234" y="159"/>
                  </a:lnTo>
                  <a:lnTo>
                    <a:pt x="235" y="158"/>
                  </a:lnTo>
                  <a:lnTo>
                    <a:pt x="236" y="156"/>
                  </a:lnTo>
                  <a:lnTo>
                    <a:pt x="237" y="155"/>
                  </a:lnTo>
                  <a:lnTo>
                    <a:pt x="238" y="153"/>
                  </a:lnTo>
                  <a:lnTo>
                    <a:pt x="240" y="153"/>
                  </a:lnTo>
                  <a:lnTo>
                    <a:pt x="242" y="151"/>
                  </a:lnTo>
                  <a:lnTo>
                    <a:pt x="249" y="147"/>
                  </a:lnTo>
                  <a:lnTo>
                    <a:pt x="251" y="146"/>
                  </a:lnTo>
                  <a:lnTo>
                    <a:pt x="253" y="145"/>
                  </a:lnTo>
                  <a:lnTo>
                    <a:pt x="255" y="143"/>
                  </a:lnTo>
                  <a:lnTo>
                    <a:pt x="257" y="142"/>
                  </a:lnTo>
                  <a:lnTo>
                    <a:pt x="262" y="135"/>
                  </a:lnTo>
                  <a:lnTo>
                    <a:pt x="265" y="131"/>
                  </a:lnTo>
                  <a:lnTo>
                    <a:pt x="269" y="129"/>
                  </a:lnTo>
                  <a:lnTo>
                    <a:pt x="272" y="126"/>
                  </a:lnTo>
                  <a:lnTo>
                    <a:pt x="277" y="123"/>
                  </a:lnTo>
                  <a:lnTo>
                    <a:pt x="281" y="121"/>
                  </a:lnTo>
                  <a:lnTo>
                    <a:pt x="283" y="120"/>
                  </a:lnTo>
                  <a:lnTo>
                    <a:pt x="289" y="119"/>
                  </a:lnTo>
                  <a:lnTo>
                    <a:pt x="291" y="118"/>
                  </a:lnTo>
                  <a:lnTo>
                    <a:pt x="292" y="118"/>
                  </a:lnTo>
                  <a:lnTo>
                    <a:pt x="293" y="117"/>
                  </a:lnTo>
                  <a:lnTo>
                    <a:pt x="295" y="115"/>
                  </a:lnTo>
                  <a:lnTo>
                    <a:pt x="295" y="114"/>
                  </a:lnTo>
                  <a:lnTo>
                    <a:pt x="296" y="113"/>
                  </a:lnTo>
                  <a:lnTo>
                    <a:pt x="297" y="110"/>
                  </a:lnTo>
                  <a:lnTo>
                    <a:pt x="298" y="108"/>
                  </a:lnTo>
                  <a:lnTo>
                    <a:pt x="301" y="101"/>
                  </a:lnTo>
                  <a:lnTo>
                    <a:pt x="302" y="97"/>
                  </a:lnTo>
                  <a:lnTo>
                    <a:pt x="303" y="94"/>
                  </a:lnTo>
                  <a:lnTo>
                    <a:pt x="305" y="90"/>
                  </a:lnTo>
                  <a:lnTo>
                    <a:pt x="308" y="85"/>
                  </a:lnTo>
                  <a:lnTo>
                    <a:pt x="311" y="80"/>
                  </a:lnTo>
                  <a:lnTo>
                    <a:pt x="313" y="78"/>
                  </a:lnTo>
                  <a:lnTo>
                    <a:pt x="315" y="76"/>
                  </a:lnTo>
                  <a:lnTo>
                    <a:pt x="317" y="74"/>
                  </a:lnTo>
                  <a:lnTo>
                    <a:pt x="318" y="73"/>
                  </a:lnTo>
                  <a:lnTo>
                    <a:pt x="321" y="71"/>
                  </a:lnTo>
                  <a:lnTo>
                    <a:pt x="323" y="70"/>
                  </a:lnTo>
                  <a:lnTo>
                    <a:pt x="325" y="69"/>
                  </a:lnTo>
                  <a:lnTo>
                    <a:pt x="329" y="67"/>
                  </a:lnTo>
                  <a:lnTo>
                    <a:pt x="335" y="65"/>
                  </a:lnTo>
                  <a:lnTo>
                    <a:pt x="341" y="63"/>
                  </a:lnTo>
                  <a:lnTo>
                    <a:pt x="352" y="62"/>
                  </a:lnTo>
                  <a:lnTo>
                    <a:pt x="357" y="61"/>
                  </a:lnTo>
                  <a:lnTo>
                    <a:pt x="372" y="57"/>
                  </a:lnTo>
                  <a:lnTo>
                    <a:pt x="385" y="54"/>
                  </a:lnTo>
                  <a:lnTo>
                    <a:pt x="394" y="51"/>
                  </a:lnTo>
                  <a:lnTo>
                    <a:pt x="397" y="51"/>
                  </a:lnTo>
                  <a:lnTo>
                    <a:pt x="400" y="51"/>
                  </a:lnTo>
                  <a:lnTo>
                    <a:pt x="403" y="51"/>
                  </a:lnTo>
                  <a:lnTo>
                    <a:pt x="407" y="50"/>
                  </a:lnTo>
                  <a:lnTo>
                    <a:pt x="411" y="51"/>
                  </a:lnTo>
                  <a:lnTo>
                    <a:pt x="421" y="51"/>
                  </a:lnTo>
                  <a:lnTo>
                    <a:pt x="433" y="52"/>
                  </a:lnTo>
                  <a:lnTo>
                    <a:pt x="437" y="52"/>
                  </a:lnTo>
                  <a:lnTo>
                    <a:pt x="441" y="53"/>
                  </a:lnTo>
                  <a:lnTo>
                    <a:pt x="443" y="54"/>
                  </a:lnTo>
                  <a:lnTo>
                    <a:pt x="446" y="56"/>
                  </a:lnTo>
                  <a:lnTo>
                    <a:pt x="454" y="59"/>
                  </a:lnTo>
                  <a:lnTo>
                    <a:pt x="457" y="61"/>
                  </a:lnTo>
                  <a:lnTo>
                    <a:pt x="458" y="61"/>
                  </a:lnTo>
                  <a:lnTo>
                    <a:pt x="460" y="62"/>
                  </a:lnTo>
                  <a:lnTo>
                    <a:pt x="462" y="62"/>
                  </a:lnTo>
                  <a:lnTo>
                    <a:pt x="463" y="62"/>
                  </a:lnTo>
                  <a:lnTo>
                    <a:pt x="464" y="61"/>
                  </a:lnTo>
                  <a:lnTo>
                    <a:pt x="465" y="60"/>
                  </a:lnTo>
                  <a:lnTo>
                    <a:pt x="466" y="59"/>
                  </a:lnTo>
                  <a:lnTo>
                    <a:pt x="467" y="58"/>
                  </a:lnTo>
                  <a:lnTo>
                    <a:pt x="487" y="38"/>
                  </a:lnTo>
                  <a:lnTo>
                    <a:pt x="489" y="35"/>
                  </a:lnTo>
                  <a:lnTo>
                    <a:pt x="491" y="33"/>
                  </a:lnTo>
                  <a:lnTo>
                    <a:pt x="493" y="31"/>
                  </a:lnTo>
                  <a:lnTo>
                    <a:pt x="497" y="29"/>
                  </a:lnTo>
                  <a:lnTo>
                    <a:pt x="500" y="27"/>
                  </a:lnTo>
                  <a:lnTo>
                    <a:pt x="504" y="25"/>
                  </a:lnTo>
                  <a:lnTo>
                    <a:pt x="510" y="22"/>
                  </a:lnTo>
                  <a:lnTo>
                    <a:pt x="516" y="20"/>
                  </a:lnTo>
                  <a:lnTo>
                    <a:pt x="521" y="18"/>
                  </a:lnTo>
                  <a:lnTo>
                    <a:pt x="523" y="17"/>
                  </a:lnTo>
                  <a:lnTo>
                    <a:pt x="526" y="17"/>
                  </a:lnTo>
                  <a:lnTo>
                    <a:pt x="528" y="17"/>
                  </a:lnTo>
                  <a:lnTo>
                    <a:pt x="530" y="17"/>
                  </a:lnTo>
                  <a:lnTo>
                    <a:pt x="531" y="17"/>
                  </a:lnTo>
                  <a:lnTo>
                    <a:pt x="532" y="17"/>
                  </a:lnTo>
                  <a:lnTo>
                    <a:pt x="534" y="18"/>
                  </a:lnTo>
                  <a:lnTo>
                    <a:pt x="539" y="20"/>
                  </a:lnTo>
                  <a:lnTo>
                    <a:pt x="541" y="21"/>
                  </a:lnTo>
                  <a:lnTo>
                    <a:pt x="542" y="21"/>
                  </a:lnTo>
                  <a:lnTo>
                    <a:pt x="543" y="21"/>
                  </a:lnTo>
                  <a:lnTo>
                    <a:pt x="544" y="21"/>
                  </a:lnTo>
                  <a:lnTo>
                    <a:pt x="544" y="20"/>
                  </a:lnTo>
                  <a:lnTo>
                    <a:pt x="545" y="20"/>
                  </a:lnTo>
                  <a:lnTo>
                    <a:pt x="545" y="19"/>
                  </a:lnTo>
                  <a:lnTo>
                    <a:pt x="546" y="18"/>
                  </a:lnTo>
                  <a:lnTo>
                    <a:pt x="547" y="17"/>
                  </a:lnTo>
                  <a:lnTo>
                    <a:pt x="552" y="7"/>
                  </a:lnTo>
                  <a:lnTo>
                    <a:pt x="554" y="0"/>
                  </a:lnTo>
                  <a:lnTo>
                    <a:pt x="555" y="0"/>
                  </a:lnTo>
                  <a:lnTo>
                    <a:pt x="556" y="1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4" name="Freeform 93">
              <a:extLst>
                <a:ext uri="{FF2B5EF4-FFF2-40B4-BE49-F238E27FC236}">
                  <a16:creationId xmlns:a16="http://schemas.microsoft.com/office/drawing/2014/main" id="{99C94565-5D91-4004-866F-32ECB886D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977"/>
              <a:ext cx="1290" cy="1142"/>
            </a:xfrm>
            <a:custGeom>
              <a:avLst/>
              <a:gdLst>
                <a:gd name="T0" fmla="*/ 1096 w 1290"/>
                <a:gd name="T1" fmla="*/ 31 h 1142"/>
                <a:gd name="T2" fmla="*/ 1149 w 1290"/>
                <a:gd name="T3" fmla="*/ 29 h 1142"/>
                <a:gd name="T4" fmla="*/ 1180 w 1290"/>
                <a:gd name="T5" fmla="*/ 20 h 1142"/>
                <a:gd name="T6" fmla="*/ 1209 w 1290"/>
                <a:gd name="T7" fmla="*/ 55 h 1142"/>
                <a:gd name="T8" fmla="*/ 1250 w 1290"/>
                <a:gd name="T9" fmla="*/ 93 h 1142"/>
                <a:gd name="T10" fmla="*/ 1231 w 1290"/>
                <a:gd name="T11" fmla="*/ 156 h 1142"/>
                <a:gd name="T12" fmla="*/ 1278 w 1290"/>
                <a:gd name="T13" fmla="*/ 155 h 1142"/>
                <a:gd name="T14" fmla="*/ 1282 w 1290"/>
                <a:gd name="T15" fmla="*/ 193 h 1142"/>
                <a:gd name="T16" fmla="*/ 1234 w 1290"/>
                <a:gd name="T17" fmla="*/ 262 h 1142"/>
                <a:gd name="T18" fmla="*/ 1211 w 1290"/>
                <a:gd name="T19" fmla="*/ 304 h 1142"/>
                <a:gd name="T20" fmla="*/ 1158 w 1290"/>
                <a:gd name="T21" fmla="*/ 287 h 1142"/>
                <a:gd name="T22" fmla="*/ 1140 w 1290"/>
                <a:gd name="T23" fmla="*/ 325 h 1142"/>
                <a:gd name="T24" fmla="*/ 1119 w 1290"/>
                <a:gd name="T25" fmla="*/ 368 h 1142"/>
                <a:gd name="T26" fmla="*/ 1085 w 1290"/>
                <a:gd name="T27" fmla="*/ 404 h 1142"/>
                <a:gd name="T28" fmla="*/ 1063 w 1290"/>
                <a:gd name="T29" fmla="*/ 459 h 1142"/>
                <a:gd name="T30" fmla="*/ 1084 w 1290"/>
                <a:gd name="T31" fmla="*/ 524 h 1142"/>
                <a:gd name="T32" fmla="*/ 1131 w 1290"/>
                <a:gd name="T33" fmla="*/ 615 h 1142"/>
                <a:gd name="T34" fmla="*/ 1164 w 1290"/>
                <a:gd name="T35" fmla="*/ 651 h 1142"/>
                <a:gd name="T36" fmla="*/ 1148 w 1290"/>
                <a:gd name="T37" fmla="*/ 671 h 1142"/>
                <a:gd name="T38" fmla="*/ 1145 w 1290"/>
                <a:gd name="T39" fmla="*/ 713 h 1142"/>
                <a:gd name="T40" fmla="*/ 1105 w 1290"/>
                <a:gd name="T41" fmla="*/ 745 h 1142"/>
                <a:gd name="T42" fmla="*/ 1075 w 1290"/>
                <a:gd name="T43" fmla="*/ 752 h 1142"/>
                <a:gd name="T44" fmla="*/ 1076 w 1290"/>
                <a:gd name="T45" fmla="*/ 817 h 1142"/>
                <a:gd name="T46" fmla="*/ 1043 w 1290"/>
                <a:gd name="T47" fmla="*/ 828 h 1142"/>
                <a:gd name="T48" fmla="*/ 980 w 1290"/>
                <a:gd name="T49" fmla="*/ 852 h 1142"/>
                <a:gd name="T50" fmla="*/ 910 w 1290"/>
                <a:gd name="T51" fmla="*/ 852 h 1142"/>
                <a:gd name="T52" fmla="*/ 803 w 1290"/>
                <a:gd name="T53" fmla="*/ 839 h 1142"/>
                <a:gd name="T54" fmla="*/ 785 w 1290"/>
                <a:gd name="T55" fmla="*/ 874 h 1142"/>
                <a:gd name="T56" fmla="*/ 762 w 1290"/>
                <a:gd name="T57" fmla="*/ 890 h 1142"/>
                <a:gd name="T58" fmla="*/ 716 w 1290"/>
                <a:gd name="T59" fmla="*/ 923 h 1142"/>
                <a:gd name="T60" fmla="*/ 678 w 1290"/>
                <a:gd name="T61" fmla="*/ 951 h 1142"/>
                <a:gd name="T62" fmla="*/ 642 w 1290"/>
                <a:gd name="T63" fmla="*/ 941 h 1142"/>
                <a:gd name="T64" fmla="*/ 594 w 1290"/>
                <a:gd name="T65" fmla="*/ 974 h 1142"/>
                <a:gd name="T66" fmla="*/ 540 w 1290"/>
                <a:gd name="T67" fmla="*/ 968 h 1142"/>
                <a:gd name="T68" fmla="*/ 491 w 1290"/>
                <a:gd name="T69" fmla="*/ 1010 h 1142"/>
                <a:gd name="T70" fmla="*/ 429 w 1290"/>
                <a:gd name="T71" fmla="*/ 1028 h 1142"/>
                <a:gd name="T72" fmla="*/ 402 w 1290"/>
                <a:gd name="T73" fmla="*/ 1071 h 1142"/>
                <a:gd name="T74" fmla="*/ 385 w 1290"/>
                <a:gd name="T75" fmla="*/ 1103 h 1142"/>
                <a:gd name="T76" fmla="*/ 346 w 1290"/>
                <a:gd name="T77" fmla="*/ 1122 h 1142"/>
                <a:gd name="T78" fmla="*/ 317 w 1290"/>
                <a:gd name="T79" fmla="*/ 1142 h 1142"/>
                <a:gd name="T80" fmla="*/ 292 w 1290"/>
                <a:gd name="T81" fmla="*/ 1120 h 1142"/>
                <a:gd name="T82" fmla="*/ 276 w 1290"/>
                <a:gd name="T83" fmla="*/ 1114 h 1142"/>
                <a:gd name="T84" fmla="*/ 247 w 1290"/>
                <a:gd name="T85" fmla="*/ 1096 h 1142"/>
                <a:gd name="T86" fmla="*/ 212 w 1290"/>
                <a:gd name="T87" fmla="*/ 1076 h 1142"/>
                <a:gd name="T88" fmla="*/ 242 w 1290"/>
                <a:gd name="T89" fmla="*/ 1067 h 1142"/>
                <a:gd name="T90" fmla="*/ 246 w 1290"/>
                <a:gd name="T91" fmla="*/ 1038 h 1142"/>
                <a:gd name="T92" fmla="*/ 222 w 1290"/>
                <a:gd name="T93" fmla="*/ 968 h 1142"/>
                <a:gd name="T94" fmla="*/ 211 w 1290"/>
                <a:gd name="T95" fmla="*/ 928 h 1142"/>
                <a:gd name="T96" fmla="*/ 210 w 1290"/>
                <a:gd name="T97" fmla="*/ 864 h 1142"/>
                <a:gd name="T98" fmla="*/ 202 w 1290"/>
                <a:gd name="T99" fmla="*/ 817 h 1142"/>
                <a:gd name="T100" fmla="*/ 140 w 1290"/>
                <a:gd name="T101" fmla="*/ 812 h 1142"/>
                <a:gd name="T102" fmla="*/ 115 w 1290"/>
                <a:gd name="T103" fmla="*/ 806 h 1142"/>
                <a:gd name="T104" fmla="*/ 91 w 1290"/>
                <a:gd name="T105" fmla="*/ 774 h 1142"/>
                <a:gd name="T106" fmla="*/ 11 w 1290"/>
                <a:gd name="T107" fmla="*/ 757 h 1142"/>
                <a:gd name="T108" fmla="*/ 49 w 1290"/>
                <a:gd name="T109" fmla="*/ 707 h 1142"/>
                <a:gd name="T110" fmla="*/ 68 w 1290"/>
                <a:gd name="T111" fmla="*/ 638 h 1142"/>
                <a:gd name="T112" fmla="*/ 118 w 1290"/>
                <a:gd name="T113" fmla="*/ 633 h 1142"/>
                <a:gd name="T114" fmla="*/ 179 w 1290"/>
                <a:gd name="T115" fmla="*/ 635 h 1142"/>
                <a:gd name="T116" fmla="*/ 214 w 1290"/>
                <a:gd name="T117" fmla="*/ 584 h 1142"/>
                <a:gd name="T118" fmla="*/ 239 w 1290"/>
                <a:gd name="T119" fmla="*/ 537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0" h="1142">
                  <a:moveTo>
                    <a:pt x="1035" y="0"/>
                  </a:moveTo>
                  <a:lnTo>
                    <a:pt x="1036" y="0"/>
                  </a:lnTo>
                  <a:lnTo>
                    <a:pt x="1037" y="1"/>
                  </a:lnTo>
                  <a:lnTo>
                    <a:pt x="1041" y="3"/>
                  </a:lnTo>
                  <a:lnTo>
                    <a:pt x="1050" y="9"/>
                  </a:lnTo>
                  <a:lnTo>
                    <a:pt x="1054" y="10"/>
                  </a:lnTo>
                  <a:lnTo>
                    <a:pt x="1057" y="12"/>
                  </a:lnTo>
                  <a:lnTo>
                    <a:pt x="1059" y="13"/>
                  </a:lnTo>
                  <a:lnTo>
                    <a:pt x="1063" y="14"/>
                  </a:lnTo>
                  <a:lnTo>
                    <a:pt x="1072" y="16"/>
                  </a:lnTo>
                  <a:lnTo>
                    <a:pt x="1075" y="17"/>
                  </a:lnTo>
                  <a:lnTo>
                    <a:pt x="1078" y="18"/>
                  </a:lnTo>
                  <a:lnTo>
                    <a:pt x="1080" y="20"/>
                  </a:lnTo>
                  <a:lnTo>
                    <a:pt x="1083" y="21"/>
                  </a:lnTo>
                  <a:lnTo>
                    <a:pt x="1088" y="23"/>
                  </a:lnTo>
                  <a:lnTo>
                    <a:pt x="1090" y="25"/>
                  </a:lnTo>
                  <a:lnTo>
                    <a:pt x="1096" y="31"/>
                  </a:lnTo>
                  <a:lnTo>
                    <a:pt x="1098" y="32"/>
                  </a:lnTo>
                  <a:lnTo>
                    <a:pt x="1100" y="34"/>
                  </a:lnTo>
                  <a:lnTo>
                    <a:pt x="1103" y="35"/>
                  </a:lnTo>
                  <a:lnTo>
                    <a:pt x="1106" y="37"/>
                  </a:lnTo>
                  <a:lnTo>
                    <a:pt x="1109" y="38"/>
                  </a:lnTo>
                  <a:lnTo>
                    <a:pt x="1112" y="38"/>
                  </a:lnTo>
                  <a:lnTo>
                    <a:pt x="1114" y="38"/>
                  </a:lnTo>
                  <a:lnTo>
                    <a:pt x="1117" y="38"/>
                  </a:lnTo>
                  <a:lnTo>
                    <a:pt x="1120" y="38"/>
                  </a:lnTo>
                  <a:lnTo>
                    <a:pt x="1123" y="37"/>
                  </a:lnTo>
                  <a:lnTo>
                    <a:pt x="1126" y="37"/>
                  </a:lnTo>
                  <a:lnTo>
                    <a:pt x="1127" y="36"/>
                  </a:lnTo>
                  <a:lnTo>
                    <a:pt x="1137" y="32"/>
                  </a:lnTo>
                  <a:lnTo>
                    <a:pt x="1140" y="31"/>
                  </a:lnTo>
                  <a:lnTo>
                    <a:pt x="1143" y="30"/>
                  </a:lnTo>
                  <a:lnTo>
                    <a:pt x="1147" y="30"/>
                  </a:lnTo>
                  <a:lnTo>
                    <a:pt x="1149" y="29"/>
                  </a:lnTo>
                  <a:lnTo>
                    <a:pt x="1152" y="30"/>
                  </a:lnTo>
                  <a:lnTo>
                    <a:pt x="1156" y="30"/>
                  </a:lnTo>
                  <a:lnTo>
                    <a:pt x="1161" y="31"/>
                  </a:lnTo>
                  <a:lnTo>
                    <a:pt x="1163" y="31"/>
                  </a:lnTo>
                  <a:lnTo>
                    <a:pt x="1165" y="31"/>
                  </a:lnTo>
                  <a:lnTo>
                    <a:pt x="1168" y="31"/>
                  </a:lnTo>
                  <a:lnTo>
                    <a:pt x="1169" y="31"/>
                  </a:lnTo>
                  <a:lnTo>
                    <a:pt x="1170" y="30"/>
                  </a:lnTo>
                  <a:lnTo>
                    <a:pt x="1171" y="29"/>
                  </a:lnTo>
                  <a:lnTo>
                    <a:pt x="1171" y="28"/>
                  </a:lnTo>
                  <a:lnTo>
                    <a:pt x="1173" y="26"/>
                  </a:lnTo>
                  <a:lnTo>
                    <a:pt x="1176" y="22"/>
                  </a:lnTo>
                  <a:lnTo>
                    <a:pt x="1177" y="20"/>
                  </a:lnTo>
                  <a:lnTo>
                    <a:pt x="1178" y="20"/>
                  </a:lnTo>
                  <a:lnTo>
                    <a:pt x="1179" y="20"/>
                  </a:lnTo>
                  <a:lnTo>
                    <a:pt x="1180" y="20"/>
                  </a:lnTo>
                  <a:lnTo>
                    <a:pt x="1180" y="20"/>
                  </a:lnTo>
                  <a:lnTo>
                    <a:pt x="1181" y="20"/>
                  </a:lnTo>
                  <a:lnTo>
                    <a:pt x="1181" y="21"/>
                  </a:lnTo>
                  <a:lnTo>
                    <a:pt x="1182" y="22"/>
                  </a:lnTo>
                  <a:lnTo>
                    <a:pt x="1182" y="24"/>
                  </a:lnTo>
                  <a:lnTo>
                    <a:pt x="1183" y="28"/>
                  </a:lnTo>
                  <a:lnTo>
                    <a:pt x="1183" y="31"/>
                  </a:lnTo>
                  <a:lnTo>
                    <a:pt x="1184" y="32"/>
                  </a:lnTo>
                  <a:lnTo>
                    <a:pt x="1185" y="34"/>
                  </a:lnTo>
                  <a:lnTo>
                    <a:pt x="1186" y="36"/>
                  </a:lnTo>
                  <a:lnTo>
                    <a:pt x="1187" y="37"/>
                  </a:lnTo>
                  <a:lnTo>
                    <a:pt x="1188" y="39"/>
                  </a:lnTo>
                  <a:lnTo>
                    <a:pt x="1190" y="40"/>
                  </a:lnTo>
                  <a:lnTo>
                    <a:pt x="1193" y="42"/>
                  </a:lnTo>
                  <a:lnTo>
                    <a:pt x="1200" y="47"/>
                  </a:lnTo>
                  <a:lnTo>
                    <a:pt x="1203" y="50"/>
                  </a:lnTo>
                  <a:lnTo>
                    <a:pt x="1207" y="54"/>
                  </a:lnTo>
                  <a:lnTo>
                    <a:pt x="1209" y="55"/>
                  </a:lnTo>
                  <a:lnTo>
                    <a:pt x="1211" y="56"/>
                  </a:lnTo>
                  <a:lnTo>
                    <a:pt x="1214" y="57"/>
                  </a:lnTo>
                  <a:lnTo>
                    <a:pt x="1216" y="57"/>
                  </a:lnTo>
                  <a:lnTo>
                    <a:pt x="1223" y="59"/>
                  </a:lnTo>
                  <a:lnTo>
                    <a:pt x="1225" y="60"/>
                  </a:lnTo>
                  <a:lnTo>
                    <a:pt x="1227" y="61"/>
                  </a:lnTo>
                  <a:lnTo>
                    <a:pt x="1229" y="62"/>
                  </a:lnTo>
                  <a:lnTo>
                    <a:pt x="1231" y="64"/>
                  </a:lnTo>
                  <a:lnTo>
                    <a:pt x="1234" y="66"/>
                  </a:lnTo>
                  <a:lnTo>
                    <a:pt x="1237" y="67"/>
                  </a:lnTo>
                  <a:lnTo>
                    <a:pt x="1239" y="71"/>
                  </a:lnTo>
                  <a:lnTo>
                    <a:pt x="1243" y="77"/>
                  </a:lnTo>
                  <a:lnTo>
                    <a:pt x="1246" y="80"/>
                  </a:lnTo>
                  <a:lnTo>
                    <a:pt x="1248" y="83"/>
                  </a:lnTo>
                  <a:lnTo>
                    <a:pt x="1249" y="86"/>
                  </a:lnTo>
                  <a:lnTo>
                    <a:pt x="1250" y="89"/>
                  </a:lnTo>
                  <a:lnTo>
                    <a:pt x="1250" y="93"/>
                  </a:lnTo>
                  <a:lnTo>
                    <a:pt x="1250" y="97"/>
                  </a:lnTo>
                  <a:lnTo>
                    <a:pt x="1250" y="100"/>
                  </a:lnTo>
                  <a:lnTo>
                    <a:pt x="1249" y="105"/>
                  </a:lnTo>
                  <a:lnTo>
                    <a:pt x="1248" y="111"/>
                  </a:lnTo>
                  <a:lnTo>
                    <a:pt x="1246" y="115"/>
                  </a:lnTo>
                  <a:lnTo>
                    <a:pt x="1244" y="120"/>
                  </a:lnTo>
                  <a:lnTo>
                    <a:pt x="1241" y="128"/>
                  </a:lnTo>
                  <a:lnTo>
                    <a:pt x="1239" y="133"/>
                  </a:lnTo>
                  <a:lnTo>
                    <a:pt x="1235" y="140"/>
                  </a:lnTo>
                  <a:lnTo>
                    <a:pt x="1234" y="143"/>
                  </a:lnTo>
                  <a:lnTo>
                    <a:pt x="1233" y="145"/>
                  </a:lnTo>
                  <a:lnTo>
                    <a:pt x="1232" y="147"/>
                  </a:lnTo>
                  <a:lnTo>
                    <a:pt x="1231" y="151"/>
                  </a:lnTo>
                  <a:lnTo>
                    <a:pt x="1231" y="152"/>
                  </a:lnTo>
                  <a:lnTo>
                    <a:pt x="1231" y="153"/>
                  </a:lnTo>
                  <a:lnTo>
                    <a:pt x="1231" y="155"/>
                  </a:lnTo>
                  <a:lnTo>
                    <a:pt x="1231" y="156"/>
                  </a:lnTo>
                  <a:lnTo>
                    <a:pt x="1232" y="156"/>
                  </a:lnTo>
                  <a:lnTo>
                    <a:pt x="1232" y="157"/>
                  </a:lnTo>
                  <a:lnTo>
                    <a:pt x="1233" y="159"/>
                  </a:lnTo>
                  <a:lnTo>
                    <a:pt x="1234" y="160"/>
                  </a:lnTo>
                  <a:lnTo>
                    <a:pt x="1236" y="161"/>
                  </a:lnTo>
                  <a:lnTo>
                    <a:pt x="1238" y="162"/>
                  </a:lnTo>
                  <a:lnTo>
                    <a:pt x="1239" y="162"/>
                  </a:lnTo>
                  <a:lnTo>
                    <a:pt x="1240" y="163"/>
                  </a:lnTo>
                  <a:lnTo>
                    <a:pt x="1242" y="163"/>
                  </a:lnTo>
                  <a:lnTo>
                    <a:pt x="1244" y="163"/>
                  </a:lnTo>
                  <a:lnTo>
                    <a:pt x="1248" y="162"/>
                  </a:lnTo>
                  <a:lnTo>
                    <a:pt x="1251" y="162"/>
                  </a:lnTo>
                  <a:lnTo>
                    <a:pt x="1256" y="160"/>
                  </a:lnTo>
                  <a:lnTo>
                    <a:pt x="1266" y="156"/>
                  </a:lnTo>
                  <a:lnTo>
                    <a:pt x="1272" y="156"/>
                  </a:lnTo>
                  <a:lnTo>
                    <a:pt x="1275" y="155"/>
                  </a:lnTo>
                  <a:lnTo>
                    <a:pt x="1278" y="155"/>
                  </a:lnTo>
                  <a:lnTo>
                    <a:pt x="1280" y="155"/>
                  </a:lnTo>
                  <a:lnTo>
                    <a:pt x="1282" y="155"/>
                  </a:lnTo>
                  <a:lnTo>
                    <a:pt x="1284" y="155"/>
                  </a:lnTo>
                  <a:lnTo>
                    <a:pt x="1285" y="156"/>
                  </a:lnTo>
                  <a:lnTo>
                    <a:pt x="1286" y="156"/>
                  </a:lnTo>
                  <a:lnTo>
                    <a:pt x="1287" y="156"/>
                  </a:lnTo>
                  <a:lnTo>
                    <a:pt x="1288" y="158"/>
                  </a:lnTo>
                  <a:lnTo>
                    <a:pt x="1289" y="159"/>
                  </a:lnTo>
                  <a:lnTo>
                    <a:pt x="1290" y="161"/>
                  </a:lnTo>
                  <a:lnTo>
                    <a:pt x="1290" y="163"/>
                  </a:lnTo>
                  <a:lnTo>
                    <a:pt x="1290" y="167"/>
                  </a:lnTo>
                  <a:lnTo>
                    <a:pt x="1290" y="169"/>
                  </a:lnTo>
                  <a:lnTo>
                    <a:pt x="1290" y="173"/>
                  </a:lnTo>
                  <a:lnTo>
                    <a:pt x="1289" y="177"/>
                  </a:lnTo>
                  <a:lnTo>
                    <a:pt x="1288" y="179"/>
                  </a:lnTo>
                  <a:lnTo>
                    <a:pt x="1285" y="188"/>
                  </a:lnTo>
                  <a:lnTo>
                    <a:pt x="1282" y="193"/>
                  </a:lnTo>
                  <a:lnTo>
                    <a:pt x="1274" y="215"/>
                  </a:lnTo>
                  <a:lnTo>
                    <a:pt x="1268" y="231"/>
                  </a:lnTo>
                  <a:lnTo>
                    <a:pt x="1267" y="234"/>
                  </a:lnTo>
                  <a:lnTo>
                    <a:pt x="1267" y="235"/>
                  </a:lnTo>
                  <a:lnTo>
                    <a:pt x="1267" y="235"/>
                  </a:lnTo>
                  <a:lnTo>
                    <a:pt x="1267" y="236"/>
                  </a:lnTo>
                  <a:lnTo>
                    <a:pt x="1266" y="237"/>
                  </a:lnTo>
                  <a:lnTo>
                    <a:pt x="1264" y="239"/>
                  </a:lnTo>
                  <a:lnTo>
                    <a:pt x="1262" y="242"/>
                  </a:lnTo>
                  <a:lnTo>
                    <a:pt x="1259" y="245"/>
                  </a:lnTo>
                  <a:lnTo>
                    <a:pt x="1255" y="247"/>
                  </a:lnTo>
                  <a:lnTo>
                    <a:pt x="1251" y="250"/>
                  </a:lnTo>
                  <a:lnTo>
                    <a:pt x="1248" y="252"/>
                  </a:lnTo>
                  <a:lnTo>
                    <a:pt x="1240" y="257"/>
                  </a:lnTo>
                  <a:lnTo>
                    <a:pt x="1238" y="258"/>
                  </a:lnTo>
                  <a:lnTo>
                    <a:pt x="1235" y="261"/>
                  </a:lnTo>
                  <a:lnTo>
                    <a:pt x="1234" y="262"/>
                  </a:lnTo>
                  <a:lnTo>
                    <a:pt x="1233" y="263"/>
                  </a:lnTo>
                  <a:lnTo>
                    <a:pt x="1232" y="265"/>
                  </a:lnTo>
                  <a:lnTo>
                    <a:pt x="1231" y="267"/>
                  </a:lnTo>
                  <a:lnTo>
                    <a:pt x="1230" y="269"/>
                  </a:lnTo>
                  <a:lnTo>
                    <a:pt x="1228" y="273"/>
                  </a:lnTo>
                  <a:lnTo>
                    <a:pt x="1227" y="277"/>
                  </a:lnTo>
                  <a:lnTo>
                    <a:pt x="1223" y="291"/>
                  </a:lnTo>
                  <a:lnTo>
                    <a:pt x="1222" y="293"/>
                  </a:lnTo>
                  <a:lnTo>
                    <a:pt x="1221" y="295"/>
                  </a:lnTo>
                  <a:lnTo>
                    <a:pt x="1220" y="297"/>
                  </a:lnTo>
                  <a:lnTo>
                    <a:pt x="1219" y="298"/>
                  </a:lnTo>
                  <a:lnTo>
                    <a:pt x="1217" y="301"/>
                  </a:lnTo>
                  <a:lnTo>
                    <a:pt x="1217" y="302"/>
                  </a:lnTo>
                  <a:lnTo>
                    <a:pt x="1216" y="303"/>
                  </a:lnTo>
                  <a:lnTo>
                    <a:pt x="1214" y="303"/>
                  </a:lnTo>
                  <a:lnTo>
                    <a:pt x="1213" y="303"/>
                  </a:lnTo>
                  <a:lnTo>
                    <a:pt x="1211" y="304"/>
                  </a:lnTo>
                  <a:lnTo>
                    <a:pt x="1209" y="305"/>
                  </a:lnTo>
                  <a:lnTo>
                    <a:pt x="1206" y="305"/>
                  </a:lnTo>
                  <a:lnTo>
                    <a:pt x="1205" y="305"/>
                  </a:lnTo>
                  <a:lnTo>
                    <a:pt x="1203" y="305"/>
                  </a:lnTo>
                  <a:lnTo>
                    <a:pt x="1200" y="305"/>
                  </a:lnTo>
                  <a:lnTo>
                    <a:pt x="1198" y="304"/>
                  </a:lnTo>
                  <a:lnTo>
                    <a:pt x="1195" y="304"/>
                  </a:lnTo>
                  <a:lnTo>
                    <a:pt x="1192" y="303"/>
                  </a:lnTo>
                  <a:lnTo>
                    <a:pt x="1188" y="301"/>
                  </a:lnTo>
                  <a:lnTo>
                    <a:pt x="1185" y="300"/>
                  </a:lnTo>
                  <a:lnTo>
                    <a:pt x="1178" y="295"/>
                  </a:lnTo>
                  <a:lnTo>
                    <a:pt x="1174" y="292"/>
                  </a:lnTo>
                  <a:lnTo>
                    <a:pt x="1171" y="292"/>
                  </a:lnTo>
                  <a:lnTo>
                    <a:pt x="1166" y="290"/>
                  </a:lnTo>
                  <a:lnTo>
                    <a:pt x="1161" y="288"/>
                  </a:lnTo>
                  <a:lnTo>
                    <a:pt x="1160" y="287"/>
                  </a:lnTo>
                  <a:lnTo>
                    <a:pt x="1158" y="287"/>
                  </a:lnTo>
                  <a:lnTo>
                    <a:pt x="1156" y="287"/>
                  </a:lnTo>
                  <a:lnTo>
                    <a:pt x="1154" y="287"/>
                  </a:lnTo>
                  <a:lnTo>
                    <a:pt x="1151" y="287"/>
                  </a:lnTo>
                  <a:lnTo>
                    <a:pt x="1147" y="288"/>
                  </a:lnTo>
                  <a:lnTo>
                    <a:pt x="1145" y="289"/>
                  </a:lnTo>
                  <a:lnTo>
                    <a:pt x="1143" y="290"/>
                  </a:lnTo>
                  <a:lnTo>
                    <a:pt x="1142" y="291"/>
                  </a:lnTo>
                  <a:lnTo>
                    <a:pt x="1141" y="292"/>
                  </a:lnTo>
                  <a:lnTo>
                    <a:pt x="1141" y="292"/>
                  </a:lnTo>
                  <a:lnTo>
                    <a:pt x="1141" y="294"/>
                  </a:lnTo>
                  <a:lnTo>
                    <a:pt x="1141" y="297"/>
                  </a:lnTo>
                  <a:lnTo>
                    <a:pt x="1142" y="306"/>
                  </a:lnTo>
                  <a:lnTo>
                    <a:pt x="1142" y="310"/>
                  </a:lnTo>
                  <a:lnTo>
                    <a:pt x="1142" y="313"/>
                  </a:lnTo>
                  <a:lnTo>
                    <a:pt x="1142" y="315"/>
                  </a:lnTo>
                  <a:lnTo>
                    <a:pt x="1141" y="322"/>
                  </a:lnTo>
                  <a:lnTo>
                    <a:pt x="1140" y="325"/>
                  </a:lnTo>
                  <a:lnTo>
                    <a:pt x="1140" y="326"/>
                  </a:lnTo>
                  <a:lnTo>
                    <a:pt x="1139" y="327"/>
                  </a:lnTo>
                  <a:lnTo>
                    <a:pt x="1137" y="330"/>
                  </a:lnTo>
                  <a:lnTo>
                    <a:pt x="1136" y="333"/>
                  </a:lnTo>
                  <a:lnTo>
                    <a:pt x="1131" y="337"/>
                  </a:lnTo>
                  <a:lnTo>
                    <a:pt x="1129" y="339"/>
                  </a:lnTo>
                  <a:lnTo>
                    <a:pt x="1128" y="341"/>
                  </a:lnTo>
                  <a:lnTo>
                    <a:pt x="1127" y="344"/>
                  </a:lnTo>
                  <a:lnTo>
                    <a:pt x="1126" y="346"/>
                  </a:lnTo>
                  <a:lnTo>
                    <a:pt x="1125" y="348"/>
                  </a:lnTo>
                  <a:lnTo>
                    <a:pt x="1124" y="350"/>
                  </a:lnTo>
                  <a:lnTo>
                    <a:pt x="1122" y="354"/>
                  </a:lnTo>
                  <a:lnTo>
                    <a:pt x="1121" y="358"/>
                  </a:lnTo>
                  <a:lnTo>
                    <a:pt x="1120" y="361"/>
                  </a:lnTo>
                  <a:lnTo>
                    <a:pt x="1120" y="364"/>
                  </a:lnTo>
                  <a:lnTo>
                    <a:pt x="1119" y="366"/>
                  </a:lnTo>
                  <a:lnTo>
                    <a:pt x="1119" y="368"/>
                  </a:lnTo>
                  <a:lnTo>
                    <a:pt x="1119" y="373"/>
                  </a:lnTo>
                  <a:lnTo>
                    <a:pt x="1118" y="374"/>
                  </a:lnTo>
                  <a:lnTo>
                    <a:pt x="1118" y="375"/>
                  </a:lnTo>
                  <a:lnTo>
                    <a:pt x="1117" y="377"/>
                  </a:lnTo>
                  <a:lnTo>
                    <a:pt x="1116" y="378"/>
                  </a:lnTo>
                  <a:lnTo>
                    <a:pt x="1115" y="378"/>
                  </a:lnTo>
                  <a:lnTo>
                    <a:pt x="1114" y="379"/>
                  </a:lnTo>
                  <a:lnTo>
                    <a:pt x="1111" y="380"/>
                  </a:lnTo>
                  <a:lnTo>
                    <a:pt x="1109" y="382"/>
                  </a:lnTo>
                  <a:lnTo>
                    <a:pt x="1108" y="383"/>
                  </a:lnTo>
                  <a:lnTo>
                    <a:pt x="1102" y="388"/>
                  </a:lnTo>
                  <a:lnTo>
                    <a:pt x="1093" y="394"/>
                  </a:lnTo>
                  <a:lnTo>
                    <a:pt x="1091" y="396"/>
                  </a:lnTo>
                  <a:lnTo>
                    <a:pt x="1089" y="398"/>
                  </a:lnTo>
                  <a:lnTo>
                    <a:pt x="1088" y="400"/>
                  </a:lnTo>
                  <a:lnTo>
                    <a:pt x="1087" y="401"/>
                  </a:lnTo>
                  <a:lnTo>
                    <a:pt x="1085" y="404"/>
                  </a:lnTo>
                  <a:lnTo>
                    <a:pt x="1084" y="406"/>
                  </a:lnTo>
                  <a:lnTo>
                    <a:pt x="1082" y="410"/>
                  </a:lnTo>
                  <a:lnTo>
                    <a:pt x="1081" y="414"/>
                  </a:lnTo>
                  <a:lnTo>
                    <a:pt x="1080" y="417"/>
                  </a:lnTo>
                  <a:lnTo>
                    <a:pt x="1080" y="419"/>
                  </a:lnTo>
                  <a:lnTo>
                    <a:pt x="1079" y="428"/>
                  </a:lnTo>
                  <a:lnTo>
                    <a:pt x="1078" y="429"/>
                  </a:lnTo>
                  <a:lnTo>
                    <a:pt x="1078" y="432"/>
                  </a:lnTo>
                  <a:lnTo>
                    <a:pt x="1077" y="434"/>
                  </a:lnTo>
                  <a:lnTo>
                    <a:pt x="1075" y="437"/>
                  </a:lnTo>
                  <a:lnTo>
                    <a:pt x="1069" y="446"/>
                  </a:lnTo>
                  <a:lnTo>
                    <a:pt x="1067" y="449"/>
                  </a:lnTo>
                  <a:lnTo>
                    <a:pt x="1066" y="451"/>
                  </a:lnTo>
                  <a:lnTo>
                    <a:pt x="1065" y="453"/>
                  </a:lnTo>
                  <a:lnTo>
                    <a:pt x="1065" y="455"/>
                  </a:lnTo>
                  <a:lnTo>
                    <a:pt x="1064" y="457"/>
                  </a:lnTo>
                  <a:lnTo>
                    <a:pt x="1063" y="459"/>
                  </a:lnTo>
                  <a:lnTo>
                    <a:pt x="1063" y="462"/>
                  </a:lnTo>
                  <a:lnTo>
                    <a:pt x="1063" y="463"/>
                  </a:lnTo>
                  <a:lnTo>
                    <a:pt x="1064" y="465"/>
                  </a:lnTo>
                  <a:lnTo>
                    <a:pt x="1064" y="467"/>
                  </a:lnTo>
                  <a:lnTo>
                    <a:pt x="1065" y="469"/>
                  </a:lnTo>
                  <a:lnTo>
                    <a:pt x="1068" y="473"/>
                  </a:lnTo>
                  <a:lnTo>
                    <a:pt x="1068" y="474"/>
                  </a:lnTo>
                  <a:lnTo>
                    <a:pt x="1069" y="478"/>
                  </a:lnTo>
                  <a:lnTo>
                    <a:pt x="1071" y="485"/>
                  </a:lnTo>
                  <a:lnTo>
                    <a:pt x="1072" y="490"/>
                  </a:lnTo>
                  <a:lnTo>
                    <a:pt x="1073" y="494"/>
                  </a:lnTo>
                  <a:lnTo>
                    <a:pt x="1074" y="500"/>
                  </a:lnTo>
                  <a:lnTo>
                    <a:pt x="1075" y="503"/>
                  </a:lnTo>
                  <a:lnTo>
                    <a:pt x="1076" y="506"/>
                  </a:lnTo>
                  <a:lnTo>
                    <a:pt x="1077" y="510"/>
                  </a:lnTo>
                  <a:lnTo>
                    <a:pt x="1080" y="515"/>
                  </a:lnTo>
                  <a:lnTo>
                    <a:pt x="1084" y="524"/>
                  </a:lnTo>
                  <a:lnTo>
                    <a:pt x="1088" y="534"/>
                  </a:lnTo>
                  <a:lnTo>
                    <a:pt x="1090" y="537"/>
                  </a:lnTo>
                  <a:lnTo>
                    <a:pt x="1092" y="541"/>
                  </a:lnTo>
                  <a:lnTo>
                    <a:pt x="1095" y="545"/>
                  </a:lnTo>
                  <a:lnTo>
                    <a:pt x="1096" y="548"/>
                  </a:lnTo>
                  <a:lnTo>
                    <a:pt x="1100" y="553"/>
                  </a:lnTo>
                  <a:lnTo>
                    <a:pt x="1102" y="554"/>
                  </a:lnTo>
                  <a:lnTo>
                    <a:pt x="1103" y="558"/>
                  </a:lnTo>
                  <a:lnTo>
                    <a:pt x="1107" y="564"/>
                  </a:lnTo>
                  <a:lnTo>
                    <a:pt x="1108" y="567"/>
                  </a:lnTo>
                  <a:lnTo>
                    <a:pt x="1110" y="571"/>
                  </a:lnTo>
                  <a:lnTo>
                    <a:pt x="1116" y="587"/>
                  </a:lnTo>
                  <a:lnTo>
                    <a:pt x="1117" y="589"/>
                  </a:lnTo>
                  <a:lnTo>
                    <a:pt x="1118" y="592"/>
                  </a:lnTo>
                  <a:lnTo>
                    <a:pt x="1125" y="604"/>
                  </a:lnTo>
                  <a:lnTo>
                    <a:pt x="1130" y="614"/>
                  </a:lnTo>
                  <a:lnTo>
                    <a:pt x="1131" y="615"/>
                  </a:lnTo>
                  <a:lnTo>
                    <a:pt x="1132" y="617"/>
                  </a:lnTo>
                  <a:lnTo>
                    <a:pt x="1135" y="620"/>
                  </a:lnTo>
                  <a:lnTo>
                    <a:pt x="1137" y="621"/>
                  </a:lnTo>
                  <a:lnTo>
                    <a:pt x="1138" y="622"/>
                  </a:lnTo>
                  <a:lnTo>
                    <a:pt x="1144" y="626"/>
                  </a:lnTo>
                  <a:lnTo>
                    <a:pt x="1148" y="629"/>
                  </a:lnTo>
                  <a:lnTo>
                    <a:pt x="1151" y="632"/>
                  </a:lnTo>
                  <a:lnTo>
                    <a:pt x="1154" y="633"/>
                  </a:lnTo>
                  <a:lnTo>
                    <a:pt x="1156" y="635"/>
                  </a:lnTo>
                  <a:lnTo>
                    <a:pt x="1158" y="638"/>
                  </a:lnTo>
                  <a:lnTo>
                    <a:pt x="1159" y="640"/>
                  </a:lnTo>
                  <a:lnTo>
                    <a:pt x="1160" y="643"/>
                  </a:lnTo>
                  <a:lnTo>
                    <a:pt x="1162" y="645"/>
                  </a:lnTo>
                  <a:lnTo>
                    <a:pt x="1164" y="648"/>
                  </a:lnTo>
                  <a:lnTo>
                    <a:pt x="1165" y="651"/>
                  </a:lnTo>
                  <a:lnTo>
                    <a:pt x="1165" y="652"/>
                  </a:lnTo>
                  <a:lnTo>
                    <a:pt x="1164" y="651"/>
                  </a:lnTo>
                  <a:lnTo>
                    <a:pt x="1163" y="651"/>
                  </a:lnTo>
                  <a:lnTo>
                    <a:pt x="1162" y="651"/>
                  </a:lnTo>
                  <a:lnTo>
                    <a:pt x="1161" y="651"/>
                  </a:lnTo>
                  <a:lnTo>
                    <a:pt x="1160" y="651"/>
                  </a:lnTo>
                  <a:lnTo>
                    <a:pt x="1159" y="652"/>
                  </a:lnTo>
                  <a:lnTo>
                    <a:pt x="1158" y="653"/>
                  </a:lnTo>
                  <a:lnTo>
                    <a:pt x="1157" y="654"/>
                  </a:lnTo>
                  <a:lnTo>
                    <a:pt x="1155" y="655"/>
                  </a:lnTo>
                  <a:lnTo>
                    <a:pt x="1153" y="657"/>
                  </a:lnTo>
                  <a:lnTo>
                    <a:pt x="1152" y="659"/>
                  </a:lnTo>
                  <a:lnTo>
                    <a:pt x="1150" y="661"/>
                  </a:lnTo>
                  <a:lnTo>
                    <a:pt x="1149" y="663"/>
                  </a:lnTo>
                  <a:lnTo>
                    <a:pt x="1149" y="664"/>
                  </a:lnTo>
                  <a:lnTo>
                    <a:pt x="1149" y="666"/>
                  </a:lnTo>
                  <a:lnTo>
                    <a:pt x="1148" y="667"/>
                  </a:lnTo>
                  <a:lnTo>
                    <a:pt x="1148" y="669"/>
                  </a:lnTo>
                  <a:lnTo>
                    <a:pt x="1148" y="671"/>
                  </a:lnTo>
                  <a:lnTo>
                    <a:pt x="1149" y="674"/>
                  </a:lnTo>
                  <a:lnTo>
                    <a:pt x="1151" y="682"/>
                  </a:lnTo>
                  <a:lnTo>
                    <a:pt x="1152" y="687"/>
                  </a:lnTo>
                  <a:lnTo>
                    <a:pt x="1152" y="691"/>
                  </a:lnTo>
                  <a:lnTo>
                    <a:pt x="1153" y="699"/>
                  </a:lnTo>
                  <a:lnTo>
                    <a:pt x="1153" y="700"/>
                  </a:lnTo>
                  <a:lnTo>
                    <a:pt x="1152" y="703"/>
                  </a:lnTo>
                  <a:lnTo>
                    <a:pt x="1152" y="704"/>
                  </a:lnTo>
                  <a:lnTo>
                    <a:pt x="1152" y="706"/>
                  </a:lnTo>
                  <a:lnTo>
                    <a:pt x="1151" y="708"/>
                  </a:lnTo>
                  <a:lnTo>
                    <a:pt x="1150" y="709"/>
                  </a:lnTo>
                  <a:lnTo>
                    <a:pt x="1150" y="711"/>
                  </a:lnTo>
                  <a:lnTo>
                    <a:pt x="1149" y="711"/>
                  </a:lnTo>
                  <a:lnTo>
                    <a:pt x="1148" y="711"/>
                  </a:lnTo>
                  <a:lnTo>
                    <a:pt x="1148" y="712"/>
                  </a:lnTo>
                  <a:lnTo>
                    <a:pt x="1146" y="713"/>
                  </a:lnTo>
                  <a:lnTo>
                    <a:pt x="1145" y="713"/>
                  </a:lnTo>
                  <a:lnTo>
                    <a:pt x="1138" y="715"/>
                  </a:lnTo>
                  <a:lnTo>
                    <a:pt x="1133" y="718"/>
                  </a:lnTo>
                  <a:lnTo>
                    <a:pt x="1125" y="720"/>
                  </a:lnTo>
                  <a:lnTo>
                    <a:pt x="1123" y="720"/>
                  </a:lnTo>
                  <a:lnTo>
                    <a:pt x="1122" y="721"/>
                  </a:lnTo>
                  <a:lnTo>
                    <a:pt x="1120" y="723"/>
                  </a:lnTo>
                  <a:lnTo>
                    <a:pt x="1119" y="723"/>
                  </a:lnTo>
                  <a:lnTo>
                    <a:pt x="1115" y="731"/>
                  </a:lnTo>
                  <a:lnTo>
                    <a:pt x="1113" y="737"/>
                  </a:lnTo>
                  <a:lnTo>
                    <a:pt x="1112" y="739"/>
                  </a:lnTo>
                  <a:lnTo>
                    <a:pt x="1112" y="742"/>
                  </a:lnTo>
                  <a:lnTo>
                    <a:pt x="1111" y="743"/>
                  </a:lnTo>
                  <a:lnTo>
                    <a:pt x="1110" y="744"/>
                  </a:lnTo>
                  <a:lnTo>
                    <a:pt x="1110" y="745"/>
                  </a:lnTo>
                  <a:lnTo>
                    <a:pt x="1109" y="745"/>
                  </a:lnTo>
                  <a:lnTo>
                    <a:pt x="1107" y="745"/>
                  </a:lnTo>
                  <a:lnTo>
                    <a:pt x="1105" y="745"/>
                  </a:lnTo>
                  <a:lnTo>
                    <a:pt x="1103" y="745"/>
                  </a:lnTo>
                  <a:lnTo>
                    <a:pt x="1102" y="745"/>
                  </a:lnTo>
                  <a:lnTo>
                    <a:pt x="1099" y="744"/>
                  </a:lnTo>
                  <a:lnTo>
                    <a:pt x="1096" y="744"/>
                  </a:lnTo>
                  <a:lnTo>
                    <a:pt x="1087" y="740"/>
                  </a:lnTo>
                  <a:lnTo>
                    <a:pt x="1084" y="739"/>
                  </a:lnTo>
                  <a:lnTo>
                    <a:pt x="1083" y="739"/>
                  </a:lnTo>
                  <a:lnTo>
                    <a:pt x="1081" y="739"/>
                  </a:lnTo>
                  <a:lnTo>
                    <a:pt x="1080" y="739"/>
                  </a:lnTo>
                  <a:lnTo>
                    <a:pt x="1080" y="740"/>
                  </a:lnTo>
                  <a:lnTo>
                    <a:pt x="1079" y="740"/>
                  </a:lnTo>
                  <a:lnTo>
                    <a:pt x="1077" y="741"/>
                  </a:lnTo>
                  <a:lnTo>
                    <a:pt x="1076" y="742"/>
                  </a:lnTo>
                  <a:lnTo>
                    <a:pt x="1075" y="743"/>
                  </a:lnTo>
                  <a:lnTo>
                    <a:pt x="1075" y="744"/>
                  </a:lnTo>
                  <a:lnTo>
                    <a:pt x="1075" y="745"/>
                  </a:lnTo>
                  <a:lnTo>
                    <a:pt x="1075" y="752"/>
                  </a:lnTo>
                  <a:lnTo>
                    <a:pt x="1076" y="757"/>
                  </a:lnTo>
                  <a:lnTo>
                    <a:pt x="1076" y="759"/>
                  </a:lnTo>
                  <a:lnTo>
                    <a:pt x="1076" y="762"/>
                  </a:lnTo>
                  <a:lnTo>
                    <a:pt x="1076" y="766"/>
                  </a:lnTo>
                  <a:lnTo>
                    <a:pt x="1076" y="768"/>
                  </a:lnTo>
                  <a:lnTo>
                    <a:pt x="1077" y="769"/>
                  </a:lnTo>
                  <a:lnTo>
                    <a:pt x="1077" y="773"/>
                  </a:lnTo>
                  <a:lnTo>
                    <a:pt x="1079" y="780"/>
                  </a:lnTo>
                  <a:lnTo>
                    <a:pt x="1080" y="783"/>
                  </a:lnTo>
                  <a:lnTo>
                    <a:pt x="1080" y="785"/>
                  </a:lnTo>
                  <a:lnTo>
                    <a:pt x="1080" y="789"/>
                  </a:lnTo>
                  <a:lnTo>
                    <a:pt x="1080" y="791"/>
                  </a:lnTo>
                  <a:lnTo>
                    <a:pt x="1080" y="794"/>
                  </a:lnTo>
                  <a:lnTo>
                    <a:pt x="1080" y="797"/>
                  </a:lnTo>
                  <a:lnTo>
                    <a:pt x="1079" y="799"/>
                  </a:lnTo>
                  <a:lnTo>
                    <a:pt x="1078" y="806"/>
                  </a:lnTo>
                  <a:lnTo>
                    <a:pt x="1076" y="817"/>
                  </a:lnTo>
                  <a:lnTo>
                    <a:pt x="1075" y="819"/>
                  </a:lnTo>
                  <a:lnTo>
                    <a:pt x="1075" y="821"/>
                  </a:lnTo>
                  <a:lnTo>
                    <a:pt x="1074" y="824"/>
                  </a:lnTo>
                  <a:lnTo>
                    <a:pt x="1072" y="826"/>
                  </a:lnTo>
                  <a:lnTo>
                    <a:pt x="1071" y="827"/>
                  </a:lnTo>
                  <a:lnTo>
                    <a:pt x="1070" y="828"/>
                  </a:lnTo>
                  <a:lnTo>
                    <a:pt x="1069" y="829"/>
                  </a:lnTo>
                  <a:lnTo>
                    <a:pt x="1069" y="830"/>
                  </a:lnTo>
                  <a:lnTo>
                    <a:pt x="1067" y="830"/>
                  </a:lnTo>
                  <a:lnTo>
                    <a:pt x="1065" y="831"/>
                  </a:lnTo>
                  <a:lnTo>
                    <a:pt x="1063" y="831"/>
                  </a:lnTo>
                  <a:lnTo>
                    <a:pt x="1061" y="831"/>
                  </a:lnTo>
                  <a:lnTo>
                    <a:pt x="1059" y="831"/>
                  </a:lnTo>
                  <a:lnTo>
                    <a:pt x="1052" y="829"/>
                  </a:lnTo>
                  <a:lnTo>
                    <a:pt x="1049" y="829"/>
                  </a:lnTo>
                  <a:lnTo>
                    <a:pt x="1046" y="828"/>
                  </a:lnTo>
                  <a:lnTo>
                    <a:pt x="1043" y="828"/>
                  </a:lnTo>
                  <a:lnTo>
                    <a:pt x="1032" y="830"/>
                  </a:lnTo>
                  <a:lnTo>
                    <a:pt x="1026" y="831"/>
                  </a:lnTo>
                  <a:lnTo>
                    <a:pt x="1011" y="833"/>
                  </a:lnTo>
                  <a:lnTo>
                    <a:pt x="1008" y="834"/>
                  </a:lnTo>
                  <a:lnTo>
                    <a:pt x="1006" y="835"/>
                  </a:lnTo>
                  <a:lnTo>
                    <a:pt x="1004" y="835"/>
                  </a:lnTo>
                  <a:lnTo>
                    <a:pt x="1002" y="836"/>
                  </a:lnTo>
                  <a:lnTo>
                    <a:pt x="1001" y="837"/>
                  </a:lnTo>
                  <a:lnTo>
                    <a:pt x="998" y="839"/>
                  </a:lnTo>
                  <a:lnTo>
                    <a:pt x="993" y="844"/>
                  </a:lnTo>
                  <a:lnTo>
                    <a:pt x="990" y="847"/>
                  </a:lnTo>
                  <a:lnTo>
                    <a:pt x="989" y="848"/>
                  </a:lnTo>
                  <a:lnTo>
                    <a:pt x="987" y="850"/>
                  </a:lnTo>
                  <a:lnTo>
                    <a:pt x="985" y="851"/>
                  </a:lnTo>
                  <a:lnTo>
                    <a:pt x="983" y="851"/>
                  </a:lnTo>
                  <a:lnTo>
                    <a:pt x="982" y="852"/>
                  </a:lnTo>
                  <a:lnTo>
                    <a:pt x="980" y="852"/>
                  </a:lnTo>
                  <a:lnTo>
                    <a:pt x="978" y="852"/>
                  </a:lnTo>
                  <a:lnTo>
                    <a:pt x="976" y="851"/>
                  </a:lnTo>
                  <a:lnTo>
                    <a:pt x="972" y="851"/>
                  </a:lnTo>
                  <a:lnTo>
                    <a:pt x="963" y="849"/>
                  </a:lnTo>
                  <a:lnTo>
                    <a:pt x="953" y="847"/>
                  </a:lnTo>
                  <a:lnTo>
                    <a:pt x="949" y="847"/>
                  </a:lnTo>
                  <a:lnTo>
                    <a:pt x="943" y="845"/>
                  </a:lnTo>
                  <a:lnTo>
                    <a:pt x="941" y="845"/>
                  </a:lnTo>
                  <a:lnTo>
                    <a:pt x="939" y="845"/>
                  </a:lnTo>
                  <a:lnTo>
                    <a:pt x="937" y="845"/>
                  </a:lnTo>
                  <a:lnTo>
                    <a:pt x="935" y="845"/>
                  </a:lnTo>
                  <a:lnTo>
                    <a:pt x="934" y="846"/>
                  </a:lnTo>
                  <a:lnTo>
                    <a:pt x="929" y="847"/>
                  </a:lnTo>
                  <a:lnTo>
                    <a:pt x="925" y="849"/>
                  </a:lnTo>
                  <a:lnTo>
                    <a:pt x="920" y="850"/>
                  </a:lnTo>
                  <a:lnTo>
                    <a:pt x="915" y="851"/>
                  </a:lnTo>
                  <a:lnTo>
                    <a:pt x="910" y="852"/>
                  </a:lnTo>
                  <a:lnTo>
                    <a:pt x="904" y="852"/>
                  </a:lnTo>
                  <a:lnTo>
                    <a:pt x="898" y="852"/>
                  </a:lnTo>
                  <a:lnTo>
                    <a:pt x="890" y="852"/>
                  </a:lnTo>
                  <a:lnTo>
                    <a:pt x="886" y="851"/>
                  </a:lnTo>
                  <a:lnTo>
                    <a:pt x="870" y="849"/>
                  </a:lnTo>
                  <a:lnTo>
                    <a:pt x="864" y="849"/>
                  </a:lnTo>
                  <a:lnTo>
                    <a:pt x="860" y="848"/>
                  </a:lnTo>
                  <a:lnTo>
                    <a:pt x="854" y="847"/>
                  </a:lnTo>
                  <a:lnTo>
                    <a:pt x="842" y="844"/>
                  </a:lnTo>
                  <a:lnTo>
                    <a:pt x="833" y="841"/>
                  </a:lnTo>
                  <a:lnTo>
                    <a:pt x="829" y="840"/>
                  </a:lnTo>
                  <a:lnTo>
                    <a:pt x="825" y="839"/>
                  </a:lnTo>
                  <a:lnTo>
                    <a:pt x="812" y="838"/>
                  </a:lnTo>
                  <a:lnTo>
                    <a:pt x="809" y="838"/>
                  </a:lnTo>
                  <a:lnTo>
                    <a:pt x="807" y="838"/>
                  </a:lnTo>
                  <a:lnTo>
                    <a:pt x="805" y="838"/>
                  </a:lnTo>
                  <a:lnTo>
                    <a:pt x="803" y="839"/>
                  </a:lnTo>
                  <a:lnTo>
                    <a:pt x="801" y="839"/>
                  </a:lnTo>
                  <a:lnTo>
                    <a:pt x="798" y="841"/>
                  </a:lnTo>
                  <a:lnTo>
                    <a:pt x="796" y="842"/>
                  </a:lnTo>
                  <a:lnTo>
                    <a:pt x="795" y="844"/>
                  </a:lnTo>
                  <a:lnTo>
                    <a:pt x="792" y="846"/>
                  </a:lnTo>
                  <a:lnTo>
                    <a:pt x="791" y="847"/>
                  </a:lnTo>
                  <a:lnTo>
                    <a:pt x="789" y="849"/>
                  </a:lnTo>
                  <a:lnTo>
                    <a:pt x="788" y="851"/>
                  </a:lnTo>
                  <a:lnTo>
                    <a:pt x="786" y="853"/>
                  </a:lnTo>
                  <a:lnTo>
                    <a:pt x="786" y="855"/>
                  </a:lnTo>
                  <a:lnTo>
                    <a:pt x="785" y="856"/>
                  </a:lnTo>
                  <a:lnTo>
                    <a:pt x="785" y="858"/>
                  </a:lnTo>
                  <a:lnTo>
                    <a:pt x="785" y="859"/>
                  </a:lnTo>
                  <a:lnTo>
                    <a:pt x="785" y="862"/>
                  </a:lnTo>
                  <a:lnTo>
                    <a:pt x="785" y="868"/>
                  </a:lnTo>
                  <a:lnTo>
                    <a:pt x="785" y="870"/>
                  </a:lnTo>
                  <a:lnTo>
                    <a:pt x="785" y="874"/>
                  </a:lnTo>
                  <a:lnTo>
                    <a:pt x="785" y="877"/>
                  </a:lnTo>
                  <a:lnTo>
                    <a:pt x="785" y="879"/>
                  </a:lnTo>
                  <a:lnTo>
                    <a:pt x="785" y="880"/>
                  </a:lnTo>
                  <a:lnTo>
                    <a:pt x="784" y="881"/>
                  </a:lnTo>
                  <a:lnTo>
                    <a:pt x="783" y="882"/>
                  </a:lnTo>
                  <a:lnTo>
                    <a:pt x="782" y="883"/>
                  </a:lnTo>
                  <a:lnTo>
                    <a:pt x="781" y="883"/>
                  </a:lnTo>
                  <a:lnTo>
                    <a:pt x="779" y="884"/>
                  </a:lnTo>
                  <a:lnTo>
                    <a:pt x="778" y="884"/>
                  </a:lnTo>
                  <a:lnTo>
                    <a:pt x="775" y="885"/>
                  </a:lnTo>
                  <a:lnTo>
                    <a:pt x="771" y="885"/>
                  </a:lnTo>
                  <a:lnTo>
                    <a:pt x="767" y="886"/>
                  </a:lnTo>
                  <a:lnTo>
                    <a:pt x="765" y="886"/>
                  </a:lnTo>
                  <a:lnTo>
                    <a:pt x="763" y="887"/>
                  </a:lnTo>
                  <a:lnTo>
                    <a:pt x="762" y="888"/>
                  </a:lnTo>
                  <a:lnTo>
                    <a:pt x="762" y="889"/>
                  </a:lnTo>
                  <a:lnTo>
                    <a:pt x="762" y="890"/>
                  </a:lnTo>
                  <a:lnTo>
                    <a:pt x="760" y="893"/>
                  </a:lnTo>
                  <a:lnTo>
                    <a:pt x="760" y="895"/>
                  </a:lnTo>
                  <a:lnTo>
                    <a:pt x="758" y="898"/>
                  </a:lnTo>
                  <a:lnTo>
                    <a:pt x="757" y="900"/>
                  </a:lnTo>
                  <a:lnTo>
                    <a:pt x="755" y="902"/>
                  </a:lnTo>
                  <a:lnTo>
                    <a:pt x="753" y="904"/>
                  </a:lnTo>
                  <a:lnTo>
                    <a:pt x="749" y="908"/>
                  </a:lnTo>
                  <a:lnTo>
                    <a:pt x="747" y="910"/>
                  </a:lnTo>
                  <a:lnTo>
                    <a:pt x="744" y="912"/>
                  </a:lnTo>
                  <a:lnTo>
                    <a:pt x="741" y="914"/>
                  </a:lnTo>
                  <a:lnTo>
                    <a:pt x="738" y="915"/>
                  </a:lnTo>
                  <a:lnTo>
                    <a:pt x="735" y="917"/>
                  </a:lnTo>
                  <a:lnTo>
                    <a:pt x="733" y="918"/>
                  </a:lnTo>
                  <a:lnTo>
                    <a:pt x="730" y="919"/>
                  </a:lnTo>
                  <a:lnTo>
                    <a:pt x="723" y="921"/>
                  </a:lnTo>
                  <a:lnTo>
                    <a:pt x="719" y="922"/>
                  </a:lnTo>
                  <a:lnTo>
                    <a:pt x="716" y="923"/>
                  </a:lnTo>
                  <a:lnTo>
                    <a:pt x="714" y="925"/>
                  </a:lnTo>
                  <a:lnTo>
                    <a:pt x="711" y="926"/>
                  </a:lnTo>
                  <a:lnTo>
                    <a:pt x="708" y="927"/>
                  </a:lnTo>
                  <a:lnTo>
                    <a:pt x="706" y="928"/>
                  </a:lnTo>
                  <a:lnTo>
                    <a:pt x="704" y="930"/>
                  </a:lnTo>
                  <a:lnTo>
                    <a:pt x="702" y="932"/>
                  </a:lnTo>
                  <a:lnTo>
                    <a:pt x="700" y="934"/>
                  </a:lnTo>
                  <a:lnTo>
                    <a:pt x="696" y="938"/>
                  </a:lnTo>
                  <a:lnTo>
                    <a:pt x="692" y="944"/>
                  </a:lnTo>
                  <a:lnTo>
                    <a:pt x="689" y="947"/>
                  </a:lnTo>
                  <a:lnTo>
                    <a:pt x="686" y="949"/>
                  </a:lnTo>
                  <a:lnTo>
                    <a:pt x="685" y="949"/>
                  </a:lnTo>
                  <a:lnTo>
                    <a:pt x="684" y="950"/>
                  </a:lnTo>
                  <a:lnTo>
                    <a:pt x="682" y="951"/>
                  </a:lnTo>
                  <a:lnTo>
                    <a:pt x="682" y="951"/>
                  </a:lnTo>
                  <a:lnTo>
                    <a:pt x="680" y="951"/>
                  </a:lnTo>
                  <a:lnTo>
                    <a:pt x="678" y="951"/>
                  </a:lnTo>
                  <a:lnTo>
                    <a:pt x="677" y="951"/>
                  </a:lnTo>
                  <a:lnTo>
                    <a:pt x="675" y="951"/>
                  </a:lnTo>
                  <a:lnTo>
                    <a:pt x="674" y="951"/>
                  </a:lnTo>
                  <a:lnTo>
                    <a:pt x="672" y="950"/>
                  </a:lnTo>
                  <a:lnTo>
                    <a:pt x="671" y="949"/>
                  </a:lnTo>
                  <a:lnTo>
                    <a:pt x="669" y="947"/>
                  </a:lnTo>
                  <a:lnTo>
                    <a:pt x="664" y="942"/>
                  </a:lnTo>
                  <a:lnTo>
                    <a:pt x="662" y="940"/>
                  </a:lnTo>
                  <a:lnTo>
                    <a:pt x="661" y="939"/>
                  </a:lnTo>
                  <a:lnTo>
                    <a:pt x="659" y="938"/>
                  </a:lnTo>
                  <a:lnTo>
                    <a:pt x="656" y="938"/>
                  </a:lnTo>
                  <a:lnTo>
                    <a:pt x="654" y="937"/>
                  </a:lnTo>
                  <a:lnTo>
                    <a:pt x="651" y="937"/>
                  </a:lnTo>
                  <a:lnTo>
                    <a:pt x="649" y="938"/>
                  </a:lnTo>
                  <a:lnTo>
                    <a:pt x="647" y="938"/>
                  </a:lnTo>
                  <a:lnTo>
                    <a:pt x="645" y="939"/>
                  </a:lnTo>
                  <a:lnTo>
                    <a:pt x="642" y="941"/>
                  </a:lnTo>
                  <a:lnTo>
                    <a:pt x="640" y="943"/>
                  </a:lnTo>
                  <a:lnTo>
                    <a:pt x="637" y="946"/>
                  </a:lnTo>
                  <a:lnTo>
                    <a:pt x="629" y="953"/>
                  </a:lnTo>
                  <a:lnTo>
                    <a:pt x="626" y="957"/>
                  </a:lnTo>
                  <a:lnTo>
                    <a:pt x="624" y="959"/>
                  </a:lnTo>
                  <a:lnTo>
                    <a:pt x="621" y="961"/>
                  </a:lnTo>
                  <a:lnTo>
                    <a:pt x="619" y="961"/>
                  </a:lnTo>
                  <a:lnTo>
                    <a:pt x="618" y="962"/>
                  </a:lnTo>
                  <a:lnTo>
                    <a:pt x="616" y="963"/>
                  </a:lnTo>
                  <a:lnTo>
                    <a:pt x="614" y="964"/>
                  </a:lnTo>
                  <a:lnTo>
                    <a:pt x="612" y="965"/>
                  </a:lnTo>
                  <a:lnTo>
                    <a:pt x="610" y="966"/>
                  </a:lnTo>
                  <a:lnTo>
                    <a:pt x="604" y="971"/>
                  </a:lnTo>
                  <a:lnTo>
                    <a:pt x="603" y="972"/>
                  </a:lnTo>
                  <a:lnTo>
                    <a:pt x="600" y="973"/>
                  </a:lnTo>
                  <a:lnTo>
                    <a:pt x="597" y="974"/>
                  </a:lnTo>
                  <a:lnTo>
                    <a:pt x="594" y="974"/>
                  </a:lnTo>
                  <a:lnTo>
                    <a:pt x="591" y="975"/>
                  </a:lnTo>
                  <a:lnTo>
                    <a:pt x="589" y="975"/>
                  </a:lnTo>
                  <a:lnTo>
                    <a:pt x="585" y="976"/>
                  </a:lnTo>
                  <a:lnTo>
                    <a:pt x="573" y="976"/>
                  </a:lnTo>
                  <a:lnTo>
                    <a:pt x="569" y="976"/>
                  </a:lnTo>
                  <a:lnTo>
                    <a:pt x="566" y="976"/>
                  </a:lnTo>
                  <a:lnTo>
                    <a:pt x="563" y="976"/>
                  </a:lnTo>
                  <a:lnTo>
                    <a:pt x="560" y="975"/>
                  </a:lnTo>
                  <a:lnTo>
                    <a:pt x="556" y="974"/>
                  </a:lnTo>
                  <a:lnTo>
                    <a:pt x="551" y="973"/>
                  </a:lnTo>
                  <a:lnTo>
                    <a:pt x="549" y="972"/>
                  </a:lnTo>
                  <a:lnTo>
                    <a:pt x="548" y="972"/>
                  </a:lnTo>
                  <a:lnTo>
                    <a:pt x="546" y="972"/>
                  </a:lnTo>
                  <a:lnTo>
                    <a:pt x="544" y="970"/>
                  </a:lnTo>
                  <a:lnTo>
                    <a:pt x="542" y="969"/>
                  </a:lnTo>
                  <a:lnTo>
                    <a:pt x="541" y="969"/>
                  </a:lnTo>
                  <a:lnTo>
                    <a:pt x="540" y="968"/>
                  </a:lnTo>
                  <a:lnTo>
                    <a:pt x="539" y="969"/>
                  </a:lnTo>
                  <a:lnTo>
                    <a:pt x="538" y="969"/>
                  </a:lnTo>
                  <a:lnTo>
                    <a:pt x="537" y="969"/>
                  </a:lnTo>
                  <a:lnTo>
                    <a:pt x="535" y="971"/>
                  </a:lnTo>
                  <a:lnTo>
                    <a:pt x="534" y="972"/>
                  </a:lnTo>
                  <a:lnTo>
                    <a:pt x="531" y="973"/>
                  </a:lnTo>
                  <a:lnTo>
                    <a:pt x="520" y="983"/>
                  </a:lnTo>
                  <a:lnTo>
                    <a:pt x="514" y="989"/>
                  </a:lnTo>
                  <a:lnTo>
                    <a:pt x="509" y="994"/>
                  </a:lnTo>
                  <a:lnTo>
                    <a:pt x="508" y="995"/>
                  </a:lnTo>
                  <a:lnTo>
                    <a:pt x="506" y="996"/>
                  </a:lnTo>
                  <a:lnTo>
                    <a:pt x="502" y="1001"/>
                  </a:lnTo>
                  <a:lnTo>
                    <a:pt x="500" y="1004"/>
                  </a:lnTo>
                  <a:lnTo>
                    <a:pt x="497" y="1006"/>
                  </a:lnTo>
                  <a:lnTo>
                    <a:pt x="495" y="1007"/>
                  </a:lnTo>
                  <a:lnTo>
                    <a:pt x="493" y="1009"/>
                  </a:lnTo>
                  <a:lnTo>
                    <a:pt x="491" y="1010"/>
                  </a:lnTo>
                  <a:lnTo>
                    <a:pt x="487" y="1012"/>
                  </a:lnTo>
                  <a:lnTo>
                    <a:pt x="482" y="1014"/>
                  </a:lnTo>
                  <a:lnTo>
                    <a:pt x="478" y="1015"/>
                  </a:lnTo>
                  <a:lnTo>
                    <a:pt x="474" y="1016"/>
                  </a:lnTo>
                  <a:lnTo>
                    <a:pt x="470" y="1017"/>
                  </a:lnTo>
                  <a:lnTo>
                    <a:pt x="467" y="1017"/>
                  </a:lnTo>
                  <a:lnTo>
                    <a:pt x="465" y="1017"/>
                  </a:lnTo>
                  <a:lnTo>
                    <a:pt x="458" y="1016"/>
                  </a:lnTo>
                  <a:lnTo>
                    <a:pt x="455" y="1016"/>
                  </a:lnTo>
                  <a:lnTo>
                    <a:pt x="453" y="1016"/>
                  </a:lnTo>
                  <a:lnTo>
                    <a:pt x="449" y="1017"/>
                  </a:lnTo>
                  <a:lnTo>
                    <a:pt x="446" y="1017"/>
                  </a:lnTo>
                  <a:lnTo>
                    <a:pt x="444" y="1018"/>
                  </a:lnTo>
                  <a:lnTo>
                    <a:pt x="441" y="1019"/>
                  </a:lnTo>
                  <a:lnTo>
                    <a:pt x="438" y="1021"/>
                  </a:lnTo>
                  <a:lnTo>
                    <a:pt x="433" y="1025"/>
                  </a:lnTo>
                  <a:lnTo>
                    <a:pt x="429" y="1028"/>
                  </a:lnTo>
                  <a:lnTo>
                    <a:pt x="427" y="1029"/>
                  </a:lnTo>
                  <a:lnTo>
                    <a:pt x="423" y="1034"/>
                  </a:lnTo>
                  <a:lnTo>
                    <a:pt x="420" y="1037"/>
                  </a:lnTo>
                  <a:lnTo>
                    <a:pt x="417" y="1040"/>
                  </a:lnTo>
                  <a:lnTo>
                    <a:pt x="411" y="1043"/>
                  </a:lnTo>
                  <a:lnTo>
                    <a:pt x="409" y="1045"/>
                  </a:lnTo>
                  <a:lnTo>
                    <a:pt x="408" y="1046"/>
                  </a:lnTo>
                  <a:lnTo>
                    <a:pt x="408" y="1048"/>
                  </a:lnTo>
                  <a:lnTo>
                    <a:pt x="407" y="1049"/>
                  </a:lnTo>
                  <a:lnTo>
                    <a:pt x="406" y="1052"/>
                  </a:lnTo>
                  <a:lnTo>
                    <a:pt x="406" y="1054"/>
                  </a:lnTo>
                  <a:lnTo>
                    <a:pt x="405" y="1060"/>
                  </a:lnTo>
                  <a:lnTo>
                    <a:pt x="405" y="1063"/>
                  </a:lnTo>
                  <a:lnTo>
                    <a:pt x="404" y="1064"/>
                  </a:lnTo>
                  <a:lnTo>
                    <a:pt x="403" y="1068"/>
                  </a:lnTo>
                  <a:lnTo>
                    <a:pt x="403" y="1070"/>
                  </a:lnTo>
                  <a:lnTo>
                    <a:pt x="402" y="1071"/>
                  </a:lnTo>
                  <a:lnTo>
                    <a:pt x="402" y="1075"/>
                  </a:lnTo>
                  <a:lnTo>
                    <a:pt x="402" y="1078"/>
                  </a:lnTo>
                  <a:lnTo>
                    <a:pt x="402" y="1080"/>
                  </a:lnTo>
                  <a:lnTo>
                    <a:pt x="401" y="1082"/>
                  </a:lnTo>
                  <a:lnTo>
                    <a:pt x="400" y="1083"/>
                  </a:lnTo>
                  <a:lnTo>
                    <a:pt x="400" y="1084"/>
                  </a:lnTo>
                  <a:lnTo>
                    <a:pt x="399" y="1084"/>
                  </a:lnTo>
                  <a:lnTo>
                    <a:pt x="398" y="1085"/>
                  </a:lnTo>
                  <a:lnTo>
                    <a:pt x="398" y="1085"/>
                  </a:lnTo>
                  <a:lnTo>
                    <a:pt x="393" y="1087"/>
                  </a:lnTo>
                  <a:lnTo>
                    <a:pt x="392" y="1088"/>
                  </a:lnTo>
                  <a:lnTo>
                    <a:pt x="391" y="1089"/>
                  </a:lnTo>
                  <a:lnTo>
                    <a:pt x="390" y="1091"/>
                  </a:lnTo>
                  <a:lnTo>
                    <a:pt x="389" y="1092"/>
                  </a:lnTo>
                  <a:lnTo>
                    <a:pt x="387" y="1098"/>
                  </a:lnTo>
                  <a:lnTo>
                    <a:pt x="387" y="1100"/>
                  </a:lnTo>
                  <a:lnTo>
                    <a:pt x="385" y="1103"/>
                  </a:lnTo>
                  <a:lnTo>
                    <a:pt x="382" y="1107"/>
                  </a:lnTo>
                  <a:lnTo>
                    <a:pt x="380" y="1108"/>
                  </a:lnTo>
                  <a:lnTo>
                    <a:pt x="379" y="1108"/>
                  </a:lnTo>
                  <a:lnTo>
                    <a:pt x="378" y="1109"/>
                  </a:lnTo>
                  <a:lnTo>
                    <a:pt x="376" y="1110"/>
                  </a:lnTo>
                  <a:lnTo>
                    <a:pt x="375" y="1110"/>
                  </a:lnTo>
                  <a:lnTo>
                    <a:pt x="373" y="1110"/>
                  </a:lnTo>
                  <a:lnTo>
                    <a:pt x="371" y="1111"/>
                  </a:lnTo>
                  <a:lnTo>
                    <a:pt x="366" y="1111"/>
                  </a:lnTo>
                  <a:lnTo>
                    <a:pt x="364" y="1112"/>
                  </a:lnTo>
                  <a:lnTo>
                    <a:pt x="362" y="1112"/>
                  </a:lnTo>
                  <a:lnTo>
                    <a:pt x="359" y="1113"/>
                  </a:lnTo>
                  <a:lnTo>
                    <a:pt x="357" y="1114"/>
                  </a:lnTo>
                  <a:lnTo>
                    <a:pt x="355" y="1115"/>
                  </a:lnTo>
                  <a:lnTo>
                    <a:pt x="353" y="1117"/>
                  </a:lnTo>
                  <a:lnTo>
                    <a:pt x="349" y="1119"/>
                  </a:lnTo>
                  <a:lnTo>
                    <a:pt x="346" y="1122"/>
                  </a:lnTo>
                  <a:lnTo>
                    <a:pt x="343" y="1124"/>
                  </a:lnTo>
                  <a:lnTo>
                    <a:pt x="341" y="1126"/>
                  </a:lnTo>
                  <a:lnTo>
                    <a:pt x="341" y="1128"/>
                  </a:lnTo>
                  <a:lnTo>
                    <a:pt x="340" y="1130"/>
                  </a:lnTo>
                  <a:lnTo>
                    <a:pt x="340" y="1131"/>
                  </a:lnTo>
                  <a:lnTo>
                    <a:pt x="340" y="1131"/>
                  </a:lnTo>
                  <a:lnTo>
                    <a:pt x="338" y="1134"/>
                  </a:lnTo>
                  <a:lnTo>
                    <a:pt x="337" y="1135"/>
                  </a:lnTo>
                  <a:lnTo>
                    <a:pt x="336" y="1136"/>
                  </a:lnTo>
                  <a:lnTo>
                    <a:pt x="333" y="1138"/>
                  </a:lnTo>
                  <a:lnTo>
                    <a:pt x="330" y="1140"/>
                  </a:lnTo>
                  <a:lnTo>
                    <a:pt x="329" y="1141"/>
                  </a:lnTo>
                  <a:lnTo>
                    <a:pt x="328" y="1142"/>
                  </a:lnTo>
                  <a:lnTo>
                    <a:pt x="321" y="1142"/>
                  </a:lnTo>
                  <a:lnTo>
                    <a:pt x="318" y="1142"/>
                  </a:lnTo>
                  <a:lnTo>
                    <a:pt x="318" y="1142"/>
                  </a:lnTo>
                  <a:lnTo>
                    <a:pt x="317" y="1142"/>
                  </a:lnTo>
                  <a:lnTo>
                    <a:pt x="316" y="1142"/>
                  </a:lnTo>
                  <a:lnTo>
                    <a:pt x="315" y="1142"/>
                  </a:lnTo>
                  <a:lnTo>
                    <a:pt x="314" y="1141"/>
                  </a:lnTo>
                  <a:lnTo>
                    <a:pt x="313" y="1140"/>
                  </a:lnTo>
                  <a:lnTo>
                    <a:pt x="312" y="1138"/>
                  </a:lnTo>
                  <a:lnTo>
                    <a:pt x="310" y="1133"/>
                  </a:lnTo>
                  <a:lnTo>
                    <a:pt x="309" y="1131"/>
                  </a:lnTo>
                  <a:lnTo>
                    <a:pt x="307" y="1129"/>
                  </a:lnTo>
                  <a:lnTo>
                    <a:pt x="304" y="1124"/>
                  </a:lnTo>
                  <a:lnTo>
                    <a:pt x="302" y="1119"/>
                  </a:lnTo>
                  <a:lnTo>
                    <a:pt x="300" y="1117"/>
                  </a:lnTo>
                  <a:lnTo>
                    <a:pt x="299" y="1116"/>
                  </a:lnTo>
                  <a:lnTo>
                    <a:pt x="298" y="1117"/>
                  </a:lnTo>
                  <a:lnTo>
                    <a:pt x="296" y="1117"/>
                  </a:lnTo>
                  <a:lnTo>
                    <a:pt x="295" y="1119"/>
                  </a:lnTo>
                  <a:lnTo>
                    <a:pt x="294" y="1119"/>
                  </a:lnTo>
                  <a:lnTo>
                    <a:pt x="292" y="1120"/>
                  </a:lnTo>
                  <a:lnTo>
                    <a:pt x="289" y="1125"/>
                  </a:lnTo>
                  <a:lnTo>
                    <a:pt x="287" y="1127"/>
                  </a:lnTo>
                  <a:lnTo>
                    <a:pt x="286" y="1127"/>
                  </a:lnTo>
                  <a:lnTo>
                    <a:pt x="285" y="1128"/>
                  </a:lnTo>
                  <a:lnTo>
                    <a:pt x="284" y="1128"/>
                  </a:lnTo>
                  <a:lnTo>
                    <a:pt x="284" y="1128"/>
                  </a:lnTo>
                  <a:lnTo>
                    <a:pt x="282" y="1128"/>
                  </a:lnTo>
                  <a:lnTo>
                    <a:pt x="281" y="1127"/>
                  </a:lnTo>
                  <a:lnTo>
                    <a:pt x="280" y="1126"/>
                  </a:lnTo>
                  <a:lnTo>
                    <a:pt x="279" y="1125"/>
                  </a:lnTo>
                  <a:lnTo>
                    <a:pt x="278" y="1123"/>
                  </a:lnTo>
                  <a:lnTo>
                    <a:pt x="278" y="1121"/>
                  </a:lnTo>
                  <a:lnTo>
                    <a:pt x="277" y="1118"/>
                  </a:lnTo>
                  <a:lnTo>
                    <a:pt x="277" y="1116"/>
                  </a:lnTo>
                  <a:lnTo>
                    <a:pt x="277" y="1115"/>
                  </a:lnTo>
                  <a:lnTo>
                    <a:pt x="277" y="1114"/>
                  </a:lnTo>
                  <a:lnTo>
                    <a:pt x="276" y="1114"/>
                  </a:lnTo>
                  <a:lnTo>
                    <a:pt x="275" y="1115"/>
                  </a:lnTo>
                  <a:lnTo>
                    <a:pt x="275" y="1116"/>
                  </a:lnTo>
                  <a:lnTo>
                    <a:pt x="274" y="1116"/>
                  </a:lnTo>
                  <a:lnTo>
                    <a:pt x="269" y="1117"/>
                  </a:lnTo>
                  <a:lnTo>
                    <a:pt x="265" y="1117"/>
                  </a:lnTo>
                  <a:lnTo>
                    <a:pt x="264" y="1117"/>
                  </a:lnTo>
                  <a:lnTo>
                    <a:pt x="263" y="1117"/>
                  </a:lnTo>
                  <a:lnTo>
                    <a:pt x="262" y="1117"/>
                  </a:lnTo>
                  <a:lnTo>
                    <a:pt x="262" y="1117"/>
                  </a:lnTo>
                  <a:lnTo>
                    <a:pt x="261" y="1118"/>
                  </a:lnTo>
                  <a:lnTo>
                    <a:pt x="260" y="1118"/>
                  </a:lnTo>
                  <a:lnTo>
                    <a:pt x="259" y="1113"/>
                  </a:lnTo>
                  <a:lnTo>
                    <a:pt x="257" y="1110"/>
                  </a:lnTo>
                  <a:lnTo>
                    <a:pt x="256" y="1108"/>
                  </a:lnTo>
                  <a:lnTo>
                    <a:pt x="254" y="1106"/>
                  </a:lnTo>
                  <a:lnTo>
                    <a:pt x="252" y="1103"/>
                  </a:lnTo>
                  <a:lnTo>
                    <a:pt x="247" y="1096"/>
                  </a:lnTo>
                  <a:lnTo>
                    <a:pt x="246" y="1094"/>
                  </a:lnTo>
                  <a:lnTo>
                    <a:pt x="244" y="1092"/>
                  </a:lnTo>
                  <a:lnTo>
                    <a:pt x="241" y="1090"/>
                  </a:lnTo>
                  <a:lnTo>
                    <a:pt x="239" y="1089"/>
                  </a:lnTo>
                  <a:lnTo>
                    <a:pt x="238" y="1088"/>
                  </a:lnTo>
                  <a:lnTo>
                    <a:pt x="235" y="1087"/>
                  </a:lnTo>
                  <a:lnTo>
                    <a:pt x="233" y="1086"/>
                  </a:lnTo>
                  <a:lnTo>
                    <a:pt x="231" y="1085"/>
                  </a:lnTo>
                  <a:lnTo>
                    <a:pt x="221" y="1084"/>
                  </a:lnTo>
                  <a:lnTo>
                    <a:pt x="220" y="1084"/>
                  </a:lnTo>
                  <a:lnTo>
                    <a:pt x="218" y="1083"/>
                  </a:lnTo>
                  <a:lnTo>
                    <a:pt x="216" y="1081"/>
                  </a:lnTo>
                  <a:lnTo>
                    <a:pt x="215" y="1080"/>
                  </a:lnTo>
                  <a:lnTo>
                    <a:pt x="214" y="1079"/>
                  </a:lnTo>
                  <a:lnTo>
                    <a:pt x="213" y="1078"/>
                  </a:lnTo>
                  <a:lnTo>
                    <a:pt x="213" y="1077"/>
                  </a:lnTo>
                  <a:lnTo>
                    <a:pt x="212" y="1076"/>
                  </a:lnTo>
                  <a:lnTo>
                    <a:pt x="212" y="1075"/>
                  </a:lnTo>
                  <a:lnTo>
                    <a:pt x="213" y="1074"/>
                  </a:lnTo>
                  <a:lnTo>
                    <a:pt x="215" y="1072"/>
                  </a:lnTo>
                  <a:lnTo>
                    <a:pt x="216" y="1071"/>
                  </a:lnTo>
                  <a:lnTo>
                    <a:pt x="216" y="1070"/>
                  </a:lnTo>
                  <a:lnTo>
                    <a:pt x="217" y="1069"/>
                  </a:lnTo>
                  <a:lnTo>
                    <a:pt x="219" y="1068"/>
                  </a:lnTo>
                  <a:lnTo>
                    <a:pt x="221" y="1067"/>
                  </a:lnTo>
                  <a:lnTo>
                    <a:pt x="223" y="1067"/>
                  </a:lnTo>
                  <a:lnTo>
                    <a:pt x="225" y="1066"/>
                  </a:lnTo>
                  <a:lnTo>
                    <a:pt x="226" y="1066"/>
                  </a:lnTo>
                  <a:lnTo>
                    <a:pt x="228" y="1066"/>
                  </a:lnTo>
                  <a:lnTo>
                    <a:pt x="232" y="1067"/>
                  </a:lnTo>
                  <a:lnTo>
                    <a:pt x="238" y="1068"/>
                  </a:lnTo>
                  <a:lnTo>
                    <a:pt x="240" y="1068"/>
                  </a:lnTo>
                  <a:lnTo>
                    <a:pt x="241" y="1068"/>
                  </a:lnTo>
                  <a:lnTo>
                    <a:pt x="242" y="1067"/>
                  </a:lnTo>
                  <a:lnTo>
                    <a:pt x="243" y="1066"/>
                  </a:lnTo>
                  <a:lnTo>
                    <a:pt x="243" y="1065"/>
                  </a:lnTo>
                  <a:lnTo>
                    <a:pt x="243" y="1064"/>
                  </a:lnTo>
                  <a:lnTo>
                    <a:pt x="243" y="1063"/>
                  </a:lnTo>
                  <a:lnTo>
                    <a:pt x="243" y="1060"/>
                  </a:lnTo>
                  <a:lnTo>
                    <a:pt x="241" y="1055"/>
                  </a:lnTo>
                  <a:lnTo>
                    <a:pt x="241" y="1053"/>
                  </a:lnTo>
                  <a:lnTo>
                    <a:pt x="241" y="1052"/>
                  </a:lnTo>
                  <a:lnTo>
                    <a:pt x="241" y="1051"/>
                  </a:lnTo>
                  <a:lnTo>
                    <a:pt x="242" y="1050"/>
                  </a:lnTo>
                  <a:lnTo>
                    <a:pt x="244" y="1046"/>
                  </a:lnTo>
                  <a:lnTo>
                    <a:pt x="245" y="1045"/>
                  </a:lnTo>
                  <a:lnTo>
                    <a:pt x="246" y="1043"/>
                  </a:lnTo>
                  <a:lnTo>
                    <a:pt x="246" y="1042"/>
                  </a:lnTo>
                  <a:lnTo>
                    <a:pt x="246" y="1040"/>
                  </a:lnTo>
                  <a:lnTo>
                    <a:pt x="246" y="1040"/>
                  </a:lnTo>
                  <a:lnTo>
                    <a:pt x="246" y="1038"/>
                  </a:lnTo>
                  <a:lnTo>
                    <a:pt x="246" y="1037"/>
                  </a:lnTo>
                  <a:lnTo>
                    <a:pt x="245" y="1032"/>
                  </a:lnTo>
                  <a:lnTo>
                    <a:pt x="243" y="1026"/>
                  </a:lnTo>
                  <a:lnTo>
                    <a:pt x="242" y="1022"/>
                  </a:lnTo>
                  <a:lnTo>
                    <a:pt x="240" y="1017"/>
                  </a:lnTo>
                  <a:lnTo>
                    <a:pt x="237" y="1006"/>
                  </a:lnTo>
                  <a:lnTo>
                    <a:pt x="235" y="1003"/>
                  </a:lnTo>
                  <a:lnTo>
                    <a:pt x="231" y="997"/>
                  </a:lnTo>
                  <a:lnTo>
                    <a:pt x="229" y="994"/>
                  </a:lnTo>
                  <a:lnTo>
                    <a:pt x="225" y="988"/>
                  </a:lnTo>
                  <a:lnTo>
                    <a:pt x="224" y="986"/>
                  </a:lnTo>
                  <a:lnTo>
                    <a:pt x="223" y="985"/>
                  </a:lnTo>
                  <a:lnTo>
                    <a:pt x="223" y="983"/>
                  </a:lnTo>
                  <a:lnTo>
                    <a:pt x="223" y="982"/>
                  </a:lnTo>
                  <a:lnTo>
                    <a:pt x="223" y="974"/>
                  </a:lnTo>
                  <a:lnTo>
                    <a:pt x="223" y="972"/>
                  </a:lnTo>
                  <a:lnTo>
                    <a:pt x="222" y="968"/>
                  </a:lnTo>
                  <a:lnTo>
                    <a:pt x="222" y="966"/>
                  </a:lnTo>
                  <a:lnTo>
                    <a:pt x="221" y="964"/>
                  </a:lnTo>
                  <a:lnTo>
                    <a:pt x="219" y="962"/>
                  </a:lnTo>
                  <a:lnTo>
                    <a:pt x="217" y="961"/>
                  </a:lnTo>
                  <a:lnTo>
                    <a:pt x="215" y="957"/>
                  </a:lnTo>
                  <a:lnTo>
                    <a:pt x="213" y="955"/>
                  </a:lnTo>
                  <a:lnTo>
                    <a:pt x="212" y="953"/>
                  </a:lnTo>
                  <a:lnTo>
                    <a:pt x="211" y="952"/>
                  </a:lnTo>
                  <a:lnTo>
                    <a:pt x="210" y="950"/>
                  </a:lnTo>
                  <a:lnTo>
                    <a:pt x="210" y="949"/>
                  </a:lnTo>
                  <a:lnTo>
                    <a:pt x="210" y="947"/>
                  </a:lnTo>
                  <a:lnTo>
                    <a:pt x="210" y="945"/>
                  </a:lnTo>
                  <a:lnTo>
                    <a:pt x="210" y="944"/>
                  </a:lnTo>
                  <a:lnTo>
                    <a:pt x="211" y="938"/>
                  </a:lnTo>
                  <a:lnTo>
                    <a:pt x="211" y="936"/>
                  </a:lnTo>
                  <a:lnTo>
                    <a:pt x="211" y="932"/>
                  </a:lnTo>
                  <a:lnTo>
                    <a:pt x="211" y="928"/>
                  </a:lnTo>
                  <a:lnTo>
                    <a:pt x="210" y="925"/>
                  </a:lnTo>
                  <a:lnTo>
                    <a:pt x="209" y="918"/>
                  </a:lnTo>
                  <a:lnTo>
                    <a:pt x="208" y="915"/>
                  </a:lnTo>
                  <a:lnTo>
                    <a:pt x="206" y="910"/>
                  </a:lnTo>
                  <a:lnTo>
                    <a:pt x="205" y="908"/>
                  </a:lnTo>
                  <a:lnTo>
                    <a:pt x="205" y="906"/>
                  </a:lnTo>
                  <a:lnTo>
                    <a:pt x="205" y="904"/>
                  </a:lnTo>
                  <a:lnTo>
                    <a:pt x="205" y="900"/>
                  </a:lnTo>
                  <a:lnTo>
                    <a:pt x="205" y="896"/>
                  </a:lnTo>
                  <a:lnTo>
                    <a:pt x="208" y="888"/>
                  </a:lnTo>
                  <a:lnTo>
                    <a:pt x="209" y="882"/>
                  </a:lnTo>
                  <a:lnTo>
                    <a:pt x="210" y="881"/>
                  </a:lnTo>
                  <a:lnTo>
                    <a:pt x="210" y="879"/>
                  </a:lnTo>
                  <a:lnTo>
                    <a:pt x="210" y="877"/>
                  </a:lnTo>
                  <a:lnTo>
                    <a:pt x="210" y="869"/>
                  </a:lnTo>
                  <a:lnTo>
                    <a:pt x="210" y="867"/>
                  </a:lnTo>
                  <a:lnTo>
                    <a:pt x="210" y="864"/>
                  </a:lnTo>
                  <a:lnTo>
                    <a:pt x="210" y="862"/>
                  </a:lnTo>
                  <a:lnTo>
                    <a:pt x="211" y="860"/>
                  </a:lnTo>
                  <a:lnTo>
                    <a:pt x="213" y="853"/>
                  </a:lnTo>
                  <a:lnTo>
                    <a:pt x="214" y="851"/>
                  </a:lnTo>
                  <a:lnTo>
                    <a:pt x="214" y="847"/>
                  </a:lnTo>
                  <a:lnTo>
                    <a:pt x="215" y="844"/>
                  </a:lnTo>
                  <a:lnTo>
                    <a:pt x="214" y="841"/>
                  </a:lnTo>
                  <a:lnTo>
                    <a:pt x="214" y="838"/>
                  </a:lnTo>
                  <a:lnTo>
                    <a:pt x="214" y="836"/>
                  </a:lnTo>
                  <a:lnTo>
                    <a:pt x="213" y="835"/>
                  </a:lnTo>
                  <a:lnTo>
                    <a:pt x="211" y="830"/>
                  </a:lnTo>
                  <a:lnTo>
                    <a:pt x="209" y="827"/>
                  </a:lnTo>
                  <a:lnTo>
                    <a:pt x="208" y="825"/>
                  </a:lnTo>
                  <a:lnTo>
                    <a:pt x="206" y="822"/>
                  </a:lnTo>
                  <a:lnTo>
                    <a:pt x="205" y="820"/>
                  </a:lnTo>
                  <a:lnTo>
                    <a:pt x="204" y="818"/>
                  </a:lnTo>
                  <a:lnTo>
                    <a:pt x="202" y="817"/>
                  </a:lnTo>
                  <a:lnTo>
                    <a:pt x="200" y="815"/>
                  </a:lnTo>
                  <a:lnTo>
                    <a:pt x="198" y="814"/>
                  </a:lnTo>
                  <a:lnTo>
                    <a:pt x="197" y="813"/>
                  </a:lnTo>
                  <a:lnTo>
                    <a:pt x="195" y="813"/>
                  </a:lnTo>
                  <a:lnTo>
                    <a:pt x="193" y="813"/>
                  </a:lnTo>
                  <a:lnTo>
                    <a:pt x="193" y="813"/>
                  </a:lnTo>
                  <a:lnTo>
                    <a:pt x="191" y="813"/>
                  </a:lnTo>
                  <a:lnTo>
                    <a:pt x="181" y="814"/>
                  </a:lnTo>
                  <a:lnTo>
                    <a:pt x="179" y="814"/>
                  </a:lnTo>
                  <a:lnTo>
                    <a:pt x="176" y="814"/>
                  </a:lnTo>
                  <a:lnTo>
                    <a:pt x="169" y="814"/>
                  </a:lnTo>
                  <a:lnTo>
                    <a:pt x="164" y="813"/>
                  </a:lnTo>
                  <a:lnTo>
                    <a:pt x="159" y="813"/>
                  </a:lnTo>
                  <a:lnTo>
                    <a:pt x="149" y="812"/>
                  </a:lnTo>
                  <a:lnTo>
                    <a:pt x="146" y="812"/>
                  </a:lnTo>
                  <a:lnTo>
                    <a:pt x="143" y="812"/>
                  </a:lnTo>
                  <a:lnTo>
                    <a:pt x="140" y="812"/>
                  </a:lnTo>
                  <a:lnTo>
                    <a:pt x="138" y="812"/>
                  </a:lnTo>
                  <a:lnTo>
                    <a:pt x="136" y="813"/>
                  </a:lnTo>
                  <a:lnTo>
                    <a:pt x="131" y="813"/>
                  </a:lnTo>
                  <a:lnTo>
                    <a:pt x="128" y="814"/>
                  </a:lnTo>
                  <a:lnTo>
                    <a:pt x="127" y="814"/>
                  </a:lnTo>
                  <a:lnTo>
                    <a:pt x="126" y="814"/>
                  </a:lnTo>
                  <a:lnTo>
                    <a:pt x="125" y="814"/>
                  </a:lnTo>
                  <a:lnTo>
                    <a:pt x="124" y="813"/>
                  </a:lnTo>
                  <a:lnTo>
                    <a:pt x="123" y="813"/>
                  </a:lnTo>
                  <a:lnTo>
                    <a:pt x="121" y="813"/>
                  </a:lnTo>
                  <a:lnTo>
                    <a:pt x="120" y="812"/>
                  </a:lnTo>
                  <a:lnTo>
                    <a:pt x="119" y="811"/>
                  </a:lnTo>
                  <a:lnTo>
                    <a:pt x="118" y="810"/>
                  </a:lnTo>
                  <a:lnTo>
                    <a:pt x="117" y="809"/>
                  </a:lnTo>
                  <a:lnTo>
                    <a:pt x="116" y="808"/>
                  </a:lnTo>
                  <a:lnTo>
                    <a:pt x="115" y="807"/>
                  </a:lnTo>
                  <a:lnTo>
                    <a:pt x="115" y="806"/>
                  </a:lnTo>
                  <a:lnTo>
                    <a:pt x="115" y="804"/>
                  </a:lnTo>
                  <a:lnTo>
                    <a:pt x="115" y="802"/>
                  </a:lnTo>
                  <a:lnTo>
                    <a:pt x="115" y="795"/>
                  </a:lnTo>
                  <a:lnTo>
                    <a:pt x="114" y="793"/>
                  </a:lnTo>
                  <a:lnTo>
                    <a:pt x="114" y="791"/>
                  </a:lnTo>
                  <a:lnTo>
                    <a:pt x="114" y="790"/>
                  </a:lnTo>
                  <a:lnTo>
                    <a:pt x="114" y="789"/>
                  </a:lnTo>
                  <a:lnTo>
                    <a:pt x="113" y="787"/>
                  </a:lnTo>
                  <a:lnTo>
                    <a:pt x="112" y="786"/>
                  </a:lnTo>
                  <a:lnTo>
                    <a:pt x="111" y="785"/>
                  </a:lnTo>
                  <a:lnTo>
                    <a:pt x="109" y="784"/>
                  </a:lnTo>
                  <a:lnTo>
                    <a:pt x="108" y="782"/>
                  </a:lnTo>
                  <a:lnTo>
                    <a:pt x="105" y="781"/>
                  </a:lnTo>
                  <a:lnTo>
                    <a:pt x="98" y="777"/>
                  </a:lnTo>
                  <a:lnTo>
                    <a:pt x="94" y="775"/>
                  </a:lnTo>
                  <a:lnTo>
                    <a:pt x="92" y="775"/>
                  </a:lnTo>
                  <a:lnTo>
                    <a:pt x="91" y="774"/>
                  </a:lnTo>
                  <a:lnTo>
                    <a:pt x="87" y="773"/>
                  </a:lnTo>
                  <a:lnTo>
                    <a:pt x="82" y="772"/>
                  </a:lnTo>
                  <a:lnTo>
                    <a:pt x="79" y="772"/>
                  </a:lnTo>
                  <a:lnTo>
                    <a:pt x="73" y="771"/>
                  </a:lnTo>
                  <a:lnTo>
                    <a:pt x="70" y="771"/>
                  </a:lnTo>
                  <a:lnTo>
                    <a:pt x="65" y="769"/>
                  </a:lnTo>
                  <a:lnTo>
                    <a:pt x="57" y="768"/>
                  </a:lnTo>
                  <a:lnTo>
                    <a:pt x="54" y="767"/>
                  </a:lnTo>
                  <a:lnTo>
                    <a:pt x="50" y="766"/>
                  </a:lnTo>
                  <a:lnTo>
                    <a:pt x="42" y="766"/>
                  </a:lnTo>
                  <a:lnTo>
                    <a:pt x="37" y="765"/>
                  </a:lnTo>
                  <a:lnTo>
                    <a:pt x="32" y="764"/>
                  </a:lnTo>
                  <a:lnTo>
                    <a:pt x="25" y="762"/>
                  </a:lnTo>
                  <a:lnTo>
                    <a:pt x="21" y="761"/>
                  </a:lnTo>
                  <a:lnTo>
                    <a:pt x="18" y="760"/>
                  </a:lnTo>
                  <a:lnTo>
                    <a:pt x="15" y="758"/>
                  </a:lnTo>
                  <a:lnTo>
                    <a:pt x="11" y="757"/>
                  </a:lnTo>
                  <a:lnTo>
                    <a:pt x="1" y="750"/>
                  </a:lnTo>
                  <a:lnTo>
                    <a:pt x="0" y="750"/>
                  </a:lnTo>
                  <a:lnTo>
                    <a:pt x="0" y="749"/>
                  </a:lnTo>
                  <a:lnTo>
                    <a:pt x="0" y="748"/>
                  </a:lnTo>
                  <a:lnTo>
                    <a:pt x="0" y="747"/>
                  </a:lnTo>
                  <a:lnTo>
                    <a:pt x="1" y="746"/>
                  </a:lnTo>
                  <a:lnTo>
                    <a:pt x="3" y="745"/>
                  </a:lnTo>
                  <a:lnTo>
                    <a:pt x="5" y="744"/>
                  </a:lnTo>
                  <a:lnTo>
                    <a:pt x="7" y="743"/>
                  </a:lnTo>
                  <a:lnTo>
                    <a:pt x="17" y="737"/>
                  </a:lnTo>
                  <a:lnTo>
                    <a:pt x="22" y="734"/>
                  </a:lnTo>
                  <a:lnTo>
                    <a:pt x="27" y="731"/>
                  </a:lnTo>
                  <a:lnTo>
                    <a:pt x="29" y="729"/>
                  </a:lnTo>
                  <a:lnTo>
                    <a:pt x="31" y="728"/>
                  </a:lnTo>
                  <a:lnTo>
                    <a:pt x="34" y="723"/>
                  </a:lnTo>
                  <a:lnTo>
                    <a:pt x="46" y="711"/>
                  </a:lnTo>
                  <a:lnTo>
                    <a:pt x="49" y="707"/>
                  </a:lnTo>
                  <a:lnTo>
                    <a:pt x="52" y="703"/>
                  </a:lnTo>
                  <a:lnTo>
                    <a:pt x="54" y="700"/>
                  </a:lnTo>
                  <a:lnTo>
                    <a:pt x="55" y="698"/>
                  </a:lnTo>
                  <a:lnTo>
                    <a:pt x="56" y="695"/>
                  </a:lnTo>
                  <a:lnTo>
                    <a:pt x="57" y="692"/>
                  </a:lnTo>
                  <a:lnTo>
                    <a:pt x="57" y="689"/>
                  </a:lnTo>
                  <a:lnTo>
                    <a:pt x="58" y="676"/>
                  </a:lnTo>
                  <a:lnTo>
                    <a:pt x="58" y="668"/>
                  </a:lnTo>
                  <a:lnTo>
                    <a:pt x="60" y="660"/>
                  </a:lnTo>
                  <a:lnTo>
                    <a:pt x="61" y="657"/>
                  </a:lnTo>
                  <a:lnTo>
                    <a:pt x="62" y="654"/>
                  </a:lnTo>
                  <a:lnTo>
                    <a:pt x="63" y="651"/>
                  </a:lnTo>
                  <a:lnTo>
                    <a:pt x="64" y="647"/>
                  </a:lnTo>
                  <a:lnTo>
                    <a:pt x="65" y="644"/>
                  </a:lnTo>
                  <a:lnTo>
                    <a:pt x="66" y="642"/>
                  </a:lnTo>
                  <a:lnTo>
                    <a:pt x="68" y="639"/>
                  </a:lnTo>
                  <a:lnTo>
                    <a:pt x="68" y="638"/>
                  </a:lnTo>
                  <a:lnTo>
                    <a:pt x="69" y="636"/>
                  </a:lnTo>
                  <a:lnTo>
                    <a:pt x="71" y="635"/>
                  </a:lnTo>
                  <a:lnTo>
                    <a:pt x="72" y="633"/>
                  </a:lnTo>
                  <a:lnTo>
                    <a:pt x="74" y="633"/>
                  </a:lnTo>
                  <a:lnTo>
                    <a:pt x="76" y="632"/>
                  </a:lnTo>
                  <a:lnTo>
                    <a:pt x="78" y="632"/>
                  </a:lnTo>
                  <a:lnTo>
                    <a:pt x="80" y="632"/>
                  </a:lnTo>
                  <a:lnTo>
                    <a:pt x="81" y="632"/>
                  </a:lnTo>
                  <a:lnTo>
                    <a:pt x="90" y="634"/>
                  </a:lnTo>
                  <a:lnTo>
                    <a:pt x="92" y="635"/>
                  </a:lnTo>
                  <a:lnTo>
                    <a:pt x="95" y="635"/>
                  </a:lnTo>
                  <a:lnTo>
                    <a:pt x="99" y="636"/>
                  </a:lnTo>
                  <a:lnTo>
                    <a:pt x="102" y="636"/>
                  </a:lnTo>
                  <a:lnTo>
                    <a:pt x="105" y="635"/>
                  </a:lnTo>
                  <a:lnTo>
                    <a:pt x="108" y="635"/>
                  </a:lnTo>
                  <a:lnTo>
                    <a:pt x="114" y="634"/>
                  </a:lnTo>
                  <a:lnTo>
                    <a:pt x="118" y="633"/>
                  </a:lnTo>
                  <a:lnTo>
                    <a:pt x="122" y="632"/>
                  </a:lnTo>
                  <a:lnTo>
                    <a:pt x="131" y="629"/>
                  </a:lnTo>
                  <a:lnTo>
                    <a:pt x="134" y="628"/>
                  </a:lnTo>
                  <a:lnTo>
                    <a:pt x="137" y="627"/>
                  </a:lnTo>
                  <a:lnTo>
                    <a:pt x="138" y="627"/>
                  </a:lnTo>
                  <a:lnTo>
                    <a:pt x="140" y="627"/>
                  </a:lnTo>
                  <a:lnTo>
                    <a:pt x="142" y="627"/>
                  </a:lnTo>
                  <a:lnTo>
                    <a:pt x="145" y="628"/>
                  </a:lnTo>
                  <a:lnTo>
                    <a:pt x="147" y="629"/>
                  </a:lnTo>
                  <a:lnTo>
                    <a:pt x="152" y="631"/>
                  </a:lnTo>
                  <a:lnTo>
                    <a:pt x="154" y="632"/>
                  </a:lnTo>
                  <a:lnTo>
                    <a:pt x="156" y="632"/>
                  </a:lnTo>
                  <a:lnTo>
                    <a:pt x="165" y="633"/>
                  </a:lnTo>
                  <a:lnTo>
                    <a:pt x="171" y="634"/>
                  </a:lnTo>
                  <a:lnTo>
                    <a:pt x="174" y="634"/>
                  </a:lnTo>
                  <a:lnTo>
                    <a:pt x="176" y="635"/>
                  </a:lnTo>
                  <a:lnTo>
                    <a:pt x="179" y="635"/>
                  </a:lnTo>
                  <a:lnTo>
                    <a:pt x="181" y="634"/>
                  </a:lnTo>
                  <a:lnTo>
                    <a:pt x="182" y="634"/>
                  </a:lnTo>
                  <a:lnTo>
                    <a:pt x="184" y="633"/>
                  </a:lnTo>
                  <a:lnTo>
                    <a:pt x="185" y="633"/>
                  </a:lnTo>
                  <a:lnTo>
                    <a:pt x="187" y="632"/>
                  </a:lnTo>
                  <a:lnTo>
                    <a:pt x="188" y="632"/>
                  </a:lnTo>
                  <a:lnTo>
                    <a:pt x="189" y="631"/>
                  </a:lnTo>
                  <a:lnTo>
                    <a:pt x="191" y="629"/>
                  </a:lnTo>
                  <a:lnTo>
                    <a:pt x="193" y="627"/>
                  </a:lnTo>
                  <a:lnTo>
                    <a:pt x="198" y="618"/>
                  </a:lnTo>
                  <a:lnTo>
                    <a:pt x="200" y="615"/>
                  </a:lnTo>
                  <a:lnTo>
                    <a:pt x="202" y="612"/>
                  </a:lnTo>
                  <a:lnTo>
                    <a:pt x="208" y="599"/>
                  </a:lnTo>
                  <a:lnTo>
                    <a:pt x="209" y="597"/>
                  </a:lnTo>
                  <a:lnTo>
                    <a:pt x="211" y="593"/>
                  </a:lnTo>
                  <a:lnTo>
                    <a:pt x="213" y="587"/>
                  </a:lnTo>
                  <a:lnTo>
                    <a:pt x="214" y="584"/>
                  </a:lnTo>
                  <a:lnTo>
                    <a:pt x="215" y="580"/>
                  </a:lnTo>
                  <a:lnTo>
                    <a:pt x="216" y="573"/>
                  </a:lnTo>
                  <a:lnTo>
                    <a:pt x="216" y="570"/>
                  </a:lnTo>
                  <a:lnTo>
                    <a:pt x="217" y="567"/>
                  </a:lnTo>
                  <a:lnTo>
                    <a:pt x="218" y="564"/>
                  </a:lnTo>
                  <a:lnTo>
                    <a:pt x="223" y="553"/>
                  </a:lnTo>
                  <a:lnTo>
                    <a:pt x="224" y="551"/>
                  </a:lnTo>
                  <a:lnTo>
                    <a:pt x="225" y="549"/>
                  </a:lnTo>
                  <a:lnTo>
                    <a:pt x="227" y="547"/>
                  </a:lnTo>
                  <a:lnTo>
                    <a:pt x="227" y="545"/>
                  </a:lnTo>
                  <a:lnTo>
                    <a:pt x="229" y="543"/>
                  </a:lnTo>
                  <a:lnTo>
                    <a:pt x="231" y="541"/>
                  </a:lnTo>
                  <a:lnTo>
                    <a:pt x="233" y="541"/>
                  </a:lnTo>
                  <a:lnTo>
                    <a:pt x="235" y="539"/>
                  </a:lnTo>
                  <a:lnTo>
                    <a:pt x="237" y="538"/>
                  </a:lnTo>
                  <a:lnTo>
                    <a:pt x="238" y="537"/>
                  </a:lnTo>
                  <a:lnTo>
                    <a:pt x="239" y="537"/>
                  </a:lnTo>
                  <a:lnTo>
                    <a:pt x="241" y="537"/>
                  </a:lnTo>
                  <a:lnTo>
                    <a:pt x="243" y="537"/>
                  </a:lnTo>
                  <a:lnTo>
                    <a:pt x="246" y="537"/>
                  </a:lnTo>
                  <a:lnTo>
                    <a:pt x="248" y="537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5" name="Freeform 94">
              <a:extLst>
                <a:ext uri="{FF2B5EF4-FFF2-40B4-BE49-F238E27FC236}">
                  <a16:creationId xmlns:a16="http://schemas.microsoft.com/office/drawing/2014/main" id="{4DEA896F-893E-491F-BEAC-24701D122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5" y="976"/>
              <a:ext cx="854" cy="549"/>
            </a:xfrm>
            <a:custGeom>
              <a:avLst/>
              <a:gdLst>
                <a:gd name="T0" fmla="*/ 16 w 854"/>
                <a:gd name="T1" fmla="*/ 547 h 549"/>
                <a:gd name="T2" fmla="*/ 30 w 854"/>
                <a:gd name="T3" fmla="*/ 548 h 549"/>
                <a:gd name="T4" fmla="*/ 38 w 854"/>
                <a:gd name="T5" fmla="*/ 542 h 549"/>
                <a:gd name="T6" fmla="*/ 50 w 854"/>
                <a:gd name="T7" fmla="*/ 519 h 549"/>
                <a:gd name="T8" fmla="*/ 73 w 854"/>
                <a:gd name="T9" fmla="*/ 500 h 549"/>
                <a:gd name="T10" fmla="*/ 83 w 854"/>
                <a:gd name="T11" fmla="*/ 477 h 549"/>
                <a:gd name="T12" fmla="*/ 91 w 854"/>
                <a:gd name="T13" fmla="*/ 476 h 549"/>
                <a:gd name="T14" fmla="*/ 109 w 854"/>
                <a:gd name="T15" fmla="*/ 500 h 549"/>
                <a:gd name="T16" fmla="*/ 127 w 854"/>
                <a:gd name="T17" fmla="*/ 516 h 549"/>
                <a:gd name="T18" fmla="*/ 146 w 854"/>
                <a:gd name="T19" fmla="*/ 521 h 549"/>
                <a:gd name="T20" fmla="*/ 157 w 854"/>
                <a:gd name="T21" fmla="*/ 514 h 549"/>
                <a:gd name="T22" fmla="*/ 189 w 854"/>
                <a:gd name="T23" fmla="*/ 481 h 549"/>
                <a:gd name="T24" fmla="*/ 194 w 854"/>
                <a:gd name="T25" fmla="*/ 463 h 549"/>
                <a:gd name="T26" fmla="*/ 204 w 854"/>
                <a:gd name="T27" fmla="*/ 443 h 549"/>
                <a:gd name="T28" fmla="*/ 204 w 854"/>
                <a:gd name="T29" fmla="*/ 418 h 549"/>
                <a:gd name="T30" fmla="*/ 207 w 854"/>
                <a:gd name="T31" fmla="*/ 406 h 549"/>
                <a:gd name="T32" fmla="*/ 221 w 854"/>
                <a:gd name="T33" fmla="*/ 398 h 549"/>
                <a:gd name="T34" fmla="*/ 258 w 854"/>
                <a:gd name="T35" fmla="*/ 395 h 549"/>
                <a:gd name="T36" fmla="*/ 281 w 854"/>
                <a:gd name="T37" fmla="*/ 384 h 549"/>
                <a:gd name="T38" fmla="*/ 299 w 854"/>
                <a:gd name="T39" fmla="*/ 380 h 549"/>
                <a:gd name="T40" fmla="*/ 322 w 854"/>
                <a:gd name="T41" fmla="*/ 388 h 549"/>
                <a:gd name="T42" fmla="*/ 333 w 854"/>
                <a:gd name="T43" fmla="*/ 388 h 549"/>
                <a:gd name="T44" fmla="*/ 362 w 854"/>
                <a:gd name="T45" fmla="*/ 379 h 549"/>
                <a:gd name="T46" fmla="*/ 397 w 854"/>
                <a:gd name="T47" fmla="*/ 377 h 549"/>
                <a:gd name="T48" fmla="*/ 424 w 854"/>
                <a:gd name="T49" fmla="*/ 384 h 549"/>
                <a:gd name="T50" fmla="*/ 447 w 854"/>
                <a:gd name="T51" fmla="*/ 378 h 549"/>
                <a:gd name="T52" fmla="*/ 468 w 854"/>
                <a:gd name="T53" fmla="*/ 366 h 549"/>
                <a:gd name="T54" fmla="*/ 475 w 854"/>
                <a:gd name="T55" fmla="*/ 353 h 549"/>
                <a:gd name="T56" fmla="*/ 476 w 854"/>
                <a:gd name="T57" fmla="*/ 327 h 549"/>
                <a:gd name="T58" fmla="*/ 483 w 854"/>
                <a:gd name="T59" fmla="*/ 314 h 549"/>
                <a:gd name="T60" fmla="*/ 505 w 854"/>
                <a:gd name="T61" fmla="*/ 307 h 549"/>
                <a:gd name="T62" fmla="*/ 529 w 854"/>
                <a:gd name="T63" fmla="*/ 289 h 549"/>
                <a:gd name="T64" fmla="*/ 550 w 854"/>
                <a:gd name="T65" fmla="*/ 282 h 549"/>
                <a:gd name="T66" fmla="*/ 581 w 854"/>
                <a:gd name="T67" fmla="*/ 290 h 549"/>
                <a:gd name="T68" fmla="*/ 610 w 854"/>
                <a:gd name="T69" fmla="*/ 282 h 549"/>
                <a:gd name="T70" fmla="*/ 666 w 854"/>
                <a:gd name="T71" fmla="*/ 253 h 549"/>
                <a:gd name="T72" fmla="*/ 709 w 854"/>
                <a:gd name="T73" fmla="*/ 236 h 549"/>
                <a:gd name="T74" fmla="*/ 730 w 854"/>
                <a:gd name="T75" fmla="*/ 215 h 549"/>
                <a:gd name="T76" fmla="*/ 746 w 854"/>
                <a:gd name="T77" fmla="*/ 198 h 549"/>
                <a:gd name="T78" fmla="*/ 767 w 854"/>
                <a:gd name="T79" fmla="*/ 196 h 549"/>
                <a:gd name="T80" fmla="*/ 793 w 854"/>
                <a:gd name="T81" fmla="*/ 197 h 549"/>
                <a:gd name="T82" fmla="*/ 825 w 854"/>
                <a:gd name="T83" fmla="*/ 188 h 549"/>
                <a:gd name="T84" fmla="*/ 844 w 854"/>
                <a:gd name="T85" fmla="*/ 180 h 549"/>
                <a:gd name="T86" fmla="*/ 853 w 854"/>
                <a:gd name="T87" fmla="*/ 156 h 549"/>
                <a:gd name="T88" fmla="*/ 850 w 854"/>
                <a:gd name="T89" fmla="*/ 145 h 549"/>
                <a:gd name="T90" fmla="*/ 826 w 854"/>
                <a:gd name="T91" fmla="*/ 133 h 549"/>
                <a:gd name="T92" fmla="*/ 798 w 854"/>
                <a:gd name="T93" fmla="*/ 120 h 549"/>
                <a:gd name="T94" fmla="*/ 792 w 854"/>
                <a:gd name="T95" fmla="*/ 108 h 549"/>
                <a:gd name="T96" fmla="*/ 796 w 854"/>
                <a:gd name="T97" fmla="*/ 96 h 549"/>
                <a:gd name="T98" fmla="*/ 793 w 854"/>
                <a:gd name="T99" fmla="*/ 89 h 549"/>
                <a:gd name="T100" fmla="*/ 771 w 854"/>
                <a:gd name="T101" fmla="*/ 87 h 549"/>
                <a:gd name="T102" fmla="*/ 758 w 854"/>
                <a:gd name="T103" fmla="*/ 78 h 549"/>
                <a:gd name="T104" fmla="*/ 756 w 854"/>
                <a:gd name="T105" fmla="*/ 62 h 549"/>
                <a:gd name="T106" fmla="*/ 765 w 854"/>
                <a:gd name="T107" fmla="*/ 41 h 549"/>
                <a:gd name="T108" fmla="*/ 771 w 854"/>
                <a:gd name="T109" fmla="*/ 20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4" h="549">
                  <a:moveTo>
                    <a:pt x="0" y="538"/>
                  </a:moveTo>
                  <a:lnTo>
                    <a:pt x="2" y="539"/>
                  </a:lnTo>
                  <a:lnTo>
                    <a:pt x="5" y="540"/>
                  </a:lnTo>
                  <a:lnTo>
                    <a:pt x="7" y="541"/>
                  </a:lnTo>
                  <a:lnTo>
                    <a:pt x="9" y="542"/>
                  </a:lnTo>
                  <a:lnTo>
                    <a:pt x="14" y="545"/>
                  </a:lnTo>
                  <a:lnTo>
                    <a:pt x="16" y="547"/>
                  </a:lnTo>
                  <a:lnTo>
                    <a:pt x="18" y="548"/>
                  </a:lnTo>
                  <a:lnTo>
                    <a:pt x="21" y="549"/>
                  </a:lnTo>
                  <a:lnTo>
                    <a:pt x="23" y="549"/>
                  </a:lnTo>
                  <a:lnTo>
                    <a:pt x="24" y="549"/>
                  </a:lnTo>
                  <a:lnTo>
                    <a:pt x="25" y="549"/>
                  </a:lnTo>
                  <a:lnTo>
                    <a:pt x="28" y="549"/>
                  </a:lnTo>
                  <a:lnTo>
                    <a:pt x="30" y="548"/>
                  </a:lnTo>
                  <a:lnTo>
                    <a:pt x="31" y="548"/>
                  </a:lnTo>
                  <a:lnTo>
                    <a:pt x="33" y="547"/>
                  </a:lnTo>
                  <a:lnTo>
                    <a:pt x="35" y="546"/>
                  </a:lnTo>
                  <a:lnTo>
                    <a:pt x="36" y="545"/>
                  </a:lnTo>
                  <a:lnTo>
                    <a:pt x="36" y="544"/>
                  </a:lnTo>
                  <a:lnTo>
                    <a:pt x="37" y="543"/>
                  </a:lnTo>
                  <a:lnTo>
                    <a:pt x="38" y="542"/>
                  </a:lnTo>
                  <a:lnTo>
                    <a:pt x="40" y="539"/>
                  </a:lnTo>
                  <a:lnTo>
                    <a:pt x="43" y="531"/>
                  </a:lnTo>
                  <a:lnTo>
                    <a:pt x="44" y="528"/>
                  </a:lnTo>
                  <a:lnTo>
                    <a:pt x="46" y="525"/>
                  </a:lnTo>
                  <a:lnTo>
                    <a:pt x="47" y="523"/>
                  </a:lnTo>
                  <a:lnTo>
                    <a:pt x="48" y="521"/>
                  </a:lnTo>
                  <a:lnTo>
                    <a:pt x="50" y="519"/>
                  </a:lnTo>
                  <a:lnTo>
                    <a:pt x="56" y="515"/>
                  </a:lnTo>
                  <a:lnTo>
                    <a:pt x="58" y="513"/>
                  </a:lnTo>
                  <a:lnTo>
                    <a:pt x="65" y="508"/>
                  </a:lnTo>
                  <a:lnTo>
                    <a:pt x="69" y="505"/>
                  </a:lnTo>
                  <a:lnTo>
                    <a:pt x="70" y="503"/>
                  </a:lnTo>
                  <a:lnTo>
                    <a:pt x="72" y="502"/>
                  </a:lnTo>
                  <a:lnTo>
                    <a:pt x="73" y="500"/>
                  </a:lnTo>
                  <a:lnTo>
                    <a:pt x="75" y="498"/>
                  </a:lnTo>
                  <a:lnTo>
                    <a:pt x="77" y="496"/>
                  </a:lnTo>
                  <a:lnTo>
                    <a:pt x="79" y="492"/>
                  </a:lnTo>
                  <a:lnTo>
                    <a:pt x="80" y="488"/>
                  </a:lnTo>
                  <a:lnTo>
                    <a:pt x="82" y="481"/>
                  </a:lnTo>
                  <a:lnTo>
                    <a:pt x="82" y="478"/>
                  </a:lnTo>
                  <a:lnTo>
                    <a:pt x="83" y="477"/>
                  </a:lnTo>
                  <a:lnTo>
                    <a:pt x="83" y="476"/>
                  </a:lnTo>
                  <a:lnTo>
                    <a:pt x="84" y="475"/>
                  </a:lnTo>
                  <a:lnTo>
                    <a:pt x="85" y="475"/>
                  </a:lnTo>
                  <a:lnTo>
                    <a:pt x="87" y="474"/>
                  </a:lnTo>
                  <a:lnTo>
                    <a:pt x="88" y="475"/>
                  </a:lnTo>
                  <a:lnTo>
                    <a:pt x="90" y="475"/>
                  </a:lnTo>
                  <a:lnTo>
                    <a:pt x="91" y="476"/>
                  </a:lnTo>
                  <a:lnTo>
                    <a:pt x="93" y="477"/>
                  </a:lnTo>
                  <a:lnTo>
                    <a:pt x="93" y="478"/>
                  </a:lnTo>
                  <a:lnTo>
                    <a:pt x="94" y="479"/>
                  </a:lnTo>
                  <a:lnTo>
                    <a:pt x="98" y="483"/>
                  </a:lnTo>
                  <a:lnTo>
                    <a:pt x="102" y="487"/>
                  </a:lnTo>
                  <a:lnTo>
                    <a:pt x="104" y="490"/>
                  </a:lnTo>
                  <a:lnTo>
                    <a:pt x="109" y="500"/>
                  </a:lnTo>
                  <a:lnTo>
                    <a:pt x="112" y="503"/>
                  </a:lnTo>
                  <a:lnTo>
                    <a:pt x="113" y="505"/>
                  </a:lnTo>
                  <a:lnTo>
                    <a:pt x="116" y="508"/>
                  </a:lnTo>
                  <a:lnTo>
                    <a:pt x="117" y="509"/>
                  </a:lnTo>
                  <a:lnTo>
                    <a:pt x="121" y="512"/>
                  </a:lnTo>
                  <a:lnTo>
                    <a:pt x="125" y="514"/>
                  </a:lnTo>
                  <a:lnTo>
                    <a:pt x="127" y="516"/>
                  </a:lnTo>
                  <a:lnTo>
                    <a:pt x="128" y="517"/>
                  </a:lnTo>
                  <a:lnTo>
                    <a:pt x="135" y="520"/>
                  </a:lnTo>
                  <a:lnTo>
                    <a:pt x="139" y="520"/>
                  </a:lnTo>
                  <a:lnTo>
                    <a:pt x="141" y="520"/>
                  </a:lnTo>
                  <a:lnTo>
                    <a:pt x="143" y="521"/>
                  </a:lnTo>
                  <a:lnTo>
                    <a:pt x="144" y="521"/>
                  </a:lnTo>
                  <a:lnTo>
                    <a:pt x="146" y="521"/>
                  </a:lnTo>
                  <a:lnTo>
                    <a:pt x="147" y="520"/>
                  </a:lnTo>
                  <a:lnTo>
                    <a:pt x="149" y="520"/>
                  </a:lnTo>
                  <a:lnTo>
                    <a:pt x="150" y="520"/>
                  </a:lnTo>
                  <a:lnTo>
                    <a:pt x="151" y="519"/>
                  </a:lnTo>
                  <a:lnTo>
                    <a:pt x="153" y="518"/>
                  </a:lnTo>
                  <a:lnTo>
                    <a:pt x="154" y="517"/>
                  </a:lnTo>
                  <a:lnTo>
                    <a:pt x="157" y="514"/>
                  </a:lnTo>
                  <a:lnTo>
                    <a:pt x="161" y="511"/>
                  </a:lnTo>
                  <a:lnTo>
                    <a:pt x="169" y="503"/>
                  </a:lnTo>
                  <a:lnTo>
                    <a:pt x="176" y="495"/>
                  </a:lnTo>
                  <a:lnTo>
                    <a:pt x="185" y="486"/>
                  </a:lnTo>
                  <a:lnTo>
                    <a:pt x="188" y="484"/>
                  </a:lnTo>
                  <a:lnTo>
                    <a:pt x="189" y="483"/>
                  </a:lnTo>
                  <a:lnTo>
                    <a:pt x="189" y="481"/>
                  </a:lnTo>
                  <a:lnTo>
                    <a:pt x="191" y="479"/>
                  </a:lnTo>
                  <a:lnTo>
                    <a:pt x="191" y="476"/>
                  </a:lnTo>
                  <a:lnTo>
                    <a:pt x="192" y="474"/>
                  </a:lnTo>
                  <a:lnTo>
                    <a:pt x="192" y="470"/>
                  </a:lnTo>
                  <a:lnTo>
                    <a:pt x="192" y="467"/>
                  </a:lnTo>
                  <a:lnTo>
                    <a:pt x="193" y="465"/>
                  </a:lnTo>
                  <a:lnTo>
                    <a:pt x="194" y="463"/>
                  </a:lnTo>
                  <a:lnTo>
                    <a:pt x="195" y="461"/>
                  </a:lnTo>
                  <a:lnTo>
                    <a:pt x="196" y="458"/>
                  </a:lnTo>
                  <a:lnTo>
                    <a:pt x="198" y="454"/>
                  </a:lnTo>
                  <a:lnTo>
                    <a:pt x="201" y="449"/>
                  </a:lnTo>
                  <a:lnTo>
                    <a:pt x="203" y="447"/>
                  </a:lnTo>
                  <a:lnTo>
                    <a:pt x="203" y="445"/>
                  </a:lnTo>
                  <a:lnTo>
                    <a:pt x="204" y="443"/>
                  </a:lnTo>
                  <a:lnTo>
                    <a:pt x="205" y="440"/>
                  </a:lnTo>
                  <a:lnTo>
                    <a:pt x="205" y="439"/>
                  </a:lnTo>
                  <a:lnTo>
                    <a:pt x="206" y="437"/>
                  </a:lnTo>
                  <a:lnTo>
                    <a:pt x="206" y="435"/>
                  </a:lnTo>
                  <a:lnTo>
                    <a:pt x="206" y="431"/>
                  </a:lnTo>
                  <a:lnTo>
                    <a:pt x="205" y="426"/>
                  </a:lnTo>
                  <a:lnTo>
                    <a:pt x="204" y="418"/>
                  </a:lnTo>
                  <a:lnTo>
                    <a:pt x="204" y="416"/>
                  </a:lnTo>
                  <a:lnTo>
                    <a:pt x="204" y="413"/>
                  </a:lnTo>
                  <a:lnTo>
                    <a:pt x="204" y="411"/>
                  </a:lnTo>
                  <a:lnTo>
                    <a:pt x="205" y="410"/>
                  </a:lnTo>
                  <a:lnTo>
                    <a:pt x="205" y="408"/>
                  </a:lnTo>
                  <a:lnTo>
                    <a:pt x="207" y="406"/>
                  </a:lnTo>
                  <a:lnTo>
                    <a:pt x="207" y="406"/>
                  </a:lnTo>
                  <a:lnTo>
                    <a:pt x="209" y="404"/>
                  </a:lnTo>
                  <a:lnTo>
                    <a:pt x="210" y="403"/>
                  </a:lnTo>
                  <a:lnTo>
                    <a:pt x="212" y="402"/>
                  </a:lnTo>
                  <a:lnTo>
                    <a:pt x="214" y="401"/>
                  </a:lnTo>
                  <a:lnTo>
                    <a:pt x="216" y="400"/>
                  </a:lnTo>
                  <a:lnTo>
                    <a:pt x="218" y="399"/>
                  </a:lnTo>
                  <a:lnTo>
                    <a:pt x="221" y="398"/>
                  </a:lnTo>
                  <a:lnTo>
                    <a:pt x="224" y="398"/>
                  </a:lnTo>
                  <a:lnTo>
                    <a:pt x="227" y="397"/>
                  </a:lnTo>
                  <a:lnTo>
                    <a:pt x="231" y="397"/>
                  </a:lnTo>
                  <a:lnTo>
                    <a:pt x="245" y="397"/>
                  </a:lnTo>
                  <a:lnTo>
                    <a:pt x="250" y="397"/>
                  </a:lnTo>
                  <a:lnTo>
                    <a:pt x="254" y="396"/>
                  </a:lnTo>
                  <a:lnTo>
                    <a:pt x="258" y="395"/>
                  </a:lnTo>
                  <a:lnTo>
                    <a:pt x="263" y="395"/>
                  </a:lnTo>
                  <a:lnTo>
                    <a:pt x="265" y="394"/>
                  </a:lnTo>
                  <a:lnTo>
                    <a:pt x="267" y="393"/>
                  </a:lnTo>
                  <a:lnTo>
                    <a:pt x="269" y="391"/>
                  </a:lnTo>
                  <a:lnTo>
                    <a:pt x="274" y="388"/>
                  </a:lnTo>
                  <a:lnTo>
                    <a:pt x="277" y="386"/>
                  </a:lnTo>
                  <a:lnTo>
                    <a:pt x="281" y="384"/>
                  </a:lnTo>
                  <a:lnTo>
                    <a:pt x="285" y="383"/>
                  </a:lnTo>
                  <a:lnTo>
                    <a:pt x="286" y="382"/>
                  </a:lnTo>
                  <a:lnTo>
                    <a:pt x="289" y="381"/>
                  </a:lnTo>
                  <a:lnTo>
                    <a:pt x="292" y="381"/>
                  </a:lnTo>
                  <a:lnTo>
                    <a:pt x="295" y="380"/>
                  </a:lnTo>
                  <a:lnTo>
                    <a:pt x="297" y="380"/>
                  </a:lnTo>
                  <a:lnTo>
                    <a:pt x="299" y="380"/>
                  </a:lnTo>
                  <a:lnTo>
                    <a:pt x="302" y="381"/>
                  </a:lnTo>
                  <a:lnTo>
                    <a:pt x="304" y="381"/>
                  </a:lnTo>
                  <a:lnTo>
                    <a:pt x="306" y="382"/>
                  </a:lnTo>
                  <a:lnTo>
                    <a:pt x="309" y="383"/>
                  </a:lnTo>
                  <a:lnTo>
                    <a:pt x="318" y="386"/>
                  </a:lnTo>
                  <a:lnTo>
                    <a:pt x="321" y="388"/>
                  </a:lnTo>
                  <a:lnTo>
                    <a:pt x="322" y="388"/>
                  </a:lnTo>
                  <a:lnTo>
                    <a:pt x="324" y="389"/>
                  </a:lnTo>
                  <a:lnTo>
                    <a:pt x="326" y="389"/>
                  </a:lnTo>
                  <a:lnTo>
                    <a:pt x="328" y="389"/>
                  </a:lnTo>
                  <a:lnTo>
                    <a:pt x="330" y="389"/>
                  </a:lnTo>
                  <a:lnTo>
                    <a:pt x="331" y="389"/>
                  </a:lnTo>
                  <a:lnTo>
                    <a:pt x="332" y="389"/>
                  </a:lnTo>
                  <a:lnTo>
                    <a:pt x="333" y="388"/>
                  </a:lnTo>
                  <a:lnTo>
                    <a:pt x="335" y="387"/>
                  </a:lnTo>
                  <a:lnTo>
                    <a:pt x="339" y="385"/>
                  </a:lnTo>
                  <a:lnTo>
                    <a:pt x="343" y="383"/>
                  </a:lnTo>
                  <a:lnTo>
                    <a:pt x="347" y="382"/>
                  </a:lnTo>
                  <a:lnTo>
                    <a:pt x="350" y="381"/>
                  </a:lnTo>
                  <a:lnTo>
                    <a:pt x="354" y="380"/>
                  </a:lnTo>
                  <a:lnTo>
                    <a:pt x="362" y="379"/>
                  </a:lnTo>
                  <a:lnTo>
                    <a:pt x="372" y="376"/>
                  </a:lnTo>
                  <a:lnTo>
                    <a:pt x="376" y="376"/>
                  </a:lnTo>
                  <a:lnTo>
                    <a:pt x="378" y="376"/>
                  </a:lnTo>
                  <a:lnTo>
                    <a:pt x="384" y="376"/>
                  </a:lnTo>
                  <a:lnTo>
                    <a:pt x="388" y="376"/>
                  </a:lnTo>
                  <a:lnTo>
                    <a:pt x="392" y="376"/>
                  </a:lnTo>
                  <a:lnTo>
                    <a:pt x="397" y="377"/>
                  </a:lnTo>
                  <a:lnTo>
                    <a:pt x="401" y="378"/>
                  </a:lnTo>
                  <a:lnTo>
                    <a:pt x="405" y="379"/>
                  </a:lnTo>
                  <a:lnTo>
                    <a:pt x="409" y="380"/>
                  </a:lnTo>
                  <a:lnTo>
                    <a:pt x="415" y="382"/>
                  </a:lnTo>
                  <a:lnTo>
                    <a:pt x="419" y="383"/>
                  </a:lnTo>
                  <a:lnTo>
                    <a:pt x="422" y="384"/>
                  </a:lnTo>
                  <a:lnTo>
                    <a:pt x="424" y="384"/>
                  </a:lnTo>
                  <a:lnTo>
                    <a:pt x="429" y="384"/>
                  </a:lnTo>
                  <a:lnTo>
                    <a:pt x="433" y="384"/>
                  </a:lnTo>
                  <a:lnTo>
                    <a:pt x="436" y="384"/>
                  </a:lnTo>
                  <a:lnTo>
                    <a:pt x="439" y="383"/>
                  </a:lnTo>
                  <a:lnTo>
                    <a:pt x="443" y="382"/>
                  </a:lnTo>
                  <a:lnTo>
                    <a:pt x="446" y="380"/>
                  </a:lnTo>
                  <a:lnTo>
                    <a:pt x="447" y="378"/>
                  </a:lnTo>
                  <a:lnTo>
                    <a:pt x="452" y="374"/>
                  </a:lnTo>
                  <a:lnTo>
                    <a:pt x="455" y="372"/>
                  </a:lnTo>
                  <a:lnTo>
                    <a:pt x="457" y="372"/>
                  </a:lnTo>
                  <a:lnTo>
                    <a:pt x="463" y="369"/>
                  </a:lnTo>
                  <a:lnTo>
                    <a:pt x="465" y="369"/>
                  </a:lnTo>
                  <a:lnTo>
                    <a:pt x="467" y="368"/>
                  </a:lnTo>
                  <a:lnTo>
                    <a:pt x="468" y="366"/>
                  </a:lnTo>
                  <a:lnTo>
                    <a:pt x="469" y="365"/>
                  </a:lnTo>
                  <a:lnTo>
                    <a:pt x="471" y="363"/>
                  </a:lnTo>
                  <a:lnTo>
                    <a:pt x="472" y="361"/>
                  </a:lnTo>
                  <a:lnTo>
                    <a:pt x="473" y="360"/>
                  </a:lnTo>
                  <a:lnTo>
                    <a:pt x="474" y="358"/>
                  </a:lnTo>
                  <a:lnTo>
                    <a:pt x="475" y="356"/>
                  </a:lnTo>
                  <a:lnTo>
                    <a:pt x="475" y="353"/>
                  </a:lnTo>
                  <a:lnTo>
                    <a:pt x="475" y="350"/>
                  </a:lnTo>
                  <a:lnTo>
                    <a:pt x="474" y="342"/>
                  </a:lnTo>
                  <a:lnTo>
                    <a:pt x="474" y="338"/>
                  </a:lnTo>
                  <a:lnTo>
                    <a:pt x="474" y="335"/>
                  </a:lnTo>
                  <a:lnTo>
                    <a:pt x="475" y="331"/>
                  </a:lnTo>
                  <a:lnTo>
                    <a:pt x="475" y="328"/>
                  </a:lnTo>
                  <a:lnTo>
                    <a:pt x="476" y="327"/>
                  </a:lnTo>
                  <a:lnTo>
                    <a:pt x="477" y="324"/>
                  </a:lnTo>
                  <a:lnTo>
                    <a:pt x="478" y="322"/>
                  </a:lnTo>
                  <a:lnTo>
                    <a:pt x="479" y="319"/>
                  </a:lnTo>
                  <a:lnTo>
                    <a:pt x="480" y="317"/>
                  </a:lnTo>
                  <a:lnTo>
                    <a:pt x="480" y="316"/>
                  </a:lnTo>
                  <a:lnTo>
                    <a:pt x="482" y="315"/>
                  </a:lnTo>
                  <a:lnTo>
                    <a:pt x="483" y="314"/>
                  </a:lnTo>
                  <a:lnTo>
                    <a:pt x="484" y="313"/>
                  </a:lnTo>
                  <a:lnTo>
                    <a:pt x="485" y="312"/>
                  </a:lnTo>
                  <a:lnTo>
                    <a:pt x="487" y="311"/>
                  </a:lnTo>
                  <a:lnTo>
                    <a:pt x="490" y="311"/>
                  </a:lnTo>
                  <a:lnTo>
                    <a:pt x="497" y="309"/>
                  </a:lnTo>
                  <a:lnTo>
                    <a:pt x="501" y="308"/>
                  </a:lnTo>
                  <a:lnTo>
                    <a:pt x="505" y="307"/>
                  </a:lnTo>
                  <a:lnTo>
                    <a:pt x="508" y="305"/>
                  </a:lnTo>
                  <a:lnTo>
                    <a:pt x="512" y="304"/>
                  </a:lnTo>
                  <a:lnTo>
                    <a:pt x="514" y="301"/>
                  </a:lnTo>
                  <a:lnTo>
                    <a:pt x="518" y="298"/>
                  </a:lnTo>
                  <a:lnTo>
                    <a:pt x="524" y="293"/>
                  </a:lnTo>
                  <a:lnTo>
                    <a:pt x="525" y="292"/>
                  </a:lnTo>
                  <a:lnTo>
                    <a:pt x="529" y="289"/>
                  </a:lnTo>
                  <a:lnTo>
                    <a:pt x="533" y="287"/>
                  </a:lnTo>
                  <a:lnTo>
                    <a:pt x="537" y="285"/>
                  </a:lnTo>
                  <a:lnTo>
                    <a:pt x="541" y="283"/>
                  </a:lnTo>
                  <a:lnTo>
                    <a:pt x="544" y="282"/>
                  </a:lnTo>
                  <a:lnTo>
                    <a:pt x="546" y="282"/>
                  </a:lnTo>
                  <a:lnTo>
                    <a:pt x="548" y="282"/>
                  </a:lnTo>
                  <a:lnTo>
                    <a:pt x="550" y="282"/>
                  </a:lnTo>
                  <a:lnTo>
                    <a:pt x="553" y="283"/>
                  </a:lnTo>
                  <a:lnTo>
                    <a:pt x="556" y="284"/>
                  </a:lnTo>
                  <a:lnTo>
                    <a:pt x="562" y="286"/>
                  </a:lnTo>
                  <a:lnTo>
                    <a:pt x="571" y="288"/>
                  </a:lnTo>
                  <a:lnTo>
                    <a:pt x="575" y="289"/>
                  </a:lnTo>
                  <a:lnTo>
                    <a:pt x="578" y="290"/>
                  </a:lnTo>
                  <a:lnTo>
                    <a:pt x="581" y="290"/>
                  </a:lnTo>
                  <a:lnTo>
                    <a:pt x="582" y="289"/>
                  </a:lnTo>
                  <a:lnTo>
                    <a:pt x="591" y="288"/>
                  </a:lnTo>
                  <a:lnTo>
                    <a:pt x="599" y="287"/>
                  </a:lnTo>
                  <a:lnTo>
                    <a:pt x="601" y="286"/>
                  </a:lnTo>
                  <a:lnTo>
                    <a:pt x="604" y="285"/>
                  </a:lnTo>
                  <a:lnTo>
                    <a:pt x="606" y="284"/>
                  </a:lnTo>
                  <a:lnTo>
                    <a:pt x="610" y="282"/>
                  </a:lnTo>
                  <a:lnTo>
                    <a:pt x="612" y="281"/>
                  </a:lnTo>
                  <a:lnTo>
                    <a:pt x="619" y="276"/>
                  </a:lnTo>
                  <a:lnTo>
                    <a:pt x="623" y="273"/>
                  </a:lnTo>
                  <a:lnTo>
                    <a:pt x="628" y="270"/>
                  </a:lnTo>
                  <a:lnTo>
                    <a:pt x="635" y="267"/>
                  </a:lnTo>
                  <a:lnTo>
                    <a:pt x="654" y="259"/>
                  </a:lnTo>
                  <a:lnTo>
                    <a:pt x="666" y="253"/>
                  </a:lnTo>
                  <a:lnTo>
                    <a:pt x="673" y="249"/>
                  </a:lnTo>
                  <a:lnTo>
                    <a:pt x="680" y="248"/>
                  </a:lnTo>
                  <a:lnTo>
                    <a:pt x="694" y="243"/>
                  </a:lnTo>
                  <a:lnTo>
                    <a:pt x="698" y="241"/>
                  </a:lnTo>
                  <a:lnTo>
                    <a:pt x="705" y="238"/>
                  </a:lnTo>
                  <a:lnTo>
                    <a:pt x="707" y="237"/>
                  </a:lnTo>
                  <a:lnTo>
                    <a:pt x="709" y="236"/>
                  </a:lnTo>
                  <a:lnTo>
                    <a:pt x="713" y="234"/>
                  </a:lnTo>
                  <a:lnTo>
                    <a:pt x="718" y="230"/>
                  </a:lnTo>
                  <a:lnTo>
                    <a:pt x="720" y="227"/>
                  </a:lnTo>
                  <a:lnTo>
                    <a:pt x="723" y="225"/>
                  </a:lnTo>
                  <a:lnTo>
                    <a:pt x="725" y="222"/>
                  </a:lnTo>
                  <a:lnTo>
                    <a:pt x="727" y="219"/>
                  </a:lnTo>
                  <a:lnTo>
                    <a:pt x="730" y="215"/>
                  </a:lnTo>
                  <a:lnTo>
                    <a:pt x="734" y="208"/>
                  </a:lnTo>
                  <a:lnTo>
                    <a:pt x="735" y="205"/>
                  </a:lnTo>
                  <a:lnTo>
                    <a:pt x="737" y="203"/>
                  </a:lnTo>
                  <a:lnTo>
                    <a:pt x="739" y="202"/>
                  </a:lnTo>
                  <a:lnTo>
                    <a:pt x="741" y="201"/>
                  </a:lnTo>
                  <a:lnTo>
                    <a:pt x="742" y="200"/>
                  </a:lnTo>
                  <a:lnTo>
                    <a:pt x="746" y="198"/>
                  </a:lnTo>
                  <a:lnTo>
                    <a:pt x="750" y="197"/>
                  </a:lnTo>
                  <a:lnTo>
                    <a:pt x="753" y="196"/>
                  </a:lnTo>
                  <a:lnTo>
                    <a:pt x="756" y="195"/>
                  </a:lnTo>
                  <a:lnTo>
                    <a:pt x="759" y="195"/>
                  </a:lnTo>
                  <a:lnTo>
                    <a:pt x="762" y="195"/>
                  </a:lnTo>
                  <a:lnTo>
                    <a:pt x="764" y="195"/>
                  </a:lnTo>
                  <a:lnTo>
                    <a:pt x="767" y="196"/>
                  </a:lnTo>
                  <a:lnTo>
                    <a:pt x="775" y="197"/>
                  </a:lnTo>
                  <a:lnTo>
                    <a:pt x="778" y="198"/>
                  </a:lnTo>
                  <a:lnTo>
                    <a:pt x="781" y="198"/>
                  </a:lnTo>
                  <a:lnTo>
                    <a:pt x="784" y="198"/>
                  </a:lnTo>
                  <a:lnTo>
                    <a:pt x="787" y="198"/>
                  </a:lnTo>
                  <a:lnTo>
                    <a:pt x="789" y="198"/>
                  </a:lnTo>
                  <a:lnTo>
                    <a:pt x="793" y="197"/>
                  </a:lnTo>
                  <a:lnTo>
                    <a:pt x="801" y="196"/>
                  </a:lnTo>
                  <a:lnTo>
                    <a:pt x="804" y="195"/>
                  </a:lnTo>
                  <a:lnTo>
                    <a:pt x="808" y="194"/>
                  </a:lnTo>
                  <a:lnTo>
                    <a:pt x="812" y="192"/>
                  </a:lnTo>
                  <a:lnTo>
                    <a:pt x="819" y="190"/>
                  </a:lnTo>
                  <a:lnTo>
                    <a:pt x="821" y="189"/>
                  </a:lnTo>
                  <a:lnTo>
                    <a:pt x="825" y="188"/>
                  </a:lnTo>
                  <a:lnTo>
                    <a:pt x="832" y="187"/>
                  </a:lnTo>
                  <a:lnTo>
                    <a:pt x="835" y="186"/>
                  </a:lnTo>
                  <a:lnTo>
                    <a:pt x="838" y="184"/>
                  </a:lnTo>
                  <a:lnTo>
                    <a:pt x="840" y="184"/>
                  </a:lnTo>
                  <a:lnTo>
                    <a:pt x="841" y="183"/>
                  </a:lnTo>
                  <a:lnTo>
                    <a:pt x="843" y="181"/>
                  </a:lnTo>
                  <a:lnTo>
                    <a:pt x="844" y="180"/>
                  </a:lnTo>
                  <a:lnTo>
                    <a:pt x="844" y="179"/>
                  </a:lnTo>
                  <a:lnTo>
                    <a:pt x="845" y="177"/>
                  </a:lnTo>
                  <a:lnTo>
                    <a:pt x="847" y="174"/>
                  </a:lnTo>
                  <a:lnTo>
                    <a:pt x="849" y="168"/>
                  </a:lnTo>
                  <a:lnTo>
                    <a:pt x="852" y="162"/>
                  </a:lnTo>
                  <a:lnTo>
                    <a:pt x="853" y="157"/>
                  </a:lnTo>
                  <a:lnTo>
                    <a:pt x="853" y="156"/>
                  </a:lnTo>
                  <a:lnTo>
                    <a:pt x="854" y="154"/>
                  </a:lnTo>
                  <a:lnTo>
                    <a:pt x="854" y="152"/>
                  </a:lnTo>
                  <a:lnTo>
                    <a:pt x="853" y="151"/>
                  </a:lnTo>
                  <a:lnTo>
                    <a:pt x="853" y="149"/>
                  </a:lnTo>
                  <a:lnTo>
                    <a:pt x="852" y="147"/>
                  </a:lnTo>
                  <a:lnTo>
                    <a:pt x="851" y="146"/>
                  </a:lnTo>
                  <a:lnTo>
                    <a:pt x="850" y="145"/>
                  </a:lnTo>
                  <a:lnTo>
                    <a:pt x="849" y="143"/>
                  </a:lnTo>
                  <a:lnTo>
                    <a:pt x="847" y="142"/>
                  </a:lnTo>
                  <a:lnTo>
                    <a:pt x="845" y="141"/>
                  </a:lnTo>
                  <a:lnTo>
                    <a:pt x="844" y="140"/>
                  </a:lnTo>
                  <a:lnTo>
                    <a:pt x="841" y="138"/>
                  </a:lnTo>
                  <a:lnTo>
                    <a:pt x="835" y="136"/>
                  </a:lnTo>
                  <a:lnTo>
                    <a:pt x="826" y="133"/>
                  </a:lnTo>
                  <a:lnTo>
                    <a:pt x="820" y="130"/>
                  </a:lnTo>
                  <a:lnTo>
                    <a:pt x="808" y="125"/>
                  </a:lnTo>
                  <a:lnTo>
                    <a:pt x="805" y="124"/>
                  </a:lnTo>
                  <a:lnTo>
                    <a:pt x="802" y="123"/>
                  </a:lnTo>
                  <a:lnTo>
                    <a:pt x="800" y="122"/>
                  </a:lnTo>
                  <a:lnTo>
                    <a:pt x="799" y="121"/>
                  </a:lnTo>
                  <a:lnTo>
                    <a:pt x="798" y="120"/>
                  </a:lnTo>
                  <a:lnTo>
                    <a:pt x="797" y="119"/>
                  </a:lnTo>
                  <a:lnTo>
                    <a:pt x="796" y="118"/>
                  </a:lnTo>
                  <a:lnTo>
                    <a:pt x="795" y="116"/>
                  </a:lnTo>
                  <a:lnTo>
                    <a:pt x="794" y="114"/>
                  </a:lnTo>
                  <a:lnTo>
                    <a:pt x="793" y="112"/>
                  </a:lnTo>
                  <a:lnTo>
                    <a:pt x="792" y="110"/>
                  </a:lnTo>
                  <a:lnTo>
                    <a:pt x="792" y="108"/>
                  </a:lnTo>
                  <a:lnTo>
                    <a:pt x="791" y="107"/>
                  </a:lnTo>
                  <a:lnTo>
                    <a:pt x="792" y="106"/>
                  </a:lnTo>
                  <a:lnTo>
                    <a:pt x="792" y="105"/>
                  </a:lnTo>
                  <a:lnTo>
                    <a:pt x="792" y="103"/>
                  </a:lnTo>
                  <a:lnTo>
                    <a:pt x="793" y="101"/>
                  </a:lnTo>
                  <a:lnTo>
                    <a:pt x="796" y="97"/>
                  </a:lnTo>
                  <a:lnTo>
                    <a:pt x="796" y="96"/>
                  </a:lnTo>
                  <a:lnTo>
                    <a:pt x="797" y="95"/>
                  </a:lnTo>
                  <a:lnTo>
                    <a:pt x="797" y="94"/>
                  </a:lnTo>
                  <a:lnTo>
                    <a:pt x="797" y="92"/>
                  </a:lnTo>
                  <a:lnTo>
                    <a:pt x="796" y="91"/>
                  </a:lnTo>
                  <a:lnTo>
                    <a:pt x="795" y="90"/>
                  </a:lnTo>
                  <a:lnTo>
                    <a:pt x="794" y="89"/>
                  </a:lnTo>
                  <a:lnTo>
                    <a:pt x="793" y="89"/>
                  </a:lnTo>
                  <a:lnTo>
                    <a:pt x="792" y="89"/>
                  </a:lnTo>
                  <a:lnTo>
                    <a:pt x="790" y="89"/>
                  </a:lnTo>
                  <a:lnTo>
                    <a:pt x="787" y="88"/>
                  </a:lnTo>
                  <a:lnTo>
                    <a:pt x="780" y="89"/>
                  </a:lnTo>
                  <a:lnTo>
                    <a:pt x="776" y="88"/>
                  </a:lnTo>
                  <a:lnTo>
                    <a:pt x="773" y="88"/>
                  </a:lnTo>
                  <a:lnTo>
                    <a:pt x="771" y="87"/>
                  </a:lnTo>
                  <a:lnTo>
                    <a:pt x="769" y="87"/>
                  </a:lnTo>
                  <a:lnTo>
                    <a:pt x="767" y="86"/>
                  </a:lnTo>
                  <a:lnTo>
                    <a:pt x="764" y="84"/>
                  </a:lnTo>
                  <a:lnTo>
                    <a:pt x="763" y="83"/>
                  </a:lnTo>
                  <a:lnTo>
                    <a:pt x="761" y="81"/>
                  </a:lnTo>
                  <a:lnTo>
                    <a:pt x="759" y="80"/>
                  </a:lnTo>
                  <a:lnTo>
                    <a:pt x="758" y="78"/>
                  </a:lnTo>
                  <a:lnTo>
                    <a:pt x="757" y="78"/>
                  </a:lnTo>
                  <a:lnTo>
                    <a:pt x="756" y="76"/>
                  </a:lnTo>
                  <a:lnTo>
                    <a:pt x="756" y="74"/>
                  </a:lnTo>
                  <a:lnTo>
                    <a:pt x="756" y="73"/>
                  </a:lnTo>
                  <a:lnTo>
                    <a:pt x="755" y="69"/>
                  </a:lnTo>
                  <a:lnTo>
                    <a:pt x="756" y="64"/>
                  </a:lnTo>
                  <a:lnTo>
                    <a:pt x="756" y="62"/>
                  </a:lnTo>
                  <a:lnTo>
                    <a:pt x="756" y="60"/>
                  </a:lnTo>
                  <a:lnTo>
                    <a:pt x="757" y="58"/>
                  </a:lnTo>
                  <a:lnTo>
                    <a:pt x="758" y="56"/>
                  </a:lnTo>
                  <a:lnTo>
                    <a:pt x="762" y="49"/>
                  </a:lnTo>
                  <a:lnTo>
                    <a:pt x="763" y="47"/>
                  </a:lnTo>
                  <a:lnTo>
                    <a:pt x="764" y="44"/>
                  </a:lnTo>
                  <a:lnTo>
                    <a:pt x="765" y="41"/>
                  </a:lnTo>
                  <a:lnTo>
                    <a:pt x="766" y="38"/>
                  </a:lnTo>
                  <a:lnTo>
                    <a:pt x="767" y="35"/>
                  </a:lnTo>
                  <a:lnTo>
                    <a:pt x="768" y="33"/>
                  </a:lnTo>
                  <a:lnTo>
                    <a:pt x="769" y="25"/>
                  </a:lnTo>
                  <a:lnTo>
                    <a:pt x="770" y="22"/>
                  </a:lnTo>
                  <a:lnTo>
                    <a:pt x="771" y="21"/>
                  </a:lnTo>
                  <a:lnTo>
                    <a:pt x="771" y="20"/>
                  </a:lnTo>
                  <a:lnTo>
                    <a:pt x="772" y="18"/>
                  </a:lnTo>
                  <a:lnTo>
                    <a:pt x="774" y="15"/>
                  </a:lnTo>
                  <a:lnTo>
                    <a:pt x="782" y="4"/>
                  </a:lnTo>
                  <a:lnTo>
                    <a:pt x="785" y="2"/>
                  </a:lnTo>
                  <a:lnTo>
                    <a:pt x="786" y="0"/>
                  </a:lnTo>
                  <a:lnTo>
                    <a:pt x="787" y="1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6" name="Freeform 95">
              <a:extLst>
                <a:ext uri="{FF2B5EF4-FFF2-40B4-BE49-F238E27FC236}">
                  <a16:creationId xmlns:a16="http://schemas.microsoft.com/office/drawing/2014/main" id="{E37F75F6-10FF-44EE-AD60-AA4925557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0" y="1017"/>
              <a:ext cx="961" cy="646"/>
            </a:xfrm>
            <a:custGeom>
              <a:avLst/>
              <a:gdLst>
                <a:gd name="T0" fmla="*/ 537 w 961"/>
                <a:gd name="T1" fmla="*/ 6 h 646"/>
                <a:gd name="T2" fmla="*/ 568 w 961"/>
                <a:gd name="T3" fmla="*/ 31 h 646"/>
                <a:gd name="T4" fmla="*/ 591 w 961"/>
                <a:gd name="T5" fmla="*/ 30 h 646"/>
                <a:gd name="T6" fmla="*/ 614 w 961"/>
                <a:gd name="T7" fmla="*/ 14 h 646"/>
                <a:gd name="T8" fmla="*/ 633 w 961"/>
                <a:gd name="T9" fmla="*/ 43 h 646"/>
                <a:gd name="T10" fmla="*/ 668 w 961"/>
                <a:gd name="T11" fmla="*/ 37 h 646"/>
                <a:gd name="T12" fmla="*/ 701 w 961"/>
                <a:gd name="T13" fmla="*/ 84 h 646"/>
                <a:gd name="T14" fmla="*/ 697 w 961"/>
                <a:gd name="T15" fmla="*/ 148 h 646"/>
                <a:gd name="T16" fmla="*/ 731 w 961"/>
                <a:gd name="T17" fmla="*/ 193 h 646"/>
                <a:gd name="T18" fmla="*/ 768 w 961"/>
                <a:gd name="T19" fmla="*/ 250 h 646"/>
                <a:gd name="T20" fmla="*/ 780 w 961"/>
                <a:gd name="T21" fmla="*/ 286 h 646"/>
                <a:gd name="T22" fmla="*/ 815 w 961"/>
                <a:gd name="T23" fmla="*/ 259 h 646"/>
                <a:gd name="T24" fmla="*/ 879 w 961"/>
                <a:gd name="T25" fmla="*/ 281 h 646"/>
                <a:gd name="T26" fmla="*/ 899 w 961"/>
                <a:gd name="T27" fmla="*/ 309 h 646"/>
                <a:gd name="T28" fmla="*/ 914 w 961"/>
                <a:gd name="T29" fmla="*/ 396 h 646"/>
                <a:gd name="T30" fmla="*/ 924 w 961"/>
                <a:gd name="T31" fmla="*/ 457 h 646"/>
                <a:gd name="T32" fmla="*/ 927 w 961"/>
                <a:gd name="T33" fmla="*/ 515 h 646"/>
                <a:gd name="T34" fmla="*/ 960 w 961"/>
                <a:gd name="T35" fmla="*/ 577 h 646"/>
                <a:gd name="T36" fmla="*/ 934 w 961"/>
                <a:gd name="T37" fmla="*/ 595 h 646"/>
                <a:gd name="T38" fmla="*/ 892 w 961"/>
                <a:gd name="T39" fmla="*/ 596 h 646"/>
                <a:gd name="T40" fmla="*/ 857 w 961"/>
                <a:gd name="T41" fmla="*/ 569 h 646"/>
                <a:gd name="T42" fmla="*/ 824 w 961"/>
                <a:gd name="T43" fmla="*/ 596 h 646"/>
                <a:gd name="T44" fmla="*/ 814 w 961"/>
                <a:gd name="T45" fmla="*/ 632 h 646"/>
                <a:gd name="T46" fmla="*/ 785 w 961"/>
                <a:gd name="T47" fmla="*/ 635 h 646"/>
                <a:gd name="T48" fmla="*/ 766 w 961"/>
                <a:gd name="T49" fmla="*/ 616 h 646"/>
                <a:gd name="T50" fmla="*/ 714 w 961"/>
                <a:gd name="T51" fmla="*/ 596 h 646"/>
                <a:gd name="T52" fmla="*/ 682 w 961"/>
                <a:gd name="T53" fmla="*/ 601 h 646"/>
                <a:gd name="T54" fmla="*/ 643 w 961"/>
                <a:gd name="T55" fmla="*/ 617 h 646"/>
                <a:gd name="T56" fmla="*/ 584 w 961"/>
                <a:gd name="T57" fmla="*/ 584 h 646"/>
                <a:gd name="T58" fmla="*/ 550 w 961"/>
                <a:gd name="T59" fmla="*/ 549 h 646"/>
                <a:gd name="T60" fmla="*/ 495 w 961"/>
                <a:gd name="T61" fmla="*/ 503 h 646"/>
                <a:gd name="T62" fmla="*/ 462 w 961"/>
                <a:gd name="T63" fmla="*/ 504 h 646"/>
                <a:gd name="T64" fmla="*/ 431 w 961"/>
                <a:gd name="T65" fmla="*/ 480 h 646"/>
                <a:gd name="T66" fmla="*/ 415 w 961"/>
                <a:gd name="T67" fmla="*/ 514 h 646"/>
                <a:gd name="T68" fmla="*/ 380 w 961"/>
                <a:gd name="T69" fmla="*/ 540 h 646"/>
                <a:gd name="T70" fmla="*/ 359 w 961"/>
                <a:gd name="T71" fmla="*/ 565 h 646"/>
                <a:gd name="T72" fmla="*/ 309 w 961"/>
                <a:gd name="T73" fmla="*/ 559 h 646"/>
                <a:gd name="T74" fmla="*/ 289 w 961"/>
                <a:gd name="T75" fmla="*/ 600 h 646"/>
                <a:gd name="T76" fmla="*/ 248 w 961"/>
                <a:gd name="T77" fmla="*/ 637 h 646"/>
                <a:gd name="T78" fmla="*/ 189 w 961"/>
                <a:gd name="T79" fmla="*/ 646 h 646"/>
                <a:gd name="T80" fmla="*/ 171 w 961"/>
                <a:gd name="T81" fmla="*/ 617 h 646"/>
                <a:gd name="T82" fmla="*/ 147 w 961"/>
                <a:gd name="T83" fmla="*/ 616 h 646"/>
                <a:gd name="T84" fmla="*/ 111 w 961"/>
                <a:gd name="T85" fmla="*/ 616 h 646"/>
                <a:gd name="T86" fmla="*/ 93 w 961"/>
                <a:gd name="T87" fmla="*/ 595 h 646"/>
                <a:gd name="T88" fmla="*/ 47 w 961"/>
                <a:gd name="T89" fmla="*/ 531 h 646"/>
                <a:gd name="T90" fmla="*/ 12 w 961"/>
                <a:gd name="T91" fmla="*/ 463 h 646"/>
                <a:gd name="T92" fmla="*/ 2 w 961"/>
                <a:gd name="T93" fmla="*/ 415 h 646"/>
                <a:gd name="T94" fmla="*/ 22 w 961"/>
                <a:gd name="T95" fmla="*/ 364 h 646"/>
                <a:gd name="T96" fmla="*/ 55 w 961"/>
                <a:gd name="T97" fmla="*/ 334 h 646"/>
                <a:gd name="T98" fmla="*/ 73 w 961"/>
                <a:gd name="T99" fmla="*/ 293 h 646"/>
                <a:gd name="T100" fmla="*/ 80 w 961"/>
                <a:gd name="T101" fmla="*/ 250 h 646"/>
                <a:gd name="T102" fmla="*/ 129 w 961"/>
                <a:gd name="T103" fmla="*/ 263 h 646"/>
                <a:gd name="T104" fmla="*/ 157 w 961"/>
                <a:gd name="T105" fmla="*/ 257 h 646"/>
                <a:gd name="T106" fmla="*/ 188 w 961"/>
                <a:gd name="T107" fmla="*/ 210 h 646"/>
                <a:gd name="T108" fmla="*/ 264 w 961"/>
                <a:gd name="T109" fmla="*/ 218 h 646"/>
                <a:gd name="T110" fmla="*/ 317 w 961"/>
                <a:gd name="T111" fmla="*/ 238 h 646"/>
                <a:gd name="T112" fmla="*/ 352 w 961"/>
                <a:gd name="T113" fmla="*/ 199 h 646"/>
                <a:gd name="T114" fmla="*/ 400 w 961"/>
                <a:gd name="T115" fmla="*/ 177 h 646"/>
                <a:gd name="T116" fmla="*/ 465 w 961"/>
                <a:gd name="T117" fmla="*/ 185 h 646"/>
                <a:gd name="T118" fmla="*/ 488 w 961"/>
                <a:gd name="T119" fmla="*/ 167 h 646"/>
                <a:gd name="T120" fmla="*/ 499 w 961"/>
                <a:gd name="T121" fmla="*/ 83 h 646"/>
                <a:gd name="T122" fmla="*/ 483 w 961"/>
                <a:gd name="T123" fmla="*/ 47 h 646"/>
                <a:gd name="T124" fmla="*/ 476 w 961"/>
                <a:gd name="T125" fmla="*/ 25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61" h="646">
                  <a:moveTo>
                    <a:pt x="506" y="0"/>
                  </a:moveTo>
                  <a:lnTo>
                    <a:pt x="506" y="1"/>
                  </a:lnTo>
                  <a:lnTo>
                    <a:pt x="513" y="4"/>
                  </a:lnTo>
                  <a:lnTo>
                    <a:pt x="515" y="5"/>
                  </a:lnTo>
                  <a:lnTo>
                    <a:pt x="517" y="7"/>
                  </a:lnTo>
                  <a:lnTo>
                    <a:pt x="519" y="7"/>
                  </a:lnTo>
                  <a:lnTo>
                    <a:pt x="521" y="8"/>
                  </a:lnTo>
                  <a:lnTo>
                    <a:pt x="523" y="8"/>
                  </a:lnTo>
                  <a:lnTo>
                    <a:pt x="525" y="8"/>
                  </a:lnTo>
                  <a:lnTo>
                    <a:pt x="527" y="8"/>
                  </a:lnTo>
                  <a:lnTo>
                    <a:pt x="528" y="8"/>
                  </a:lnTo>
                  <a:lnTo>
                    <a:pt x="529" y="8"/>
                  </a:lnTo>
                  <a:lnTo>
                    <a:pt x="534" y="6"/>
                  </a:lnTo>
                  <a:lnTo>
                    <a:pt x="535" y="6"/>
                  </a:lnTo>
                  <a:lnTo>
                    <a:pt x="537" y="6"/>
                  </a:lnTo>
                  <a:lnTo>
                    <a:pt x="540" y="6"/>
                  </a:lnTo>
                  <a:lnTo>
                    <a:pt x="541" y="6"/>
                  </a:lnTo>
                  <a:lnTo>
                    <a:pt x="546" y="8"/>
                  </a:lnTo>
                  <a:lnTo>
                    <a:pt x="555" y="11"/>
                  </a:lnTo>
                  <a:lnTo>
                    <a:pt x="559" y="13"/>
                  </a:lnTo>
                  <a:lnTo>
                    <a:pt x="561" y="14"/>
                  </a:lnTo>
                  <a:lnTo>
                    <a:pt x="563" y="14"/>
                  </a:lnTo>
                  <a:lnTo>
                    <a:pt x="563" y="16"/>
                  </a:lnTo>
                  <a:lnTo>
                    <a:pt x="564" y="17"/>
                  </a:lnTo>
                  <a:lnTo>
                    <a:pt x="565" y="18"/>
                  </a:lnTo>
                  <a:lnTo>
                    <a:pt x="565" y="20"/>
                  </a:lnTo>
                  <a:lnTo>
                    <a:pt x="565" y="24"/>
                  </a:lnTo>
                  <a:lnTo>
                    <a:pt x="566" y="26"/>
                  </a:lnTo>
                  <a:lnTo>
                    <a:pt x="566" y="28"/>
                  </a:lnTo>
                  <a:lnTo>
                    <a:pt x="568" y="31"/>
                  </a:lnTo>
                  <a:lnTo>
                    <a:pt x="569" y="32"/>
                  </a:lnTo>
                  <a:lnTo>
                    <a:pt x="571" y="34"/>
                  </a:lnTo>
                  <a:lnTo>
                    <a:pt x="573" y="35"/>
                  </a:lnTo>
                  <a:lnTo>
                    <a:pt x="574" y="35"/>
                  </a:lnTo>
                  <a:lnTo>
                    <a:pt x="576" y="36"/>
                  </a:lnTo>
                  <a:lnTo>
                    <a:pt x="579" y="36"/>
                  </a:lnTo>
                  <a:lnTo>
                    <a:pt x="581" y="36"/>
                  </a:lnTo>
                  <a:lnTo>
                    <a:pt x="583" y="36"/>
                  </a:lnTo>
                  <a:lnTo>
                    <a:pt x="585" y="36"/>
                  </a:lnTo>
                  <a:lnTo>
                    <a:pt x="586" y="36"/>
                  </a:lnTo>
                  <a:lnTo>
                    <a:pt x="587" y="35"/>
                  </a:lnTo>
                  <a:lnTo>
                    <a:pt x="588" y="34"/>
                  </a:lnTo>
                  <a:lnTo>
                    <a:pt x="589" y="33"/>
                  </a:lnTo>
                  <a:lnTo>
                    <a:pt x="590" y="32"/>
                  </a:lnTo>
                  <a:lnTo>
                    <a:pt x="591" y="30"/>
                  </a:lnTo>
                  <a:lnTo>
                    <a:pt x="594" y="26"/>
                  </a:lnTo>
                  <a:lnTo>
                    <a:pt x="596" y="23"/>
                  </a:lnTo>
                  <a:lnTo>
                    <a:pt x="597" y="19"/>
                  </a:lnTo>
                  <a:lnTo>
                    <a:pt x="600" y="17"/>
                  </a:lnTo>
                  <a:lnTo>
                    <a:pt x="601" y="16"/>
                  </a:lnTo>
                  <a:lnTo>
                    <a:pt x="602" y="15"/>
                  </a:lnTo>
                  <a:lnTo>
                    <a:pt x="604" y="14"/>
                  </a:lnTo>
                  <a:lnTo>
                    <a:pt x="605" y="14"/>
                  </a:lnTo>
                  <a:lnTo>
                    <a:pt x="606" y="14"/>
                  </a:lnTo>
                  <a:lnTo>
                    <a:pt x="608" y="13"/>
                  </a:lnTo>
                  <a:lnTo>
                    <a:pt x="608" y="13"/>
                  </a:lnTo>
                  <a:lnTo>
                    <a:pt x="610" y="13"/>
                  </a:lnTo>
                  <a:lnTo>
                    <a:pt x="612" y="13"/>
                  </a:lnTo>
                  <a:lnTo>
                    <a:pt x="613" y="14"/>
                  </a:lnTo>
                  <a:lnTo>
                    <a:pt x="614" y="14"/>
                  </a:lnTo>
                  <a:lnTo>
                    <a:pt x="615" y="14"/>
                  </a:lnTo>
                  <a:lnTo>
                    <a:pt x="616" y="16"/>
                  </a:lnTo>
                  <a:lnTo>
                    <a:pt x="617" y="18"/>
                  </a:lnTo>
                  <a:lnTo>
                    <a:pt x="618" y="21"/>
                  </a:lnTo>
                  <a:lnTo>
                    <a:pt x="619" y="24"/>
                  </a:lnTo>
                  <a:lnTo>
                    <a:pt x="621" y="33"/>
                  </a:lnTo>
                  <a:lnTo>
                    <a:pt x="622" y="35"/>
                  </a:lnTo>
                  <a:lnTo>
                    <a:pt x="623" y="37"/>
                  </a:lnTo>
                  <a:lnTo>
                    <a:pt x="624" y="38"/>
                  </a:lnTo>
                  <a:lnTo>
                    <a:pt x="626" y="40"/>
                  </a:lnTo>
                  <a:lnTo>
                    <a:pt x="627" y="41"/>
                  </a:lnTo>
                  <a:lnTo>
                    <a:pt x="629" y="42"/>
                  </a:lnTo>
                  <a:lnTo>
                    <a:pt x="631" y="43"/>
                  </a:lnTo>
                  <a:lnTo>
                    <a:pt x="631" y="43"/>
                  </a:lnTo>
                  <a:lnTo>
                    <a:pt x="633" y="43"/>
                  </a:lnTo>
                  <a:lnTo>
                    <a:pt x="635" y="42"/>
                  </a:lnTo>
                  <a:lnTo>
                    <a:pt x="636" y="42"/>
                  </a:lnTo>
                  <a:lnTo>
                    <a:pt x="643" y="39"/>
                  </a:lnTo>
                  <a:lnTo>
                    <a:pt x="645" y="37"/>
                  </a:lnTo>
                  <a:lnTo>
                    <a:pt x="652" y="36"/>
                  </a:lnTo>
                  <a:lnTo>
                    <a:pt x="654" y="35"/>
                  </a:lnTo>
                  <a:lnTo>
                    <a:pt x="656" y="35"/>
                  </a:lnTo>
                  <a:lnTo>
                    <a:pt x="659" y="34"/>
                  </a:lnTo>
                  <a:lnTo>
                    <a:pt x="661" y="34"/>
                  </a:lnTo>
                  <a:lnTo>
                    <a:pt x="662" y="34"/>
                  </a:lnTo>
                  <a:lnTo>
                    <a:pt x="664" y="35"/>
                  </a:lnTo>
                  <a:lnTo>
                    <a:pt x="665" y="35"/>
                  </a:lnTo>
                  <a:lnTo>
                    <a:pt x="665" y="36"/>
                  </a:lnTo>
                  <a:lnTo>
                    <a:pt x="666" y="36"/>
                  </a:lnTo>
                  <a:lnTo>
                    <a:pt x="668" y="37"/>
                  </a:lnTo>
                  <a:lnTo>
                    <a:pt x="673" y="42"/>
                  </a:lnTo>
                  <a:lnTo>
                    <a:pt x="676" y="45"/>
                  </a:lnTo>
                  <a:lnTo>
                    <a:pt x="678" y="47"/>
                  </a:lnTo>
                  <a:lnTo>
                    <a:pt x="684" y="50"/>
                  </a:lnTo>
                  <a:lnTo>
                    <a:pt x="687" y="52"/>
                  </a:lnTo>
                  <a:lnTo>
                    <a:pt x="689" y="54"/>
                  </a:lnTo>
                  <a:lnTo>
                    <a:pt x="691" y="56"/>
                  </a:lnTo>
                  <a:lnTo>
                    <a:pt x="692" y="58"/>
                  </a:lnTo>
                  <a:lnTo>
                    <a:pt x="693" y="60"/>
                  </a:lnTo>
                  <a:lnTo>
                    <a:pt x="695" y="62"/>
                  </a:lnTo>
                  <a:lnTo>
                    <a:pt x="699" y="73"/>
                  </a:lnTo>
                  <a:lnTo>
                    <a:pt x="700" y="77"/>
                  </a:lnTo>
                  <a:lnTo>
                    <a:pt x="701" y="80"/>
                  </a:lnTo>
                  <a:lnTo>
                    <a:pt x="701" y="82"/>
                  </a:lnTo>
                  <a:lnTo>
                    <a:pt x="701" y="84"/>
                  </a:lnTo>
                  <a:lnTo>
                    <a:pt x="701" y="87"/>
                  </a:lnTo>
                  <a:lnTo>
                    <a:pt x="700" y="89"/>
                  </a:lnTo>
                  <a:lnTo>
                    <a:pt x="699" y="92"/>
                  </a:lnTo>
                  <a:lnTo>
                    <a:pt x="695" y="103"/>
                  </a:lnTo>
                  <a:lnTo>
                    <a:pt x="694" y="107"/>
                  </a:lnTo>
                  <a:lnTo>
                    <a:pt x="693" y="110"/>
                  </a:lnTo>
                  <a:lnTo>
                    <a:pt x="693" y="114"/>
                  </a:lnTo>
                  <a:lnTo>
                    <a:pt x="692" y="117"/>
                  </a:lnTo>
                  <a:lnTo>
                    <a:pt x="692" y="121"/>
                  </a:lnTo>
                  <a:lnTo>
                    <a:pt x="692" y="125"/>
                  </a:lnTo>
                  <a:lnTo>
                    <a:pt x="693" y="128"/>
                  </a:lnTo>
                  <a:lnTo>
                    <a:pt x="693" y="133"/>
                  </a:lnTo>
                  <a:lnTo>
                    <a:pt x="694" y="138"/>
                  </a:lnTo>
                  <a:lnTo>
                    <a:pt x="696" y="142"/>
                  </a:lnTo>
                  <a:lnTo>
                    <a:pt x="697" y="148"/>
                  </a:lnTo>
                  <a:lnTo>
                    <a:pt x="699" y="152"/>
                  </a:lnTo>
                  <a:lnTo>
                    <a:pt x="699" y="156"/>
                  </a:lnTo>
                  <a:lnTo>
                    <a:pt x="701" y="160"/>
                  </a:lnTo>
                  <a:lnTo>
                    <a:pt x="704" y="164"/>
                  </a:lnTo>
                  <a:lnTo>
                    <a:pt x="707" y="170"/>
                  </a:lnTo>
                  <a:lnTo>
                    <a:pt x="710" y="173"/>
                  </a:lnTo>
                  <a:lnTo>
                    <a:pt x="712" y="177"/>
                  </a:lnTo>
                  <a:lnTo>
                    <a:pt x="715" y="180"/>
                  </a:lnTo>
                  <a:lnTo>
                    <a:pt x="718" y="184"/>
                  </a:lnTo>
                  <a:lnTo>
                    <a:pt x="720" y="185"/>
                  </a:lnTo>
                  <a:lnTo>
                    <a:pt x="722" y="187"/>
                  </a:lnTo>
                  <a:lnTo>
                    <a:pt x="723" y="188"/>
                  </a:lnTo>
                  <a:lnTo>
                    <a:pt x="725" y="190"/>
                  </a:lnTo>
                  <a:lnTo>
                    <a:pt x="728" y="191"/>
                  </a:lnTo>
                  <a:lnTo>
                    <a:pt x="731" y="193"/>
                  </a:lnTo>
                  <a:lnTo>
                    <a:pt x="734" y="195"/>
                  </a:lnTo>
                  <a:lnTo>
                    <a:pt x="743" y="198"/>
                  </a:lnTo>
                  <a:lnTo>
                    <a:pt x="745" y="199"/>
                  </a:lnTo>
                  <a:lnTo>
                    <a:pt x="749" y="201"/>
                  </a:lnTo>
                  <a:lnTo>
                    <a:pt x="752" y="204"/>
                  </a:lnTo>
                  <a:lnTo>
                    <a:pt x="755" y="207"/>
                  </a:lnTo>
                  <a:lnTo>
                    <a:pt x="757" y="209"/>
                  </a:lnTo>
                  <a:lnTo>
                    <a:pt x="759" y="213"/>
                  </a:lnTo>
                  <a:lnTo>
                    <a:pt x="762" y="218"/>
                  </a:lnTo>
                  <a:lnTo>
                    <a:pt x="764" y="222"/>
                  </a:lnTo>
                  <a:lnTo>
                    <a:pt x="765" y="227"/>
                  </a:lnTo>
                  <a:lnTo>
                    <a:pt x="767" y="232"/>
                  </a:lnTo>
                  <a:lnTo>
                    <a:pt x="768" y="237"/>
                  </a:lnTo>
                  <a:lnTo>
                    <a:pt x="768" y="241"/>
                  </a:lnTo>
                  <a:lnTo>
                    <a:pt x="768" y="250"/>
                  </a:lnTo>
                  <a:lnTo>
                    <a:pt x="768" y="261"/>
                  </a:lnTo>
                  <a:lnTo>
                    <a:pt x="768" y="263"/>
                  </a:lnTo>
                  <a:lnTo>
                    <a:pt x="768" y="266"/>
                  </a:lnTo>
                  <a:lnTo>
                    <a:pt x="769" y="272"/>
                  </a:lnTo>
                  <a:lnTo>
                    <a:pt x="769" y="275"/>
                  </a:lnTo>
                  <a:lnTo>
                    <a:pt x="770" y="277"/>
                  </a:lnTo>
                  <a:lnTo>
                    <a:pt x="771" y="279"/>
                  </a:lnTo>
                  <a:lnTo>
                    <a:pt x="771" y="280"/>
                  </a:lnTo>
                  <a:lnTo>
                    <a:pt x="772" y="282"/>
                  </a:lnTo>
                  <a:lnTo>
                    <a:pt x="773" y="283"/>
                  </a:lnTo>
                  <a:lnTo>
                    <a:pt x="774" y="284"/>
                  </a:lnTo>
                  <a:lnTo>
                    <a:pt x="776" y="285"/>
                  </a:lnTo>
                  <a:lnTo>
                    <a:pt x="778" y="286"/>
                  </a:lnTo>
                  <a:lnTo>
                    <a:pt x="779" y="286"/>
                  </a:lnTo>
                  <a:lnTo>
                    <a:pt x="780" y="286"/>
                  </a:lnTo>
                  <a:lnTo>
                    <a:pt x="782" y="286"/>
                  </a:lnTo>
                  <a:lnTo>
                    <a:pt x="784" y="285"/>
                  </a:lnTo>
                  <a:lnTo>
                    <a:pt x="785" y="284"/>
                  </a:lnTo>
                  <a:lnTo>
                    <a:pt x="787" y="283"/>
                  </a:lnTo>
                  <a:lnTo>
                    <a:pt x="789" y="282"/>
                  </a:lnTo>
                  <a:lnTo>
                    <a:pt x="790" y="281"/>
                  </a:lnTo>
                  <a:lnTo>
                    <a:pt x="792" y="279"/>
                  </a:lnTo>
                  <a:lnTo>
                    <a:pt x="796" y="275"/>
                  </a:lnTo>
                  <a:lnTo>
                    <a:pt x="804" y="266"/>
                  </a:lnTo>
                  <a:lnTo>
                    <a:pt x="807" y="263"/>
                  </a:lnTo>
                  <a:lnTo>
                    <a:pt x="810" y="262"/>
                  </a:lnTo>
                  <a:lnTo>
                    <a:pt x="811" y="261"/>
                  </a:lnTo>
                  <a:lnTo>
                    <a:pt x="813" y="261"/>
                  </a:lnTo>
                  <a:lnTo>
                    <a:pt x="814" y="260"/>
                  </a:lnTo>
                  <a:lnTo>
                    <a:pt x="815" y="259"/>
                  </a:lnTo>
                  <a:lnTo>
                    <a:pt x="817" y="259"/>
                  </a:lnTo>
                  <a:lnTo>
                    <a:pt x="819" y="259"/>
                  </a:lnTo>
                  <a:lnTo>
                    <a:pt x="821" y="258"/>
                  </a:lnTo>
                  <a:lnTo>
                    <a:pt x="822" y="258"/>
                  </a:lnTo>
                  <a:lnTo>
                    <a:pt x="824" y="259"/>
                  </a:lnTo>
                  <a:lnTo>
                    <a:pt x="828" y="259"/>
                  </a:lnTo>
                  <a:lnTo>
                    <a:pt x="832" y="261"/>
                  </a:lnTo>
                  <a:lnTo>
                    <a:pt x="836" y="263"/>
                  </a:lnTo>
                  <a:lnTo>
                    <a:pt x="841" y="264"/>
                  </a:lnTo>
                  <a:lnTo>
                    <a:pt x="849" y="269"/>
                  </a:lnTo>
                  <a:lnTo>
                    <a:pt x="855" y="271"/>
                  </a:lnTo>
                  <a:lnTo>
                    <a:pt x="860" y="274"/>
                  </a:lnTo>
                  <a:lnTo>
                    <a:pt x="871" y="278"/>
                  </a:lnTo>
                  <a:lnTo>
                    <a:pt x="875" y="280"/>
                  </a:lnTo>
                  <a:lnTo>
                    <a:pt x="879" y="281"/>
                  </a:lnTo>
                  <a:lnTo>
                    <a:pt x="886" y="286"/>
                  </a:lnTo>
                  <a:lnTo>
                    <a:pt x="888" y="286"/>
                  </a:lnTo>
                  <a:lnTo>
                    <a:pt x="889" y="286"/>
                  </a:lnTo>
                  <a:lnTo>
                    <a:pt x="890" y="287"/>
                  </a:lnTo>
                  <a:lnTo>
                    <a:pt x="891" y="287"/>
                  </a:lnTo>
                  <a:lnTo>
                    <a:pt x="891" y="286"/>
                  </a:lnTo>
                  <a:lnTo>
                    <a:pt x="891" y="287"/>
                  </a:lnTo>
                  <a:lnTo>
                    <a:pt x="891" y="288"/>
                  </a:lnTo>
                  <a:lnTo>
                    <a:pt x="891" y="289"/>
                  </a:lnTo>
                  <a:lnTo>
                    <a:pt x="892" y="292"/>
                  </a:lnTo>
                  <a:lnTo>
                    <a:pt x="892" y="294"/>
                  </a:lnTo>
                  <a:lnTo>
                    <a:pt x="893" y="297"/>
                  </a:lnTo>
                  <a:lnTo>
                    <a:pt x="894" y="301"/>
                  </a:lnTo>
                  <a:lnTo>
                    <a:pt x="897" y="306"/>
                  </a:lnTo>
                  <a:lnTo>
                    <a:pt x="899" y="309"/>
                  </a:lnTo>
                  <a:lnTo>
                    <a:pt x="902" y="313"/>
                  </a:lnTo>
                  <a:lnTo>
                    <a:pt x="908" y="322"/>
                  </a:lnTo>
                  <a:lnTo>
                    <a:pt x="911" y="328"/>
                  </a:lnTo>
                  <a:lnTo>
                    <a:pt x="913" y="331"/>
                  </a:lnTo>
                  <a:lnTo>
                    <a:pt x="914" y="333"/>
                  </a:lnTo>
                  <a:lnTo>
                    <a:pt x="915" y="335"/>
                  </a:lnTo>
                  <a:lnTo>
                    <a:pt x="915" y="337"/>
                  </a:lnTo>
                  <a:lnTo>
                    <a:pt x="915" y="341"/>
                  </a:lnTo>
                  <a:lnTo>
                    <a:pt x="915" y="344"/>
                  </a:lnTo>
                  <a:lnTo>
                    <a:pt x="915" y="348"/>
                  </a:lnTo>
                  <a:lnTo>
                    <a:pt x="914" y="358"/>
                  </a:lnTo>
                  <a:lnTo>
                    <a:pt x="913" y="362"/>
                  </a:lnTo>
                  <a:lnTo>
                    <a:pt x="913" y="365"/>
                  </a:lnTo>
                  <a:lnTo>
                    <a:pt x="914" y="378"/>
                  </a:lnTo>
                  <a:lnTo>
                    <a:pt x="914" y="396"/>
                  </a:lnTo>
                  <a:lnTo>
                    <a:pt x="915" y="399"/>
                  </a:lnTo>
                  <a:lnTo>
                    <a:pt x="915" y="403"/>
                  </a:lnTo>
                  <a:lnTo>
                    <a:pt x="915" y="409"/>
                  </a:lnTo>
                  <a:lnTo>
                    <a:pt x="917" y="415"/>
                  </a:lnTo>
                  <a:lnTo>
                    <a:pt x="918" y="422"/>
                  </a:lnTo>
                  <a:lnTo>
                    <a:pt x="921" y="431"/>
                  </a:lnTo>
                  <a:lnTo>
                    <a:pt x="922" y="434"/>
                  </a:lnTo>
                  <a:lnTo>
                    <a:pt x="922" y="436"/>
                  </a:lnTo>
                  <a:lnTo>
                    <a:pt x="922" y="439"/>
                  </a:lnTo>
                  <a:lnTo>
                    <a:pt x="922" y="445"/>
                  </a:lnTo>
                  <a:lnTo>
                    <a:pt x="922" y="448"/>
                  </a:lnTo>
                  <a:lnTo>
                    <a:pt x="922" y="451"/>
                  </a:lnTo>
                  <a:lnTo>
                    <a:pt x="922" y="453"/>
                  </a:lnTo>
                  <a:lnTo>
                    <a:pt x="923" y="456"/>
                  </a:lnTo>
                  <a:lnTo>
                    <a:pt x="924" y="457"/>
                  </a:lnTo>
                  <a:lnTo>
                    <a:pt x="929" y="468"/>
                  </a:lnTo>
                  <a:lnTo>
                    <a:pt x="932" y="474"/>
                  </a:lnTo>
                  <a:lnTo>
                    <a:pt x="933" y="477"/>
                  </a:lnTo>
                  <a:lnTo>
                    <a:pt x="934" y="479"/>
                  </a:lnTo>
                  <a:lnTo>
                    <a:pt x="934" y="480"/>
                  </a:lnTo>
                  <a:lnTo>
                    <a:pt x="935" y="482"/>
                  </a:lnTo>
                  <a:lnTo>
                    <a:pt x="935" y="483"/>
                  </a:lnTo>
                  <a:lnTo>
                    <a:pt x="934" y="485"/>
                  </a:lnTo>
                  <a:lnTo>
                    <a:pt x="934" y="488"/>
                  </a:lnTo>
                  <a:lnTo>
                    <a:pt x="933" y="490"/>
                  </a:lnTo>
                  <a:lnTo>
                    <a:pt x="930" y="501"/>
                  </a:lnTo>
                  <a:lnTo>
                    <a:pt x="928" y="505"/>
                  </a:lnTo>
                  <a:lnTo>
                    <a:pt x="927" y="510"/>
                  </a:lnTo>
                  <a:lnTo>
                    <a:pt x="927" y="513"/>
                  </a:lnTo>
                  <a:lnTo>
                    <a:pt x="927" y="515"/>
                  </a:lnTo>
                  <a:lnTo>
                    <a:pt x="927" y="518"/>
                  </a:lnTo>
                  <a:lnTo>
                    <a:pt x="927" y="520"/>
                  </a:lnTo>
                  <a:lnTo>
                    <a:pt x="927" y="522"/>
                  </a:lnTo>
                  <a:lnTo>
                    <a:pt x="928" y="524"/>
                  </a:lnTo>
                  <a:lnTo>
                    <a:pt x="932" y="531"/>
                  </a:lnTo>
                  <a:lnTo>
                    <a:pt x="935" y="537"/>
                  </a:lnTo>
                  <a:lnTo>
                    <a:pt x="940" y="547"/>
                  </a:lnTo>
                  <a:lnTo>
                    <a:pt x="941" y="549"/>
                  </a:lnTo>
                  <a:lnTo>
                    <a:pt x="946" y="555"/>
                  </a:lnTo>
                  <a:lnTo>
                    <a:pt x="952" y="563"/>
                  </a:lnTo>
                  <a:lnTo>
                    <a:pt x="956" y="569"/>
                  </a:lnTo>
                  <a:lnTo>
                    <a:pt x="958" y="571"/>
                  </a:lnTo>
                  <a:lnTo>
                    <a:pt x="959" y="573"/>
                  </a:lnTo>
                  <a:lnTo>
                    <a:pt x="959" y="575"/>
                  </a:lnTo>
                  <a:lnTo>
                    <a:pt x="960" y="577"/>
                  </a:lnTo>
                  <a:lnTo>
                    <a:pt x="960" y="579"/>
                  </a:lnTo>
                  <a:lnTo>
                    <a:pt x="961" y="581"/>
                  </a:lnTo>
                  <a:lnTo>
                    <a:pt x="960" y="583"/>
                  </a:lnTo>
                  <a:lnTo>
                    <a:pt x="960" y="584"/>
                  </a:lnTo>
                  <a:lnTo>
                    <a:pt x="959" y="586"/>
                  </a:lnTo>
                  <a:lnTo>
                    <a:pt x="958" y="587"/>
                  </a:lnTo>
                  <a:lnTo>
                    <a:pt x="957" y="588"/>
                  </a:lnTo>
                  <a:lnTo>
                    <a:pt x="955" y="589"/>
                  </a:lnTo>
                  <a:lnTo>
                    <a:pt x="953" y="591"/>
                  </a:lnTo>
                  <a:lnTo>
                    <a:pt x="951" y="592"/>
                  </a:lnTo>
                  <a:lnTo>
                    <a:pt x="948" y="592"/>
                  </a:lnTo>
                  <a:lnTo>
                    <a:pt x="943" y="594"/>
                  </a:lnTo>
                  <a:lnTo>
                    <a:pt x="941" y="594"/>
                  </a:lnTo>
                  <a:lnTo>
                    <a:pt x="938" y="595"/>
                  </a:lnTo>
                  <a:lnTo>
                    <a:pt x="934" y="595"/>
                  </a:lnTo>
                  <a:lnTo>
                    <a:pt x="933" y="595"/>
                  </a:lnTo>
                  <a:lnTo>
                    <a:pt x="932" y="595"/>
                  </a:lnTo>
                  <a:lnTo>
                    <a:pt x="929" y="595"/>
                  </a:lnTo>
                  <a:lnTo>
                    <a:pt x="926" y="593"/>
                  </a:lnTo>
                  <a:lnTo>
                    <a:pt x="922" y="592"/>
                  </a:lnTo>
                  <a:lnTo>
                    <a:pt x="918" y="592"/>
                  </a:lnTo>
                  <a:lnTo>
                    <a:pt x="915" y="592"/>
                  </a:lnTo>
                  <a:lnTo>
                    <a:pt x="914" y="592"/>
                  </a:lnTo>
                  <a:lnTo>
                    <a:pt x="911" y="592"/>
                  </a:lnTo>
                  <a:lnTo>
                    <a:pt x="907" y="593"/>
                  </a:lnTo>
                  <a:lnTo>
                    <a:pt x="900" y="595"/>
                  </a:lnTo>
                  <a:lnTo>
                    <a:pt x="897" y="596"/>
                  </a:lnTo>
                  <a:lnTo>
                    <a:pt x="895" y="596"/>
                  </a:lnTo>
                  <a:lnTo>
                    <a:pt x="893" y="596"/>
                  </a:lnTo>
                  <a:lnTo>
                    <a:pt x="892" y="596"/>
                  </a:lnTo>
                  <a:lnTo>
                    <a:pt x="891" y="596"/>
                  </a:lnTo>
                  <a:lnTo>
                    <a:pt x="887" y="595"/>
                  </a:lnTo>
                  <a:lnTo>
                    <a:pt x="884" y="594"/>
                  </a:lnTo>
                  <a:lnTo>
                    <a:pt x="881" y="592"/>
                  </a:lnTo>
                  <a:lnTo>
                    <a:pt x="878" y="591"/>
                  </a:lnTo>
                  <a:lnTo>
                    <a:pt x="876" y="590"/>
                  </a:lnTo>
                  <a:lnTo>
                    <a:pt x="874" y="588"/>
                  </a:lnTo>
                  <a:lnTo>
                    <a:pt x="872" y="586"/>
                  </a:lnTo>
                  <a:lnTo>
                    <a:pt x="870" y="583"/>
                  </a:lnTo>
                  <a:lnTo>
                    <a:pt x="867" y="580"/>
                  </a:lnTo>
                  <a:lnTo>
                    <a:pt x="863" y="573"/>
                  </a:lnTo>
                  <a:lnTo>
                    <a:pt x="862" y="572"/>
                  </a:lnTo>
                  <a:lnTo>
                    <a:pt x="860" y="571"/>
                  </a:lnTo>
                  <a:lnTo>
                    <a:pt x="859" y="569"/>
                  </a:lnTo>
                  <a:lnTo>
                    <a:pt x="857" y="569"/>
                  </a:lnTo>
                  <a:lnTo>
                    <a:pt x="855" y="569"/>
                  </a:lnTo>
                  <a:lnTo>
                    <a:pt x="854" y="569"/>
                  </a:lnTo>
                  <a:lnTo>
                    <a:pt x="853" y="569"/>
                  </a:lnTo>
                  <a:lnTo>
                    <a:pt x="852" y="569"/>
                  </a:lnTo>
                  <a:lnTo>
                    <a:pt x="851" y="569"/>
                  </a:lnTo>
                  <a:lnTo>
                    <a:pt x="850" y="571"/>
                  </a:lnTo>
                  <a:lnTo>
                    <a:pt x="848" y="574"/>
                  </a:lnTo>
                  <a:lnTo>
                    <a:pt x="847" y="575"/>
                  </a:lnTo>
                  <a:lnTo>
                    <a:pt x="841" y="580"/>
                  </a:lnTo>
                  <a:lnTo>
                    <a:pt x="836" y="584"/>
                  </a:lnTo>
                  <a:lnTo>
                    <a:pt x="831" y="589"/>
                  </a:lnTo>
                  <a:lnTo>
                    <a:pt x="828" y="591"/>
                  </a:lnTo>
                  <a:lnTo>
                    <a:pt x="826" y="592"/>
                  </a:lnTo>
                  <a:lnTo>
                    <a:pt x="825" y="594"/>
                  </a:lnTo>
                  <a:lnTo>
                    <a:pt x="824" y="596"/>
                  </a:lnTo>
                  <a:lnTo>
                    <a:pt x="824" y="598"/>
                  </a:lnTo>
                  <a:lnTo>
                    <a:pt x="824" y="600"/>
                  </a:lnTo>
                  <a:lnTo>
                    <a:pt x="824" y="603"/>
                  </a:lnTo>
                  <a:lnTo>
                    <a:pt x="824" y="604"/>
                  </a:lnTo>
                  <a:lnTo>
                    <a:pt x="824" y="607"/>
                  </a:lnTo>
                  <a:lnTo>
                    <a:pt x="825" y="615"/>
                  </a:lnTo>
                  <a:lnTo>
                    <a:pt x="825" y="617"/>
                  </a:lnTo>
                  <a:lnTo>
                    <a:pt x="825" y="618"/>
                  </a:lnTo>
                  <a:lnTo>
                    <a:pt x="825" y="620"/>
                  </a:lnTo>
                  <a:lnTo>
                    <a:pt x="824" y="623"/>
                  </a:lnTo>
                  <a:lnTo>
                    <a:pt x="823" y="626"/>
                  </a:lnTo>
                  <a:lnTo>
                    <a:pt x="822" y="627"/>
                  </a:lnTo>
                  <a:lnTo>
                    <a:pt x="821" y="628"/>
                  </a:lnTo>
                  <a:lnTo>
                    <a:pt x="819" y="629"/>
                  </a:lnTo>
                  <a:lnTo>
                    <a:pt x="814" y="632"/>
                  </a:lnTo>
                  <a:lnTo>
                    <a:pt x="813" y="633"/>
                  </a:lnTo>
                  <a:lnTo>
                    <a:pt x="810" y="636"/>
                  </a:lnTo>
                  <a:lnTo>
                    <a:pt x="808" y="637"/>
                  </a:lnTo>
                  <a:lnTo>
                    <a:pt x="806" y="637"/>
                  </a:lnTo>
                  <a:lnTo>
                    <a:pt x="802" y="638"/>
                  </a:lnTo>
                  <a:lnTo>
                    <a:pt x="801" y="638"/>
                  </a:lnTo>
                  <a:lnTo>
                    <a:pt x="797" y="638"/>
                  </a:lnTo>
                  <a:lnTo>
                    <a:pt x="795" y="638"/>
                  </a:lnTo>
                  <a:lnTo>
                    <a:pt x="793" y="638"/>
                  </a:lnTo>
                  <a:lnTo>
                    <a:pt x="791" y="638"/>
                  </a:lnTo>
                  <a:lnTo>
                    <a:pt x="790" y="637"/>
                  </a:lnTo>
                  <a:lnTo>
                    <a:pt x="789" y="637"/>
                  </a:lnTo>
                  <a:lnTo>
                    <a:pt x="788" y="637"/>
                  </a:lnTo>
                  <a:lnTo>
                    <a:pt x="786" y="636"/>
                  </a:lnTo>
                  <a:lnTo>
                    <a:pt x="785" y="635"/>
                  </a:lnTo>
                  <a:lnTo>
                    <a:pt x="783" y="633"/>
                  </a:lnTo>
                  <a:lnTo>
                    <a:pt x="782" y="631"/>
                  </a:lnTo>
                  <a:lnTo>
                    <a:pt x="781" y="629"/>
                  </a:lnTo>
                  <a:lnTo>
                    <a:pt x="781" y="627"/>
                  </a:lnTo>
                  <a:lnTo>
                    <a:pt x="780" y="626"/>
                  </a:lnTo>
                  <a:lnTo>
                    <a:pt x="779" y="622"/>
                  </a:lnTo>
                  <a:lnTo>
                    <a:pt x="778" y="620"/>
                  </a:lnTo>
                  <a:lnTo>
                    <a:pt x="778" y="619"/>
                  </a:lnTo>
                  <a:lnTo>
                    <a:pt x="777" y="617"/>
                  </a:lnTo>
                  <a:lnTo>
                    <a:pt x="776" y="617"/>
                  </a:lnTo>
                  <a:lnTo>
                    <a:pt x="775" y="616"/>
                  </a:lnTo>
                  <a:lnTo>
                    <a:pt x="774" y="616"/>
                  </a:lnTo>
                  <a:lnTo>
                    <a:pt x="772" y="616"/>
                  </a:lnTo>
                  <a:lnTo>
                    <a:pt x="768" y="616"/>
                  </a:lnTo>
                  <a:lnTo>
                    <a:pt x="766" y="616"/>
                  </a:lnTo>
                  <a:lnTo>
                    <a:pt x="764" y="616"/>
                  </a:lnTo>
                  <a:lnTo>
                    <a:pt x="762" y="615"/>
                  </a:lnTo>
                  <a:lnTo>
                    <a:pt x="757" y="614"/>
                  </a:lnTo>
                  <a:lnTo>
                    <a:pt x="753" y="612"/>
                  </a:lnTo>
                  <a:lnTo>
                    <a:pt x="750" y="610"/>
                  </a:lnTo>
                  <a:lnTo>
                    <a:pt x="744" y="607"/>
                  </a:lnTo>
                  <a:lnTo>
                    <a:pt x="742" y="605"/>
                  </a:lnTo>
                  <a:lnTo>
                    <a:pt x="740" y="605"/>
                  </a:lnTo>
                  <a:lnTo>
                    <a:pt x="738" y="604"/>
                  </a:lnTo>
                  <a:lnTo>
                    <a:pt x="734" y="603"/>
                  </a:lnTo>
                  <a:lnTo>
                    <a:pt x="732" y="603"/>
                  </a:lnTo>
                  <a:lnTo>
                    <a:pt x="727" y="602"/>
                  </a:lnTo>
                  <a:lnTo>
                    <a:pt x="724" y="601"/>
                  </a:lnTo>
                  <a:lnTo>
                    <a:pt x="720" y="599"/>
                  </a:lnTo>
                  <a:lnTo>
                    <a:pt x="714" y="596"/>
                  </a:lnTo>
                  <a:lnTo>
                    <a:pt x="711" y="595"/>
                  </a:lnTo>
                  <a:lnTo>
                    <a:pt x="708" y="594"/>
                  </a:lnTo>
                  <a:lnTo>
                    <a:pt x="705" y="593"/>
                  </a:lnTo>
                  <a:lnTo>
                    <a:pt x="702" y="592"/>
                  </a:lnTo>
                  <a:lnTo>
                    <a:pt x="700" y="592"/>
                  </a:lnTo>
                  <a:lnTo>
                    <a:pt x="699" y="592"/>
                  </a:lnTo>
                  <a:lnTo>
                    <a:pt x="696" y="592"/>
                  </a:lnTo>
                  <a:lnTo>
                    <a:pt x="694" y="592"/>
                  </a:lnTo>
                  <a:lnTo>
                    <a:pt x="692" y="593"/>
                  </a:lnTo>
                  <a:lnTo>
                    <a:pt x="691" y="593"/>
                  </a:lnTo>
                  <a:lnTo>
                    <a:pt x="690" y="594"/>
                  </a:lnTo>
                  <a:lnTo>
                    <a:pt x="688" y="595"/>
                  </a:lnTo>
                  <a:lnTo>
                    <a:pt x="687" y="596"/>
                  </a:lnTo>
                  <a:lnTo>
                    <a:pt x="684" y="599"/>
                  </a:lnTo>
                  <a:lnTo>
                    <a:pt x="682" y="601"/>
                  </a:lnTo>
                  <a:lnTo>
                    <a:pt x="677" y="605"/>
                  </a:lnTo>
                  <a:lnTo>
                    <a:pt x="673" y="612"/>
                  </a:lnTo>
                  <a:lnTo>
                    <a:pt x="670" y="615"/>
                  </a:lnTo>
                  <a:lnTo>
                    <a:pt x="668" y="617"/>
                  </a:lnTo>
                  <a:lnTo>
                    <a:pt x="666" y="618"/>
                  </a:lnTo>
                  <a:lnTo>
                    <a:pt x="665" y="619"/>
                  </a:lnTo>
                  <a:lnTo>
                    <a:pt x="664" y="620"/>
                  </a:lnTo>
                  <a:lnTo>
                    <a:pt x="661" y="620"/>
                  </a:lnTo>
                  <a:lnTo>
                    <a:pt x="660" y="620"/>
                  </a:lnTo>
                  <a:lnTo>
                    <a:pt x="658" y="620"/>
                  </a:lnTo>
                  <a:lnTo>
                    <a:pt x="655" y="620"/>
                  </a:lnTo>
                  <a:lnTo>
                    <a:pt x="654" y="620"/>
                  </a:lnTo>
                  <a:lnTo>
                    <a:pt x="651" y="619"/>
                  </a:lnTo>
                  <a:lnTo>
                    <a:pt x="647" y="618"/>
                  </a:lnTo>
                  <a:lnTo>
                    <a:pt x="643" y="617"/>
                  </a:lnTo>
                  <a:lnTo>
                    <a:pt x="640" y="615"/>
                  </a:lnTo>
                  <a:lnTo>
                    <a:pt x="636" y="614"/>
                  </a:lnTo>
                  <a:lnTo>
                    <a:pt x="632" y="612"/>
                  </a:lnTo>
                  <a:lnTo>
                    <a:pt x="629" y="610"/>
                  </a:lnTo>
                  <a:lnTo>
                    <a:pt x="619" y="604"/>
                  </a:lnTo>
                  <a:lnTo>
                    <a:pt x="613" y="602"/>
                  </a:lnTo>
                  <a:lnTo>
                    <a:pt x="608" y="598"/>
                  </a:lnTo>
                  <a:lnTo>
                    <a:pt x="605" y="596"/>
                  </a:lnTo>
                  <a:lnTo>
                    <a:pt x="602" y="594"/>
                  </a:lnTo>
                  <a:lnTo>
                    <a:pt x="601" y="592"/>
                  </a:lnTo>
                  <a:lnTo>
                    <a:pt x="600" y="592"/>
                  </a:lnTo>
                  <a:lnTo>
                    <a:pt x="600" y="592"/>
                  </a:lnTo>
                  <a:lnTo>
                    <a:pt x="597" y="590"/>
                  </a:lnTo>
                  <a:lnTo>
                    <a:pt x="595" y="589"/>
                  </a:lnTo>
                  <a:lnTo>
                    <a:pt x="584" y="584"/>
                  </a:lnTo>
                  <a:lnTo>
                    <a:pt x="579" y="581"/>
                  </a:lnTo>
                  <a:lnTo>
                    <a:pt x="575" y="580"/>
                  </a:lnTo>
                  <a:lnTo>
                    <a:pt x="574" y="579"/>
                  </a:lnTo>
                  <a:lnTo>
                    <a:pt x="572" y="577"/>
                  </a:lnTo>
                  <a:lnTo>
                    <a:pt x="570" y="576"/>
                  </a:lnTo>
                  <a:lnTo>
                    <a:pt x="568" y="574"/>
                  </a:lnTo>
                  <a:lnTo>
                    <a:pt x="566" y="572"/>
                  </a:lnTo>
                  <a:lnTo>
                    <a:pt x="565" y="571"/>
                  </a:lnTo>
                  <a:lnTo>
                    <a:pt x="563" y="569"/>
                  </a:lnTo>
                  <a:lnTo>
                    <a:pt x="560" y="561"/>
                  </a:lnTo>
                  <a:lnTo>
                    <a:pt x="559" y="558"/>
                  </a:lnTo>
                  <a:lnTo>
                    <a:pt x="556" y="555"/>
                  </a:lnTo>
                  <a:lnTo>
                    <a:pt x="554" y="553"/>
                  </a:lnTo>
                  <a:lnTo>
                    <a:pt x="553" y="552"/>
                  </a:lnTo>
                  <a:lnTo>
                    <a:pt x="550" y="549"/>
                  </a:lnTo>
                  <a:lnTo>
                    <a:pt x="545" y="546"/>
                  </a:lnTo>
                  <a:lnTo>
                    <a:pt x="541" y="543"/>
                  </a:lnTo>
                  <a:lnTo>
                    <a:pt x="539" y="541"/>
                  </a:lnTo>
                  <a:lnTo>
                    <a:pt x="536" y="540"/>
                  </a:lnTo>
                  <a:lnTo>
                    <a:pt x="534" y="539"/>
                  </a:lnTo>
                  <a:lnTo>
                    <a:pt x="529" y="537"/>
                  </a:lnTo>
                  <a:lnTo>
                    <a:pt x="526" y="536"/>
                  </a:lnTo>
                  <a:lnTo>
                    <a:pt x="524" y="535"/>
                  </a:lnTo>
                  <a:lnTo>
                    <a:pt x="522" y="534"/>
                  </a:lnTo>
                  <a:lnTo>
                    <a:pt x="521" y="533"/>
                  </a:lnTo>
                  <a:lnTo>
                    <a:pt x="519" y="531"/>
                  </a:lnTo>
                  <a:lnTo>
                    <a:pt x="515" y="525"/>
                  </a:lnTo>
                  <a:lnTo>
                    <a:pt x="505" y="514"/>
                  </a:lnTo>
                  <a:lnTo>
                    <a:pt x="497" y="506"/>
                  </a:lnTo>
                  <a:lnTo>
                    <a:pt x="495" y="503"/>
                  </a:lnTo>
                  <a:lnTo>
                    <a:pt x="492" y="501"/>
                  </a:lnTo>
                  <a:lnTo>
                    <a:pt x="491" y="501"/>
                  </a:lnTo>
                  <a:lnTo>
                    <a:pt x="490" y="501"/>
                  </a:lnTo>
                  <a:lnTo>
                    <a:pt x="488" y="500"/>
                  </a:lnTo>
                  <a:lnTo>
                    <a:pt x="485" y="499"/>
                  </a:lnTo>
                  <a:lnTo>
                    <a:pt x="479" y="498"/>
                  </a:lnTo>
                  <a:lnTo>
                    <a:pt x="476" y="498"/>
                  </a:lnTo>
                  <a:lnTo>
                    <a:pt x="475" y="498"/>
                  </a:lnTo>
                  <a:lnTo>
                    <a:pt x="473" y="498"/>
                  </a:lnTo>
                  <a:lnTo>
                    <a:pt x="472" y="499"/>
                  </a:lnTo>
                  <a:lnTo>
                    <a:pt x="470" y="500"/>
                  </a:lnTo>
                  <a:lnTo>
                    <a:pt x="467" y="501"/>
                  </a:lnTo>
                  <a:lnTo>
                    <a:pt x="465" y="502"/>
                  </a:lnTo>
                  <a:lnTo>
                    <a:pt x="463" y="503"/>
                  </a:lnTo>
                  <a:lnTo>
                    <a:pt x="462" y="504"/>
                  </a:lnTo>
                  <a:lnTo>
                    <a:pt x="461" y="504"/>
                  </a:lnTo>
                  <a:lnTo>
                    <a:pt x="460" y="504"/>
                  </a:lnTo>
                  <a:lnTo>
                    <a:pt x="459" y="504"/>
                  </a:lnTo>
                  <a:lnTo>
                    <a:pt x="457" y="503"/>
                  </a:lnTo>
                  <a:lnTo>
                    <a:pt x="455" y="502"/>
                  </a:lnTo>
                  <a:lnTo>
                    <a:pt x="454" y="501"/>
                  </a:lnTo>
                  <a:lnTo>
                    <a:pt x="453" y="501"/>
                  </a:lnTo>
                  <a:lnTo>
                    <a:pt x="450" y="498"/>
                  </a:lnTo>
                  <a:lnTo>
                    <a:pt x="449" y="497"/>
                  </a:lnTo>
                  <a:lnTo>
                    <a:pt x="447" y="495"/>
                  </a:lnTo>
                  <a:lnTo>
                    <a:pt x="442" y="491"/>
                  </a:lnTo>
                  <a:lnTo>
                    <a:pt x="439" y="489"/>
                  </a:lnTo>
                  <a:lnTo>
                    <a:pt x="437" y="487"/>
                  </a:lnTo>
                  <a:lnTo>
                    <a:pt x="433" y="482"/>
                  </a:lnTo>
                  <a:lnTo>
                    <a:pt x="431" y="480"/>
                  </a:lnTo>
                  <a:lnTo>
                    <a:pt x="429" y="479"/>
                  </a:lnTo>
                  <a:lnTo>
                    <a:pt x="427" y="479"/>
                  </a:lnTo>
                  <a:lnTo>
                    <a:pt x="427" y="479"/>
                  </a:lnTo>
                  <a:lnTo>
                    <a:pt x="426" y="479"/>
                  </a:lnTo>
                  <a:lnTo>
                    <a:pt x="425" y="479"/>
                  </a:lnTo>
                  <a:lnTo>
                    <a:pt x="424" y="484"/>
                  </a:lnTo>
                  <a:lnTo>
                    <a:pt x="423" y="487"/>
                  </a:lnTo>
                  <a:lnTo>
                    <a:pt x="422" y="489"/>
                  </a:lnTo>
                  <a:lnTo>
                    <a:pt x="419" y="495"/>
                  </a:lnTo>
                  <a:lnTo>
                    <a:pt x="418" y="499"/>
                  </a:lnTo>
                  <a:lnTo>
                    <a:pt x="417" y="501"/>
                  </a:lnTo>
                  <a:lnTo>
                    <a:pt x="416" y="508"/>
                  </a:lnTo>
                  <a:lnTo>
                    <a:pt x="416" y="510"/>
                  </a:lnTo>
                  <a:lnTo>
                    <a:pt x="415" y="513"/>
                  </a:lnTo>
                  <a:lnTo>
                    <a:pt x="415" y="514"/>
                  </a:lnTo>
                  <a:lnTo>
                    <a:pt x="413" y="516"/>
                  </a:lnTo>
                  <a:lnTo>
                    <a:pt x="412" y="517"/>
                  </a:lnTo>
                  <a:lnTo>
                    <a:pt x="411" y="519"/>
                  </a:lnTo>
                  <a:lnTo>
                    <a:pt x="409" y="520"/>
                  </a:lnTo>
                  <a:lnTo>
                    <a:pt x="406" y="521"/>
                  </a:lnTo>
                  <a:lnTo>
                    <a:pt x="397" y="525"/>
                  </a:lnTo>
                  <a:lnTo>
                    <a:pt x="392" y="528"/>
                  </a:lnTo>
                  <a:lnTo>
                    <a:pt x="390" y="530"/>
                  </a:lnTo>
                  <a:lnTo>
                    <a:pt x="387" y="532"/>
                  </a:lnTo>
                  <a:lnTo>
                    <a:pt x="385" y="534"/>
                  </a:lnTo>
                  <a:lnTo>
                    <a:pt x="383" y="535"/>
                  </a:lnTo>
                  <a:lnTo>
                    <a:pt x="382" y="535"/>
                  </a:lnTo>
                  <a:lnTo>
                    <a:pt x="381" y="537"/>
                  </a:lnTo>
                  <a:lnTo>
                    <a:pt x="381" y="538"/>
                  </a:lnTo>
                  <a:lnTo>
                    <a:pt x="380" y="540"/>
                  </a:lnTo>
                  <a:lnTo>
                    <a:pt x="380" y="543"/>
                  </a:lnTo>
                  <a:lnTo>
                    <a:pt x="378" y="548"/>
                  </a:lnTo>
                  <a:lnTo>
                    <a:pt x="378" y="550"/>
                  </a:lnTo>
                  <a:lnTo>
                    <a:pt x="377" y="551"/>
                  </a:lnTo>
                  <a:lnTo>
                    <a:pt x="376" y="553"/>
                  </a:lnTo>
                  <a:lnTo>
                    <a:pt x="375" y="555"/>
                  </a:lnTo>
                  <a:lnTo>
                    <a:pt x="374" y="556"/>
                  </a:lnTo>
                  <a:lnTo>
                    <a:pt x="372" y="558"/>
                  </a:lnTo>
                  <a:lnTo>
                    <a:pt x="370" y="559"/>
                  </a:lnTo>
                  <a:lnTo>
                    <a:pt x="369" y="560"/>
                  </a:lnTo>
                  <a:lnTo>
                    <a:pt x="367" y="561"/>
                  </a:lnTo>
                  <a:lnTo>
                    <a:pt x="365" y="563"/>
                  </a:lnTo>
                  <a:lnTo>
                    <a:pt x="363" y="564"/>
                  </a:lnTo>
                  <a:lnTo>
                    <a:pt x="361" y="564"/>
                  </a:lnTo>
                  <a:lnTo>
                    <a:pt x="359" y="565"/>
                  </a:lnTo>
                  <a:lnTo>
                    <a:pt x="358" y="565"/>
                  </a:lnTo>
                  <a:lnTo>
                    <a:pt x="356" y="565"/>
                  </a:lnTo>
                  <a:lnTo>
                    <a:pt x="355" y="565"/>
                  </a:lnTo>
                  <a:lnTo>
                    <a:pt x="352" y="564"/>
                  </a:lnTo>
                  <a:lnTo>
                    <a:pt x="348" y="563"/>
                  </a:lnTo>
                  <a:lnTo>
                    <a:pt x="339" y="560"/>
                  </a:lnTo>
                  <a:lnTo>
                    <a:pt x="334" y="559"/>
                  </a:lnTo>
                  <a:lnTo>
                    <a:pt x="328" y="558"/>
                  </a:lnTo>
                  <a:lnTo>
                    <a:pt x="324" y="557"/>
                  </a:lnTo>
                  <a:lnTo>
                    <a:pt x="320" y="557"/>
                  </a:lnTo>
                  <a:lnTo>
                    <a:pt x="317" y="557"/>
                  </a:lnTo>
                  <a:lnTo>
                    <a:pt x="314" y="557"/>
                  </a:lnTo>
                  <a:lnTo>
                    <a:pt x="313" y="557"/>
                  </a:lnTo>
                  <a:lnTo>
                    <a:pt x="311" y="558"/>
                  </a:lnTo>
                  <a:lnTo>
                    <a:pt x="309" y="559"/>
                  </a:lnTo>
                  <a:lnTo>
                    <a:pt x="308" y="559"/>
                  </a:lnTo>
                  <a:lnTo>
                    <a:pt x="306" y="561"/>
                  </a:lnTo>
                  <a:lnTo>
                    <a:pt x="305" y="565"/>
                  </a:lnTo>
                  <a:lnTo>
                    <a:pt x="304" y="566"/>
                  </a:lnTo>
                  <a:lnTo>
                    <a:pt x="304" y="569"/>
                  </a:lnTo>
                  <a:lnTo>
                    <a:pt x="303" y="579"/>
                  </a:lnTo>
                  <a:lnTo>
                    <a:pt x="302" y="582"/>
                  </a:lnTo>
                  <a:lnTo>
                    <a:pt x="301" y="585"/>
                  </a:lnTo>
                  <a:lnTo>
                    <a:pt x="301" y="588"/>
                  </a:lnTo>
                  <a:lnTo>
                    <a:pt x="300" y="589"/>
                  </a:lnTo>
                  <a:lnTo>
                    <a:pt x="299" y="591"/>
                  </a:lnTo>
                  <a:lnTo>
                    <a:pt x="298" y="592"/>
                  </a:lnTo>
                  <a:lnTo>
                    <a:pt x="296" y="594"/>
                  </a:lnTo>
                  <a:lnTo>
                    <a:pt x="294" y="595"/>
                  </a:lnTo>
                  <a:lnTo>
                    <a:pt x="289" y="600"/>
                  </a:lnTo>
                  <a:lnTo>
                    <a:pt x="287" y="601"/>
                  </a:lnTo>
                  <a:lnTo>
                    <a:pt x="286" y="602"/>
                  </a:lnTo>
                  <a:lnTo>
                    <a:pt x="284" y="603"/>
                  </a:lnTo>
                  <a:lnTo>
                    <a:pt x="283" y="605"/>
                  </a:lnTo>
                  <a:lnTo>
                    <a:pt x="278" y="613"/>
                  </a:lnTo>
                  <a:lnTo>
                    <a:pt x="276" y="615"/>
                  </a:lnTo>
                  <a:lnTo>
                    <a:pt x="274" y="617"/>
                  </a:lnTo>
                  <a:lnTo>
                    <a:pt x="272" y="619"/>
                  </a:lnTo>
                  <a:lnTo>
                    <a:pt x="269" y="622"/>
                  </a:lnTo>
                  <a:lnTo>
                    <a:pt x="260" y="628"/>
                  </a:lnTo>
                  <a:lnTo>
                    <a:pt x="255" y="634"/>
                  </a:lnTo>
                  <a:lnTo>
                    <a:pt x="254" y="635"/>
                  </a:lnTo>
                  <a:lnTo>
                    <a:pt x="252" y="636"/>
                  </a:lnTo>
                  <a:lnTo>
                    <a:pt x="250" y="636"/>
                  </a:lnTo>
                  <a:lnTo>
                    <a:pt x="248" y="637"/>
                  </a:lnTo>
                  <a:lnTo>
                    <a:pt x="232" y="637"/>
                  </a:lnTo>
                  <a:lnTo>
                    <a:pt x="229" y="637"/>
                  </a:lnTo>
                  <a:lnTo>
                    <a:pt x="224" y="638"/>
                  </a:lnTo>
                  <a:lnTo>
                    <a:pt x="222" y="638"/>
                  </a:lnTo>
                  <a:lnTo>
                    <a:pt x="216" y="639"/>
                  </a:lnTo>
                  <a:lnTo>
                    <a:pt x="213" y="639"/>
                  </a:lnTo>
                  <a:lnTo>
                    <a:pt x="211" y="639"/>
                  </a:lnTo>
                  <a:lnTo>
                    <a:pt x="202" y="642"/>
                  </a:lnTo>
                  <a:lnTo>
                    <a:pt x="200" y="643"/>
                  </a:lnTo>
                  <a:lnTo>
                    <a:pt x="197" y="645"/>
                  </a:lnTo>
                  <a:lnTo>
                    <a:pt x="195" y="646"/>
                  </a:lnTo>
                  <a:lnTo>
                    <a:pt x="194" y="646"/>
                  </a:lnTo>
                  <a:lnTo>
                    <a:pt x="192" y="646"/>
                  </a:lnTo>
                  <a:lnTo>
                    <a:pt x="191" y="646"/>
                  </a:lnTo>
                  <a:lnTo>
                    <a:pt x="189" y="646"/>
                  </a:lnTo>
                  <a:lnTo>
                    <a:pt x="188" y="645"/>
                  </a:lnTo>
                  <a:lnTo>
                    <a:pt x="185" y="645"/>
                  </a:lnTo>
                  <a:lnTo>
                    <a:pt x="183" y="644"/>
                  </a:lnTo>
                  <a:lnTo>
                    <a:pt x="181" y="643"/>
                  </a:lnTo>
                  <a:lnTo>
                    <a:pt x="180" y="642"/>
                  </a:lnTo>
                  <a:lnTo>
                    <a:pt x="179" y="641"/>
                  </a:lnTo>
                  <a:lnTo>
                    <a:pt x="178" y="640"/>
                  </a:lnTo>
                  <a:lnTo>
                    <a:pt x="177" y="638"/>
                  </a:lnTo>
                  <a:lnTo>
                    <a:pt x="176" y="637"/>
                  </a:lnTo>
                  <a:lnTo>
                    <a:pt x="176" y="635"/>
                  </a:lnTo>
                  <a:lnTo>
                    <a:pt x="175" y="633"/>
                  </a:lnTo>
                  <a:lnTo>
                    <a:pt x="174" y="630"/>
                  </a:lnTo>
                  <a:lnTo>
                    <a:pt x="173" y="626"/>
                  </a:lnTo>
                  <a:lnTo>
                    <a:pt x="171" y="620"/>
                  </a:lnTo>
                  <a:lnTo>
                    <a:pt x="171" y="617"/>
                  </a:lnTo>
                  <a:lnTo>
                    <a:pt x="170" y="615"/>
                  </a:lnTo>
                  <a:lnTo>
                    <a:pt x="169" y="614"/>
                  </a:lnTo>
                  <a:lnTo>
                    <a:pt x="168" y="612"/>
                  </a:lnTo>
                  <a:lnTo>
                    <a:pt x="167" y="611"/>
                  </a:lnTo>
                  <a:lnTo>
                    <a:pt x="166" y="611"/>
                  </a:lnTo>
                  <a:lnTo>
                    <a:pt x="165" y="610"/>
                  </a:lnTo>
                  <a:lnTo>
                    <a:pt x="164" y="610"/>
                  </a:lnTo>
                  <a:lnTo>
                    <a:pt x="163" y="610"/>
                  </a:lnTo>
                  <a:lnTo>
                    <a:pt x="161" y="611"/>
                  </a:lnTo>
                  <a:lnTo>
                    <a:pt x="158" y="612"/>
                  </a:lnTo>
                  <a:lnTo>
                    <a:pt x="155" y="613"/>
                  </a:lnTo>
                  <a:lnTo>
                    <a:pt x="154" y="614"/>
                  </a:lnTo>
                  <a:lnTo>
                    <a:pt x="150" y="615"/>
                  </a:lnTo>
                  <a:lnTo>
                    <a:pt x="149" y="615"/>
                  </a:lnTo>
                  <a:lnTo>
                    <a:pt x="147" y="616"/>
                  </a:lnTo>
                  <a:lnTo>
                    <a:pt x="144" y="616"/>
                  </a:lnTo>
                  <a:lnTo>
                    <a:pt x="143" y="616"/>
                  </a:lnTo>
                  <a:lnTo>
                    <a:pt x="142" y="615"/>
                  </a:lnTo>
                  <a:lnTo>
                    <a:pt x="139" y="615"/>
                  </a:lnTo>
                  <a:lnTo>
                    <a:pt x="137" y="615"/>
                  </a:lnTo>
                  <a:lnTo>
                    <a:pt x="131" y="612"/>
                  </a:lnTo>
                  <a:lnTo>
                    <a:pt x="129" y="611"/>
                  </a:lnTo>
                  <a:lnTo>
                    <a:pt x="127" y="611"/>
                  </a:lnTo>
                  <a:lnTo>
                    <a:pt x="125" y="611"/>
                  </a:lnTo>
                  <a:lnTo>
                    <a:pt x="123" y="611"/>
                  </a:lnTo>
                  <a:lnTo>
                    <a:pt x="120" y="612"/>
                  </a:lnTo>
                  <a:lnTo>
                    <a:pt x="119" y="613"/>
                  </a:lnTo>
                  <a:lnTo>
                    <a:pt x="115" y="615"/>
                  </a:lnTo>
                  <a:lnTo>
                    <a:pt x="113" y="616"/>
                  </a:lnTo>
                  <a:lnTo>
                    <a:pt x="111" y="616"/>
                  </a:lnTo>
                  <a:lnTo>
                    <a:pt x="109" y="616"/>
                  </a:lnTo>
                  <a:lnTo>
                    <a:pt x="108" y="616"/>
                  </a:lnTo>
                  <a:lnTo>
                    <a:pt x="108" y="616"/>
                  </a:lnTo>
                  <a:lnTo>
                    <a:pt x="106" y="615"/>
                  </a:lnTo>
                  <a:lnTo>
                    <a:pt x="105" y="615"/>
                  </a:lnTo>
                  <a:lnTo>
                    <a:pt x="104" y="614"/>
                  </a:lnTo>
                  <a:lnTo>
                    <a:pt x="103" y="613"/>
                  </a:lnTo>
                  <a:lnTo>
                    <a:pt x="102" y="612"/>
                  </a:lnTo>
                  <a:lnTo>
                    <a:pt x="102" y="611"/>
                  </a:lnTo>
                  <a:lnTo>
                    <a:pt x="101" y="608"/>
                  </a:lnTo>
                  <a:lnTo>
                    <a:pt x="99" y="605"/>
                  </a:lnTo>
                  <a:lnTo>
                    <a:pt x="97" y="603"/>
                  </a:lnTo>
                  <a:lnTo>
                    <a:pt x="96" y="600"/>
                  </a:lnTo>
                  <a:lnTo>
                    <a:pt x="95" y="598"/>
                  </a:lnTo>
                  <a:lnTo>
                    <a:pt x="93" y="595"/>
                  </a:lnTo>
                  <a:lnTo>
                    <a:pt x="91" y="593"/>
                  </a:lnTo>
                  <a:lnTo>
                    <a:pt x="88" y="592"/>
                  </a:lnTo>
                  <a:lnTo>
                    <a:pt x="85" y="589"/>
                  </a:lnTo>
                  <a:lnTo>
                    <a:pt x="81" y="586"/>
                  </a:lnTo>
                  <a:lnTo>
                    <a:pt x="75" y="582"/>
                  </a:lnTo>
                  <a:lnTo>
                    <a:pt x="74" y="581"/>
                  </a:lnTo>
                  <a:lnTo>
                    <a:pt x="72" y="580"/>
                  </a:lnTo>
                  <a:lnTo>
                    <a:pt x="69" y="577"/>
                  </a:lnTo>
                  <a:lnTo>
                    <a:pt x="68" y="575"/>
                  </a:lnTo>
                  <a:lnTo>
                    <a:pt x="67" y="574"/>
                  </a:lnTo>
                  <a:lnTo>
                    <a:pt x="62" y="564"/>
                  </a:lnTo>
                  <a:lnTo>
                    <a:pt x="55" y="552"/>
                  </a:lnTo>
                  <a:lnTo>
                    <a:pt x="54" y="549"/>
                  </a:lnTo>
                  <a:lnTo>
                    <a:pt x="53" y="547"/>
                  </a:lnTo>
                  <a:lnTo>
                    <a:pt x="47" y="531"/>
                  </a:lnTo>
                  <a:lnTo>
                    <a:pt x="45" y="527"/>
                  </a:lnTo>
                  <a:lnTo>
                    <a:pt x="44" y="524"/>
                  </a:lnTo>
                  <a:lnTo>
                    <a:pt x="40" y="518"/>
                  </a:lnTo>
                  <a:lnTo>
                    <a:pt x="39" y="514"/>
                  </a:lnTo>
                  <a:lnTo>
                    <a:pt x="37" y="513"/>
                  </a:lnTo>
                  <a:lnTo>
                    <a:pt x="33" y="508"/>
                  </a:lnTo>
                  <a:lnTo>
                    <a:pt x="32" y="505"/>
                  </a:lnTo>
                  <a:lnTo>
                    <a:pt x="29" y="501"/>
                  </a:lnTo>
                  <a:lnTo>
                    <a:pt x="27" y="497"/>
                  </a:lnTo>
                  <a:lnTo>
                    <a:pt x="25" y="494"/>
                  </a:lnTo>
                  <a:lnTo>
                    <a:pt x="21" y="484"/>
                  </a:lnTo>
                  <a:lnTo>
                    <a:pt x="17" y="475"/>
                  </a:lnTo>
                  <a:lnTo>
                    <a:pt x="14" y="470"/>
                  </a:lnTo>
                  <a:lnTo>
                    <a:pt x="13" y="466"/>
                  </a:lnTo>
                  <a:lnTo>
                    <a:pt x="12" y="463"/>
                  </a:lnTo>
                  <a:lnTo>
                    <a:pt x="11" y="460"/>
                  </a:lnTo>
                  <a:lnTo>
                    <a:pt x="10" y="454"/>
                  </a:lnTo>
                  <a:lnTo>
                    <a:pt x="9" y="450"/>
                  </a:lnTo>
                  <a:lnTo>
                    <a:pt x="8" y="445"/>
                  </a:lnTo>
                  <a:lnTo>
                    <a:pt x="6" y="438"/>
                  </a:lnTo>
                  <a:lnTo>
                    <a:pt x="5" y="434"/>
                  </a:lnTo>
                  <a:lnTo>
                    <a:pt x="5" y="433"/>
                  </a:lnTo>
                  <a:lnTo>
                    <a:pt x="2" y="429"/>
                  </a:lnTo>
                  <a:lnTo>
                    <a:pt x="1" y="427"/>
                  </a:lnTo>
                  <a:lnTo>
                    <a:pt x="1" y="425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0" y="419"/>
                  </a:lnTo>
                  <a:lnTo>
                    <a:pt x="1" y="417"/>
                  </a:lnTo>
                  <a:lnTo>
                    <a:pt x="2" y="415"/>
                  </a:lnTo>
                  <a:lnTo>
                    <a:pt x="2" y="413"/>
                  </a:lnTo>
                  <a:lnTo>
                    <a:pt x="3" y="411"/>
                  </a:lnTo>
                  <a:lnTo>
                    <a:pt x="4" y="409"/>
                  </a:lnTo>
                  <a:lnTo>
                    <a:pt x="6" y="406"/>
                  </a:lnTo>
                  <a:lnTo>
                    <a:pt x="12" y="397"/>
                  </a:lnTo>
                  <a:lnTo>
                    <a:pt x="14" y="394"/>
                  </a:lnTo>
                  <a:lnTo>
                    <a:pt x="15" y="392"/>
                  </a:lnTo>
                  <a:lnTo>
                    <a:pt x="15" y="389"/>
                  </a:lnTo>
                  <a:lnTo>
                    <a:pt x="16" y="388"/>
                  </a:lnTo>
                  <a:lnTo>
                    <a:pt x="17" y="379"/>
                  </a:lnTo>
                  <a:lnTo>
                    <a:pt x="17" y="377"/>
                  </a:lnTo>
                  <a:lnTo>
                    <a:pt x="18" y="374"/>
                  </a:lnTo>
                  <a:lnTo>
                    <a:pt x="19" y="370"/>
                  </a:lnTo>
                  <a:lnTo>
                    <a:pt x="21" y="366"/>
                  </a:lnTo>
                  <a:lnTo>
                    <a:pt x="22" y="364"/>
                  </a:lnTo>
                  <a:lnTo>
                    <a:pt x="24" y="361"/>
                  </a:lnTo>
                  <a:lnTo>
                    <a:pt x="25" y="360"/>
                  </a:lnTo>
                  <a:lnTo>
                    <a:pt x="26" y="358"/>
                  </a:lnTo>
                  <a:lnTo>
                    <a:pt x="28" y="356"/>
                  </a:lnTo>
                  <a:lnTo>
                    <a:pt x="30" y="354"/>
                  </a:lnTo>
                  <a:lnTo>
                    <a:pt x="39" y="348"/>
                  </a:lnTo>
                  <a:lnTo>
                    <a:pt x="45" y="343"/>
                  </a:lnTo>
                  <a:lnTo>
                    <a:pt x="46" y="342"/>
                  </a:lnTo>
                  <a:lnTo>
                    <a:pt x="48" y="340"/>
                  </a:lnTo>
                  <a:lnTo>
                    <a:pt x="51" y="339"/>
                  </a:lnTo>
                  <a:lnTo>
                    <a:pt x="52" y="338"/>
                  </a:lnTo>
                  <a:lnTo>
                    <a:pt x="53" y="338"/>
                  </a:lnTo>
                  <a:lnTo>
                    <a:pt x="54" y="337"/>
                  </a:lnTo>
                  <a:lnTo>
                    <a:pt x="55" y="335"/>
                  </a:lnTo>
                  <a:lnTo>
                    <a:pt x="55" y="334"/>
                  </a:lnTo>
                  <a:lnTo>
                    <a:pt x="56" y="333"/>
                  </a:lnTo>
                  <a:lnTo>
                    <a:pt x="56" y="328"/>
                  </a:lnTo>
                  <a:lnTo>
                    <a:pt x="56" y="326"/>
                  </a:lnTo>
                  <a:lnTo>
                    <a:pt x="57" y="324"/>
                  </a:lnTo>
                  <a:lnTo>
                    <a:pt x="57" y="321"/>
                  </a:lnTo>
                  <a:lnTo>
                    <a:pt x="58" y="318"/>
                  </a:lnTo>
                  <a:lnTo>
                    <a:pt x="59" y="314"/>
                  </a:lnTo>
                  <a:lnTo>
                    <a:pt x="61" y="310"/>
                  </a:lnTo>
                  <a:lnTo>
                    <a:pt x="62" y="308"/>
                  </a:lnTo>
                  <a:lnTo>
                    <a:pt x="63" y="306"/>
                  </a:lnTo>
                  <a:lnTo>
                    <a:pt x="64" y="304"/>
                  </a:lnTo>
                  <a:lnTo>
                    <a:pt x="65" y="301"/>
                  </a:lnTo>
                  <a:lnTo>
                    <a:pt x="66" y="299"/>
                  </a:lnTo>
                  <a:lnTo>
                    <a:pt x="68" y="297"/>
                  </a:lnTo>
                  <a:lnTo>
                    <a:pt x="73" y="293"/>
                  </a:lnTo>
                  <a:lnTo>
                    <a:pt x="74" y="290"/>
                  </a:lnTo>
                  <a:lnTo>
                    <a:pt x="76" y="287"/>
                  </a:lnTo>
                  <a:lnTo>
                    <a:pt x="77" y="286"/>
                  </a:lnTo>
                  <a:lnTo>
                    <a:pt x="77" y="285"/>
                  </a:lnTo>
                  <a:lnTo>
                    <a:pt x="78" y="282"/>
                  </a:lnTo>
                  <a:lnTo>
                    <a:pt x="79" y="275"/>
                  </a:lnTo>
                  <a:lnTo>
                    <a:pt x="79" y="273"/>
                  </a:lnTo>
                  <a:lnTo>
                    <a:pt x="79" y="270"/>
                  </a:lnTo>
                  <a:lnTo>
                    <a:pt x="79" y="266"/>
                  </a:lnTo>
                  <a:lnTo>
                    <a:pt x="78" y="257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2"/>
                  </a:lnTo>
                  <a:lnTo>
                    <a:pt x="79" y="251"/>
                  </a:lnTo>
                  <a:lnTo>
                    <a:pt x="80" y="250"/>
                  </a:lnTo>
                  <a:lnTo>
                    <a:pt x="82" y="249"/>
                  </a:lnTo>
                  <a:lnTo>
                    <a:pt x="84" y="248"/>
                  </a:lnTo>
                  <a:lnTo>
                    <a:pt x="88" y="247"/>
                  </a:lnTo>
                  <a:lnTo>
                    <a:pt x="91" y="247"/>
                  </a:lnTo>
                  <a:lnTo>
                    <a:pt x="93" y="247"/>
                  </a:lnTo>
                  <a:lnTo>
                    <a:pt x="95" y="247"/>
                  </a:lnTo>
                  <a:lnTo>
                    <a:pt x="97" y="247"/>
                  </a:lnTo>
                  <a:lnTo>
                    <a:pt x="98" y="248"/>
                  </a:lnTo>
                  <a:lnTo>
                    <a:pt x="103" y="250"/>
                  </a:lnTo>
                  <a:lnTo>
                    <a:pt x="108" y="252"/>
                  </a:lnTo>
                  <a:lnTo>
                    <a:pt x="111" y="252"/>
                  </a:lnTo>
                  <a:lnTo>
                    <a:pt x="115" y="255"/>
                  </a:lnTo>
                  <a:lnTo>
                    <a:pt x="122" y="260"/>
                  </a:lnTo>
                  <a:lnTo>
                    <a:pt x="125" y="261"/>
                  </a:lnTo>
                  <a:lnTo>
                    <a:pt x="129" y="263"/>
                  </a:lnTo>
                  <a:lnTo>
                    <a:pt x="132" y="264"/>
                  </a:lnTo>
                  <a:lnTo>
                    <a:pt x="135" y="264"/>
                  </a:lnTo>
                  <a:lnTo>
                    <a:pt x="137" y="265"/>
                  </a:lnTo>
                  <a:lnTo>
                    <a:pt x="140" y="265"/>
                  </a:lnTo>
                  <a:lnTo>
                    <a:pt x="142" y="265"/>
                  </a:lnTo>
                  <a:lnTo>
                    <a:pt x="143" y="265"/>
                  </a:lnTo>
                  <a:lnTo>
                    <a:pt x="146" y="265"/>
                  </a:lnTo>
                  <a:lnTo>
                    <a:pt x="148" y="264"/>
                  </a:lnTo>
                  <a:lnTo>
                    <a:pt x="150" y="263"/>
                  </a:lnTo>
                  <a:lnTo>
                    <a:pt x="151" y="263"/>
                  </a:lnTo>
                  <a:lnTo>
                    <a:pt x="153" y="263"/>
                  </a:lnTo>
                  <a:lnTo>
                    <a:pt x="154" y="262"/>
                  </a:lnTo>
                  <a:lnTo>
                    <a:pt x="154" y="261"/>
                  </a:lnTo>
                  <a:lnTo>
                    <a:pt x="156" y="258"/>
                  </a:lnTo>
                  <a:lnTo>
                    <a:pt x="157" y="257"/>
                  </a:lnTo>
                  <a:lnTo>
                    <a:pt x="158" y="255"/>
                  </a:lnTo>
                  <a:lnTo>
                    <a:pt x="159" y="253"/>
                  </a:lnTo>
                  <a:lnTo>
                    <a:pt x="160" y="251"/>
                  </a:lnTo>
                  <a:lnTo>
                    <a:pt x="164" y="237"/>
                  </a:lnTo>
                  <a:lnTo>
                    <a:pt x="165" y="233"/>
                  </a:lnTo>
                  <a:lnTo>
                    <a:pt x="167" y="229"/>
                  </a:lnTo>
                  <a:lnTo>
                    <a:pt x="168" y="227"/>
                  </a:lnTo>
                  <a:lnTo>
                    <a:pt x="169" y="225"/>
                  </a:lnTo>
                  <a:lnTo>
                    <a:pt x="170" y="223"/>
                  </a:lnTo>
                  <a:lnTo>
                    <a:pt x="171" y="222"/>
                  </a:lnTo>
                  <a:lnTo>
                    <a:pt x="172" y="221"/>
                  </a:lnTo>
                  <a:lnTo>
                    <a:pt x="175" y="218"/>
                  </a:lnTo>
                  <a:lnTo>
                    <a:pt x="177" y="217"/>
                  </a:lnTo>
                  <a:lnTo>
                    <a:pt x="185" y="212"/>
                  </a:lnTo>
                  <a:lnTo>
                    <a:pt x="188" y="210"/>
                  </a:lnTo>
                  <a:lnTo>
                    <a:pt x="192" y="207"/>
                  </a:lnTo>
                  <a:lnTo>
                    <a:pt x="196" y="205"/>
                  </a:lnTo>
                  <a:lnTo>
                    <a:pt x="199" y="202"/>
                  </a:lnTo>
                  <a:lnTo>
                    <a:pt x="201" y="199"/>
                  </a:lnTo>
                  <a:lnTo>
                    <a:pt x="203" y="197"/>
                  </a:lnTo>
                  <a:lnTo>
                    <a:pt x="204" y="196"/>
                  </a:lnTo>
                  <a:lnTo>
                    <a:pt x="204" y="195"/>
                  </a:lnTo>
                  <a:lnTo>
                    <a:pt x="204" y="195"/>
                  </a:lnTo>
                  <a:lnTo>
                    <a:pt x="207" y="195"/>
                  </a:lnTo>
                  <a:lnTo>
                    <a:pt x="219" y="200"/>
                  </a:lnTo>
                  <a:lnTo>
                    <a:pt x="231" y="205"/>
                  </a:lnTo>
                  <a:lnTo>
                    <a:pt x="236" y="207"/>
                  </a:lnTo>
                  <a:lnTo>
                    <a:pt x="243" y="209"/>
                  </a:lnTo>
                  <a:lnTo>
                    <a:pt x="256" y="215"/>
                  </a:lnTo>
                  <a:lnTo>
                    <a:pt x="264" y="218"/>
                  </a:lnTo>
                  <a:lnTo>
                    <a:pt x="267" y="219"/>
                  </a:lnTo>
                  <a:lnTo>
                    <a:pt x="269" y="220"/>
                  </a:lnTo>
                  <a:lnTo>
                    <a:pt x="272" y="222"/>
                  </a:lnTo>
                  <a:lnTo>
                    <a:pt x="275" y="225"/>
                  </a:lnTo>
                  <a:lnTo>
                    <a:pt x="279" y="229"/>
                  </a:lnTo>
                  <a:lnTo>
                    <a:pt x="280" y="229"/>
                  </a:lnTo>
                  <a:lnTo>
                    <a:pt x="282" y="231"/>
                  </a:lnTo>
                  <a:lnTo>
                    <a:pt x="284" y="232"/>
                  </a:lnTo>
                  <a:lnTo>
                    <a:pt x="286" y="232"/>
                  </a:lnTo>
                  <a:lnTo>
                    <a:pt x="289" y="233"/>
                  </a:lnTo>
                  <a:lnTo>
                    <a:pt x="295" y="234"/>
                  </a:lnTo>
                  <a:lnTo>
                    <a:pt x="299" y="234"/>
                  </a:lnTo>
                  <a:lnTo>
                    <a:pt x="310" y="237"/>
                  </a:lnTo>
                  <a:lnTo>
                    <a:pt x="314" y="237"/>
                  </a:lnTo>
                  <a:lnTo>
                    <a:pt x="317" y="238"/>
                  </a:lnTo>
                  <a:lnTo>
                    <a:pt x="321" y="238"/>
                  </a:lnTo>
                  <a:lnTo>
                    <a:pt x="324" y="238"/>
                  </a:lnTo>
                  <a:lnTo>
                    <a:pt x="326" y="237"/>
                  </a:lnTo>
                  <a:lnTo>
                    <a:pt x="329" y="236"/>
                  </a:lnTo>
                  <a:lnTo>
                    <a:pt x="331" y="235"/>
                  </a:lnTo>
                  <a:lnTo>
                    <a:pt x="333" y="234"/>
                  </a:lnTo>
                  <a:lnTo>
                    <a:pt x="334" y="233"/>
                  </a:lnTo>
                  <a:lnTo>
                    <a:pt x="336" y="232"/>
                  </a:lnTo>
                  <a:lnTo>
                    <a:pt x="336" y="230"/>
                  </a:lnTo>
                  <a:lnTo>
                    <a:pt x="338" y="229"/>
                  </a:lnTo>
                  <a:lnTo>
                    <a:pt x="340" y="225"/>
                  </a:lnTo>
                  <a:lnTo>
                    <a:pt x="342" y="220"/>
                  </a:lnTo>
                  <a:lnTo>
                    <a:pt x="347" y="209"/>
                  </a:lnTo>
                  <a:lnTo>
                    <a:pt x="349" y="205"/>
                  </a:lnTo>
                  <a:lnTo>
                    <a:pt x="352" y="199"/>
                  </a:lnTo>
                  <a:lnTo>
                    <a:pt x="356" y="193"/>
                  </a:lnTo>
                  <a:lnTo>
                    <a:pt x="358" y="189"/>
                  </a:lnTo>
                  <a:lnTo>
                    <a:pt x="359" y="187"/>
                  </a:lnTo>
                  <a:lnTo>
                    <a:pt x="360" y="185"/>
                  </a:lnTo>
                  <a:lnTo>
                    <a:pt x="362" y="184"/>
                  </a:lnTo>
                  <a:lnTo>
                    <a:pt x="363" y="184"/>
                  </a:lnTo>
                  <a:lnTo>
                    <a:pt x="365" y="183"/>
                  </a:lnTo>
                  <a:lnTo>
                    <a:pt x="366" y="182"/>
                  </a:lnTo>
                  <a:lnTo>
                    <a:pt x="368" y="182"/>
                  </a:lnTo>
                  <a:lnTo>
                    <a:pt x="370" y="181"/>
                  </a:lnTo>
                  <a:lnTo>
                    <a:pt x="381" y="179"/>
                  </a:lnTo>
                  <a:lnTo>
                    <a:pt x="391" y="177"/>
                  </a:lnTo>
                  <a:lnTo>
                    <a:pt x="394" y="176"/>
                  </a:lnTo>
                  <a:lnTo>
                    <a:pt x="397" y="176"/>
                  </a:lnTo>
                  <a:lnTo>
                    <a:pt x="400" y="177"/>
                  </a:lnTo>
                  <a:lnTo>
                    <a:pt x="407" y="178"/>
                  </a:lnTo>
                  <a:lnTo>
                    <a:pt x="409" y="178"/>
                  </a:lnTo>
                  <a:lnTo>
                    <a:pt x="412" y="178"/>
                  </a:lnTo>
                  <a:lnTo>
                    <a:pt x="418" y="178"/>
                  </a:lnTo>
                  <a:lnTo>
                    <a:pt x="421" y="178"/>
                  </a:lnTo>
                  <a:lnTo>
                    <a:pt x="424" y="179"/>
                  </a:lnTo>
                  <a:lnTo>
                    <a:pt x="427" y="179"/>
                  </a:lnTo>
                  <a:lnTo>
                    <a:pt x="433" y="181"/>
                  </a:lnTo>
                  <a:lnTo>
                    <a:pt x="448" y="184"/>
                  </a:lnTo>
                  <a:lnTo>
                    <a:pt x="451" y="185"/>
                  </a:lnTo>
                  <a:lnTo>
                    <a:pt x="454" y="185"/>
                  </a:lnTo>
                  <a:lnTo>
                    <a:pt x="457" y="186"/>
                  </a:lnTo>
                  <a:lnTo>
                    <a:pt x="461" y="186"/>
                  </a:lnTo>
                  <a:lnTo>
                    <a:pt x="463" y="186"/>
                  </a:lnTo>
                  <a:lnTo>
                    <a:pt x="465" y="185"/>
                  </a:lnTo>
                  <a:lnTo>
                    <a:pt x="468" y="185"/>
                  </a:lnTo>
                  <a:lnTo>
                    <a:pt x="471" y="184"/>
                  </a:lnTo>
                  <a:lnTo>
                    <a:pt x="474" y="184"/>
                  </a:lnTo>
                  <a:lnTo>
                    <a:pt x="477" y="183"/>
                  </a:lnTo>
                  <a:lnTo>
                    <a:pt x="480" y="182"/>
                  </a:lnTo>
                  <a:lnTo>
                    <a:pt x="482" y="180"/>
                  </a:lnTo>
                  <a:lnTo>
                    <a:pt x="483" y="180"/>
                  </a:lnTo>
                  <a:lnTo>
                    <a:pt x="483" y="178"/>
                  </a:lnTo>
                  <a:lnTo>
                    <a:pt x="484" y="177"/>
                  </a:lnTo>
                  <a:lnTo>
                    <a:pt x="485" y="176"/>
                  </a:lnTo>
                  <a:lnTo>
                    <a:pt x="486" y="174"/>
                  </a:lnTo>
                  <a:lnTo>
                    <a:pt x="487" y="173"/>
                  </a:lnTo>
                  <a:lnTo>
                    <a:pt x="487" y="172"/>
                  </a:lnTo>
                  <a:lnTo>
                    <a:pt x="488" y="169"/>
                  </a:lnTo>
                  <a:lnTo>
                    <a:pt x="488" y="167"/>
                  </a:lnTo>
                  <a:lnTo>
                    <a:pt x="488" y="164"/>
                  </a:lnTo>
                  <a:lnTo>
                    <a:pt x="489" y="152"/>
                  </a:lnTo>
                  <a:lnTo>
                    <a:pt x="490" y="140"/>
                  </a:lnTo>
                  <a:lnTo>
                    <a:pt x="490" y="138"/>
                  </a:lnTo>
                  <a:lnTo>
                    <a:pt x="489" y="131"/>
                  </a:lnTo>
                  <a:lnTo>
                    <a:pt x="488" y="127"/>
                  </a:lnTo>
                  <a:lnTo>
                    <a:pt x="488" y="123"/>
                  </a:lnTo>
                  <a:lnTo>
                    <a:pt x="488" y="121"/>
                  </a:lnTo>
                  <a:lnTo>
                    <a:pt x="489" y="117"/>
                  </a:lnTo>
                  <a:lnTo>
                    <a:pt x="490" y="115"/>
                  </a:lnTo>
                  <a:lnTo>
                    <a:pt x="495" y="100"/>
                  </a:lnTo>
                  <a:lnTo>
                    <a:pt x="496" y="96"/>
                  </a:lnTo>
                  <a:lnTo>
                    <a:pt x="498" y="93"/>
                  </a:lnTo>
                  <a:lnTo>
                    <a:pt x="498" y="88"/>
                  </a:lnTo>
                  <a:lnTo>
                    <a:pt x="499" y="83"/>
                  </a:lnTo>
                  <a:lnTo>
                    <a:pt x="500" y="70"/>
                  </a:lnTo>
                  <a:lnTo>
                    <a:pt x="500" y="66"/>
                  </a:lnTo>
                  <a:lnTo>
                    <a:pt x="500" y="64"/>
                  </a:lnTo>
                  <a:lnTo>
                    <a:pt x="500" y="62"/>
                  </a:lnTo>
                  <a:lnTo>
                    <a:pt x="499" y="60"/>
                  </a:lnTo>
                  <a:lnTo>
                    <a:pt x="498" y="59"/>
                  </a:lnTo>
                  <a:lnTo>
                    <a:pt x="498" y="57"/>
                  </a:lnTo>
                  <a:lnTo>
                    <a:pt x="497" y="55"/>
                  </a:lnTo>
                  <a:lnTo>
                    <a:pt x="496" y="53"/>
                  </a:lnTo>
                  <a:lnTo>
                    <a:pt x="495" y="52"/>
                  </a:lnTo>
                  <a:lnTo>
                    <a:pt x="495" y="51"/>
                  </a:lnTo>
                  <a:lnTo>
                    <a:pt x="493" y="50"/>
                  </a:lnTo>
                  <a:lnTo>
                    <a:pt x="491" y="49"/>
                  </a:lnTo>
                  <a:lnTo>
                    <a:pt x="489" y="48"/>
                  </a:lnTo>
                  <a:lnTo>
                    <a:pt x="483" y="47"/>
                  </a:lnTo>
                  <a:lnTo>
                    <a:pt x="482" y="46"/>
                  </a:lnTo>
                  <a:lnTo>
                    <a:pt x="480" y="45"/>
                  </a:lnTo>
                  <a:lnTo>
                    <a:pt x="478" y="44"/>
                  </a:lnTo>
                  <a:lnTo>
                    <a:pt x="476" y="42"/>
                  </a:lnTo>
                  <a:lnTo>
                    <a:pt x="475" y="41"/>
                  </a:lnTo>
                  <a:lnTo>
                    <a:pt x="474" y="39"/>
                  </a:lnTo>
                  <a:lnTo>
                    <a:pt x="473" y="38"/>
                  </a:lnTo>
                  <a:lnTo>
                    <a:pt x="473" y="37"/>
                  </a:lnTo>
                  <a:lnTo>
                    <a:pt x="473" y="36"/>
                  </a:lnTo>
                  <a:lnTo>
                    <a:pt x="473" y="35"/>
                  </a:lnTo>
                  <a:lnTo>
                    <a:pt x="473" y="33"/>
                  </a:lnTo>
                  <a:lnTo>
                    <a:pt x="473" y="31"/>
                  </a:lnTo>
                  <a:lnTo>
                    <a:pt x="474" y="29"/>
                  </a:lnTo>
                  <a:lnTo>
                    <a:pt x="475" y="26"/>
                  </a:lnTo>
                  <a:lnTo>
                    <a:pt x="476" y="25"/>
                  </a:lnTo>
                  <a:lnTo>
                    <a:pt x="478" y="23"/>
                  </a:lnTo>
                  <a:lnTo>
                    <a:pt x="479" y="21"/>
                  </a:lnTo>
                  <a:lnTo>
                    <a:pt x="481" y="19"/>
                  </a:lnTo>
                  <a:lnTo>
                    <a:pt x="483" y="16"/>
                  </a:lnTo>
                  <a:lnTo>
                    <a:pt x="486" y="14"/>
                  </a:lnTo>
                  <a:lnTo>
                    <a:pt x="497" y="6"/>
                  </a:lnTo>
                  <a:lnTo>
                    <a:pt x="502" y="3"/>
                  </a:lnTo>
                  <a:lnTo>
                    <a:pt x="504" y="1"/>
                  </a:lnTo>
                  <a:lnTo>
                    <a:pt x="505" y="0"/>
                  </a:lnTo>
                  <a:lnTo>
                    <a:pt x="506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7" name="Freeform 96">
              <a:extLst>
                <a:ext uri="{FF2B5EF4-FFF2-40B4-BE49-F238E27FC236}">
                  <a16:creationId xmlns:a16="http://schemas.microsoft.com/office/drawing/2014/main" id="{1965F761-FD56-4BB6-AB91-3FBBA28B67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" y="1303"/>
              <a:ext cx="1116" cy="865"/>
            </a:xfrm>
            <a:custGeom>
              <a:avLst/>
              <a:gdLst>
                <a:gd name="T0" fmla="*/ 420 w 1116"/>
                <a:gd name="T1" fmla="*/ 31 h 865"/>
                <a:gd name="T2" fmla="*/ 496 w 1116"/>
                <a:gd name="T3" fmla="*/ 40 h 865"/>
                <a:gd name="T4" fmla="*/ 541 w 1116"/>
                <a:gd name="T5" fmla="*/ 61 h 865"/>
                <a:gd name="T6" fmla="*/ 577 w 1116"/>
                <a:gd name="T7" fmla="*/ 121 h 865"/>
                <a:gd name="T8" fmla="*/ 646 w 1116"/>
                <a:gd name="T9" fmla="*/ 107 h 865"/>
                <a:gd name="T10" fmla="*/ 674 w 1116"/>
                <a:gd name="T11" fmla="*/ 169 h 865"/>
                <a:gd name="T12" fmla="*/ 672 w 1116"/>
                <a:gd name="T13" fmla="*/ 201 h 865"/>
                <a:gd name="T14" fmla="*/ 711 w 1116"/>
                <a:gd name="T15" fmla="*/ 182 h 865"/>
                <a:gd name="T16" fmla="*/ 762 w 1116"/>
                <a:gd name="T17" fmla="*/ 140 h 865"/>
                <a:gd name="T18" fmla="*/ 817 w 1116"/>
                <a:gd name="T19" fmla="*/ 169 h 865"/>
                <a:gd name="T20" fmla="*/ 844 w 1116"/>
                <a:gd name="T21" fmla="*/ 131 h 865"/>
                <a:gd name="T22" fmla="*/ 895 w 1116"/>
                <a:gd name="T23" fmla="*/ 131 h 865"/>
                <a:gd name="T24" fmla="*/ 966 w 1116"/>
                <a:gd name="T25" fmla="*/ 180 h 865"/>
                <a:gd name="T26" fmla="*/ 989 w 1116"/>
                <a:gd name="T27" fmla="*/ 238 h 865"/>
                <a:gd name="T28" fmla="*/ 958 w 1116"/>
                <a:gd name="T29" fmla="*/ 299 h 865"/>
                <a:gd name="T30" fmla="*/ 909 w 1116"/>
                <a:gd name="T31" fmla="*/ 323 h 865"/>
                <a:gd name="T32" fmla="*/ 863 w 1116"/>
                <a:gd name="T33" fmla="*/ 354 h 865"/>
                <a:gd name="T34" fmla="*/ 839 w 1116"/>
                <a:gd name="T35" fmla="*/ 386 h 865"/>
                <a:gd name="T36" fmla="*/ 824 w 1116"/>
                <a:gd name="T37" fmla="*/ 408 h 865"/>
                <a:gd name="T38" fmla="*/ 857 w 1116"/>
                <a:gd name="T39" fmla="*/ 441 h 865"/>
                <a:gd name="T40" fmla="*/ 892 w 1116"/>
                <a:gd name="T41" fmla="*/ 473 h 865"/>
                <a:gd name="T42" fmla="*/ 941 w 1116"/>
                <a:gd name="T43" fmla="*/ 473 h 865"/>
                <a:gd name="T44" fmla="*/ 975 w 1116"/>
                <a:gd name="T45" fmla="*/ 530 h 865"/>
                <a:gd name="T46" fmla="*/ 1039 w 1116"/>
                <a:gd name="T47" fmla="*/ 589 h 865"/>
                <a:gd name="T48" fmla="*/ 1094 w 1116"/>
                <a:gd name="T49" fmla="*/ 655 h 865"/>
                <a:gd name="T50" fmla="*/ 1115 w 1116"/>
                <a:gd name="T51" fmla="*/ 738 h 865"/>
                <a:gd name="T52" fmla="*/ 1066 w 1116"/>
                <a:gd name="T53" fmla="*/ 724 h 865"/>
                <a:gd name="T54" fmla="*/ 1035 w 1116"/>
                <a:gd name="T55" fmla="*/ 739 h 865"/>
                <a:gd name="T56" fmla="*/ 977 w 1116"/>
                <a:gd name="T57" fmla="*/ 779 h 865"/>
                <a:gd name="T58" fmla="*/ 939 w 1116"/>
                <a:gd name="T59" fmla="*/ 820 h 865"/>
                <a:gd name="T60" fmla="*/ 922 w 1116"/>
                <a:gd name="T61" fmla="*/ 854 h 865"/>
                <a:gd name="T62" fmla="*/ 892 w 1116"/>
                <a:gd name="T63" fmla="*/ 859 h 865"/>
                <a:gd name="T64" fmla="*/ 838 w 1116"/>
                <a:gd name="T65" fmla="*/ 865 h 865"/>
                <a:gd name="T66" fmla="*/ 779 w 1116"/>
                <a:gd name="T67" fmla="*/ 837 h 865"/>
                <a:gd name="T68" fmla="*/ 720 w 1116"/>
                <a:gd name="T69" fmla="*/ 793 h 865"/>
                <a:gd name="T70" fmla="*/ 680 w 1116"/>
                <a:gd name="T71" fmla="*/ 756 h 865"/>
                <a:gd name="T72" fmla="*/ 620 w 1116"/>
                <a:gd name="T73" fmla="*/ 724 h 865"/>
                <a:gd name="T74" fmla="*/ 565 w 1116"/>
                <a:gd name="T75" fmla="*/ 751 h 865"/>
                <a:gd name="T76" fmla="*/ 530 w 1116"/>
                <a:gd name="T77" fmla="*/ 750 h 865"/>
                <a:gd name="T78" fmla="*/ 497 w 1116"/>
                <a:gd name="T79" fmla="*/ 721 h 865"/>
                <a:gd name="T80" fmla="*/ 466 w 1116"/>
                <a:gd name="T81" fmla="*/ 757 h 865"/>
                <a:gd name="T82" fmla="*/ 409 w 1116"/>
                <a:gd name="T83" fmla="*/ 762 h 865"/>
                <a:gd name="T84" fmla="*/ 354 w 1116"/>
                <a:gd name="T85" fmla="*/ 754 h 865"/>
                <a:gd name="T86" fmla="*/ 318 w 1116"/>
                <a:gd name="T87" fmla="*/ 765 h 865"/>
                <a:gd name="T88" fmla="*/ 279 w 1116"/>
                <a:gd name="T89" fmla="*/ 797 h 865"/>
                <a:gd name="T90" fmla="*/ 248 w 1116"/>
                <a:gd name="T91" fmla="*/ 792 h 865"/>
                <a:gd name="T92" fmla="*/ 227 w 1116"/>
                <a:gd name="T93" fmla="*/ 761 h 865"/>
                <a:gd name="T94" fmla="*/ 191 w 1116"/>
                <a:gd name="T95" fmla="*/ 732 h 865"/>
                <a:gd name="T96" fmla="*/ 215 w 1116"/>
                <a:gd name="T97" fmla="*/ 685 h 865"/>
                <a:gd name="T98" fmla="*/ 199 w 1116"/>
                <a:gd name="T99" fmla="*/ 632 h 865"/>
                <a:gd name="T100" fmla="*/ 185 w 1116"/>
                <a:gd name="T101" fmla="*/ 577 h 865"/>
                <a:gd name="T102" fmla="*/ 126 w 1116"/>
                <a:gd name="T103" fmla="*/ 581 h 865"/>
                <a:gd name="T104" fmla="*/ 77 w 1116"/>
                <a:gd name="T105" fmla="*/ 570 h 865"/>
                <a:gd name="T106" fmla="*/ 56 w 1116"/>
                <a:gd name="T107" fmla="*/ 530 h 865"/>
                <a:gd name="T108" fmla="*/ 17 w 1116"/>
                <a:gd name="T109" fmla="*/ 512 h 865"/>
                <a:gd name="T110" fmla="*/ 1 w 1116"/>
                <a:gd name="T111" fmla="*/ 476 h 865"/>
                <a:gd name="T112" fmla="*/ 31 w 1116"/>
                <a:gd name="T113" fmla="*/ 437 h 865"/>
                <a:gd name="T114" fmla="*/ 18 w 1116"/>
                <a:gd name="T115" fmla="*/ 382 h 865"/>
                <a:gd name="T116" fmla="*/ 9 w 1116"/>
                <a:gd name="T117" fmla="*/ 324 h 865"/>
                <a:gd name="T118" fmla="*/ 65 w 1116"/>
                <a:gd name="T119" fmla="*/ 329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16" h="865">
                  <a:moveTo>
                    <a:pt x="325" y="0"/>
                  </a:moveTo>
                  <a:lnTo>
                    <a:pt x="329" y="1"/>
                  </a:lnTo>
                  <a:lnTo>
                    <a:pt x="344" y="2"/>
                  </a:lnTo>
                  <a:lnTo>
                    <a:pt x="351" y="3"/>
                  </a:lnTo>
                  <a:lnTo>
                    <a:pt x="356" y="4"/>
                  </a:lnTo>
                  <a:lnTo>
                    <a:pt x="362" y="5"/>
                  </a:lnTo>
                  <a:lnTo>
                    <a:pt x="367" y="7"/>
                  </a:lnTo>
                  <a:lnTo>
                    <a:pt x="369" y="8"/>
                  </a:lnTo>
                  <a:lnTo>
                    <a:pt x="372" y="9"/>
                  </a:lnTo>
                  <a:lnTo>
                    <a:pt x="375" y="10"/>
                  </a:lnTo>
                  <a:lnTo>
                    <a:pt x="383" y="15"/>
                  </a:lnTo>
                  <a:lnTo>
                    <a:pt x="389" y="18"/>
                  </a:lnTo>
                  <a:lnTo>
                    <a:pt x="397" y="21"/>
                  </a:lnTo>
                  <a:lnTo>
                    <a:pt x="409" y="25"/>
                  </a:lnTo>
                  <a:lnTo>
                    <a:pt x="412" y="27"/>
                  </a:lnTo>
                  <a:lnTo>
                    <a:pt x="416" y="29"/>
                  </a:lnTo>
                  <a:lnTo>
                    <a:pt x="420" y="31"/>
                  </a:lnTo>
                  <a:lnTo>
                    <a:pt x="422" y="33"/>
                  </a:lnTo>
                  <a:lnTo>
                    <a:pt x="425" y="34"/>
                  </a:lnTo>
                  <a:lnTo>
                    <a:pt x="434" y="41"/>
                  </a:lnTo>
                  <a:lnTo>
                    <a:pt x="436" y="42"/>
                  </a:lnTo>
                  <a:lnTo>
                    <a:pt x="439" y="43"/>
                  </a:lnTo>
                  <a:lnTo>
                    <a:pt x="442" y="45"/>
                  </a:lnTo>
                  <a:lnTo>
                    <a:pt x="444" y="45"/>
                  </a:lnTo>
                  <a:lnTo>
                    <a:pt x="447" y="46"/>
                  </a:lnTo>
                  <a:lnTo>
                    <a:pt x="449" y="46"/>
                  </a:lnTo>
                  <a:lnTo>
                    <a:pt x="452" y="46"/>
                  </a:lnTo>
                  <a:lnTo>
                    <a:pt x="454" y="47"/>
                  </a:lnTo>
                  <a:lnTo>
                    <a:pt x="463" y="47"/>
                  </a:lnTo>
                  <a:lnTo>
                    <a:pt x="467" y="47"/>
                  </a:lnTo>
                  <a:lnTo>
                    <a:pt x="469" y="46"/>
                  </a:lnTo>
                  <a:lnTo>
                    <a:pt x="472" y="46"/>
                  </a:lnTo>
                  <a:lnTo>
                    <a:pt x="478" y="45"/>
                  </a:lnTo>
                  <a:lnTo>
                    <a:pt x="496" y="40"/>
                  </a:lnTo>
                  <a:lnTo>
                    <a:pt x="500" y="38"/>
                  </a:lnTo>
                  <a:lnTo>
                    <a:pt x="510" y="34"/>
                  </a:lnTo>
                  <a:lnTo>
                    <a:pt x="512" y="34"/>
                  </a:lnTo>
                  <a:lnTo>
                    <a:pt x="515" y="34"/>
                  </a:lnTo>
                  <a:lnTo>
                    <a:pt x="519" y="34"/>
                  </a:lnTo>
                  <a:lnTo>
                    <a:pt x="522" y="34"/>
                  </a:lnTo>
                  <a:lnTo>
                    <a:pt x="522" y="34"/>
                  </a:lnTo>
                  <a:lnTo>
                    <a:pt x="524" y="34"/>
                  </a:lnTo>
                  <a:lnTo>
                    <a:pt x="526" y="35"/>
                  </a:lnTo>
                  <a:lnTo>
                    <a:pt x="528" y="36"/>
                  </a:lnTo>
                  <a:lnTo>
                    <a:pt x="529" y="37"/>
                  </a:lnTo>
                  <a:lnTo>
                    <a:pt x="532" y="40"/>
                  </a:lnTo>
                  <a:lnTo>
                    <a:pt x="534" y="43"/>
                  </a:lnTo>
                  <a:lnTo>
                    <a:pt x="535" y="45"/>
                  </a:lnTo>
                  <a:lnTo>
                    <a:pt x="536" y="47"/>
                  </a:lnTo>
                  <a:lnTo>
                    <a:pt x="537" y="50"/>
                  </a:lnTo>
                  <a:lnTo>
                    <a:pt x="541" y="61"/>
                  </a:lnTo>
                  <a:lnTo>
                    <a:pt x="543" y="66"/>
                  </a:lnTo>
                  <a:lnTo>
                    <a:pt x="545" y="72"/>
                  </a:lnTo>
                  <a:lnTo>
                    <a:pt x="553" y="87"/>
                  </a:lnTo>
                  <a:lnTo>
                    <a:pt x="556" y="95"/>
                  </a:lnTo>
                  <a:lnTo>
                    <a:pt x="560" y="104"/>
                  </a:lnTo>
                  <a:lnTo>
                    <a:pt x="561" y="108"/>
                  </a:lnTo>
                  <a:lnTo>
                    <a:pt x="564" y="112"/>
                  </a:lnTo>
                  <a:lnTo>
                    <a:pt x="566" y="115"/>
                  </a:lnTo>
                  <a:lnTo>
                    <a:pt x="567" y="116"/>
                  </a:lnTo>
                  <a:lnTo>
                    <a:pt x="568" y="117"/>
                  </a:lnTo>
                  <a:lnTo>
                    <a:pt x="568" y="118"/>
                  </a:lnTo>
                  <a:lnTo>
                    <a:pt x="569" y="119"/>
                  </a:lnTo>
                  <a:lnTo>
                    <a:pt x="570" y="119"/>
                  </a:lnTo>
                  <a:lnTo>
                    <a:pt x="572" y="120"/>
                  </a:lnTo>
                  <a:lnTo>
                    <a:pt x="573" y="121"/>
                  </a:lnTo>
                  <a:lnTo>
                    <a:pt x="575" y="121"/>
                  </a:lnTo>
                  <a:lnTo>
                    <a:pt x="577" y="121"/>
                  </a:lnTo>
                  <a:lnTo>
                    <a:pt x="579" y="121"/>
                  </a:lnTo>
                  <a:lnTo>
                    <a:pt x="580" y="121"/>
                  </a:lnTo>
                  <a:lnTo>
                    <a:pt x="582" y="120"/>
                  </a:lnTo>
                  <a:lnTo>
                    <a:pt x="586" y="119"/>
                  </a:lnTo>
                  <a:lnTo>
                    <a:pt x="591" y="118"/>
                  </a:lnTo>
                  <a:lnTo>
                    <a:pt x="603" y="113"/>
                  </a:lnTo>
                  <a:lnTo>
                    <a:pt x="610" y="112"/>
                  </a:lnTo>
                  <a:lnTo>
                    <a:pt x="616" y="109"/>
                  </a:lnTo>
                  <a:lnTo>
                    <a:pt x="620" y="108"/>
                  </a:lnTo>
                  <a:lnTo>
                    <a:pt x="624" y="107"/>
                  </a:lnTo>
                  <a:lnTo>
                    <a:pt x="627" y="106"/>
                  </a:lnTo>
                  <a:lnTo>
                    <a:pt x="631" y="105"/>
                  </a:lnTo>
                  <a:lnTo>
                    <a:pt x="634" y="105"/>
                  </a:lnTo>
                  <a:lnTo>
                    <a:pt x="636" y="105"/>
                  </a:lnTo>
                  <a:lnTo>
                    <a:pt x="639" y="105"/>
                  </a:lnTo>
                  <a:lnTo>
                    <a:pt x="643" y="106"/>
                  </a:lnTo>
                  <a:lnTo>
                    <a:pt x="646" y="107"/>
                  </a:lnTo>
                  <a:lnTo>
                    <a:pt x="648" y="108"/>
                  </a:lnTo>
                  <a:lnTo>
                    <a:pt x="651" y="110"/>
                  </a:lnTo>
                  <a:lnTo>
                    <a:pt x="653" y="112"/>
                  </a:lnTo>
                  <a:lnTo>
                    <a:pt x="656" y="113"/>
                  </a:lnTo>
                  <a:lnTo>
                    <a:pt x="657" y="115"/>
                  </a:lnTo>
                  <a:lnTo>
                    <a:pt x="659" y="117"/>
                  </a:lnTo>
                  <a:lnTo>
                    <a:pt x="660" y="120"/>
                  </a:lnTo>
                  <a:lnTo>
                    <a:pt x="662" y="123"/>
                  </a:lnTo>
                  <a:lnTo>
                    <a:pt x="663" y="125"/>
                  </a:lnTo>
                  <a:lnTo>
                    <a:pt x="664" y="127"/>
                  </a:lnTo>
                  <a:lnTo>
                    <a:pt x="666" y="133"/>
                  </a:lnTo>
                  <a:lnTo>
                    <a:pt x="668" y="138"/>
                  </a:lnTo>
                  <a:lnTo>
                    <a:pt x="669" y="143"/>
                  </a:lnTo>
                  <a:lnTo>
                    <a:pt x="670" y="147"/>
                  </a:lnTo>
                  <a:lnTo>
                    <a:pt x="671" y="155"/>
                  </a:lnTo>
                  <a:lnTo>
                    <a:pt x="673" y="166"/>
                  </a:lnTo>
                  <a:lnTo>
                    <a:pt x="674" y="169"/>
                  </a:lnTo>
                  <a:lnTo>
                    <a:pt x="674" y="170"/>
                  </a:lnTo>
                  <a:lnTo>
                    <a:pt x="674" y="172"/>
                  </a:lnTo>
                  <a:lnTo>
                    <a:pt x="674" y="173"/>
                  </a:lnTo>
                  <a:lnTo>
                    <a:pt x="673" y="174"/>
                  </a:lnTo>
                  <a:lnTo>
                    <a:pt x="673" y="176"/>
                  </a:lnTo>
                  <a:lnTo>
                    <a:pt x="672" y="178"/>
                  </a:lnTo>
                  <a:lnTo>
                    <a:pt x="669" y="184"/>
                  </a:lnTo>
                  <a:lnTo>
                    <a:pt x="667" y="188"/>
                  </a:lnTo>
                  <a:lnTo>
                    <a:pt x="667" y="190"/>
                  </a:lnTo>
                  <a:lnTo>
                    <a:pt x="666" y="191"/>
                  </a:lnTo>
                  <a:lnTo>
                    <a:pt x="666" y="193"/>
                  </a:lnTo>
                  <a:lnTo>
                    <a:pt x="666" y="193"/>
                  </a:lnTo>
                  <a:lnTo>
                    <a:pt x="667" y="195"/>
                  </a:lnTo>
                  <a:lnTo>
                    <a:pt x="668" y="197"/>
                  </a:lnTo>
                  <a:lnTo>
                    <a:pt x="670" y="198"/>
                  </a:lnTo>
                  <a:lnTo>
                    <a:pt x="670" y="200"/>
                  </a:lnTo>
                  <a:lnTo>
                    <a:pt x="672" y="201"/>
                  </a:lnTo>
                  <a:lnTo>
                    <a:pt x="674" y="202"/>
                  </a:lnTo>
                  <a:lnTo>
                    <a:pt x="677" y="203"/>
                  </a:lnTo>
                  <a:lnTo>
                    <a:pt x="680" y="204"/>
                  </a:lnTo>
                  <a:lnTo>
                    <a:pt x="682" y="204"/>
                  </a:lnTo>
                  <a:lnTo>
                    <a:pt x="684" y="204"/>
                  </a:lnTo>
                  <a:lnTo>
                    <a:pt x="686" y="204"/>
                  </a:lnTo>
                  <a:lnTo>
                    <a:pt x="689" y="203"/>
                  </a:lnTo>
                  <a:lnTo>
                    <a:pt x="692" y="201"/>
                  </a:lnTo>
                  <a:lnTo>
                    <a:pt x="695" y="199"/>
                  </a:lnTo>
                  <a:lnTo>
                    <a:pt x="702" y="194"/>
                  </a:lnTo>
                  <a:lnTo>
                    <a:pt x="704" y="193"/>
                  </a:lnTo>
                  <a:lnTo>
                    <a:pt x="704" y="192"/>
                  </a:lnTo>
                  <a:lnTo>
                    <a:pt x="705" y="191"/>
                  </a:lnTo>
                  <a:lnTo>
                    <a:pt x="707" y="190"/>
                  </a:lnTo>
                  <a:lnTo>
                    <a:pt x="708" y="188"/>
                  </a:lnTo>
                  <a:lnTo>
                    <a:pt x="709" y="186"/>
                  </a:lnTo>
                  <a:lnTo>
                    <a:pt x="711" y="182"/>
                  </a:lnTo>
                  <a:lnTo>
                    <a:pt x="716" y="172"/>
                  </a:lnTo>
                  <a:lnTo>
                    <a:pt x="719" y="167"/>
                  </a:lnTo>
                  <a:lnTo>
                    <a:pt x="722" y="162"/>
                  </a:lnTo>
                  <a:lnTo>
                    <a:pt x="725" y="158"/>
                  </a:lnTo>
                  <a:lnTo>
                    <a:pt x="728" y="154"/>
                  </a:lnTo>
                  <a:lnTo>
                    <a:pt x="732" y="149"/>
                  </a:lnTo>
                  <a:lnTo>
                    <a:pt x="735" y="147"/>
                  </a:lnTo>
                  <a:lnTo>
                    <a:pt x="738" y="145"/>
                  </a:lnTo>
                  <a:lnTo>
                    <a:pt x="740" y="142"/>
                  </a:lnTo>
                  <a:lnTo>
                    <a:pt x="743" y="141"/>
                  </a:lnTo>
                  <a:lnTo>
                    <a:pt x="745" y="139"/>
                  </a:lnTo>
                  <a:lnTo>
                    <a:pt x="748" y="139"/>
                  </a:lnTo>
                  <a:lnTo>
                    <a:pt x="750" y="138"/>
                  </a:lnTo>
                  <a:lnTo>
                    <a:pt x="754" y="138"/>
                  </a:lnTo>
                  <a:lnTo>
                    <a:pt x="757" y="139"/>
                  </a:lnTo>
                  <a:lnTo>
                    <a:pt x="760" y="139"/>
                  </a:lnTo>
                  <a:lnTo>
                    <a:pt x="762" y="140"/>
                  </a:lnTo>
                  <a:lnTo>
                    <a:pt x="766" y="142"/>
                  </a:lnTo>
                  <a:lnTo>
                    <a:pt x="777" y="147"/>
                  </a:lnTo>
                  <a:lnTo>
                    <a:pt x="780" y="148"/>
                  </a:lnTo>
                  <a:lnTo>
                    <a:pt x="784" y="150"/>
                  </a:lnTo>
                  <a:lnTo>
                    <a:pt x="786" y="152"/>
                  </a:lnTo>
                  <a:lnTo>
                    <a:pt x="790" y="155"/>
                  </a:lnTo>
                  <a:lnTo>
                    <a:pt x="794" y="158"/>
                  </a:lnTo>
                  <a:lnTo>
                    <a:pt x="801" y="164"/>
                  </a:lnTo>
                  <a:lnTo>
                    <a:pt x="803" y="166"/>
                  </a:lnTo>
                  <a:lnTo>
                    <a:pt x="805" y="167"/>
                  </a:lnTo>
                  <a:lnTo>
                    <a:pt x="806" y="168"/>
                  </a:lnTo>
                  <a:lnTo>
                    <a:pt x="807" y="169"/>
                  </a:lnTo>
                  <a:lnTo>
                    <a:pt x="809" y="169"/>
                  </a:lnTo>
                  <a:lnTo>
                    <a:pt x="811" y="169"/>
                  </a:lnTo>
                  <a:lnTo>
                    <a:pt x="813" y="169"/>
                  </a:lnTo>
                  <a:lnTo>
                    <a:pt x="815" y="169"/>
                  </a:lnTo>
                  <a:lnTo>
                    <a:pt x="817" y="169"/>
                  </a:lnTo>
                  <a:lnTo>
                    <a:pt x="819" y="168"/>
                  </a:lnTo>
                  <a:lnTo>
                    <a:pt x="821" y="167"/>
                  </a:lnTo>
                  <a:lnTo>
                    <a:pt x="823" y="166"/>
                  </a:lnTo>
                  <a:lnTo>
                    <a:pt x="825" y="165"/>
                  </a:lnTo>
                  <a:lnTo>
                    <a:pt x="826" y="163"/>
                  </a:lnTo>
                  <a:lnTo>
                    <a:pt x="827" y="162"/>
                  </a:lnTo>
                  <a:lnTo>
                    <a:pt x="828" y="161"/>
                  </a:lnTo>
                  <a:lnTo>
                    <a:pt x="829" y="159"/>
                  </a:lnTo>
                  <a:lnTo>
                    <a:pt x="830" y="158"/>
                  </a:lnTo>
                  <a:lnTo>
                    <a:pt x="831" y="154"/>
                  </a:lnTo>
                  <a:lnTo>
                    <a:pt x="835" y="146"/>
                  </a:lnTo>
                  <a:lnTo>
                    <a:pt x="837" y="141"/>
                  </a:lnTo>
                  <a:lnTo>
                    <a:pt x="840" y="137"/>
                  </a:lnTo>
                  <a:lnTo>
                    <a:pt x="841" y="136"/>
                  </a:lnTo>
                  <a:lnTo>
                    <a:pt x="841" y="134"/>
                  </a:lnTo>
                  <a:lnTo>
                    <a:pt x="842" y="132"/>
                  </a:lnTo>
                  <a:lnTo>
                    <a:pt x="844" y="131"/>
                  </a:lnTo>
                  <a:lnTo>
                    <a:pt x="845" y="130"/>
                  </a:lnTo>
                  <a:lnTo>
                    <a:pt x="847" y="129"/>
                  </a:lnTo>
                  <a:lnTo>
                    <a:pt x="848" y="128"/>
                  </a:lnTo>
                  <a:lnTo>
                    <a:pt x="850" y="127"/>
                  </a:lnTo>
                  <a:lnTo>
                    <a:pt x="852" y="127"/>
                  </a:lnTo>
                  <a:lnTo>
                    <a:pt x="854" y="126"/>
                  </a:lnTo>
                  <a:lnTo>
                    <a:pt x="857" y="126"/>
                  </a:lnTo>
                  <a:lnTo>
                    <a:pt x="860" y="126"/>
                  </a:lnTo>
                  <a:lnTo>
                    <a:pt x="863" y="126"/>
                  </a:lnTo>
                  <a:lnTo>
                    <a:pt x="867" y="126"/>
                  </a:lnTo>
                  <a:lnTo>
                    <a:pt x="870" y="127"/>
                  </a:lnTo>
                  <a:lnTo>
                    <a:pt x="873" y="127"/>
                  </a:lnTo>
                  <a:lnTo>
                    <a:pt x="882" y="130"/>
                  </a:lnTo>
                  <a:lnTo>
                    <a:pt x="885" y="130"/>
                  </a:lnTo>
                  <a:lnTo>
                    <a:pt x="887" y="131"/>
                  </a:lnTo>
                  <a:lnTo>
                    <a:pt x="890" y="131"/>
                  </a:lnTo>
                  <a:lnTo>
                    <a:pt x="895" y="131"/>
                  </a:lnTo>
                  <a:lnTo>
                    <a:pt x="903" y="131"/>
                  </a:lnTo>
                  <a:lnTo>
                    <a:pt x="906" y="131"/>
                  </a:lnTo>
                  <a:lnTo>
                    <a:pt x="909" y="132"/>
                  </a:lnTo>
                  <a:lnTo>
                    <a:pt x="913" y="132"/>
                  </a:lnTo>
                  <a:lnTo>
                    <a:pt x="916" y="133"/>
                  </a:lnTo>
                  <a:lnTo>
                    <a:pt x="919" y="135"/>
                  </a:lnTo>
                  <a:lnTo>
                    <a:pt x="920" y="136"/>
                  </a:lnTo>
                  <a:lnTo>
                    <a:pt x="923" y="137"/>
                  </a:lnTo>
                  <a:lnTo>
                    <a:pt x="927" y="140"/>
                  </a:lnTo>
                  <a:lnTo>
                    <a:pt x="932" y="146"/>
                  </a:lnTo>
                  <a:lnTo>
                    <a:pt x="938" y="149"/>
                  </a:lnTo>
                  <a:lnTo>
                    <a:pt x="940" y="151"/>
                  </a:lnTo>
                  <a:lnTo>
                    <a:pt x="943" y="156"/>
                  </a:lnTo>
                  <a:lnTo>
                    <a:pt x="950" y="162"/>
                  </a:lnTo>
                  <a:lnTo>
                    <a:pt x="957" y="170"/>
                  </a:lnTo>
                  <a:lnTo>
                    <a:pt x="961" y="175"/>
                  </a:lnTo>
                  <a:lnTo>
                    <a:pt x="966" y="180"/>
                  </a:lnTo>
                  <a:lnTo>
                    <a:pt x="975" y="187"/>
                  </a:lnTo>
                  <a:lnTo>
                    <a:pt x="980" y="193"/>
                  </a:lnTo>
                  <a:lnTo>
                    <a:pt x="985" y="198"/>
                  </a:lnTo>
                  <a:lnTo>
                    <a:pt x="989" y="203"/>
                  </a:lnTo>
                  <a:lnTo>
                    <a:pt x="991" y="206"/>
                  </a:lnTo>
                  <a:lnTo>
                    <a:pt x="993" y="210"/>
                  </a:lnTo>
                  <a:lnTo>
                    <a:pt x="995" y="214"/>
                  </a:lnTo>
                  <a:lnTo>
                    <a:pt x="996" y="217"/>
                  </a:lnTo>
                  <a:lnTo>
                    <a:pt x="996" y="220"/>
                  </a:lnTo>
                  <a:lnTo>
                    <a:pt x="996" y="222"/>
                  </a:lnTo>
                  <a:lnTo>
                    <a:pt x="996" y="223"/>
                  </a:lnTo>
                  <a:lnTo>
                    <a:pt x="996" y="226"/>
                  </a:lnTo>
                  <a:lnTo>
                    <a:pt x="995" y="228"/>
                  </a:lnTo>
                  <a:lnTo>
                    <a:pt x="994" y="229"/>
                  </a:lnTo>
                  <a:lnTo>
                    <a:pt x="993" y="231"/>
                  </a:lnTo>
                  <a:lnTo>
                    <a:pt x="991" y="234"/>
                  </a:lnTo>
                  <a:lnTo>
                    <a:pt x="989" y="238"/>
                  </a:lnTo>
                  <a:lnTo>
                    <a:pt x="983" y="242"/>
                  </a:lnTo>
                  <a:lnTo>
                    <a:pt x="982" y="244"/>
                  </a:lnTo>
                  <a:lnTo>
                    <a:pt x="980" y="246"/>
                  </a:lnTo>
                  <a:lnTo>
                    <a:pt x="979" y="248"/>
                  </a:lnTo>
                  <a:lnTo>
                    <a:pt x="978" y="250"/>
                  </a:lnTo>
                  <a:lnTo>
                    <a:pt x="976" y="258"/>
                  </a:lnTo>
                  <a:lnTo>
                    <a:pt x="975" y="262"/>
                  </a:lnTo>
                  <a:lnTo>
                    <a:pt x="973" y="265"/>
                  </a:lnTo>
                  <a:lnTo>
                    <a:pt x="969" y="272"/>
                  </a:lnTo>
                  <a:lnTo>
                    <a:pt x="967" y="274"/>
                  </a:lnTo>
                  <a:lnTo>
                    <a:pt x="967" y="277"/>
                  </a:lnTo>
                  <a:lnTo>
                    <a:pt x="966" y="283"/>
                  </a:lnTo>
                  <a:lnTo>
                    <a:pt x="966" y="286"/>
                  </a:lnTo>
                  <a:lnTo>
                    <a:pt x="965" y="289"/>
                  </a:lnTo>
                  <a:lnTo>
                    <a:pt x="963" y="292"/>
                  </a:lnTo>
                  <a:lnTo>
                    <a:pt x="961" y="295"/>
                  </a:lnTo>
                  <a:lnTo>
                    <a:pt x="958" y="299"/>
                  </a:lnTo>
                  <a:lnTo>
                    <a:pt x="955" y="302"/>
                  </a:lnTo>
                  <a:lnTo>
                    <a:pt x="946" y="312"/>
                  </a:lnTo>
                  <a:lnTo>
                    <a:pt x="943" y="316"/>
                  </a:lnTo>
                  <a:lnTo>
                    <a:pt x="941" y="317"/>
                  </a:lnTo>
                  <a:lnTo>
                    <a:pt x="939" y="318"/>
                  </a:lnTo>
                  <a:lnTo>
                    <a:pt x="937" y="319"/>
                  </a:lnTo>
                  <a:lnTo>
                    <a:pt x="935" y="320"/>
                  </a:lnTo>
                  <a:lnTo>
                    <a:pt x="933" y="321"/>
                  </a:lnTo>
                  <a:lnTo>
                    <a:pt x="932" y="322"/>
                  </a:lnTo>
                  <a:lnTo>
                    <a:pt x="929" y="322"/>
                  </a:lnTo>
                  <a:lnTo>
                    <a:pt x="927" y="323"/>
                  </a:lnTo>
                  <a:lnTo>
                    <a:pt x="924" y="322"/>
                  </a:lnTo>
                  <a:lnTo>
                    <a:pt x="918" y="322"/>
                  </a:lnTo>
                  <a:lnTo>
                    <a:pt x="914" y="322"/>
                  </a:lnTo>
                  <a:lnTo>
                    <a:pt x="913" y="322"/>
                  </a:lnTo>
                  <a:lnTo>
                    <a:pt x="911" y="322"/>
                  </a:lnTo>
                  <a:lnTo>
                    <a:pt x="909" y="323"/>
                  </a:lnTo>
                  <a:lnTo>
                    <a:pt x="909" y="323"/>
                  </a:lnTo>
                  <a:lnTo>
                    <a:pt x="908" y="324"/>
                  </a:lnTo>
                  <a:lnTo>
                    <a:pt x="906" y="326"/>
                  </a:lnTo>
                  <a:lnTo>
                    <a:pt x="905" y="327"/>
                  </a:lnTo>
                  <a:lnTo>
                    <a:pt x="900" y="331"/>
                  </a:lnTo>
                  <a:lnTo>
                    <a:pt x="895" y="338"/>
                  </a:lnTo>
                  <a:lnTo>
                    <a:pt x="892" y="340"/>
                  </a:lnTo>
                  <a:lnTo>
                    <a:pt x="890" y="341"/>
                  </a:lnTo>
                  <a:lnTo>
                    <a:pt x="888" y="343"/>
                  </a:lnTo>
                  <a:lnTo>
                    <a:pt x="886" y="344"/>
                  </a:lnTo>
                  <a:lnTo>
                    <a:pt x="883" y="345"/>
                  </a:lnTo>
                  <a:lnTo>
                    <a:pt x="878" y="346"/>
                  </a:lnTo>
                  <a:lnTo>
                    <a:pt x="876" y="347"/>
                  </a:lnTo>
                  <a:lnTo>
                    <a:pt x="875" y="348"/>
                  </a:lnTo>
                  <a:lnTo>
                    <a:pt x="872" y="350"/>
                  </a:lnTo>
                  <a:lnTo>
                    <a:pt x="866" y="352"/>
                  </a:lnTo>
                  <a:lnTo>
                    <a:pt x="863" y="354"/>
                  </a:lnTo>
                  <a:lnTo>
                    <a:pt x="863" y="355"/>
                  </a:lnTo>
                  <a:lnTo>
                    <a:pt x="861" y="356"/>
                  </a:lnTo>
                  <a:lnTo>
                    <a:pt x="858" y="361"/>
                  </a:lnTo>
                  <a:lnTo>
                    <a:pt x="856" y="363"/>
                  </a:lnTo>
                  <a:lnTo>
                    <a:pt x="854" y="363"/>
                  </a:lnTo>
                  <a:lnTo>
                    <a:pt x="850" y="366"/>
                  </a:lnTo>
                  <a:lnTo>
                    <a:pt x="849" y="368"/>
                  </a:lnTo>
                  <a:lnTo>
                    <a:pt x="847" y="369"/>
                  </a:lnTo>
                  <a:lnTo>
                    <a:pt x="844" y="374"/>
                  </a:lnTo>
                  <a:lnTo>
                    <a:pt x="842" y="374"/>
                  </a:lnTo>
                  <a:lnTo>
                    <a:pt x="842" y="376"/>
                  </a:lnTo>
                  <a:lnTo>
                    <a:pt x="841" y="377"/>
                  </a:lnTo>
                  <a:lnTo>
                    <a:pt x="841" y="381"/>
                  </a:lnTo>
                  <a:lnTo>
                    <a:pt x="841" y="383"/>
                  </a:lnTo>
                  <a:lnTo>
                    <a:pt x="841" y="385"/>
                  </a:lnTo>
                  <a:lnTo>
                    <a:pt x="840" y="385"/>
                  </a:lnTo>
                  <a:lnTo>
                    <a:pt x="839" y="386"/>
                  </a:lnTo>
                  <a:lnTo>
                    <a:pt x="838" y="386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2" y="388"/>
                  </a:lnTo>
                  <a:lnTo>
                    <a:pt x="831" y="388"/>
                  </a:lnTo>
                  <a:lnTo>
                    <a:pt x="829" y="389"/>
                  </a:lnTo>
                  <a:lnTo>
                    <a:pt x="829" y="390"/>
                  </a:lnTo>
                  <a:lnTo>
                    <a:pt x="828" y="391"/>
                  </a:lnTo>
                  <a:lnTo>
                    <a:pt x="827" y="392"/>
                  </a:lnTo>
                  <a:lnTo>
                    <a:pt x="826" y="394"/>
                  </a:lnTo>
                  <a:lnTo>
                    <a:pt x="825" y="396"/>
                  </a:lnTo>
                  <a:lnTo>
                    <a:pt x="824" y="397"/>
                  </a:lnTo>
                  <a:lnTo>
                    <a:pt x="824" y="399"/>
                  </a:lnTo>
                  <a:lnTo>
                    <a:pt x="823" y="401"/>
                  </a:lnTo>
                  <a:lnTo>
                    <a:pt x="823" y="403"/>
                  </a:lnTo>
                  <a:lnTo>
                    <a:pt x="824" y="406"/>
                  </a:lnTo>
                  <a:lnTo>
                    <a:pt x="824" y="408"/>
                  </a:lnTo>
                  <a:lnTo>
                    <a:pt x="825" y="408"/>
                  </a:lnTo>
                  <a:lnTo>
                    <a:pt x="826" y="411"/>
                  </a:lnTo>
                  <a:lnTo>
                    <a:pt x="829" y="419"/>
                  </a:lnTo>
                  <a:lnTo>
                    <a:pt x="832" y="423"/>
                  </a:lnTo>
                  <a:lnTo>
                    <a:pt x="833" y="425"/>
                  </a:lnTo>
                  <a:lnTo>
                    <a:pt x="835" y="427"/>
                  </a:lnTo>
                  <a:lnTo>
                    <a:pt x="836" y="428"/>
                  </a:lnTo>
                  <a:lnTo>
                    <a:pt x="837" y="429"/>
                  </a:lnTo>
                  <a:lnTo>
                    <a:pt x="839" y="429"/>
                  </a:lnTo>
                  <a:lnTo>
                    <a:pt x="841" y="430"/>
                  </a:lnTo>
                  <a:lnTo>
                    <a:pt x="846" y="431"/>
                  </a:lnTo>
                  <a:lnTo>
                    <a:pt x="848" y="432"/>
                  </a:lnTo>
                  <a:lnTo>
                    <a:pt x="849" y="433"/>
                  </a:lnTo>
                  <a:lnTo>
                    <a:pt x="852" y="435"/>
                  </a:lnTo>
                  <a:lnTo>
                    <a:pt x="855" y="437"/>
                  </a:lnTo>
                  <a:lnTo>
                    <a:pt x="856" y="439"/>
                  </a:lnTo>
                  <a:lnTo>
                    <a:pt x="857" y="441"/>
                  </a:lnTo>
                  <a:lnTo>
                    <a:pt x="862" y="447"/>
                  </a:lnTo>
                  <a:lnTo>
                    <a:pt x="863" y="449"/>
                  </a:lnTo>
                  <a:lnTo>
                    <a:pt x="867" y="453"/>
                  </a:lnTo>
                  <a:lnTo>
                    <a:pt x="868" y="455"/>
                  </a:lnTo>
                  <a:lnTo>
                    <a:pt x="870" y="458"/>
                  </a:lnTo>
                  <a:lnTo>
                    <a:pt x="874" y="464"/>
                  </a:lnTo>
                  <a:lnTo>
                    <a:pt x="875" y="465"/>
                  </a:lnTo>
                  <a:lnTo>
                    <a:pt x="877" y="468"/>
                  </a:lnTo>
                  <a:lnTo>
                    <a:pt x="880" y="470"/>
                  </a:lnTo>
                  <a:lnTo>
                    <a:pt x="881" y="472"/>
                  </a:lnTo>
                  <a:lnTo>
                    <a:pt x="883" y="473"/>
                  </a:lnTo>
                  <a:lnTo>
                    <a:pt x="885" y="474"/>
                  </a:lnTo>
                  <a:lnTo>
                    <a:pt x="886" y="474"/>
                  </a:lnTo>
                  <a:lnTo>
                    <a:pt x="887" y="474"/>
                  </a:lnTo>
                  <a:lnTo>
                    <a:pt x="889" y="474"/>
                  </a:lnTo>
                  <a:lnTo>
                    <a:pt x="891" y="474"/>
                  </a:lnTo>
                  <a:lnTo>
                    <a:pt x="892" y="473"/>
                  </a:lnTo>
                  <a:lnTo>
                    <a:pt x="899" y="469"/>
                  </a:lnTo>
                  <a:lnTo>
                    <a:pt x="902" y="468"/>
                  </a:lnTo>
                  <a:lnTo>
                    <a:pt x="904" y="467"/>
                  </a:lnTo>
                  <a:lnTo>
                    <a:pt x="906" y="467"/>
                  </a:lnTo>
                  <a:lnTo>
                    <a:pt x="909" y="466"/>
                  </a:lnTo>
                  <a:lnTo>
                    <a:pt x="912" y="466"/>
                  </a:lnTo>
                  <a:lnTo>
                    <a:pt x="916" y="465"/>
                  </a:lnTo>
                  <a:lnTo>
                    <a:pt x="919" y="465"/>
                  </a:lnTo>
                  <a:lnTo>
                    <a:pt x="922" y="466"/>
                  </a:lnTo>
                  <a:lnTo>
                    <a:pt x="926" y="466"/>
                  </a:lnTo>
                  <a:lnTo>
                    <a:pt x="930" y="467"/>
                  </a:lnTo>
                  <a:lnTo>
                    <a:pt x="932" y="468"/>
                  </a:lnTo>
                  <a:lnTo>
                    <a:pt x="934" y="469"/>
                  </a:lnTo>
                  <a:lnTo>
                    <a:pt x="937" y="470"/>
                  </a:lnTo>
                  <a:lnTo>
                    <a:pt x="939" y="471"/>
                  </a:lnTo>
                  <a:lnTo>
                    <a:pt x="940" y="472"/>
                  </a:lnTo>
                  <a:lnTo>
                    <a:pt x="941" y="473"/>
                  </a:lnTo>
                  <a:lnTo>
                    <a:pt x="943" y="476"/>
                  </a:lnTo>
                  <a:lnTo>
                    <a:pt x="944" y="478"/>
                  </a:lnTo>
                  <a:lnTo>
                    <a:pt x="945" y="482"/>
                  </a:lnTo>
                  <a:lnTo>
                    <a:pt x="947" y="486"/>
                  </a:lnTo>
                  <a:lnTo>
                    <a:pt x="949" y="496"/>
                  </a:lnTo>
                  <a:lnTo>
                    <a:pt x="950" y="499"/>
                  </a:lnTo>
                  <a:lnTo>
                    <a:pt x="952" y="502"/>
                  </a:lnTo>
                  <a:lnTo>
                    <a:pt x="954" y="507"/>
                  </a:lnTo>
                  <a:lnTo>
                    <a:pt x="955" y="510"/>
                  </a:lnTo>
                  <a:lnTo>
                    <a:pt x="958" y="514"/>
                  </a:lnTo>
                  <a:lnTo>
                    <a:pt x="960" y="517"/>
                  </a:lnTo>
                  <a:lnTo>
                    <a:pt x="962" y="519"/>
                  </a:lnTo>
                  <a:lnTo>
                    <a:pt x="964" y="522"/>
                  </a:lnTo>
                  <a:lnTo>
                    <a:pt x="966" y="524"/>
                  </a:lnTo>
                  <a:lnTo>
                    <a:pt x="969" y="526"/>
                  </a:lnTo>
                  <a:lnTo>
                    <a:pt x="972" y="528"/>
                  </a:lnTo>
                  <a:lnTo>
                    <a:pt x="975" y="530"/>
                  </a:lnTo>
                  <a:lnTo>
                    <a:pt x="977" y="531"/>
                  </a:lnTo>
                  <a:lnTo>
                    <a:pt x="978" y="531"/>
                  </a:lnTo>
                  <a:lnTo>
                    <a:pt x="987" y="532"/>
                  </a:lnTo>
                  <a:lnTo>
                    <a:pt x="990" y="533"/>
                  </a:lnTo>
                  <a:lnTo>
                    <a:pt x="993" y="533"/>
                  </a:lnTo>
                  <a:lnTo>
                    <a:pt x="996" y="534"/>
                  </a:lnTo>
                  <a:lnTo>
                    <a:pt x="999" y="536"/>
                  </a:lnTo>
                  <a:lnTo>
                    <a:pt x="1001" y="538"/>
                  </a:lnTo>
                  <a:lnTo>
                    <a:pt x="1004" y="540"/>
                  </a:lnTo>
                  <a:lnTo>
                    <a:pt x="1007" y="544"/>
                  </a:lnTo>
                  <a:lnTo>
                    <a:pt x="1011" y="548"/>
                  </a:lnTo>
                  <a:lnTo>
                    <a:pt x="1016" y="555"/>
                  </a:lnTo>
                  <a:lnTo>
                    <a:pt x="1021" y="561"/>
                  </a:lnTo>
                  <a:lnTo>
                    <a:pt x="1023" y="566"/>
                  </a:lnTo>
                  <a:lnTo>
                    <a:pt x="1030" y="576"/>
                  </a:lnTo>
                  <a:lnTo>
                    <a:pt x="1034" y="583"/>
                  </a:lnTo>
                  <a:lnTo>
                    <a:pt x="1039" y="589"/>
                  </a:lnTo>
                  <a:lnTo>
                    <a:pt x="1045" y="596"/>
                  </a:lnTo>
                  <a:lnTo>
                    <a:pt x="1046" y="599"/>
                  </a:lnTo>
                  <a:lnTo>
                    <a:pt x="1048" y="601"/>
                  </a:lnTo>
                  <a:lnTo>
                    <a:pt x="1056" y="608"/>
                  </a:lnTo>
                  <a:lnTo>
                    <a:pt x="1065" y="619"/>
                  </a:lnTo>
                  <a:lnTo>
                    <a:pt x="1068" y="623"/>
                  </a:lnTo>
                  <a:lnTo>
                    <a:pt x="1070" y="625"/>
                  </a:lnTo>
                  <a:lnTo>
                    <a:pt x="1072" y="627"/>
                  </a:lnTo>
                  <a:lnTo>
                    <a:pt x="1079" y="633"/>
                  </a:lnTo>
                  <a:lnTo>
                    <a:pt x="1081" y="635"/>
                  </a:lnTo>
                  <a:lnTo>
                    <a:pt x="1083" y="636"/>
                  </a:lnTo>
                  <a:lnTo>
                    <a:pt x="1085" y="639"/>
                  </a:lnTo>
                  <a:lnTo>
                    <a:pt x="1088" y="642"/>
                  </a:lnTo>
                  <a:lnTo>
                    <a:pt x="1090" y="645"/>
                  </a:lnTo>
                  <a:lnTo>
                    <a:pt x="1091" y="648"/>
                  </a:lnTo>
                  <a:lnTo>
                    <a:pt x="1092" y="651"/>
                  </a:lnTo>
                  <a:lnTo>
                    <a:pt x="1094" y="655"/>
                  </a:lnTo>
                  <a:lnTo>
                    <a:pt x="1096" y="660"/>
                  </a:lnTo>
                  <a:lnTo>
                    <a:pt x="1097" y="664"/>
                  </a:lnTo>
                  <a:lnTo>
                    <a:pt x="1097" y="669"/>
                  </a:lnTo>
                  <a:lnTo>
                    <a:pt x="1098" y="680"/>
                  </a:lnTo>
                  <a:lnTo>
                    <a:pt x="1099" y="686"/>
                  </a:lnTo>
                  <a:lnTo>
                    <a:pt x="1099" y="691"/>
                  </a:lnTo>
                  <a:lnTo>
                    <a:pt x="1101" y="698"/>
                  </a:lnTo>
                  <a:lnTo>
                    <a:pt x="1102" y="704"/>
                  </a:lnTo>
                  <a:lnTo>
                    <a:pt x="1102" y="709"/>
                  </a:lnTo>
                  <a:lnTo>
                    <a:pt x="1102" y="711"/>
                  </a:lnTo>
                  <a:lnTo>
                    <a:pt x="1103" y="714"/>
                  </a:lnTo>
                  <a:lnTo>
                    <a:pt x="1105" y="718"/>
                  </a:lnTo>
                  <a:lnTo>
                    <a:pt x="1108" y="722"/>
                  </a:lnTo>
                  <a:lnTo>
                    <a:pt x="1113" y="731"/>
                  </a:lnTo>
                  <a:lnTo>
                    <a:pt x="1114" y="734"/>
                  </a:lnTo>
                  <a:lnTo>
                    <a:pt x="1114" y="736"/>
                  </a:lnTo>
                  <a:lnTo>
                    <a:pt x="1115" y="738"/>
                  </a:lnTo>
                  <a:lnTo>
                    <a:pt x="1116" y="740"/>
                  </a:lnTo>
                  <a:lnTo>
                    <a:pt x="1116" y="741"/>
                  </a:lnTo>
                  <a:lnTo>
                    <a:pt x="1116" y="742"/>
                  </a:lnTo>
                  <a:lnTo>
                    <a:pt x="1116" y="743"/>
                  </a:lnTo>
                  <a:lnTo>
                    <a:pt x="1115" y="743"/>
                  </a:lnTo>
                  <a:lnTo>
                    <a:pt x="1114" y="744"/>
                  </a:lnTo>
                  <a:lnTo>
                    <a:pt x="1114" y="744"/>
                  </a:lnTo>
                  <a:lnTo>
                    <a:pt x="1111" y="743"/>
                  </a:lnTo>
                  <a:lnTo>
                    <a:pt x="1107" y="743"/>
                  </a:lnTo>
                  <a:lnTo>
                    <a:pt x="1103" y="741"/>
                  </a:lnTo>
                  <a:lnTo>
                    <a:pt x="1100" y="740"/>
                  </a:lnTo>
                  <a:lnTo>
                    <a:pt x="1088" y="736"/>
                  </a:lnTo>
                  <a:lnTo>
                    <a:pt x="1083" y="734"/>
                  </a:lnTo>
                  <a:lnTo>
                    <a:pt x="1078" y="731"/>
                  </a:lnTo>
                  <a:lnTo>
                    <a:pt x="1073" y="728"/>
                  </a:lnTo>
                  <a:lnTo>
                    <a:pt x="1068" y="725"/>
                  </a:lnTo>
                  <a:lnTo>
                    <a:pt x="1066" y="724"/>
                  </a:lnTo>
                  <a:lnTo>
                    <a:pt x="1063" y="722"/>
                  </a:lnTo>
                  <a:lnTo>
                    <a:pt x="1060" y="721"/>
                  </a:lnTo>
                  <a:lnTo>
                    <a:pt x="1058" y="720"/>
                  </a:lnTo>
                  <a:lnTo>
                    <a:pt x="1057" y="720"/>
                  </a:lnTo>
                  <a:lnTo>
                    <a:pt x="1055" y="720"/>
                  </a:lnTo>
                  <a:lnTo>
                    <a:pt x="1054" y="719"/>
                  </a:lnTo>
                  <a:lnTo>
                    <a:pt x="1052" y="720"/>
                  </a:lnTo>
                  <a:lnTo>
                    <a:pt x="1050" y="720"/>
                  </a:lnTo>
                  <a:lnTo>
                    <a:pt x="1049" y="720"/>
                  </a:lnTo>
                  <a:lnTo>
                    <a:pt x="1048" y="721"/>
                  </a:lnTo>
                  <a:lnTo>
                    <a:pt x="1046" y="722"/>
                  </a:lnTo>
                  <a:lnTo>
                    <a:pt x="1045" y="723"/>
                  </a:lnTo>
                  <a:lnTo>
                    <a:pt x="1044" y="724"/>
                  </a:lnTo>
                  <a:lnTo>
                    <a:pt x="1042" y="725"/>
                  </a:lnTo>
                  <a:lnTo>
                    <a:pt x="1041" y="727"/>
                  </a:lnTo>
                  <a:lnTo>
                    <a:pt x="1040" y="729"/>
                  </a:lnTo>
                  <a:lnTo>
                    <a:pt x="1035" y="739"/>
                  </a:lnTo>
                  <a:lnTo>
                    <a:pt x="1034" y="742"/>
                  </a:lnTo>
                  <a:lnTo>
                    <a:pt x="1033" y="744"/>
                  </a:lnTo>
                  <a:lnTo>
                    <a:pt x="1031" y="747"/>
                  </a:lnTo>
                  <a:lnTo>
                    <a:pt x="1029" y="748"/>
                  </a:lnTo>
                  <a:lnTo>
                    <a:pt x="1027" y="751"/>
                  </a:lnTo>
                  <a:lnTo>
                    <a:pt x="1024" y="753"/>
                  </a:lnTo>
                  <a:lnTo>
                    <a:pt x="1021" y="756"/>
                  </a:lnTo>
                  <a:lnTo>
                    <a:pt x="1017" y="758"/>
                  </a:lnTo>
                  <a:lnTo>
                    <a:pt x="1014" y="759"/>
                  </a:lnTo>
                  <a:lnTo>
                    <a:pt x="1008" y="762"/>
                  </a:lnTo>
                  <a:lnTo>
                    <a:pt x="1003" y="765"/>
                  </a:lnTo>
                  <a:lnTo>
                    <a:pt x="1001" y="766"/>
                  </a:lnTo>
                  <a:lnTo>
                    <a:pt x="999" y="769"/>
                  </a:lnTo>
                  <a:lnTo>
                    <a:pt x="997" y="770"/>
                  </a:lnTo>
                  <a:lnTo>
                    <a:pt x="989" y="772"/>
                  </a:lnTo>
                  <a:lnTo>
                    <a:pt x="983" y="776"/>
                  </a:lnTo>
                  <a:lnTo>
                    <a:pt x="977" y="779"/>
                  </a:lnTo>
                  <a:lnTo>
                    <a:pt x="976" y="780"/>
                  </a:lnTo>
                  <a:lnTo>
                    <a:pt x="973" y="782"/>
                  </a:lnTo>
                  <a:lnTo>
                    <a:pt x="966" y="787"/>
                  </a:lnTo>
                  <a:lnTo>
                    <a:pt x="961" y="790"/>
                  </a:lnTo>
                  <a:lnTo>
                    <a:pt x="958" y="792"/>
                  </a:lnTo>
                  <a:lnTo>
                    <a:pt x="952" y="795"/>
                  </a:lnTo>
                  <a:lnTo>
                    <a:pt x="949" y="797"/>
                  </a:lnTo>
                  <a:lnTo>
                    <a:pt x="946" y="799"/>
                  </a:lnTo>
                  <a:lnTo>
                    <a:pt x="944" y="802"/>
                  </a:lnTo>
                  <a:lnTo>
                    <a:pt x="943" y="804"/>
                  </a:lnTo>
                  <a:lnTo>
                    <a:pt x="941" y="805"/>
                  </a:lnTo>
                  <a:lnTo>
                    <a:pt x="940" y="808"/>
                  </a:lnTo>
                  <a:lnTo>
                    <a:pt x="940" y="809"/>
                  </a:lnTo>
                  <a:lnTo>
                    <a:pt x="939" y="811"/>
                  </a:lnTo>
                  <a:lnTo>
                    <a:pt x="939" y="813"/>
                  </a:lnTo>
                  <a:lnTo>
                    <a:pt x="939" y="819"/>
                  </a:lnTo>
                  <a:lnTo>
                    <a:pt x="939" y="820"/>
                  </a:lnTo>
                  <a:lnTo>
                    <a:pt x="938" y="822"/>
                  </a:lnTo>
                  <a:lnTo>
                    <a:pt x="937" y="824"/>
                  </a:lnTo>
                  <a:lnTo>
                    <a:pt x="937" y="826"/>
                  </a:lnTo>
                  <a:lnTo>
                    <a:pt x="935" y="827"/>
                  </a:lnTo>
                  <a:lnTo>
                    <a:pt x="933" y="829"/>
                  </a:lnTo>
                  <a:lnTo>
                    <a:pt x="931" y="831"/>
                  </a:lnTo>
                  <a:lnTo>
                    <a:pt x="926" y="835"/>
                  </a:lnTo>
                  <a:lnTo>
                    <a:pt x="924" y="837"/>
                  </a:lnTo>
                  <a:lnTo>
                    <a:pt x="923" y="838"/>
                  </a:lnTo>
                  <a:lnTo>
                    <a:pt x="922" y="839"/>
                  </a:lnTo>
                  <a:lnTo>
                    <a:pt x="921" y="840"/>
                  </a:lnTo>
                  <a:lnTo>
                    <a:pt x="920" y="842"/>
                  </a:lnTo>
                  <a:lnTo>
                    <a:pt x="920" y="843"/>
                  </a:lnTo>
                  <a:lnTo>
                    <a:pt x="920" y="845"/>
                  </a:lnTo>
                  <a:lnTo>
                    <a:pt x="920" y="846"/>
                  </a:lnTo>
                  <a:lnTo>
                    <a:pt x="920" y="849"/>
                  </a:lnTo>
                  <a:lnTo>
                    <a:pt x="922" y="854"/>
                  </a:lnTo>
                  <a:lnTo>
                    <a:pt x="923" y="856"/>
                  </a:lnTo>
                  <a:lnTo>
                    <a:pt x="923" y="858"/>
                  </a:lnTo>
                  <a:lnTo>
                    <a:pt x="923" y="859"/>
                  </a:lnTo>
                  <a:lnTo>
                    <a:pt x="922" y="860"/>
                  </a:lnTo>
                  <a:lnTo>
                    <a:pt x="922" y="861"/>
                  </a:lnTo>
                  <a:lnTo>
                    <a:pt x="921" y="861"/>
                  </a:lnTo>
                  <a:lnTo>
                    <a:pt x="920" y="861"/>
                  </a:lnTo>
                  <a:lnTo>
                    <a:pt x="918" y="862"/>
                  </a:lnTo>
                  <a:lnTo>
                    <a:pt x="916" y="862"/>
                  </a:lnTo>
                  <a:lnTo>
                    <a:pt x="913" y="862"/>
                  </a:lnTo>
                  <a:lnTo>
                    <a:pt x="911" y="862"/>
                  </a:lnTo>
                  <a:lnTo>
                    <a:pt x="909" y="861"/>
                  </a:lnTo>
                  <a:lnTo>
                    <a:pt x="903" y="861"/>
                  </a:lnTo>
                  <a:lnTo>
                    <a:pt x="899" y="860"/>
                  </a:lnTo>
                  <a:lnTo>
                    <a:pt x="897" y="859"/>
                  </a:lnTo>
                  <a:lnTo>
                    <a:pt x="895" y="859"/>
                  </a:lnTo>
                  <a:lnTo>
                    <a:pt x="892" y="859"/>
                  </a:lnTo>
                  <a:lnTo>
                    <a:pt x="887" y="860"/>
                  </a:lnTo>
                  <a:lnTo>
                    <a:pt x="880" y="861"/>
                  </a:lnTo>
                  <a:lnTo>
                    <a:pt x="876" y="861"/>
                  </a:lnTo>
                  <a:lnTo>
                    <a:pt x="874" y="861"/>
                  </a:lnTo>
                  <a:lnTo>
                    <a:pt x="872" y="861"/>
                  </a:lnTo>
                  <a:lnTo>
                    <a:pt x="870" y="861"/>
                  </a:lnTo>
                  <a:lnTo>
                    <a:pt x="868" y="860"/>
                  </a:lnTo>
                  <a:lnTo>
                    <a:pt x="864" y="858"/>
                  </a:lnTo>
                  <a:lnTo>
                    <a:pt x="863" y="857"/>
                  </a:lnTo>
                  <a:lnTo>
                    <a:pt x="863" y="857"/>
                  </a:lnTo>
                  <a:lnTo>
                    <a:pt x="861" y="857"/>
                  </a:lnTo>
                  <a:lnTo>
                    <a:pt x="860" y="858"/>
                  </a:lnTo>
                  <a:lnTo>
                    <a:pt x="853" y="861"/>
                  </a:lnTo>
                  <a:lnTo>
                    <a:pt x="852" y="861"/>
                  </a:lnTo>
                  <a:lnTo>
                    <a:pt x="850" y="862"/>
                  </a:lnTo>
                  <a:lnTo>
                    <a:pt x="842" y="864"/>
                  </a:lnTo>
                  <a:lnTo>
                    <a:pt x="838" y="865"/>
                  </a:lnTo>
                  <a:lnTo>
                    <a:pt x="835" y="865"/>
                  </a:lnTo>
                  <a:lnTo>
                    <a:pt x="831" y="865"/>
                  </a:lnTo>
                  <a:lnTo>
                    <a:pt x="829" y="865"/>
                  </a:lnTo>
                  <a:lnTo>
                    <a:pt x="828" y="864"/>
                  </a:lnTo>
                  <a:lnTo>
                    <a:pt x="826" y="864"/>
                  </a:lnTo>
                  <a:lnTo>
                    <a:pt x="824" y="863"/>
                  </a:lnTo>
                  <a:lnTo>
                    <a:pt x="822" y="861"/>
                  </a:lnTo>
                  <a:lnTo>
                    <a:pt x="819" y="860"/>
                  </a:lnTo>
                  <a:lnTo>
                    <a:pt x="809" y="851"/>
                  </a:lnTo>
                  <a:lnTo>
                    <a:pt x="806" y="850"/>
                  </a:lnTo>
                  <a:lnTo>
                    <a:pt x="804" y="849"/>
                  </a:lnTo>
                  <a:lnTo>
                    <a:pt x="800" y="847"/>
                  </a:lnTo>
                  <a:lnTo>
                    <a:pt x="795" y="844"/>
                  </a:lnTo>
                  <a:lnTo>
                    <a:pt x="790" y="842"/>
                  </a:lnTo>
                  <a:lnTo>
                    <a:pt x="784" y="839"/>
                  </a:lnTo>
                  <a:lnTo>
                    <a:pt x="781" y="839"/>
                  </a:lnTo>
                  <a:lnTo>
                    <a:pt x="779" y="837"/>
                  </a:lnTo>
                  <a:lnTo>
                    <a:pt x="776" y="835"/>
                  </a:lnTo>
                  <a:lnTo>
                    <a:pt x="773" y="833"/>
                  </a:lnTo>
                  <a:lnTo>
                    <a:pt x="767" y="827"/>
                  </a:lnTo>
                  <a:lnTo>
                    <a:pt x="764" y="826"/>
                  </a:lnTo>
                  <a:lnTo>
                    <a:pt x="762" y="824"/>
                  </a:lnTo>
                  <a:lnTo>
                    <a:pt x="760" y="822"/>
                  </a:lnTo>
                  <a:lnTo>
                    <a:pt x="758" y="821"/>
                  </a:lnTo>
                  <a:lnTo>
                    <a:pt x="749" y="817"/>
                  </a:lnTo>
                  <a:lnTo>
                    <a:pt x="745" y="816"/>
                  </a:lnTo>
                  <a:lnTo>
                    <a:pt x="741" y="814"/>
                  </a:lnTo>
                  <a:lnTo>
                    <a:pt x="738" y="813"/>
                  </a:lnTo>
                  <a:lnTo>
                    <a:pt x="736" y="810"/>
                  </a:lnTo>
                  <a:lnTo>
                    <a:pt x="733" y="808"/>
                  </a:lnTo>
                  <a:lnTo>
                    <a:pt x="731" y="805"/>
                  </a:lnTo>
                  <a:lnTo>
                    <a:pt x="726" y="798"/>
                  </a:lnTo>
                  <a:lnTo>
                    <a:pt x="723" y="794"/>
                  </a:lnTo>
                  <a:lnTo>
                    <a:pt x="720" y="793"/>
                  </a:lnTo>
                  <a:lnTo>
                    <a:pt x="719" y="792"/>
                  </a:lnTo>
                  <a:lnTo>
                    <a:pt x="717" y="791"/>
                  </a:lnTo>
                  <a:lnTo>
                    <a:pt x="715" y="789"/>
                  </a:lnTo>
                  <a:lnTo>
                    <a:pt x="712" y="788"/>
                  </a:lnTo>
                  <a:lnTo>
                    <a:pt x="708" y="786"/>
                  </a:lnTo>
                  <a:lnTo>
                    <a:pt x="700" y="784"/>
                  </a:lnTo>
                  <a:lnTo>
                    <a:pt x="696" y="782"/>
                  </a:lnTo>
                  <a:lnTo>
                    <a:pt x="693" y="782"/>
                  </a:lnTo>
                  <a:lnTo>
                    <a:pt x="692" y="781"/>
                  </a:lnTo>
                  <a:lnTo>
                    <a:pt x="690" y="780"/>
                  </a:lnTo>
                  <a:lnTo>
                    <a:pt x="689" y="779"/>
                  </a:lnTo>
                  <a:lnTo>
                    <a:pt x="688" y="777"/>
                  </a:lnTo>
                  <a:lnTo>
                    <a:pt x="686" y="775"/>
                  </a:lnTo>
                  <a:lnTo>
                    <a:pt x="685" y="772"/>
                  </a:lnTo>
                  <a:lnTo>
                    <a:pt x="683" y="768"/>
                  </a:lnTo>
                  <a:lnTo>
                    <a:pt x="681" y="759"/>
                  </a:lnTo>
                  <a:lnTo>
                    <a:pt x="680" y="756"/>
                  </a:lnTo>
                  <a:lnTo>
                    <a:pt x="679" y="753"/>
                  </a:lnTo>
                  <a:lnTo>
                    <a:pt x="678" y="751"/>
                  </a:lnTo>
                  <a:lnTo>
                    <a:pt x="677" y="750"/>
                  </a:lnTo>
                  <a:lnTo>
                    <a:pt x="675" y="748"/>
                  </a:lnTo>
                  <a:lnTo>
                    <a:pt x="673" y="747"/>
                  </a:lnTo>
                  <a:lnTo>
                    <a:pt x="669" y="741"/>
                  </a:lnTo>
                  <a:lnTo>
                    <a:pt x="667" y="739"/>
                  </a:lnTo>
                  <a:lnTo>
                    <a:pt x="665" y="737"/>
                  </a:lnTo>
                  <a:lnTo>
                    <a:pt x="663" y="737"/>
                  </a:lnTo>
                  <a:lnTo>
                    <a:pt x="660" y="735"/>
                  </a:lnTo>
                  <a:lnTo>
                    <a:pt x="657" y="734"/>
                  </a:lnTo>
                  <a:lnTo>
                    <a:pt x="652" y="732"/>
                  </a:lnTo>
                  <a:lnTo>
                    <a:pt x="644" y="729"/>
                  </a:lnTo>
                  <a:lnTo>
                    <a:pt x="635" y="727"/>
                  </a:lnTo>
                  <a:lnTo>
                    <a:pt x="629" y="725"/>
                  </a:lnTo>
                  <a:lnTo>
                    <a:pt x="623" y="725"/>
                  </a:lnTo>
                  <a:lnTo>
                    <a:pt x="620" y="724"/>
                  </a:lnTo>
                  <a:lnTo>
                    <a:pt x="616" y="724"/>
                  </a:lnTo>
                  <a:lnTo>
                    <a:pt x="615" y="724"/>
                  </a:lnTo>
                  <a:lnTo>
                    <a:pt x="613" y="724"/>
                  </a:lnTo>
                  <a:lnTo>
                    <a:pt x="609" y="725"/>
                  </a:lnTo>
                  <a:lnTo>
                    <a:pt x="602" y="727"/>
                  </a:lnTo>
                  <a:lnTo>
                    <a:pt x="599" y="728"/>
                  </a:lnTo>
                  <a:lnTo>
                    <a:pt x="596" y="730"/>
                  </a:lnTo>
                  <a:lnTo>
                    <a:pt x="594" y="732"/>
                  </a:lnTo>
                  <a:lnTo>
                    <a:pt x="592" y="733"/>
                  </a:lnTo>
                  <a:lnTo>
                    <a:pt x="585" y="739"/>
                  </a:lnTo>
                  <a:lnTo>
                    <a:pt x="583" y="741"/>
                  </a:lnTo>
                  <a:lnTo>
                    <a:pt x="582" y="742"/>
                  </a:lnTo>
                  <a:lnTo>
                    <a:pt x="580" y="743"/>
                  </a:lnTo>
                  <a:lnTo>
                    <a:pt x="578" y="745"/>
                  </a:lnTo>
                  <a:lnTo>
                    <a:pt x="570" y="748"/>
                  </a:lnTo>
                  <a:lnTo>
                    <a:pt x="568" y="749"/>
                  </a:lnTo>
                  <a:lnTo>
                    <a:pt x="565" y="751"/>
                  </a:lnTo>
                  <a:lnTo>
                    <a:pt x="559" y="755"/>
                  </a:lnTo>
                  <a:lnTo>
                    <a:pt x="556" y="757"/>
                  </a:lnTo>
                  <a:lnTo>
                    <a:pt x="553" y="759"/>
                  </a:lnTo>
                  <a:lnTo>
                    <a:pt x="551" y="759"/>
                  </a:lnTo>
                  <a:lnTo>
                    <a:pt x="550" y="759"/>
                  </a:lnTo>
                  <a:lnTo>
                    <a:pt x="548" y="759"/>
                  </a:lnTo>
                  <a:lnTo>
                    <a:pt x="547" y="759"/>
                  </a:lnTo>
                  <a:lnTo>
                    <a:pt x="545" y="759"/>
                  </a:lnTo>
                  <a:lnTo>
                    <a:pt x="542" y="759"/>
                  </a:lnTo>
                  <a:lnTo>
                    <a:pt x="540" y="759"/>
                  </a:lnTo>
                  <a:lnTo>
                    <a:pt x="538" y="758"/>
                  </a:lnTo>
                  <a:lnTo>
                    <a:pt x="537" y="757"/>
                  </a:lnTo>
                  <a:lnTo>
                    <a:pt x="535" y="756"/>
                  </a:lnTo>
                  <a:lnTo>
                    <a:pt x="534" y="755"/>
                  </a:lnTo>
                  <a:lnTo>
                    <a:pt x="532" y="754"/>
                  </a:lnTo>
                  <a:lnTo>
                    <a:pt x="531" y="752"/>
                  </a:lnTo>
                  <a:lnTo>
                    <a:pt x="530" y="750"/>
                  </a:lnTo>
                  <a:lnTo>
                    <a:pt x="528" y="748"/>
                  </a:lnTo>
                  <a:lnTo>
                    <a:pt x="527" y="745"/>
                  </a:lnTo>
                  <a:lnTo>
                    <a:pt x="524" y="737"/>
                  </a:lnTo>
                  <a:lnTo>
                    <a:pt x="522" y="734"/>
                  </a:lnTo>
                  <a:lnTo>
                    <a:pt x="522" y="730"/>
                  </a:lnTo>
                  <a:lnTo>
                    <a:pt x="519" y="726"/>
                  </a:lnTo>
                  <a:lnTo>
                    <a:pt x="517" y="723"/>
                  </a:lnTo>
                  <a:lnTo>
                    <a:pt x="515" y="722"/>
                  </a:lnTo>
                  <a:lnTo>
                    <a:pt x="514" y="720"/>
                  </a:lnTo>
                  <a:lnTo>
                    <a:pt x="512" y="719"/>
                  </a:lnTo>
                  <a:lnTo>
                    <a:pt x="511" y="717"/>
                  </a:lnTo>
                  <a:lnTo>
                    <a:pt x="509" y="715"/>
                  </a:lnTo>
                  <a:lnTo>
                    <a:pt x="508" y="715"/>
                  </a:lnTo>
                  <a:lnTo>
                    <a:pt x="507" y="715"/>
                  </a:lnTo>
                  <a:lnTo>
                    <a:pt x="505" y="716"/>
                  </a:lnTo>
                  <a:lnTo>
                    <a:pt x="501" y="718"/>
                  </a:lnTo>
                  <a:lnTo>
                    <a:pt x="497" y="721"/>
                  </a:lnTo>
                  <a:lnTo>
                    <a:pt x="494" y="723"/>
                  </a:lnTo>
                  <a:lnTo>
                    <a:pt x="491" y="725"/>
                  </a:lnTo>
                  <a:lnTo>
                    <a:pt x="488" y="726"/>
                  </a:lnTo>
                  <a:lnTo>
                    <a:pt x="486" y="729"/>
                  </a:lnTo>
                  <a:lnTo>
                    <a:pt x="485" y="731"/>
                  </a:lnTo>
                  <a:lnTo>
                    <a:pt x="483" y="733"/>
                  </a:lnTo>
                  <a:lnTo>
                    <a:pt x="482" y="734"/>
                  </a:lnTo>
                  <a:lnTo>
                    <a:pt x="481" y="736"/>
                  </a:lnTo>
                  <a:lnTo>
                    <a:pt x="479" y="739"/>
                  </a:lnTo>
                  <a:lnTo>
                    <a:pt x="477" y="745"/>
                  </a:lnTo>
                  <a:lnTo>
                    <a:pt x="476" y="748"/>
                  </a:lnTo>
                  <a:lnTo>
                    <a:pt x="475" y="749"/>
                  </a:lnTo>
                  <a:lnTo>
                    <a:pt x="473" y="750"/>
                  </a:lnTo>
                  <a:lnTo>
                    <a:pt x="472" y="752"/>
                  </a:lnTo>
                  <a:lnTo>
                    <a:pt x="470" y="754"/>
                  </a:lnTo>
                  <a:lnTo>
                    <a:pt x="468" y="756"/>
                  </a:lnTo>
                  <a:lnTo>
                    <a:pt x="466" y="757"/>
                  </a:lnTo>
                  <a:lnTo>
                    <a:pt x="464" y="758"/>
                  </a:lnTo>
                  <a:lnTo>
                    <a:pt x="461" y="759"/>
                  </a:lnTo>
                  <a:lnTo>
                    <a:pt x="454" y="760"/>
                  </a:lnTo>
                  <a:lnTo>
                    <a:pt x="451" y="762"/>
                  </a:lnTo>
                  <a:lnTo>
                    <a:pt x="447" y="763"/>
                  </a:lnTo>
                  <a:lnTo>
                    <a:pt x="441" y="767"/>
                  </a:lnTo>
                  <a:lnTo>
                    <a:pt x="438" y="768"/>
                  </a:lnTo>
                  <a:lnTo>
                    <a:pt x="436" y="768"/>
                  </a:lnTo>
                  <a:lnTo>
                    <a:pt x="433" y="769"/>
                  </a:lnTo>
                  <a:lnTo>
                    <a:pt x="431" y="769"/>
                  </a:lnTo>
                  <a:lnTo>
                    <a:pt x="429" y="768"/>
                  </a:lnTo>
                  <a:lnTo>
                    <a:pt x="426" y="768"/>
                  </a:lnTo>
                  <a:lnTo>
                    <a:pt x="423" y="767"/>
                  </a:lnTo>
                  <a:lnTo>
                    <a:pt x="417" y="764"/>
                  </a:lnTo>
                  <a:lnTo>
                    <a:pt x="413" y="763"/>
                  </a:lnTo>
                  <a:lnTo>
                    <a:pt x="411" y="762"/>
                  </a:lnTo>
                  <a:lnTo>
                    <a:pt x="409" y="762"/>
                  </a:lnTo>
                  <a:lnTo>
                    <a:pt x="408" y="762"/>
                  </a:lnTo>
                  <a:lnTo>
                    <a:pt x="403" y="762"/>
                  </a:lnTo>
                  <a:lnTo>
                    <a:pt x="400" y="762"/>
                  </a:lnTo>
                  <a:lnTo>
                    <a:pt x="397" y="761"/>
                  </a:lnTo>
                  <a:lnTo>
                    <a:pt x="392" y="760"/>
                  </a:lnTo>
                  <a:lnTo>
                    <a:pt x="388" y="760"/>
                  </a:lnTo>
                  <a:lnTo>
                    <a:pt x="386" y="760"/>
                  </a:lnTo>
                  <a:lnTo>
                    <a:pt x="378" y="760"/>
                  </a:lnTo>
                  <a:lnTo>
                    <a:pt x="375" y="759"/>
                  </a:lnTo>
                  <a:lnTo>
                    <a:pt x="373" y="760"/>
                  </a:lnTo>
                  <a:lnTo>
                    <a:pt x="369" y="760"/>
                  </a:lnTo>
                  <a:lnTo>
                    <a:pt x="367" y="760"/>
                  </a:lnTo>
                  <a:lnTo>
                    <a:pt x="366" y="760"/>
                  </a:lnTo>
                  <a:lnTo>
                    <a:pt x="363" y="759"/>
                  </a:lnTo>
                  <a:lnTo>
                    <a:pt x="361" y="759"/>
                  </a:lnTo>
                  <a:lnTo>
                    <a:pt x="359" y="757"/>
                  </a:lnTo>
                  <a:lnTo>
                    <a:pt x="354" y="754"/>
                  </a:lnTo>
                  <a:lnTo>
                    <a:pt x="353" y="753"/>
                  </a:lnTo>
                  <a:lnTo>
                    <a:pt x="352" y="752"/>
                  </a:lnTo>
                  <a:lnTo>
                    <a:pt x="352" y="751"/>
                  </a:lnTo>
                  <a:lnTo>
                    <a:pt x="350" y="751"/>
                  </a:lnTo>
                  <a:lnTo>
                    <a:pt x="349" y="751"/>
                  </a:lnTo>
                  <a:lnTo>
                    <a:pt x="348" y="751"/>
                  </a:lnTo>
                  <a:lnTo>
                    <a:pt x="347" y="751"/>
                  </a:lnTo>
                  <a:lnTo>
                    <a:pt x="346" y="752"/>
                  </a:lnTo>
                  <a:lnTo>
                    <a:pt x="337" y="756"/>
                  </a:lnTo>
                  <a:lnTo>
                    <a:pt x="335" y="757"/>
                  </a:lnTo>
                  <a:lnTo>
                    <a:pt x="332" y="758"/>
                  </a:lnTo>
                  <a:lnTo>
                    <a:pt x="329" y="759"/>
                  </a:lnTo>
                  <a:lnTo>
                    <a:pt x="326" y="759"/>
                  </a:lnTo>
                  <a:lnTo>
                    <a:pt x="323" y="760"/>
                  </a:lnTo>
                  <a:lnTo>
                    <a:pt x="320" y="762"/>
                  </a:lnTo>
                  <a:lnTo>
                    <a:pt x="318" y="763"/>
                  </a:lnTo>
                  <a:lnTo>
                    <a:pt x="318" y="765"/>
                  </a:lnTo>
                  <a:lnTo>
                    <a:pt x="316" y="766"/>
                  </a:lnTo>
                  <a:lnTo>
                    <a:pt x="315" y="768"/>
                  </a:lnTo>
                  <a:lnTo>
                    <a:pt x="314" y="769"/>
                  </a:lnTo>
                  <a:lnTo>
                    <a:pt x="313" y="771"/>
                  </a:lnTo>
                  <a:lnTo>
                    <a:pt x="310" y="776"/>
                  </a:lnTo>
                  <a:lnTo>
                    <a:pt x="309" y="777"/>
                  </a:lnTo>
                  <a:lnTo>
                    <a:pt x="308" y="779"/>
                  </a:lnTo>
                  <a:lnTo>
                    <a:pt x="306" y="781"/>
                  </a:lnTo>
                  <a:lnTo>
                    <a:pt x="303" y="783"/>
                  </a:lnTo>
                  <a:lnTo>
                    <a:pt x="300" y="785"/>
                  </a:lnTo>
                  <a:lnTo>
                    <a:pt x="297" y="787"/>
                  </a:lnTo>
                  <a:lnTo>
                    <a:pt x="294" y="789"/>
                  </a:lnTo>
                  <a:lnTo>
                    <a:pt x="292" y="790"/>
                  </a:lnTo>
                  <a:lnTo>
                    <a:pt x="287" y="793"/>
                  </a:lnTo>
                  <a:lnTo>
                    <a:pt x="284" y="794"/>
                  </a:lnTo>
                  <a:lnTo>
                    <a:pt x="282" y="796"/>
                  </a:lnTo>
                  <a:lnTo>
                    <a:pt x="279" y="797"/>
                  </a:lnTo>
                  <a:lnTo>
                    <a:pt x="276" y="798"/>
                  </a:lnTo>
                  <a:lnTo>
                    <a:pt x="273" y="799"/>
                  </a:lnTo>
                  <a:lnTo>
                    <a:pt x="271" y="800"/>
                  </a:lnTo>
                  <a:lnTo>
                    <a:pt x="269" y="801"/>
                  </a:lnTo>
                  <a:lnTo>
                    <a:pt x="266" y="801"/>
                  </a:lnTo>
                  <a:lnTo>
                    <a:pt x="264" y="801"/>
                  </a:lnTo>
                  <a:lnTo>
                    <a:pt x="261" y="801"/>
                  </a:lnTo>
                  <a:lnTo>
                    <a:pt x="260" y="801"/>
                  </a:lnTo>
                  <a:lnTo>
                    <a:pt x="258" y="801"/>
                  </a:lnTo>
                  <a:lnTo>
                    <a:pt x="256" y="800"/>
                  </a:lnTo>
                  <a:lnTo>
                    <a:pt x="254" y="799"/>
                  </a:lnTo>
                  <a:lnTo>
                    <a:pt x="252" y="798"/>
                  </a:lnTo>
                  <a:lnTo>
                    <a:pt x="250" y="797"/>
                  </a:lnTo>
                  <a:lnTo>
                    <a:pt x="249" y="795"/>
                  </a:lnTo>
                  <a:lnTo>
                    <a:pt x="248" y="793"/>
                  </a:lnTo>
                  <a:lnTo>
                    <a:pt x="248" y="793"/>
                  </a:lnTo>
                  <a:lnTo>
                    <a:pt x="248" y="792"/>
                  </a:lnTo>
                  <a:lnTo>
                    <a:pt x="249" y="788"/>
                  </a:lnTo>
                  <a:lnTo>
                    <a:pt x="249" y="785"/>
                  </a:lnTo>
                  <a:lnTo>
                    <a:pt x="249" y="782"/>
                  </a:lnTo>
                  <a:lnTo>
                    <a:pt x="249" y="782"/>
                  </a:lnTo>
                  <a:lnTo>
                    <a:pt x="249" y="780"/>
                  </a:lnTo>
                  <a:lnTo>
                    <a:pt x="249" y="779"/>
                  </a:lnTo>
                  <a:lnTo>
                    <a:pt x="248" y="777"/>
                  </a:lnTo>
                  <a:lnTo>
                    <a:pt x="247" y="776"/>
                  </a:lnTo>
                  <a:lnTo>
                    <a:pt x="247" y="775"/>
                  </a:lnTo>
                  <a:lnTo>
                    <a:pt x="246" y="773"/>
                  </a:lnTo>
                  <a:lnTo>
                    <a:pt x="245" y="772"/>
                  </a:lnTo>
                  <a:lnTo>
                    <a:pt x="242" y="771"/>
                  </a:lnTo>
                  <a:lnTo>
                    <a:pt x="239" y="768"/>
                  </a:lnTo>
                  <a:lnTo>
                    <a:pt x="233" y="764"/>
                  </a:lnTo>
                  <a:lnTo>
                    <a:pt x="230" y="762"/>
                  </a:lnTo>
                  <a:lnTo>
                    <a:pt x="228" y="761"/>
                  </a:lnTo>
                  <a:lnTo>
                    <a:pt x="227" y="761"/>
                  </a:lnTo>
                  <a:lnTo>
                    <a:pt x="224" y="760"/>
                  </a:lnTo>
                  <a:lnTo>
                    <a:pt x="217" y="759"/>
                  </a:lnTo>
                  <a:lnTo>
                    <a:pt x="215" y="759"/>
                  </a:lnTo>
                  <a:lnTo>
                    <a:pt x="211" y="758"/>
                  </a:lnTo>
                  <a:lnTo>
                    <a:pt x="203" y="755"/>
                  </a:lnTo>
                  <a:lnTo>
                    <a:pt x="194" y="752"/>
                  </a:lnTo>
                  <a:lnTo>
                    <a:pt x="192" y="751"/>
                  </a:lnTo>
                  <a:lnTo>
                    <a:pt x="191" y="750"/>
                  </a:lnTo>
                  <a:lnTo>
                    <a:pt x="190" y="749"/>
                  </a:lnTo>
                  <a:lnTo>
                    <a:pt x="189" y="748"/>
                  </a:lnTo>
                  <a:lnTo>
                    <a:pt x="189" y="748"/>
                  </a:lnTo>
                  <a:lnTo>
                    <a:pt x="189" y="747"/>
                  </a:lnTo>
                  <a:lnTo>
                    <a:pt x="191" y="741"/>
                  </a:lnTo>
                  <a:lnTo>
                    <a:pt x="192" y="739"/>
                  </a:lnTo>
                  <a:lnTo>
                    <a:pt x="192" y="738"/>
                  </a:lnTo>
                  <a:lnTo>
                    <a:pt x="192" y="736"/>
                  </a:lnTo>
                  <a:lnTo>
                    <a:pt x="191" y="732"/>
                  </a:lnTo>
                  <a:lnTo>
                    <a:pt x="191" y="731"/>
                  </a:lnTo>
                  <a:lnTo>
                    <a:pt x="191" y="729"/>
                  </a:lnTo>
                  <a:lnTo>
                    <a:pt x="191" y="728"/>
                  </a:lnTo>
                  <a:lnTo>
                    <a:pt x="192" y="726"/>
                  </a:lnTo>
                  <a:lnTo>
                    <a:pt x="194" y="723"/>
                  </a:lnTo>
                  <a:lnTo>
                    <a:pt x="197" y="720"/>
                  </a:lnTo>
                  <a:lnTo>
                    <a:pt x="201" y="715"/>
                  </a:lnTo>
                  <a:lnTo>
                    <a:pt x="203" y="714"/>
                  </a:lnTo>
                  <a:lnTo>
                    <a:pt x="205" y="708"/>
                  </a:lnTo>
                  <a:lnTo>
                    <a:pt x="208" y="704"/>
                  </a:lnTo>
                  <a:lnTo>
                    <a:pt x="209" y="702"/>
                  </a:lnTo>
                  <a:lnTo>
                    <a:pt x="210" y="700"/>
                  </a:lnTo>
                  <a:lnTo>
                    <a:pt x="213" y="694"/>
                  </a:lnTo>
                  <a:lnTo>
                    <a:pt x="214" y="691"/>
                  </a:lnTo>
                  <a:lnTo>
                    <a:pt x="214" y="690"/>
                  </a:lnTo>
                  <a:lnTo>
                    <a:pt x="215" y="688"/>
                  </a:lnTo>
                  <a:lnTo>
                    <a:pt x="215" y="685"/>
                  </a:lnTo>
                  <a:lnTo>
                    <a:pt x="215" y="683"/>
                  </a:lnTo>
                  <a:lnTo>
                    <a:pt x="215" y="681"/>
                  </a:lnTo>
                  <a:lnTo>
                    <a:pt x="215" y="680"/>
                  </a:lnTo>
                  <a:lnTo>
                    <a:pt x="214" y="676"/>
                  </a:lnTo>
                  <a:lnTo>
                    <a:pt x="212" y="674"/>
                  </a:lnTo>
                  <a:lnTo>
                    <a:pt x="210" y="669"/>
                  </a:lnTo>
                  <a:lnTo>
                    <a:pt x="209" y="668"/>
                  </a:lnTo>
                  <a:lnTo>
                    <a:pt x="204" y="661"/>
                  </a:lnTo>
                  <a:lnTo>
                    <a:pt x="203" y="657"/>
                  </a:lnTo>
                  <a:lnTo>
                    <a:pt x="201" y="654"/>
                  </a:lnTo>
                  <a:lnTo>
                    <a:pt x="201" y="652"/>
                  </a:lnTo>
                  <a:lnTo>
                    <a:pt x="200" y="650"/>
                  </a:lnTo>
                  <a:lnTo>
                    <a:pt x="200" y="646"/>
                  </a:lnTo>
                  <a:lnTo>
                    <a:pt x="199" y="643"/>
                  </a:lnTo>
                  <a:lnTo>
                    <a:pt x="199" y="638"/>
                  </a:lnTo>
                  <a:lnTo>
                    <a:pt x="199" y="635"/>
                  </a:lnTo>
                  <a:lnTo>
                    <a:pt x="199" y="632"/>
                  </a:lnTo>
                  <a:lnTo>
                    <a:pt x="199" y="630"/>
                  </a:lnTo>
                  <a:lnTo>
                    <a:pt x="201" y="623"/>
                  </a:lnTo>
                  <a:lnTo>
                    <a:pt x="202" y="619"/>
                  </a:lnTo>
                  <a:lnTo>
                    <a:pt x="202" y="615"/>
                  </a:lnTo>
                  <a:lnTo>
                    <a:pt x="201" y="607"/>
                  </a:lnTo>
                  <a:lnTo>
                    <a:pt x="201" y="602"/>
                  </a:lnTo>
                  <a:lnTo>
                    <a:pt x="200" y="599"/>
                  </a:lnTo>
                  <a:lnTo>
                    <a:pt x="200" y="596"/>
                  </a:lnTo>
                  <a:lnTo>
                    <a:pt x="199" y="593"/>
                  </a:lnTo>
                  <a:lnTo>
                    <a:pt x="198" y="590"/>
                  </a:lnTo>
                  <a:lnTo>
                    <a:pt x="197" y="589"/>
                  </a:lnTo>
                  <a:lnTo>
                    <a:pt x="196" y="587"/>
                  </a:lnTo>
                  <a:lnTo>
                    <a:pt x="194" y="585"/>
                  </a:lnTo>
                  <a:lnTo>
                    <a:pt x="193" y="583"/>
                  </a:lnTo>
                  <a:lnTo>
                    <a:pt x="191" y="581"/>
                  </a:lnTo>
                  <a:lnTo>
                    <a:pt x="188" y="578"/>
                  </a:lnTo>
                  <a:lnTo>
                    <a:pt x="185" y="577"/>
                  </a:lnTo>
                  <a:lnTo>
                    <a:pt x="183" y="576"/>
                  </a:lnTo>
                  <a:lnTo>
                    <a:pt x="181" y="575"/>
                  </a:lnTo>
                  <a:lnTo>
                    <a:pt x="181" y="575"/>
                  </a:lnTo>
                  <a:lnTo>
                    <a:pt x="179" y="574"/>
                  </a:lnTo>
                  <a:lnTo>
                    <a:pt x="177" y="574"/>
                  </a:lnTo>
                  <a:lnTo>
                    <a:pt x="175" y="575"/>
                  </a:lnTo>
                  <a:lnTo>
                    <a:pt x="173" y="575"/>
                  </a:lnTo>
                  <a:lnTo>
                    <a:pt x="170" y="576"/>
                  </a:lnTo>
                  <a:lnTo>
                    <a:pt x="167" y="577"/>
                  </a:lnTo>
                  <a:lnTo>
                    <a:pt x="160" y="579"/>
                  </a:lnTo>
                  <a:lnTo>
                    <a:pt x="152" y="582"/>
                  </a:lnTo>
                  <a:lnTo>
                    <a:pt x="149" y="583"/>
                  </a:lnTo>
                  <a:lnTo>
                    <a:pt x="147" y="583"/>
                  </a:lnTo>
                  <a:lnTo>
                    <a:pt x="144" y="583"/>
                  </a:lnTo>
                  <a:lnTo>
                    <a:pt x="141" y="583"/>
                  </a:lnTo>
                  <a:lnTo>
                    <a:pt x="133" y="582"/>
                  </a:lnTo>
                  <a:lnTo>
                    <a:pt x="126" y="581"/>
                  </a:lnTo>
                  <a:lnTo>
                    <a:pt x="116" y="579"/>
                  </a:lnTo>
                  <a:lnTo>
                    <a:pt x="113" y="579"/>
                  </a:lnTo>
                  <a:lnTo>
                    <a:pt x="111" y="579"/>
                  </a:lnTo>
                  <a:lnTo>
                    <a:pt x="99" y="581"/>
                  </a:lnTo>
                  <a:lnTo>
                    <a:pt x="97" y="581"/>
                  </a:lnTo>
                  <a:lnTo>
                    <a:pt x="95" y="581"/>
                  </a:lnTo>
                  <a:lnTo>
                    <a:pt x="93" y="581"/>
                  </a:lnTo>
                  <a:lnTo>
                    <a:pt x="91" y="581"/>
                  </a:lnTo>
                  <a:lnTo>
                    <a:pt x="90" y="580"/>
                  </a:lnTo>
                  <a:lnTo>
                    <a:pt x="87" y="579"/>
                  </a:lnTo>
                  <a:lnTo>
                    <a:pt x="85" y="578"/>
                  </a:lnTo>
                  <a:lnTo>
                    <a:pt x="84" y="578"/>
                  </a:lnTo>
                  <a:lnTo>
                    <a:pt x="82" y="576"/>
                  </a:lnTo>
                  <a:lnTo>
                    <a:pt x="80" y="575"/>
                  </a:lnTo>
                  <a:lnTo>
                    <a:pt x="79" y="573"/>
                  </a:lnTo>
                  <a:lnTo>
                    <a:pt x="78" y="572"/>
                  </a:lnTo>
                  <a:lnTo>
                    <a:pt x="77" y="570"/>
                  </a:lnTo>
                  <a:lnTo>
                    <a:pt x="76" y="569"/>
                  </a:lnTo>
                  <a:lnTo>
                    <a:pt x="75" y="567"/>
                  </a:lnTo>
                  <a:lnTo>
                    <a:pt x="75" y="565"/>
                  </a:lnTo>
                  <a:lnTo>
                    <a:pt x="74" y="563"/>
                  </a:lnTo>
                  <a:lnTo>
                    <a:pt x="73" y="560"/>
                  </a:lnTo>
                  <a:lnTo>
                    <a:pt x="73" y="557"/>
                  </a:lnTo>
                  <a:lnTo>
                    <a:pt x="73" y="551"/>
                  </a:lnTo>
                  <a:lnTo>
                    <a:pt x="73" y="549"/>
                  </a:lnTo>
                  <a:lnTo>
                    <a:pt x="72" y="547"/>
                  </a:lnTo>
                  <a:lnTo>
                    <a:pt x="71" y="545"/>
                  </a:lnTo>
                  <a:lnTo>
                    <a:pt x="70" y="544"/>
                  </a:lnTo>
                  <a:lnTo>
                    <a:pt x="69" y="543"/>
                  </a:lnTo>
                  <a:lnTo>
                    <a:pt x="66" y="539"/>
                  </a:lnTo>
                  <a:lnTo>
                    <a:pt x="62" y="536"/>
                  </a:lnTo>
                  <a:lnTo>
                    <a:pt x="58" y="533"/>
                  </a:lnTo>
                  <a:lnTo>
                    <a:pt x="56" y="532"/>
                  </a:lnTo>
                  <a:lnTo>
                    <a:pt x="56" y="530"/>
                  </a:lnTo>
                  <a:lnTo>
                    <a:pt x="53" y="526"/>
                  </a:lnTo>
                  <a:lnTo>
                    <a:pt x="52" y="525"/>
                  </a:lnTo>
                  <a:lnTo>
                    <a:pt x="50" y="523"/>
                  </a:lnTo>
                  <a:lnTo>
                    <a:pt x="48" y="522"/>
                  </a:lnTo>
                  <a:lnTo>
                    <a:pt x="45" y="521"/>
                  </a:lnTo>
                  <a:lnTo>
                    <a:pt x="43" y="520"/>
                  </a:lnTo>
                  <a:lnTo>
                    <a:pt x="41" y="520"/>
                  </a:lnTo>
                  <a:lnTo>
                    <a:pt x="38" y="519"/>
                  </a:lnTo>
                  <a:lnTo>
                    <a:pt x="32" y="519"/>
                  </a:lnTo>
                  <a:lnTo>
                    <a:pt x="29" y="518"/>
                  </a:lnTo>
                  <a:lnTo>
                    <a:pt x="27" y="518"/>
                  </a:lnTo>
                  <a:lnTo>
                    <a:pt x="25" y="517"/>
                  </a:lnTo>
                  <a:lnTo>
                    <a:pt x="23" y="516"/>
                  </a:lnTo>
                  <a:lnTo>
                    <a:pt x="22" y="516"/>
                  </a:lnTo>
                  <a:lnTo>
                    <a:pt x="21" y="515"/>
                  </a:lnTo>
                  <a:lnTo>
                    <a:pt x="19" y="513"/>
                  </a:lnTo>
                  <a:lnTo>
                    <a:pt x="17" y="512"/>
                  </a:lnTo>
                  <a:lnTo>
                    <a:pt x="15" y="510"/>
                  </a:lnTo>
                  <a:lnTo>
                    <a:pt x="13" y="509"/>
                  </a:lnTo>
                  <a:lnTo>
                    <a:pt x="12" y="507"/>
                  </a:lnTo>
                  <a:lnTo>
                    <a:pt x="11" y="505"/>
                  </a:lnTo>
                  <a:lnTo>
                    <a:pt x="11" y="503"/>
                  </a:lnTo>
                  <a:lnTo>
                    <a:pt x="10" y="501"/>
                  </a:lnTo>
                  <a:lnTo>
                    <a:pt x="8" y="497"/>
                  </a:lnTo>
                  <a:lnTo>
                    <a:pt x="7" y="495"/>
                  </a:lnTo>
                  <a:lnTo>
                    <a:pt x="6" y="493"/>
                  </a:lnTo>
                  <a:lnTo>
                    <a:pt x="3" y="487"/>
                  </a:lnTo>
                  <a:lnTo>
                    <a:pt x="2" y="486"/>
                  </a:lnTo>
                  <a:lnTo>
                    <a:pt x="1" y="484"/>
                  </a:lnTo>
                  <a:lnTo>
                    <a:pt x="0" y="482"/>
                  </a:lnTo>
                  <a:lnTo>
                    <a:pt x="0" y="480"/>
                  </a:lnTo>
                  <a:lnTo>
                    <a:pt x="0" y="478"/>
                  </a:lnTo>
                  <a:lnTo>
                    <a:pt x="0" y="476"/>
                  </a:lnTo>
                  <a:lnTo>
                    <a:pt x="1" y="476"/>
                  </a:lnTo>
                  <a:lnTo>
                    <a:pt x="2" y="474"/>
                  </a:lnTo>
                  <a:lnTo>
                    <a:pt x="3" y="472"/>
                  </a:lnTo>
                  <a:lnTo>
                    <a:pt x="5" y="470"/>
                  </a:lnTo>
                  <a:lnTo>
                    <a:pt x="6" y="469"/>
                  </a:lnTo>
                  <a:lnTo>
                    <a:pt x="8" y="468"/>
                  </a:lnTo>
                  <a:lnTo>
                    <a:pt x="13" y="465"/>
                  </a:lnTo>
                  <a:lnTo>
                    <a:pt x="15" y="464"/>
                  </a:lnTo>
                  <a:lnTo>
                    <a:pt x="17" y="463"/>
                  </a:lnTo>
                  <a:lnTo>
                    <a:pt x="17" y="462"/>
                  </a:lnTo>
                  <a:lnTo>
                    <a:pt x="18" y="461"/>
                  </a:lnTo>
                  <a:lnTo>
                    <a:pt x="19" y="459"/>
                  </a:lnTo>
                  <a:lnTo>
                    <a:pt x="22" y="452"/>
                  </a:lnTo>
                  <a:lnTo>
                    <a:pt x="22" y="449"/>
                  </a:lnTo>
                  <a:lnTo>
                    <a:pt x="24" y="447"/>
                  </a:lnTo>
                  <a:lnTo>
                    <a:pt x="28" y="441"/>
                  </a:lnTo>
                  <a:lnTo>
                    <a:pt x="30" y="439"/>
                  </a:lnTo>
                  <a:lnTo>
                    <a:pt x="31" y="437"/>
                  </a:lnTo>
                  <a:lnTo>
                    <a:pt x="32" y="433"/>
                  </a:lnTo>
                  <a:lnTo>
                    <a:pt x="33" y="430"/>
                  </a:lnTo>
                  <a:lnTo>
                    <a:pt x="33" y="427"/>
                  </a:lnTo>
                  <a:lnTo>
                    <a:pt x="33" y="423"/>
                  </a:lnTo>
                  <a:lnTo>
                    <a:pt x="33" y="421"/>
                  </a:lnTo>
                  <a:lnTo>
                    <a:pt x="32" y="417"/>
                  </a:lnTo>
                  <a:lnTo>
                    <a:pt x="29" y="408"/>
                  </a:lnTo>
                  <a:lnTo>
                    <a:pt x="28" y="405"/>
                  </a:lnTo>
                  <a:lnTo>
                    <a:pt x="26" y="402"/>
                  </a:lnTo>
                  <a:lnTo>
                    <a:pt x="25" y="400"/>
                  </a:lnTo>
                  <a:lnTo>
                    <a:pt x="24" y="397"/>
                  </a:lnTo>
                  <a:lnTo>
                    <a:pt x="22" y="394"/>
                  </a:lnTo>
                  <a:lnTo>
                    <a:pt x="21" y="392"/>
                  </a:lnTo>
                  <a:lnTo>
                    <a:pt x="20" y="390"/>
                  </a:lnTo>
                  <a:lnTo>
                    <a:pt x="19" y="388"/>
                  </a:lnTo>
                  <a:lnTo>
                    <a:pt x="18" y="385"/>
                  </a:lnTo>
                  <a:lnTo>
                    <a:pt x="18" y="382"/>
                  </a:lnTo>
                  <a:lnTo>
                    <a:pt x="18" y="371"/>
                  </a:lnTo>
                  <a:lnTo>
                    <a:pt x="18" y="364"/>
                  </a:lnTo>
                  <a:lnTo>
                    <a:pt x="18" y="363"/>
                  </a:lnTo>
                  <a:lnTo>
                    <a:pt x="18" y="363"/>
                  </a:lnTo>
                  <a:lnTo>
                    <a:pt x="18" y="360"/>
                  </a:lnTo>
                  <a:lnTo>
                    <a:pt x="15" y="354"/>
                  </a:lnTo>
                  <a:lnTo>
                    <a:pt x="13" y="349"/>
                  </a:lnTo>
                  <a:lnTo>
                    <a:pt x="12" y="346"/>
                  </a:lnTo>
                  <a:lnTo>
                    <a:pt x="11" y="342"/>
                  </a:lnTo>
                  <a:lnTo>
                    <a:pt x="9" y="337"/>
                  </a:lnTo>
                  <a:lnTo>
                    <a:pt x="8" y="334"/>
                  </a:lnTo>
                  <a:lnTo>
                    <a:pt x="7" y="332"/>
                  </a:lnTo>
                  <a:lnTo>
                    <a:pt x="7" y="330"/>
                  </a:lnTo>
                  <a:lnTo>
                    <a:pt x="7" y="329"/>
                  </a:lnTo>
                  <a:lnTo>
                    <a:pt x="7" y="328"/>
                  </a:lnTo>
                  <a:lnTo>
                    <a:pt x="8" y="326"/>
                  </a:lnTo>
                  <a:lnTo>
                    <a:pt x="9" y="324"/>
                  </a:lnTo>
                  <a:lnTo>
                    <a:pt x="11" y="321"/>
                  </a:lnTo>
                  <a:lnTo>
                    <a:pt x="12" y="319"/>
                  </a:lnTo>
                  <a:lnTo>
                    <a:pt x="14" y="317"/>
                  </a:lnTo>
                  <a:lnTo>
                    <a:pt x="20" y="311"/>
                  </a:lnTo>
                  <a:lnTo>
                    <a:pt x="23" y="307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6" y="306"/>
                  </a:lnTo>
                  <a:lnTo>
                    <a:pt x="27" y="308"/>
                  </a:lnTo>
                  <a:lnTo>
                    <a:pt x="30" y="310"/>
                  </a:lnTo>
                  <a:lnTo>
                    <a:pt x="33" y="312"/>
                  </a:lnTo>
                  <a:lnTo>
                    <a:pt x="38" y="316"/>
                  </a:lnTo>
                  <a:lnTo>
                    <a:pt x="44" y="318"/>
                  </a:lnTo>
                  <a:lnTo>
                    <a:pt x="54" y="324"/>
                  </a:lnTo>
                  <a:lnTo>
                    <a:pt x="57" y="326"/>
                  </a:lnTo>
                  <a:lnTo>
                    <a:pt x="61" y="328"/>
                  </a:lnTo>
                  <a:lnTo>
                    <a:pt x="65" y="329"/>
                  </a:lnTo>
                  <a:lnTo>
                    <a:pt x="68" y="331"/>
                  </a:lnTo>
                  <a:lnTo>
                    <a:pt x="72" y="332"/>
                  </a:lnTo>
                  <a:lnTo>
                    <a:pt x="76" y="333"/>
                  </a:lnTo>
                  <a:lnTo>
                    <a:pt x="79" y="334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8" name="Freeform 97">
              <a:extLst>
                <a:ext uri="{FF2B5EF4-FFF2-40B4-BE49-F238E27FC236}">
                  <a16:creationId xmlns:a16="http://schemas.microsoft.com/office/drawing/2014/main" id="{596DB056-6197-489D-B939-A87AAD330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4" y="1303"/>
              <a:ext cx="307" cy="352"/>
            </a:xfrm>
            <a:custGeom>
              <a:avLst/>
              <a:gdLst>
                <a:gd name="T0" fmla="*/ 6 w 307"/>
                <a:gd name="T1" fmla="*/ 334 h 352"/>
                <a:gd name="T2" fmla="*/ 12 w 307"/>
                <a:gd name="T3" fmla="*/ 332 h 352"/>
                <a:gd name="T4" fmla="*/ 23 w 307"/>
                <a:gd name="T5" fmla="*/ 319 h 352"/>
                <a:gd name="T6" fmla="*/ 34 w 307"/>
                <a:gd name="T7" fmla="*/ 309 h 352"/>
                <a:gd name="T8" fmla="*/ 40 w 307"/>
                <a:gd name="T9" fmla="*/ 306 h 352"/>
                <a:gd name="T10" fmla="*/ 48 w 307"/>
                <a:gd name="T11" fmla="*/ 306 h 352"/>
                <a:gd name="T12" fmla="*/ 60 w 307"/>
                <a:gd name="T13" fmla="*/ 310 h 352"/>
                <a:gd name="T14" fmla="*/ 78 w 307"/>
                <a:gd name="T15" fmla="*/ 317 h 352"/>
                <a:gd name="T16" fmla="*/ 88 w 307"/>
                <a:gd name="T17" fmla="*/ 319 h 352"/>
                <a:gd name="T18" fmla="*/ 103 w 307"/>
                <a:gd name="T19" fmla="*/ 328 h 352"/>
                <a:gd name="T20" fmla="*/ 114 w 307"/>
                <a:gd name="T21" fmla="*/ 330 h 352"/>
                <a:gd name="T22" fmla="*/ 122 w 307"/>
                <a:gd name="T23" fmla="*/ 331 h 352"/>
                <a:gd name="T24" fmla="*/ 125 w 307"/>
                <a:gd name="T25" fmla="*/ 336 h 352"/>
                <a:gd name="T26" fmla="*/ 128 w 307"/>
                <a:gd name="T27" fmla="*/ 345 h 352"/>
                <a:gd name="T28" fmla="*/ 134 w 307"/>
                <a:gd name="T29" fmla="*/ 351 h 352"/>
                <a:gd name="T30" fmla="*/ 139 w 307"/>
                <a:gd name="T31" fmla="*/ 352 h 352"/>
                <a:gd name="T32" fmla="*/ 148 w 307"/>
                <a:gd name="T33" fmla="*/ 352 h 352"/>
                <a:gd name="T34" fmla="*/ 159 w 307"/>
                <a:gd name="T35" fmla="*/ 347 h 352"/>
                <a:gd name="T36" fmla="*/ 168 w 307"/>
                <a:gd name="T37" fmla="*/ 341 h 352"/>
                <a:gd name="T38" fmla="*/ 171 w 307"/>
                <a:gd name="T39" fmla="*/ 332 h 352"/>
                <a:gd name="T40" fmla="*/ 170 w 307"/>
                <a:gd name="T41" fmla="*/ 318 h 352"/>
                <a:gd name="T42" fmla="*/ 170 w 307"/>
                <a:gd name="T43" fmla="*/ 310 h 352"/>
                <a:gd name="T44" fmla="*/ 177 w 307"/>
                <a:gd name="T45" fmla="*/ 303 h 352"/>
                <a:gd name="T46" fmla="*/ 194 w 307"/>
                <a:gd name="T47" fmla="*/ 288 h 352"/>
                <a:gd name="T48" fmla="*/ 199 w 307"/>
                <a:gd name="T49" fmla="*/ 283 h 352"/>
                <a:gd name="T50" fmla="*/ 205 w 307"/>
                <a:gd name="T51" fmla="*/ 283 h 352"/>
                <a:gd name="T52" fmla="*/ 213 w 307"/>
                <a:gd name="T53" fmla="*/ 294 h 352"/>
                <a:gd name="T54" fmla="*/ 222 w 307"/>
                <a:gd name="T55" fmla="*/ 304 h 352"/>
                <a:gd name="T56" fmla="*/ 233 w 307"/>
                <a:gd name="T57" fmla="*/ 309 h 352"/>
                <a:gd name="T58" fmla="*/ 241 w 307"/>
                <a:gd name="T59" fmla="*/ 310 h 352"/>
                <a:gd name="T60" fmla="*/ 257 w 307"/>
                <a:gd name="T61" fmla="*/ 306 h 352"/>
                <a:gd name="T62" fmla="*/ 268 w 307"/>
                <a:gd name="T63" fmla="*/ 306 h 352"/>
                <a:gd name="T64" fmla="*/ 279 w 307"/>
                <a:gd name="T65" fmla="*/ 309 h 352"/>
                <a:gd name="T66" fmla="*/ 289 w 307"/>
                <a:gd name="T67" fmla="*/ 308 h 352"/>
                <a:gd name="T68" fmla="*/ 301 w 307"/>
                <a:gd name="T69" fmla="*/ 303 h 352"/>
                <a:gd name="T70" fmla="*/ 306 w 307"/>
                <a:gd name="T71" fmla="*/ 298 h 352"/>
                <a:gd name="T72" fmla="*/ 306 w 307"/>
                <a:gd name="T73" fmla="*/ 291 h 352"/>
                <a:gd name="T74" fmla="*/ 302 w 307"/>
                <a:gd name="T75" fmla="*/ 283 h 352"/>
                <a:gd name="T76" fmla="*/ 286 w 307"/>
                <a:gd name="T77" fmla="*/ 261 h 352"/>
                <a:gd name="T78" fmla="*/ 273 w 307"/>
                <a:gd name="T79" fmla="*/ 236 h 352"/>
                <a:gd name="T80" fmla="*/ 273 w 307"/>
                <a:gd name="T81" fmla="*/ 227 h 352"/>
                <a:gd name="T82" fmla="*/ 279 w 307"/>
                <a:gd name="T83" fmla="*/ 204 h 352"/>
                <a:gd name="T84" fmla="*/ 281 w 307"/>
                <a:gd name="T85" fmla="*/ 196 h 352"/>
                <a:gd name="T86" fmla="*/ 278 w 307"/>
                <a:gd name="T87" fmla="*/ 188 h 352"/>
                <a:gd name="T88" fmla="*/ 268 w 307"/>
                <a:gd name="T89" fmla="*/ 167 h 352"/>
                <a:gd name="T90" fmla="*/ 268 w 307"/>
                <a:gd name="T91" fmla="*/ 153 h 352"/>
                <a:gd name="T92" fmla="*/ 264 w 307"/>
                <a:gd name="T93" fmla="*/ 136 h 352"/>
                <a:gd name="T94" fmla="*/ 261 w 307"/>
                <a:gd name="T95" fmla="*/ 113 h 352"/>
                <a:gd name="T96" fmla="*/ 259 w 307"/>
                <a:gd name="T97" fmla="*/ 76 h 352"/>
                <a:gd name="T98" fmla="*/ 261 w 307"/>
                <a:gd name="T99" fmla="*/ 55 h 352"/>
                <a:gd name="T100" fmla="*/ 259 w 307"/>
                <a:gd name="T101" fmla="*/ 45 h 352"/>
                <a:gd name="T102" fmla="*/ 245 w 307"/>
                <a:gd name="T103" fmla="*/ 23 h 352"/>
                <a:gd name="T104" fmla="*/ 238 w 307"/>
                <a:gd name="T105" fmla="*/ 8 h 352"/>
                <a:gd name="T106" fmla="*/ 237 w 307"/>
                <a:gd name="T107" fmla="*/ 1 h 352"/>
                <a:gd name="T108" fmla="*/ 246 w 307"/>
                <a:gd name="T109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7" h="352">
                  <a:moveTo>
                    <a:pt x="0" y="334"/>
                  </a:moveTo>
                  <a:lnTo>
                    <a:pt x="1" y="334"/>
                  </a:lnTo>
                  <a:lnTo>
                    <a:pt x="4" y="334"/>
                  </a:lnTo>
                  <a:lnTo>
                    <a:pt x="6" y="334"/>
                  </a:lnTo>
                  <a:lnTo>
                    <a:pt x="7" y="334"/>
                  </a:lnTo>
                  <a:lnTo>
                    <a:pt x="10" y="334"/>
                  </a:lnTo>
                  <a:lnTo>
                    <a:pt x="11" y="333"/>
                  </a:lnTo>
                  <a:lnTo>
                    <a:pt x="12" y="332"/>
                  </a:lnTo>
                  <a:lnTo>
                    <a:pt x="14" y="331"/>
                  </a:lnTo>
                  <a:lnTo>
                    <a:pt x="16" y="329"/>
                  </a:lnTo>
                  <a:lnTo>
                    <a:pt x="19" y="326"/>
                  </a:lnTo>
                  <a:lnTo>
                    <a:pt x="23" y="319"/>
                  </a:lnTo>
                  <a:lnTo>
                    <a:pt x="28" y="315"/>
                  </a:lnTo>
                  <a:lnTo>
                    <a:pt x="30" y="313"/>
                  </a:lnTo>
                  <a:lnTo>
                    <a:pt x="33" y="310"/>
                  </a:lnTo>
                  <a:lnTo>
                    <a:pt x="34" y="309"/>
                  </a:lnTo>
                  <a:lnTo>
                    <a:pt x="36" y="308"/>
                  </a:lnTo>
                  <a:lnTo>
                    <a:pt x="37" y="307"/>
                  </a:lnTo>
                  <a:lnTo>
                    <a:pt x="38" y="307"/>
                  </a:lnTo>
                  <a:lnTo>
                    <a:pt x="40" y="306"/>
                  </a:lnTo>
                  <a:lnTo>
                    <a:pt x="42" y="306"/>
                  </a:lnTo>
                  <a:lnTo>
                    <a:pt x="45" y="306"/>
                  </a:lnTo>
                  <a:lnTo>
                    <a:pt x="46" y="306"/>
                  </a:lnTo>
                  <a:lnTo>
                    <a:pt x="48" y="306"/>
                  </a:lnTo>
                  <a:lnTo>
                    <a:pt x="51" y="307"/>
                  </a:lnTo>
                  <a:lnTo>
                    <a:pt x="54" y="308"/>
                  </a:lnTo>
                  <a:lnTo>
                    <a:pt x="57" y="309"/>
                  </a:lnTo>
                  <a:lnTo>
                    <a:pt x="60" y="310"/>
                  </a:lnTo>
                  <a:lnTo>
                    <a:pt x="66" y="313"/>
                  </a:lnTo>
                  <a:lnTo>
                    <a:pt x="70" y="315"/>
                  </a:lnTo>
                  <a:lnTo>
                    <a:pt x="73" y="316"/>
                  </a:lnTo>
                  <a:lnTo>
                    <a:pt x="78" y="317"/>
                  </a:lnTo>
                  <a:lnTo>
                    <a:pt x="80" y="317"/>
                  </a:lnTo>
                  <a:lnTo>
                    <a:pt x="84" y="318"/>
                  </a:lnTo>
                  <a:lnTo>
                    <a:pt x="86" y="319"/>
                  </a:lnTo>
                  <a:lnTo>
                    <a:pt x="88" y="319"/>
                  </a:lnTo>
                  <a:lnTo>
                    <a:pt x="90" y="321"/>
                  </a:lnTo>
                  <a:lnTo>
                    <a:pt x="96" y="324"/>
                  </a:lnTo>
                  <a:lnTo>
                    <a:pt x="99" y="326"/>
                  </a:lnTo>
                  <a:lnTo>
                    <a:pt x="103" y="328"/>
                  </a:lnTo>
                  <a:lnTo>
                    <a:pt x="108" y="329"/>
                  </a:lnTo>
                  <a:lnTo>
                    <a:pt x="110" y="330"/>
                  </a:lnTo>
                  <a:lnTo>
                    <a:pt x="112" y="330"/>
                  </a:lnTo>
                  <a:lnTo>
                    <a:pt x="114" y="330"/>
                  </a:lnTo>
                  <a:lnTo>
                    <a:pt x="118" y="330"/>
                  </a:lnTo>
                  <a:lnTo>
                    <a:pt x="120" y="330"/>
                  </a:lnTo>
                  <a:lnTo>
                    <a:pt x="121" y="330"/>
                  </a:lnTo>
                  <a:lnTo>
                    <a:pt x="122" y="331"/>
                  </a:lnTo>
                  <a:lnTo>
                    <a:pt x="123" y="331"/>
                  </a:lnTo>
                  <a:lnTo>
                    <a:pt x="124" y="333"/>
                  </a:lnTo>
                  <a:lnTo>
                    <a:pt x="124" y="334"/>
                  </a:lnTo>
                  <a:lnTo>
                    <a:pt x="125" y="336"/>
                  </a:lnTo>
                  <a:lnTo>
                    <a:pt x="126" y="340"/>
                  </a:lnTo>
                  <a:lnTo>
                    <a:pt x="127" y="341"/>
                  </a:lnTo>
                  <a:lnTo>
                    <a:pt x="127" y="343"/>
                  </a:lnTo>
                  <a:lnTo>
                    <a:pt x="128" y="345"/>
                  </a:lnTo>
                  <a:lnTo>
                    <a:pt x="129" y="347"/>
                  </a:lnTo>
                  <a:lnTo>
                    <a:pt x="131" y="349"/>
                  </a:lnTo>
                  <a:lnTo>
                    <a:pt x="132" y="350"/>
                  </a:lnTo>
                  <a:lnTo>
                    <a:pt x="134" y="351"/>
                  </a:lnTo>
                  <a:lnTo>
                    <a:pt x="135" y="351"/>
                  </a:lnTo>
                  <a:lnTo>
                    <a:pt x="136" y="351"/>
                  </a:lnTo>
                  <a:lnTo>
                    <a:pt x="137" y="352"/>
                  </a:lnTo>
                  <a:lnTo>
                    <a:pt x="139" y="352"/>
                  </a:lnTo>
                  <a:lnTo>
                    <a:pt x="141" y="352"/>
                  </a:lnTo>
                  <a:lnTo>
                    <a:pt x="143" y="352"/>
                  </a:lnTo>
                  <a:lnTo>
                    <a:pt x="147" y="352"/>
                  </a:lnTo>
                  <a:lnTo>
                    <a:pt x="148" y="352"/>
                  </a:lnTo>
                  <a:lnTo>
                    <a:pt x="152" y="351"/>
                  </a:lnTo>
                  <a:lnTo>
                    <a:pt x="154" y="351"/>
                  </a:lnTo>
                  <a:lnTo>
                    <a:pt x="156" y="350"/>
                  </a:lnTo>
                  <a:lnTo>
                    <a:pt x="159" y="347"/>
                  </a:lnTo>
                  <a:lnTo>
                    <a:pt x="160" y="346"/>
                  </a:lnTo>
                  <a:lnTo>
                    <a:pt x="165" y="343"/>
                  </a:lnTo>
                  <a:lnTo>
                    <a:pt x="167" y="342"/>
                  </a:lnTo>
                  <a:lnTo>
                    <a:pt x="168" y="341"/>
                  </a:lnTo>
                  <a:lnTo>
                    <a:pt x="169" y="340"/>
                  </a:lnTo>
                  <a:lnTo>
                    <a:pt x="170" y="337"/>
                  </a:lnTo>
                  <a:lnTo>
                    <a:pt x="171" y="334"/>
                  </a:lnTo>
                  <a:lnTo>
                    <a:pt x="171" y="332"/>
                  </a:lnTo>
                  <a:lnTo>
                    <a:pt x="171" y="331"/>
                  </a:lnTo>
                  <a:lnTo>
                    <a:pt x="171" y="329"/>
                  </a:lnTo>
                  <a:lnTo>
                    <a:pt x="170" y="321"/>
                  </a:lnTo>
                  <a:lnTo>
                    <a:pt x="170" y="318"/>
                  </a:lnTo>
                  <a:lnTo>
                    <a:pt x="170" y="317"/>
                  </a:lnTo>
                  <a:lnTo>
                    <a:pt x="170" y="314"/>
                  </a:lnTo>
                  <a:lnTo>
                    <a:pt x="170" y="312"/>
                  </a:lnTo>
                  <a:lnTo>
                    <a:pt x="170" y="310"/>
                  </a:lnTo>
                  <a:lnTo>
                    <a:pt x="171" y="308"/>
                  </a:lnTo>
                  <a:lnTo>
                    <a:pt x="172" y="306"/>
                  </a:lnTo>
                  <a:lnTo>
                    <a:pt x="174" y="305"/>
                  </a:lnTo>
                  <a:lnTo>
                    <a:pt x="177" y="303"/>
                  </a:lnTo>
                  <a:lnTo>
                    <a:pt x="182" y="298"/>
                  </a:lnTo>
                  <a:lnTo>
                    <a:pt x="187" y="294"/>
                  </a:lnTo>
                  <a:lnTo>
                    <a:pt x="193" y="289"/>
                  </a:lnTo>
                  <a:lnTo>
                    <a:pt x="194" y="288"/>
                  </a:lnTo>
                  <a:lnTo>
                    <a:pt x="196" y="285"/>
                  </a:lnTo>
                  <a:lnTo>
                    <a:pt x="197" y="283"/>
                  </a:lnTo>
                  <a:lnTo>
                    <a:pt x="198" y="283"/>
                  </a:lnTo>
                  <a:lnTo>
                    <a:pt x="199" y="283"/>
                  </a:lnTo>
                  <a:lnTo>
                    <a:pt x="200" y="283"/>
                  </a:lnTo>
                  <a:lnTo>
                    <a:pt x="201" y="283"/>
                  </a:lnTo>
                  <a:lnTo>
                    <a:pt x="203" y="283"/>
                  </a:lnTo>
                  <a:lnTo>
                    <a:pt x="205" y="283"/>
                  </a:lnTo>
                  <a:lnTo>
                    <a:pt x="206" y="285"/>
                  </a:lnTo>
                  <a:lnTo>
                    <a:pt x="208" y="286"/>
                  </a:lnTo>
                  <a:lnTo>
                    <a:pt x="209" y="287"/>
                  </a:lnTo>
                  <a:lnTo>
                    <a:pt x="213" y="294"/>
                  </a:lnTo>
                  <a:lnTo>
                    <a:pt x="216" y="297"/>
                  </a:lnTo>
                  <a:lnTo>
                    <a:pt x="218" y="300"/>
                  </a:lnTo>
                  <a:lnTo>
                    <a:pt x="220" y="302"/>
                  </a:lnTo>
                  <a:lnTo>
                    <a:pt x="222" y="304"/>
                  </a:lnTo>
                  <a:lnTo>
                    <a:pt x="224" y="305"/>
                  </a:lnTo>
                  <a:lnTo>
                    <a:pt x="227" y="306"/>
                  </a:lnTo>
                  <a:lnTo>
                    <a:pt x="230" y="308"/>
                  </a:lnTo>
                  <a:lnTo>
                    <a:pt x="233" y="309"/>
                  </a:lnTo>
                  <a:lnTo>
                    <a:pt x="237" y="310"/>
                  </a:lnTo>
                  <a:lnTo>
                    <a:pt x="238" y="310"/>
                  </a:lnTo>
                  <a:lnTo>
                    <a:pt x="239" y="310"/>
                  </a:lnTo>
                  <a:lnTo>
                    <a:pt x="241" y="310"/>
                  </a:lnTo>
                  <a:lnTo>
                    <a:pt x="243" y="310"/>
                  </a:lnTo>
                  <a:lnTo>
                    <a:pt x="246" y="309"/>
                  </a:lnTo>
                  <a:lnTo>
                    <a:pt x="253" y="307"/>
                  </a:lnTo>
                  <a:lnTo>
                    <a:pt x="257" y="306"/>
                  </a:lnTo>
                  <a:lnTo>
                    <a:pt x="260" y="306"/>
                  </a:lnTo>
                  <a:lnTo>
                    <a:pt x="261" y="306"/>
                  </a:lnTo>
                  <a:lnTo>
                    <a:pt x="264" y="306"/>
                  </a:lnTo>
                  <a:lnTo>
                    <a:pt x="268" y="306"/>
                  </a:lnTo>
                  <a:lnTo>
                    <a:pt x="272" y="307"/>
                  </a:lnTo>
                  <a:lnTo>
                    <a:pt x="275" y="309"/>
                  </a:lnTo>
                  <a:lnTo>
                    <a:pt x="278" y="309"/>
                  </a:lnTo>
                  <a:lnTo>
                    <a:pt x="279" y="309"/>
                  </a:lnTo>
                  <a:lnTo>
                    <a:pt x="280" y="309"/>
                  </a:lnTo>
                  <a:lnTo>
                    <a:pt x="284" y="309"/>
                  </a:lnTo>
                  <a:lnTo>
                    <a:pt x="287" y="308"/>
                  </a:lnTo>
                  <a:lnTo>
                    <a:pt x="289" y="308"/>
                  </a:lnTo>
                  <a:lnTo>
                    <a:pt x="294" y="306"/>
                  </a:lnTo>
                  <a:lnTo>
                    <a:pt x="297" y="306"/>
                  </a:lnTo>
                  <a:lnTo>
                    <a:pt x="299" y="305"/>
                  </a:lnTo>
                  <a:lnTo>
                    <a:pt x="301" y="303"/>
                  </a:lnTo>
                  <a:lnTo>
                    <a:pt x="303" y="302"/>
                  </a:lnTo>
                  <a:lnTo>
                    <a:pt x="304" y="301"/>
                  </a:lnTo>
                  <a:lnTo>
                    <a:pt x="305" y="300"/>
                  </a:lnTo>
                  <a:lnTo>
                    <a:pt x="306" y="298"/>
                  </a:lnTo>
                  <a:lnTo>
                    <a:pt x="306" y="297"/>
                  </a:lnTo>
                  <a:lnTo>
                    <a:pt x="307" y="295"/>
                  </a:lnTo>
                  <a:lnTo>
                    <a:pt x="306" y="293"/>
                  </a:lnTo>
                  <a:lnTo>
                    <a:pt x="306" y="291"/>
                  </a:lnTo>
                  <a:lnTo>
                    <a:pt x="305" y="289"/>
                  </a:lnTo>
                  <a:lnTo>
                    <a:pt x="305" y="287"/>
                  </a:lnTo>
                  <a:lnTo>
                    <a:pt x="304" y="285"/>
                  </a:lnTo>
                  <a:lnTo>
                    <a:pt x="302" y="283"/>
                  </a:lnTo>
                  <a:lnTo>
                    <a:pt x="298" y="277"/>
                  </a:lnTo>
                  <a:lnTo>
                    <a:pt x="292" y="269"/>
                  </a:lnTo>
                  <a:lnTo>
                    <a:pt x="287" y="263"/>
                  </a:lnTo>
                  <a:lnTo>
                    <a:pt x="286" y="261"/>
                  </a:lnTo>
                  <a:lnTo>
                    <a:pt x="281" y="251"/>
                  </a:lnTo>
                  <a:lnTo>
                    <a:pt x="278" y="245"/>
                  </a:lnTo>
                  <a:lnTo>
                    <a:pt x="274" y="238"/>
                  </a:lnTo>
                  <a:lnTo>
                    <a:pt x="273" y="236"/>
                  </a:lnTo>
                  <a:lnTo>
                    <a:pt x="273" y="234"/>
                  </a:lnTo>
                  <a:lnTo>
                    <a:pt x="273" y="232"/>
                  </a:lnTo>
                  <a:lnTo>
                    <a:pt x="273" y="229"/>
                  </a:lnTo>
                  <a:lnTo>
                    <a:pt x="273" y="227"/>
                  </a:lnTo>
                  <a:lnTo>
                    <a:pt x="273" y="224"/>
                  </a:lnTo>
                  <a:lnTo>
                    <a:pt x="274" y="219"/>
                  </a:lnTo>
                  <a:lnTo>
                    <a:pt x="276" y="215"/>
                  </a:lnTo>
                  <a:lnTo>
                    <a:pt x="279" y="204"/>
                  </a:lnTo>
                  <a:lnTo>
                    <a:pt x="280" y="202"/>
                  </a:lnTo>
                  <a:lnTo>
                    <a:pt x="280" y="199"/>
                  </a:lnTo>
                  <a:lnTo>
                    <a:pt x="281" y="197"/>
                  </a:lnTo>
                  <a:lnTo>
                    <a:pt x="281" y="196"/>
                  </a:lnTo>
                  <a:lnTo>
                    <a:pt x="280" y="194"/>
                  </a:lnTo>
                  <a:lnTo>
                    <a:pt x="280" y="193"/>
                  </a:lnTo>
                  <a:lnTo>
                    <a:pt x="279" y="191"/>
                  </a:lnTo>
                  <a:lnTo>
                    <a:pt x="278" y="188"/>
                  </a:lnTo>
                  <a:lnTo>
                    <a:pt x="275" y="182"/>
                  </a:lnTo>
                  <a:lnTo>
                    <a:pt x="270" y="171"/>
                  </a:lnTo>
                  <a:lnTo>
                    <a:pt x="269" y="170"/>
                  </a:lnTo>
                  <a:lnTo>
                    <a:pt x="268" y="167"/>
                  </a:lnTo>
                  <a:lnTo>
                    <a:pt x="268" y="165"/>
                  </a:lnTo>
                  <a:lnTo>
                    <a:pt x="268" y="162"/>
                  </a:lnTo>
                  <a:lnTo>
                    <a:pt x="268" y="159"/>
                  </a:lnTo>
                  <a:lnTo>
                    <a:pt x="268" y="153"/>
                  </a:lnTo>
                  <a:lnTo>
                    <a:pt x="268" y="150"/>
                  </a:lnTo>
                  <a:lnTo>
                    <a:pt x="268" y="148"/>
                  </a:lnTo>
                  <a:lnTo>
                    <a:pt x="267" y="145"/>
                  </a:lnTo>
                  <a:lnTo>
                    <a:pt x="264" y="136"/>
                  </a:lnTo>
                  <a:lnTo>
                    <a:pt x="263" y="129"/>
                  </a:lnTo>
                  <a:lnTo>
                    <a:pt x="261" y="123"/>
                  </a:lnTo>
                  <a:lnTo>
                    <a:pt x="261" y="117"/>
                  </a:lnTo>
                  <a:lnTo>
                    <a:pt x="261" y="113"/>
                  </a:lnTo>
                  <a:lnTo>
                    <a:pt x="260" y="110"/>
                  </a:lnTo>
                  <a:lnTo>
                    <a:pt x="260" y="92"/>
                  </a:lnTo>
                  <a:lnTo>
                    <a:pt x="259" y="79"/>
                  </a:lnTo>
                  <a:lnTo>
                    <a:pt x="259" y="76"/>
                  </a:lnTo>
                  <a:lnTo>
                    <a:pt x="260" y="72"/>
                  </a:lnTo>
                  <a:lnTo>
                    <a:pt x="261" y="62"/>
                  </a:lnTo>
                  <a:lnTo>
                    <a:pt x="261" y="58"/>
                  </a:lnTo>
                  <a:lnTo>
                    <a:pt x="261" y="55"/>
                  </a:lnTo>
                  <a:lnTo>
                    <a:pt x="261" y="51"/>
                  </a:lnTo>
                  <a:lnTo>
                    <a:pt x="261" y="49"/>
                  </a:lnTo>
                  <a:lnTo>
                    <a:pt x="260" y="47"/>
                  </a:lnTo>
                  <a:lnTo>
                    <a:pt x="259" y="45"/>
                  </a:lnTo>
                  <a:lnTo>
                    <a:pt x="257" y="42"/>
                  </a:lnTo>
                  <a:lnTo>
                    <a:pt x="254" y="36"/>
                  </a:lnTo>
                  <a:lnTo>
                    <a:pt x="248" y="27"/>
                  </a:lnTo>
                  <a:lnTo>
                    <a:pt x="245" y="23"/>
                  </a:lnTo>
                  <a:lnTo>
                    <a:pt x="243" y="20"/>
                  </a:lnTo>
                  <a:lnTo>
                    <a:pt x="240" y="15"/>
                  </a:lnTo>
                  <a:lnTo>
                    <a:pt x="239" y="11"/>
                  </a:lnTo>
                  <a:lnTo>
                    <a:pt x="238" y="8"/>
                  </a:lnTo>
                  <a:lnTo>
                    <a:pt x="238" y="6"/>
                  </a:lnTo>
                  <a:lnTo>
                    <a:pt x="237" y="3"/>
                  </a:lnTo>
                  <a:lnTo>
                    <a:pt x="237" y="2"/>
                  </a:lnTo>
                  <a:lnTo>
                    <a:pt x="237" y="1"/>
                  </a:lnTo>
                  <a:lnTo>
                    <a:pt x="237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6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9" name="Freeform 98">
              <a:extLst>
                <a:ext uri="{FF2B5EF4-FFF2-40B4-BE49-F238E27FC236}">
                  <a16:creationId xmlns:a16="http://schemas.microsoft.com/office/drawing/2014/main" id="{9988FBB0-2D79-4A7C-A733-6A2222B9E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4" y="1972"/>
              <a:ext cx="1131" cy="743"/>
            </a:xfrm>
            <a:custGeom>
              <a:avLst/>
              <a:gdLst>
                <a:gd name="T0" fmla="*/ 335 w 1131"/>
                <a:gd name="T1" fmla="*/ 86 h 743"/>
                <a:gd name="T2" fmla="*/ 379 w 1131"/>
                <a:gd name="T3" fmla="*/ 76 h 743"/>
                <a:gd name="T4" fmla="*/ 436 w 1131"/>
                <a:gd name="T5" fmla="*/ 58 h 743"/>
                <a:gd name="T6" fmla="*/ 486 w 1131"/>
                <a:gd name="T7" fmla="*/ 103 h 743"/>
                <a:gd name="T8" fmla="*/ 532 w 1131"/>
                <a:gd name="T9" fmla="*/ 136 h 743"/>
                <a:gd name="T10" fmla="*/ 591 w 1131"/>
                <a:gd name="T11" fmla="*/ 173 h 743"/>
                <a:gd name="T12" fmla="*/ 653 w 1131"/>
                <a:gd name="T13" fmla="*/ 192 h 743"/>
                <a:gd name="T14" fmla="*/ 700 w 1131"/>
                <a:gd name="T15" fmla="*/ 191 h 743"/>
                <a:gd name="T16" fmla="*/ 721 w 1131"/>
                <a:gd name="T17" fmla="*/ 176 h 743"/>
                <a:gd name="T18" fmla="*/ 740 w 1131"/>
                <a:gd name="T19" fmla="*/ 142 h 743"/>
                <a:gd name="T20" fmla="*/ 798 w 1131"/>
                <a:gd name="T21" fmla="*/ 101 h 743"/>
                <a:gd name="T22" fmla="*/ 843 w 1131"/>
                <a:gd name="T23" fmla="*/ 56 h 743"/>
                <a:gd name="T24" fmla="*/ 879 w 1131"/>
                <a:gd name="T25" fmla="*/ 62 h 743"/>
                <a:gd name="T26" fmla="*/ 937 w 1131"/>
                <a:gd name="T27" fmla="*/ 86 h 743"/>
                <a:gd name="T28" fmla="*/ 1006 w 1131"/>
                <a:gd name="T29" fmla="*/ 122 h 743"/>
                <a:gd name="T30" fmla="*/ 1056 w 1131"/>
                <a:gd name="T31" fmla="*/ 76 h 743"/>
                <a:gd name="T32" fmla="*/ 1097 w 1131"/>
                <a:gd name="T33" fmla="*/ 12 h 743"/>
                <a:gd name="T34" fmla="*/ 1131 w 1131"/>
                <a:gd name="T35" fmla="*/ 4 h 743"/>
                <a:gd name="T36" fmla="*/ 1097 w 1131"/>
                <a:gd name="T37" fmla="*/ 107 h 743"/>
                <a:gd name="T38" fmla="*/ 1092 w 1131"/>
                <a:gd name="T39" fmla="*/ 159 h 743"/>
                <a:gd name="T40" fmla="*/ 1072 w 1131"/>
                <a:gd name="T41" fmla="*/ 215 h 743"/>
                <a:gd name="T42" fmla="*/ 1030 w 1131"/>
                <a:gd name="T43" fmla="*/ 243 h 743"/>
                <a:gd name="T44" fmla="*/ 1050 w 1131"/>
                <a:gd name="T45" fmla="*/ 322 h 743"/>
                <a:gd name="T46" fmla="*/ 1051 w 1131"/>
                <a:gd name="T47" fmla="*/ 401 h 743"/>
                <a:gd name="T48" fmla="*/ 1056 w 1131"/>
                <a:gd name="T49" fmla="*/ 453 h 743"/>
                <a:gd name="T50" fmla="*/ 1093 w 1131"/>
                <a:gd name="T51" fmla="*/ 516 h 743"/>
                <a:gd name="T52" fmla="*/ 1097 w 1131"/>
                <a:gd name="T53" fmla="*/ 557 h 743"/>
                <a:gd name="T54" fmla="*/ 1130 w 1131"/>
                <a:gd name="T55" fmla="*/ 580 h 743"/>
                <a:gd name="T56" fmla="*/ 1105 w 1131"/>
                <a:gd name="T57" fmla="*/ 646 h 743"/>
                <a:gd name="T58" fmla="*/ 1102 w 1131"/>
                <a:gd name="T59" fmla="*/ 710 h 743"/>
                <a:gd name="T60" fmla="*/ 1030 w 1131"/>
                <a:gd name="T61" fmla="*/ 689 h 743"/>
                <a:gd name="T62" fmla="*/ 971 w 1131"/>
                <a:gd name="T63" fmla="*/ 682 h 743"/>
                <a:gd name="T64" fmla="*/ 912 w 1131"/>
                <a:gd name="T65" fmla="*/ 681 h 743"/>
                <a:gd name="T66" fmla="*/ 874 w 1131"/>
                <a:gd name="T67" fmla="*/ 725 h 743"/>
                <a:gd name="T68" fmla="*/ 821 w 1131"/>
                <a:gd name="T69" fmla="*/ 723 h 743"/>
                <a:gd name="T70" fmla="*/ 788 w 1131"/>
                <a:gd name="T71" fmla="*/ 743 h 743"/>
                <a:gd name="T72" fmla="*/ 712 w 1131"/>
                <a:gd name="T73" fmla="*/ 694 h 743"/>
                <a:gd name="T74" fmla="*/ 654 w 1131"/>
                <a:gd name="T75" fmla="*/ 644 h 743"/>
                <a:gd name="T76" fmla="*/ 565 w 1131"/>
                <a:gd name="T77" fmla="*/ 617 h 743"/>
                <a:gd name="T78" fmla="*/ 517 w 1131"/>
                <a:gd name="T79" fmla="*/ 587 h 743"/>
                <a:gd name="T80" fmla="*/ 480 w 1131"/>
                <a:gd name="T81" fmla="*/ 566 h 743"/>
                <a:gd name="T82" fmla="*/ 444 w 1131"/>
                <a:gd name="T83" fmla="*/ 616 h 743"/>
                <a:gd name="T84" fmla="*/ 380 w 1131"/>
                <a:gd name="T85" fmla="*/ 597 h 743"/>
                <a:gd name="T86" fmla="*/ 374 w 1131"/>
                <a:gd name="T87" fmla="*/ 559 h 743"/>
                <a:gd name="T88" fmla="*/ 319 w 1131"/>
                <a:gd name="T89" fmla="*/ 537 h 743"/>
                <a:gd name="T90" fmla="*/ 292 w 1131"/>
                <a:gd name="T91" fmla="*/ 511 h 743"/>
                <a:gd name="T92" fmla="*/ 239 w 1131"/>
                <a:gd name="T93" fmla="*/ 480 h 743"/>
                <a:gd name="T94" fmla="*/ 197 w 1131"/>
                <a:gd name="T95" fmla="*/ 476 h 743"/>
                <a:gd name="T96" fmla="*/ 121 w 1131"/>
                <a:gd name="T97" fmla="*/ 437 h 743"/>
                <a:gd name="T98" fmla="*/ 116 w 1131"/>
                <a:gd name="T99" fmla="*/ 352 h 743"/>
                <a:gd name="T100" fmla="*/ 118 w 1131"/>
                <a:gd name="T101" fmla="*/ 304 h 743"/>
                <a:gd name="T102" fmla="*/ 75 w 1131"/>
                <a:gd name="T103" fmla="*/ 270 h 743"/>
                <a:gd name="T104" fmla="*/ 61 w 1131"/>
                <a:gd name="T105" fmla="*/ 245 h 743"/>
                <a:gd name="T106" fmla="*/ 16 w 1131"/>
                <a:gd name="T107" fmla="*/ 227 h 743"/>
                <a:gd name="T108" fmla="*/ 5 w 1131"/>
                <a:gd name="T109" fmla="*/ 202 h 743"/>
                <a:gd name="T110" fmla="*/ 13 w 1131"/>
                <a:gd name="T111" fmla="*/ 184 h 743"/>
                <a:gd name="T112" fmla="*/ 32 w 1131"/>
                <a:gd name="T113" fmla="*/ 147 h 743"/>
                <a:gd name="T114" fmla="*/ 41 w 1131"/>
                <a:gd name="T115" fmla="*/ 129 h 743"/>
                <a:gd name="T116" fmla="*/ 65 w 1131"/>
                <a:gd name="T117" fmla="*/ 132 h 743"/>
                <a:gd name="T118" fmla="*/ 110 w 1131"/>
                <a:gd name="T119" fmla="*/ 108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1" h="743">
                  <a:moveTo>
                    <a:pt x="309" y="46"/>
                  </a:moveTo>
                  <a:lnTo>
                    <a:pt x="310" y="46"/>
                  </a:lnTo>
                  <a:lnTo>
                    <a:pt x="312" y="48"/>
                  </a:lnTo>
                  <a:lnTo>
                    <a:pt x="313" y="50"/>
                  </a:lnTo>
                  <a:lnTo>
                    <a:pt x="315" y="51"/>
                  </a:lnTo>
                  <a:lnTo>
                    <a:pt x="316" y="53"/>
                  </a:lnTo>
                  <a:lnTo>
                    <a:pt x="318" y="54"/>
                  </a:lnTo>
                  <a:lnTo>
                    <a:pt x="320" y="57"/>
                  </a:lnTo>
                  <a:lnTo>
                    <a:pt x="323" y="61"/>
                  </a:lnTo>
                  <a:lnTo>
                    <a:pt x="323" y="65"/>
                  </a:lnTo>
                  <a:lnTo>
                    <a:pt x="325" y="68"/>
                  </a:lnTo>
                  <a:lnTo>
                    <a:pt x="328" y="76"/>
                  </a:lnTo>
                  <a:lnTo>
                    <a:pt x="329" y="79"/>
                  </a:lnTo>
                  <a:lnTo>
                    <a:pt x="331" y="81"/>
                  </a:lnTo>
                  <a:lnTo>
                    <a:pt x="332" y="83"/>
                  </a:lnTo>
                  <a:lnTo>
                    <a:pt x="333" y="85"/>
                  </a:lnTo>
                  <a:lnTo>
                    <a:pt x="335" y="86"/>
                  </a:lnTo>
                  <a:lnTo>
                    <a:pt x="336" y="87"/>
                  </a:lnTo>
                  <a:lnTo>
                    <a:pt x="338" y="88"/>
                  </a:lnTo>
                  <a:lnTo>
                    <a:pt x="339" y="89"/>
                  </a:lnTo>
                  <a:lnTo>
                    <a:pt x="341" y="90"/>
                  </a:lnTo>
                  <a:lnTo>
                    <a:pt x="343" y="90"/>
                  </a:lnTo>
                  <a:lnTo>
                    <a:pt x="346" y="90"/>
                  </a:lnTo>
                  <a:lnTo>
                    <a:pt x="348" y="90"/>
                  </a:lnTo>
                  <a:lnTo>
                    <a:pt x="349" y="90"/>
                  </a:lnTo>
                  <a:lnTo>
                    <a:pt x="351" y="90"/>
                  </a:lnTo>
                  <a:lnTo>
                    <a:pt x="352" y="90"/>
                  </a:lnTo>
                  <a:lnTo>
                    <a:pt x="354" y="90"/>
                  </a:lnTo>
                  <a:lnTo>
                    <a:pt x="357" y="88"/>
                  </a:lnTo>
                  <a:lnTo>
                    <a:pt x="360" y="86"/>
                  </a:lnTo>
                  <a:lnTo>
                    <a:pt x="366" y="82"/>
                  </a:lnTo>
                  <a:lnTo>
                    <a:pt x="369" y="80"/>
                  </a:lnTo>
                  <a:lnTo>
                    <a:pt x="371" y="79"/>
                  </a:lnTo>
                  <a:lnTo>
                    <a:pt x="379" y="76"/>
                  </a:lnTo>
                  <a:lnTo>
                    <a:pt x="381" y="74"/>
                  </a:lnTo>
                  <a:lnTo>
                    <a:pt x="383" y="73"/>
                  </a:lnTo>
                  <a:lnTo>
                    <a:pt x="384" y="72"/>
                  </a:lnTo>
                  <a:lnTo>
                    <a:pt x="386" y="70"/>
                  </a:lnTo>
                  <a:lnTo>
                    <a:pt x="393" y="64"/>
                  </a:lnTo>
                  <a:lnTo>
                    <a:pt x="395" y="63"/>
                  </a:lnTo>
                  <a:lnTo>
                    <a:pt x="397" y="61"/>
                  </a:lnTo>
                  <a:lnTo>
                    <a:pt x="400" y="59"/>
                  </a:lnTo>
                  <a:lnTo>
                    <a:pt x="403" y="58"/>
                  </a:lnTo>
                  <a:lnTo>
                    <a:pt x="410" y="56"/>
                  </a:lnTo>
                  <a:lnTo>
                    <a:pt x="414" y="55"/>
                  </a:lnTo>
                  <a:lnTo>
                    <a:pt x="416" y="55"/>
                  </a:lnTo>
                  <a:lnTo>
                    <a:pt x="417" y="55"/>
                  </a:lnTo>
                  <a:lnTo>
                    <a:pt x="421" y="55"/>
                  </a:lnTo>
                  <a:lnTo>
                    <a:pt x="424" y="56"/>
                  </a:lnTo>
                  <a:lnTo>
                    <a:pt x="430" y="56"/>
                  </a:lnTo>
                  <a:lnTo>
                    <a:pt x="436" y="58"/>
                  </a:lnTo>
                  <a:lnTo>
                    <a:pt x="445" y="60"/>
                  </a:lnTo>
                  <a:lnTo>
                    <a:pt x="453" y="63"/>
                  </a:lnTo>
                  <a:lnTo>
                    <a:pt x="458" y="65"/>
                  </a:lnTo>
                  <a:lnTo>
                    <a:pt x="461" y="66"/>
                  </a:lnTo>
                  <a:lnTo>
                    <a:pt x="464" y="68"/>
                  </a:lnTo>
                  <a:lnTo>
                    <a:pt x="466" y="68"/>
                  </a:lnTo>
                  <a:lnTo>
                    <a:pt x="468" y="70"/>
                  </a:lnTo>
                  <a:lnTo>
                    <a:pt x="470" y="72"/>
                  </a:lnTo>
                  <a:lnTo>
                    <a:pt x="474" y="78"/>
                  </a:lnTo>
                  <a:lnTo>
                    <a:pt x="476" y="79"/>
                  </a:lnTo>
                  <a:lnTo>
                    <a:pt x="478" y="81"/>
                  </a:lnTo>
                  <a:lnTo>
                    <a:pt x="479" y="82"/>
                  </a:lnTo>
                  <a:lnTo>
                    <a:pt x="480" y="84"/>
                  </a:lnTo>
                  <a:lnTo>
                    <a:pt x="481" y="87"/>
                  </a:lnTo>
                  <a:lnTo>
                    <a:pt x="482" y="90"/>
                  </a:lnTo>
                  <a:lnTo>
                    <a:pt x="484" y="99"/>
                  </a:lnTo>
                  <a:lnTo>
                    <a:pt x="486" y="103"/>
                  </a:lnTo>
                  <a:lnTo>
                    <a:pt x="487" y="106"/>
                  </a:lnTo>
                  <a:lnTo>
                    <a:pt x="489" y="108"/>
                  </a:lnTo>
                  <a:lnTo>
                    <a:pt x="490" y="110"/>
                  </a:lnTo>
                  <a:lnTo>
                    <a:pt x="491" y="111"/>
                  </a:lnTo>
                  <a:lnTo>
                    <a:pt x="493" y="112"/>
                  </a:lnTo>
                  <a:lnTo>
                    <a:pt x="494" y="113"/>
                  </a:lnTo>
                  <a:lnTo>
                    <a:pt x="497" y="113"/>
                  </a:lnTo>
                  <a:lnTo>
                    <a:pt x="501" y="115"/>
                  </a:lnTo>
                  <a:lnTo>
                    <a:pt x="509" y="117"/>
                  </a:lnTo>
                  <a:lnTo>
                    <a:pt x="513" y="119"/>
                  </a:lnTo>
                  <a:lnTo>
                    <a:pt x="516" y="120"/>
                  </a:lnTo>
                  <a:lnTo>
                    <a:pt x="518" y="122"/>
                  </a:lnTo>
                  <a:lnTo>
                    <a:pt x="520" y="123"/>
                  </a:lnTo>
                  <a:lnTo>
                    <a:pt x="521" y="124"/>
                  </a:lnTo>
                  <a:lnTo>
                    <a:pt x="524" y="125"/>
                  </a:lnTo>
                  <a:lnTo>
                    <a:pt x="527" y="129"/>
                  </a:lnTo>
                  <a:lnTo>
                    <a:pt x="532" y="136"/>
                  </a:lnTo>
                  <a:lnTo>
                    <a:pt x="534" y="139"/>
                  </a:lnTo>
                  <a:lnTo>
                    <a:pt x="537" y="141"/>
                  </a:lnTo>
                  <a:lnTo>
                    <a:pt x="539" y="144"/>
                  </a:lnTo>
                  <a:lnTo>
                    <a:pt x="542" y="145"/>
                  </a:lnTo>
                  <a:lnTo>
                    <a:pt x="546" y="147"/>
                  </a:lnTo>
                  <a:lnTo>
                    <a:pt x="550" y="148"/>
                  </a:lnTo>
                  <a:lnTo>
                    <a:pt x="559" y="152"/>
                  </a:lnTo>
                  <a:lnTo>
                    <a:pt x="561" y="153"/>
                  </a:lnTo>
                  <a:lnTo>
                    <a:pt x="563" y="155"/>
                  </a:lnTo>
                  <a:lnTo>
                    <a:pt x="565" y="157"/>
                  </a:lnTo>
                  <a:lnTo>
                    <a:pt x="568" y="158"/>
                  </a:lnTo>
                  <a:lnTo>
                    <a:pt x="574" y="164"/>
                  </a:lnTo>
                  <a:lnTo>
                    <a:pt x="577" y="166"/>
                  </a:lnTo>
                  <a:lnTo>
                    <a:pt x="580" y="168"/>
                  </a:lnTo>
                  <a:lnTo>
                    <a:pt x="582" y="170"/>
                  </a:lnTo>
                  <a:lnTo>
                    <a:pt x="585" y="170"/>
                  </a:lnTo>
                  <a:lnTo>
                    <a:pt x="591" y="173"/>
                  </a:lnTo>
                  <a:lnTo>
                    <a:pt x="596" y="175"/>
                  </a:lnTo>
                  <a:lnTo>
                    <a:pt x="601" y="178"/>
                  </a:lnTo>
                  <a:lnTo>
                    <a:pt x="605" y="180"/>
                  </a:lnTo>
                  <a:lnTo>
                    <a:pt x="607" y="181"/>
                  </a:lnTo>
                  <a:lnTo>
                    <a:pt x="610" y="182"/>
                  </a:lnTo>
                  <a:lnTo>
                    <a:pt x="620" y="191"/>
                  </a:lnTo>
                  <a:lnTo>
                    <a:pt x="623" y="192"/>
                  </a:lnTo>
                  <a:lnTo>
                    <a:pt x="625" y="194"/>
                  </a:lnTo>
                  <a:lnTo>
                    <a:pt x="627" y="195"/>
                  </a:lnTo>
                  <a:lnTo>
                    <a:pt x="629" y="195"/>
                  </a:lnTo>
                  <a:lnTo>
                    <a:pt x="630" y="196"/>
                  </a:lnTo>
                  <a:lnTo>
                    <a:pt x="632" y="196"/>
                  </a:lnTo>
                  <a:lnTo>
                    <a:pt x="636" y="196"/>
                  </a:lnTo>
                  <a:lnTo>
                    <a:pt x="639" y="196"/>
                  </a:lnTo>
                  <a:lnTo>
                    <a:pt x="643" y="195"/>
                  </a:lnTo>
                  <a:lnTo>
                    <a:pt x="651" y="193"/>
                  </a:lnTo>
                  <a:lnTo>
                    <a:pt x="653" y="192"/>
                  </a:lnTo>
                  <a:lnTo>
                    <a:pt x="654" y="192"/>
                  </a:lnTo>
                  <a:lnTo>
                    <a:pt x="661" y="189"/>
                  </a:lnTo>
                  <a:lnTo>
                    <a:pt x="662" y="188"/>
                  </a:lnTo>
                  <a:lnTo>
                    <a:pt x="664" y="188"/>
                  </a:lnTo>
                  <a:lnTo>
                    <a:pt x="664" y="188"/>
                  </a:lnTo>
                  <a:lnTo>
                    <a:pt x="665" y="189"/>
                  </a:lnTo>
                  <a:lnTo>
                    <a:pt x="669" y="191"/>
                  </a:lnTo>
                  <a:lnTo>
                    <a:pt x="671" y="192"/>
                  </a:lnTo>
                  <a:lnTo>
                    <a:pt x="673" y="192"/>
                  </a:lnTo>
                  <a:lnTo>
                    <a:pt x="675" y="192"/>
                  </a:lnTo>
                  <a:lnTo>
                    <a:pt x="677" y="192"/>
                  </a:lnTo>
                  <a:lnTo>
                    <a:pt x="681" y="192"/>
                  </a:lnTo>
                  <a:lnTo>
                    <a:pt x="688" y="191"/>
                  </a:lnTo>
                  <a:lnTo>
                    <a:pt x="693" y="190"/>
                  </a:lnTo>
                  <a:lnTo>
                    <a:pt x="696" y="190"/>
                  </a:lnTo>
                  <a:lnTo>
                    <a:pt x="698" y="190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10" y="192"/>
                  </a:lnTo>
                  <a:lnTo>
                    <a:pt x="712" y="193"/>
                  </a:lnTo>
                  <a:lnTo>
                    <a:pt x="714" y="193"/>
                  </a:lnTo>
                  <a:lnTo>
                    <a:pt x="717" y="193"/>
                  </a:lnTo>
                  <a:lnTo>
                    <a:pt x="719" y="193"/>
                  </a:lnTo>
                  <a:lnTo>
                    <a:pt x="721" y="192"/>
                  </a:lnTo>
                  <a:lnTo>
                    <a:pt x="722" y="192"/>
                  </a:lnTo>
                  <a:lnTo>
                    <a:pt x="723" y="192"/>
                  </a:lnTo>
                  <a:lnTo>
                    <a:pt x="723" y="191"/>
                  </a:lnTo>
                  <a:lnTo>
                    <a:pt x="724" y="190"/>
                  </a:lnTo>
                  <a:lnTo>
                    <a:pt x="724" y="189"/>
                  </a:lnTo>
                  <a:lnTo>
                    <a:pt x="724" y="187"/>
                  </a:lnTo>
                  <a:lnTo>
                    <a:pt x="723" y="185"/>
                  </a:lnTo>
                  <a:lnTo>
                    <a:pt x="721" y="180"/>
                  </a:lnTo>
                  <a:lnTo>
                    <a:pt x="721" y="177"/>
                  </a:lnTo>
                  <a:lnTo>
                    <a:pt x="721" y="176"/>
                  </a:lnTo>
                  <a:lnTo>
                    <a:pt x="721" y="174"/>
                  </a:lnTo>
                  <a:lnTo>
                    <a:pt x="721" y="173"/>
                  </a:lnTo>
                  <a:lnTo>
                    <a:pt x="722" y="171"/>
                  </a:lnTo>
                  <a:lnTo>
                    <a:pt x="723" y="170"/>
                  </a:lnTo>
                  <a:lnTo>
                    <a:pt x="724" y="169"/>
                  </a:lnTo>
                  <a:lnTo>
                    <a:pt x="725" y="168"/>
                  </a:lnTo>
                  <a:lnTo>
                    <a:pt x="727" y="166"/>
                  </a:lnTo>
                  <a:lnTo>
                    <a:pt x="732" y="162"/>
                  </a:lnTo>
                  <a:lnTo>
                    <a:pt x="734" y="160"/>
                  </a:lnTo>
                  <a:lnTo>
                    <a:pt x="736" y="158"/>
                  </a:lnTo>
                  <a:lnTo>
                    <a:pt x="738" y="157"/>
                  </a:lnTo>
                  <a:lnTo>
                    <a:pt x="738" y="155"/>
                  </a:lnTo>
                  <a:lnTo>
                    <a:pt x="739" y="153"/>
                  </a:lnTo>
                  <a:lnTo>
                    <a:pt x="740" y="151"/>
                  </a:lnTo>
                  <a:lnTo>
                    <a:pt x="740" y="150"/>
                  </a:lnTo>
                  <a:lnTo>
                    <a:pt x="740" y="144"/>
                  </a:lnTo>
                  <a:lnTo>
                    <a:pt x="740" y="142"/>
                  </a:lnTo>
                  <a:lnTo>
                    <a:pt x="741" y="140"/>
                  </a:lnTo>
                  <a:lnTo>
                    <a:pt x="741" y="139"/>
                  </a:lnTo>
                  <a:lnTo>
                    <a:pt x="742" y="136"/>
                  </a:lnTo>
                  <a:lnTo>
                    <a:pt x="744" y="135"/>
                  </a:lnTo>
                  <a:lnTo>
                    <a:pt x="745" y="133"/>
                  </a:lnTo>
                  <a:lnTo>
                    <a:pt x="747" y="130"/>
                  </a:lnTo>
                  <a:lnTo>
                    <a:pt x="750" y="128"/>
                  </a:lnTo>
                  <a:lnTo>
                    <a:pt x="753" y="126"/>
                  </a:lnTo>
                  <a:lnTo>
                    <a:pt x="759" y="123"/>
                  </a:lnTo>
                  <a:lnTo>
                    <a:pt x="762" y="121"/>
                  </a:lnTo>
                  <a:lnTo>
                    <a:pt x="767" y="118"/>
                  </a:lnTo>
                  <a:lnTo>
                    <a:pt x="774" y="113"/>
                  </a:lnTo>
                  <a:lnTo>
                    <a:pt x="777" y="111"/>
                  </a:lnTo>
                  <a:lnTo>
                    <a:pt x="778" y="110"/>
                  </a:lnTo>
                  <a:lnTo>
                    <a:pt x="784" y="107"/>
                  </a:lnTo>
                  <a:lnTo>
                    <a:pt x="790" y="103"/>
                  </a:lnTo>
                  <a:lnTo>
                    <a:pt x="798" y="101"/>
                  </a:lnTo>
                  <a:lnTo>
                    <a:pt x="800" y="100"/>
                  </a:lnTo>
                  <a:lnTo>
                    <a:pt x="802" y="97"/>
                  </a:lnTo>
                  <a:lnTo>
                    <a:pt x="804" y="96"/>
                  </a:lnTo>
                  <a:lnTo>
                    <a:pt x="809" y="93"/>
                  </a:lnTo>
                  <a:lnTo>
                    <a:pt x="815" y="90"/>
                  </a:lnTo>
                  <a:lnTo>
                    <a:pt x="818" y="89"/>
                  </a:lnTo>
                  <a:lnTo>
                    <a:pt x="822" y="87"/>
                  </a:lnTo>
                  <a:lnTo>
                    <a:pt x="825" y="84"/>
                  </a:lnTo>
                  <a:lnTo>
                    <a:pt x="828" y="82"/>
                  </a:lnTo>
                  <a:lnTo>
                    <a:pt x="830" y="79"/>
                  </a:lnTo>
                  <a:lnTo>
                    <a:pt x="832" y="78"/>
                  </a:lnTo>
                  <a:lnTo>
                    <a:pt x="834" y="75"/>
                  </a:lnTo>
                  <a:lnTo>
                    <a:pt x="835" y="73"/>
                  </a:lnTo>
                  <a:lnTo>
                    <a:pt x="836" y="70"/>
                  </a:lnTo>
                  <a:lnTo>
                    <a:pt x="841" y="60"/>
                  </a:lnTo>
                  <a:lnTo>
                    <a:pt x="842" y="58"/>
                  </a:lnTo>
                  <a:lnTo>
                    <a:pt x="843" y="56"/>
                  </a:lnTo>
                  <a:lnTo>
                    <a:pt x="845" y="55"/>
                  </a:lnTo>
                  <a:lnTo>
                    <a:pt x="846" y="54"/>
                  </a:lnTo>
                  <a:lnTo>
                    <a:pt x="847" y="53"/>
                  </a:lnTo>
                  <a:lnTo>
                    <a:pt x="849" y="52"/>
                  </a:lnTo>
                  <a:lnTo>
                    <a:pt x="850" y="51"/>
                  </a:lnTo>
                  <a:lnTo>
                    <a:pt x="851" y="51"/>
                  </a:lnTo>
                  <a:lnTo>
                    <a:pt x="853" y="51"/>
                  </a:lnTo>
                  <a:lnTo>
                    <a:pt x="855" y="50"/>
                  </a:lnTo>
                  <a:lnTo>
                    <a:pt x="856" y="51"/>
                  </a:lnTo>
                  <a:lnTo>
                    <a:pt x="858" y="51"/>
                  </a:lnTo>
                  <a:lnTo>
                    <a:pt x="859" y="51"/>
                  </a:lnTo>
                  <a:lnTo>
                    <a:pt x="861" y="52"/>
                  </a:lnTo>
                  <a:lnTo>
                    <a:pt x="864" y="53"/>
                  </a:lnTo>
                  <a:lnTo>
                    <a:pt x="867" y="55"/>
                  </a:lnTo>
                  <a:lnTo>
                    <a:pt x="869" y="56"/>
                  </a:lnTo>
                  <a:lnTo>
                    <a:pt x="874" y="59"/>
                  </a:lnTo>
                  <a:lnTo>
                    <a:pt x="879" y="62"/>
                  </a:lnTo>
                  <a:lnTo>
                    <a:pt x="884" y="65"/>
                  </a:lnTo>
                  <a:lnTo>
                    <a:pt x="889" y="67"/>
                  </a:lnTo>
                  <a:lnTo>
                    <a:pt x="901" y="71"/>
                  </a:lnTo>
                  <a:lnTo>
                    <a:pt x="904" y="72"/>
                  </a:lnTo>
                  <a:lnTo>
                    <a:pt x="908" y="74"/>
                  </a:lnTo>
                  <a:lnTo>
                    <a:pt x="912" y="74"/>
                  </a:lnTo>
                  <a:lnTo>
                    <a:pt x="915" y="75"/>
                  </a:lnTo>
                  <a:lnTo>
                    <a:pt x="915" y="75"/>
                  </a:lnTo>
                  <a:lnTo>
                    <a:pt x="916" y="74"/>
                  </a:lnTo>
                  <a:lnTo>
                    <a:pt x="917" y="74"/>
                  </a:lnTo>
                  <a:lnTo>
                    <a:pt x="918" y="74"/>
                  </a:lnTo>
                  <a:lnTo>
                    <a:pt x="920" y="75"/>
                  </a:lnTo>
                  <a:lnTo>
                    <a:pt x="922" y="76"/>
                  </a:lnTo>
                  <a:lnTo>
                    <a:pt x="926" y="78"/>
                  </a:lnTo>
                  <a:lnTo>
                    <a:pt x="929" y="80"/>
                  </a:lnTo>
                  <a:lnTo>
                    <a:pt x="933" y="83"/>
                  </a:lnTo>
                  <a:lnTo>
                    <a:pt x="937" y="86"/>
                  </a:lnTo>
                  <a:lnTo>
                    <a:pt x="938" y="89"/>
                  </a:lnTo>
                  <a:lnTo>
                    <a:pt x="947" y="96"/>
                  </a:lnTo>
                  <a:lnTo>
                    <a:pt x="949" y="99"/>
                  </a:lnTo>
                  <a:lnTo>
                    <a:pt x="954" y="102"/>
                  </a:lnTo>
                  <a:lnTo>
                    <a:pt x="957" y="104"/>
                  </a:lnTo>
                  <a:lnTo>
                    <a:pt x="959" y="106"/>
                  </a:lnTo>
                  <a:lnTo>
                    <a:pt x="961" y="107"/>
                  </a:lnTo>
                  <a:lnTo>
                    <a:pt x="964" y="109"/>
                  </a:lnTo>
                  <a:lnTo>
                    <a:pt x="968" y="111"/>
                  </a:lnTo>
                  <a:lnTo>
                    <a:pt x="971" y="113"/>
                  </a:lnTo>
                  <a:lnTo>
                    <a:pt x="982" y="116"/>
                  </a:lnTo>
                  <a:lnTo>
                    <a:pt x="989" y="119"/>
                  </a:lnTo>
                  <a:lnTo>
                    <a:pt x="996" y="121"/>
                  </a:lnTo>
                  <a:lnTo>
                    <a:pt x="998" y="121"/>
                  </a:lnTo>
                  <a:lnTo>
                    <a:pt x="1001" y="122"/>
                  </a:lnTo>
                  <a:lnTo>
                    <a:pt x="1003" y="122"/>
                  </a:lnTo>
                  <a:lnTo>
                    <a:pt x="1006" y="122"/>
                  </a:lnTo>
                  <a:lnTo>
                    <a:pt x="1007" y="122"/>
                  </a:lnTo>
                  <a:lnTo>
                    <a:pt x="1009" y="122"/>
                  </a:lnTo>
                  <a:lnTo>
                    <a:pt x="1011" y="121"/>
                  </a:lnTo>
                  <a:lnTo>
                    <a:pt x="1013" y="121"/>
                  </a:lnTo>
                  <a:lnTo>
                    <a:pt x="1015" y="120"/>
                  </a:lnTo>
                  <a:lnTo>
                    <a:pt x="1017" y="119"/>
                  </a:lnTo>
                  <a:lnTo>
                    <a:pt x="1019" y="117"/>
                  </a:lnTo>
                  <a:lnTo>
                    <a:pt x="1021" y="115"/>
                  </a:lnTo>
                  <a:lnTo>
                    <a:pt x="1024" y="113"/>
                  </a:lnTo>
                  <a:lnTo>
                    <a:pt x="1026" y="111"/>
                  </a:lnTo>
                  <a:lnTo>
                    <a:pt x="1028" y="108"/>
                  </a:lnTo>
                  <a:lnTo>
                    <a:pt x="1038" y="94"/>
                  </a:lnTo>
                  <a:lnTo>
                    <a:pt x="1040" y="90"/>
                  </a:lnTo>
                  <a:lnTo>
                    <a:pt x="1043" y="87"/>
                  </a:lnTo>
                  <a:lnTo>
                    <a:pt x="1045" y="85"/>
                  </a:lnTo>
                  <a:lnTo>
                    <a:pt x="1048" y="83"/>
                  </a:lnTo>
                  <a:lnTo>
                    <a:pt x="1056" y="76"/>
                  </a:lnTo>
                  <a:lnTo>
                    <a:pt x="1061" y="72"/>
                  </a:lnTo>
                  <a:lnTo>
                    <a:pt x="1064" y="68"/>
                  </a:lnTo>
                  <a:lnTo>
                    <a:pt x="1067" y="65"/>
                  </a:lnTo>
                  <a:lnTo>
                    <a:pt x="1069" y="62"/>
                  </a:lnTo>
                  <a:lnTo>
                    <a:pt x="1072" y="57"/>
                  </a:lnTo>
                  <a:lnTo>
                    <a:pt x="1074" y="53"/>
                  </a:lnTo>
                  <a:lnTo>
                    <a:pt x="1076" y="49"/>
                  </a:lnTo>
                  <a:lnTo>
                    <a:pt x="1078" y="46"/>
                  </a:lnTo>
                  <a:lnTo>
                    <a:pt x="1079" y="43"/>
                  </a:lnTo>
                  <a:lnTo>
                    <a:pt x="1085" y="30"/>
                  </a:lnTo>
                  <a:lnTo>
                    <a:pt x="1085" y="27"/>
                  </a:lnTo>
                  <a:lnTo>
                    <a:pt x="1087" y="25"/>
                  </a:lnTo>
                  <a:lnTo>
                    <a:pt x="1089" y="22"/>
                  </a:lnTo>
                  <a:lnTo>
                    <a:pt x="1091" y="19"/>
                  </a:lnTo>
                  <a:lnTo>
                    <a:pt x="1093" y="17"/>
                  </a:lnTo>
                  <a:lnTo>
                    <a:pt x="1095" y="14"/>
                  </a:lnTo>
                  <a:lnTo>
                    <a:pt x="1097" y="12"/>
                  </a:lnTo>
                  <a:lnTo>
                    <a:pt x="1100" y="10"/>
                  </a:lnTo>
                  <a:lnTo>
                    <a:pt x="1103" y="8"/>
                  </a:lnTo>
                  <a:lnTo>
                    <a:pt x="1106" y="6"/>
                  </a:lnTo>
                  <a:lnTo>
                    <a:pt x="1108" y="4"/>
                  </a:lnTo>
                  <a:lnTo>
                    <a:pt x="1112" y="3"/>
                  </a:lnTo>
                  <a:lnTo>
                    <a:pt x="1114" y="1"/>
                  </a:lnTo>
                  <a:lnTo>
                    <a:pt x="1117" y="0"/>
                  </a:lnTo>
                  <a:lnTo>
                    <a:pt x="1119" y="0"/>
                  </a:lnTo>
                  <a:lnTo>
                    <a:pt x="1120" y="0"/>
                  </a:lnTo>
                  <a:lnTo>
                    <a:pt x="1123" y="0"/>
                  </a:lnTo>
                  <a:lnTo>
                    <a:pt x="1125" y="0"/>
                  </a:lnTo>
                  <a:lnTo>
                    <a:pt x="1127" y="0"/>
                  </a:lnTo>
                  <a:lnTo>
                    <a:pt x="1129" y="1"/>
                  </a:lnTo>
                  <a:lnTo>
                    <a:pt x="1130" y="2"/>
                  </a:lnTo>
                  <a:lnTo>
                    <a:pt x="1130" y="3"/>
                  </a:lnTo>
                  <a:lnTo>
                    <a:pt x="1131" y="3"/>
                  </a:lnTo>
                  <a:lnTo>
                    <a:pt x="1131" y="4"/>
                  </a:lnTo>
                  <a:lnTo>
                    <a:pt x="1131" y="7"/>
                  </a:lnTo>
                  <a:lnTo>
                    <a:pt x="1131" y="11"/>
                  </a:lnTo>
                  <a:lnTo>
                    <a:pt x="1131" y="13"/>
                  </a:lnTo>
                  <a:lnTo>
                    <a:pt x="1131" y="18"/>
                  </a:lnTo>
                  <a:lnTo>
                    <a:pt x="1130" y="22"/>
                  </a:lnTo>
                  <a:lnTo>
                    <a:pt x="1129" y="25"/>
                  </a:lnTo>
                  <a:lnTo>
                    <a:pt x="1128" y="29"/>
                  </a:lnTo>
                  <a:lnTo>
                    <a:pt x="1126" y="33"/>
                  </a:lnTo>
                  <a:lnTo>
                    <a:pt x="1122" y="43"/>
                  </a:lnTo>
                  <a:lnTo>
                    <a:pt x="1119" y="51"/>
                  </a:lnTo>
                  <a:lnTo>
                    <a:pt x="1112" y="72"/>
                  </a:lnTo>
                  <a:lnTo>
                    <a:pt x="1109" y="80"/>
                  </a:lnTo>
                  <a:lnTo>
                    <a:pt x="1108" y="84"/>
                  </a:lnTo>
                  <a:lnTo>
                    <a:pt x="1105" y="90"/>
                  </a:lnTo>
                  <a:lnTo>
                    <a:pt x="1101" y="100"/>
                  </a:lnTo>
                  <a:lnTo>
                    <a:pt x="1099" y="102"/>
                  </a:lnTo>
                  <a:lnTo>
                    <a:pt x="1097" y="107"/>
                  </a:lnTo>
                  <a:lnTo>
                    <a:pt x="1096" y="109"/>
                  </a:lnTo>
                  <a:lnTo>
                    <a:pt x="1095" y="111"/>
                  </a:lnTo>
                  <a:lnTo>
                    <a:pt x="1095" y="113"/>
                  </a:lnTo>
                  <a:lnTo>
                    <a:pt x="1094" y="115"/>
                  </a:lnTo>
                  <a:lnTo>
                    <a:pt x="1095" y="118"/>
                  </a:lnTo>
                  <a:lnTo>
                    <a:pt x="1095" y="121"/>
                  </a:lnTo>
                  <a:lnTo>
                    <a:pt x="1096" y="131"/>
                  </a:lnTo>
                  <a:lnTo>
                    <a:pt x="1097" y="134"/>
                  </a:lnTo>
                  <a:lnTo>
                    <a:pt x="1097" y="136"/>
                  </a:lnTo>
                  <a:lnTo>
                    <a:pt x="1097" y="137"/>
                  </a:lnTo>
                  <a:lnTo>
                    <a:pt x="1096" y="140"/>
                  </a:lnTo>
                  <a:lnTo>
                    <a:pt x="1093" y="147"/>
                  </a:lnTo>
                  <a:lnTo>
                    <a:pt x="1092" y="150"/>
                  </a:lnTo>
                  <a:lnTo>
                    <a:pt x="1092" y="153"/>
                  </a:lnTo>
                  <a:lnTo>
                    <a:pt x="1091" y="155"/>
                  </a:lnTo>
                  <a:lnTo>
                    <a:pt x="1091" y="158"/>
                  </a:lnTo>
                  <a:lnTo>
                    <a:pt x="1092" y="159"/>
                  </a:lnTo>
                  <a:lnTo>
                    <a:pt x="1092" y="162"/>
                  </a:lnTo>
                  <a:lnTo>
                    <a:pt x="1093" y="168"/>
                  </a:lnTo>
                  <a:lnTo>
                    <a:pt x="1094" y="170"/>
                  </a:lnTo>
                  <a:lnTo>
                    <a:pt x="1095" y="181"/>
                  </a:lnTo>
                  <a:lnTo>
                    <a:pt x="1095" y="183"/>
                  </a:lnTo>
                  <a:lnTo>
                    <a:pt x="1095" y="186"/>
                  </a:lnTo>
                  <a:lnTo>
                    <a:pt x="1094" y="188"/>
                  </a:lnTo>
                  <a:lnTo>
                    <a:pt x="1093" y="191"/>
                  </a:lnTo>
                  <a:lnTo>
                    <a:pt x="1092" y="194"/>
                  </a:lnTo>
                  <a:lnTo>
                    <a:pt x="1091" y="196"/>
                  </a:lnTo>
                  <a:lnTo>
                    <a:pt x="1090" y="198"/>
                  </a:lnTo>
                  <a:lnTo>
                    <a:pt x="1089" y="200"/>
                  </a:lnTo>
                  <a:lnTo>
                    <a:pt x="1087" y="202"/>
                  </a:lnTo>
                  <a:lnTo>
                    <a:pt x="1085" y="204"/>
                  </a:lnTo>
                  <a:lnTo>
                    <a:pt x="1083" y="206"/>
                  </a:lnTo>
                  <a:lnTo>
                    <a:pt x="1074" y="213"/>
                  </a:lnTo>
                  <a:lnTo>
                    <a:pt x="1072" y="215"/>
                  </a:lnTo>
                  <a:lnTo>
                    <a:pt x="1066" y="222"/>
                  </a:lnTo>
                  <a:lnTo>
                    <a:pt x="1064" y="224"/>
                  </a:lnTo>
                  <a:lnTo>
                    <a:pt x="1062" y="227"/>
                  </a:lnTo>
                  <a:lnTo>
                    <a:pt x="1060" y="229"/>
                  </a:lnTo>
                  <a:lnTo>
                    <a:pt x="1058" y="231"/>
                  </a:lnTo>
                  <a:lnTo>
                    <a:pt x="1055" y="234"/>
                  </a:lnTo>
                  <a:lnTo>
                    <a:pt x="1053" y="235"/>
                  </a:lnTo>
                  <a:lnTo>
                    <a:pt x="1051" y="236"/>
                  </a:lnTo>
                  <a:lnTo>
                    <a:pt x="1051" y="237"/>
                  </a:lnTo>
                  <a:lnTo>
                    <a:pt x="1049" y="238"/>
                  </a:lnTo>
                  <a:lnTo>
                    <a:pt x="1046" y="238"/>
                  </a:lnTo>
                  <a:lnTo>
                    <a:pt x="1040" y="239"/>
                  </a:lnTo>
                  <a:lnTo>
                    <a:pt x="1037" y="240"/>
                  </a:lnTo>
                  <a:lnTo>
                    <a:pt x="1034" y="241"/>
                  </a:lnTo>
                  <a:lnTo>
                    <a:pt x="1032" y="242"/>
                  </a:lnTo>
                  <a:lnTo>
                    <a:pt x="1031" y="243"/>
                  </a:lnTo>
                  <a:lnTo>
                    <a:pt x="1030" y="243"/>
                  </a:lnTo>
                  <a:lnTo>
                    <a:pt x="1029" y="244"/>
                  </a:lnTo>
                  <a:lnTo>
                    <a:pt x="1028" y="245"/>
                  </a:lnTo>
                  <a:lnTo>
                    <a:pt x="1028" y="246"/>
                  </a:lnTo>
                  <a:lnTo>
                    <a:pt x="1028" y="247"/>
                  </a:lnTo>
                  <a:lnTo>
                    <a:pt x="1028" y="249"/>
                  </a:lnTo>
                  <a:lnTo>
                    <a:pt x="1028" y="249"/>
                  </a:lnTo>
                  <a:lnTo>
                    <a:pt x="1028" y="252"/>
                  </a:lnTo>
                  <a:lnTo>
                    <a:pt x="1028" y="256"/>
                  </a:lnTo>
                  <a:lnTo>
                    <a:pt x="1029" y="259"/>
                  </a:lnTo>
                  <a:lnTo>
                    <a:pt x="1033" y="268"/>
                  </a:lnTo>
                  <a:lnTo>
                    <a:pt x="1035" y="276"/>
                  </a:lnTo>
                  <a:lnTo>
                    <a:pt x="1037" y="281"/>
                  </a:lnTo>
                  <a:lnTo>
                    <a:pt x="1040" y="294"/>
                  </a:lnTo>
                  <a:lnTo>
                    <a:pt x="1040" y="299"/>
                  </a:lnTo>
                  <a:lnTo>
                    <a:pt x="1042" y="303"/>
                  </a:lnTo>
                  <a:lnTo>
                    <a:pt x="1044" y="309"/>
                  </a:lnTo>
                  <a:lnTo>
                    <a:pt x="1050" y="322"/>
                  </a:lnTo>
                  <a:lnTo>
                    <a:pt x="1053" y="333"/>
                  </a:lnTo>
                  <a:lnTo>
                    <a:pt x="1054" y="337"/>
                  </a:lnTo>
                  <a:lnTo>
                    <a:pt x="1055" y="341"/>
                  </a:lnTo>
                  <a:lnTo>
                    <a:pt x="1055" y="345"/>
                  </a:lnTo>
                  <a:lnTo>
                    <a:pt x="1056" y="355"/>
                  </a:lnTo>
                  <a:lnTo>
                    <a:pt x="1057" y="362"/>
                  </a:lnTo>
                  <a:lnTo>
                    <a:pt x="1057" y="366"/>
                  </a:lnTo>
                  <a:lnTo>
                    <a:pt x="1058" y="370"/>
                  </a:lnTo>
                  <a:lnTo>
                    <a:pt x="1060" y="378"/>
                  </a:lnTo>
                  <a:lnTo>
                    <a:pt x="1060" y="382"/>
                  </a:lnTo>
                  <a:lnTo>
                    <a:pt x="1060" y="385"/>
                  </a:lnTo>
                  <a:lnTo>
                    <a:pt x="1060" y="386"/>
                  </a:lnTo>
                  <a:lnTo>
                    <a:pt x="1060" y="389"/>
                  </a:lnTo>
                  <a:lnTo>
                    <a:pt x="1059" y="391"/>
                  </a:lnTo>
                  <a:lnTo>
                    <a:pt x="1058" y="393"/>
                  </a:lnTo>
                  <a:lnTo>
                    <a:pt x="1057" y="395"/>
                  </a:lnTo>
                  <a:lnTo>
                    <a:pt x="1051" y="401"/>
                  </a:lnTo>
                  <a:lnTo>
                    <a:pt x="1050" y="405"/>
                  </a:lnTo>
                  <a:lnTo>
                    <a:pt x="1049" y="407"/>
                  </a:lnTo>
                  <a:lnTo>
                    <a:pt x="1048" y="408"/>
                  </a:lnTo>
                  <a:lnTo>
                    <a:pt x="1047" y="411"/>
                  </a:lnTo>
                  <a:lnTo>
                    <a:pt x="1046" y="414"/>
                  </a:lnTo>
                  <a:lnTo>
                    <a:pt x="1046" y="417"/>
                  </a:lnTo>
                  <a:lnTo>
                    <a:pt x="1045" y="419"/>
                  </a:lnTo>
                  <a:lnTo>
                    <a:pt x="1045" y="422"/>
                  </a:lnTo>
                  <a:lnTo>
                    <a:pt x="1045" y="424"/>
                  </a:lnTo>
                  <a:lnTo>
                    <a:pt x="1045" y="428"/>
                  </a:lnTo>
                  <a:lnTo>
                    <a:pt x="1046" y="431"/>
                  </a:lnTo>
                  <a:lnTo>
                    <a:pt x="1046" y="434"/>
                  </a:lnTo>
                  <a:lnTo>
                    <a:pt x="1047" y="437"/>
                  </a:lnTo>
                  <a:lnTo>
                    <a:pt x="1048" y="440"/>
                  </a:lnTo>
                  <a:lnTo>
                    <a:pt x="1049" y="442"/>
                  </a:lnTo>
                  <a:lnTo>
                    <a:pt x="1054" y="451"/>
                  </a:lnTo>
                  <a:lnTo>
                    <a:pt x="1056" y="453"/>
                  </a:lnTo>
                  <a:lnTo>
                    <a:pt x="1057" y="455"/>
                  </a:lnTo>
                  <a:lnTo>
                    <a:pt x="1058" y="457"/>
                  </a:lnTo>
                  <a:lnTo>
                    <a:pt x="1059" y="460"/>
                  </a:lnTo>
                  <a:lnTo>
                    <a:pt x="1062" y="469"/>
                  </a:lnTo>
                  <a:lnTo>
                    <a:pt x="1063" y="472"/>
                  </a:lnTo>
                  <a:lnTo>
                    <a:pt x="1066" y="478"/>
                  </a:lnTo>
                  <a:lnTo>
                    <a:pt x="1069" y="483"/>
                  </a:lnTo>
                  <a:lnTo>
                    <a:pt x="1070" y="486"/>
                  </a:lnTo>
                  <a:lnTo>
                    <a:pt x="1072" y="487"/>
                  </a:lnTo>
                  <a:lnTo>
                    <a:pt x="1077" y="494"/>
                  </a:lnTo>
                  <a:lnTo>
                    <a:pt x="1081" y="498"/>
                  </a:lnTo>
                  <a:lnTo>
                    <a:pt x="1087" y="506"/>
                  </a:lnTo>
                  <a:lnTo>
                    <a:pt x="1088" y="508"/>
                  </a:lnTo>
                  <a:lnTo>
                    <a:pt x="1090" y="510"/>
                  </a:lnTo>
                  <a:lnTo>
                    <a:pt x="1091" y="512"/>
                  </a:lnTo>
                  <a:lnTo>
                    <a:pt x="1092" y="514"/>
                  </a:lnTo>
                  <a:lnTo>
                    <a:pt x="1093" y="516"/>
                  </a:lnTo>
                  <a:lnTo>
                    <a:pt x="1094" y="523"/>
                  </a:lnTo>
                  <a:lnTo>
                    <a:pt x="1094" y="525"/>
                  </a:lnTo>
                  <a:lnTo>
                    <a:pt x="1095" y="527"/>
                  </a:lnTo>
                  <a:lnTo>
                    <a:pt x="1097" y="534"/>
                  </a:lnTo>
                  <a:lnTo>
                    <a:pt x="1097" y="536"/>
                  </a:lnTo>
                  <a:lnTo>
                    <a:pt x="1097" y="537"/>
                  </a:lnTo>
                  <a:lnTo>
                    <a:pt x="1097" y="540"/>
                  </a:lnTo>
                  <a:lnTo>
                    <a:pt x="1097" y="543"/>
                  </a:lnTo>
                  <a:lnTo>
                    <a:pt x="1097" y="544"/>
                  </a:lnTo>
                  <a:lnTo>
                    <a:pt x="1096" y="549"/>
                  </a:lnTo>
                  <a:lnTo>
                    <a:pt x="1095" y="552"/>
                  </a:lnTo>
                  <a:lnTo>
                    <a:pt x="1095" y="554"/>
                  </a:lnTo>
                  <a:lnTo>
                    <a:pt x="1095" y="555"/>
                  </a:lnTo>
                  <a:lnTo>
                    <a:pt x="1096" y="555"/>
                  </a:lnTo>
                  <a:lnTo>
                    <a:pt x="1096" y="556"/>
                  </a:lnTo>
                  <a:lnTo>
                    <a:pt x="1097" y="556"/>
                  </a:lnTo>
                  <a:lnTo>
                    <a:pt x="1097" y="557"/>
                  </a:lnTo>
                  <a:lnTo>
                    <a:pt x="1097" y="557"/>
                  </a:lnTo>
                  <a:lnTo>
                    <a:pt x="1099" y="558"/>
                  </a:lnTo>
                  <a:lnTo>
                    <a:pt x="1103" y="558"/>
                  </a:lnTo>
                  <a:lnTo>
                    <a:pt x="1106" y="558"/>
                  </a:lnTo>
                  <a:lnTo>
                    <a:pt x="1113" y="560"/>
                  </a:lnTo>
                  <a:lnTo>
                    <a:pt x="1115" y="561"/>
                  </a:lnTo>
                  <a:lnTo>
                    <a:pt x="1117" y="562"/>
                  </a:lnTo>
                  <a:lnTo>
                    <a:pt x="1119" y="563"/>
                  </a:lnTo>
                  <a:lnTo>
                    <a:pt x="1120" y="564"/>
                  </a:lnTo>
                  <a:lnTo>
                    <a:pt x="1122" y="566"/>
                  </a:lnTo>
                  <a:lnTo>
                    <a:pt x="1124" y="567"/>
                  </a:lnTo>
                  <a:lnTo>
                    <a:pt x="1125" y="568"/>
                  </a:lnTo>
                  <a:lnTo>
                    <a:pt x="1127" y="570"/>
                  </a:lnTo>
                  <a:lnTo>
                    <a:pt x="1128" y="573"/>
                  </a:lnTo>
                  <a:lnTo>
                    <a:pt x="1129" y="575"/>
                  </a:lnTo>
                  <a:lnTo>
                    <a:pt x="1130" y="578"/>
                  </a:lnTo>
                  <a:lnTo>
                    <a:pt x="1130" y="580"/>
                  </a:lnTo>
                  <a:lnTo>
                    <a:pt x="1131" y="589"/>
                  </a:lnTo>
                  <a:lnTo>
                    <a:pt x="1131" y="593"/>
                  </a:lnTo>
                  <a:lnTo>
                    <a:pt x="1131" y="596"/>
                  </a:lnTo>
                  <a:lnTo>
                    <a:pt x="1131" y="600"/>
                  </a:lnTo>
                  <a:lnTo>
                    <a:pt x="1131" y="605"/>
                  </a:lnTo>
                  <a:lnTo>
                    <a:pt x="1130" y="609"/>
                  </a:lnTo>
                  <a:lnTo>
                    <a:pt x="1128" y="612"/>
                  </a:lnTo>
                  <a:lnTo>
                    <a:pt x="1128" y="615"/>
                  </a:lnTo>
                  <a:lnTo>
                    <a:pt x="1126" y="617"/>
                  </a:lnTo>
                  <a:lnTo>
                    <a:pt x="1125" y="620"/>
                  </a:lnTo>
                  <a:lnTo>
                    <a:pt x="1124" y="622"/>
                  </a:lnTo>
                  <a:lnTo>
                    <a:pt x="1118" y="630"/>
                  </a:lnTo>
                  <a:lnTo>
                    <a:pt x="1111" y="637"/>
                  </a:lnTo>
                  <a:lnTo>
                    <a:pt x="1109" y="639"/>
                  </a:lnTo>
                  <a:lnTo>
                    <a:pt x="1108" y="641"/>
                  </a:lnTo>
                  <a:lnTo>
                    <a:pt x="1107" y="644"/>
                  </a:lnTo>
                  <a:lnTo>
                    <a:pt x="1105" y="646"/>
                  </a:lnTo>
                  <a:lnTo>
                    <a:pt x="1104" y="649"/>
                  </a:lnTo>
                  <a:lnTo>
                    <a:pt x="1104" y="652"/>
                  </a:lnTo>
                  <a:lnTo>
                    <a:pt x="1103" y="655"/>
                  </a:lnTo>
                  <a:lnTo>
                    <a:pt x="1103" y="658"/>
                  </a:lnTo>
                  <a:lnTo>
                    <a:pt x="1103" y="661"/>
                  </a:lnTo>
                  <a:lnTo>
                    <a:pt x="1103" y="663"/>
                  </a:lnTo>
                  <a:lnTo>
                    <a:pt x="1104" y="666"/>
                  </a:lnTo>
                  <a:lnTo>
                    <a:pt x="1105" y="668"/>
                  </a:lnTo>
                  <a:lnTo>
                    <a:pt x="1108" y="678"/>
                  </a:lnTo>
                  <a:lnTo>
                    <a:pt x="1108" y="679"/>
                  </a:lnTo>
                  <a:lnTo>
                    <a:pt x="1108" y="680"/>
                  </a:lnTo>
                  <a:lnTo>
                    <a:pt x="1108" y="683"/>
                  </a:lnTo>
                  <a:lnTo>
                    <a:pt x="1108" y="687"/>
                  </a:lnTo>
                  <a:lnTo>
                    <a:pt x="1106" y="693"/>
                  </a:lnTo>
                  <a:lnTo>
                    <a:pt x="1104" y="701"/>
                  </a:lnTo>
                  <a:lnTo>
                    <a:pt x="1103" y="704"/>
                  </a:lnTo>
                  <a:lnTo>
                    <a:pt x="1102" y="710"/>
                  </a:lnTo>
                  <a:lnTo>
                    <a:pt x="1102" y="712"/>
                  </a:lnTo>
                  <a:lnTo>
                    <a:pt x="1102" y="713"/>
                  </a:lnTo>
                  <a:lnTo>
                    <a:pt x="1101" y="713"/>
                  </a:lnTo>
                  <a:lnTo>
                    <a:pt x="1097" y="713"/>
                  </a:lnTo>
                  <a:lnTo>
                    <a:pt x="1094" y="713"/>
                  </a:lnTo>
                  <a:lnTo>
                    <a:pt x="1090" y="713"/>
                  </a:lnTo>
                  <a:lnTo>
                    <a:pt x="1086" y="713"/>
                  </a:lnTo>
                  <a:lnTo>
                    <a:pt x="1083" y="712"/>
                  </a:lnTo>
                  <a:lnTo>
                    <a:pt x="1079" y="711"/>
                  </a:lnTo>
                  <a:lnTo>
                    <a:pt x="1074" y="709"/>
                  </a:lnTo>
                  <a:lnTo>
                    <a:pt x="1070" y="708"/>
                  </a:lnTo>
                  <a:lnTo>
                    <a:pt x="1066" y="706"/>
                  </a:lnTo>
                  <a:lnTo>
                    <a:pt x="1062" y="704"/>
                  </a:lnTo>
                  <a:lnTo>
                    <a:pt x="1057" y="702"/>
                  </a:lnTo>
                  <a:lnTo>
                    <a:pt x="1040" y="693"/>
                  </a:lnTo>
                  <a:lnTo>
                    <a:pt x="1033" y="691"/>
                  </a:lnTo>
                  <a:lnTo>
                    <a:pt x="1030" y="689"/>
                  </a:lnTo>
                  <a:lnTo>
                    <a:pt x="1027" y="688"/>
                  </a:lnTo>
                  <a:lnTo>
                    <a:pt x="1024" y="687"/>
                  </a:lnTo>
                  <a:lnTo>
                    <a:pt x="1019" y="686"/>
                  </a:lnTo>
                  <a:lnTo>
                    <a:pt x="1017" y="685"/>
                  </a:lnTo>
                  <a:lnTo>
                    <a:pt x="1015" y="685"/>
                  </a:lnTo>
                  <a:lnTo>
                    <a:pt x="1007" y="684"/>
                  </a:lnTo>
                  <a:lnTo>
                    <a:pt x="1002" y="683"/>
                  </a:lnTo>
                  <a:lnTo>
                    <a:pt x="999" y="683"/>
                  </a:lnTo>
                  <a:lnTo>
                    <a:pt x="997" y="683"/>
                  </a:lnTo>
                  <a:lnTo>
                    <a:pt x="994" y="684"/>
                  </a:lnTo>
                  <a:lnTo>
                    <a:pt x="987" y="685"/>
                  </a:lnTo>
                  <a:lnTo>
                    <a:pt x="985" y="685"/>
                  </a:lnTo>
                  <a:lnTo>
                    <a:pt x="983" y="685"/>
                  </a:lnTo>
                  <a:lnTo>
                    <a:pt x="982" y="685"/>
                  </a:lnTo>
                  <a:lnTo>
                    <a:pt x="980" y="685"/>
                  </a:lnTo>
                  <a:lnTo>
                    <a:pt x="973" y="682"/>
                  </a:lnTo>
                  <a:lnTo>
                    <a:pt x="971" y="682"/>
                  </a:lnTo>
                  <a:lnTo>
                    <a:pt x="967" y="681"/>
                  </a:lnTo>
                  <a:lnTo>
                    <a:pt x="964" y="681"/>
                  </a:lnTo>
                  <a:lnTo>
                    <a:pt x="963" y="681"/>
                  </a:lnTo>
                  <a:lnTo>
                    <a:pt x="961" y="681"/>
                  </a:lnTo>
                  <a:lnTo>
                    <a:pt x="954" y="684"/>
                  </a:lnTo>
                  <a:lnTo>
                    <a:pt x="950" y="685"/>
                  </a:lnTo>
                  <a:lnTo>
                    <a:pt x="947" y="685"/>
                  </a:lnTo>
                  <a:lnTo>
                    <a:pt x="942" y="685"/>
                  </a:lnTo>
                  <a:lnTo>
                    <a:pt x="935" y="685"/>
                  </a:lnTo>
                  <a:lnTo>
                    <a:pt x="930" y="684"/>
                  </a:lnTo>
                  <a:lnTo>
                    <a:pt x="926" y="683"/>
                  </a:lnTo>
                  <a:lnTo>
                    <a:pt x="919" y="681"/>
                  </a:lnTo>
                  <a:lnTo>
                    <a:pt x="915" y="680"/>
                  </a:lnTo>
                  <a:lnTo>
                    <a:pt x="915" y="680"/>
                  </a:lnTo>
                  <a:lnTo>
                    <a:pt x="914" y="680"/>
                  </a:lnTo>
                  <a:lnTo>
                    <a:pt x="913" y="680"/>
                  </a:lnTo>
                  <a:lnTo>
                    <a:pt x="912" y="681"/>
                  </a:lnTo>
                  <a:lnTo>
                    <a:pt x="911" y="683"/>
                  </a:lnTo>
                  <a:lnTo>
                    <a:pt x="910" y="687"/>
                  </a:lnTo>
                  <a:lnTo>
                    <a:pt x="908" y="692"/>
                  </a:lnTo>
                  <a:lnTo>
                    <a:pt x="903" y="713"/>
                  </a:lnTo>
                  <a:lnTo>
                    <a:pt x="902" y="715"/>
                  </a:lnTo>
                  <a:lnTo>
                    <a:pt x="901" y="719"/>
                  </a:lnTo>
                  <a:lnTo>
                    <a:pt x="900" y="721"/>
                  </a:lnTo>
                  <a:lnTo>
                    <a:pt x="899" y="722"/>
                  </a:lnTo>
                  <a:lnTo>
                    <a:pt x="898" y="724"/>
                  </a:lnTo>
                  <a:lnTo>
                    <a:pt x="896" y="725"/>
                  </a:lnTo>
                  <a:lnTo>
                    <a:pt x="895" y="725"/>
                  </a:lnTo>
                  <a:lnTo>
                    <a:pt x="893" y="725"/>
                  </a:lnTo>
                  <a:lnTo>
                    <a:pt x="890" y="725"/>
                  </a:lnTo>
                  <a:lnTo>
                    <a:pt x="886" y="726"/>
                  </a:lnTo>
                  <a:lnTo>
                    <a:pt x="881" y="726"/>
                  </a:lnTo>
                  <a:lnTo>
                    <a:pt x="878" y="725"/>
                  </a:lnTo>
                  <a:lnTo>
                    <a:pt x="874" y="725"/>
                  </a:lnTo>
                  <a:lnTo>
                    <a:pt x="863" y="723"/>
                  </a:lnTo>
                  <a:lnTo>
                    <a:pt x="861" y="723"/>
                  </a:lnTo>
                  <a:lnTo>
                    <a:pt x="858" y="723"/>
                  </a:lnTo>
                  <a:lnTo>
                    <a:pt x="857" y="723"/>
                  </a:lnTo>
                  <a:lnTo>
                    <a:pt x="855" y="724"/>
                  </a:lnTo>
                  <a:lnTo>
                    <a:pt x="847" y="725"/>
                  </a:lnTo>
                  <a:lnTo>
                    <a:pt x="843" y="725"/>
                  </a:lnTo>
                  <a:lnTo>
                    <a:pt x="837" y="726"/>
                  </a:lnTo>
                  <a:lnTo>
                    <a:pt x="835" y="726"/>
                  </a:lnTo>
                  <a:lnTo>
                    <a:pt x="833" y="726"/>
                  </a:lnTo>
                  <a:lnTo>
                    <a:pt x="831" y="725"/>
                  </a:lnTo>
                  <a:lnTo>
                    <a:pt x="829" y="725"/>
                  </a:lnTo>
                  <a:lnTo>
                    <a:pt x="826" y="724"/>
                  </a:lnTo>
                  <a:lnTo>
                    <a:pt x="824" y="723"/>
                  </a:lnTo>
                  <a:lnTo>
                    <a:pt x="824" y="723"/>
                  </a:lnTo>
                  <a:lnTo>
                    <a:pt x="822" y="723"/>
                  </a:lnTo>
                  <a:lnTo>
                    <a:pt x="821" y="723"/>
                  </a:lnTo>
                  <a:lnTo>
                    <a:pt x="819" y="723"/>
                  </a:lnTo>
                  <a:lnTo>
                    <a:pt x="817" y="724"/>
                  </a:lnTo>
                  <a:lnTo>
                    <a:pt x="814" y="725"/>
                  </a:lnTo>
                  <a:lnTo>
                    <a:pt x="811" y="725"/>
                  </a:lnTo>
                  <a:lnTo>
                    <a:pt x="809" y="727"/>
                  </a:lnTo>
                  <a:lnTo>
                    <a:pt x="808" y="728"/>
                  </a:lnTo>
                  <a:lnTo>
                    <a:pt x="807" y="729"/>
                  </a:lnTo>
                  <a:lnTo>
                    <a:pt x="802" y="735"/>
                  </a:lnTo>
                  <a:lnTo>
                    <a:pt x="801" y="736"/>
                  </a:lnTo>
                  <a:lnTo>
                    <a:pt x="797" y="740"/>
                  </a:lnTo>
                  <a:lnTo>
                    <a:pt x="795" y="741"/>
                  </a:lnTo>
                  <a:lnTo>
                    <a:pt x="793" y="742"/>
                  </a:lnTo>
                  <a:lnTo>
                    <a:pt x="792" y="743"/>
                  </a:lnTo>
                  <a:lnTo>
                    <a:pt x="791" y="743"/>
                  </a:lnTo>
                  <a:lnTo>
                    <a:pt x="790" y="743"/>
                  </a:lnTo>
                  <a:lnTo>
                    <a:pt x="790" y="743"/>
                  </a:lnTo>
                  <a:lnTo>
                    <a:pt x="788" y="743"/>
                  </a:lnTo>
                  <a:lnTo>
                    <a:pt x="787" y="743"/>
                  </a:lnTo>
                  <a:lnTo>
                    <a:pt x="787" y="742"/>
                  </a:lnTo>
                  <a:lnTo>
                    <a:pt x="786" y="742"/>
                  </a:lnTo>
                  <a:lnTo>
                    <a:pt x="775" y="727"/>
                  </a:lnTo>
                  <a:lnTo>
                    <a:pt x="772" y="724"/>
                  </a:lnTo>
                  <a:lnTo>
                    <a:pt x="770" y="721"/>
                  </a:lnTo>
                  <a:lnTo>
                    <a:pt x="767" y="719"/>
                  </a:lnTo>
                  <a:lnTo>
                    <a:pt x="765" y="717"/>
                  </a:lnTo>
                  <a:lnTo>
                    <a:pt x="758" y="713"/>
                  </a:lnTo>
                  <a:lnTo>
                    <a:pt x="750" y="707"/>
                  </a:lnTo>
                  <a:lnTo>
                    <a:pt x="746" y="705"/>
                  </a:lnTo>
                  <a:lnTo>
                    <a:pt x="743" y="703"/>
                  </a:lnTo>
                  <a:lnTo>
                    <a:pt x="739" y="702"/>
                  </a:lnTo>
                  <a:lnTo>
                    <a:pt x="730" y="699"/>
                  </a:lnTo>
                  <a:lnTo>
                    <a:pt x="720" y="696"/>
                  </a:lnTo>
                  <a:lnTo>
                    <a:pt x="717" y="695"/>
                  </a:lnTo>
                  <a:lnTo>
                    <a:pt x="712" y="694"/>
                  </a:lnTo>
                  <a:lnTo>
                    <a:pt x="710" y="693"/>
                  </a:lnTo>
                  <a:lnTo>
                    <a:pt x="708" y="692"/>
                  </a:lnTo>
                  <a:lnTo>
                    <a:pt x="706" y="691"/>
                  </a:lnTo>
                  <a:lnTo>
                    <a:pt x="703" y="690"/>
                  </a:lnTo>
                  <a:lnTo>
                    <a:pt x="699" y="687"/>
                  </a:lnTo>
                  <a:lnTo>
                    <a:pt x="696" y="683"/>
                  </a:lnTo>
                  <a:lnTo>
                    <a:pt x="694" y="681"/>
                  </a:lnTo>
                  <a:lnTo>
                    <a:pt x="690" y="676"/>
                  </a:lnTo>
                  <a:lnTo>
                    <a:pt x="688" y="673"/>
                  </a:lnTo>
                  <a:lnTo>
                    <a:pt x="685" y="668"/>
                  </a:lnTo>
                  <a:lnTo>
                    <a:pt x="675" y="658"/>
                  </a:lnTo>
                  <a:lnTo>
                    <a:pt x="672" y="656"/>
                  </a:lnTo>
                  <a:lnTo>
                    <a:pt x="668" y="653"/>
                  </a:lnTo>
                  <a:lnTo>
                    <a:pt x="665" y="650"/>
                  </a:lnTo>
                  <a:lnTo>
                    <a:pt x="662" y="648"/>
                  </a:lnTo>
                  <a:lnTo>
                    <a:pt x="658" y="646"/>
                  </a:lnTo>
                  <a:lnTo>
                    <a:pt x="654" y="644"/>
                  </a:lnTo>
                  <a:lnTo>
                    <a:pt x="643" y="639"/>
                  </a:lnTo>
                  <a:lnTo>
                    <a:pt x="633" y="634"/>
                  </a:lnTo>
                  <a:lnTo>
                    <a:pt x="631" y="633"/>
                  </a:lnTo>
                  <a:lnTo>
                    <a:pt x="630" y="632"/>
                  </a:lnTo>
                  <a:lnTo>
                    <a:pt x="622" y="630"/>
                  </a:lnTo>
                  <a:lnTo>
                    <a:pt x="612" y="627"/>
                  </a:lnTo>
                  <a:lnTo>
                    <a:pt x="602" y="624"/>
                  </a:lnTo>
                  <a:lnTo>
                    <a:pt x="600" y="623"/>
                  </a:lnTo>
                  <a:lnTo>
                    <a:pt x="593" y="621"/>
                  </a:lnTo>
                  <a:lnTo>
                    <a:pt x="591" y="620"/>
                  </a:lnTo>
                  <a:lnTo>
                    <a:pt x="589" y="619"/>
                  </a:lnTo>
                  <a:lnTo>
                    <a:pt x="586" y="619"/>
                  </a:lnTo>
                  <a:lnTo>
                    <a:pt x="585" y="619"/>
                  </a:lnTo>
                  <a:lnTo>
                    <a:pt x="573" y="618"/>
                  </a:lnTo>
                  <a:lnTo>
                    <a:pt x="569" y="618"/>
                  </a:lnTo>
                  <a:lnTo>
                    <a:pt x="567" y="617"/>
                  </a:lnTo>
                  <a:lnTo>
                    <a:pt x="565" y="617"/>
                  </a:lnTo>
                  <a:lnTo>
                    <a:pt x="563" y="616"/>
                  </a:lnTo>
                  <a:lnTo>
                    <a:pt x="562" y="616"/>
                  </a:lnTo>
                  <a:lnTo>
                    <a:pt x="562" y="615"/>
                  </a:lnTo>
                  <a:lnTo>
                    <a:pt x="560" y="614"/>
                  </a:lnTo>
                  <a:lnTo>
                    <a:pt x="557" y="612"/>
                  </a:lnTo>
                  <a:lnTo>
                    <a:pt x="553" y="609"/>
                  </a:lnTo>
                  <a:lnTo>
                    <a:pt x="549" y="602"/>
                  </a:lnTo>
                  <a:lnTo>
                    <a:pt x="546" y="600"/>
                  </a:lnTo>
                  <a:lnTo>
                    <a:pt x="542" y="596"/>
                  </a:lnTo>
                  <a:lnTo>
                    <a:pt x="540" y="595"/>
                  </a:lnTo>
                  <a:lnTo>
                    <a:pt x="539" y="593"/>
                  </a:lnTo>
                  <a:lnTo>
                    <a:pt x="536" y="592"/>
                  </a:lnTo>
                  <a:lnTo>
                    <a:pt x="534" y="591"/>
                  </a:lnTo>
                  <a:lnTo>
                    <a:pt x="532" y="590"/>
                  </a:lnTo>
                  <a:lnTo>
                    <a:pt x="529" y="589"/>
                  </a:lnTo>
                  <a:lnTo>
                    <a:pt x="526" y="588"/>
                  </a:lnTo>
                  <a:lnTo>
                    <a:pt x="517" y="587"/>
                  </a:lnTo>
                  <a:lnTo>
                    <a:pt x="514" y="585"/>
                  </a:lnTo>
                  <a:lnTo>
                    <a:pt x="510" y="584"/>
                  </a:lnTo>
                  <a:lnTo>
                    <a:pt x="506" y="583"/>
                  </a:lnTo>
                  <a:lnTo>
                    <a:pt x="504" y="581"/>
                  </a:lnTo>
                  <a:lnTo>
                    <a:pt x="502" y="580"/>
                  </a:lnTo>
                  <a:lnTo>
                    <a:pt x="500" y="579"/>
                  </a:lnTo>
                  <a:lnTo>
                    <a:pt x="498" y="578"/>
                  </a:lnTo>
                  <a:lnTo>
                    <a:pt x="496" y="578"/>
                  </a:lnTo>
                  <a:lnTo>
                    <a:pt x="495" y="576"/>
                  </a:lnTo>
                  <a:lnTo>
                    <a:pt x="493" y="573"/>
                  </a:lnTo>
                  <a:lnTo>
                    <a:pt x="489" y="569"/>
                  </a:lnTo>
                  <a:lnTo>
                    <a:pt x="487" y="566"/>
                  </a:lnTo>
                  <a:lnTo>
                    <a:pt x="486" y="566"/>
                  </a:lnTo>
                  <a:lnTo>
                    <a:pt x="484" y="565"/>
                  </a:lnTo>
                  <a:lnTo>
                    <a:pt x="483" y="565"/>
                  </a:lnTo>
                  <a:lnTo>
                    <a:pt x="482" y="565"/>
                  </a:lnTo>
                  <a:lnTo>
                    <a:pt x="480" y="566"/>
                  </a:lnTo>
                  <a:lnTo>
                    <a:pt x="479" y="566"/>
                  </a:lnTo>
                  <a:lnTo>
                    <a:pt x="477" y="567"/>
                  </a:lnTo>
                  <a:lnTo>
                    <a:pt x="474" y="569"/>
                  </a:lnTo>
                  <a:lnTo>
                    <a:pt x="471" y="573"/>
                  </a:lnTo>
                  <a:lnTo>
                    <a:pt x="470" y="575"/>
                  </a:lnTo>
                  <a:lnTo>
                    <a:pt x="467" y="578"/>
                  </a:lnTo>
                  <a:lnTo>
                    <a:pt x="464" y="583"/>
                  </a:lnTo>
                  <a:lnTo>
                    <a:pt x="462" y="587"/>
                  </a:lnTo>
                  <a:lnTo>
                    <a:pt x="459" y="595"/>
                  </a:lnTo>
                  <a:lnTo>
                    <a:pt x="459" y="597"/>
                  </a:lnTo>
                  <a:lnTo>
                    <a:pt x="457" y="599"/>
                  </a:lnTo>
                  <a:lnTo>
                    <a:pt x="455" y="601"/>
                  </a:lnTo>
                  <a:lnTo>
                    <a:pt x="451" y="606"/>
                  </a:lnTo>
                  <a:lnTo>
                    <a:pt x="448" y="612"/>
                  </a:lnTo>
                  <a:lnTo>
                    <a:pt x="446" y="613"/>
                  </a:lnTo>
                  <a:lnTo>
                    <a:pt x="445" y="615"/>
                  </a:lnTo>
                  <a:lnTo>
                    <a:pt x="444" y="616"/>
                  </a:lnTo>
                  <a:lnTo>
                    <a:pt x="442" y="617"/>
                  </a:lnTo>
                  <a:lnTo>
                    <a:pt x="439" y="618"/>
                  </a:lnTo>
                  <a:lnTo>
                    <a:pt x="437" y="618"/>
                  </a:lnTo>
                  <a:lnTo>
                    <a:pt x="437" y="619"/>
                  </a:lnTo>
                  <a:lnTo>
                    <a:pt x="432" y="619"/>
                  </a:lnTo>
                  <a:lnTo>
                    <a:pt x="427" y="619"/>
                  </a:lnTo>
                  <a:lnTo>
                    <a:pt x="426" y="619"/>
                  </a:lnTo>
                  <a:lnTo>
                    <a:pt x="424" y="619"/>
                  </a:lnTo>
                  <a:lnTo>
                    <a:pt x="421" y="618"/>
                  </a:lnTo>
                  <a:lnTo>
                    <a:pt x="419" y="617"/>
                  </a:lnTo>
                  <a:lnTo>
                    <a:pt x="417" y="616"/>
                  </a:lnTo>
                  <a:lnTo>
                    <a:pt x="414" y="614"/>
                  </a:lnTo>
                  <a:lnTo>
                    <a:pt x="405" y="611"/>
                  </a:lnTo>
                  <a:lnTo>
                    <a:pt x="390" y="602"/>
                  </a:lnTo>
                  <a:lnTo>
                    <a:pt x="386" y="600"/>
                  </a:lnTo>
                  <a:lnTo>
                    <a:pt x="383" y="599"/>
                  </a:lnTo>
                  <a:lnTo>
                    <a:pt x="380" y="597"/>
                  </a:lnTo>
                  <a:lnTo>
                    <a:pt x="379" y="595"/>
                  </a:lnTo>
                  <a:lnTo>
                    <a:pt x="377" y="593"/>
                  </a:lnTo>
                  <a:lnTo>
                    <a:pt x="375" y="590"/>
                  </a:lnTo>
                  <a:lnTo>
                    <a:pt x="374" y="588"/>
                  </a:lnTo>
                  <a:lnTo>
                    <a:pt x="373" y="585"/>
                  </a:lnTo>
                  <a:lnTo>
                    <a:pt x="373" y="582"/>
                  </a:lnTo>
                  <a:lnTo>
                    <a:pt x="373" y="580"/>
                  </a:lnTo>
                  <a:lnTo>
                    <a:pt x="373" y="578"/>
                  </a:lnTo>
                  <a:lnTo>
                    <a:pt x="374" y="574"/>
                  </a:lnTo>
                  <a:lnTo>
                    <a:pt x="376" y="568"/>
                  </a:lnTo>
                  <a:lnTo>
                    <a:pt x="376" y="566"/>
                  </a:lnTo>
                  <a:lnTo>
                    <a:pt x="377" y="566"/>
                  </a:lnTo>
                  <a:lnTo>
                    <a:pt x="377" y="564"/>
                  </a:lnTo>
                  <a:lnTo>
                    <a:pt x="376" y="562"/>
                  </a:lnTo>
                  <a:lnTo>
                    <a:pt x="376" y="560"/>
                  </a:lnTo>
                  <a:lnTo>
                    <a:pt x="375" y="559"/>
                  </a:lnTo>
                  <a:lnTo>
                    <a:pt x="374" y="559"/>
                  </a:lnTo>
                  <a:lnTo>
                    <a:pt x="372" y="558"/>
                  </a:lnTo>
                  <a:lnTo>
                    <a:pt x="368" y="557"/>
                  </a:lnTo>
                  <a:lnTo>
                    <a:pt x="366" y="557"/>
                  </a:lnTo>
                  <a:lnTo>
                    <a:pt x="362" y="555"/>
                  </a:lnTo>
                  <a:lnTo>
                    <a:pt x="358" y="555"/>
                  </a:lnTo>
                  <a:lnTo>
                    <a:pt x="356" y="554"/>
                  </a:lnTo>
                  <a:lnTo>
                    <a:pt x="353" y="552"/>
                  </a:lnTo>
                  <a:lnTo>
                    <a:pt x="351" y="551"/>
                  </a:lnTo>
                  <a:lnTo>
                    <a:pt x="346" y="547"/>
                  </a:lnTo>
                  <a:lnTo>
                    <a:pt x="343" y="545"/>
                  </a:lnTo>
                  <a:lnTo>
                    <a:pt x="339" y="544"/>
                  </a:lnTo>
                  <a:lnTo>
                    <a:pt x="336" y="542"/>
                  </a:lnTo>
                  <a:lnTo>
                    <a:pt x="333" y="541"/>
                  </a:lnTo>
                  <a:lnTo>
                    <a:pt x="328" y="539"/>
                  </a:lnTo>
                  <a:lnTo>
                    <a:pt x="325" y="538"/>
                  </a:lnTo>
                  <a:lnTo>
                    <a:pt x="322" y="537"/>
                  </a:lnTo>
                  <a:lnTo>
                    <a:pt x="319" y="537"/>
                  </a:lnTo>
                  <a:lnTo>
                    <a:pt x="317" y="536"/>
                  </a:lnTo>
                  <a:lnTo>
                    <a:pt x="316" y="535"/>
                  </a:lnTo>
                  <a:lnTo>
                    <a:pt x="314" y="534"/>
                  </a:lnTo>
                  <a:lnTo>
                    <a:pt x="313" y="533"/>
                  </a:lnTo>
                  <a:lnTo>
                    <a:pt x="312" y="532"/>
                  </a:lnTo>
                  <a:lnTo>
                    <a:pt x="312" y="531"/>
                  </a:lnTo>
                  <a:lnTo>
                    <a:pt x="312" y="528"/>
                  </a:lnTo>
                  <a:lnTo>
                    <a:pt x="310" y="521"/>
                  </a:lnTo>
                  <a:lnTo>
                    <a:pt x="309" y="521"/>
                  </a:lnTo>
                  <a:lnTo>
                    <a:pt x="309" y="519"/>
                  </a:lnTo>
                  <a:lnTo>
                    <a:pt x="308" y="518"/>
                  </a:lnTo>
                  <a:lnTo>
                    <a:pt x="307" y="517"/>
                  </a:lnTo>
                  <a:lnTo>
                    <a:pt x="306" y="516"/>
                  </a:lnTo>
                  <a:lnTo>
                    <a:pt x="304" y="515"/>
                  </a:lnTo>
                  <a:lnTo>
                    <a:pt x="302" y="514"/>
                  </a:lnTo>
                  <a:lnTo>
                    <a:pt x="296" y="512"/>
                  </a:lnTo>
                  <a:lnTo>
                    <a:pt x="292" y="511"/>
                  </a:lnTo>
                  <a:lnTo>
                    <a:pt x="286" y="510"/>
                  </a:lnTo>
                  <a:lnTo>
                    <a:pt x="283" y="509"/>
                  </a:lnTo>
                  <a:lnTo>
                    <a:pt x="280" y="508"/>
                  </a:lnTo>
                  <a:lnTo>
                    <a:pt x="278" y="507"/>
                  </a:lnTo>
                  <a:lnTo>
                    <a:pt x="276" y="505"/>
                  </a:lnTo>
                  <a:lnTo>
                    <a:pt x="272" y="503"/>
                  </a:lnTo>
                  <a:lnTo>
                    <a:pt x="270" y="501"/>
                  </a:lnTo>
                  <a:lnTo>
                    <a:pt x="268" y="500"/>
                  </a:lnTo>
                  <a:lnTo>
                    <a:pt x="267" y="498"/>
                  </a:lnTo>
                  <a:lnTo>
                    <a:pt x="259" y="491"/>
                  </a:lnTo>
                  <a:lnTo>
                    <a:pt x="258" y="490"/>
                  </a:lnTo>
                  <a:lnTo>
                    <a:pt x="256" y="489"/>
                  </a:lnTo>
                  <a:lnTo>
                    <a:pt x="255" y="488"/>
                  </a:lnTo>
                  <a:lnTo>
                    <a:pt x="251" y="487"/>
                  </a:lnTo>
                  <a:lnTo>
                    <a:pt x="244" y="483"/>
                  </a:lnTo>
                  <a:lnTo>
                    <a:pt x="243" y="482"/>
                  </a:lnTo>
                  <a:lnTo>
                    <a:pt x="239" y="480"/>
                  </a:lnTo>
                  <a:lnTo>
                    <a:pt x="238" y="479"/>
                  </a:lnTo>
                  <a:lnTo>
                    <a:pt x="236" y="478"/>
                  </a:lnTo>
                  <a:lnTo>
                    <a:pt x="234" y="477"/>
                  </a:lnTo>
                  <a:lnTo>
                    <a:pt x="228" y="476"/>
                  </a:lnTo>
                  <a:lnTo>
                    <a:pt x="226" y="476"/>
                  </a:lnTo>
                  <a:lnTo>
                    <a:pt x="224" y="476"/>
                  </a:lnTo>
                  <a:lnTo>
                    <a:pt x="222" y="476"/>
                  </a:lnTo>
                  <a:lnTo>
                    <a:pt x="221" y="476"/>
                  </a:lnTo>
                  <a:lnTo>
                    <a:pt x="217" y="476"/>
                  </a:lnTo>
                  <a:lnTo>
                    <a:pt x="215" y="477"/>
                  </a:lnTo>
                  <a:lnTo>
                    <a:pt x="213" y="477"/>
                  </a:lnTo>
                  <a:lnTo>
                    <a:pt x="211" y="477"/>
                  </a:lnTo>
                  <a:lnTo>
                    <a:pt x="209" y="477"/>
                  </a:lnTo>
                  <a:lnTo>
                    <a:pt x="203" y="476"/>
                  </a:lnTo>
                  <a:lnTo>
                    <a:pt x="201" y="476"/>
                  </a:lnTo>
                  <a:lnTo>
                    <a:pt x="200" y="476"/>
                  </a:lnTo>
                  <a:lnTo>
                    <a:pt x="197" y="476"/>
                  </a:lnTo>
                  <a:lnTo>
                    <a:pt x="187" y="476"/>
                  </a:lnTo>
                  <a:lnTo>
                    <a:pt x="185" y="476"/>
                  </a:lnTo>
                  <a:lnTo>
                    <a:pt x="182" y="476"/>
                  </a:lnTo>
                  <a:lnTo>
                    <a:pt x="178" y="476"/>
                  </a:lnTo>
                  <a:lnTo>
                    <a:pt x="176" y="476"/>
                  </a:lnTo>
                  <a:lnTo>
                    <a:pt x="174" y="476"/>
                  </a:lnTo>
                  <a:lnTo>
                    <a:pt x="172" y="475"/>
                  </a:lnTo>
                  <a:lnTo>
                    <a:pt x="170" y="474"/>
                  </a:lnTo>
                  <a:lnTo>
                    <a:pt x="169" y="473"/>
                  </a:lnTo>
                  <a:lnTo>
                    <a:pt x="165" y="470"/>
                  </a:lnTo>
                  <a:lnTo>
                    <a:pt x="161" y="466"/>
                  </a:lnTo>
                  <a:lnTo>
                    <a:pt x="158" y="464"/>
                  </a:lnTo>
                  <a:lnTo>
                    <a:pt x="153" y="460"/>
                  </a:lnTo>
                  <a:lnTo>
                    <a:pt x="152" y="458"/>
                  </a:lnTo>
                  <a:lnTo>
                    <a:pt x="133" y="445"/>
                  </a:lnTo>
                  <a:lnTo>
                    <a:pt x="125" y="440"/>
                  </a:lnTo>
                  <a:lnTo>
                    <a:pt x="121" y="437"/>
                  </a:lnTo>
                  <a:lnTo>
                    <a:pt x="107" y="426"/>
                  </a:lnTo>
                  <a:lnTo>
                    <a:pt x="96" y="418"/>
                  </a:lnTo>
                  <a:lnTo>
                    <a:pt x="96" y="417"/>
                  </a:lnTo>
                  <a:lnTo>
                    <a:pt x="96" y="411"/>
                  </a:lnTo>
                  <a:lnTo>
                    <a:pt x="98" y="402"/>
                  </a:lnTo>
                  <a:lnTo>
                    <a:pt x="99" y="393"/>
                  </a:lnTo>
                  <a:lnTo>
                    <a:pt x="100" y="385"/>
                  </a:lnTo>
                  <a:lnTo>
                    <a:pt x="100" y="383"/>
                  </a:lnTo>
                  <a:lnTo>
                    <a:pt x="101" y="380"/>
                  </a:lnTo>
                  <a:lnTo>
                    <a:pt x="102" y="378"/>
                  </a:lnTo>
                  <a:lnTo>
                    <a:pt x="102" y="377"/>
                  </a:lnTo>
                  <a:lnTo>
                    <a:pt x="104" y="375"/>
                  </a:lnTo>
                  <a:lnTo>
                    <a:pt x="107" y="370"/>
                  </a:lnTo>
                  <a:lnTo>
                    <a:pt x="109" y="368"/>
                  </a:lnTo>
                  <a:lnTo>
                    <a:pt x="110" y="366"/>
                  </a:lnTo>
                  <a:lnTo>
                    <a:pt x="114" y="356"/>
                  </a:lnTo>
                  <a:lnTo>
                    <a:pt x="116" y="352"/>
                  </a:lnTo>
                  <a:lnTo>
                    <a:pt x="118" y="348"/>
                  </a:lnTo>
                  <a:lnTo>
                    <a:pt x="119" y="345"/>
                  </a:lnTo>
                  <a:lnTo>
                    <a:pt x="119" y="342"/>
                  </a:lnTo>
                  <a:lnTo>
                    <a:pt x="119" y="340"/>
                  </a:lnTo>
                  <a:lnTo>
                    <a:pt x="119" y="337"/>
                  </a:lnTo>
                  <a:lnTo>
                    <a:pt x="119" y="335"/>
                  </a:lnTo>
                  <a:lnTo>
                    <a:pt x="117" y="328"/>
                  </a:lnTo>
                  <a:lnTo>
                    <a:pt x="117" y="326"/>
                  </a:lnTo>
                  <a:lnTo>
                    <a:pt x="117" y="324"/>
                  </a:lnTo>
                  <a:lnTo>
                    <a:pt x="117" y="323"/>
                  </a:lnTo>
                  <a:lnTo>
                    <a:pt x="117" y="321"/>
                  </a:lnTo>
                  <a:lnTo>
                    <a:pt x="117" y="319"/>
                  </a:lnTo>
                  <a:lnTo>
                    <a:pt x="119" y="314"/>
                  </a:lnTo>
                  <a:lnTo>
                    <a:pt x="119" y="310"/>
                  </a:lnTo>
                  <a:lnTo>
                    <a:pt x="119" y="308"/>
                  </a:lnTo>
                  <a:lnTo>
                    <a:pt x="119" y="306"/>
                  </a:lnTo>
                  <a:lnTo>
                    <a:pt x="118" y="304"/>
                  </a:lnTo>
                  <a:lnTo>
                    <a:pt x="117" y="303"/>
                  </a:lnTo>
                  <a:lnTo>
                    <a:pt x="116" y="301"/>
                  </a:lnTo>
                  <a:lnTo>
                    <a:pt x="115" y="299"/>
                  </a:lnTo>
                  <a:lnTo>
                    <a:pt x="113" y="297"/>
                  </a:lnTo>
                  <a:lnTo>
                    <a:pt x="109" y="294"/>
                  </a:lnTo>
                  <a:lnTo>
                    <a:pt x="107" y="294"/>
                  </a:lnTo>
                  <a:lnTo>
                    <a:pt x="105" y="292"/>
                  </a:lnTo>
                  <a:lnTo>
                    <a:pt x="98" y="288"/>
                  </a:lnTo>
                  <a:lnTo>
                    <a:pt x="96" y="287"/>
                  </a:lnTo>
                  <a:lnTo>
                    <a:pt x="91" y="284"/>
                  </a:lnTo>
                  <a:lnTo>
                    <a:pt x="86" y="282"/>
                  </a:lnTo>
                  <a:lnTo>
                    <a:pt x="84" y="279"/>
                  </a:lnTo>
                  <a:lnTo>
                    <a:pt x="81" y="276"/>
                  </a:lnTo>
                  <a:lnTo>
                    <a:pt x="79" y="274"/>
                  </a:lnTo>
                  <a:lnTo>
                    <a:pt x="77" y="272"/>
                  </a:lnTo>
                  <a:lnTo>
                    <a:pt x="76" y="271"/>
                  </a:lnTo>
                  <a:lnTo>
                    <a:pt x="75" y="270"/>
                  </a:lnTo>
                  <a:lnTo>
                    <a:pt x="75" y="268"/>
                  </a:lnTo>
                  <a:lnTo>
                    <a:pt x="74" y="267"/>
                  </a:lnTo>
                  <a:lnTo>
                    <a:pt x="74" y="265"/>
                  </a:lnTo>
                  <a:lnTo>
                    <a:pt x="73" y="260"/>
                  </a:lnTo>
                  <a:lnTo>
                    <a:pt x="73" y="256"/>
                  </a:lnTo>
                  <a:lnTo>
                    <a:pt x="73" y="255"/>
                  </a:lnTo>
                  <a:lnTo>
                    <a:pt x="73" y="254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1" y="251"/>
                  </a:lnTo>
                  <a:lnTo>
                    <a:pt x="68" y="251"/>
                  </a:lnTo>
                  <a:lnTo>
                    <a:pt x="67" y="250"/>
                  </a:lnTo>
                  <a:lnTo>
                    <a:pt x="65" y="249"/>
                  </a:lnTo>
                  <a:lnTo>
                    <a:pt x="63" y="247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59" y="245"/>
                  </a:lnTo>
                  <a:lnTo>
                    <a:pt x="55" y="244"/>
                  </a:lnTo>
                  <a:lnTo>
                    <a:pt x="52" y="244"/>
                  </a:lnTo>
                  <a:lnTo>
                    <a:pt x="48" y="242"/>
                  </a:lnTo>
                  <a:lnTo>
                    <a:pt x="45" y="241"/>
                  </a:lnTo>
                  <a:lnTo>
                    <a:pt x="43" y="240"/>
                  </a:lnTo>
                  <a:lnTo>
                    <a:pt x="41" y="239"/>
                  </a:lnTo>
                  <a:lnTo>
                    <a:pt x="40" y="238"/>
                  </a:lnTo>
                  <a:lnTo>
                    <a:pt x="39" y="237"/>
                  </a:lnTo>
                  <a:lnTo>
                    <a:pt x="38" y="236"/>
                  </a:lnTo>
                  <a:lnTo>
                    <a:pt x="35" y="234"/>
                  </a:lnTo>
                  <a:lnTo>
                    <a:pt x="32" y="232"/>
                  </a:lnTo>
                  <a:lnTo>
                    <a:pt x="29" y="231"/>
                  </a:lnTo>
                  <a:lnTo>
                    <a:pt x="28" y="231"/>
                  </a:lnTo>
                  <a:lnTo>
                    <a:pt x="22" y="229"/>
                  </a:lnTo>
                  <a:lnTo>
                    <a:pt x="18" y="228"/>
                  </a:lnTo>
                  <a:lnTo>
                    <a:pt x="16" y="227"/>
                  </a:lnTo>
                  <a:lnTo>
                    <a:pt x="12" y="226"/>
                  </a:lnTo>
                  <a:lnTo>
                    <a:pt x="10" y="224"/>
                  </a:lnTo>
                  <a:lnTo>
                    <a:pt x="7" y="222"/>
                  </a:lnTo>
                  <a:lnTo>
                    <a:pt x="5" y="221"/>
                  </a:lnTo>
                  <a:lnTo>
                    <a:pt x="5" y="219"/>
                  </a:lnTo>
                  <a:lnTo>
                    <a:pt x="3" y="217"/>
                  </a:lnTo>
                  <a:lnTo>
                    <a:pt x="2" y="215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1" y="206"/>
                  </a:lnTo>
                  <a:lnTo>
                    <a:pt x="1" y="205"/>
                  </a:lnTo>
                  <a:lnTo>
                    <a:pt x="3" y="204"/>
                  </a:lnTo>
                  <a:lnTo>
                    <a:pt x="4" y="203"/>
                  </a:lnTo>
                  <a:lnTo>
                    <a:pt x="5" y="202"/>
                  </a:lnTo>
                  <a:lnTo>
                    <a:pt x="6" y="202"/>
                  </a:lnTo>
                  <a:lnTo>
                    <a:pt x="10" y="200"/>
                  </a:lnTo>
                  <a:lnTo>
                    <a:pt x="13" y="199"/>
                  </a:lnTo>
                  <a:lnTo>
                    <a:pt x="15" y="198"/>
                  </a:lnTo>
                  <a:lnTo>
                    <a:pt x="15" y="197"/>
                  </a:lnTo>
                  <a:lnTo>
                    <a:pt x="16" y="196"/>
                  </a:lnTo>
                  <a:lnTo>
                    <a:pt x="16" y="195"/>
                  </a:lnTo>
                  <a:lnTo>
                    <a:pt x="15" y="195"/>
                  </a:lnTo>
                  <a:lnTo>
                    <a:pt x="14" y="193"/>
                  </a:lnTo>
                  <a:lnTo>
                    <a:pt x="12" y="191"/>
                  </a:lnTo>
                  <a:lnTo>
                    <a:pt x="11" y="191"/>
                  </a:lnTo>
                  <a:lnTo>
                    <a:pt x="10" y="190"/>
                  </a:lnTo>
                  <a:lnTo>
                    <a:pt x="10" y="189"/>
                  </a:lnTo>
                  <a:lnTo>
                    <a:pt x="10" y="188"/>
                  </a:lnTo>
                  <a:lnTo>
                    <a:pt x="10" y="187"/>
                  </a:lnTo>
                  <a:lnTo>
                    <a:pt x="11" y="186"/>
                  </a:lnTo>
                  <a:lnTo>
                    <a:pt x="13" y="184"/>
                  </a:lnTo>
                  <a:lnTo>
                    <a:pt x="19" y="180"/>
                  </a:lnTo>
                  <a:lnTo>
                    <a:pt x="21" y="178"/>
                  </a:lnTo>
                  <a:lnTo>
                    <a:pt x="22" y="177"/>
                  </a:lnTo>
                  <a:lnTo>
                    <a:pt x="24" y="176"/>
                  </a:lnTo>
                  <a:lnTo>
                    <a:pt x="25" y="174"/>
                  </a:lnTo>
                  <a:lnTo>
                    <a:pt x="25" y="173"/>
                  </a:lnTo>
                  <a:lnTo>
                    <a:pt x="26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8" y="160"/>
                  </a:lnTo>
                  <a:lnTo>
                    <a:pt x="28" y="157"/>
                  </a:lnTo>
                  <a:lnTo>
                    <a:pt x="29" y="156"/>
                  </a:lnTo>
                  <a:lnTo>
                    <a:pt x="29" y="154"/>
                  </a:lnTo>
                  <a:lnTo>
                    <a:pt x="32" y="150"/>
                  </a:lnTo>
                  <a:lnTo>
                    <a:pt x="32" y="149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1" y="147"/>
                  </a:lnTo>
                  <a:lnTo>
                    <a:pt x="30" y="145"/>
                  </a:lnTo>
                  <a:lnTo>
                    <a:pt x="28" y="143"/>
                  </a:lnTo>
                  <a:lnTo>
                    <a:pt x="28" y="142"/>
                  </a:lnTo>
                  <a:lnTo>
                    <a:pt x="27" y="140"/>
                  </a:lnTo>
                  <a:lnTo>
                    <a:pt x="27" y="139"/>
                  </a:lnTo>
                  <a:lnTo>
                    <a:pt x="27" y="138"/>
                  </a:lnTo>
                  <a:lnTo>
                    <a:pt x="27" y="137"/>
                  </a:lnTo>
                  <a:lnTo>
                    <a:pt x="27" y="136"/>
                  </a:lnTo>
                  <a:lnTo>
                    <a:pt x="28" y="136"/>
                  </a:lnTo>
                  <a:lnTo>
                    <a:pt x="28" y="135"/>
                  </a:lnTo>
                  <a:lnTo>
                    <a:pt x="29" y="134"/>
                  </a:lnTo>
                  <a:lnTo>
                    <a:pt x="30" y="133"/>
                  </a:lnTo>
                  <a:lnTo>
                    <a:pt x="32" y="132"/>
                  </a:lnTo>
                  <a:lnTo>
                    <a:pt x="34" y="131"/>
                  </a:lnTo>
                  <a:lnTo>
                    <a:pt x="39" y="130"/>
                  </a:lnTo>
                  <a:lnTo>
                    <a:pt x="41" y="129"/>
                  </a:lnTo>
                  <a:lnTo>
                    <a:pt x="43" y="129"/>
                  </a:lnTo>
                  <a:lnTo>
                    <a:pt x="44" y="128"/>
                  </a:lnTo>
                  <a:lnTo>
                    <a:pt x="46" y="127"/>
                  </a:lnTo>
                  <a:lnTo>
                    <a:pt x="47" y="126"/>
                  </a:lnTo>
                  <a:lnTo>
                    <a:pt x="48" y="125"/>
                  </a:lnTo>
                  <a:lnTo>
                    <a:pt x="48" y="124"/>
                  </a:lnTo>
                  <a:lnTo>
                    <a:pt x="49" y="124"/>
                  </a:lnTo>
                  <a:lnTo>
                    <a:pt x="49" y="124"/>
                  </a:lnTo>
                  <a:lnTo>
                    <a:pt x="50" y="126"/>
                  </a:lnTo>
                  <a:lnTo>
                    <a:pt x="51" y="128"/>
                  </a:lnTo>
                  <a:lnTo>
                    <a:pt x="53" y="129"/>
                  </a:lnTo>
                  <a:lnTo>
                    <a:pt x="55" y="130"/>
                  </a:lnTo>
                  <a:lnTo>
                    <a:pt x="57" y="131"/>
                  </a:lnTo>
                  <a:lnTo>
                    <a:pt x="59" y="132"/>
                  </a:lnTo>
                  <a:lnTo>
                    <a:pt x="61" y="132"/>
                  </a:lnTo>
                  <a:lnTo>
                    <a:pt x="62" y="132"/>
                  </a:lnTo>
                  <a:lnTo>
                    <a:pt x="65" y="132"/>
                  </a:lnTo>
                  <a:lnTo>
                    <a:pt x="67" y="132"/>
                  </a:lnTo>
                  <a:lnTo>
                    <a:pt x="70" y="132"/>
                  </a:lnTo>
                  <a:lnTo>
                    <a:pt x="72" y="131"/>
                  </a:lnTo>
                  <a:lnTo>
                    <a:pt x="74" y="130"/>
                  </a:lnTo>
                  <a:lnTo>
                    <a:pt x="77" y="129"/>
                  </a:lnTo>
                  <a:lnTo>
                    <a:pt x="80" y="128"/>
                  </a:lnTo>
                  <a:lnTo>
                    <a:pt x="83" y="127"/>
                  </a:lnTo>
                  <a:lnTo>
                    <a:pt x="85" y="125"/>
                  </a:lnTo>
                  <a:lnTo>
                    <a:pt x="88" y="124"/>
                  </a:lnTo>
                  <a:lnTo>
                    <a:pt x="93" y="121"/>
                  </a:lnTo>
                  <a:lnTo>
                    <a:pt x="95" y="120"/>
                  </a:lnTo>
                  <a:lnTo>
                    <a:pt x="98" y="118"/>
                  </a:lnTo>
                  <a:lnTo>
                    <a:pt x="101" y="116"/>
                  </a:lnTo>
                  <a:lnTo>
                    <a:pt x="104" y="114"/>
                  </a:lnTo>
                  <a:lnTo>
                    <a:pt x="107" y="112"/>
                  </a:lnTo>
                  <a:lnTo>
                    <a:pt x="109" y="110"/>
                  </a:lnTo>
                  <a:lnTo>
                    <a:pt x="110" y="108"/>
                  </a:lnTo>
                  <a:lnTo>
                    <a:pt x="111" y="107"/>
                  </a:lnTo>
                  <a:lnTo>
                    <a:pt x="114" y="102"/>
                  </a:lnTo>
                  <a:lnTo>
                    <a:pt x="115" y="100"/>
                  </a:lnTo>
                  <a:lnTo>
                    <a:pt x="116" y="99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0" name="Freeform 99">
              <a:extLst>
                <a:ext uri="{FF2B5EF4-FFF2-40B4-BE49-F238E27FC236}">
                  <a16:creationId xmlns:a16="http://schemas.microsoft.com/office/drawing/2014/main" id="{860DF470-9B9B-4635-8943-9C18B5436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0" y="2018"/>
              <a:ext cx="193" cy="54"/>
            </a:xfrm>
            <a:custGeom>
              <a:avLst/>
              <a:gdLst>
                <a:gd name="T0" fmla="*/ 1 w 193"/>
                <a:gd name="T1" fmla="*/ 51 h 54"/>
                <a:gd name="T2" fmla="*/ 3 w 193"/>
                <a:gd name="T3" fmla="*/ 48 h 54"/>
                <a:gd name="T4" fmla="*/ 8 w 193"/>
                <a:gd name="T5" fmla="*/ 45 h 54"/>
                <a:gd name="T6" fmla="*/ 14 w 193"/>
                <a:gd name="T7" fmla="*/ 44 h 54"/>
                <a:gd name="T8" fmla="*/ 20 w 193"/>
                <a:gd name="T9" fmla="*/ 42 h 54"/>
                <a:gd name="T10" fmla="*/ 31 w 193"/>
                <a:gd name="T11" fmla="*/ 37 h 54"/>
                <a:gd name="T12" fmla="*/ 33 w 193"/>
                <a:gd name="T13" fmla="*/ 36 h 54"/>
                <a:gd name="T14" fmla="*/ 35 w 193"/>
                <a:gd name="T15" fmla="*/ 36 h 54"/>
                <a:gd name="T16" fmla="*/ 37 w 193"/>
                <a:gd name="T17" fmla="*/ 37 h 54"/>
                <a:gd name="T18" fmla="*/ 39 w 193"/>
                <a:gd name="T19" fmla="*/ 39 h 54"/>
                <a:gd name="T20" fmla="*/ 46 w 193"/>
                <a:gd name="T21" fmla="*/ 44 h 54"/>
                <a:gd name="T22" fmla="*/ 51 w 193"/>
                <a:gd name="T23" fmla="*/ 45 h 54"/>
                <a:gd name="T24" fmla="*/ 54 w 193"/>
                <a:gd name="T25" fmla="*/ 45 h 54"/>
                <a:gd name="T26" fmla="*/ 60 w 193"/>
                <a:gd name="T27" fmla="*/ 44 h 54"/>
                <a:gd name="T28" fmla="*/ 71 w 193"/>
                <a:gd name="T29" fmla="*/ 45 h 54"/>
                <a:gd name="T30" fmla="*/ 77 w 193"/>
                <a:gd name="T31" fmla="*/ 45 h 54"/>
                <a:gd name="T32" fmla="*/ 85 w 193"/>
                <a:gd name="T33" fmla="*/ 47 h 54"/>
                <a:gd name="T34" fmla="*/ 93 w 193"/>
                <a:gd name="T35" fmla="*/ 47 h 54"/>
                <a:gd name="T36" fmla="*/ 96 w 193"/>
                <a:gd name="T37" fmla="*/ 47 h 54"/>
                <a:gd name="T38" fmla="*/ 102 w 193"/>
                <a:gd name="T39" fmla="*/ 49 h 54"/>
                <a:gd name="T40" fmla="*/ 111 w 193"/>
                <a:gd name="T41" fmla="*/ 53 h 54"/>
                <a:gd name="T42" fmla="*/ 116 w 193"/>
                <a:gd name="T43" fmla="*/ 54 h 54"/>
                <a:gd name="T44" fmla="*/ 121 w 193"/>
                <a:gd name="T45" fmla="*/ 53 h 54"/>
                <a:gd name="T46" fmla="*/ 126 w 193"/>
                <a:gd name="T47" fmla="*/ 52 h 54"/>
                <a:gd name="T48" fmla="*/ 136 w 193"/>
                <a:gd name="T49" fmla="*/ 47 h 54"/>
                <a:gd name="T50" fmla="*/ 146 w 193"/>
                <a:gd name="T51" fmla="*/ 44 h 54"/>
                <a:gd name="T52" fmla="*/ 151 w 193"/>
                <a:gd name="T53" fmla="*/ 42 h 54"/>
                <a:gd name="T54" fmla="*/ 155 w 193"/>
                <a:gd name="T55" fmla="*/ 39 h 54"/>
                <a:gd name="T56" fmla="*/ 158 w 193"/>
                <a:gd name="T57" fmla="*/ 35 h 54"/>
                <a:gd name="T58" fmla="*/ 161 w 193"/>
                <a:gd name="T59" fmla="*/ 33 h 54"/>
                <a:gd name="T60" fmla="*/ 164 w 193"/>
                <a:gd name="T61" fmla="*/ 24 h 54"/>
                <a:gd name="T62" fmla="*/ 167 w 193"/>
                <a:gd name="T63" fmla="*/ 19 h 54"/>
                <a:gd name="T64" fmla="*/ 170 w 193"/>
                <a:gd name="T65" fmla="*/ 16 h 54"/>
                <a:gd name="T66" fmla="*/ 173 w 193"/>
                <a:gd name="T67" fmla="*/ 11 h 54"/>
                <a:gd name="T68" fmla="*/ 179 w 193"/>
                <a:gd name="T69" fmla="*/ 8 h 54"/>
                <a:gd name="T70" fmla="*/ 186 w 193"/>
                <a:gd name="T71" fmla="*/ 3 h 54"/>
                <a:gd name="T72" fmla="*/ 192 w 193"/>
                <a:gd name="T7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3" h="54">
                  <a:moveTo>
                    <a:pt x="0" y="53"/>
                  </a:moveTo>
                  <a:lnTo>
                    <a:pt x="1" y="51"/>
                  </a:lnTo>
                  <a:lnTo>
                    <a:pt x="3" y="50"/>
                  </a:lnTo>
                  <a:lnTo>
                    <a:pt x="3" y="48"/>
                  </a:lnTo>
                  <a:lnTo>
                    <a:pt x="5" y="47"/>
                  </a:lnTo>
                  <a:lnTo>
                    <a:pt x="8" y="45"/>
                  </a:lnTo>
                  <a:lnTo>
                    <a:pt x="11" y="44"/>
                  </a:lnTo>
                  <a:lnTo>
                    <a:pt x="14" y="44"/>
                  </a:lnTo>
                  <a:lnTo>
                    <a:pt x="17" y="43"/>
                  </a:lnTo>
                  <a:lnTo>
                    <a:pt x="20" y="42"/>
                  </a:lnTo>
                  <a:lnTo>
                    <a:pt x="22" y="41"/>
                  </a:lnTo>
                  <a:lnTo>
                    <a:pt x="31" y="37"/>
                  </a:lnTo>
                  <a:lnTo>
                    <a:pt x="32" y="36"/>
                  </a:lnTo>
                  <a:lnTo>
                    <a:pt x="33" y="36"/>
                  </a:lnTo>
                  <a:lnTo>
                    <a:pt x="34" y="36"/>
                  </a:lnTo>
                  <a:lnTo>
                    <a:pt x="35" y="36"/>
                  </a:lnTo>
                  <a:lnTo>
                    <a:pt x="37" y="36"/>
                  </a:lnTo>
                  <a:lnTo>
                    <a:pt x="37" y="37"/>
                  </a:lnTo>
                  <a:lnTo>
                    <a:pt x="38" y="38"/>
                  </a:lnTo>
                  <a:lnTo>
                    <a:pt x="39" y="39"/>
                  </a:lnTo>
                  <a:lnTo>
                    <a:pt x="44" y="42"/>
                  </a:lnTo>
                  <a:lnTo>
                    <a:pt x="46" y="44"/>
                  </a:lnTo>
                  <a:lnTo>
                    <a:pt x="48" y="44"/>
                  </a:lnTo>
                  <a:lnTo>
                    <a:pt x="51" y="45"/>
                  </a:lnTo>
                  <a:lnTo>
                    <a:pt x="52" y="45"/>
                  </a:lnTo>
                  <a:lnTo>
                    <a:pt x="54" y="45"/>
                  </a:lnTo>
                  <a:lnTo>
                    <a:pt x="58" y="45"/>
                  </a:lnTo>
                  <a:lnTo>
                    <a:pt x="60" y="44"/>
                  </a:lnTo>
                  <a:lnTo>
                    <a:pt x="63" y="45"/>
                  </a:lnTo>
                  <a:lnTo>
                    <a:pt x="71" y="45"/>
                  </a:lnTo>
                  <a:lnTo>
                    <a:pt x="73" y="45"/>
                  </a:lnTo>
                  <a:lnTo>
                    <a:pt x="77" y="45"/>
                  </a:lnTo>
                  <a:lnTo>
                    <a:pt x="82" y="46"/>
                  </a:lnTo>
                  <a:lnTo>
                    <a:pt x="85" y="47"/>
                  </a:lnTo>
                  <a:lnTo>
                    <a:pt x="88" y="47"/>
                  </a:lnTo>
                  <a:lnTo>
                    <a:pt x="93" y="47"/>
                  </a:lnTo>
                  <a:lnTo>
                    <a:pt x="94" y="47"/>
                  </a:lnTo>
                  <a:lnTo>
                    <a:pt x="96" y="47"/>
                  </a:lnTo>
                  <a:lnTo>
                    <a:pt x="98" y="48"/>
                  </a:lnTo>
                  <a:lnTo>
                    <a:pt x="102" y="49"/>
                  </a:lnTo>
                  <a:lnTo>
                    <a:pt x="108" y="52"/>
                  </a:lnTo>
                  <a:lnTo>
                    <a:pt x="111" y="53"/>
                  </a:lnTo>
                  <a:lnTo>
                    <a:pt x="114" y="53"/>
                  </a:lnTo>
                  <a:lnTo>
                    <a:pt x="116" y="54"/>
                  </a:lnTo>
                  <a:lnTo>
                    <a:pt x="118" y="54"/>
                  </a:lnTo>
                  <a:lnTo>
                    <a:pt x="121" y="53"/>
                  </a:lnTo>
                  <a:lnTo>
                    <a:pt x="123" y="53"/>
                  </a:lnTo>
                  <a:lnTo>
                    <a:pt x="126" y="52"/>
                  </a:lnTo>
                  <a:lnTo>
                    <a:pt x="132" y="48"/>
                  </a:lnTo>
                  <a:lnTo>
                    <a:pt x="136" y="47"/>
                  </a:lnTo>
                  <a:lnTo>
                    <a:pt x="139" y="45"/>
                  </a:lnTo>
                  <a:lnTo>
                    <a:pt x="146" y="44"/>
                  </a:lnTo>
                  <a:lnTo>
                    <a:pt x="149" y="43"/>
                  </a:lnTo>
                  <a:lnTo>
                    <a:pt x="151" y="42"/>
                  </a:lnTo>
                  <a:lnTo>
                    <a:pt x="153" y="41"/>
                  </a:lnTo>
                  <a:lnTo>
                    <a:pt x="155" y="39"/>
                  </a:lnTo>
                  <a:lnTo>
                    <a:pt x="157" y="37"/>
                  </a:lnTo>
                  <a:lnTo>
                    <a:pt x="158" y="35"/>
                  </a:lnTo>
                  <a:lnTo>
                    <a:pt x="160" y="34"/>
                  </a:lnTo>
                  <a:lnTo>
                    <a:pt x="161" y="33"/>
                  </a:lnTo>
                  <a:lnTo>
                    <a:pt x="162" y="30"/>
                  </a:lnTo>
                  <a:lnTo>
                    <a:pt x="164" y="24"/>
                  </a:lnTo>
                  <a:lnTo>
                    <a:pt x="166" y="21"/>
                  </a:lnTo>
                  <a:lnTo>
                    <a:pt x="167" y="19"/>
                  </a:lnTo>
                  <a:lnTo>
                    <a:pt x="168" y="18"/>
                  </a:lnTo>
                  <a:lnTo>
                    <a:pt x="170" y="16"/>
                  </a:lnTo>
                  <a:lnTo>
                    <a:pt x="171" y="14"/>
                  </a:lnTo>
                  <a:lnTo>
                    <a:pt x="173" y="11"/>
                  </a:lnTo>
                  <a:lnTo>
                    <a:pt x="176" y="10"/>
                  </a:lnTo>
                  <a:lnTo>
                    <a:pt x="179" y="8"/>
                  </a:lnTo>
                  <a:lnTo>
                    <a:pt x="182" y="6"/>
                  </a:lnTo>
                  <a:lnTo>
                    <a:pt x="186" y="3"/>
                  </a:lnTo>
                  <a:lnTo>
                    <a:pt x="190" y="1"/>
                  </a:lnTo>
                  <a:lnTo>
                    <a:pt x="192" y="0"/>
                  </a:lnTo>
                  <a:lnTo>
                    <a:pt x="193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1" name="Freeform 100">
              <a:extLst>
                <a:ext uri="{FF2B5EF4-FFF2-40B4-BE49-F238E27FC236}">
                  <a16:creationId xmlns:a16="http://schemas.microsoft.com/office/drawing/2014/main" id="{283FFD69-5819-445F-A943-8CB533F20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6" y="2398"/>
              <a:ext cx="1020" cy="1077"/>
            </a:xfrm>
            <a:custGeom>
              <a:avLst/>
              <a:gdLst>
                <a:gd name="T0" fmla="*/ 403 w 1020"/>
                <a:gd name="T1" fmla="*/ 50 h 1077"/>
                <a:gd name="T2" fmla="*/ 454 w 1020"/>
                <a:gd name="T3" fmla="*/ 52 h 1077"/>
                <a:gd name="T4" fmla="*/ 501 w 1020"/>
                <a:gd name="T5" fmla="*/ 83 h 1077"/>
                <a:gd name="T6" fmla="*/ 534 w 1020"/>
                <a:gd name="T7" fmla="*/ 109 h 1077"/>
                <a:gd name="T8" fmla="*/ 586 w 1020"/>
                <a:gd name="T9" fmla="*/ 131 h 1077"/>
                <a:gd name="T10" fmla="*/ 595 w 1020"/>
                <a:gd name="T11" fmla="*/ 167 h 1077"/>
                <a:gd name="T12" fmla="*/ 657 w 1020"/>
                <a:gd name="T13" fmla="*/ 192 h 1077"/>
                <a:gd name="T14" fmla="*/ 695 w 1020"/>
                <a:gd name="T15" fmla="*/ 141 h 1077"/>
                <a:gd name="T16" fmla="*/ 728 w 1020"/>
                <a:gd name="T17" fmla="*/ 158 h 1077"/>
                <a:gd name="T18" fmla="*/ 780 w 1020"/>
                <a:gd name="T19" fmla="*/ 190 h 1077"/>
                <a:gd name="T20" fmla="*/ 851 w 1020"/>
                <a:gd name="T21" fmla="*/ 208 h 1077"/>
                <a:gd name="T22" fmla="*/ 926 w 1020"/>
                <a:gd name="T23" fmla="*/ 266 h 1077"/>
                <a:gd name="T24" fmla="*/ 1005 w 1020"/>
                <a:gd name="T25" fmla="*/ 316 h 1077"/>
                <a:gd name="T26" fmla="*/ 1005 w 1020"/>
                <a:gd name="T27" fmla="*/ 362 h 1077"/>
                <a:gd name="T28" fmla="*/ 1017 w 1020"/>
                <a:gd name="T29" fmla="*/ 395 h 1077"/>
                <a:gd name="T30" fmla="*/ 984 w 1020"/>
                <a:gd name="T31" fmla="*/ 416 h 1077"/>
                <a:gd name="T32" fmla="*/ 998 w 1020"/>
                <a:gd name="T33" fmla="*/ 449 h 1077"/>
                <a:gd name="T34" fmla="*/ 976 w 1020"/>
                <a:gd name="T35" fmla="*/ 460 h 1077"/>
                <a:gd name="T36" fmla="*/ 946 w 1020"/>
                <a:gd name="T37" fmla="*/ 457 h 1077"/>
                <a:gd name="T38" fmla="*/ 958 w 1020"/>
                <a:gd name="T39" fmla="*/ 480 h 1077"/>
                <a:gd name="T40" fmla="*/ 918 w 1020"/>
                <a:gd name="T41" fmla="*/ 497 h 1077"/>
                <a:gd name="T42" fmla="*/ 885 w 1020"/>
                <a:gd name="T43" fmla="*/ 542 h 1077"/>
                <a:gd name="T44" fmla="*/ 906 w 1020"/>
                <a:gd name="T45" fmla="*/ 605 h 1077"/>
                <a:gd name="T46" fmla="*/ 908 w 1020"/>
                <a:gd name="T47" fmla="*/ 622 h 1077"/>
                <a:gd name="T48" fmla="*/ 924 w 1020"/>
                <a:gd name="T49" fmla="*/ 646 h 1077"/>
                <a:gd name="T50" fmla="*/ 923 w 1020"/>
                <a:gd name="T51" fmla="*/ 690 h 1077"/>
                <a:gd name="T52" fmla="*/ 897 w 1020"/>
                <a:gd name="T53" fmla="*/ 724 h 1077"/>
                <a:gd name="T54" fmla="*/ 910 w 1020"/>
                <a:gd name="T55" fmla="*/ 762 h 1077"/>
                <a:gd name="T56" fmla="*/ 907 w 1020"/>
                <a:gd name="T57" fmla="*/ 794 h 1077"/>
                <a:gd name="T58" fmla="*/ 893 w 1020"/>
                <a:gd name="T59" fmla="*/ 828 h 1077"/>
                <a:gd name="T60" fmla="*/ 875 w 1020"/>
                <a:gd name="T61" fmla="*/ 845 h 1077"/>
                <a:gd name="T62" fmla="*/ 898 w 1020"/>
                <a:gd name="T63" fmla="*/ 882 h 1077"/>
                <a:gd name="T64" fmla="*/ 872 w 1020"/>
                <a:gd name="T65" fmla="*/ 914 h 1077"/>
                <a:gd name="T66" fmla="*/ 817 w 1020"/>
                <a:gd name="T67" fmla="*/ 934 h 1077"/>
                <a:gd name="T68" fmla="*/ 778 w 1020"/>
                <a:gd name="T69" fmla="*/ 963 h 1077"/>
                <a:gd name="T70" fmla="*/ 723 w 1020"/>
                <a:gd name="T71" fmla="*/ 967 h 1077"/>
                <a:gd name="T72" fmla="*/ 682 w 1020"/>
                <a:gd name="T73" fmla="*/ 948 h 1077"/>
                <a:gd name="T74" fmla="*/ 648 w 1020"/>
                <a:gd name="T75" fmla="*/ 966 h 1077"/>
                <a:gd name="T76" fmla="*/ 621 w 1020"/>
                <a:gd name="T77" fmla="*/ 974 h 1077"/>
                <a:gd name="T78" fmla="*/ 574 w 1020"/>
                <a:gd name="T79" fmla="*/ 999 h 1077"/>
                <a:gd name="T80" fmla="*/ 526 w 1020"/>
                <a:gd name="T81" fmla="*/ 1038 h 1077"/>
                <a:gd name="T82" fmla="*/ 488 w 1020"/>
                <a:gd name="T83" fmla="*/ 1056 h 1077"/>
                <a:gd name="T84" fmla="*/ 443 w 1020"/>
                <a:gd name="T85" fmla="*/ 1069 h 1077"/>
                <a:gd name="T86" fmla="*/ 409 w 1020"/>
                <a:gd name="T87" fmla="*/ 1066 h 1077"/>
                <a:gd name="T88" fmla="*/ 382 w 1020"/>
                <a:gd name="T89" fmla="*/ 1058 h 1077"/>
                <a:gd name="T90" fmla="*/ 339 w 1020"/>
                <a:gd name="T91" fmla="*/ 1023 h 1077"/>
                <a:gd name="T92" fmla="*/ 319 w 1020"/>
                <a:gd name="T93" fmla="*/ 1009 h 1077"/>
                <a:gd name="T94" fmla="*/ 354 w 1020"/>
                <a:gd name="T95" fmla="*/ 956 h 1077"/>
                <a:gd name="T96" fmla="*/ 384 w 1020"/>
                <a:gd name="T97" fmla="*/ 922 h 1077"/>
                <a:gd name="T98" fmla="*/ 385 w 1020"/>
                <a:gd name="T99" fmla="*/ 888 h 1077"/>
                <a:gd name="T100" fmla="*/ 369 w 1020"/>
                <a:gd name="T101" fmla="*/ 861 h 1077"/>
                <a:gd name="T102" fmla="*/ 334 w 1020"/>
                <a:gd name="T103" fmla="*/ 860 h 1077"/>
                <a:gd name="T104" fmla="*/ 271 w 1020"/>
                <a:gd name="T105" fmla="*/ 862 h 1077"/>
                <a:gd name="T106" fmla="*/ 210 w 1020"/>
                <a:gd name="T107" fmla="*/ 828 h 1077"/>
                <a:gd name="T108" fmla="*/ 200 w 1020"/>
                <a:gd name="T109" fmla="*/ 772 h 1077"/>
                <a:gd name="T110" fmla="*/ 160 w 1020"/>
                <a:gd name="T111" fmla="*/ 757 h 1077"/>
                <a:gd name="T112" fmla="*/ 91 w 1020"/>
                <a:gd name="T113" fmla="*/ 741 h 1077"/>
                <a:gd name="T114" fmla="*/ 48 w 1020"/>
                <a:gd name="T115" fmla="*/ 746 h 1077"/>
                <a:gd name="T116" fmla="*/ 7 w 1020"/>
                <a:gd name="T117" fmla="*/ 720 h 1077"/>
                <a:gd name="T118" fmla="*/ 10 w 1020"/>
                <a:gd name="T119" fmla="*/ 70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20" h="1077">
                  <a:moveTo>
                    <a:pt x="325" y="0"/>
                  </a:moveTo>
                  <a:lnTo>
                    <a:pt x="339" y="11"/>
                  </a:lnTo>
                  <a:lnTo>
                    <a:pt x="343" y="14"/>
                  </a:lnTo>
                  <a:lnTo>
                    <a:pt x="351" y="19"/>
                  </a:lnTo>
                  <a:lnTo>
                    <a:pt x="370" y="32"/>
                  </a:lnTo>
                  <a:lnTo>
                    <a:pt x="371" y="34"/>
                  </a:lnTo>
                  <a:lnTo>
                    <a:pt x="376" y="38"/>
                  </a:lnTo>
                  <a:lnTo>
                    <a:pt x="379" y="40"/>
                  </a:lnTo>
                  <a:lnTo>
                    <a:pt x="383" y="44"/>
                  </a:lnTo>
                  <a:lnTo>
                    <a:pt x="387" y="47"/>
                  </a:lnTo>
                  <a:lnTo>
                    <a:pt x="388" y="48"/>
                  </a:lnTo>
                  <a:lnTo>
                    <a:pt x="390" y="49"/>
                  </a:lnTo>
                  <a:lnTo>
                    <a:pt x="392" y="50"/>
                  </a:lnTo>
                  <a:lnTo>
                    <a:pt x="394" y="50"/>
                  </a:lnTo>
                  <a:lnTo>
                    <a:pt x="396" y="50"/>
                  </a:lnTo>
                  <a:lnTo>
                    <a:pt x="400" y="50"/>
                  </a:lnTo>
                  <a:lnTo>
                    <a:pt x="403" y="50"/>
                  </a:lnTo>
                  <a:lnTo>
                    <a:pt x="405" y="50"/>
                  </a:lnTo>
                  <a:lnTo>
                    <a:pt x="415" y="50"/>
                  </a:lnTo>
                  <a:lnTo>
                    <a:pt x="418" y="50"/>
                  </a:lnTo>
                  <a:lnTo>
                    <a:pt x="419" y="50"/>
                  </a:lnTo>
                  <a:lnTo>
                    <a:pt x="421" y="50"/>
                  </a:lnTo>
                  <a:lnTo>
                    <a:pt x="427" y="51"/>
                  </a:lnTo>
                  <a:lnTo>
                    <a:pt x="429" y="51"/>
                  </a:lnTo>
                  <a:lnTo>
                    <a:pt x="431" y="51"/>
                  </a:lnTo>
                  <a:lnTo>
                    <a:pt x="433" y="51"/>
                  </a:lnTo>
                  <a:lnTo>
                    <a:pt x="435" y="50"/>
                  </a:lnTo>
                  <a:lnTo>
                    <a:pt x="439" y="50"/>
                  </a:lnTo>
                  <a:lnTo>
                    <a:pt x="440" y="50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6" y="50"/>
                  </a:lnTo>
                  <a:lnTo>
                    <a:pt x="452" y="51"/>
                  </a:lnTo>
                  <a:lnTo>
                    <a:pt x="454" y="52"/>
                  </a:lnTo>
                  <a:lnTo>
                    <a:pt x="456" y="53"/>
                  </a:lnTo>
                  <a:lnTo>
                    <a:pt x="457" y="54"/>
                  </a:lnTo>
                  <a:lnTo>
                    <a:pt x="461" y="56"/>
                  </a:lnTo>
                  <a:lnTo>
                    <a:pt x="462" y="57"/>
                  </a:lnTo>
                  <a:lnTo>
                    <a:pt x="469" y="61"/>
                  </a:lnTo>
                  <a:lnTo>
                    <a:pt x="473" y="62"/>
                  </a:lnTo>
                  <a:lnTo>
                    <a:pt x="474" y="63"/>
                  </a:lnTo>
                  <a:lnTo>
                    <a:pt x="476" y="64"/>
                  </a:lnTo>
                  <a:lnTo>
                    <a:pt x="477" y="65"/>
                  </a:lnTo>
                  <a:lnTo>
                    <a:pt x="485" y="72"/>
                  </a:lnTo>
                  <a:lnTo>
                    <a:pt x="486" y="74"/>
                  </a:lnTo>
                  <a:lnTo>
                    <a:pt x="488" y="75"/>
                  </a:lnTo>
                  <a:lnTo>
                    <a:pt x="490" y="77"/>
                  </a:lnTo>
                  <a:lnTo>
                    <a:pt x="494" y="79"/>
                  </a:lnTo>
                  <a:lnTo>
                    <a:pt x="496" y="81"/>
                  </a:lnTo>
                  <a:lnTo>
                    <a:pt x="498" y="82"/>
                  </a:lnTo>
                  <a:lnTo>
                    <a:pt x="501" y="83"/>
                  </a:lnTo>
                  <a:lnTo>
                    <a:pt x="504" y="84"/>
                  </a:lnTo>
                  <a:lnTo>
                    <a:pt x="510" y="85"/>
                  </a:lnTo>
                  <a:lnTo>
                    <a:pt x="514" y="86"/>
                  </a:lnTo>
                  <a:lnTo>
                    <a:pt x="520" y="88"/>
                  </a:lnTo>
                  <a:lnTo>
                    <a:pt x="522" y="89"/>
                  </a:lnTo>
                  <a:lnTo>
                    <a:pt x="524" y="90"/>
                  </a:lnTo>
                  <a:lnTo>
                    <a:pt x="525" y="91"/>
                  </a:lnTo>
                  <a:lnTo>
                    <a:pt x="526" y="92"/>
                  </a:lnTo>
                  <a:lnTo>
                    <a:pt x="527" y="93"/>
                  </a:lnTo>
                  <a:lnTo>
                    <a:pt x="527" y="95"/>
                  </a:lnTo>
                  <a:lnTo>
                    <a:pt x="528" y="95"/>
                  </a:lnTo>
                  <a:lnTo>
                    <a:pt x="530" y="102"/>
                  </a:lnTo>
                  <a:lnTo>
                    <a:pt x="530" y="105"/>
                  </a:lnTo>
                  <a:lnTo>
                    <a:pt x="530" y="106"/>
                  </a:lnTo>
                  <a:lnTo>
                    <a:pt x="531" y="107"/>
                  </a:lnTo>
                  <a:lnTo>
                    <a:pt x="532" y="108"/>
                  </a:lnTo>
                  <a:lnTo>
                    <a:pt x="534" y="109"/>
                  </a:lnTo>
                  <a:lnTo>
                    <a:pt x="535" y="110"/>
                  </a:lnTo>
                  <a:lnTo>
                    <a:pt x="537" y="111"/>
                  </a:lnTo>
                  <a:lnTo>
                    <a:pt x="540" y="111"/>
                  </a:lnTo>
                  <a:lnTo>
                    <a:pt x="543" y="112"/>
                  </a:lnTo>
                  <a:lnTo>
                    <a:pt x="546" y="113"/>
                  </a:lnTo>
                  <a:lnTo>
                    <a:pt x="551" y="115"/>
                  </a:lnTo>
                  <a:lnTo>
                    <a:pt x="554" y="116"/>
                  </a:lnTo>
                  <a:lnTo>
                    <a:pt x="557" y="118"/>
                  </a:lnTo>
                  <a:lnTo>
                    <a:pt x="561" y="119"/>
                  </a:lnTo>
                  <a:lnTo>
                    <a:pt x="564" y="121"/>
                  </a:lnTo>
                  <a:lnTo>
                    <a:pt x="569" y="125"/>
                  </a:lnTo>
                  <a:lnTo>
                    <a:pt x="571" y="126"/>
                  </a:lnTo>
                  <a:lnTo>
                    <a:pt x="574" y="128"/>
                  </a:lnTo>
                  <a:lnTo>
                    <a:pt x="576" y="129"/>
                  </a:lnTo>
                  <a:lnTo>
                    <a:pt x="580" y="129"/>
                  </a:lnTo>
                  <a:lnTo>
                    <a:pt x="584" y="131"/>
                  </a:lnTo>
                  <a:lnTo>
                    <a:pt x="586" y="131"/>
                  </a:lnTo>
                  <a:lnTo>
                    <a:pt x="590" y="132"/>
                  </a:lnTo>
                  <a:lnTo>
                    <a:pt x="592" y="133"/>
                  </a:lnTo>
                  <a:lnTo>
                    <a:pt x="593" y="133"/>
                  </a:lnTo>
                  <a:lnTo>
                    <a:pt x="594" y="134"/>
                  </a:lnTo>
                  <a:lnTo>
                    <a:pt x="594" y="136"/>
                  </a:lnTo>
                  <a:lnTo>
                    <a:pt x="595" y="138"/>
                  </a:lnTo>
                  <a:lnTo>
                    <a:pt x="595" y="140"/>
                  </a:lnTo>
                  <a:lnTo>
                    <a:pt x="594" y="140"/>
                  </a:lnTo>
                  <a:lnTo>
                    <a:pt x="594" y="142"/>
                  </a:lnTo>
                  <a:lnTo>
                    <a:pt x="592" y="148"/>
                  </a:lnTo>
                  <a:lnTo>
                    <a:pt x="591" y="152"/>
                  </a:lnTo>
                  <a:lnTo>
                    <a:pt x="591" y="154"/>
                  </a:lnTo>
                  <a:lnTo>
                    <a:pt x="591" y="156"/>
                  </a:lnTo>
                  <a:lnTo>
                    <a:pt x="591" y="159"/>
                  </a:lnTo>
                  <a:lnTo>
                    <a:pt x="592" y="162"/>
                  </a:lnTo>
                  <a:lnTo>
                    <a:pt x="593" y="164"/>
                  </a:lnTo>
                  <a:lnTo>
                    <a:pt x="595" y="167"/>
                  </a:lnTo>
                  <a:lnTo>
                    <a:pt x="597" y="169"/>
                  </a:lnTo>
                  <a:lnTo>
                    <a:pt x="598" y="171"/>
                  </a:lnTo>
                  <a:lnTo>
                    <a:pt x="601" y="173"/>
                  </a:lnTo>
                  <a:lnTo>
                    <a:pt x="604" y="174"/>
                  </a:lnTo>
                  <a:lnTo>
                    <a:pt x="608" y="176"/>
                  </a:lnTo>
                  <a:lnTo>
                    <a:pt x="623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7" y="191"/>
                  </a:lnTo>
                  <a:lnTo>
                    <a:pt x="639" y="192"/>
                  </a:lnTo>
                  <a:lnTo>
                    <a:pt x="642" y="193"/>
                  </a:lnTo>
                  <a:lnTo>
                    <a:pt x="644" y="193"/>
                  </a:lnTo>
                  <a:lnTo>
                    <a:pt x="645" y="193"/>
                  </a:lnTo>
                  <a:lnTo>
                    <a:pt x="650" y="193"/>
                  </a:lnTo>
                  <a:lnTo>
                    <a:pt x="655" y="193"/>
                  </a:lnTo>
                  <a:lnTo>
                    <a:pt x="655" y="192"/>
                  </a:lnTo>
                  <a:lnTo>
                    <a:pt x="657" y="192"/>
                  </a:lnTo>
                  <a:lnTo>
                    <a:pt x="660" y="191"/>
                  </a:lnTo>
                  <a:lnTo>
                    <a:pt x="662" y="190"/>
                  </a:lnTo>
                  <a:lnTo>
                    <a:pt x="663" y="189"/>
                  </a:lnTo>
                  <a:lnTo>
                    <a:pt x="664" y="187"/>
                  </a:lnTo>
                  <a:lnTo>
                    <a:pt x="666" y="186"/>
                  </a:lnTo>
                  <a:lnTo>
                    <a:pt x="669" y="180"/>
                  </a:lnTo>
                  <a:lnTo>
                    <a:pt x="673" y="175"/>
                  </a:lnTo>
                  <a:lnTo>
                    <a:pt x="675" y="173"/>
                  </a:lnTo>
                  <a:lnTo>
                    <a:pt x="677" y="171"/>
                  </a:lnTo>
                  <a:lnTo>
                    <a:pt x="677" y="169"/>
                  </a:lnTo>
                  <a:lnTo>
                    <a:pt x="680" y="161"/>
                  </a:lnTo>
                  <a:lnTo>
                    <a:pt x="682" y="157"/>
                  </a:lnTo>
                  <a:lnTo>
                    <a:pt x="685" y="152"/>
                  </a:lnTo>
                  <a:lnTo>
                    <a:pt x="688" y="149"/>
                  </a:lnTo>
                  <a:lnTo>
                    <a:pt x="689" y="147"/>
                  </a:lnTo>
                  <a:lnTo>
                    <a:pt x="692" y="143"/>
                  </a:lnTo>
                  <a:lnTo>
                    <a:pt x="695" y="141"/>
                  </a:lnTo>
                  <a:lnTo>
                    <a:pt x="697" y="140"/>
                  </a:lnTo>
                  <a:lnTo>
                    <a:pt x="698" y="140"/>
                  </a:lnTo>
                  <a:lnTo>
                    <a:pt x="700" y="139"/>
                  </a:lnTo>
                  <a:lnTo>
                    <a:pt x="701" y="139"/>
                  </a:lnTo>
                  <a:lnTo>
                    <a:pt x="702" y="139"/>
                  </a:lnTo>
                  <a:lnTo>
                    <a:pt x="704" y="140"/>
                  </a:lnTo>
                  <a:lnTo>
                    <a:pt x="705" y="140"/>
                  </a:lnTo>
                  <a:lnTo>
                    <a:pt x="707" y="143"/>
                  </a:lnTo>
                  <a:lnTo>
                    <a:pt x="711" y="147"/>
                  </a:lnTo>
                  <a:lnTo>
                    <a:pt x="713" y="150"/>
                  </a:lnTo>
                  <a:lnTo>
                    <a:pt x="714" y="152"/>
                  </a:lnTo>
                  <a:lnTo>
                    <a:pt x="716" y="152"/>
                  </a:lnTo>
                  <a:lnTo>
                    <a:pt x="718" y="153"/>
                  </a:lnTo>
                  <a:lnTo>
                    <a:pt x="720" y="154"/>
                  </a:lnTo>
                  <a:lnTo>
                    <a:pt x="722" y="155"/>
                  </a:lnTo>
                  <a:lnTo>
                    <a:pt x="724" y="157"/>
                  </a:lnTo>
                  <a:lnTo>
                    <a:pt x="728" y="158"/>
                  </a:lnTo>
                  <a:lnTo>
                    <a:pt x="732" y="159"/>
                  </a:lnTo>
                  <a:lnTo>
                    <a:pt x="735" y="161"/>
                  </a:lnTo>
                  <a:lnTo>
                    <a:pt x="744" y="162"/>
                  </a:lnTo>
                  <a:lnTo>
                    <a:pt x="747" y="163"/>
                  </a:lnTo>
                  <a:lnTo>
                    <a:pt x="750" y="164"/>
                  </a:lnTo>
                  <a:lnTo>
                    <a:pt x="752" y="165"/>
                  </a:lnTo>
                  <a:lnTo>
                    <a:pt x="754" y="166"/>
                  </a:lnTo>
                  <a:lnTo>
                    <a:pt x="757" y="167"/>
                  </a:lnTo>
                  <a:lnTo>
                    <a:pt x="758" y="169"/>
                  </a:lnTo>
                  <a:lnTo>
                    <a:pt x="760" y="170"/>
                  </a:lnTo>
                  <a:lnTo>
                    <a:pt x="764" y="174"/>
                  </a:lnTo>
                  <a:lnTo>
                    <a:pt x="767" y="176"/>
                  </a:lnTo>
                  <a:lnTo>
                    <a:pt x="771" y="183"/>
                  </a:lnTo>
                  <a:lnTo>
                    <a:pt x="775" y="186"/>
                  </a:lnTo>
                  <a:lnTo>
                    <a:pt x="778" y="188"/>
                  </a:lnTo>
                  <a:lnTo>
                    <a:pt x="780" y="189"/>
                  </a:lnTo>
                  <a:lnTo>
                    <a:pt x="780" y="190"/>
                  </a:lnTo>
                  <a:lnTo>
                    <a:pt x="781" y="190"/>
                  </a:lnTo>
                  <a:lnTo>
                    <a:pt x="783" y="191"/>
                  </a:lnTo>
                  <a:lnTo>
                    <a:pt x="785" y="191"/>
                  </a:lnTo>
                  <a:lnTo>
                    <a:pt x="787" y="192"/>
                  </a:lnTo>
                  <a:lnTo>
                    <a:pt x="791" y="192"/>
                  </a:lnTo>
                  <a:lnTo>
                    <a:pt x="803" y="193"/>
                  </a:lnTo>
                  <a:lnTo>
                    <a:pt x="804" y="193"/>
                  </a:lnTo>
                  <a:lnTo>
                    <a:pt x="807" y="193"/>
                  </a:lnTo>
                  <a:lnTo>
                    <a:pt x="809" y="194"/>
                  </a:lnTo>
                  <a:lnTo>
                    <a:pt x="811" y="195"/>
                  </a:lnTo>
                  <a:lnTo>
                    <a:pt x="818" y="197"/>
                  </a:lnTo>
                  <a:lnTo>
                    <a:pt x="820" y="198"/>
                  </a:lnTo>
                  <a:lnTo>
                    <a:pt x="830" y="201"/>
                  </a:lnTo>
                  <a:lnTo>
                    <a:pt x="840" y="204"/>
                  </a:lnTo>
                  <a:lnTo>
                    <a:pt x="848" y="206"/>
                  </a:lnTo>
                  <a:lnTo>
                    <a:pt x="849" y="207"/>
                  </a:lnTo>
                  <a:lnTo>
                    <a:pt x="851" y="208"/>
                  </a:lnTo>
                  <a:lnTo>
                    <a:pt x="861" y="213"/>
                  </a:lnTo>
                  <a:lnTo>
                    <a:pt x="872" y="218"/>
                  </a:lnTo>
                  <a:lnTo>
                    <a:pt x="876" y="220"/>
                  </a:lnTo>
                  <a:lnTo>
                    <a:pt x="880" y="222"/>
                  </a:lnTo>
                  <a:lnTo>
                    <a:pt x="883" y="224"/>
                  </a:lnTo>
                  <a:lnTo>
                    <a:pt x="886" y="227"/>
                  </a:lnTo>
                  <a:lnTo>
                    <a:pt x="890" y="230"/>
                  </a:lnTo>
                  <a:lnTo>
                    <a:pt x="893" y="232"/>
                  </a:lnTo>
                  <a:lnTo>
                    <a:pt x="903" y="242"/>
                  </a:lnTo>
                  <a:lnTo>
                    <a:pt x="906" y="247"/>
                  </a:lnTo>
                  <a:lnTo>
                    <a:pt x="908" y="250"/>
                  </a:lnTo>
                  <a:lnTo>
                    <a:pt x="912" y="255"/>
                  </a:lnTo>
                  <a:lnTo>
                    <a:pt x="914" y="257"/>
                  </a:lnTo>
                  <a:lnTo>
                    <a:pt x="917" y="261"/>
                  </a:lnTo>
                  <a:lnTo>
                    <a:pt x="921" y="264"/>
                  </a:lnTo>
                  <a:lnTo>
                    <a:pt x="924" y="265"/>
                  </a:lnTo>
                  <a:lnTo>
                    <a:pt x="926" y="266"/>
                  </a:lnTo>
                  <a:lnTo>
                    <a:pt x="928" y="267"/>
                  </a:lnTo>
                  <a:lnTo>
                    <a:pt x="930" y="268"/>
                  </a:lnTo>
                  <a:lnTo>
                    <a:pt x="935" y="269"/>
                  </a:lnTo>
                  <a:lnTo>
                    <a:pt x="938" y="270"/>
                  </a:lnTo>
                  <a:lnTo>
                    <a:pt x="948" y="273"/>
                  </a:lnTo>
                  <a:lnTo>
                    <a:pt x="957" y="276"/>
                  </a:lnTo>
                  <a:lnTo>
                    <a:pt x="961" y="277"/>
                  </a:lnTo>
                  <a:lnTo>
                    <a:pt x="964" y="279"/>
                  </a:lnTo>
                  <a:lnTo>
                    <a:pt x="968" y="281"/>
                  </a:lnTo>
                  <a:lnTo>
                    <a:pt x="976" y="287"/>
                  </a:lnTo>
                  <a:lnTo>
                    <a:pt x="983" y="291"/>
                  </a:lnTo>
                  <a:lnTo>
                    <a:pt x="985" y="293"/>
                  </a:lnTo>
                  <a:lnTo>
                    <a:pt x="988" y="295"/>
                  </a:lnTo>
                  <a:lnTo>
                    <a:pt x="990" y="298"/>
                  </a:lnTo>
                  <a:lnTo>
                    <a:pt x="993" y="301"/>
                  </a:lnTo>
                  <a:lnTo>
                    <a:pt x="1004" y="316"/>
                  </a:lnTo>
                  <a:lnTo>
                    <a:pt x="1005" y="316"/>
                  </a:lnTo>
                  <a:lnTo>
                    <a:pt x="1004" y="319"/>
                  </a:lnTo>
                  <a:lnTo>
                    <a:pt x="1004" y="321"/>
                  </a:lnTo>
                  <a:lnTo>
                    <a:pt x="1003" y="324"/>
                  </a:lnTo>
                  <a:lnTo>
                    <a:pt x="1002" y="328"/>
                  </a:lnTo>
                  <a:lnTo>
                    <a:pt x="1001" y="333"/>
                  </a:lnTo>
                  <a:lnTo>
                    <a:pt x="996" y="344"/>
                  </a:lnTo>
                  <a:lnTo>
                    <a:pt x="996" y="346"/>
                  </a:lnTo>
                  <a:lnTo>
                    <a:pt x="996" y="347"/>
                  </a:lnTo>
                  <a:lnTo>
                    <a:pt x="996" y="349"/>
                  </a:lnTo>
                  <a:lnTo>
                    <a:pt x="996" y="350"/>
                  </a:lnTo>
                  <a:lnTo>
                    <a:pt x="996" y="352"/>
                  </a:lnTo>
                  <a:lnTo>
                    <a:pt x="996" y="354"/>
                  </a:lnTo>
                  <a:lnTo>
                    <a:pt x="997" y="355"/>
                  </a:lnTo>
                  <a:lnTo>
                    <a:pt x="999" y="357"/>
                  </a:lnTo>
                  <a:lnTo>
                    <a:pt x="1001" y="359"/>
                  </a:lnTo>
                  <a:lnTo>
                    <a:pt x="1003" y="361"/>
                  </a:lnTo>
                  <a:lnTo>
                    <a:pt x="1005" y="362"/>
                  </a:lnTo>
                  <a:lnTo>
                    <a:pt x="1010" y="366"/>
                  </a:lnTo>
                  <a:lnTo>
                    <a:pt x="1013" y="367"/>
                  </a:lnTo>
                  <a:lnTo>
                    <a:pt x="1015" y="368"/>
                  </a:lnTo>
                  <a:lnTo>
                    <a:pt x="1017" y="370"/>
                  </a:lnTo>
                  <a:lnTo>
                    <a:pt x="1018" y="372"/>
                  </a:lnTo>
                  <a:lnTo>
                    <a:pt x="1019" y="373"/>
                  </a:lnTo>
                  <a:lnTo>
                    <a:pt x="1019" y="375"/>
                  </a:lnTo>
                  <a:lnTo>
                    <a:pt x="1019" y="377"/>
                  </a:lnTo>
                  <a:lnTo>
                    <a:pt x="1020" y="378"/>
                  </a:lnTo>
                  <a:lnTo>
                    <a:pt x="1020" y="379"/>
                  </a:lnTo>
                  <a:lnTo>
                    <a:pt x="1020" y="381"/>
                  </a:lnTo>
                  <a:lnTo>
                    <a:pt x="1020" y="383"/>
                  </a:lnTo>
                  <a:lnTo>
                    <a:pt x="1020" y="385"/>
                  </a:lnTo>
                  <a:lnTo>
                    <a:pt x="1020" y="386"/>
                  </a:lnTo>
                  <a:lnTo>
                    <a:pt x="1019" y="389"/>
                  </a:lnTo>
                  <a:lnTo>
                    <a:pt x="1018" y="392"/>
                  </a:lnTo>
                  <a:lnTo>
                    <a:pt x="1017" y="395"/>
                  </a:lnTo>
                  <a:lnTo>
                    <a:pt x="1014" y="399"/>
                  </a:lnTo>
                  <a:lnTo>
                    <a:pt x="1011" y="402"/>
                  </a:lnTo>
                  <a:lnTo>
                    <a:pt x="1008" y="406"/>
                  </a:lnTo>
                  <a:lnTo>
                    <a:pt x="1006" y="409"/>
                  </a:lnTo>
                  <a:lnTo>
                    <a:pt x="1003" y="411"/>
                  </a:lnTo>
                  <a:lnTo>
                    <a:pt x="1001" y="412"/>
                  </a:lnTo>
                  <a:lnTo>
                    <a:pt x="999" y="413"/>
                  </a:lnTo>
                  <a:lnTo>
                    <a:pt x="996" y="413"/>
                  </a:lnTo>
                  <a:lnTo>
                    <a:pt x="995" y="414"/>
                  </a:lnTo>
                  <a:lnTo>
                    <a:pt x="993" y="414"/>
                  </a:lnTo>
                  <a:lnTo>
                    <a:pt x="991" y="414"/>
                  </a:lnTo>
                  <a:lnTo>
                    <a:pt x="987" y="414"/>
                  </a:lnTo>
                  <a:lnTo>
                    <a:pt x="985" y="414"/>
                  </a:lnTo>
                  <a:lnTo>
                    <a:pt x="985" y="414"/>
                  </a:lnTo>
                  <a:lnTo>
                    <a:pt x="984" y="414"/>
                  </a:lnTo>
                  <a:lnTo>
                    <a:pt x="984" y="415"/>
                  </a:lnTo>
                  <a:lnTo>
                    <a:pt x="984" y="416"/>
                  </a:lnTo>
                  <a:lnTo>
                    <a:pt x="984" y="418"/>
                  </a:lnTo>
                  <a:lnTo>
                    <a:pt x="985" y="420"/>
                  </a:lnTo>
                  <a:lnTo>
                    <a:pt x="985" y="422"/>
                  </a:lnTo>
                  <a:lnTo>
                    <a:pt x="986" y="423"/>
                  </a:lnTo>
                  <a:lnTo>
                    <a:pt x="988" y="425"/>
                  </a:lnTo>
                  <a:lnTo>
                    <a:pt x="990" y="427"/>
                  </a:lnTo>
                  <a:lnTo>
                    <a:pt x="993" y="431"/>
                  </a:lnTo>
                  <a:lnTo>
                    <a:pt x="995" y="433"/>
                  </a:lnTo>
                  <a:lnTo>
                    <a:pt x="996" y="435"/>
                  </a:lnTo>
                  <a:lnTo>
                    <a:pt x="997" y="439"/>
                  </a:lnTo>
                  <a:lnTo>
                    <a:pt x="998" y="441"/>
                  </a:lnTo>
                  <a:lnTo>
                    <a:pt x="999" y="442"/>
                  </a:lnTo>
                  <a:lnTo>
                    <a:pt x="999" y="444"/>
                  </a:lnTo>
                  <a:lnTo>
                    <a:pt x="999" y="445"/>
                  </a:lnTo>
                  <a:lnTo>
                    <a:pt x="999" y="446"/>
                  </a:lnTo>
                  <a:lnTo>
                    <a:pt x="999" y="447"/>
                  </a:lnTo>
                  <a:lnTo>
                    <a:pt x="998" y="449"/>
                  </a:lnTo>
                  <a:lnTo>
                    <a:pt x="996" y="454"/>
                  </a:lnTo>
                  <a:lnTo>
                    <a:pt x="996" y="459"/>
                  </a:lnTo>
                  <a:lnTo>
                    <a:pt x="995" y="461"/>
                  </a:lnTo>
                  <a:lnTo>
                    <a:pt x="994" y="462"/>
                  </a:lnTo>
                  <a:lnTo>
                    <a:pt x="993" y="464"/>
                  </a:lnTo>
                  <a:lnTo>
                    <a:pt x="991" y="465"/>
                  </a:lnTo>
                  <a:lnTo>
                    <a:pt x="990" y="466"/>
                  </a:lnTo>
                  <a:lnTo>
                    <a:pt x="988" y="466"/>
                  </a:lnTo>
                  <a:lnTo>
                    <a:pt x="987" y="466"/>
                  </a:lnTo>
                  <a:lnTo>
                    <a:pt x="985" y="466"/>
                  </a:lnTo>
                  <a:lnTo>
                    <a:pt x="983" y="466"/>
                  </a:lnTo>
                  <a:lnTo>
                    <a:pt x="982" y="466"/>
                  </a:lnTo>
                  <a:lnTo>
                    <a:pt x="980" y="465"/>
                  </a:lnTo>
                  <a:lnTo>
                    <a:pt x="979" y="465"/>
                  </a:lnTo>
                  <a:lnTo>
                    <a:pt x="978" y="464"/>
                  </a:lnTo>
                  <a:lnTo>
                    <a:pt x="977" y="462"/>
                  </a:lnTo>
                  <a:lnTo>
                    <a:pt x="976" y="460"/>
                  </a:lnTo>
                  <a:lnTo>
                    <a:pt x="974" y="459"/>
                  </a:lnTo>
                  <a:lnTo>
                    <a:pt x="973" y="456"/>
                  </a:lnTo>
                  <a:lnTo>
                    <a:pt x="972" y="453"/>
                  </a:lnTo>
                  <a:lnTo>
                    <a:pt x="971" y="452"/>
                  </a:lnTo>
                  <a:lnTo>
                    <a:pt x="970" y="452"/>
                  </a:lnTo>
                  <a:lnTo>
                    <a:pt x="969" y="451"/>
                  </a:lnTo>
                  <a:lnTo>
                    <a:pt x="968" y="450"/>
                  </a:lnTo>
                  <a:lnTo>
                    <a:pt x="966" y="450"/>
                  </a:lnTo>
                  <a:lnTo>
                    <a:pt x="963" y="450"/>
                  </a:lnTo>
                  <a:lnTo>
                    <a:pt x="962" y="449"/>
                  </a:lnTo>
                  <a:lnTo>
                    <a:pt x="959" y="450"/>
                  </a:lnTo>
                  <a:lnTo>
                    <a:pt x="957" y="451"/>
                  </a:lnTo>
                  <a:lnTo>
                    <a:pt x="954" y="452"/>
                  </a:lnTo>
                  <a:lnTo>
                    <a:pt x="951" y="453"/>
                  </a:lnTo>
                  <a:lnTo>
                    <a:pt x="950" y="455"/>
                  </a:lnTo>
                  <a:lnTo>
                    <a:pt x="948" y="456"/>
                  </a:lnTo>
                  <a:lnTo>
                    <a:pt x="946" y="457"/>
                  </a:lnTo>
                  <a:lnTo>
                    <a:pt x="943" y="461"/>
                  </a:lnTo>
                  <a:lnTo>
                    <a:pt x="940" y="464"/>
                  </a:lnTo>
                  <a:lnTo>
                    <a:pt x="939" y="465"/>
                  </a:lnTo>
                  <a:lnTo>
                    <a:pt x="939" y="467"/>
                  </a:lnTo>
                  <a:lnTo>
                    <a:pt x="939" y="468"/>
                  </a:lnTo>
                  <a:lnTo>
                    <a:pt x="939" y="469"/>
                  </a:lnTo>
                  <a:lnTo>
                    <a:pt x="939" y="469"/>
                  </a:lnTo>
                  <a:lnTo>
                    <a:pt x="939" y="470"/>
                  </a:lnTo>
                  <a:lnTo>
                    <a:pt x="942" y="471"/>
                  </a:lnTo>
                  <a:lnTo>
                    <a:pt x="949" y="473"/>
                  </a:lnTo>
                  <a:lnTo>
                    <a:pt x="951" y="474"/>
                  </a:lnTo>
                  <a:lnTo>
                    <a:pt x="952" y="475"/>
                  </a:lnTo>
                  <a:lnTo>
                    <a:pt x="954" y="475"/>
                  </a:lnTo>
                  <a:lnTo>
                    <a:pt x="955" y="476"/>
                  </a:lnTo>
                  <a:lnTo>
                    <a:pt x="956" y="477"/>
                  </a:lnTo>
                  <a:lnTo>
                    <a:pt x="957" y="478"/>
                  </a:lnTo>
                  <a:lnTo>
                    <a:pt x="958" y="480"/>
                  </a:lnTo>
                  <a:lnTo>
                    <a:pt x="958" y="480"/>
                  </a:lnTo>
                  <a:lnTo>
                    <a:pt x="958" y="481"/>
                  </a:lnTo>
                  <a:lnTo>
                    <a:pt x="958" y="483"/>
                  </a:lnTo>
                  <a:lnTo>
                    <a:pt x="957" y="484"/>
                  </a:lnTo>
                  <a:lnTo>
                    <a:pt x="957" y="486"/>
                  </a:lnTo>
                  <a:lnTo>
                    <a:pt x="956" y="487"/>
                  </a:lnTo>
                  <a:lnTo>
                    <a:pt x="954" y="489"/>
                  </a:lnTo>
                  <a:lnTo>
                    <a:pt x="953" y="490"/>
                  </a:lnTo>
                  <a:lnTo>
                    <a:pt x="951" y="491"/>
                  </a:lnTo>
                  <a:lnTo>
                    <a:pt x="949" y="491"/>
                  </a:lnTo>
                  <a:lnTo>
                    <a:pt x="945" y="492"/>
                  </a:lnTo>
                  <a:lnTo>
                    <a:pt x="939" y="493"/>
                  </a:lnTo>
                  <a:lnTo>
                    <a:pt x="935" y="494"/>
                  </a:lnTo>
                  <a:lnTo>
                    <a:pt x="928" y="494"/>
                  </a:lnTo>
                  <a:lnTo>
                    <a:pt x="924" y="495"/>
                  </a:lnTo>
                  <a:lnTo>
                    <a:pt x="921" y="496"/>
                  </a:lnTo>
                  <a:lnTo>
                    <a:pt x="918" y="497"/>
                  </a:lnTo>
                  <a:lnTo>
                    <a:pt x="916" y="499"/>
                  </a:lnTo>
                  <a:lnTo>
                    <a:pt x="914" y="501"/>
                  </a:lnTo>
                  <a:lnTo>
                    <a:pt x="912" y="502"/>
                  </a:lnTo>
                  <a:lnTo>
                    <a:pt x="911" y="503"/>
                  </a:lnTo>
                  <a:lnTo>
                    <a:pt x="909" y="504"/>
                  </a:lnTo>
                  <a:lnTo>
                    <a:pt x="908" y="506"/>
                  </a:lnTo>
                  <a:lnTo>
                    <a:pt x="906" y="508"/>
                  </a:lnTo>
                  <a:lnTo>
                    <a:pt x="905" y="511"/>
                  </a:lnTo>
                  <a:lnTo>
                    <a:pt x="901" y="519"/>
                  </a:lnTo>
                  <a:lnTo>
                    <a:pt x="900" y="521"/>
                  </a:lnTo>
                  <a:lnTo>
                    <a:pt x="897" y="524"/>
                  </a:lnTo>
                  <a:lnTo>
                    <a:pt x="893" y="529"/>
                  </a:lnTo>
                  <a:lnTo>
                    <a:pt x="891" y="532"/>
                  </a:lnTo>
                  <a:lnTo>
                    <a:pt x="889" y="536"/>
                  </a:lnTo>
                  <a:lnTo>
                    <a:pt x="887" y="538"/>
                  </a:lnTo>
                  <a:lnTo>
                    <a:pt x="886" y="540"/>
                  </a:lnTo>
                  <a:lnTo>
                    <a:pt x="885" y="542"/>
                  </a:lnTo>
                  <a:lnTo>
                    <a:pt x="885" y="546"/>
                  </a:lnTo>
                  <a:lnTo>
                    <a:pt x="885" y="553"/>
                  </a:lnTo>
                  <a:lnTo>
                    <a:pt x="884" y="559"/>
                  </a:lnTo>
                  <a:lnTo>
                    <a:pt x="884" y="562"/>
                  </a:lnTo>
                  <a:lnTo>
                    <a:pt x="882" y="568"/>
                  </a:lnTo>
                  <a:lnTo>
                    <a:pt x="881" y="576"/>
                  </a:lnTo>
                  <a:lnTo>
                    <a:pt x="881" y="579"/>
                  </a:lnTo>
                  <a:lnTo>
                    <a:pt x="881" y="581"/>
                  </a:lnTo>
                  <a:lnTo>
                    <a:pt x="881" y="582"/>
                  </a:lnTo>
                  <a:lnTo>
                    <a:pt x="881" y="584"/>
                  </a:lnTo>
                  <a:lnTo>
                    <a:pt x="882" y="585"/>
                  </a:lnTo>
                  <a:lnTo>
                    <a:pt x="882" y="587"/>
                  </a:lnTo>
                  <a:lnTo>
                    <a:pt x="882" y="588"/>
                  </a:lnTo>
                  <a:lnTo>
                    <a:pt x="884" y="589"/>
                  </a:lnTo>
                  <a:lnTo>
                    <a:pt x="885" y="591"/>
                  </a:lnTo>
                  <a:lnTo>
                    <a:pt x="894" y="597"/>
                  </a:lnTo>
                  <a:lnTo>
                    <a:pt x="906" y="605"/>
                  </a:lnTo>
                  <a:lnTo>
                    <a:pt x="907" y="606"/>
                  </a:lnTo>
                  <a:lnTo>
                    <a:pt x="908" y="607"/>
                  </a:lnTo>
                  <a:lnTo>
                    <a:pt x="908" y="608"/>
                  </a:lnTo>
                  <a:lnTo>
                    <a:pt x="909" y="609"/>
                  </a:lnTo>
                  <a:lnTo>
                    <a:pt x="908" y="609"/>
                  </a:lnTo>
                  <a:lnTo>
                    <a:pt x="908" y="610"/>
                  </a:lnTo>
                  <a:lnTo>
                    <a:pt x="907" y="611"/>
                  </a:lnTo>
                  <a:lnTo>
                    <a:pt x="905" y="613"/>
                  </a:lnTo>
                  <a:lnTo>
                    <a:pt x="904" y="614"/>
                  </a:lnTo>
                  <a:lnTo>
                    <a:pt x="903" y="615"/>
                  </a:lnTo>
                  <a:lnTo>
                    <a:pt x="903" y="616"/>
                  </a:lnTo>
                  <a:lnTo>
                    <a:pt x="903" y="617"/>
                  </a:lnTo>
                  <a:lnTo>
                    <a:pt x="903" y="618"/>
                  </a:lnTo>
                  <a:lnTo>
                    <a:pt x="904" y="619"/>
                  </a:lnTo>
                  <a:lnTo>
                    <a:pt x="905" y="620"/>
                  </a:lnTo>
                  <a:lnTo>
                    <a:pt x="906" y="621"/>
                  </a:lnTo>
                  <a:lnTo>
                    <a:pt x="908" y="622"/>
                  </a:lnTo>
                  <a:lnTo>
                    <a:pt x="910" y="623"/>
                  </a:lnTo>
                  <a:lnTo>
                    <a:pt x="913" y="624"/>
                  </a:lnTo>
                  <a:lnTo>
                    <a:pt x="916" y="625"/>
                  </a:lnTo>
                  <a:lnTo>
                    <a:pt x="922" y="627"/>
                  </a:lnTo>
                  <a:lnTo>
                    <a:pt x="923" y="627"/>
                  </a:lnTo>
                  <a:lnTo>
                    <a:pt x="925" y="627"/>
                  </a:lnTo>
                  <a:lnTo>
                    <a:pt x="926" y="628"/>
                  </a:lnTo>
                  <a:lnTo>
                    <a:pt x="927" y="629"/>
                  </a:lnTo>
                  <a:lnTo>
                    <a:pt x="927" y="630"/>
                  </a:lnTo>
                  <a:lnTo>
                    <a:pt x="928" y="633"/>
                  </a:lnTo>
                  <a:lnTo>
                    <a:pt x="928" y="634"/>
                  </a:lnTo>
                  <a:lnTo>
                    <a:pt x="928" y="635"/>
                  </a:lnTo>
                  <a:lnTo>
                    <a:pt x="928" y="637"/>
                  </a:lnTo>
                  <a:lnTo>
                    <a:pt x="928" y="639"/>
                  </a:lnTo>
                  <a:lnTo>
                    <a:pt x="927" y="640"/>
                  </a:lnTo>
                  <a:lnTo>
                    <a:pt x="926" y="642"/>
                  </a:lnTo>
                  <a:lnTo>
                    <a:pt x="924" y="646"/>
                  </a:lnTo>
                  <a:lnTo>
                    <a:pt x="922" y="650"/>
                  </a:lnTo>
                  <a:lnTo>
                    <a:pt x="916" y="658"/>
                  </a:lnTo>
                  <a:lnTo>
                    <a:pt x="914" y="661"/>
                  </a:lnTo>
                  <a:lnTo>
                    <a:pt x="913" y="661"/>
                  </a:lnTo>
                  <a:lnTo>
                    <a:pt x="912" y="663"/>
                  </a:lnTo>
                  <a:lnTo>
                    <a:pt x="912" y="665"/>
                  </a:lnTo>
                  <a:lnTo>
                    <a:pt x="912" y="667"/>
                  </a:lnTo>
                  <a:lnTo>
                    <a:pt x="912" y="669"/>
                  </a:lnTo>
                  <a:lnTo>
                    <a:pt x="912" y="672"/>
                  </a:lnTo>
                  <a:lnTo>
                    <a:pt x="912" y="673"/>
                  </a:lnTo>
                  <a:lnTo>
                    <a:pt x="913" y="675"/>
                  </a:lnTo>
                  <a:lnTo>
                    <a:pt x="914" y="677"/>
                  </a:lnTo>
                  <a:lnTo>
                    <a:pt x="916" y="679"/>
                  </a:lnTo>
                  <a:lnTo>
                    <a:pt x="919" y="684"/>
                  </a:lnTo>
                  <a:lnTo>
                    <a:pt x="921" y="686"/>
                  </a:lnTo>
                  <a:lnTo>
                    <a:pt x="922" y="688"/>
                  </a:lnTo>
                  <a:lnTo>
                    <a:pt x="923" y="690"/>
                  </a:lnTo>
                  <a:lnTo>
                    <a:pt x="923" y="692"/>
                  </a:lnTo>
                  <a:lnTo>
                    <a:pt x="924" y="693"/>
                  </a:lnTo>
                  <a:lnTo>
                    <a:pt x="924" y="695"/>
                  </a:lnTo>
                  <a:lnTo>
                    <a:pt x="923" y="695"/>
                  </a:lnTo>
                  <a:lnTo>
                    <a:pt x="923" y="697"/>
                  </a:lnTo>
                  <a:lnTo>
                    <a:pt x="922" y="698"/>
                  </a:lnTo>
                  <a:lnTo>
                    <a:pt x="921" y="699"/>
                  </a:lnTo>
                  <a:lnTo>
                    <a:pt x="920" y="700"/>
                  </a:lnTo>
                  <a:lnTo>
                    <a:pt x="917" y="702"/>
                  </a:lnTo>
                  <a:lnTo>
                    <a:pt x="911" y="706"/>
                  </a:lnTo>
                  <a:lnTo>
                    <a:pt x="908" y="708"/>
                  </a:lnTo>
                  <a:lnTo>
                    <a:pt x="906" y="710"/>
                  </a:lnTo>
                  <a:lnTo>
                    <a:pt x="904" y="713"/>
                  </a:lnTo>
                  <a:lnTo>
                    <a:pt x="902" y="716"/>
                  </a:lnTo>
                  <a:lnTo>
                    <a:pt x="900" y="718"/>
                  </a:lnTo>
                  <a:lnTo>
                    <a:pt x="899" y="721"/>
                  </a:lnTo>
                  <a:lnTo>
                    <a:pt x="897" y="724"/>
                  </a:lnTo>
                  <a:lnTo>
                    <a:pt x="896" y="727"/>
                  </a:lnTo>
                  <a:lnTo>
                    <a:pt x="895" y="730"/>
                  </a:lnTo>
                  <a:lnTo>
                    <a:pt x="894" y="732"/>
                  </a:lnTo>
                  <a:lnTo>
                    <a:pt x="894" y="735"/>
                  </a:lnTo>
                  <a:lnTo>
                    <a:pt x="894" y="737"/>
                  </a:lnTo>
                  <a:lnTo>
                    <a:pt x="894" y="740"/>
                  </a:lnTo>
                  <a:lnTo>
                    <a:pt x="894" y="741"/>
                  </a:lnTo>
                  <a:lnTo>
                    <a:pt x="894" y="743"/>
                  </a:lnTo>
                  <a:lnTo>
                    <a:pt x="894" y="745"/>
                  </a:lnTo>
                  <a:lnTo>
                    <a:pt x="894" y="747"/>
                  </a:lnTo>
                  <a:lnTo>
                    <a:pt x="895" y="748"/>
                  </a:lnTo>
                  <a:lnTo>
                    <a:pt x="895" y="750"/>
                  </a:lnTo>
                  <a:lnTo>
                    <a:pt x="897" y="751"/>
                  </a:lnTo>
                  <a:lnTo>
                    <a:pt x="899" y="752"/>
                  </a:lnTo>
                  <a:lnTo>
                    <a:pt x="902" y="755"/>
                  </a:lnTo>
                  <a:lnTo>
                    <a:pt x="907" y="759"/>
                  </a:lnTo>
                  <a:lnTo>
                    <a:pt x="910" y="762"/>
                  </a:lnTo>
                  <a:lnTo>
                    <a:pt x="912" y="763"/>
                  </a:lnTo>
                  <a:lnTo>
                    <a:pt x="913" y="763"/>
                  </a:lnTo>
                  <a:lnTo>
                    <a:pt x="914" y="765"/>
                  </a:lnTo>
                  <a:lnTo>
                    <a:pt x="915" y="767"/>
                  </a:lnTo>
                  <a:lnTo>
                    <a:pt x="916" y="769"/>
                  </a:lnTo>
                  <a:lnTo>
                    <a:pt x="916" y="770"/>
                  </a:lnTo>
                  <a:lnTo>
                    <a:pt x="917" y="772"/>
                  </a:lnTo>
                  <a:lnTo>
                    <a:pt x="917" y="774"/>
                  </a:lnTo>
                  <a:lnTo>
                    <a:pt x="917" y="778"/>
                  </a:lnTo>
                  <a:lnTo>
                    <a:pt x="917" y="780"/>
                  </a:lnTo>
                  <a:lnTo>
                    <a:pt x="917" y="783"/>
                  </a:lnTo>
                  <a:lnTo>
                    <a:pt x="917" y="785"/>
                  </a:lnTo>
                  <a:lnTo>
                    <a:pt x="916" y="786"/>
                  </a:lnTo>
                  <a:lnTo>
                    <a:pt x="915" y="788"/>
                  </a:lnTo>
                  <a:lnTo>
                    <a:pt x="913" y="790"/>
                  </a:lnTo>
                  <a:lnTo>
                    <a:pt x="910" y="792"/>
                  </a:lnTo>
                  <a:lnTo>
                    <a:pt x="907" y="794"/>
                  </a:lnTo>
                  <a:lnTo>
                    <a:pt x="905" y="796"/>
                  </a:lnTo>
                  <a:lnTo>
                    <a:pt x="899" y="797"/>
                  </a:lnTo>
                  <a:lnTo>
                    <a:pt x="897" y="799"/>
                  </a:lnTo>
                  <a:lnTo>
                    <a:pt x="895" y="800"/>
                  </a:lnTo>
                  <a:lnTo>
                    <a:pt x="894" y="801"/>
                  </a:lnTo>
                  <a:lnTo>
                    <a:pt x="894" y="802"/>
                  </a:lnTo>
                  <a:lnTo>
                    <a:pt x="893" y="804"/>
                  </a:lnTo>
                  <a:lnTo>
                    <a:pt x="892" y="805"/>
                  </a:lnTo>
                  <a:lnTo>
                    <a:pt x="891" y="808"/>
                  </a:lnTo>
                  <a:lnTo>
                    <a:pt x="890" y="809"/>
                  </a:lnTo>
                  <a:lnTo>
                    <a:pt x="890" y="811"/>
                  </a:lnTo>
                  <a:lnTo>
                    <a:pt x="890" y="813"/>
                  </a:lnTo>
                  <a:lnTo>
                    <a:pt x="890" y="815"/>
                  </a:lnTo>
                  <a:lnTo>
                    <a:pt x="892" y="821"/>
                  </a:lnTo>
                  <a:lnTo>
                    <a:pt x="893" y="823"/>
                  </a:lnTo>
                  <a:lnTo>
                    <a:pt x="893" y="826"/>
                  </a:lnTo>
                  <a:lnTo>
                    <a:pt x="893" y="828"/>
                  </a:lnTo>
                  <a:lnTo>
                    <a:pt x="893" y="829"/>
                  </a:lnTo>
                  <a:lnTo>
                    <a:pt x="893" y="831"/>
                  </a:lnTo>
                  <a:lnTo>
                    <a:pt x="892" y="831"/>
                  </a:lnTo>
                  <a:lnTo>
                    <a:pt x="891" y="833"/>
                  </a:lnTo>
                  <a:lnTo>
                    <a:pt x="890" y="835"/>
                  </a:lnTo>
                  <a:lnTo>
                    <a:pt x="889" y="836"/>
                  </a:lnTo>
                  <a:lnTo>
                    <a:pt x="887" y="838"/>
                  </a:lnTo>
                  <a:lnTo>
                    <a:pt x="885" y="839"/>
                  </a:lnTo>
                  <a:lnTo>
                    <a:pt x="883" y="840"/>
                  </a:lnTo>
                  <a:lnTo>
                    <a:pt x="882" y="841"/>
                  </a:lnTo>
                  <a:lnTo>
                    <a:pt x="878" y="842"/>
                  </a:lnTo>
                  <a:lnTo>
                    <a:pt x="877" y="843"/>
                  </a:lnTo>
                  <a:lnTo>
                    <a:pt x="876" y="843"/>
                  </a:lnTo>
                  <a:lnTo>
                    <a:pt x="876" y="843"/>
                  </a:lnTo>
                  <a:lnTo>
                    <a:pt x="875" y="843"/>
                  </a:lnTo>
                  <a:lnTo>
                    <a:pt x="875" y="844"/>
                  </a:lnTo>
                  <a:lnTo>
                    <a:pt x="875" y="845"/>
                  </a:lnTo>
                  <a:lnTo>
                    <a:pt x="875" y="847"/>
                  </a:lnTo>
                  <a:lnTo>
                    <a:pt x="876" y="849"/>
                  </a:lnTo>
                  <a:lnTo>
                    <a:pt x="877" y="851"/>
                  </a:lnTo>
                  <a:lnTo>
                    <a:pt x="879" y="853"/>
                  </a:lnTo>
                  <a:lnTo>
                    <a:pt x="882" y="855"/>
                  </a:lnTo>
                  <a:lnTo>
                    <a:pt x="885" y="858"/>
                  </a:lnTo>
                  <a:lnTo>
                    <a:pt x="893" y="865"/>
                  </a:lnTo>
                  <a:lnTo>
                    <a:pt x="894" y="867"/>
                  </a:lnTo>
                  <a:lnTo>
                    <a:pt x="896" y="869"/>
                  </a:lnTo>
                  <a:lnTo>
                    <a:pt x="898" y="871"/>
                  </a:lnTo>
                  <a:lnTo>
                    <a:pt x="899" y="873"/>
                  </a:lnTo>
                  <a:lnTo>
                    <a:pt x="900" y="875"/>
                  </a:lnTo>
                  <a:lnTo>
                    <a:pt x="900" y="877"/>
                  </a:lnTo>
                  <a:lnTo>
                    <a:pt x="900" y="877"/>
                  </a:lnTo>
                  <a:lnTo>
                    <a:pt x="900" y="879"/>
                  </a:lnTo>
                  <a:lnTo>
                    <a:pt x="899" y="880"/>
                  </a:lnTo>
                  <a:lnTo>
                    <a:pt x="898" y="882"/>
                  </a:lnTo>
                  <a:lnTo>
                    <a:pt x="897" y="883"/>
                  </a:lnTo>
                  <a:lnTo>
                    <a:pt x="896" y="885"/>
                  </a:lnTo>
                  <a:lnTo>
                    <a:pt x="894" y="887"/>
                  </a:lnTo>
                  <a:lnTo>
                    <a:pt x="890" y="890"/>
                  </a:lnTo>
                  <a:lnTo>
                    <a:pt x="888" y="892"/>
                  </a:lnTo>
                  <a:lnTo>
                    <a:pt x="887" y="893"/>
                  </a:lnTo>
                  <a:lnTo>
                    <a:pt x="886" y="895"/>
                  </a:lnTo>
                  <a:lnTo>
                    <a:pt x="885" y="897"/>
                  </a:lnTo>
                  <a:lnTo>
                    <a:pt x="883" y="901"/>
                  </a:lnTo>
                  <a:lnTo>
                    <a:pt x="882" y="903"/>
                  </a:lnTo>
                  <a:lnTo>
                    <a:pt x="881" y="905"/>
                  </a:lnTo>
                  <a:lnTo>
                    <a:pt x="880" y="908"/>
                  </a:lnTo>
                  <a:lnTo>
                    <a:pt x="878" y="910"/>
                  </a:lnTo>
                  <a:lnTo>
                    <a:pt x="877" y="911"/>
                  </a:lnTo>
                  <a:lnTo>
                    <a:pt x="875" y="911"/>
                  </a:lnTo>
                  <a:lnTo>
                    <a:pt x="874" y="913"/>
                  </a:lnTo>
                  <a:lnTo>
                    <a:pt x="872" y="914"/>
                  </a:lnTo>
                  <a:lnTo>
                    <a:pt x="871" y="914"/>
                  </a:lnTo>
                  <a:lnTo>
                    <a:pt x="870" y="915"/>
                  </a:lnTo>
                  <a:lnTo>
                    <a:pt x="868" y="916"/>
                  </a:lnTo>
                  <a:lnTo>
                    <a:pt x="863" y="917"/>
                  </a:lnTo>
                  <a:lnTo>
                    <a:pt x="858" y="918"/>
                  </a:lnTo>
                  <a:lnTo>
                    <a:pt x="849" y="920"/>
                  </a:lnTo>
                  <a:lnTo>
                    <a:pt x="841" y="921"/>
                  </a:lnTo>
                  <a:lnTo>
                    <a:pt x="837" y="921"/>
                  </a:lnTo>
                  <a:lnTo>
                    <a:pt x="833" y="922"/>
                  </a:lnTo>
                  <a:lnTo>
                    <a:pt x="829" y="923"/>
                  </a:lnTo>
                  <a:lnTo>
                    <a:pt x="827" y="924"/>
                  </a:lnTo>
                  <a:lnTo>
                    <a:pt x="825" y="925"/>
                  </a:lnTo>
                  <a:lnTo>
                    <a:pt x="823" y="926"/>
                  </a:lnTo>
                  <a:lnTo>
                    <a:pt x="821" y="928"/>
                  </a:lnTo>
                  <a:lnTo>
                    <a:pt x="819" y="930"/>
                  </a:lnTo>
                  <a:lnTo>
                    <a:pt x="818" y="932"/>
                  </a:lnTo>
                  <a:lnTo>
                    <a:pt x="817" y="934"/>
                  </a:lnTo>
                  <a:lnTo>
                    <a:pt x="817" y="936"/>
                  </a:lnTo>
                  <a:lnTo>
                    <a:pt x="817" y="938"/>
                  </a:lnTo>
                  <a:lnTo>
                    <a:pt x="817" y="944"/>
                  </a:lnTo>
                  <a:lnTo>
                    <a:pt x="817" y="945"/>
                  </a:lnTo>
                  <a:lnTo>
                    <a:pt x="817" y="946"/>
                  </a:lnTo>
                  <a:lnTo>
                    <a:pt x="816" y="947"/>
                  </a:lnTo>
                  <a:lnTo>
                    <a:pt x="816" y="948"/>
                  </a:lnTo>
                  <a:lnTo>
                    <a:pt x="815" y="950"/>
                  </a:lnTo>
                  <a:lnTo>
                    <a:pt x="814" y="951"/>
                  </a:lnTo>
                  <a:lnTo>
                    <a:pt x="813" y="952"/>
                  </a:lnTo>
                  <a:lnTo>
                    <a:pt x="805" y="956"/>
                  </a:lnTo>
                  <a:lnTo>
                    <a:pt x="803" y="957"/>
                  </a:lnTo>
                  <a:lnTo>
                    <a:pt x="802" y="958"/>
                  </a:lnTo>
                  <a:lnTo>
                    <a:pt x="799" y="958"/>
                  </a:lnTo>
                  <a:lnTo>
                    <a:pt x="793" y="959"/>
                  </a:lnTo>
                  <a:lnTo>
                    <a:pt x="783" y="961"/>
                  </a:lnTo>
                  <a:lnTo>
                    <a:pt x="778" y="963"/>
                  </a:lnTo>
                  <a:lnTo>
                    <a:pt x="776" y="963"/>
                  </a:lnTo>
                  <a:lnTo>
                    <a:pt x="773" y="963"/>
                  </a:lnTo>
                  <a:lnTo>
                    <a:pt x="768" y="962"/>
                  </a:lnTo>
                  <a:lnTo>
                    <a:pt x="762" y="961"/>
                  </a:lnTo>
                  <a:lnTo>
                    <a:pt x="759" y="960"/>
                  </a:lnTo>
                  <a:lnTo>
                    <a:pt x="754" y="959"/>
                  </a:lnTo>
                  <a:lnTo>
                    <a:pt x="751" y="958"/>
                  </a:lnTo>
                  <a:lnTo>
                    <a:pt x="746" y="957"/>
                  </a:lnTo>
                  <a:lnTo>
                    <a:pt x="743" y="957"/>
                  </a:lnTo>
                  <a:lnTo>
                    <a:pt x="741" y="957"/>
                  </a:lnTo>
                  <a:lnTo>
                    <a:pt x="739" y="957"/>
                  </a:lnTo>
                  <a:lnTo>
                    <a:pt x="737" y="958"/>
                  </a:lnTo>
                  <a:lnTo>
                    <a:pt x="736" y="959"/>
                  </a:lnTo>
                  <a:lnTo>
                    <a:pt x="733" y="962"/>
                  </a:lnTo>
                  <a:lnTo>
                    <a:pt x="731" y="964"/>
                  </a:lnTo>
                  <a:lnTo>
                    <a:pt x="726" y="967"/>
                  </a:lnTo>
                  <a:lnTo>
                    <a:pt x="723" y="967"/>
                  </a:lnTo>
                  <a:lnTo>
                    <a:pt x="721" y="968"/>
                  </a:lnTo>
                  <a:lnTo>
                    <a:pt x="717" y="969"/>
                  </a:lnTo>
                  <a:lnTo>
                    <a:pt x="713" y="969"/>
                  </a:lnTo>
                  <a:lnTo>
                    <a:pt x="711" y="969"/>
                  </a:lnTo>
                  <a:lnTo>
                    <a:pt x="709" y="969"/>
                  </a:lnTo>
                  <a:lnTo>
                    <a:pt x="707" y="968"/>
                  </a:lnTo>
                  <a:lnTo>
                    <a:pt x="705" y="967"/>
                  </a:lnTo>
                  <a:lnTo>
                    <a:pt x="702" y="967"/>
                  </a:lnTo>
                  <a:lnTo>
                    <a:pt x="700" y="965"/>
                  </a:lnTo>
                  <a:lnTo>
                    <a:pt x="693" y="961"/>
                  </a:lnTo>
                  <a:lnTo>
                    <a:pt x="691" y="959"/>
                  </a:lnTo>
                  <a:lnTo>
                    <a:pt x="690" y="957"/>
                  </a:lnTo>
                  <a:lnTo>
                    <a:pt x="689" y="956"/>
                  </a:lnTo>
                  <a:lnTo>
                    <a:pt x="687" y="953"/>
                  </a:lnTo>
                  <a:lnTo>
                    <a:pt x="685" y="950"/>
                  </a:lnTo>
                  <a:lnTo>
                    <a:pt x="683" y="949"/>
                  </a:lnTo>
                  <a:lnTo>
                    <a:pt x="682" y="948"/>
                  </a:lnTo>
                  <a:lnTo>
                    <a:pt x="681" y="947"/>
                  </a:lnTo>
                  <a:lnTo>
                    <a:pt x="680" y="946"/>
                  </a:lnTo>
                  <a:lnTo>
                    <a:pt x="679" y="946"/>
                  </a:lnTo>
                  <a:lnTo>
                    <a:pt x="678" y="946"/>
                  </a:lnTo>
                  <a:lnTo>
                    <a:pt x="675" y="946"/>
                  </a:lnTo>
                  <a:lnTo>
                    <a:pt x="673" y="947"/>
                  </a:lnTo>
                  <a:lnTo>
                    <a:pt x="670" y="948"/>
                  </a:lnTo>
                  <a:lnTo>
                    <a:pt x="666" y="950"/>
                  </a:lnTo>
                  <a:lnTo>
                    <a:pt x="665" y="951"/>
                  </a:lnTo>
                  <a:lnTo>
                    <a:pt x="663" y="952"/>
                  </a:lnTo>
                  <a:lnTo>
                    <a:pt x="662" y="953"/>
                  </a:lnTo>
                  <a:lnTo>
                    <a:pt x="661" y="954"/>
                  </a:lnTo>
                  <a:lnTo>
                    <a:pt x="656" y="959"/>
                  </a:lnTo>
                  <a:lnTo>
                    <a:pt x="654" y="962"/>
                  </a:lnTo>
                  <a:lnTo>
                    <a:pt x="652" y="963"/>
                  </a:lnTo>
                  <a:lnTo>
                    <a:pt x="650" y="965"/>
                  </a:lnTo>
                  <a:lnTo>
                    <a:pt x="648" y="966"/>
                  </a:lnTo>
                  <a:lnTo>
                    <a:pt x="647" y="967"/>
                  </a:lnTo>
                  <a:lnTo>
                    <a:pt x="645" y="967"/>
                  </a:lnTo>
                  <a:lnTo>
                    <a:pt x="644" y="967"/>
                  </a:lnTo>
                  <a:lnTo>
                    <a:pt x="643" y="967"/>
                  </a:lnTo>
                  <a:lnTo>
                    <a:pt x="641" y="967"/>
                  </a:lnTo>
                  <a:lnTo>
                    <a:pt x="639" y="967"/>
                  </a:lnTo>
                  <a:lnTo>
                    <a:pt x="633" y="967"/>
                  </a:lnTo>
                  <a:lnTo>
                    <a:pt x="632" y="967"/>
                  </a:lnTo>
                  <a:lnTo>
                    <a:pt x="630" y="967"/>
                  </a:lnTo>
                  <a:lnTo>
                    <a:pt x="629" y="967"/>
                  </a:lnTo>
                  <a:lnTo>
                    <a:pt x="628" y="967"/>
                  </a:lnTo>
                  <a:lnTo>
                    <a:pt x="627" y="967"/>
                  </a:lnTo>
                  <a:lnTo>
                    <a:pt x="626" y="968"/>
                  </a:lnTo>
                  <a:lnTo>
                    <a:pt x="624" y="969"/>
                  </a:lnTo>
                  <a:lnTo>
                    <a:pt x="623" y="970"/>
                  </a:lnTo>
                  <a:lnTo>
                    <a:pt x="622" y="972"/>
                  </a:lnTo>
                  <a:lnTo>
                    <a:pt x="621" y="974"/>
                  </a:lnTo>
                  <a:lnTo>
                    <a:pt x="620" y="979"/>
                  </a:lnTo>
                  <a:lnTo>
                    <a:pt x="617" y="984"/>
                  </a:lnTo>
                  <a:lnTo>
                    <a:pt x="616" y="987"/>
                  </a:lnTo>
                  <a:lnTo>
                    <a:pt x="615" y="988"/>
                  </a:lnTo>
                  <a:lnTo>
                    <a:pt x="614" y="990"/>
                  </a:lnTo>
                  <a:lnTo>
                    <a:pt x="612" y="991"/>
                  </a:lnTo>
                  <a:lnTo>
                    <a:pt x="611" y="992"/>
                  </a:lnTo>
                  <a:lnTo>
                    <a:pt x="610" y="993"/>
                  </a:lnTo>
                  <a:lnTo>
                    <a:pt x="609" y="993"/>
                  </a:lnTo>
                  <a:lnTo>
                    <a:pt x="607" y="994"/>
                  </a:lnTo>
                  <a:lnTo>
                    <a:pt x="604" y="994"/>
                  </a:lnTo>
                  <a:lnTo>
                    <a:pt x="598" y="994"/>
                  </a:lnTo>
                  <a:lnTo>
                    <a:pt x="595" y="994"/>
                  </a:lnTo>
                  <a:lnTo>
                    <a:pt x="589" y="995"/>
                  </a:lnTo>
                  <a:lnTo>
                    <a:pt x="585" y="996"/>
                  </a:lnTo>
                  <a:lnTo>
                    <a:pt x="581" y="997"/>
                  </a:lnTo>
                  <a:lnTo>
                    <a:pt x="574" y="999"/>
                  </a:lnTo>
                  <a:lnTo>
                    <a:pt x="571" y="1001"/>
                  </a:lnTo>
                  <a:lnTo>
                    <a:pt x="567" y="1002"/>
                  </a:lnTo>
                  <a:lnTo>
                    <a:pt x="564" y="1005"/>
                  </a:lnTo>
                  <a:lnTo>
                    <a:pt x="562" y="1007"/>
                  </a:lnTo>
                  <a:lnTo>
                    <a:pt x="561" y="1008"/>
                  </a:lnTo>
                  <a:lnTo>
                    <a:pt x="559" y="1010"/>
                  </a:lnTo>
                  <a:lnTo>
                    <a:pt x="556" y="1014"/>
                  </a:lnTo>
                  <a:lnTo>
                    <a:pt x="554" y="1017"/>
                  </a:lnTo>
                  <a:lnTo>
                    <a:pt x="550" y="1022"/>
                  </a:lnTo>
                  <a:lnTo>
                    <a:pt x="547" y="1024"/>
                  </a:lnTo>
                  <a:lnTo>
                    <a:pt x="544" y="1026"/>
                  </a:lnTo>
                  <a:lnTo>
                    <a:pt x="541" y="1029"/>
                  </a:lnTo>
                  <a:lnTo>
                    <a:pt x="539" y="1030"/>
                  </a:lnTo>
                  <a:lnTo>
                    <a:pt x="532" y="1034"/>
                  </a:lnTo>
                  <a:lnTo>
                    <a:pt x="530" y="1035"/>
                  </a:lnTo>
                  <a:lnTo>
                    <a:pt x="528" y="1036"/>
                  </a:lnTo>
                  <a:lnTo>
                    <a:pt x="526" y="1038"/>
                  </a:lnTo>
                  <a:lnTo>
                    <a:pt x="524" y="1040"/>
                  </a:lnTo>
                  <a:lnTo>
                    <a:pt x="519" y="1045"/>
                  </a:lnTo>
                  <a:lnTo>
                    <a:pt x="516" y="1048"/>
                  </a:lnTo>
                  <a:lnTo>
                    <a:pt x="515" y="1050"/>
                  </a:lnTo>
                  <a:lnTo>
                    <a:pt x="512" y="1053"/>
                  </a:lnTo>
                  <a:lnTo>
                    <a:pt x="508" y="1058"/>
                  </a:lnTo>
                  <a:lnTo>
                    <a:pt x="507" y="1060"/>
                  </a:lnTo>
                  <a:lnTo>
                    <a:pt x="506" y="1061"/>
                  </a:lnTo>
                  <a:lnTo>
                    <a:pt x="505" y="1062"/>
                  </a:lnTo>
                  <a:lnTo>
                    <a:pt x="503" y="1063"/>
                  </a:lnTo>
                  <a:lnTo>
                    <a:pt x="502" y="1063"/>
                  </a:lnTo>
                  <a:lnTo>
                    <a:pt x="500" y="1062"/>
                  </a:lnTo>
                  <a:lnTo>
                    <a:pt x="499" y="1062"/>
                  </a:lnTo>
                  <a:lnTo>
                    <a:pt x="497" y="1061"/>
                  </a:lnTo>
                  <a:lnTo>
                    <a:pt x="496" y="1060"/>
                  </a:lnTo>
                  <a:lnTo>
                    <a:pt x="491" y="1057"/>
                  </a:lnTo>
                  <a:lnTo>
                    <a:pt x="488" y="1056"/>
                  </a:lnTo>
                  <a:lnTo>
                    <a:pt x="485" y="1054"/>
                  </a:lnTo>
                  <a:lnTo>
                    <a:pt x="482" y="1053"/>
                  </a:lnTo>
                  <a:lnTo>
                    <a:pt x="480" y="1052"/>
                  </a:lnTo>
                  <a:lnTo>
                    <a:pt x="477" y="1051"/>
                  </a:lnTo>
                  <a:lnTo>
                    <a:pt x="474" y="1051"/>
                  </a:lnTo>
                  <a:lnTo>
                    <a:pt x="472" y="1051"/>
                  </a:lnTo>
                  <a:lnTo>
                    <a:pt x="462" y="1053"/>
                  </a:lnTo>
                  <a:lnTo>
                    <a:pt x="459" y="1053"/>
                  </a:lnTo>
                  <a:lnTo>
                    <a:pt x="457" y="1054"/>
                  </a:lnTo>
                  <a:lnTo>
                    <a:pt x="456" y="1054"/>
                  </a:lnTo>
                  <a:lnTo>
                    <a:pt x="455" y="1055"/>
                  </a:lnTo>
                  <a:lnTo>
                    <a:pt x="454" y="1056"/>
                  </a:lnTo>
                  <a:lnTo>
                    <a:pt x="452" y="1057"/>
                  </a:lnTo>
                  <a:lnTo>
                    <a:pt x="451" y="1058"/>
                  </a:lnTo>
                  <a:lnTo>
                    <a:pt x="448" y="1064"/>
                  </a:lnTo>
                  <a:lnTo>
                    <a:pt x="444" y="1068"/>
                  </a:lnTo>
                  <a:lnTo>
                    <a:pt x="443" y="1069"/>
                  </a:lnTo>
                  <a:lnTo>
                    <a:pt x="441" y="1071"/>
                  </a:lnTo>
                  <a:lnTo>
                    <a:pt x="439" y="1073"/>
                  </a:lnTo>
                  <a:lnTo>
                    <a:pt x="439" y="1075"/>
                  </a:lnTo>
                  <a:lnTo>
                    <a:pt x="437" y="1076"/>
                  </a:lnTo>
                  <a:lnTo>
                    <a:pt x="435" y="1077"/>
                  </a:lnTo>
                  <a:lnTo>
                    <a:pt x="434" y="1077"/>
                  </a:lnTo>
                  <a:lnTo>
                    <a:pt x="433" y="1077"/>
                  </a:lnTo>
                  <a:lnTo>
                    <a:pt x="430" y="1077"/>
                  </a:lnTo>
                  <a:lnTo>
                    <a:pt x="428" y="1076"/>
                  </a:lnTo>
                  <a:lnTo>
                    <a:pt x="425" y="1076"/>
                  </a:lnTo>
                  <a:lnTo>
                    <a:pt x="423" y="1075"/>
                  </a:lnTo>
                  <a:lnTo>
                    <a:pt x="421" y="1074"/>
                  </a:lnTo>
                  <a:lnTo>
                    <a:pt x="420" y="1073"/>
                  </a:lnTo>
                  <a:lnTo>
                    <a:pt x="416" y="1069"/>
                  </a:lnTo>
                  <a:lnTo>
                    <a:pt x="413" y="1068"/>
                  </a:lnTo>
                  <a:lnTo>
                    <a:pt x="411" y="1067"/>
                  </a:lnTo>
                  <a:lnTo>
                    <a:pt x="409" y="1066"/>
                  </a:lnTo>
                  <a:lnTo>
                    <a:pt x="407" y="1066"/>
                  </a:lnTo>
                  <a:lnTo>
                    <a:pt x="405" y="1066"/>
                  </a:lnTo>
                  <a:lnTo>
                    <a:pt x="403" y="1066"/>
                  </a:lnTo>
                  <a:lnTo>
                    <a:pt x="401" y="1066"/>
                  </a:lnTo>
                  <a:lnTo>
                    <a:pt x="397" y="1067"/>
                  </a:lnTo>
                  <a:lnTo>
                    <a:pt x="395" y="1068"/>
                  </a:lnTo>
                  <a:lnTo>
                    <a:pt x="394" y="1069"/>
                  </a:lnTo>
                  <a:lnTo>
                    <a:pt x="392" y="1069"/>
                  </a:lnTo>
                  <a:lnTo>
                    <a:pt x="391" y="1070"/>
                  </a:lnTo>
                  <a:lnTo>
                    <a:pt x="391" y="1071"/>
                  </a:lnTo>
                  <a:lnTo>
                    <a:pt x="391" y="1072"/>
                  </a:lnTo>
                  <a:lnTo>
                    <a:pt x="390" y="1071"/>
                  </a:lnTo>
                  <a:lnTo>
                    <a:pt x="389" y="1069"/>
                  </a:lnTo>
                  <a:lnTo>
                    <a:pt x="388" y="1068"/>
                  </a:lnTo>
                  <a:lnTo>
                    <a:pt x="385" y="1062"/>
                  </a:lnTo>
                  <a:lnTo>
                    <a:pt x="384" y="1060"/>
                  </a:lnTo>
                  <a:lnTo>
                    <a:pt x="382" y="1058"/>
                  </a:lnTo>
                  <a:lnTo>
                    <a:pt x="382" y="1057"/>
                  </a:lnTo>
                  <a:lnTo>
                    <a:pt x="380" y="1055"/>
                  </a:lnTo>
                  <a:lnTo>
                    <a:pt x="378" y="1053"/>
                  </a:lnTo>
                  <a:lnTo>
                    <a:pt x="376" y="1051"/>
                  </a:lnTo>
                  <a:lnTo>
                    <a:pt x="372" y="1048"/>
                  </a:lnTo>
                  <a:lnTo>
                    <a:pt x="370" y="1047"/>
                  </a:lnTo>
                  <a:lnTo>
                    <a:pt x="367" y="1046"/>
                  </a:lnTo>
                  <a:lnTo>
                    <a:pt x="363" y="1043"/>
                  </a:lnTo>
                  <a:lnTo>
                    <a:pt x="357" y="1040"/>
                  </a:lnTo>
                  <a:lnTo>
                    <a:pt x="353" y="1039"/>
                  </a:lnTo>
                  <a:lnTo>
                    <a:pt x="350" y="1037"/>
                  </a:lnTo>
                  <a:lnTo>
                    <a:pt x="348" y="1035"/>
                  </a:lnTo>
                  <a:lnTo>
                    <a:pt x="347" y="1034"/>
                  </a:lnTo>
                  <a:lnTo>
                    <a:pt x="345" y="1032"/>
                  </a:lnTo>
                  <a:lnTo>
                    <a:pt x="344" y="1030"/>
                  </a:lnTo>
                  <a:lnTo>
                    <a:pt x="340" y="1024"/>
                  </a:lnTo>
                  <a:lnTo>
                    <a:pt x="339" y="1023"/>
                  </a:lnTo>
                  <a:lnTo>
                    <a:pt x="337" y="1021"/>
                  </a:lnTo>
                  <a:lnTo>
                    <a:pt x="337" y="1020"/>
                  </a:lnTo>
                  <a:lnTo>
                    <a:pt x="335" y="1019"/>
                  </a:lnTo>
                  <a:lnTo>
                    <a:pt x="334" y="1018"/>
                  </a:lnTo>
                  <a:lnTo>
                    <a:pt x="332" y="1018"/>
                  </a:lnTo>
                  <a:lnTo>
                    <a:pt x="331" y="1017"/>
                  </a:lnTo>
                  <a:lnTo>
                    <a:pt x="328" y="1017"/>
                  </a:lnTo>
                  <a:lnTo>
                    <a:pt x="324" y="1016"/>
                  </a:lnTo>
                  <a:lnTo>
                    <a:pt x="322" y="1016"/>
                  </a:lnTo>
                  <a:lnTo>
                    <a:pt x="321" y="1016"/>
                  </a:lnTo>
                  <a:lnTo>
                    <a:pt x="320" y="1015"/>
                  </a:lnTo>
                  <a:lnTo>
                    <a:pt x="319" y="1014"/>
                  </a:lnTo>
                  <a:lnTo>
                    <a:pt x="319" y="1013"/>
                  </a:lnTo>
                  <a:lnTo>
                    <a:pt x="319" y="1013"/>
                  </a:lnTo>
                  <a:lnTo>
                    <a:pt x="319" y="1012"/>
                  </a:lnTo>
                  <a:lnTo>
                    <a:pt x="319" y="1011"/>
                  </a:lnTo>
                  <a:lnTo>
                    <a:pt x="319" y="1009"/>
                  </a:lnTo>
                  <a:lnTo>
                    <a:pt x="320" y="1007"/>
                  </a:lnTo>
                  <a:lnTo>
                    <a:pt x="321" y="1005"/>
                  </a:lnTo>
                  <a:lnTo>
                    <a:pt x="323" y="1002"/>
                  </a:lnTo>
                  <a:lnTo>
                    <a:pt x="325" y="999"/>
                  </a:lnTo>
                  <a:lnTo>
                    <a:pt x="329" y="995"/>
                  </a:lnTo>
                  <a:lnTo>
                    <a:pt x="330" y="993"/>
                  </a:lnTo>
                  <a:lnTo>
                    <a:pt x="334" y="990"/>
                  </a:lnTo>
                  <a:lnTo>
                    <a:pt x="339" y="983"/>
                  </a:lnTo>
                  <a:lnTo>
                    <a:pt x="341" y="981"/>
                  </a:lnTo>
                  <a:lnTo>
                    <a:pt x="343" y="979"/>
                  </a:lnTo>
                  <a:lnTo>
                    <a:pt x="344" y="978"/>
                  </a:lnTo>
                  <a:lnTo>
                    <a:pt x="345" y="975"/>
                  </a:lnTo>
                  <a:lnTo>
                    <a:pt x="347" y="968"/>
                  </a:lnTo>
                  <a:lnTo>
                    <a:pt x="348" y="967"/>
                  </a:lnTo>
                  <a:lnTo>
                    <a:pt x="348" y="965"/>
                  </a:lnTo>
                  <a:lnTo>
                    <a:pt x="353" y="958"/>
                  </a:lnTo>
                  <a:lnTo>
                    <a:pt x="354" y="956"/>
                  </a:lnTo>
                  <a:lnTo>
                    <a:pt x="355" y="955"/>
                  </a:lnTo>
                  <a:lnTo>
                    <a:pt x="356" y="953"/>
                  </a:lnTo>
                  <a:lnTo>
                    <a:pt x="356" y="951"/>
                  </a:lnTo>
                  <a:lnTo>
                    <a:pt x="357" y="946"/>
                  </a:lnTo>
                  <a:lnTo>
                    <a:pt x="358" y="944"/>
                  </a:lnTo>
                  <a:lnTo>
                    <a:pt x="359" y="941"/>
                  </a:lnTo>
                  <a:lnTo>
                    <a:pt x="360" y="938"/>
                  </a:lnTo>
                  <a:lnTo>
                    <a:pt x="362" y="934"/>
                  </a:lnTo>
                  <a:lnTo>
                    <a:pt x="365" y="930"/>
                  </a:lnTo>
                  <a:lnTo>
                    <a:pt x="367" y="928"/>
                  </a:lnTo>
                  <a:lnTo>
                    <a:pt x="368" y="927"/>
                  </a:lnTo>
                  <a:lnTo>
                    <a:pt x="369" y="926"/>
                  </a:lnTo>
                  <a:lnTo>
                    <a:pt x="370" y="925"/>
                  </a:lnTo>
                  <a:lnTo>
                    <a:pt x="371" y="924"/>
                  </a:lnTo>
                  <a:lnTo>
                    <a:pt x="373" y="924"/>
                  </a:lnTo>
                  <a:lnTo>
                    <a:pt x="379" y="922"/>
                  </a:lnTo>
                  <a:lnTo>
                    <a:pt x="384" y="922"/>
                  </a:lnTo>
                  <a:lnTo>
                    <a:pt x="387" y="921"/>
                  </a:lnTo>
                  <a:lnTo>
                    <a:pt x="389" y="920"/>
                  </a:lnTo>
                  <a:lnTo>
                    <a:pt x="391" y="919"/>
                  </a:lnTo>
                  <a:lnTo>
                    <a:pt x="392" y="918"/>
                  </a:lnTo>
                  <a:lnTo>
                    <a:pt x="393" y="917"/>
                  </a:lnTo>
                  <a:lnTo>
                    <a:pt x="394" y="916"/>
                  </a:lnTo>
                  <a:lnTo>
                    <a:pt x="394" y="913"/>
                  </a:lnTo>
                  <a:lnTo>
                    <a:pt x="395" y="910"/>
                  </a:lnTo>
                  <a:lnTo>
                    <a:pt x="396" y="908"/>
                  </a:lnTo>
                  <a:lnTo>
                    <a:pt x="396" y="906"/>
                  </a:lnTo>
                  <a:lnTo>
                    <a:pt x="396" y="904"/>
                  </a:lnTo>
                  <a:lnTo>
                    <a:pt x="395" y="903"/>
                  </a:lnTo>
                  <a:lnTo>
                    <a:pt x="394" y="901"/>
                  </a:lnTo>
                  <a:lnTo>
                    <a:pt x="394" y="899"/>
                  </a:lnTo>
                  <a:lnTo>
                    <a:pt x="388" y="891"/>
                  </a:lnTo>
                  <a:lnTo>
                    <a:pt x="387" y="889"/>
                  </a:lnTo>
                  <a:lnTo>
                    <a:pt x="385" y="888"/>
                  </a:lnTo>
                  <a:lnTo>
                    <a:pt x="383" y="887"/>
                  </a:lnTo>
                  <a:lnTo>
                    <a:pt x="379" y="884"/>
                  </a:lnTo>
                  <a:lnTo>
                    <a:pt x="376" y="882"/>
                  </a:lnTo>
                  <a:lnTo>
                    <a:pt x="374" y="880"/>
                  </a:lnTo>
                  <a:lnTo>
                    <a:pt x="372" y="878"/>
                  </a:lnTo>
                  <a:lnTo>
                    <a:pt x="371" y="877"/>
                  </a:lnTo>
                  <a:lnTo>
                    <a:pt x="371" y="877"/>
                  </a:lnTo>
                  <a:lnTo>
                    <a:pt x="370" y="875"/>
                  </a:lnTo>
                  <a:lnTo>
                    <a:pt x="370" y="873"/>
                  </a:lnTo>
                  <a:lnTo>
                    <a:pt x="370" y="872"/>
                  </a:lnTo>
                  <a:lnTo>
                    <a:pt x="371" y="869"/>
                  </a:lnTo>
                  <a:lnTo>
                    <a:pt x="371" y="867"/>
                  </a:lnTo>
                  <a:lnTo>
                    <a:pt x="371" y="866"/>
                  </a:lnTo>
                  <a:lnTo>
                    <a:pt x="371" y="865"/>
                  </a:lnTo>
                  <a:lnTo>
                    <a:pt x="371" y="864"/>
                  </a:lnTo>
                  <a:lnTo>
                    <a:pt x="370" y="862"/>
                  </a:lnTo>
                  <a:lnTo>
                    <a:pt x="369" y="861"/>
                  </a:lnTo>
                  <a:lnTo>
                    <a:pt x="368" y="860"/>
                  </a:lnTo>
                  <a:lnTo>
                    <a:pt x="367" y="859"/>
                  </a:lnTo>
                  <a:lnTo>
                    <a:pt x="364" y="857"/>
                  </a:lnTo>
                  <a:lnTo>
                    <a:pt x="362" y="856"/>
                  </a:lnTo>
                  <a:lnTo>
                    <a:pt x="360" y="855"/>
                  </a:lnTo>
                  <a:lnTo>
                    <a:pt x="359" y="854"/>
                  </a:lnTo>
                  <a:lnTo>
                    <a:pt x="358" y="854"/>
                  </a:lnTo>
                  <a:lnTo>
                    <a:pt x="357" y="854"/>
                  </a:lnTo>
                  <a:lnTo>
                    <a:pt x="356" y="854"/>
                  </a:lnTo>
                  <a:lnTo>
                    <a:pt x="354" y="854"/>
                  </a:lnTo>
                  <a:lnTo>
                    <a:pt x="352" y="854"/>
                  </a:lnTo>
                  <a:lnTo>
                    <a:pt x="351" y="855"/>
                  </a:lnTo>
                  <a:lnTo>
                    <a:pt x="348" y="856"/>
                  </a:lnTo>
                  <a:lnTo>
                    <a:pt x="346" y="857"/>
                  </a:lnTo>
                  <a:lnTo>
                    <a:pt x="344" y="858"/>
                  </a:lnTo>
                  <a:lnTo>
                    <a:pt x="337" y="859"/>
                  </a:lnTo>
                  <a:lnTo>
                    <a:pt x="334" y="860"/>
                  </a:lnTo>
                  <a:lnTo>
                    <a:pt x="331" y="861"/>
                  </a:lnTo>
                  <a:lnTo>
                    <a:pt x="325" y="864"/>
                  </a:lnTo>
                  <a:lnTo>
                    <a:pt x="322" y="865"/>
                  </a:lnTo>
                  <a:lnTo>
                    <a:pt x="319" y="865"/>
                  </a:lnTo>
                  <a:lnTo>
                    <a:pt x="315" y="865"/>
                  </a:lnTo>
                  <a:lnTo>
                    <a:pt x="312" y="865"/>
                  </a:lnTo>
                  <a:lnTo>
                    <a:pt x="306" y="865"/>
                  </a:lnTo>
                  <a:lnTo>
                    <a:pt x="300" y="865"/>
                  </a:lnTo>
                  <a:lnTo>
                    <a:pt x="296" y="865"/>
                  </a:lnTo>
                  <a:lnTo>
                    <a:pt x="293" y="865"/>
                  </a:lnTo>
                  <a:lnTo>
                    <a:pt x="291" y="865"/>
                  </a:lnTo>
                  <a:lnTo>
                    <a:pt x="282" y="862"/>
                  </a:lnTo>
                  <a:lnTo>
                    <a:pt x="280" y="862"/>
                  </a:lnTo>
                  <a:lnTo>
                    <a:pt x="279" y="861"/>
                  </a:lnTo>
                  <a:lnTo>
                    <a:pt x="277" y="861"/>
                  </a:lnTo>
                  <a:lnTo>
                    <a:pt x="274" y="861"/>
                  </a:lnTo>
                  <a:lnTo>
                    <a:pt x="271" y="862"/>
                  </a:lnTo>
                  <a:lnTo>
                    <a:pt x="269" y="862"/>
                  </a:lnTo>
                  <a:lnTo>
                    <a:pt x="266" y="864"/>
                  </a:lnTo>
                  <a:lnTo>
                    <a:pt x="265" y="864"/>
                  </a:lnTo>
                  <a:lnTo>
                    <a:pt x="264" y="864"/>
                  </a:lnTo>
                  <a:lnTo>
                    <a:pt x="262" y="864"/>
                  </a:lnTo>
                  <a:lnTo>
                    <a:pt x="261" y="864"/>
                  </a:lnTo>
                  <a:lnTo>
                    <a:pt x="260" y="864"/>
                  </a:lnTo>
                  <a:lnTo>
                    <a:pt x="259" y="863"/>
                  </a:lnTo>
                  <a:lnTo>
                    <a:pt x="253" y="860"/>
                  </a:lnTo>
                  <a:lnTo>
                    <a:pt x="241" y="853"/>
                  </a:lnTo>
                  <a:lnTo>
                    <a:pt x="236" y="850"/>
                  </a:lnTo>
                  <a:lnTo>
                    <a:pt x="233" y="848"/>
                  </a:lnTo>
                  <a:lnTo>
                    <a:pt x="230" y="845"/>
                  </a:lnTo>
                  <a:lnTo>
                    <a:pt x="223" y="839"/>
                  </a:lnTo>
                  <a:lnTo>
                    <a:pt x="217" y="834"/>
                  </a:lnTo>
                  <a:lnTo>
                    <a:pt x="214" y="831"/>
                  </a:lnTo>
                  <a:lnTo>
                    <a:pt x="210" y="828"/>
                  </a:lnTo>
                  <a:lnTo>
                    <a:pt x="208" y="826"/>
                  </a:lnTo>
                  <a:lnTo>
                    <a:pt x="206" y="824"/>
                  </a:lnTo>
                  <a:lnTo>
                    <a:pt x="205" y="822"/>
                  </a:lnTo>
                  <a:lnTo>
                    <a:pt x="203" y="819"/>
                  </a:lnTo>
                  <a:lnTo>
                    <a:pt x="201" y="815"/>
                  </a:lnTo>
                  <a:lnTo>
                    <a:pt x="200" y="812"/>
                  </a:lnTo>
                  <a:lnTo>
                    <a:pt x="200" y="809"/>
                  </a:lnTo>
                  <a:lnTo>
                    <a:pt x="200" y="807"/>
                  </a:lnTo>
                  <a:lnTo>
                    <a:pt x="200" y="802"/>
                  </a:lnTo>
                  <a:lnTo>
                    <a:pt x="200" y="798"/>
                  </a:lnTo>
                  <a:lnTo>
                    <a:pt x="201" y="791"/>
                  </a:lnTo>
                  <a:lnTo>
                    <a:pt x="202" y="786"/>
                  </a:lnTo>
                  <a:lnTo>
                    <a:pt x="202" y="783"/>
                  </a:lnTo>
                  <a:lnTo>
                    <a:pt x="202" y="780"/>
                  </a:lnTo>
                  <a:lnTo>
                    <a:pt x="201" y="777"/>
                  </a:lnTo>
                  <a:lnTo>
                    <a:pt x="201" y="775"/>
                  </a:lnTo>
                  <a:lnTo>
                    <a:pt x="200" y="772"/>
                  </a:lnTo>
                  <a:lnTo>
                    <a:pt x="200" y="767"/>
                  </a:lnTo>
                  <a:lnTo>
                    <a:pt x="199" y="764"/>
                  </a:lnTo>
                  <a:lnTo>
                    <a:pt x="198" y="763"/>
                  </a:lnTo>
                  <a:lnTo>
                    <a:pt x="197" y="761"/>
                  </a:lnTo>
                  <a:lnTo>
                    <a:pt x="196" y="759"/>
                  </a:lnTo>
                  <a:lnTo>
                    <a:pt x="194" y="758"/>
                  </a:lnTo>
                  <a:lnTo>
                    <a:pt x="193" y="757"/>
                  </a:lnTo>
                  <a:lnTo>
                    <a:pt x="191" y="756"/>
                  </a:lnTo>
                  <a:lnTo>
                    <a:pt x="190" y="755"/>
                  </a:lnTo>
                  <a:lnTo>
                    <a:pt x="187" y="755"/>
                  </a:lnTo>
                  <a:lnTo>
                    <a:pt x="185" y="754"/>
                  </a:lnTo>
                  <a:lnTo>
                    <a:pt x="183" y="754"/>
                  </a:lnTo>
                  <a:lnTo>
                    <a:pt x="179" y="754"/>
                  </a:lnTo>
                  <a:lnTo>
                    <a:pt x="177" y="754"/>
                  </a:lnTo>
                  <a:lnTo>
                    <a:pt x="170" y="755"/>
                  </a:lnTo>
                  <a:lnTo>
                    <a:pt x="163" y="756"/>
                  </a:lnTo>
                  <a:lnTo>
                    <a:pt x="160" y="757"/>
                  </a:lnTo>
                  <a:lnTo>
                    <a:pt x="156" y="757"/>
                  </a:lnTo>
                  <a:lnTo>
                    <a:pt x="150" y="759"/>
                  </a:lnTo>
                  <a:lnTo>
                    <a:pt x="147" y="760"/>
                  </a:lnTo>
                  <a:lnTo>
                    <a:pt x="137" y="761"/>
                  </a:lnTo>
                  <a:lnTo>
                    <a:pt x="136" y="761"/>
                  </a:lnTo>
                  <a:lnTo>
                    <a:pt x="134" y="761"/>
                  </a:lnTo>
                  <a:lnTo>
                    <a:pt x="133" y="760"/>
                  </a:lnTo>
                  <a:lnTo>
                    <a:pt x="132" y="759"/>
                  </a:lnTo>
                  <a:lnTo>
                    <a:pt x="131" y="758"/>
                  </a:lnTo>
                  <a:lnTo>
                    <a:pt x="127" y="754"/>
                  </a:lnTo>
                  <a:lnTo>
                    <a:pt x="126" y="753"/>
                  </a:lnTo>
                  <a:lnTo>
                    <a:pt x="124" y="752"/>
                  </a:lnTo>
                  <a:lnTo>
                    <a:pt x="121" y="751"/>
                  </a:lnTo>
                  <a:lnTo>
                    <a:pt x="118" y="749"/>
                  </a:lnTo>
                  <a:lnTo>
                    <a:pt x="111" y="747"/>
                  </a:lnTo>
                  <a:lnTo>
                    <a:pt x="103" y="744"/>
                  </a:lnTo>
                  <a:lnTo>
                    <a:pt x="91" y="741"/>
                  </a:lnTo>
                  <a:lnTo>
                    <a:pt x="88" y="741"/>
                  </a:lnTo>
                  <a:lnTo>
                    <a:pt x="87" y="740"/>
                  </a:lnTo>
                  <a:lnTo>
                    <a:pt x="86" y="740"/>
                  </a:lnTo>
                  <a:lnTo>
                    <a:pt x="84" y="740"/>
                  </a:lnTo>
                  <a:lnTo>
                    <a:pt x="83" y="741"/>
                  </a:lnTo>
                  <a:lnTo>
                    <a:pt x="81" y="741"/>
                  </a:lnTo>
                  <a:lnTo>
                    <a:pt x="78" y="742"/>
                  </a:lnTo>
                  <a:lnTo>
                    <a:pt x="71" y="746"/>
                  </a:lnTo>
                  <a:lnTo>
                    <a:pt x="68" y="747"/>
                  </a:lnTo>
                  <a:lnTo>
                    <a:pt x="65" y="748"/>
                  </a:lnTo>
                  <a:lnTo>
                    <a:pt x="63" y="749"/>
                  </a:lnTo>
                  <a:lnTo>
                    <a:pt x="60" y="749"/>
                  </a:lnTo>
                  <a:lnTo>
                    <a:pt x="57" y="749"/>
                  </a:lnTo>
                  <a:lnTo>
                    <a:pt x="54" y="749"/>
                  </a:lnTo>
                  <a:lnTo>
                    <a:pt x="52" y="748"/>
                  </a:lnTo>
                  <a:lnTo>
                    <a:pt x="50" y="747"/>
                  </a:lnTo>
                  <a:lnTo>
                    <a:pt x="48" y="746"/>
                  </a:lnTo>
                  <a:lnTo>
                    <a:pt x="46" y="745"/>
                  </a:lnTo>
                  <a:lnTo>
                    <a:pt x="44" y="743"/>
                  </a:lnTo>
                  <a:lnTo>
                    <a:pt x="43" y="742"/>
                  </a:lnTo>
                  <a:lnTo>
                    <a:pt x="41" y="741"/>
                  </a:lnTo>
                  <a:lnTo>
                    <a:pt x="37" y="734"/>
                  </a:lnTo>
                  <a:lnTo>
                    <a:pt x="33" y="730"/>
                  </a:lnTo>
                  <a:lnTo>
                    <a:pt x="30" y="728"/>
                  </a:lnTo>
                  <a:lnTo>
                    <a:pt x="30" y="727"/>
                  </a:lnTo>
                  <a:lnTo>
                    <a:pt x="28" y="725"/>
                  </a:lnTo>
                  <a:lnTo>
                    <a:pt x="26" y="725"/>
                  </a:lnTo>
                  <a:lnTo>
                    <a:pt x="25" y="724"/>
                  </a:lnTo>
                  <a:lnTo>
                    <a:pt x="23" y="723"/>
                  </a:lnTo>
                  <a:lnTo>
                    <a:pt x="21" y="723"/>
                  </a:lnTo>
                  <a:lnTo>
                    <a:pt x="18" y="722"/>
                  </a:lnTo>
                  <a:lnTo>
                    <a:pt x="11" y="721"/>
                  </a:lnTo>
                  <a:lnTo>
                    <a:pt x="9" y="721"/>
                  </a:lnTo>
                  <a:lnTo>
                    <a:pt x="7" y="720"/>
                  </a:lnTo>
                  <a:lnTo>
                    <a:pt x="5" y="720"/>
                  </a:lnTo>
                  <a:lnTo>
                    <a:pt x="3" y="719"/>
                  </a:lnTo>
                  <a:lnTo>
                    <a:pt x="2" y="718"/>
                  </a:lnTo>
                  <a:lnTo>
                    <a:pt x="1" y="718"/>
                  </a:lnTo>
                  <a:lnTo>
                    <a:pt x="0" y="717"/>
                  </a:lnTo>
                  <a:lnTo>
                    <a:pt x="0" y="716"/>
                  </a:lnTo>
                  <a:lnTo>
                    <a:pt x="1" y="716"/>
                  </a:lnTo>
                  <a:lnTo>
                    <a:pt x="1" y="715"/>
                  </a:lnTo>
                  <a:lnTo>
                    <a:pt x="4" y="713"/>
                  </a:lnTo>
                  <a:lnTo>
                    <a:pt x="6" y="713"/>
                  </a:lnTo>
                  <a:lnTo>
                    <a:pt x="7" y="711"/>
                  </a:lnTo>
                  <a:lnTo>
                    <a:pt x="7" y="710"/>
                  </a:lnTo>
                  <a:lnTo>
                    <a:pt x="8" y="709"/>
                  </a:lnTo>
                  <a:lnTo>
                    <a:pt x="8" y="707"/>
                  </a:lnTo>
                  <a:lnTo>
                    <a:pt x="9" y="706"/>
                  </a:lnTo>
                  <a:lnTo>
                    <a:pt x="10" y="704"/>
                  </a:lnTo>
                  <a:lnTo>
                    <a:pt x="10" y="702"/>
                  </a:lnTo>
                  <a:lnTo>
                    <a:pt x="10" y="701"/>
                  </a:lnTo>
                  <a:lnTo>
                    <a:pt x="10" y="699"/>
                  </a:lnTo>
                  <a:lnTo>
                    <a:pt x="9" y="698"/>
                  </a:lnTo>
                  <a:lnTo>
                    <a:pt x="8" y="696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2" name="Freeform 101">
              <a:extLst>
                <a:ext uri="{FF2B5EF4-FFF2-40B4-BE49-F238E27FC236}">
                  <a16:creationId xmlns:a16="http://schemas.microsoft.com/office/drawing/2014/main" id="{BA504535-2E91-44FA-A86B-76F96B3FC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8" y="2390"/>
              <a:ext cx="473" cy="704"/>
            </a:xfrm>
            <a:custGeom>
              <a:avLst/>
              <a:gdLst>
                <a:gd name="T0" fmla="*/ 144 w 473"/>
                <a:gd name="T1" fmla="*/ 698 h 704"/>
                <a:gd name="T2" fmla="*/ 114 w 473"/>
                <a:gd name="T3" fmla="*/ 681 h 704"/>
                <a:gd name="T4" fmla="*/ 100 w 473"/>
                <a:gd name="T5" fmla="*/ 677 h 704"/>
                <a:gd name="T6" fmla="*/ 75 w 473"/>
                <a:gd name="T7" fmla="*/ 687 h 704"/>
                <a:gd name="T8" fmla="*/ 60 w 473"/>
                <a:gd name="T9" fmla="*/ 683 h 704"/>
                <a:gd name="T10" fmla="*/ 28 w 473"/>
                <a:gd name="T11" fmla="*/ 651 h 704"/>
                <a:gd name="T12" fmla="*/ 13 w 473"/>
                <a:gd name="T13" fmla="*/ 626 h 704"/>
                <a:gd name="T14" fmla="*/ 18 w 473"/>
                <a:gd name="T15" fmla="*/ 612 h 704"/>
                <a:gd name="T16" fmla="*/ 24 w 473"/>
                <a:gd name="T17" fmla="*/ 598 h 704"/>
                <a:gd name="T18" fmla="*/ 7 w 473"/>
                <a:gd name="T19" fmla="*/ 580 h 704"/>
                <a:gd name="T20" fmla="*/ 0 w 473"/>
                <a:gd name="T21" fmla="*/ 565 h 704"/>
                <a:gd name="T22" fmla="*/ 7 w 473"/>
                <a:gd name="T23" fmla="*/ 539 h 704"/>
                <a:gd name="T24" fmla="*/ 9 w 473"/>
                <a:gd name="T25" fmla="*/ 516 h 704"/>
                <a:gd name="T26" fmla="*/ 20 w 473"/>
                <a:gd name="T27" fmla="*/ 484 h 704"/>
                <a:gd name="T28" fmla="*/ 23 w 473"/>
                <a:gd name="T29" fmla="*/ 458 h 704"/>
                <a:gd name="T30" fmla="*/ 23 w 473"/>
                <a:gd name="T31" fmla="*/ 432 h 704"/>
                <a:gd name="T32" fmla="*/ 13 w 473"/>
                <a:gd name="T33" fmla="*/ 411 h 704"/>
                <a:gd name="T34" fmla="*/ 15 w 473"/>
                <a:gd name="T35" fmla="*/ 404 h 704"/>
                <a:gd name="T36" fmla="*/ 29 w 473"/>
                <a:gd name="T37" fmla="*/ 397 h 704"/>
                <a:gd name="T38" fmla="*/ 31 w 473"/>
                <a:gd name="T39" fmla="*/ 385 h 704"/>
                <a:gd name="T40" fmla="*/ 32 w 473"/>
                <a:gd name="T41" fmla="*/ 363 h 704"/>
                <a:gd name="T42" fmla="*/ 38 w 473"/>
                <a:gd name="T43" fmla="*/ 342 h 704"/>
                <a:gd name="T44" fmla="*/ 56 w 473"/>
                <a:gd name="T45" fmla="*/ 334 h 704"/>
                <a:gd name="T46" fmla="*/ 67 w 473"/>
                <a:gd name="T47" fmla="*/ 328 h 704"/>
                <a:gd name="T48" fmla="*/ 65 w 473"/>
                <a:gd name="T49" fmla="*/ 315 h 704"/>
                <a:gd name="T50" fmla="*/ 71 w 473"/>
                <a:gd name="T51" fmla="*/ 307 h 704"/>
                <a:gd name="T52" fmla="*/ 92 w 473"/>
                <a:gd name="T53" fmla="*/ 308 h 704"/>
                <a:gd name="T54" fmla="*/ 125 w 473"/>
                <a:gd name="T55" fmla="*/ 313 h 704"/>
                <a:gd name="T56" fmla="*/ 149 w 473"/>
                <a:gd name="T57" fmla="*/ 308 h 704"/>
                <a:gd name="T58" fmla="*/ 170 w 473"/>
                <a:gd name="T59" fmla="*/ 303 h 704"/>
                <a:gd name="T60" fmla="*/ 194 w 473"/>
                <a:gd name="T61" fmla="*/ 311 h 704"/>
                <a:gd name="T62" fmla="*/ 206 w 473"/>
                <a:gd name="T63" fmla="*/ 315 h 704"/>
                <a:gd name="T64" fmla="*/ 214 w 473"/>
                <a:gd name="T65" fmla="*/ 299 h 704"/>
                <a:gd name="T66" fmla="*/ 225 w 473"/>
                <a:gd name="T67" fmla="*/ 292 h 704"/>
                <a:gd name="T68" fmla="*/ 246 w 473"/>
                <a:gd name="T69" fmla="*/ 293 h 704"/>
                <a:gd name="T70" fmla="*/ 263 w 473"/>
                <a:gd name="T71" fmla="*/ 284 h 704"/>
                <a:gd name="T72" fmla="*/ 270 w 473"/>
                <a:gd name="T73" fmla="*/ 272 h 704"/>
                <a:gd name="T74" fmla="*/ 268 w 473"/>
                <a:gd name="T75" fmla="*/ 253 h 704"/>
                <a:gd name="T76" fmla="*/ 257 w 473"/>
                <a:gd name="T77" fmla="*/ 238 h 704"/>
                <a:gd name="T78" fmla="*/ 227 w 473"/>
                <a:gd name="T79" fmla="*/ 225 h 704"/>
                <a:gd name="T80" fmla="*/ 220 w 473"/>
                <a:gd name="T81" fmla="*/ 210 h 704"/>
                <a:gd name="T82" fmla="*/ 221 w 473"/>
                <a:gd name="T83" fmla="*/ 191 h 704"/>
                <a:gd name="T84" fmla="*/ 243 w 473"/>
                <a:gd name="T85" fmla="*/ 159 h 704"/>
                <a:gd name="T86" fmla="*/ 254 w 473"/>
                <a:gd name="T87" fmla="*/ 133 h 704"/>
                <a:gd name="T88" fmla="*/ 263 w 473"/>
                <a:gd name="T89" fmla="*/ 124 h 704"/>
                <a:gd name="T90" fmla="*/ 276 w 473"/>
                <a:gd name="T91" fmla="*/ 124 h 704"/>
                <a:gd name="T92" fmla="*/ 287 w 473"/>
                <a:gd name="T93" fmla="*/ 126 h 704"/>
                <a:gd name="T94" fmla="*/ 314 w 473"/>
                <a:gd name="T95" fmla="*/ 114 h 704"/>
                <a:gd name="T96" fmla="*/ 348 w 473"/>
                <a:gd name="T97" fmla="*/ 103 h 704"/>
                <a:gd name="T98" fmla="*/ 368 w 473"/>
                <a:gd name="T99" fmla="*/ 87 h 704"/>
                <a:gd name="T100" fmla="*/ 380 w 473"/>
                <a:gd name="T101" fmla="*/ 78 h 704"/>
                <a:gd name="T102" fmla="*/ 404 w 473"/>
                <a:gd name="T103" fmla="*/ 77 h 704"/>
                <a:gd name="T104" fmla="*/ 411 w 473"/>
                <a:gd name="T105" fmla="*/ 70 h 704"/>
                <a:gd name="T106" fmla="*/ 408 w 473"/>
                <a:gd name="T107" fmla="*/ 57 h 704"/>
                <a:gd name="T108" fmla="*/ 405 w 473"/>
                <a:gd name="T109" fmla="*/ 40 h 704"/>
                <a:gd name="T110" fmla="*/ 416 w 473"/>
                <a:gd name="T111" fmla="*/ 28 h 704"/>
                <a:gd name="T112" fmla="*/ 434 w 473"/>
                <a:gd name="T113" fmla="*/ 22 h 704"/>
                <a:gd name="T114" fmla="*/ 450 w 473"/>
                <a:gd name="T115" fmla="*/ 12 h 704"/>
                <a:gd name="T116" fmla="*/ 462 w 473"/>
                <a:gd name="T117" fmla="*/ 0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73" h="704">
                  <a:moveTo>
                    <a:pt x="156" y="704"/>
                  </a:moveTo>
                  <a:lnTo>
                    <a:pt x="155" y="703"/>
                  </a:lnTo>
                  <a:lnTo>
                    <a:pt x="155" y="703"/>
                  </a:lnTo>
                  <a:lnTo>
                    <a:pt x="153" y="702"/>
                  </a:lnTo>
                  <a:lnTo>
                    <a:pt x="151" y="700"/>
                  </a:lnTo>
                  <a:lnTo>
                    <a:pt x="148" y="699"/>
                  </a:lnTo>
                  <a:lnTo>
                    <a:pt x="144" y="698"/>
                  </a:lnTo>
                  <a:lnTo>
                    <a:pt x="135" y="694"/>
                  </a:lnTo>
                  <a:lnTo>
                    <a:pt x="132" y="693"/>
                  </a:lnTo>
                  <a:lnTo>
                    <a:pt x="131" y="692"/>
                  </a:lnTo>
                  <a:lnTo>
                    <a:pt x="127" y="691"/>
                  </a:lnTo>
                  <a:lnTo>
                    <a:pt x="123" y="688"/>
                  </a:lnTo>
                  <a:lnTo>
                    <a:pt x="120" y="686"/>
                  </a:lnTo>
                  <a:lnTo>
                    <a:pt x="114" y="681"/>
                  </a:lnTo>
                  <a:lnTo>
                    <a:pt x="112" y="680"/>
                  </a:lnTo>
                  <a:lnTo>
                    <a:pt x="110" y="679"/>
                  </a:lnTo>
                  <a:lnTo>
                    <a:pt x="109" y="678"/>
                  </a:lnTo>
                  <a:lnTo>
                    <a:pt x="107" y="677"/>
                  </a:lnTo>
                  <a:lnTo>
                    <a:pt x="105" y="677"/>
                  </a:lnTo>
                  <a:lnTo>
                    <a:pt x="103" y="676"/>
                  </a:lnTo>
                  <a:lnTo>
                    <a:pt x="100" y="677"/>
                  </a:lnTo>
                  <a:lnTo>
                    <a:pt x="98" y="677"/>
                  </a:lnTo>
                  <a:lnTo>
                    <a:pt x="95" y="678"/>
                  </a:lnTo>
                  <a:lnTo>
                    <a:pt x="92" y="679"/>
                  </a:lnTo>
                  <a:lnTo>
                    <a:pt x="89" y="681"/>
                  </a:lnTo>
                  <a:lnTo>
                    <a:pt x="79" y="686"/>
                  </a:lnTo>
                  <a:lnTo>
                    <a:pt x="76" y="687"/>
                  </a:lnTo>
                  <a:lnTo>
                    <a:pt x="75" y="687"/>
                  </a:lnTo>
                  <a:lnTo>
                    <a:pt x="73" y="688"/>
                  </a:lnTo>
                  <a:lnTo>
                    <a:pt x="70" y="688"/>
                  </a:lnTo>
                  <a:lnTo>
                    <a:pt x="68" y="687"/>
                  </a:lnTo>
                  <a:lnTo>
                    <a:pt x="65" y="687"/>
                  </a:lnTo>
                  <a:lnTo>
                    <a:pt x="64" y="686"/>
                  </a:lnTo>
                  <a:lnTo>
                    <a:pt x="64" y="685"/>
                  </a:lnTo>
                  <a:lnTo>
                    <a:pt x="60" y="683"/>
                  </a:lnTo>
                  <a:lnTo>
                    <a:pt x="54" y="678"/>
                  </a:lnTo>
                  <a:lnTo>
                    <a:pt x="48" y="672"/>
                  </a:lnTo>
                  <a:lnTo>
                    <a:pt x="45" y="669"/>
                  </a:lnTo>
                  <a:lnTo>
                    <a:pt x="41" y="664"/>
                  </a:lnTo>
                  <a:lnTo>
                    <a:pt x="39" y="662"/>
                  </a:lnTo>
                  <a:lnTo>
                    <a:pt x="30" y="653"/>
                  </a:lnTo>
                  <a:lnTo>
                    <a:pt x="28" y="651"/>
                  </a:lnTo>
                  <a:lnTo>
                    <a:pt x="27" y="650"/>
                  </a:lnTo>
                  <a:lnTo>
                    <a:pt x="22" y="642"/>
                  </a:lnTo>
                  <a:lnTo>
                    <a:pt x="17" y="635"/>
                  </a:lnTo>
                  <a:lnTo>
                    <a:pt x="15" y="632"/>
                  </a:lnTo>
                  <a:lnTo>
                    <a:pt x="14" y="630"/>
                  </a:lnTo>
                  <a:lnTo>
                    <a:pt x="13" y="628"/>
                  </a:lnTo>
                  <a:lnTo>
                    <a:pt x="13" y="626"/>
                  </a:lnTo>
                  <a:lnTo>
                    <a:pt x="12" y="624"/>
                  </a:lnTo>
                  <a:lnTo>
                    <a:pt x="13" y="623"/>
                  </a:lnTo>
                  <a:lnTo>
                    <a:pt x="13" y="622"/>
                  </a:lnTo>
                  <a:lnTo>
                    <a:pt x="14" y="619"/>
                  </a:lnTo>
                  <a:lnTo>
                    <a:pt x="14" y="617"/>
                  </a:lnTo>
                  <a:lnTo>
                    <a:pt x="16" y="615"/>
                  </a:lnTo>
                  <a:lnTo>
                    <a:pt x="18" y="612"/>
                  </a:lnTo>
                  <a:lnTo>
                    <a:pt x="20" y="609"/>
                  </a:lnTo>
                  <a:lnTo>
                    <a:pt x="23" y="604"/>
                  </a:lnTo>
                  <a:lnTo>
                    <a:pt x="24" y="603"/>
                  </a:lnTo>
                  <a:lnTo>
                    <a:pt x="25" y="602"/>
                  </a:lnTo>
                  <a:lnTo>
                    <a:pt x="25" y="601"/>
                  </a:lnTo>
                  <a:lnTo>
                    <a:pt x="25" y="600"/>
                  </a:lnTo>
                  <a:lnTo>
                    <a:pt x="24" y="598"/>
                  </a:lnTo>
                  <a:lnTo>
                    <a:pt x="22" y="594"/>
                  </a:lnTo>
                  <a:lnTo>
                    <a:pt x="20" y="592"/>
                  </a:lnTo>
                  <a:lnTo>
                    <a:pt x="19" y="590"/>
                  </a:lnTo>
                  <a:lnTo>
                    <a:pt x="18" y="589"/>
                  </a:lnTo>
                  <a:lnTo>
                    <a:pt x="16" y="587"/>
                  </a:lnTo>
                  <a:lnTo>
                    <a:pt x="10" y="583"/>
                  </a:lnTo>
                  <a:lnTo>
                    <a:pt x="7" y="580"/>
                  </a:lnTo>
                  <a:lnTo>
                    <a:pt x="5" y="578"/>
                  </a:lnTo>
                  <a:lnTo>
                    <a:pt x="3" y="576"/>
                  </a:lnTo>
                  <a:lnTo>
                    <a:pt x="2" y="573"/>
                  </a:lnTo>
                  <a:lnTo>
                    <a:pt x="1" y="571"/>
                  </a:lnTo>
                  <a:lnTo>
                    <a:pt x="1" y="569"/>
                  </a:lnTo>
                  <a:lnTo>
                    <a:pt x="0" y="567"/>
                  </a:lnTo>
                  <a:lnTo>
                    <a:pt x="0" y="565"/>
                  </a:lnTo>
                  <a:lnTo>
                    <a:pt x="0" y="563"/>
                  </a:lnTo>
                  <a:lnTo>
                    <a:pt x="0" y="560"/>
                  </a:lnTo>
                  <a:lnTo>
                    <a:pt x="1" y="556"/>
                  </a:lnTo>
                  <a:lnTo>
                    <a:pt x="2" y="554"/>
                  </a:lnTo>
                  <a:lnTo>
                    <a:pt x="4" y="547"/>
                  </a:lnTo>
                  <a:lnTo>
                    <a:pt x="6" y="543"/>
                  </a:lnTo>
                  <a:lnTo>
                    <a:pt x="7" y="539"/>
                  </a:lnTo>
                  <a:lnTo>
                    <a:pt x="7" y="533"/>
                  </a:lnTo>
                  <a:lnTo>
                    <a:pt x="10" y="523"/>
                  </a:lnTo>
                  <a:lnTo>
                    <a:pt x="10" y="522"/>
                  </a:lnTo>
                  <a:lnTo>
                    <a:pt x="10" y="521"/>
                  </a:lnTo>
                  <a:lnTo>
                    <a:pt x="10" y="520"/>
                  </a:lnTo>
                  <a:lnTo>
                    <a:pt x="9" y="517"/>
                  </a:lnTo>
                  <a:lnTo>
                    <a:pt x="9" y="516"/>
                  </a:lnTo>
                  <a:lnTo>
                    <a:pt x="9" y="514"/>
                  </a:lnTo>
                  <a:lnTo>
                    <a:pt x="9" y="513"/>
                  </a:lnTo>
                  <a:lnTo>
                    <a:pt x="10" y="511"/>
                  </a:lnTo>
                  <a:lnTo>
                    <a:pt x="13" y="504"/>
                  </a:lnTo>
                  <a:lnTo>
                    <a:pt x="16" y="496"/>
                  </a:lnTo>
                  <a:lnTo>
                    <a:pt x="19" y="488"/>
                  </a:lnTo>
                  <a:lnTo>
                    <a:pt x="20" y="484"/>
                  </a:lnTo>
                  <a:lnTo>
                    <a:pt x="22" y="480"/>
                  </a:lnTo>
                  <a:lnTo>
                    <a:pt x="22" y="477"/>
                  </a:lnTo>
                  <a:lnTo>
                    <a:pt x="23" y="474"/>
                  </a:lnTo>
                  <a:lnTo>
                    <a:pt x="23" y="470"/>
                  </a:lnTo>
                  <a:lnTo>
                    <a:pt x="24" y="467"/>
                  </a:lnTo>
                  <a:lnTo>
                    <a:pt x="23" y="461"/>
                  </a:lnTo>
                  <a:lnTo>
                    <a:pt x="23" y="458"/>
                  </a:lnTo>
                  <a:lnTo>
                    <a:pt x="24" y="455"/>
                  </a:lnTo>
                  <a:lnTo>
                    <a:pt x="25" y="448"/>
                  </a:lnTo>
                  <a:lnTo>
                    <a:pt x="25" y="445"/>
                  </a:lnTo>
                  <a:lnTo>
                    <a:pt x="25" y="442"/>
                  </a:lnTo>
                  <a:lnTo>
                    <a:pt x="24" y="438"/>
                  </a:lnTo>
                  <a:lnTo>
                    <a:pt x="24" y="435"/>
                  </a:lnTo>
                  <a:lnTo>
                    <a:pt x="23" y="432"/>
                  </a:lnTo>
                  <a:lnTo>
                    <a:pt x="22" y="430"/>
                  </a:lnTo>
                  <a:lnTo>
                    <a:pt x="21" y="428"/>
                  </a:lnTo>
                  <a:lnTo>
                    <a:pt x="20" y="425"/>
                  </a:lnTo>
                  <a:lnTo>
                    <a:pt x="19" y="423"/>
                  </a:lnTo>
                  <a:lnTo>
                    <a:pt x="15" y="415"/>
                  </a:lnTo>
                  <a:lnTo>
                    <a:pt x="14" y="413"/>
                  </a:lnTo>
                  <a:lnTo>
                    <a:pt x="13" y="411"/>
                  </a:lnTo>
                  <a:lnTo>
                    <a:pt x="13" y="410"/>
                  </a:lnTo>
                  <a:lnTo>
                    <a:pt x="13" y="409"/>
                  </a:lnTo>
                  <a:lnTo>
                    <a:pt x="13" y="409"/>
                  </a:lnTo>
                  <a:lnTo>
                    <a:pt x="13" y="407"/>
                  </a:lnTo>
                  <a:lnTo>
                    <a:pt x="14" y="406"/>
                  </a:lnTo>
                  <a:lnTo>
                    <a:pt x="14" y="405"/>
                  </a:lnTo>
                  <a:lnTo>
                    <a:pt x="15" y="404"/>
                  </a:lnTo>
                  <a:lnTo>
                    <a:pt x="17" y="403"/>
                  </a:lnTo>
                  <a:lnTo>
                    <a:pt x="19" y="402"/>
                  </a:lnTo>
                  <a:lnTo>
                    <a:pt x="21" y="401"/>
                  </a:lnTo>
                  <a:lnTo>
                    <a:pt x="24" y="400"/>
                  </a:lnTo>
                  <a:lnTo>
                    <a:pt x="26" y="399"/>
                  </a:lnTo>
                  <a:lnTo>
                    <a:pt x="28" y="398"/>
                  </a:lnTo>
                  <a:lnTo>
                    <a:pt x="29" y="397"/>
                  </a:lnTo>
                  <a:lnTo>
                    <a:pt x="30" y="396"/>
                  </a:lnTo>
                  <a:lnTo>
                    <a:pt x="30" y="394"/>
                  </a:lnTo>
                  <a:lnTo>
                    <a:pt x="31" y="392"/>
                  </a:lnTo>
                  <a:lnTo>
                    <a:pt x="31" y="391"/>
                  </a:lnTo>
                  <a:lnTo>
                    <a:pt x="31" y="389"/>
                  </a:lnTo>
                  <a:lnTo>
                    <a:pt x="31" y="387"/>
                  </a:lnTo>
                  <a:lnTo>
                    <a:pt x="31" y="385"/>
                  </a:lnTo>
                  <a:lnTo>
                    <a:pt x="31" y="382"/>
                  </a:lnTo>
                  <a:lnTo>
                    <a:pt x="30" y="372"/>
                  </a:lnTo>
                  <a:lnTo>
                    <a:pt x="29" y="371"/>
                  </a:lnTo>
                  <a:lnTo>
                    <a:pt x="29" y="370"/>
                  </a:lnTo>
                  <a:lnTo>
                    <a:pt x="30" y="370"/>
                  </a:lnTo>
                  <a:lnTo>
                    <a:pt x="30" y="368"/>
                  </a:lnTo>
                  <a:lnTo>
                    <a:pt x="32" y="363"/>
                  </a:lnTo>
                  <a:lnTo>
                    <a:pt x="33" y="361"/>
                  </a:lnTo>
                  <a:lnTo>
                    <a:pt x="33" y="358"/>
                  </a:lnTo>
                  <a:lnTo>
                    <a:pt x="35" y="351"/>
                  </a:lnTo>
                  <a:lnTo>
                    <a:pt x="35" y="348"/>
                  </a:lnTo>
                  <a:lnTo>
                    <a:pt x="36" y="346"/>
                  </a:lnTo>
                  <a:lnTo>
                    <a:pt x="37" y="344"/>
                  </a:lnTo>
                  <a:lnTo>
                    <a:pt x="38" y="342"/>
                  </a:lnTo>
                  <a:lnTo>
                    <a:pt x="39" y="341"/>
                  </a:lnTo>
                  <a:lnTo>
                    <a:pt x="40" y="341"/>
                  </a:lnTo>
                  <a:lnTo>
                    <a:pt x="41" y="340"/>
                  </a:lnTo>
                  <a:lnTo>
                    <a:pt x="41" y="339"/>
                  </a:lnTo>
                  <a:lnTo>
                    <a:pt x="42" y="338"/>
                  </a:lnTo>
                  <a:lnTo>
                    <a:pt x="45" y="337"/>
                  </a:lnTo>
                  <a:lnTo>
                    <a:pt x="56" y="334"/>
                  </a:lnTo>
                  <a:lnTo>
                    <a:pt x="59" y="333"/>
                  </a:lnTo>
                  <a:lnTo>
                    <a:pt x="62" y="333"/>
                  </a:lnTo>
                  <a:lnTo>
                    <a:pt x="63" y="332"/>
                  </a:lnTo>
                  <a:lnTo>
                    <a:pt x="64" y="331"/>
                  </a:lnTo>
                  <a:lnTo>
                    <a:pt x="65" y="330"/>
                  </a:lnTo>
                  <a:lnTo>
                    <a:pt x="66" y="329"/>
                  </a:lnTo>
                  <a:lnTo>
                    <a:pt x="67" y="328"/>
                  </a:lnTo>
                  <a:lnTo>
                    <a:pt x="67" y="327"/>
                  </a:lnTo>
                  <a:lnTo>
                    <a:pt x="67" y="326"/>
                  </a:lnTo>
                  <a:lnTo>
                    <a:pt x="67" y="325"/>
                  </a:lnTo>
                  <a:lnTo>
                    <a:pt x="67" y="323"/>
                  </a:lnTo>
                  <a:lnTo>
                    <a:pt x="65" y="318"/>
                  </a:lnTo>
                  <a:lnTo>
                    <a:pt x="65" y="317"/>
                  </a:lnTo>
                  <a:lnTo>
                    <a:pt x="65" y="315"/>
                  </a:lnTo>
                  <a:lnTo>
                    <a:pt x="65" y="313"/>
                  </a:lnTo>
                  <a:lnTo>
                    <a:pt x="66" y="312"/>
                  </a:lnTo>
                  <a:lnTo>
                    <a:pt x="66" y="310"/>
                  </a:lnTo>
                  <a:lnTo>
                    <a:pt x="67" y="309"/>
                  </a:lnTo>
                  <a:lnTo>
                    <a:pt x="68" y="308"/>
                  </a:lnTo>
                  <a:lnTo>
                    <a:pt x="70" y="307"/>
                  </a:lnTo>
                  <a:lnTo>
                    <a:pt x="71" y="307"/>
                  </a:lnTo>
                  <a:lnTo>
                    <a:pt x="73" y="307"/>
                  </a:lnTo>
                  <a:lnTo>
                    <a:pt x="75" y="306"/>
                  </a:lnTo>
                  <a:lnTo>
                    <a:pt x="76" y="305"/>
                  </a:lnTo>
                  <a:lnTo>
                    <a:pt x="78" y="305"/>
                  </a:lnTo>
                  <a:lnTo>
                    <a:pt x="81" y="305"/>
                  </a:lnTo>
                  <a:lnTo>
                    <a:pt x="83" y="306"/>
                  </a:lnTo>
                  <a:lnTo>
                    <a:pt x="92" y="308"/>
                  </a:lnTo>
                  <a:lnTo>
                    <a:pt x="96" y="309"/>
                  </a:lnTo>
                  <a:lnTo>
                    <a:pt x="98" y="309"/>
                  </a:lnTo>
                  <a:lnTo>
                    <a:pt x="101" y="310"/>
                  </a:lnTo>
                  <a:lnTo>
                    <a:pt x="108" y="310"/>
                  </a:lnTo>
                  <a:lnTo>
                    <a:pt x="112" y="311"/>
                  </a:lnTo>
                  <a:lnTo>
                    <a:pt x="122" y="313"/>
                  </a:lnTo>
                  <a:lnTo>
                    <a:pt x="125" y="313"/>
                  </a:lnTo>
                  <a:lnTo>
                    <a:pt x="128" y="313"/>
                  </a:lnTo>
                  <a:lnTo>
                    <a:pt x="132" y="313"/>
                  </a:lnTo>
                  <a:lnTo>
                    <a:pt x="135" y="312"/>
                  </a:lnTo>
                  <a:lnTo>
                    <a:pt x="138" y="312"/>
                  </a:lnTo>
                  <a:lnTo>
                    <a:pt x="143" y="311"/>
                  </a:lnTo>
                  <a:lnTo>
                    <a:pt x="144" y="310"/>
                  </a:lnTo>
                  <a:lnTo>
                    <a:pt x="149" y="308"/>
                  </a:lnTo>
                  <a:lnTo>
                    <a:pt x="158" y="305"/>
                  </a:lnTo>
                  <a:lnTo>
                    <a:pt x="163" y="303"/>
                  </a:lnTo>
                  <a:lnTo>
                    <a:pt x="166" y="302"/>
                  </a:lnTo>
                  <a:lnTo>
                    <a:pt x="167" y="302"/>
                  </a:lnTo>
                  <a:lnTo>
                    <a:pt x="168" y="302"/>
                  </a:lnTo>
                  <a:lnTo>
                    <a:pt x="169" y="302"/>
                  </a:lnTo>
                  <a:lnTo>
                    <a:pt x="170" y="303"/>
                  </a:lnTo>
                  <a:lnTo>
                    <a:pt x="176" y="306"/>
                  </a:lnTo>
                  <a:lnTo>
                    <a:pt x="179" y="307"/>
                  </a:lnTo>
                  <a:lnTo>
                    <a:pt x="182" y="307"/>
                  </a:lnTo>
                  <a:lnTo>
                    <a:pt x="188" y="308"/>
                  </a:lnTo>
                  <a:lnTo>
                    <a:pt x="190" y="309"/>
                  </a:lnTo>
                  <a:lnTo>
                    <a:pt x="192" y="310"/>
                  </a:lnTo>
                  <a:lnTo>
                    <a:pt x="194" y="311"/>
                  </a:lnTo>
                  <a:lnTo>
                    <a:pt x="199" y="314"/>
                  </a:lnTo>
                  <a:lnTo>
                    <a:pt x="200" y="315"/>
                  </a:lnTo>
                  <a:lnTo>
                    <a:pt x="202" y="316"/>
                  </a:lnTo>
                  <a:lnTo>
                    <a:pt x="203" y="316"/>
                  </a:lnTo>
                  <a:lnTo>
                    <a:pt x="204" y="316"/>
                  </a:lnTo>
                  <a:lnTo>
                    <a:pt x="205" y="316"/>
                  </a:lnTo>
                  <a:lnTo>
                    <a:pt x="206" y="315"/>
                  </a:lnTo>
                  <a:lnTo>
                    <a:pt x="207" y="315"/>
                  </a:lnTo>
                  <a:lnTo>
                    <a:pt x="208" y="313"/>
                  </a:lnTo>
                  <a:lnTo>
                    <a:pt x="209" y="311"/>
                  </a:lnTo>
                  <a:lnTo>
                    <a:pt x="211" y="308"/>
                  </a:lnTo>
                  <a:lnTo>
                    <a:pt x="212" y="306"/>
                  </a:lnTo>
                  <a:lnTo>
                    <a:pt x="214" y="300"/>
                  </a:lnTo>
                  <a:lnTo>
                    <a:pt x="214" y="299"/>
                  </a:lnTo>
                  <a:lnTo>
                    <a:pt x="215" y="298"/>
                  </a:lnTo>
                  <a:lnTo>
                    <a:pt x="216" y="297"/>
                  </a:lnTo>
                  <a:lnTo>
                    <a:pt x="217" y="296"/>
                  </a:lnTo>
                  <a:lnTo>
                    <a:pt x="221" y="294"/>
                  </a:lnTo>
                  <a:lnTo>
                    <a:pt x="223" y="293"/>
                  </a:lnTo>
                  <a:lnTo>
                    <a:pt x="223" y="293"/>
                  </a:lnTo>
                  <a:lnTo>
                    <a:pt x="225" y="292"/>
                  </a:lnTo>
                  <a:lnTo>
                    <a:pt x="226" y="292"/>
                  </a:lnTo>
                  <a:lnTo>
                    <a:pt x="228" y="292"/>
                  </a:lnTo>
                  <a:lnTo>
                    <a:pt x="231" y="292"/>
                  </a:lnTo>
                  <a:lnTo>
                    <a:pt x="236" y="293"/>
                  </a:lnTo>
                  <a:lnTo>
                    <a:pt x="239" y="293"/>
                  </a:lnTo>
                  <a:lnTo>
                    <a:pt x="244" y="293"/>
                  </a:lnTo>
                  <a:lnTo>
                    <a:pt x="246" y="293"/>
                  </a:lnTo>
                  <a:lnTo>
                    <a:pt x="248" y="293"/>
                  </a:lnTo>
                  <a:lnTo>
                    <a:pt x="251" y="292"/>
                  </a:lnTo>
                  <a:lnTo>
                    <a:pt x="253" y="291"/>
                  </a:lnTo>
                  <a:lnTo>
                    <a:pt x="255" y="290"/>
                  </a:lnTo>
                  <a:lnTo>
                    <a:pt x="257" y="289"/>
                  </a:lnTo>
                  <a:lnTo>
                    <a:pt x="261" y="286"/>
                  </a:lnTo>
                  <a:lnTo>
                    <a:pt x="263" y="284"/>
                  </a:lnTo>
                  <a:lnTo>
                    <a:pt x="265" y="283"/>
                  </a:lnTo>
                  <a:lnTo>
                    <a:pt x="266" y="281"/>
                  </a:lnTo>
                  <a:lnTo>
                    <a:pt x="268" y="279"/>
                  </a:lnTo>
                  <a:lnTo>
                    <a:pt x="269" y="277"/>
                  </a:lnTo>
                  <a:lnTo>
                    <a:pt x="269" y="275"/>
                  </a:lnTo>
                  <a:lnTo>
                    <a:pt x="269" y="273"/>
                  </a:lnTo>
                  <a:lnTo>
                    <a:pt x="270" y="272"/>
                  </a:lnTo>
                  <a:lnTo>
                    <a:pt x="270" y="269"/>
                  </a:lnTo>
                  <a:lnTo>
                    <a:pt x="270" y="266"/>
                  </a:lnTo>
                  <a:lnTo>
                    <a:pt x="270" y="263"/>
                  </a:lnTo>
                  <a:lnTo>
                    <a:pt x="270" y="261"/>
                  </a:lnTo>
                  <a:lnTo>
                    <a:pt x="269" y="259"/>
                  </a:lnTo>
                  <a:lnTo>
                    <a:pt x="269" y="256"/>
                  </a:lnTo>
                  <a:lnTo>
                    <a:pt x="268" y="253"/>
                  </a:lnTo>
                  <a:lnTo>
                    <a:pt x="267" y="251"/>
                  </a:lnTo>
                  <a:lnTo>
                    <a:pt x="265" y="247"/>
                  </a:lnTo>
                  <a:lnTo>
                    <a:pt x="262" y="243"/>
                  </a:lnTo>
                  <a:lnTo>
                    <a:pt x="260" y="241"/>
                  </a:lnTo>
                  <a:lnTo>
                    <a:pt x="259" y="240"/>
                  </a:lnTo>
                  <a:lnTo>
                    <a:pt x="257" y="239"/>
                  </a:lnTo>
                  <a:lnTo>
                    <a:pt x="257" y="238"/>
                  </a:lnTo>
                  <a:lnTo>
                    <a:pt x="254" y="237"/>
                  </a:lnTo>
                  <a:lnTo>
                    <a:pt x="251" y="235"/>
                  </a:lnTo>
                  <a:lnTo>
                    <a:pt x="248" y="234"/>
                  </a:lnTo>
                  <a:lnTo>
                    <a:pt x="243" y="232"/>
                  </a:lnTo>
                  <a:lnTo>
                    <a:pt x="238" y="230"/>
                  </a:lnTo>
                  <a:lnTo>
                    <a:pt x="229" y="226"/>
                  </a:lnTo>
                  <a:lnTo>
                    <a:pt x="227" y="225"/>
                  </a:lnTo>
                  <a:lnTo>
                    <a:pt x="226" y="223"/>
                  </a:lnTo>
                  <a:lnTo>
                    <a:pt x="224" y="222"/>
                  </a:lnTo>
                  <a:lnTo>
                    <a:pt x="223" y="220"/>
                  </a:lnTo>
                  <a:lnTo>
                    <a:pt x="223" y="217"/>
                  </a:lnTo>
                  <a:lnTo>
                    <a:pt x="222" y="216"/>
                  </a:lnTo>
                  <a:lnTo>
                    <a:pt x="221" y="213"/>
                  </a:lnTo>
                  <a:lnTo>
                    <a:pt x="220" y="210"/>
                  </a:lnTo>
                  <a:lnTo>
                    <a:pt x="220" y="206"/>
                  </a:lnTo>
                  <a:lnTo>
                    <a:pt x="220" y="204"/>
                  </a:lnTo>
                  <a:lnTo>
                    <a:pt x="220" y="201"/>
                  </a:lnTo>
                  <a:lnTo>
                    <a:pt x="220" y="198"/>
                  </a:lnTo>
                  <a:lnTo>
                    <a:pt x="220" y="195"/>
                  </a:lnTo>
                  <a:lnTo>
                    <a:pt x="221" y="193"/>
                  </a:lnTo>
                  <a:lnTo>
                    <a:pt x="221" y="191"/>
                  </a:lnTo>
                  <a:lnTo>
                    <a:pt x="222" y="188"/>
                  </a:lnTo>
                  <a:lnTo>
                    <a:pt x="223" y="185"/>
                  </a:lnTo>
                  <a:lnTo>
                    <a:pt x="223" y="183"/>
                  </a:lnTo>
                  <a:lnTo>
                    <a:pt x="224" y="181"/>
                  </a:lnTo>
                  <a:lnTo>
                    <a:pt x="226" y="178"/>
                  </a:lnTo>
                  <a:lnTo>
                    <a:pt x="241" y="161"/>
                  </a:lnTo>
                  <a:lnTo>
                    <a:pt x="243" y="159"/>
                  </a:lnTo>
                  <a:lnTo>
                    <a:pt x="244" y="157"/>
                  </a:lnTo>
                  <a:lnTo>
                    <a:pt x="246" y="154"/>
                  </a:lnTo>
                  <a:lnTo>
                    <a:pt x="248" y="147"/>
                  </a:lnTo>
                  <a:lnTo>
                    <a:pt x="251" y="140"/>
                  </a:lnTo>
                  <a:lnTo>
                    <a:pt x="252" y="138"/>
                  </a:lnTo>
                  <a:lnTo>
                    <a:pt x="253" y="135"/>
                  </a:lnTo>
                  <a:lnTo>
                    <a:pt x="254" y="133"/>
                  </a:lnTo>
                  <a:lnTo>
                    <a:pt x="255" y="131"/>
                  </a:lnTo>
                  <a:lnTo>
                    <a:pt x="256" y="129"/>
                  </a:lnTo>
                  <a:lnTo>
                    <a:pt x="257" y="128"/>
                  </a:lnTo>
                  <a:lnTo>
                    <a:pt x="257" y="127"/>
                  </a:lnTo>
                  <a:lnTo>
                    <a:pt x="259" y="126"/>
                  </a:lnTo>
                  <a:lnTo>
                    <a:pt x="260" y="125"/>
                  </a:lnTo>
                  <a:lnTo>
                    <a:pt x="263" y="124"/>
                  </a:lnTo>
                  <a:lnTo>
                    <a:pt x="265" y="123"/>
                  </a:lnTo>
                  <a:lnTo>
                    <a:pt x="267" y="123"/>
                  </a:lnTo>
                  <a:lnTo>
                    <a:pt x="269" y="122"/>
                  </a:lnTo>
                  <a:lnTo>
                    <a:pt x="270" y="122"/>
                  </a:lnTo>
                  <a:lnTo>
                    <a:pt x="272" y="123"/>
                  </a:lnTo>
                  <a:lnTo>
                    <a:pt x="273" y="123"/>
                  </a:lnTo>
                  <a:lnTo>
                    <a:pt x="276" y="124"/>
                  </a:lnTo>
                  <a:lnTo>
                    <a:pt x="277" y="125"/>
                  </a:lnTo>
                  <a:lnTo>
                    <a:pt x="279" y="126"/>
                  </a:lnTo>
                  <a:lnTo>
                    <a:pt x="280" y="126"/>
                  </a:lnTo>
                  <a:lnTo>
                    <a:pt x="282" y="126"/>
                  </a:lnTo>
                  <a:lnTo>
                    <a:pt x="284" y="126"/>
                  </a:lnTo>
                  <a:lnTo>
                    <a:pt x="285" y="126"/>
                  </a:lnTo>
                  <a:lnTo>
                    <a:pt x="287" y="126"/>
                  </a:lnTo>
                  <a:lnTo>
                    <a:pt x="290" y="125"/>
                  </a:lnTo>
                  <a:lnTo>
                    <a:pt x="292" y="124"/>
                  </a:lnTo>
                  <a:lnTo>
                    <a:pt x="294" y="122"/>
                  </a:lnTo>
                  <a:lnTo>
                    <a:pt x="303" y="117"/>
                  </a:lnTo>
                  <a:lnTo>
                    <a:pt x="306" y="116"/>
                  </a:lnTo>
                  <a:lnTo>
                    <a:pt x="311" y="114"/>
                  </a:lnTo>
                  <a:lnTo>
                    <a:pt x="314" y="114"/>
                  </a:lnTo>
                  <a:lnTo>
                    <a:pt x="320" y="112"/>
                  </a:lnTo>
                  <a:lnTo>
                    <a:pt x="323" y="111"/>
                  </a:lnTo>
                  <a:lnTo>
                    <a:pt x="332" y="108"/>
                  </a:lnTo>
                  <a:lnTo>
                    <a:pt x="336" y="107"/>
                  </a:lnTo>
                  <a:lnTo>
                    <a:pt x="338" y="106"/>
                  </a:lnTo>
                  <a:lnTo>
                    <a:pt x="345" y="104"/>
                  </a:lnTo>
                  <a:lnTo>
                    <a:pt x="348" y="103"/>
                  </a:lnTo>
                  <a:lnTo>
                    <a:pt x="350" y="103"/>
                  </a:lnTo>
                  <a:lnTo>
                    <a:pt x="353" y="101"/>
                  </a:lnTo>
                  <a:lnTo>
                    <a:pt x="358" y="98"/>
                  </a:lnTo>
                  <a:lnTo>
                    <a:pt x="360" y="96"/>
                  </a:lnTo>
                  <a:lnTo>
                    <a:pt x="361" y="95"/>
                  </a:lnTo>
                  <a:lnTo>
                    <a:pt x="363" y="93"/>
                  </a:lnTo>
                  <a:lnTo>
                    <a:pt x="368" y="87"/>
                  </a:lnTo>
                  <a:lnTo>
                    <a:pt x="371" y="83"/>
                  </a:lnTo>
                  <a:lnTo>
                    <a:pt x="372" y="81"/>
                  </a:lnTo>
                  <a:lnTo>
                    <a:pt x="373" y="80"/>
                  </a:lnTo>
                  <a:lnTo>
                    <a:pt x="375" y="80"/>
                  </a:lnTo>
                  <a:lnTo>
                    <a:pt x="377" y="79"/>
                  </a:lnTo>
                  <a:lnTo>
                    <a:pt x="378" y="79"/>
                  </a:lnTo>
                  <a:lnTo>
                    <a:pt x="380" y="78"/>
                  </a:lnTo>
                  <a:lnTo>
                    <a:pt x="384" y="79"/>
                  </a:lnTo>
                  <a:lnTo>
                    <a:pt x="393" y="79"/>
                  </a:lnTo>
                  <a:lnTo>
                    <a:pt x="395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402" y="78"/>
                  </a:lnTo>
                  <a:lnTo>
                    <a:pt x="404" y="77"/>
                  </a:lnTo>
                  <a:lnTo>
                    <a:pt x="405" y="76"/>
                  </a:lnTo>
                  <a:lnTo>
                    <a:pt x="406" y="76"/>
                  </a:lnTo>
                  <a:lnTo>
                    <a:pt x="408" y="74"/>
                  </a:lnTo>
                  <a:lnTo>
                    <a:pt x="409" y="73"/>
                  </a:lnTo>
                  <a:lnTo>
                    <a:pt x="409" y="72"/>
                  </a:lnTo>
                  <a:lnTo>
                    <a:pt x="410" y="71"/>
                  </a:lnTo>
                  <a:lnTo>
                    <a:pt x="411" y="70"/>
                  </a:lnTo>
                  <a:lnTo>
                    <a:pt x="411" y="69"/>
                  </a:lnTo>
                  <a:lnTo>
                    <a:pt x="411" y="68"/>
                  </a:lnTo>
                  <a:lnTo>
                    <a:pt x="411" y="66"/>
                  </a:lnTo>
                  <a:lnTo>
                    <a:pt x="411" y="65"/>
                  </a:lnTo>
                  <a:lnTo>
                    <a:pt x="410" y="63"/>
                  </a:lnTo>
                  <a:lnTo>
                    <a:pt x="410" y="61"/>
                  </a:lnTo>
                  <a:lnTo>
                    <a:pt x="408" y="57"/>
                  </a:lnTo>
                  <a:lnTo>
                    <a:pt x="405" y="51"/>
                  </a:lnTo>
                  <a:lnTo>
                    <a:pt x="405" y="49"/>
                  </a:lnTo>
                  <a:lnTo>
                    <a:pt x="405" y="46"/>
                  </a:lnTo>
                  <a:lnTo>
                    <a:pt x="405" y="45"/>
                  </a:lnTo>
                  <a:lnTo>
                    <a:pt x="405" y="43"/>
                  </a:lnTo>
                  <a:lnTo>
                    <a:pt x="405" y="42"/>
                  </a:lnTo>
                  <a:lnTo>
                    <a:pt x="405" y="40"/>
                  </a:lnTo>
                  <a:lnTo>
                    <a:pt x="406" y="39"/>
                  </a:lnTo>
                  <a:lnTo>
                    <a:pt x="406" y="37"/>
                  </a:lnTo>
                  <a:lnTo>
                    <a:pt x="407" y="36"/>
                  </a:lnTo>
                  <a:lnTo>
                    <a:pt x="409" y="35"/>
                  </a:lnTo>
                  <a:lnTo>
                    <a:pt x="411" y="32"/>
                  </a:lnTo>
                  <a:lnTo>
                    <a:pt x="415" y="29"/>
                  </a:lnTo>
                  <a:lnTo>
                    <a:pt x="416" y="28"/>
                  </a:lnTo>
                  <a:lnTo>
                    <a:pt x="417" y="26"/>
                  </a:lnTo>
                  <a:lnTo>
                    <a:pt x="419" y="25"/>
                  </a:lnTo>
                  <a:lnTo>
                    <a:pt x="421" y="24"/>
                  </a:lnTo>
                  <a:lnTo>
                    <a:pt x="424" y="24"/>
                  </a:lnTo>
                  <a:lnTo>
                    <a:pt x="426" y="23"/>
                  </a:lnTo>
                  <a:lnTo>
                    <a:pt x="428" y="22"/>
                  </a:lnTo>
                  <a:lnTo>
                    <a:pt x="434" y="22"/>
                  </a:lnTo>
                  <a:lnTo>
                    <a:pt x="436" y="21"/>
                  </a:lnTo>
                  <a:lnTo>
                    <a:pt x="438" y="21"/>
                  </a:lnTo>
                  <a:lnTo>
                    <a:pt x="439" y="20"/>
                  </a:lnTo>
                  <a:lnTo>
                    <a:pt x="441" y="19"/>
                  </a:lnTo>
                  <a:lnTo>
                    <a:pt x="442" y="18"/>
                  </a:lnTo>
                  <a:lnTo>
                    <a:pt x="444" y="17"/>
                  </a:lnTo>
                  <a:lnTo>
                    <a:pt x="450" y="12"/>
                  </a:lnTo>
                  <a:lnTo>
                    <a:pt x="456" y="8"/>
                  </a:lnTo>
                  <a:lnTo>
                    <a:pt x="458" y="6"/>
                  </a:lnTo>
                  <a:lnTo>
                    <a:pt x="459" y="4"/>
                  </a:lnTo>
                  <a:lnTo>
                    <a:pt x="461" y="2"/>
                  </a:lnTo>
                  <a:lnTo>
                    <a:pt x="462" y="1"/>
                  </a:lnTo>
                  <a:lnTo>
                    <a:pt x="462" y="1"/>
                  </a:lnTo>
                  <a:lnTo>
                    <a:pt x="462" y="0"/>
                  </a:lnTo>
                  <a:lnTo>
                    <a:pt x="473" y="8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3" name="Freeform 102">
              <a:extLst>
                <a:ext uri="{FF2B5EF4-FFF2-40B4-BE49-F238E27FC236}">
                  <a16:creationId xmlns:a16="http://schemas.microsoft.com/office/drawing/2014/main" id="{78642693-4C28-4BF1-929F-EFC8B3377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52"/>
              <a:ext cx="1409" cy="1186"/>
            </a:xfrm>
            <a:custGeom>
              <a:avLst/>
              <a:gdLst>
                <a:gd name="T0" fmla="*/ 608 w 1409"/>
                <a:gd name="T1" fmla="*/ 5 h 1186"/>
                <a:gd name="T2" fmla="*/ 668 w 1409"/>
                <a:gd name="T3" fmla="*/ 13 h 1186"/>
                <a:gd name="T4" fmla="*/ 726 w 1409"/>
                <a:gd name="T5" fmla="*/ 40 h 1186"/>
                <a:gd name="T6" fmla="*/ 690 w 1409"/>
                <a:gd name="T7" fmla="*/ 55 h 1186"/>
                <a:gd name="T8" fmla="*/ 688 w 1409"/>
                <a:gd name="T9" fmla="*/ 95 h 1186"/>
                <a:gd name="T10" fmla="*/ 746 w 1409"/>
                <a:gd name="T11" fmla="*/ 113 h 1186"/>
                <a:gd name="T12" fmla="*/ 724 w 1409"/>
                <a:gd name="T13" fmla="*/ 163 h 1186"/>
                <a:gd name="T14" fmla="*/ 747 w 1409"/>
                <a:gd name="T15" fmla="*/ 226 h 1186"/>
                <a:gd name="T16" fmla="*/ 737 w 1409"/>
                <a:gd name="T17" fmla="*/ 257 h 1186"/>
                <a:gd name="T18" fmla="*/ 793 w 1409"/>
                <a:gd name="T19" fmla="*/ 270 h 1186"/>
                <a:gd name="T20" fmla="*/ 815 w 1409"/>
                <a:gd name="T21" fmla="*/ 221 h 1186"/>
                <a:gd name="T22" fmla="*/ 783 w 1409"/>
                <a:gd name="T23" fmla="*/ 175 h 1186"/>
                <a:gd name="T24" fmla="*/ 821 w 1409"/>
                <a:gd name="T25" fmla="*/ 152 h 1186"/>
                <a:gd name="T26" fmla="*/ 863 w 1409"/>
                <a:gd name="T27" fmla="*/ 189 h 1186"/>
                <a:gd name="T28" fmla="*/ 893 w 1409"/>
                <a:gd name="T29" fmla="*/ 244 h 1186"/>
                <a:gd name="T30" fmla="*/ 918 w 1409"/>
                <a:gd name="T31" fmla="*/ 271 h 1186"/>
                <a:gd name="T32" fmla="*/ 928 w 1409"/>
                <a:gd name="T33" fmla="*/ 287 h 1186"/>
                <a:gd name="T34" fmla="*/ 957 w 1409"/>
                <a:gd name="T35" fmla="*/ 330 h 1186"/>
                <a:gd name="T36" fmla="*/ 1009 w 1409"/>
                <a:gd name="T37" fmla="*/ 393 h 1186"/>
                <a:gd name="T38" fmla="*/ 1004 w 1409"/>
                <a:gd name="T39" fmla="*/ 477 h 1186"/>
                <a:gd name="T40" fmla="*/ 1020 w 1409"/>
                <a:gd name="T41" fmla="*/ 524 h 1186"/>
                <a:gd name="T42" fmla="*/ 1047 w 1409"/>
                <a:gd name="T43" fmla="*/ 542 h 1186"/>
                <a:gd name="T44" fmla="*/ 1011 w 1409"/>
                <a:gd name="T45" fmla="*/ 588 h 1186"/>
                <a:gd name="T46" fmla="*/ 988 w 1409"/>
                <a:gd name="T47" fmla="*/ 635 h 1186"/>
                <a:gd name="T48" fmla="*/ 1046 w 1409"/>
                <a:gd name="T49" fmla="*/ 630 h 1186"/>
                <a:gd name="T50" fmla="*/ 1075 w 1409"/>
                <a:gd name="T51" fmla="*/ 658 h 1186"/>
                <a:gd name="T52" fmla="*/ 1100 w 1409"/>
                <a:gd name="T53" fmla="*/ 694 h 1186"/>
                <a:gd name="T54" fmla="*/ 1167 w 1409"/>
                <a:gd name="T55" fmla="*/ 718 h 1186"/>
                <a:gd name="T56" fmla="*/ 1186 w 1409"/>
                <a:gd name="T57" fmla="*/ 753 h 1186"/>
                <a:gd name="T58" fmla="*/ 1245 w 1409"/>
                <a:gd name="T59" fmla="*/ 779 h 1186"/>
                <a:gd name="T60" fmla="*/ 1315 w 1409"/>
                <a:gd name="T61" fmla="*/ 781 h 1186"/>
                <a:gd name="T62" fmla="*/ 1331 w 1409"/>
                <a:gd name="T63" fmla="*/ 815 h 1186"/>
                <a:gd name="T64" fmla="*/ 1401 w 1409"/>
                <a:gd name="T65" fmla="*/ 874 h 1186"/>
                <a:gd name="T66" fmla="*/ 1361 w 1409"/>
                <a:gd name="T67" fmla="*/ 926 h 1186"/>
                <a:gd name="T68" fmla="*/ 1316 w 1409"/>
                <a:gd name="T69" fmla="*/ 940 h 1186"/>
                <a:gd name="T70" fmla="*/ 1265 w 1409"/>
                <a:gd name="T71" fmla="*/ 914 h 1186"/>
                <a:gd name="T72" fmla="*/ 1211 w 1409"/>
                <a:gd name="T73" fmla="*/ 944 h 1186"/>
                <a:gd name="T74" fmla="*/ 1153 w 1409"/>
                <a:gd name="T75" fmla="*/ 917 h 1186"/>
                <a:gd name="T76" fmla="*/ 1069 w 1409"/>
                <a:gd name="T77" fmla="*/ 883 h 1186"/>
                <a:gd name="T78" fmla="*/ 998 w 1409"/>
                <a:gd name="T79" fmla="*/ 933 h 1186"/>
                <a:gd name="T80" fmla="*/ 948 w 1409"/>
                <a:gd name="T81" fmla="*/ 1011 h 1186"/>
                <a:gd name="T82" fmla="*/ 894 w 1409"/>
                <a:gd name="T83" fmla="*/ 1120 h 1186"/>
                <a:gd name="T84" fmla="*/ 868 w 1409"/>
                <a:gd name="T85" fmla="*/ 1184 h 1186"/>
                <a:gd name="T86" fmla="*/ 850 w 1409"/>
                <a:gd name="T87" fmla="*/ 1151 h 1186"/>
                <a:gd name="T88" fmla="*/ 830 w 1409"/>
                <a:gd name="T89" fmla="*/ 1077 h 1186"/>
                <a:gd name="T90" fmla="*/ 770 w 1409"/>
                <a:gd name="T91" fmla="*/ 1081 h 1186"/>
                <a:gd name="T92" fmla="*/ 697 w 1409"/>
                <a:gd name="T93" fmla="*/ 1058 h 1186"/>
                <a:gd name="T94" fmla="*/ 660 w 1409"/>
                <a:gd name="T95" fmla="*/ 1053 h 1186"/>
                <a:gd name="T96" fmla="*/ 640 w 1409"/>
                <a:gd name="T97" fmla="*/ 1005 h 1186"/>
                <a:gd name="T98" fmla="*/ 567 w 1409"/>
                <a:gd name="T99" fmla="*/ 985 h 1186"/>
                <a:gd name="T100" fmla="*/ 504 w 1409"/>
                <a:gd name="T101" fmla="*/ 978 h 1186"/>
                <a:gd name="T102" fmla="*/ 462 w 1409"/>
                <a:gd name="T103" fmla="*/ 1023 h 1186"/>
                <a:gd name="T104" fmla="*/ 408 w 1409"/>
                <a:gd name="T105" fmla="*/ 1064 h 1186"/>
                <a:gd name="T106" fmla="*/ 378 w 1409"/>
                <a:gd name="T107" fmla="*/ 1062 h 1186"/>
                <a:gd name="T108" fmla="*/ 254 w 1409"/>
                <a:gd name="T109" fmla="*/ 1052 h 1186"/>
                <a:gd name="T110" fmla="*/ 172 w 1409"/>
                <a:gd name="T111" fmla="*/ 1039 h 1186"/>
                <a:gd name="T112" fmla="*/ 90 w 1409"/>
                <a:gd name="T113" fmla="*/ 980 h 1186"/>
                <a:gd name="T114" fmla="*/ 69 w 1409"/>
                <a:gd name="T115" fmla="*/ 957 h 1186"/>
                <a:gd name="T116" fmla="*/ 40 w 1409"/>
                <a:gd name="T117" fmla="*/ 936 h 1186"/>
                <a:gd name="T118" fmla="*/ 4 w 1409"/>
                <a:gd name="T119" fmla="*/ 911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9" h="1186">
                  <a:moveTo>
                    <a:pt x="543" y="0"/>
                  </a:moveTo>
                  <a:lnTo>
                    <a:pt x="543" y="0"/>
                  </a:lnTo>
                  <a:lnTo>
                    <a:pt x="547" y="1"/>
                  </a:lnTo>
                  <a:lnTo>
                    <a:pt x="554" y="3"/>
                  </a:lnTo>
                  <a:lnTo>
                    <a:pt x="558" y="4"/>
                  </a:lnTo>
                  <a:lnTo>
                    <a:pt x="563" y="5"/>
                  </a:lnTo>
                  <a:lnTo>
                    <a:pt x="570" y="5"/>
                  </a:lnTo>
                  <a:lnTo>
                    <a:pt x="575" y="5"/>
                  </a:lnTo>
                  <a:lnTo>
                    <a:pt x="578" y="5"/>
                  </a:lnTo>
                  <a:lnTo>
                    <a:pt x="582" y="4"/>
                  </a:lnTo>
                  <a:lnTo>
                    <a:pt x="589" y="1"/>
                  </a:lnTo>
                  <a:lnTo>
                    <a:pt x="591" y="1"/>
                  </a:lnTo>
                  <a:lnTo>
                    <a:pt x="592" y="1"/>
                  </a:lnTo>
                  <a:lnTo>
                    <a:pt x="595" y="1"/>
                  </a:lnTo>
                  <a:lnTo>
                    <a:pt x="599" y="2"/>
                  </a:lnTo>
                  <a:lnTo>
                    <a:pt x="601" y="2"/>
                  </a:lnTo>
                  <a:lnTo>
                    <a:pt x="608" y="5"/>
                  </a:lnTo>
                  <a:lnTo>
                    <a:pt x="610" y="5"/>
                  </a:lnTo>
                  <a:lnTo>
                    <a:pt x="611" y="5"/>
                  </a:lnTo>
                  <a:lnTo>
                    <a:pt x="613" y="5"/>
                  </a:lnTo>
                  <a:lnTo>
                    <a:pt x="615" y="5"/>
                  </a:lnTo>
                  <a:lnTo>
                    <a:pt x="622" y="4"/>
                  </a:lnTo>
                  <a:lnTo>
                    <a:pt x="625" y="3"/>
                  </a:lnTo>
                  <a:lnTo>
                    <a:pt x="627" y="3"/>
                  </a:lnTo>
                  <a:lnTo>
                    <a:pt x="630" y="3"/>
                  </a:lnTo>
                  <a:lnTo>
                    <a:pt x="635" y="4"/>
                  </a:lnTo>
                  <a:lnTo>
                    <a:pt x="643" y="5"/>
                  </a:lnTo>
                  <a:lnTo>
                    <a:pt x="645" y="5"/>
                  </a:lnTo>
                  <a:lnTo>
                    <a:pt x="647" y="6"/>
                  </a:lnTo>
                  <a:lnTo>
                    <a:pt x="652" y="7"/>
                  </a:lnTo>
                  <a:lnTo>
                    <a:pt x="655" y="8"/>
                  </a:lnTo>
                  <a:lnTo>
                    <a:pt x="658" y="9"/>
                  </a:lnTo>
                  <a:lnTo>
                    <a:pt x="661" y="11"/>
                  </a:lnTo>
                  <a:lnTo>
                    <a:pt x="668" y="13"/>
                  </a:lnTo>
                  <a:lnTo>
                    <a:pt x="685" y="22"/>
                  </a:lnTo>
                  <a:lnTo>
                    <a:pt x="690" y="24"/>
                  </a:lnTo>
                  <a:lnTo>
                    <a:pt x="694" y="26"/>
                  </a:lnTo>
                  <a:lnTo>
                    <a:pt x="698" y="28"/>
                  </a:lnTo>
                  <a:lnTo>
                    <a:pt x="702" y="29"/>
                  </a:lnTo>
                  <a:lnTo>
                    <a:pt x="707" y="31"/>
                  </a:lnTo>
                  <a:lnTo>
                    <a:pt x="711" y="32"/>
                  </a:lnTo>
                  <a:lnTo>
                    <a:pt x="714" y="33"/>
                  </a:lnTo>
                  <a:lnTo>
                    <a:pt x="718" y="33"/>
                  </a:lnTo>
                  <a:lnTo>
                    <a:pt x="722" y="33"/>
                  </a:lnTo>
                  <a:lnTo>
                    <a:pt x="725" y="33"/>
                  </a:lnTo>
                  <a:lnTo>
                    <a:pt x="729" y="33"/>
                  </a:lnTo>
                  <a:lnTo>
                    <a:pt x="730" y="33"/>
                  </a:lnTo>
                  <a:lnTo>
                    <a:pt x="730" y="33"/>
                  </a:lnTo>
                  <a:lnTo>
                    <a:pt x="728" y="35"/>
                  </a:lnTo>
                  <a:lnTo>
                    <a:pt x="727" y="37"/>
                  </a:lnTo>
                  <a:lnTo>
                    <a:pt x="726" y="40"/>
                  </a:lnTo>
                  <a:lnTo>
                    <a:pt x="725" y="43"/>
                  </a:lnTo>
                  <a:lnTo>
                    <a:pt x="725" y="50"/>
                  </a:lnTo>
                  <a:lnTo>
                    <a:pt x="724" y="52"/>
                  </a:lnTo>
                  <a:lnTo>
                    <a:pt x="724" y="53"/>
                  </a:lnTo>
                  <a:lnTo>
                    <a:pt x="723" y="54"/>
                  </a:lnTo>
                  <a:lnTo>
                    <a:pt x="722" y="56"/>
                  </a:lnTo>
                  <a:lnTo>
                    <a:pt x="721" y="56"/>
                  </a:lnTo>
                  <a:lnTo>
                    <a:pt x="720" y="57"/>
                  </a:lnTo>
                  <a:lnTo>
                    <a:pt x="718" y="57"/>
                  </a:lnTo>
                  <a:lnTo>
                    <a:pt x="717" y="58"/>
                  </a:lnTo>
                  <a:lnTo>
                    <a:pt x="715" y="58"/>
                  </a:lnTo>
                  <a:lnTo>
                    <a:pt x="713" y="58"/>
                  </a:lnTo>
                  <a:lnTo>
                    <a:pt x="711" y="57"/>
                  </a:lnTo>
                  <a:lnTo>
                    <a:pt x="702" y="56"/>
                  </a:lnTo>
                  <a:lnTo>
                    <a:pt x="693" y="55"/>
                  </a:lnTo>
                  <a:lnTo>
                    <a:pt x="691" y="55"/>
                  </a:lnTo>
                  <a:lnTo>
                    <a:pt x="690" y="55"/>
                  </a:lnTo>
                  <a:lnTo>
                    <a:pt x="690" y="55"/>
                  </a:lnTo>
                  <a:lnTo>
                    <a:pt x="689" y="56"/>
                  </a:lnTo>
                  <a:lnTo>
                    <a:pt x="688" y="57"/>
                  </a:lnTo>
                  <a:lnTo>
                    <a:pt x="687" y="59"/>
                  </a:lnTo>
                  <a:lnTo>
                    <a:pt x="687" y="61"/>
                  </a:lnTo>
                  <a:lnTo>
                    <a:pt x="686" y="64"/>
                  </a:lnTo>
                  <a:lnTo>
                    <a:pt x="686" y="66"/>
                  </a:lnTo>
                  <a:lnTo>
                    <a:pt x="686" y="68"/>
                  </a:lnTo>
                  <a:lnTo>
                    <a:pt x="687" y="76"/>
                  </a:lnTo>
                  <a:lnTo>
                    <a:pt x="687" y="79"/>
                  </a:lnTo>
                  <a:lnTo>
                    <a:pt x="687" y="80"/>
                  </a:lnTo>
                  <a:lnTo>
                    <a:pt x="687" y="87"/>
                  </a:lnTo>
                  <a:lnTo>
                    <a:pt x="687" y="90"/>
                  </a:lnTo>
                  <a:lnTo>
                    <a:pt x="687" y="91"/>
                  </a:lnTo>
                  <a:lnTo>
                    <a:pt x="687" y="92"/>
                  </a:lnTo>
                  <a:lnTo>
                    <a:pt x="688" y="94"/>
                  </a:lnTo>
                  <a:lnTo>
                    <a:pt x="688" y="95"/>
                  </a:lnTo>
                  <a:lnTo>
                    <a:pt x="689" y="96"/>
                  </a:lnTo>
                  <a:lnTo>
                    <a:pt x="690" y="97"/>
                  </a:lnTo>
                  <a:lnTo>
                    <a:pt x="691" y="97"/>
                  </a:lnTo>
                  <a:lnTo>
                    <a:pt x="693" y="98"/>
                  </a:lnTo>
                  <a:lnTo>
                    <a:pt x="700" y="100"/>
                  </a:lnTo>
                  <a:lnTo>
                    <a:pt x="708" y="102"/>
                  </a:lnTo>
                  <a:lnTo>
                    <a:pt x="718" y="105"/>
                  </a:lnTo>
                  <a:lnTo>
                    <a:pt x="723" y="106"/>
                  </a:lnTo>
                  <a:lnTo>
                    <a:pt x="728" y="107"/>
                  </a:lnTo>
                  <a:lnTo>
                    <a:pt x="732" y="108"/>
                  </a:lnTo>
                  <a:lnTo>
                    <a:pt x="736" y="108"/>
                  </a:lnTo>
                  <a:lnTo>
                    <a:pt x="742" y="110"/>
                  </a:lnTo>
                  <a:lnTo>
                    <a:pt x="743" y="110"/>
                  </a:lnTo>
                  <a:lnTo>
                    <a:pt x="745" y="111"/>
                  </a:lnTo>
                  <a:lnTo>
                    <a:pt x="746" y="111"/>
                  </a:lnTo>
                  <a:lnTo>
                    <a:pt x="746" y="112"/>
                  </a:lnTo>
                  <a:lnTo>
                    <a:pt x="746" y="113"/>
                  </a:lnTo>
                  <a:lnTo>
                    <a:pt x="745" y="113"/>
                  </a:lnTo>
                  <a:lnTo>
                    <a:pt x="745" y="113"/>
                  </a:lnTo>
                  <a:lnTo>
                    <a:pt x="741" y="115"/>
                  </a:lnTo>
                  <a:lnTo>
                    <a:pt x="740" y="117"/>
                  </a:lnTo>
                  <a:lnTo>
                    <a:pt x="738" y="118"/>
                  </a:lnTo>
                  <a:lnTo>
                    <a:pt x="736" y="120"/>
                  </a:lnTo>
                  <a:lnTo>
                    <a:pt x="735" y="123"/>
                  </a:lnTo>
                  <a:lnTo>
                    <a:pt x="732" y="128"/>
                  </a:lnTo>
                  <a:lnTo>
                    <a:pt x="731" y="131"/>
                  </a:lnTo>
                  <a:lnTo>
                    <a:pt x="726" y="138"/>
                  </a:lnTo>
                  <a:lnTo>
                    <a:pt x="725" y="141"/>
                  </a:lnTo>
                  <a:lnTo>
                    <a:pt x="724" y="144"/>
                  </a:lnTo>
                  <a:lnTo>
                    <a:pt x="723" y="147"/>
                  </a:lnTo>
                  <a:lnTo>
                    <a:pt x="723" y="152"/>
                  </a:lnTo>
                  <a:lnTo>
                    <a:pt x="723" y="155"/>
                  </a:lnTo>
                  <a:lnTo>
                    <a:pt x="723" y="158"/>
                  </a:lnTo>
                  <a:lnTo>
                    <a:pt x="724" y="163"/>
                  </a:lnTo>
                  <a:lnTo>
                    <a:pt x="724" y="167"/>
                  </a:lnTo>
                  <a:lnTo>
                    <a:pt x="725" y="175"/>
                  </a:lnTo>
                  <a:lnTo>
                    <a:pt x="729" y="185"/>
                  </a:lnTo>
                  <a:lnTo>
                    <a:pt x="730" y="191"/>
                  </a:lnTo>
                  <a:lnTo>
                    <a:pt x="732" y="195"/>
                  </a:lnTo>
                  <a:lnTo>
                    <a:pt x="733" y="196"/>
                  </a:lnTo>
                  <a:lnTo>
                    <a:pt x="734" y="199"/>
                  </a:lnTo>
                  <a:lnTo>
                    <a:pt x="736" y="202"/>
                  </a:lnTo>
                  <a:lnTo>
                    <a:pt x="741" y="208"/>
                  </a:lnTo>
                  <a:lnTo>
                    <a:pt x="743" y="211"/>
                  </a:lnTo>
                  <a:lnTo>
                    <a:pt x="745" y="215"/>
                  </a:lnTo>
                  <a:lnTo>
                    <a:pt x="746" y="217"/>
                  </a:lnTo>
                  <a:lnTo>
                    <a:pt x="747" y="221"/>
                  </a:lnTo>
                  <a:lnTo>
                    <a:pt x="747" y="223"/>
                  </a:lnTo>
                  <a:lnTo>
                    <a:pt x="747" y="224"/>
                  </a:lnTo>
                  <a:lnTo>
                    <a:pt x="747" y="226"/>
                  </a:lnTo>
                  <a:lnTo>
                    <a:pt x="747" y="226"/>
                  </a:lnTo>
                  <a:lnTo>
                    <a:pt x="747" y="227"/>
                  </a:lnTo>
                  <a:lnTo>
                    <a:pt x="746" y="229"/>
                  </a:lnTo>
                  <a:lnTo>
                    <a:pt x="745" y="230"/>
                  </a:lnTo>
                  <a:lnTo>
                    <a:pt x="739" y="235"/>
                  </a:lnTo>
                  <a:lnTo>
                    <a:pt x="737" y="237"/>
                  </a:lnTo>
                  <a:lnTo>
                    <a:pt x="736" y="238"/>
                  </a:lnTo>
                  <a:lnTo>
                    <a:pt x="736" y="239"/>
                  </a:lnTo>
                  <a:lnTo>
                    <a:pt x="735" y="241"/>
                  </a:lnTo>
                  <a:lnTo>
                    <a:pt x="735" y="243"/>
                  </a:lnTo>
                  <a:lnTo>
                    <a:pt x="734" y="245"/>
                  </a:lnTo>
                  <a:lnTo>
                    <a:pt x="734" y="247"/>
                  </a:lnTo>
                  <a:lnTo>
                    <a:pt x="734" y="249"/>
                  </a:lnTo>
                  <a:lnTo>
                    <a:pt x="734" y="250"/>
                  </a:lnTo>
                  <a:lnTo>
                    <a:pt x="735" y="251"/>
                  </a:lnTo>
                  <a:lnTo>
                    <a:pt x="735" y="253"/>
                  </a:lnTo>
                  <a:lnTo>
                    <a:pt x="736" y="254"/>
                  </a:lnTo>
                  <a:lnTo>
                    <a:pt x="737" y="257"/>
                  </a:lnTo>
                  <a:lnTo>
                    <a:pt x="740" y="260"/>
                  </a:lnTo>
                  <a:lnTo>
                    <a:pt x="742" y="261"/>
                  </a:lnTo>
                  <a:lnTo>
                    <a:pt x="743" y="263"/>
                  </a:lnTo>
                  <a:lnTo>
                    <a:pt x="747" y="267"/>
                  </a:lnTo>
                  <a:lnTo>
                    <a:pt x="757" y="272"/>
                  </a:lnTo>
                  <a:lnTo>
                    <a:pt x="761" y="275"/>
                  </a:lnTo>
                  <a:lnTo>
                    <a:pt x="765" y="277"/>
                  </a:lnTo>
                  <a:lnTo>
                    <a:pt x="769" y="279"/>
                  </a:lnTo>
                  <a:lnTo>
                    <a:pt x="772" y="280"/>
                  </a:lnTo>
                  <a:lnTo>
                    <a:pt x="775" y="281"/>
                  </a:lnTo>
                  <a:lnTo>
                    <a:pt x="778" y="281"/>
                  </a:lnTo>
                  <a:lnTo>
                    <a:pt x="780" y="280"/>
                  </a:lnTo>
                  <a:lnTo>
                    <a:pt x="781" y="280"/>
                  </a:lnTo>
                  <a:lnTo>
                    <a:pt x="784" y="278"/>
                  </a:lnTo>
                  <a:lnTo>
                    <a:pt x="787" y="276"/>
                  </a:lnTo>
                  <a:lnTo>
                    <a:pt x="790" y="273"/>
                  </a:lnTo>
                  <a:lnTo>
                    <a:pt x="793" y="270"/>
                  </a:lnTo>
                  <a:lnTo>
                    <a:pt x="796" y="267"/>
                  </a:lnTo>
                  <a:lnTo>
                    <a:pt x="798" y="265"/>
                  </a:lnTo>
                  <a:lnTo>
                    <a:pt x="800" y="262"/>
                  </a:lnTo>
                  <a:lnTo>
                    <a:pt x="802" y="260"/>
                  </a:lnTo>
                  <a:lnTo>
                    <a:pt x="804" y="256"/>
                  </a:lnTo>
                  <a:lnTo>
                    <a:pt x="806" y="249"/>
                  </a:lnTo>
                  <a:lnTo>
                    <a:pt x="808" y="244"/>
                  </a:lnTo>
                  <a:lnTo>
                    <a:pt x="811" y="240"/>
                  </a:lnTo>
                  <a:lnTo>
                    <a:pt x="814" y="236"/>
                  </a:lnTo>
                  <a:lnTo>
                    <a:pt x="815" y="234"/>
                  </a:lnTo>
                  <a:lnTo>
                    <a:pt x="815" y="232"/>
                  </a:lnTo>
                  <a:lnTo>
                    <a:pt x="815" y="231"/>
                  </a:lnTo>
                  <a:lnTo>
                    <a:pt x="815" y="229"/>
                  </a:lnTo>
                  <a:lnTo>
                    <a:pt x="815" y="227"/>
                  </a:lnTo>
                  <a:lnTo>
                    <a:pt x="815" y="226"/>
                  </a:lnTo>
                  <a:lnTo>
                    <a:pt x="815" y="224"/>
                  </a:lnTo>
                  <a:lnTo>
                    <a:pt x="815" y="221"/>
                  </a:lnTo>
                  <a:lnTo>
                    <a:pt x="814" y="219"/>
                  </a:lnTo>
                  <a:lnTo>
                    <a:pt x="813" y="216"/>
                  </a:lnTo>
                  <a:lnTo>
                    <a:pt x="809" y="212"/>
                  </a:lnTo>
                  <a:lnTo>
                    <a:pt x="808" y="210"/>
                  </a:lnTo>
                  <a:lnTo>
                    <a:pt x="808" y="208"/>
                  </a:lnTo>
                  <a:lnTo>
                    <a:pt x="806" y="203"/>
                  </a:lnTo>
                  <a:lnTo>
                    <a:pt x="805" y="202"/>
                  </a:lnTo>
                  <a:lnTo>
                    <a:pt x="804" y="200"/>
                  </a:lnTo>
                  <a:lnTo>
                    <a:pt x="804" y="198"/>
                  </a:lnTo>
                  <a:lnTo>
                    <a:pt x="802" y="196"/>
                  </a:lnTo>
                  <a:lnTo>
                    <a:pt x="789" y="184"/>
                  </a:lnTo>
                  <a:lnTo>
                    <a:pt x="788" y="183"/>
                  </a:lnTo>
                  <a:lnTo>
                    <a:pt x="787" y="181"/>
                  </a:lnTo>
                  <a:lnTo>
                    <a:pt x="786" y="181"/>
                  </a:lnTo>
                  <a:lnTo>
                    <a:pt x="785" y="179"/>
                  </a:lnTo>
                  <a:lnTo>
                    <a:pt x="784" y="177"/>
                  </a:lnTo>
                  <a:lnTo>
                    <a:pt x="783" y="175"/>
                  </a:lnTo>
                  <a:lnTo>
                    <a:pt x="782" y="174"/>
                  </a:lnTo>
                  <a:lnTo>
                    <a:pt x="782" y="173"/>
                  </a:lnTo>
                  <a:lnTo>
                    <a:pt x="782" y="172"/>
                  </a:lnTo>
                  <a:lnTo>
                    <a:pt x="783" y="172"/>
                  </a:lnTo>
                  <a:lnTo>
                    <a:pt x="783" y="171"/>
                  </a:lnTo>
                  <a:lnTo>
                    <a:pt x="784" y="170"/>
                  </a:lnTo>
                  <a:lnTo>
                    <a:pt x="788" y="166"/>
                  </a:lnTo>
                  <a:lnTo>
                    <a:pt x="792" y="162"/>
                  </a:lnTo>
                  <a:lnTo>
                    <a:pt x="794" y="160"/>
                  </a:lnTo>
                  <a:lnTo>
                    <a:pt x="798" y="158"/>
                  </a:lnTo>
                  <a:lnTo>
                    <a:pt x="803" y="156"/>
                  </a:lnTo>
                  <a:lnTo>
                    <a:pt x="806" y="154"/>
                  </a:lnTo>
                  <a:lnTo>
                    <a:pt x="811" y="153"/>
                  </a:lnTo>
                  <a:lnTo>
                    <a:pt x="813" y="152"/>
                  </a:lnTo>
                  <a:lnTo>
                    <a:pt x="816" y="152"/>
                  </a:lnTo>
                  <a:lnTo>
                    <a:pt x="818" y="152"/>
                  </a:lnTo>
                  <a:lnTo>
                    <a:pt x="821" y="152"/>
                  </a:lnTo>
                  <a:lnTo>
                    <a:pt x="825" y="153"/>
                  </a:lnTo>
                  <a:lnTo>
                    <a:pt x="832" y="156"/>
                  </a:lnTo>
                  <a:lnTo>
                    <a:pt x="837" y="157"/>
                  </a:lnTo>
                  <a:lnTo>
                    <a:pt x="838" y="158"/>
                  </a:lnTo>
                  <a:lnTo>
                    <a:pt x="839" y="158"/>
                  </a:lnTo>
                  <a:lnTo>
                    <a:pt x="841" y="159"/>
                  </a:lnTo>
                  <a:lnTo>
                    <a:pt x="843" y="160"/>
                  </a:lnTo>
                  <a:lnTo>
                    <a:pt x="845" y="163"/>
                  </a:lnTo>
                  <a:lnTo>
                    <a:pt x="848" y="166"/>
                  </a:lnTo>
                  <a:lnTo>
                    <a:pt x="850" y="169"/>
                  </a:lnTo>
                  <a:lnTo>
                    <a:pt x="850" y="170"/>
                  </a:lnTo>
                  <a:lnTo>
                    <a:pt x="853" y="175"/>
                  </a:lnTo>
                  <a:lnTo>
                    <a:pt x="855" y="179"/>
                  </a:lnTo>
                  <a:lnTo>
                    <a:pt x="857" y="181"/>
                  </a:lnTo>
                  <a:lnTo>
                    <a:pt x="861" y="185"/>
                  </a:lnTo>
                  <a:lnTo>
                    <a:pt x="862" y="187"/>
                  </a:lnTo>
                  <a:lnTo>
                    <a:pt x="863" y="189"/>
                  </a:lnTo>
                  <a:lnTo>
                    <a:pt x="865" y="192"/>
                  </a:lnTo>
                  <a:lnTo>
                    <a:pt x="866" y="194"/>
                  </a:lnTo>
                  <a:lnTo>
                    <a:pt x="868" y="195"/>
                  </a:lnTo>
                  <a:lnTo>
                    <a:pt x="870" y="199"/>
                  </a:lnTo>
                  <a:lnTo>
                    <a:pt x="872" y="201"/>
                  </a:lnTo>
                  <a:lnTo>
                    <a:pt x="872" y="203"/>
                  </a:lnTo>
                  <a:lnTo>
                    <a:pt x="874" y="206"/>
                  </a:lnTo>
                  <a:lnTo>
                    <a:pt x="876" y="213"/>
                  </a:lnTo>
                  <a:lnTo>
                    <a:pt x="879" y="221"/>
                  </a:lnTo>
                  <a:lnTo>
                    <a:pt x="881" y="228"/>
                  </a:lnTo>
                  <a:lnTo>
                    <a:pt x="882" y="231"/>
                  </a:lnTo>
                  <a:lnTo>
                    <a:pt x="883" y="233"/>
                  </a:lnTo>
                  <a:lnTo>
                    <a:pt x="884" y="235"/>
                  </a:lnTo>
                  <a:lnTo>
                    <a:pt x="885" y="237"/>
                  </a:lnTo>
                  <a:lnTo>
                    <a:pt x="887" y="238"/>
                  </a:lnTo>
                  <a:lnTo>
                    <a:pt x="892" y="243"/>
                  </a:lnTo>
                  <a:lnTo>
                    <a:pt x="893" y="244"/>
                  </a:lnTo>
                  <a:lnTo>
                    <a:pt x="894" y="246"/>
                  </a:lnTo>
                  <a:lnTo>
                    <a:pt x="895" y="247"/>
                  </a:lnTo>
                  <a:lnTo>
                    <a:pt x="895" y="249"/>
                  </a:lnTo>
                  <a:lnTo>
                    <a:pt x="899" y="255"/>
                  </a:lnTo>
                  <a:lnTo>
                    <a:pt x="900" y="257"/>
                  </a:lnTo>
                  <a:lnTo>
                    <a:pt x="901" y="259"/>
                  </a:lnTo>
                  <a:lnTo>
                    <a:pt x="904" y="261"/>
                  </a:lnTo>
                  <a:lnTo>
                    <a:pt x="906" y="264"/>
                  </a:lnTo>
                  <a:lnTo>
                    <a:pt x="907" y="267"/>
                  </a:lnTo>
                  <a:lnTo>
                    <a:pt x="909" y="268"/>
                  </a:lnTo>
                  <a:lnTo>
                    <a:pt x="910" y="270"/>
                  </a:lnTo>
                  <a:lnTo>
                    <a:pt x="912" y="271"/>
                  </a:lnTo>
                  <a:lnTo>
                    <a:pt x="913" y="271"/>
                  </a:lnTo>
                  <a:lnTo>
                    <a:pt x="914" y="271"/>
                  </a:lnTo>
                  <a:lnTo>
                    <a:pt x="915" y="271"/>
                  </a:lnTo>
                  <a:lnTo>
                    <a:pt x="916" y="271"/>
                  </a:lnTo>
                  <a:lnTo>
                    <a:pt x="918" y="271"/>
                  </a:lnTo>
                  <a:lnTo>
                    <a:pt x="918" y="271"/>
                  </a:lnTo>
                  <a:lnTo>
                    <a:pt x="919" y="270"/>
                  </a:lnTo>
                  <a:lnTo>
                    <a:pt x="921" y="269"/>
                  </a:lnTo>
                  <a:lnTo>
                    <a:pt x="923" y="265"/>
                  </a:lnTo>
                  <a:lnTo>
                    <a:pt x="924" y="263"/>
                  </a:lnTo>
                  <a:lnTo>
                    <a:pt x="925" y="262"/>
                  </a:lnTo>
                  <a:lnTo>
                    <a:pt x="926" y="262"/>
                  </a:lnTo>
                  <a:lnTo>
                    <a:pt x="927" y="263"/>
                  </a:lnTo>
                  <a:lnTo>
                    <a:pt x="928" y="264"/>
                  </a:lnTo>
                  <a:lnTo>
                    <a:pt x="928" y="265"/>
                  </a:lnTo>
                  <a:lnTo>
                    <a:pt x="929" y="266"/>
                  </a:lnTo>
                  <a:lnTo>
                    <a:pt x="929" y="270"/>
                  </a:lnTo>
                  <a:lnTo>
                    <a:pt x="929" y="272"/>
                  </a:lnTo>
                  <a:lnTo>
                    <a:pt x="929" y="276"/>
                  </a:lnTo>
                  <a:lnTo>
                    <a:pt x="929" y="280"/>
                  </a:lnTo>
                  <a:lnTo>
                    <a:pt x="929" y="284"/>
                  </a:lnTo>
                  <a:lnTo>
                    <a:pt x="928" y="287"/>
                  </a:lnTo>
                  <a:lnTo>
                    <a:pt x="926" y="296"/>
                  </a:lnTo>
                  <a:lnTo>
                    <a:pt x="924" y="303"/>
                  </a:lnTo>
                  <a:lnTo>
                    <a:pt x="923" y="308"/>
                  </a:lnTo>
                  <a:lnTo>
                    <a:pt x="923" y="310"/>
                  </a:lnTo>
                  <a:lnTo>
                    <a:pt x="923" y="311"/>
                  </a:lnTo>
                  <a:lnTo>
                    <a:pt x="924" y="312"/>
                  </a:lnTo>
                  <a:lnTo>
                    <a:pt x="924" y="313"/>
                  </a:lnTo>
                  <a:lnTo>
                    <a:pt x="925" y="314"/>
                  </a:lnTo>
                  <a:lnTo>
                    <a:pt x="926" y="316"/>
                  </a:lnTo>
                  <a:lnTo>
                    <a:pt x="928" y="317"/>
                  </a:lnTo>
                  <a:lnTo>
                    <a:pt x="929" y="317"/>
                  </a:lnTo>
                  <a:lnTo>
                    <a:pt x="932" y="319"/>
                  </a:lnTo>
                  <a:lnTo>
                    <a:pt x="937" y="322"/>
                  </a:lnTo>
                  <a:lnTo>
                    <a:pt x="941" y="324"/>
                  </a:lnTo>
                  <a:lnTo>
                    <a:pt x="946" y="326"/>
                  </a:lnTo>
                  <a:lnTo>
                    <a:pt x="950" y="328"/>
                  </a:lnTo>
                  <a:lnTo>
                    <a:pt x="957" y="330"/>
                  </a:lnTo>
                  <a:lnTo>
                    <a:pt x="964" y="332"/>
                  </a:lnTo>
                  <a:lnTo>
                    <a:pt x="968" y="334"/>
                  </a:lnTo>
                  <a:lnTo>
                    <a:pt x="973" y="336"/>
                  </a:lnTo>
                  <a:lnTo>
                    <a:pt x="976" y="338"/>
                  </a:lnTo>
                  <a:lnTo>
                    <a:pt x="979" y="339"/>
                  </a:lnTo>
                  <a:lnTo>
                    <a:pt x="983" y="342"/>
                  </a:lnTo>
                  <a:lnTo>
                    <a:pt x="990" y="348"/>
                  </a:lnTo>
                  <a:lnTo>
                    <a:pt x="993" y="351"/>
                  </a:lnTo>
                  <a:lnTo>
                    <a:pt x="994" y="351"/>
                  </a:lnTo>
                  <a:lnTo>
                    <a:pt x="995" y="353"/>
                  </a:lnTo>
                  <a:lnTo>
                    <a:pt x="996" y="355"/>
                  </a:lnTo>
                  <a:lnTo>
                    <a:pt x="997" y="358"/>
                  </a:lnTo>
                  <a:lnTo>
                    <a:pt x="997" y="361"/>
                  </a:lnTo>
                  <a:lnTo>
                    <a:pt x="1002" y="374"/>
                  </a:lnTo>
                  <a:lnTo>
                    <a:pt x="1004" y="380"/>
                  </a:lnTo>
                  <a:lnTo>
                    <a:pt x="1005" y="384"/>
                  </a:lnTo>
                  <a:lnTo>
                    <a:pt x="1009" y="393"/>
                  </a:lnTo>
                  <a:lnTo>
                    <a:pt x="1013" y="405"/>
                  </a:lnTo>
                  <a:lnTo>
                    <a:pt x="1015" y="407"/>
                  </a:lnTo>
                  <a:lnTo>
                    <a:pt x="1015" y="408"/>
                  </a:lnTo>
                  <a:lnTo>
                    <a:pt x="1006" y="425"/>
                  </a:lnTo>
                  <a:lnTo>
                    <a:pt x="1003" y="430"/>
                  </a:lnTo>
                  <a:lnTo>
                    <a:pt x="1002" y="434"/>
                  </a:lnTo>
                  <a:lnTo>
                    <a:pt x="1001" y="437"/>
                  </a:lnTo>
                  <a:lnTo>
                    <a:pt x="1000" y="439"/>
                  </a:lnTo>
                  <a:lnTo>
                    <a:pt x="999" y="441"/>
                  </a:lnTo>
                  <a:lnTo>
                    <a:pt x="999" y="445"/>
                  </a:lnTo>
                  <a:lnTo>
                    <a:pt x="999" y="448"/>
                  </a:lnTo>
                  <a:lnTo>
                    <a:pt x="1000" y="451"/>
                  </a:lnTo>
                  <a:lnTo>
                    <a:pt x="1001" y="458"/>
                  </a:lnTo>
                  <a:lnTo>
                    <a:pt x="1002" y="462"/>
                  </a:lnTo>
                  <a:lnTo>
                    <a:pt x="1003" y="465"/>
                  </a:lnTo>
                  <a:lnTo>
                    <a:pt x="1003" y="475"/>
                  </a:lnTo>
                  <a:lnTo>
                    <a:pt x="1004" y="477"/>
                  </a:lnTo>
                  <a:lnTo>
                    <a:pt x="1004" y="480"/>
                  </a:lnTo>
                  <a:lnTo>
                    <a:pt x="1005" y="483"/>
                  </a:lnTo>
                  <a:lnTo>
                    <a:pt x="1007" y="487"/>
                  </a:lnTo>
                  <a:lnTo>
                    <a:pt x="1011" y="498"/>
                  </a:lnTo>
                  <a:lnTo>
                    <a:pt x="1014" y="505"/>
                  </a:lnTo>
                  <a:lnTo>
                    <a:pt x="1015" y="508"/>
                  </a:lnTo>
                  <a:lnTo>
                    <a:pt x="1015" y="509"/>
                  </a:lnTo>
                  <a:lnTo>
                    <a:pt x="1016" y="511"/>
                  </a:lnTo>
                  <a:lnTo>
                    <a:pt x="1016" y="513"/>
                  </a:lnTo>
                  <a:lnTo>
                    <a:pt x="1015" y="518"/>
                  </a:lnTo>
                  <a:lnTo>
                    <a:pt x="1015" y="520"/>
                  </a:lnTo>
                  <a:lnTo>
                    <a:pt x="1016" y="521"/>
                  </a:lnTo>
                  <a:lnTo>
                    <a:pt x="1016" y="522"/>
                  </a:lnTo>
                  <a:lnTo>
                    <a:pt x="1017" y="523"/>
                  </a:lnTo>
                  <a:lnTo>
                    <a:pt x="1018" y="524"/>
                  </a:lnTo>
                  <a:lnTo>
                    <a:pt x="1019" y="524"/>
                  </a:lnTo>
                  <a:lnTo>
                    <a:pt x="1020" y="524"/>
                  </a:lnTo>
                  <a:lnTo>
                    <a:pt x="1022" y="525"/>
                  </a:lnTo>
                  <a:lnTo>
                    <a:pt x="1026" y="525"/>
                  </a:lnTo>
                  <a:lnTo>
                    <a:pt x="1032" y="525"/>
                  </a:lnTo>
                  <a:lnTo>
                    <a:pt x="1035" y="524"/>
                  </a:lnTo>
                  <a:lnTo>
                    <a:pt x="1039" y="524"/>
                  </a:lnTo>
                  <a:lnTo>
                    <a:pt x="1041" y="524"/>
                  </a:lnTo>
                  <a:lnTo>
                    <a:pt x="1043" y="524"/>
                  </a:lnTo>
                  <a:lnTo>
                    <a:pt x="1043" y="524"/>
                  </a:lnTo>
                  <a:lnTo>
                    <a:pt x="1045" y="525"/>
                  </a:lnTo>
                  <a:lnTo>
                    <a:pt x="1046" y="526"/>
                  </a:lnTo>
                  <a:lnTo>
                    <a:pt x="1046" y="528"/>
                  </a:lnTo>
                  <a:lnTo>
                    <a:pt x="1047" y="530"/>
                  </a:lnTo>
                  <a:lnTo>
                    <a:pt x="1048" y="532"/>
                  </a:lnTo>
                  <a:lnTo>
                    <a:pt x="1048" y="533"/>
                  </a:lnTo>
                  <a:lnTo>
                    <a:pt x="1048" y="536"/>
                  </a:lnTo>
                  <a:lnTo>
                    <a:pt x="1047" y="539"/>
                  </a:lnTo>
                  <a:lnTo>
                    <a:pt x="1047" y="542"/>
                  </a:lnTo>
                  <a:lnTo>
                    <a:pt x="1046" y="544"/>
                  </a:lnTo>
                  <a:lnTo>
                    <a:pt x="1045" y="548"/>
                  </a:lnTo>
                  <a:lnTo>
                    <a:pt x="1044" y="552"/>
                  </a:lnTo>
                  <a:lnTo>
                    <a:pt x="1043" y="555"/>
                  </a:lnTo>
                  <a:lnTo>
                    <a:pt x="1042" y="558"/>
                  </a:lnTo>
                  <a:lnTo>
                    <a:pt x="1041" y="561"/>
                  </a:lnTo>
                  <a:lnTo>
                    <a:pt x="1039" y="563"/>
                  </a:lnTo>
                  <a:lnTo>
                    <a:pt x="1038" y="565"/>
                  </a:lnTo>
                  <a:lnTo>
                    <a:pt x="1036" y="566"/>
                  </a:lnTo>
                  <a:lnTo>
                    <a:pt x="1033" y="568"/>
                  </a:lnTo>
                  <a:lnTo>
                    <a:pt x="1027" y="573"/>
                  </a:lnTo>
                  <a:lnTo>
                    <a:pt x="1021" y="577"/>
                  </a:lnTo>
                  <a:lnTo>
                    <a:pt x="1020" y="578"/>
                  </a:lnTo>
                  <a:lnTo>
                    <a:pt x="1017" y="579"/>
                  </a:lnTo>
                  <a:lnTo>
                    <a:pt x="1016" y="581"/>
                  </a:lnTo>
                  <a:lnTo>
                    <a:pt x="1013" y="584"/>
                  </a:lnTo>
                  <a:lnTo>
                    <a:pt x="1011" y="588"/>
                  </a:lnTo>
                  <a:lnTo>
                    <a:pt x="1009" y="590"/>
                  </a:lnTo>
                  <a:lnTo>
                    <a:pt x="1005" y="600"/>
                  </a:lnTo>
                  <a:lnTo>
                    <a:pt x="1003" y="604"/>
                  </a:lnTo>
                  <a:lnTo>
                    <a:pt x="1001" y="607"/>
                  </a:lnTo>
                  <a:lnTo>
                    <a:pt x="999" y="609"/>
                  </a:lnTo>
                  <a:lnTo>
                    <a:pt x="997" y="611"/>
                  </a:lnTo>
                  <a:lnTo>
                    <a:pt x="997" y="611"/>
                  </a:lnTo>
                  <a:lnTo>
                    <a:pt x="993" y="614"/>
                  </a:lnTo>
                  <a:lnTo>
                    <a:pt x="991" y="616"/>
                  </a:lnTo>
                  <a:lnTo>
                    <a:pt x="990" y="617"/>
                  </a:lnTo>
                  <a:lnTo>
                    <a:pt x="989" y="619"/>
                  </a:lnTo>
                  <a:lnTo>
                    <a:pt x="988" y="621"/>
                  </a:lnTo>
                  <a:lnTo>
                    <a:pt x="987" y="623"/>
                  </a:lnTo>
                  <a:lnTo>
                    <a:pt x="987" y="625"/>
                  </a:lnTo>
                  <a:lnTo>
                    <a:pt x="987" y="628"/>
                  </a:lnTo>
                  <a:lnTo>
                    <a:pt x="987" y="632"/>
                  </a:lnTo>
                  <a:lnTo>
                    <a:pt x="988" y="635"/>
                  </a:lnTo>
                  <a:lnTo>
                    <a:pt x="989" y="637"/>
                  </a:lnTo>
                  <a:lnTo>
                    <a:pt x="989" y="639"/>
                  </a:lnTo>
                  <a:lnTo>
                    <a:pt x="990" y="639"/>
                  </a:lnTo>
                  <a:lnTo>
                    <a:pt x="991" y="641"/>
                  </a:lnTo>
                  <a:lnTo>
                    <a:pt x="993" y="642"/>
                  </a:lnTo>
                  <a:lnTo>
                    <a:pt x="995" y="642"/>
                  </a:lnTo>
                  <a:lnTo>
                    <a:pt x="997" y="643"/>
                  </a:lnTo>
                  <a:lnTo>
                    <a:pt x="998" y="643"/>
                  </a:lnTo>
                  <a:lnTo>
                    <a:pt x="1001" y="643"/>
                  </a:lnTo>
                  <a:lnTo>
                    <a:pt x="1004" y="643"/>
                  </a:lnTo>
                  <a:lnTo>
                    <a:pt x="1007" y="643"/>
                  </a:lnTo>
                  <a:lnTo>
                    <a:pt x="1010" y="642"/>
                  </a:lnTo>
                  <a:lnTo>
                    <a:pt x="1014" y="641"/>
                  </a:lnTo>
                  <a:lnTo>
                    <a:pt x="1020" y="639"/>
                  </a:lnTo>
                  <a:lnTo>
                    <a:pt x="1037" y="633"/>
                  </a:lnTo>
                  <a:lnTo>
                    <a:pt x="1043" y="631"/>
                  </a:lnTo>
                  <a:lnTo>
                    <a:pt x="1046" y="630"/>
                  </a:lnTo>
                  <a:lnTo>
                    <a:pt x="1048" y="629"/>
                  </a:lnTo>
                  <a:lnTo>
                    <a:pt x="1051" y="629"/>
                  </a:lnTo>
                  <a:lnTo>
                    <a:pt x="1054" y="629"/>
                  </a:lnTo>
                  <a:lnTo>
                    <a:pt x="1056" y="629"/>
                  </a:lnTo>
                  <a:lnTo>
                    <a:pt x="1057" y="629"/>
                  </a:lnTo>
                  <a:lnTo>
                    <a:pt x="1058" y="630"/>
                  </a:lnTo>
                  <a:lnTo>
                    <a:pt x="1060" y="631"/>
                  </a:lnTo>
                  <a:lnTo>
                    <a:pt x="1061" y="632"/>
                  </a:lnTo>
                  <a:lnTo>
                    <a:pt x="1064" y="634"/>
                  </a:lnTo>
                  <a:lnTo>
                    <a:pt x="1065" y="635"/>
                  </a:lnTo>
                  <a:lnTo>
                    <a:pt x="1067" y="640"/>
                  </a:lnTo>
                  <a:lnTo>
                    <a:pt x="1070" y="645"/>
                  </a:lnTo>
                  <a:lnTo>
                    <a:pt x="1072" y="647"/>
                  </a:lnTo>
                  <a:lnTo>
                    <a:pt x="1073" y="650"/>
                  </a:lnTo>
                  <a:lnTo>
                    <a:pt x="1074" y="653"/>
                  </a:lnTo>
                  <a:lnTo>
                    <a:pt x="1074" y="656"/>
                  </a:lnTo>
                  <a:lnTo>
                    <a:pt x="1075" y="658"/>
                  </a:lnTo>
                  <a:lnTo>
                    <a:pt x="1075" y="661"/>
                  </a:lnTo>
                  <a:lnTo>
                    <a:pt x="1075" y="666"/>
                  </a:lnTo>
                  <a:lnTo>
                    <a:pt x="1074" y="675"/>
                  </a:lnTo>
                  <a:lnTo>
                    <a:pt x="1074" y="679"/>
                  </a:lnTo>
                  <a:lnTo>
                    <a:pt x="1074" y="679"/>
                  </a:lnTo>
                  <a:lnTo>
                    <a:pt x="1075" y="681"/>
                  </a:lnTo>
                  <a:lnTo>
                    <a:pt x="1075" y="683"/>
                  </a:lnTo>
                  <a:lnTo>
                    <a:pt x="1076" y="684"/>
                  </a:lnTo>
                  <a:lnTo>
                    <a:pt x="1076" y="685"/>
                  </a:lnTo>
                  <a:lnTo>
                    <a:pt x="1077" y="686"/>
                  </a:lnTo>
                  <a:lnTo>
                    <a:pt x="1078" y="687"/>
                  </a:lnTo>
                  <a:lnTo>
                    <a:pt x="1085" y="688"/>
                  </a:lnTo>
                  <a:lnTo>
                    <a:pt x="1088" y="689"/>
                  </a:lnTo>
                  <a:lnTo>
                    <a:pt x="1090" y="690"/>
                  </a:lnTo>
                  <a:lnTo>
                    <a:pt x="1092" y="691"/>
                  </a:lnTo>
                  <a:lnTo>
                    <a:pt x="1096" y="692"/>
                  </a:lnTo>
                  <a:lnTo>
                    <a:pt x="1100" y="694"/>
                  </a:lnTo>
                  <a:lnTo>
                    <a:pt x="1102" y="695"/>
                  </a:lnTo>
                  <a:lnTo>
                    <a:pt x="1105" y="697"/>
                  </a:lnTo>
                  <a:lnTo>
                    <a:pt x="1107" y="699"/>
                  </a:lnTo>
                  <a:lnTo>
                    <a:pt x="1110" y="702"/>
                  </a:lnTo>
                  <a:lnTo>
                    <a:pt x="1113" y="705"/>
                  </a:lnTo>
                  <a:lnTo>
                    <a:pt x="1115" y="706"/>
                  </a:lnTo>
                  <a:lnTo>
                    <a:pt x="1117" y="708"/>
                  </a:lnTo>
                  <a:lnTo>
                    <a:pt x="1119" y="709"/>
                  </a:lnTo>
                  <a:lnTo>
                    <a:pt x="1121" y="709"/>
                  </a:lnTo>
                  <a:lnTo>
                    <a:pt x="1123" y="710"/>
                  </a:lnTo>
                  <a:lnTo>
                    <a:pt x="1138" y="712"/>
                  </a:lnTo>
                  <a:lnTo>
                    <a:pt x="1145" y="713"/>
                  </a:lnTo>
                  <a:lnTo>
                    <a:pt x="1157" y="714"/>
                  </a:lnTo>
                  <a:lnTo>
                    <a:pt x="1159" y="715"/>
                  </a:lnTo>
                  <a:lnTo>
                    <a:pt x="1162" y="716"/>
                  </a:lnTo>
                  <a:lnTo>
                    <a:pt x="1165" y="717"/>
                  </a:lnTo>
                  <a:lnTo>
                    <a:pt x="1167" y="718"/>
                  </a:lnTo>
                  <a:lnTo>
                    <a:pt x="1170" y="721"/>
                  </a:lnTo>
                  <a:lnTo>
                    <a:pt x="1172" y="723"/>
                  </a:lnTo>
                  <a:lnTo>
                    <a:pt x="1174" y="725"/>
                  </a:lnTo>
                  <a:lnTo>
                    <a:pt x="1175" y="725"/>
                  </a:lnTo>
                  <a:lnTo>
                    <a:pt x="1176" y="726"/>
                  </a:lnTo>
                  <a:lnTo>
                    <a:pt x="1177" y="729"/>
                  </a:lnTo>
                  <a:lnTo>
                    <a:pt x="1178" y="733"/>
                  </a:lnTo>
                  <a:lnTo>
                    <a:pt x="1178" y="736"/>
                  </a:lnTo>
                  <a:lnTo>
                    <a:pt x="1179" y="744"/>
                  </a:lnTo>
                  <a:lnTo>
                    <a:pt x="1179" y="746"/>
                  </a:lnTo>
                  <a:lnTo>
                    <a:pt x="1179" y="747"/>
                  </a:lnTo>
                  <a:lnTo>
                    <a:pt x="1180" y="748"/>
                  </a:lnTo>
                  <a:lnTo>
                    <a:pt x="1180" y="750"/>
                  </a:lnTo>
                  <a:lnTo>
                    <a:pt x="1182" y="751"/>
                  </a:lnTo>
                  <a:lnTo>
                    <a:pt x="1183" y="752"/>
                  </a:lnTo>
                  <a:lnTo>
                    <a:pt x="1185" y="753"/>
                  </a:lnTo>
                  <a:lnTo>
                    <a:pt x="1186" y="753"/>
                  </a:lnTo>
                  <a:lnTo>
                    <a:pt x="1189" y="754"/>
                  </a:lnTo>
                  <a:lnTo>
                    <a:pt x="1192" y="755"/>
                  </a:lnTo>
                  <a:lnTo>
                    <a:pt x="1198" y="755"/>
                  </a:lnTo>
                  <a:lnTo>
                    <a:pt x="1201" y="756"/>
                  </a:lnTo>
                  <a:lnTo>
                    <a:pt x="1203" y="757"/>
                  </a:lnTo>
                  <a:lnTo>
                    <a:pt x="1206" y="758"/>
                  </a:lnTo>
                  <a:lnTo>
                    <a:pt x="1208" y="759"/>
                  </a:lnTo>
                  <a:lnTo>
                    <a:pt x="1210" y="759"/>
                  </a:lnTo>
                  <a:lnTo>
                    <a:pt x="1224" y="770"/>
                  </a:lnTo>
                  <a:lnTo>
                    <a:pt x="1227" y="773"/>
                  </a:lnTo>
                  <a:lnTo>
                    <a:pt x="1231" y="775"/>
                  </a:lnTo>
                  <a:lnTo>
                    <a:pt x="1234" y="776"/>
                  </a:lnTo>
                  <a:lnTo>
                    <a:pt x="1236" y="777"/>
                  </a:lnTo>
                  <a:lnTo>
                    <a:pt x="1239" y="778"/>
                  </a:lnTo>
                  <a:lnTo>
                    <a:pt x="1241" y="779"/>
                  </a:lnTo>
                  <a:lnTo>
                    <a:pt x="1243" y="779"/>
                  </a:lnTo>
                  <a:lnTo>
                    <a:pt x="1245" y="779"/>
                  </a:lnTo>
                  <a:lnTo>
                    <a:pt x="1247" y="778"/>
                  </a:lnTo>
                  <a:lnTo>
                    <a:pt x="1251" y="778"/>
                  </a:lnTo>
                  <a:lnTo>
                    <a:pt x="1260" y="775"/>
                  </a:lnTo>
                  <a:lnTo>
                    <a:pt x="1265" y="774"/>
                  </a:lnTo>
                  <a:lnTo>
                    <a:pt x="1269" y="774"/>
                  </a:lnTo>
                  <a:lnTo>
                    <a:pt x="1275" y="773"/>
                  </a:lnTo>
                  <a:lnTo>
                    <a:pt x="1286" y="772"/>
                  </a:lnTo>
                  <a:lnTo>
                    <a:pt x="1288" y="772"/>
                  </a:lnTo>
                  <a:lnTo>
                    <a:pt x="1289" y="772"/>
                  </a:lnTo>
                  <a:lnTo>
                    <a:pt x="1290" y="772"/>
                  </a:lnTo>
                  <a:lnTo>
                    <a:pt x="1292" y="772"/>
                  </a:lnTo>
                  <a:lnTo>
                    <a:pt x="1294" y="773"/>
                  </a:lnTo>
                  <a:lnTo>
                    <a:pt x="1301" y="776"/>
                  </a:lnTo>
                  <a:lnTo>
                    <a:pt x="1307" y="778"/>
                  </a:lnTo>
                  <a:lnTo>
                    <a:pt x="1309" y="779"/>
                  </a:lnTo>
                  <a:lnTo>
                    <a:pt x="1312" y="781"/>
                  </a:lnTo>
                  <a:lnTo>
                    <a:pt x="1315" y="781"/>
                  </a:lnTo>
                  <a:lnTo>
                    <a:pt x="1318" y="784"/>
                  </a:lnTo>
                  <a:lnTo>
                    <a:pt x="1321" y="786"/>
                  </a:lnTo>
                  <a:lnTo>
                    <a:pt x="1322" y="787"/>
                  </a:lnTo>
                  <a:lnTo>
                    <a:pt x="1323" y="789"/>
                  </a:lnTo>
                  <a:lnTo>
                    <a:pt x="1324" y="790"/>
                  </a:lnTo>
                  <a:lnTo>
                    <a:pt x="1325" y="792"/>
                  </a:lnTo>
                  <a:lnTo>
                    <a:pt x="1325" y="793"/>
                  </a:lnTo>
                  <a:lnTo>
                    <a:pt x="1326" y="794"/>
                  </a:lnTo>
                  <a:lnTo>
                    <a:pt x="1326" y="796"/>
                  </a:lnTo>
                  <a:lnTo>
                    <a:pt x="1327" y="799"/>
                  </a:lnTo>
                  <a:lnTo>
                    <a:pt x="1327" y="805"/>
                  </a:lnTo>
                  <a:lnTo>
                    <a:pt x="1327" y="807"/>
                  </a:lnTo>
                  <a:lnTo>
                    <a:pt x="1328" y="809"/>
                  </a:lnTo>
                  <a:lnTo>
                    <a:pt x="1328" y="811"/>
                  </a:lnTo>
                  <a:lnTo>
                    <a:pt x="1329" y="812"/>
                  </a:lnTo>
                  <a:lnTo>
                    <a:pt x="1330" y="814"/>
                  </a:lnTo>
                  <a:lnTo>
                    <a:pt x="1331" y="815"/>
                  </a:lnTo>
                  <a:lnTo>
                    <a:pt x="1333" y="815"/>
                  </a:lnTo>
                  <a:lnTo>
                    <a:pt x="1335" y="816"/>
                  </a:lnTo>
                  <a:lnTo>
                    <a:pt x="1337" y="817"/>
                  </a:lnTo>
                  <a:lnTo>
                    <a:pt x="1341" y="819"/>
                  </a:lnTo>
                  <a:lnTo>
                    <a:pt x="1346" y="821"/>
                  </a:lnTo>
                  <a:lnTo>
                    <a:pt x="1362" y="829"/>
                  </a:lnTo>
                  <a:lnTo>
                    <a:pt x="1365" y="831"/>
                  </a:lnTo>
                  <a:lnTo>
                    <a:pt x="1369" y="833"/>
                  </a:lnTo>
                  <a:lnTo>
                    <a:pt x="1372" y="835"/>
                  </a:lnTo>
                  <a:lnTo>
                    <a:pt x="1374" y="838"/>
                  </a:lnTo>
                  <a:lnTo>
                    <a:pt x="1378" y="841"/>
                  </a:lnTo>
                  <a:lnTo>
                    <a:pt x="1380" y="845"/>
                  </a:lnTo>
                  <a:lnTo>
                    <a:pt x="1383" y="849"/>
                  </a:lnTo>
                  <a:lnTo>
                    <a:pt x="1391" y="861"/>
                  </a:lnTo>
                  <a:lnTo>
                    <a:pt x="1397" y="869"/>
                  </a:lnTo>
                  <a:lnTo>
                    <a:pt x="1399" y="872"/>
                  </a:lnTo>
                  <a:lnTo>
                    <a:pt x="1401" y="874"/>
                  </a:lnTo>
                  <a:lnTo>
                    <a:pt x="1402" y="877"/>
                  </a:lnTo>
                  <a:lnTo>
                    <a:pt x="1406" y="885"/>
                  </a:lnTo>
                  <a:lnTo>
                    <a:pt x="1407" y="890"/>
                  </a:lnTo>
                  <a:lnTo>
                    <a:pt x="1408" y="893"/>
                  </a:lnTo>
                  <a:lnTo>
                    <a:pt x="1409" y="894"/>
                  </a:lnTo>
                  <a:lnTo>
                    <a:pt x="1408" y="894"/>
                  </a:lnTo>
                  <a:lnTo>
                    <a:pt x="1407" y="894"/>
                  </a:lnTo>
                  <a:lnTo>
                    <a:pt x="1406" y="895"/>
                  </a:lnTo>
                  <a:lnTo>
                    <a:pt x="1403" y="895"/>
                  </a:lnTo>
                  <a:lnTo>
                    <a:pt x="1400" y="898"/>
                  </a:lnTo>
                  <a:lnTo>
                    <a:pt x="1390" y="905"/>
                  </a:lnTo>
                  <a:lnTo>
                    <a:pt x="1379" y="913"/>
                  </a:lnTo>
                  <a:lnTo>
                    <a:pt x="1375" y="916"/>
                  </a:lnTo>
                  <a:lnTo>
                    <a:pt x="1368" y="922"/>
                  </a:lnTo>
                  <a:lnTo>
                    <a:pt x="1365" y="924"/>
                  </a:lnTo>
                  <a:lnTo>
                    <a:pt x="1363" y="925"/>
                  </a:lnTo>
                  <a:lnTo>
                    <a:pt x="1361" y="926"/>
                  </a:lnTo>
                  <a:lnTo>
                    <a:pt x="1360" y="927"/>
                  </a:lnTo>
                  <a:lnTo>
                    <a:pt x="1358" y="928"/>
                  </a:lnTo>
                  <a:lnTo>
                    <a:pt x="1355" y="929"/>
                  </a:lnTo>
                  <a:lnTo>
                    <a:pt x="1350" y="929"/>
                  </a:lnTo>
                  <a:lnTo>
                    <a:pt x="1343" y="930"/>
                  </a:lnTo>
                  <a:lnTo>
                    <a:pt x="1340" y="930"/>
                  </a:lnTo>
                  <a:lnTo>
                    <a:pt x="1339" y="931"/>
                  </a:lnTo>
                  <a:lnTo>
                    <a:pt x="1338" y="932"/>
                  </a:lnTo>
                  <a:lnTo>
                    <a:pt x="1333" y="936"/>
                  </a:lnTo>
                  <a:lnTo>
                    <a:pt x="1332" y="937"/>
                  </a:lnTo>
                  <a:lnTo>
                    <a:pt x="1330" y="938"/>
                  </a:lnTo>
                  <a:lnTo>
                    <a:pt x="1329" y="939"/>
                  </a:lnTo>
                  <a:lnTo>
                    <a:pt x="1327" y="939"/>
                  </a:lnTo>
                  <a:lnTo>
                    <a:pt x="1323" y="940"/>
                  </a:lnTo>
                  <a:lnTo>
                    <a:pt x="1320" y="940"/>
                  </a:lnTo>
                  <a:lnTo>
                    <a:pt x="1318" y="940"/>
                  </a:lnTo>
                  <a:lnTo>
                    <a:pt x="1316" y="940"/>
                  </a:lnTo>
                  <a:lnTo>
                    <a:pt x="1315" y="940"/>
                  </a:lnTo>
                  <a:lnTo>
                    <a:pt x="1314" y="940"/>
                  </a:lnTo>
                  <a:lnTo>
                    <a:pt x="1312" y="939"/>
                  </a:lnTo>
                  <a:lnTo>
                    <a:pt x="1309" y="936"/>
                  </a:lnTo>
                  <a:lnTo>
                    <a:pt x="1308" y="935"/>
                  </a:lnTo>
                  <a:lnTo>
                    <a:pt x="1306" y="934"/>
                  </a:lnTo>
                  <a:lnTo>
                    <a:pt x="1303" y="933"/>
                  </a:lnTo>
                  <a:lnTo>
                    <a:pt x="1301" y="932"/>
                  </a:lnTo>
                  <a:lnTo>
                    <a:pt x="1299" y="931"/>
                  </a:lnTo>
                  <a:lnTo>
                    <a:pt x="1295" y="929"/>
                  </a:lnTo>
                  <a:lnTo>
                    <a:pt x="1287" y="923"/>
                  </a:lnTo>
                  <a:lnTo>
                    <a:pt x="1283" y="921"/>
                  </a:lnTo>
                  <a:lnTo>
                    <a:pt x="1280" y="918"/>
                  </a:lnTo>
                  <a:lnTo>
                    <a:pt x="1276" y="917"/>
                  </a:lnTo>
                  <a:lnTo>
                    <a:pt x="1272" y="916"/>
                  </a:lnTo>
                  <a:lnTo>
                    <a:pt x="1269" y="915"/>
                  </a:lnTo>
                  <a:lnTo>
                    <a:pt x="1265" y="914"/>
                  </a:lnTo>
                  <a:lnTo>
                    <a:pt x="1262" y="914"/>
                  </a:lnTo>
                  <a:lnTo>
                    <a:pt x="1260" y="914"/>
                  </a:lnTo>
                  <a:lnTo>
                    <a:pt x="1259" y="914"/>
                  </a:lnTo>
                  <a:lnTo>
                    <a:pt x="1258" y="915"/>
                  </a:lnTo>
                  <a:lnTo>
                    <a:pt x="1256" y="915"/>
                  </a:lnTo>
                  <a:lnTo>
                    <a:pt x="1252" y="917"/>
                  </a:lnTo>
                  <a:lnTo>
                    <a:pt x="1248" y="919"/>
                  </a:lnTo>
                  <a:lnTo>
                    <a:pt x="1247" y="920"/>
                  </a:lnTo>
                  <a:lnTo>
                    <a:pt x="1245" y="921"/>
                  </a:lnTo>
                  <a:lnTo>
                    <a:pt x="1238" y="928"/>
                  </a:lnTo>
                  <a:lnTo>
                    <a:pt x="1235" y="929"/>
                  </a:lnTo>
                  <a:lnTo>
                    <a:pt x="1223" y="938"/>
                  </a:lnTo>
                  <a:lnTo>
                    <a:pt x="1219" y="940"/>
                  </a:lnTo>
                  <a:lnTo>
                    <a:pt x="1216" y="942"/>
                  </a:lnTo>
                  <a:lnTo>
                    <a:pt x="1214" y="943"/>
                  </a:lnTo>
                  <a:lnTo>
                    <a:pt x="1213" y="943"/>
                  </a:lnTo>
                  <a:lnTo>
                    <a:pt x="1211" y="944"/>
                  </a:lnTo>
                  <a:lnTo>
                    <a:pt x="1208" y="944"/>
                  </a:lnTo>
                  <a:lnTo>
                    <a:pt x="1203" y="945"/>
                  </a:lnTo>
                  <a:lnTo>
                    <a:pt x="1196" y="945"/>
                  </a:lnTo>
                  <a:lnTo>
                    <a:pt x="1194" y="945"/>
                  </a:lnTo>
                  <a:lnTo>
                    <a:pt x="1192" y="944"/>
                  </a:lnTo>
                  <a:lnTo>
                    <a:pt x="1190" y="944"/>
                  </a:lnTo>
                  <a:lnTo>
                    <a:pt x="1188" y="943"/>
                  </a:lnTo>
                  <a:lnTo>
                    <a:pt x="1186" y="942"/>
                  </a:lnTo>
                  <a:lnTo>
                    <a:pt x="1182" y="940"/>
                  </a:lnTo>
                  <a:lnTo>
                    <a:pt x="1179" y="939"/>
                  </a:lnTo>
                  <a:lnTo>
                    <a:pt x="1177" y="937"/>
                  </a:lnTo>
                  <a:lnTo>
                    <a:pt x="1171" y="933"/>
                  </a:lnTo>
                  <a:lnTo>
                    <a:pt x="1168" y="930"/>
                  </a:lnTo>
                  <a:lnTo>
                    <a:pt x="1163" y="927"/>
                  </a:lnTo>
                  <a:lnTo>
                    <a:pt x="1156" y="919"/>
                  </a:lnTo>
                  <a:lnTo>
                    <a:pt x="1154" y="917"/>
                  </a:lnTo>
                  <a:lnTo>
                    <a:pt x="1153" y="917"/>
                  </a:lnTo>
                  <a:lnTo>
                    <a:pt x="1150" y="916"/>
                  </a:lnTo>
                  <a:lnTo>
                    <a:pt x="1144" y="913"/>
                  </a:lnTo>
                  <a:lnTo>
                    <a:pt x="1141" y="911"/>
                  </a:lnTo>
                  <a:lnTo>
                    <a:pt x="1130" y="905"/>
                  </a:lnTo>
                  <a:lnTo>
                    <a:pt x="1122" y="899"/>
                  </a:lnTo>
                  <a:lnTo>
                    <a:pt x="1119" y="898"/>
                  </a:lnTo>
                  <a:lnTo>
                    <a:pt x="1117" y="897"/>
                  </a:lnTo>
                  <a:lnTo>
                    <a:pt x="1114" y="896"/>
                  </a:lnTo>
                  <a:lnTo>
                    <a:pt x="1106" y="894"/>
                  </a:lnTo>
                  <a:lnTo>
                    <a:pt x="1096" y="890"/>
                  </a:lnTo>
                  <a:lnTo>
                    <a:pt x="1092" y="888"/>
                  </a:lnTo>
                  <a:lnTo>
                    <a:pt x="1089" y="887"/>
                  </a:lnTo>
                  <a:lnTo>
                    <a:pt x="1084" y="886"/>
                  </a:lnTo>
                  <a:lnTo>
                    <a:pt x="1080" y="885"/>
                  </a:lnTo>
                  <a:lnTo>
                    <a:pt x="1077" y="884"/>
                  </a:lnTo>
                  <a:lnTo>
                    <a:pt x="1073" y="883"/>
                  </a:lnTo>
                  <a:lnTo>
                    <a:pt x="1069" y="883"/>
                  </a:lnTo>
                  <a:lnTo>
                    <a:pt x="1066" y="883"/>
                  </a:lnTo>
                  <a:lnTo>
                    <a:pt x="1065" y="883"/>
                  </a:lnTo>
                  <a:lnTo>
                    <a:pt x="1062" y="883"/>
                  </a:lnTo>
                  <a:lnTo>
                    <a:pt x="1059" y="883"/>
                  </a:lnTo>
                  <a:lnTo>
                    <a:pt x="1057" y="884"/>
                  </a:lnTo>
                  <a:lnTo>
                    <a:pt x="1054" y="885"/>
                  </a:lnTo>
                  <a:lnTo>
                    <a:pt x="1053" y="886"/>
                  </a:lnTo>
                  <a:lnTo>
                    <a:pt x="1051" y="888"/>
                  </a:lnTo>
                  <a:lnTo>
                    <a:pt x="1047" y="891"/>
                  </a:lnTo>
                  <a:lnTo>
                    <a:pt x="1044" y="894"/>
                  </a:lnTo>
                  <a:lnTo>
                    <a:pt x="1037" y="901"/>
                  </a:lnTo>
                  <a:lnTo>
                    <a:pt x="1024" y="912"/>
                  </a:lnTo>
                  <a:lnTo>
                    <a:pt x="1020" y="916"/>
                  </a:lnTo>
                  <a:lnTo>
                    <a:pt x="1010" y="923"/>
                  </a:lnTo>
                  <a:lnTo>
                    <a:pt x="1005" y="928"/>
                  </a:lnTo>
                  <a:lnTo>
                    <a:pt x="1000" y="931"/>
                  </a:lnTo>
                  <a:lnTo>
                    <a:pt x="998" y="933"/>
                  </a:lnTo>
                  <a:lnTo>
                    <a:pt x="997" y="935"/>
                  </a:lnTo>
                  <a:lnTo>
                    <a:pt x="996" y="937"/>
                  </a:lnTo>
                  <a:lnTo>
                    <a:pt x="995" y="939"/>
                  </a:lnTo>
                  <a:lnTo>
                    <a:pt x="993" y="940"/>
                  </a:lnTo>
                  <a:lnTo>
                    <a:pt x="992" y="943"/>
                  </a:lnTo>
                  <a:lnTo>
                    <a:pt x="990" y="947"/>
                  </a:lnTo>
                  <a:lnTo>
                    <a:pt x="986" y="959"/>
                  </a:lnTo>
                  <a:lnTo>
                    <a:pt x="986" y="962"/>
                  </a:lnTo>
                  <a:lnTo>
                    <a:pt x="984" y="964"/>
                  </a:lnTo>
                  <a:lnTo>
                    <a:pt x="983" y="967"/>
                  </a:lnTo>
                  <a:lnTo>
                    <a:pt x="980" y="972"/>
                  </a:lnTo>
                  <a:lnTo>
                    <a:pt x="975" y="980"/>
                  </a:lnTo>
                  <a:lnTo>
                    <a:pt x="974" y="984"/>
                  </a:lnTo>
                  <a:lnTo>
                    <a:pt x="971" y="987"/>
                  </a:lnTo>
                  <a:lnTo>
                    <a:pt x="968" y="990"/>
                  </a:lnTo>
                  <a:lnTo>
                    <a:pt x="959" y="1000"/>
                  </a:lnTo>
                  <a:lnTo>
                    <a:pt x="948" y="1011"/>
                  </a:lnTo>
                  <a:lnTo>
                    <a:pt x="945" y="1016"/>
                  </a:lnTo>
                  <a:lnTo>
                    <a:pt x="941" y="1019"/>
                  </a:lnTo>
                  <a:lnTo>
                    <a:pt x="940" y="1023"/>
                  </a:lnTo>
                  <a:lnTo>
                    <a:pt x="931" y="1037"/>
                  </a:lnTo>
                  <a:lnTo>
                    <a:pt x="929" y="1042"/>
                  </a:lnTo>
                  <a:lnTo>
                    <a:pt x="922" y="1054"/>
                  </a:lnTo>
                  <a:lnTo>
                    <a:pt x="920" y="1059"/>
                  </a:lnTo>
                  <a:lnTo>
                    <a:pt x="917" y="1068"/>
                  </a:lnTo>
                  <a:lnTo>
                    <a:pt x="912" y="1077"/>
                  </a:lnTo>
                  <a:lnTo>
                    <a:pt x="910" y="1081"/>
                  </a:lnTo>
                  <a:lnTo>
                    <a:pt x="908" y="1086"/>
                  </a:lnTo>
                  <a:lnTo>
                    <a:pt x="906" y="1096"/>
                  </a:lnTo>
                  <a:lnTo>
                    <a:pt x="904" y="1100"/>
                  </a:lnTo>
                  <a:lnTo>
                    <a:pt x="901" y="1104"/>
                  </a:lnTo>
                  <a:lnTo>
                    <a:pt x="897" y="1112"/>
                  </a:lnTo>
                  <a:lnTo>
                    <a:pt x="895" y="1115"/>
                  </a:lnTo>
                  <a:lnTo>
                    <a:pt x="894" y="1120"/>
                  </a:lnTo>
                  <a:lnTo>
                    <a:pt x="891" y="1125"/>
                  </a:lnTo>
                  <a:lnTo>
                    <a:pt x="889" y="1131"/>
                  </a:lnTo>
                  <a:lnTo>
                    <a:pt x="888" y="1133"/>
                  </a:lnTo>
                  <a:lnTo>
                    <a:pt x="887" y="1135"/>
                  </a:lnTo>
                  <a:lnTo>
                    <a:pt x="886" y="1142"/>
                  </a:lnTo>
                  <a:lnTo>
                    <a:pt x="884" y="1154"/>
                  </a:lnTo>
                  <a:lnTo>
                    <a:pt x="884" y="1159"/>
                  </a:lnTo>
                  <a:lnTo>
                    <a:pt x="883" y="1162"/>
                  </a:lnTo>
                  <a:lnTo>
                    <a:pt x="881" y="1166"/>
                  </a:lnTo>
                  <a:lnTo>
                    <a:pt x="880" y="1169"/>
                  </a:lnTo>
                  <a:lnTo>
                    <a:pt x="879" y="1172"/>
                  </a:lnTo>
                  <a:lnTo>
                    <a:pt x="877" y="1175"/>
                  </a:lnTo>
                  <a:lnTo>
                    <a:pt x="875" y="1178"/>
                  </a:lnTo>
                  <a:lnTo>
                    <a:pt x="873" y="1179"/>
                  </a:lnTo>
                  <a:lnTo>
                    <a:pt x="872" y="1181"/>
                  </a:lnTo>
                  <a:lnTo>
                    <a:pt x="869" y="1183"/>
                  </a:lnTo>
                  <a:lnTo>
                    <a:pt x="868" y="1184"/>
                  </a:lnTo>
                  <a:lnTo>
                    <a:pt x="866" y="1185"/>
                  </a:lnTo>
                  <a:lnTo>
                    <a:pt x="864" y="1186"/>
                  </a:lnTo>
                  <a:lnTo>
                    <a:pt x="863" y="1186"/>
                  </a:lnTo>
                  <a:lnTo>
                    <a:pt x="862" y="1186"/>
                  </a:lnTo>
                  <a:lnTo>
                    <a:pt x="861" y="1186"/>
                  </a:lnTo>
                  <a:lnTo>
                    <a:pt x="859" y="1185"/>
                  </a:lnTo>
                  <a:lnTo>
                    <a:pt x="858" y="1185"/>
                  </a:lnTo>
                  <a:lnTo>
                    <a:pt x="856" y="1184"/>
                  </a:lnTo>
                  <a:lnTo>
                    <a:pt x="855" y="1183"/>
                  </a:lnTo>
                  <a:lnTo>
                    <a:pt x="854" y="1181"/>
                  </a:lnTo>
                  <a:lnTo>
                    <a:pt x="854" y="1180"/>
                  </a:lnTo>
                  <a:lnTo>
                    <a:pt x="853" y="1178"/>
                  </a:lnTo>
                  <a:lnTo>
                    <a:pt x="852" y="1178"/>
                  </a:lnTo>
                  <a:lnTo>
                    <a:pt x="852" y="1175"/>
                  </a:lnTo>
                  <a:lnTo>
                    <a:pt x="851" y="1166"/>
                  </a:lnTo>
                  <a:lnTo>
                    <a:pt x="850" y="1155"/>
                  </a:lnTo>
                  <a:lnTo>
                    <a:pt x="850" y="1151"/>
                  </a:lnTo>
                  <a:lnTo>
                    <a:pt x="849" y="1142"/>
                  </a:lnTo>
                  <a:lnTo>
                    <a:pt x="848" y="1136"/>
                  </a:lnTo>
                  <a:lnTo>
                    <a:pt x="847" y="1131"/>
                  </a:lnTo>
                  <a:lnTo>
                    <a:pt x="845" y="1122"/>
                  </a:lnTo>
                  <a:lnTo>
                    <a:pt x="844" y="1119"/>
                  </a:lnTo>
                  <a:lnTo>
                    <a:pt x="844" y="1114"/>
                  </a:lnTo>
                  <a:lnTo>
                    <a:pt x="843" y="1103"/>
                  </a:lnTo>
                  <a:lnTo>
                    <a:pt x="842" y="1100"/>
                  </a:lnTo>
                  <a:lnTo>
                    <a:pt x="842" y="1098"/>
                  </a:lnTo>
                  <a:lnTo>
                    <a:pt x="841" y="1095"/>
                  </a:lnTo>
                  <a:lnTo>
                    <a:pt x="840" y="1092"/>
                  </a:lnTo>
                  <a:lnTo>
                    <a:pt x="838" y="1089"/>
                  </a:lnTo>
                  <a:lnTo>
                    <a:pt x="838" y="1087"/>
                  </a:lnTo>
                  <a:lnTo>
                    <a:pt x="836" y="1083"/>
                  </a:lnTo>
                  <a:lnTo>
                    <a:pt x="833" y="1080"/>
                  </a:lnTo>
                  <a:lnTo>
                    <a:pt x="832" y="1078"/>
                  </a:lnTo>
                  <a:lnTo>
                    <a:pt x="830" y="1077"/>
                  </a:lnTo>
                  <a:lnTo>
                    <a:pt x="828" y="1076"/>
                  </a:lnTo>
                  <a:lnTo>
                    <a:pt x="827" y="1076"/>
                  </a:lnTo>
                  <a:lnTo>
                    <a:pt x="825" y="1075"/>
                  </a:lnTo>
                  <a:lnTo>
                    <a:pt x="823" y="1075"/>
                  </a:lnTo>
                  <a:lnTo>
                    <a:pt x="820" y="1074"/>
                  </a:lnTo>
                  <a:lnTo>
                    <a:pt x="818" y="1074"/>
                  </a:lnTo>
                  <a:lnTo>
                    <a:pt x="816" y="1073"/>
                  </a:lnTo>
                  <a:lnTo>
                    <a:pt x="815" y="1073"/>
                  </a:lnTo>
                  <a:lnTo>
                    <a:pt x="813" y="1074"/>
                  </a:lnTo>
                  <a:lnTo>
                    <a:pt x="811" y="1074"/>
                  </a:lnTo>
                  <a:lnTo>
                    <a:pt x="804" y="1076"/>
                  </a:lnTo>
                  <a:lnTo>
                    <a:pt x="802" y="1076"/>
                  </a:lnTo>
                  <a:lnTo>
                    <a:pt x="798" y="1077"/>
                  </a:lnTo>
                  <a:lnTo>
                    <a:pt x="793" y="1078"/>
                  </a:lnTo>
                  <a:lnTo>
                    <a:pt x="788" y="1079"/>
                  </a:lnTo>
                  <a:lnTo>
                    <a:pt x="780" y="1080"/>
                  </a:lnTo>
                  <a:lnTo>
                    <a:pt x="770" y="1081"/>
                  </a:lnTo>
                  <a:lnTo>
                    <a:pt x="764" y="1082"/>
                  </a:lnTo>
                  <a:lnTo>
                    <a:pt x="756" y="1083"/>
                  </a:lnTo>
                  <a:lnTo>
                    <a:pt x="753" y="1083"/>
                  </a:lnTo>
                  <a:lnTo>
                    <a:pt x="751" y="1083"/>
                  </a:lnTo>
                  <a:lnTo>
                    <a:pt x="747" y="1082"/>
                  </a:lnTo>
                  <a:lnTo>
                    <a:pt x="737" y="1080"/>
                  </a:lnTo>
                  <a:lnTo>
                    <a:pt x="733" y="1078"/>
                  </a:lnTo>
                  <a:lnTo>
                    <a:pt x="729" y="1077"/>
                  </a:lnTo>
                  <a:lnTo>
                    <a:pt x="724" y="1075"/>
                  </a:lnTo>
                  <a:lnTo>
                    <a:pt x="721" y="1073"/>
                  </a:lnTo>
                  <a:lnTo>
                    <a:pt x="717" y="1070"/>
                  </a:lnTo>
                  <a:lnTo>
                    <a:pt x="711" y="1065"/>
                  </a:lnTo>
                  <a:lnTo>
                    <a:pt x="709" y="1064"/>
                  </a:lnTo>
                  <a:lnTo>
                    <a:pt x="708" y="1063"/>
                  </a:lnTo>
                  <a:lnTo>
                    <a:pt x="705" y="1062"/>
                  </a:lnTo>
                  <a:lnTo>
                    <a:pt x="700" y="1059"/>
                  </a:lnTo>
                  <a:lnTo>
                    <a:pt x="697" y="1058"/>
                  </a:lnTo>
                  <a:lnTo>
                    <a:pt x="693" y="1057"/>
                  </a:lnTo>
                  <a:lnTo>
                    <a:pt x="691" y="1056"/>
                  </a:lnTo>
                  <a:lnTo>
                    <a:pt x="690" y="1056"/>
                  </a:lnTo>
                  <a:lnTo>
                    <a:pt x="688" y="1055"/>
                  </a:lnTo>
                  <a:lnTo>
                    <a:pt x="685" y="1055"/>
                  </a:lnTo>
                  <a:lnTo>
                    <a:pt x="682" y="1055"/>
                  </a:lnTo>
                  <a:lnTo>
                    <a:pt x="679" y="1055"/>
                  </a:lnTo>
                  <a:lnTo>
                    <a:pt x="671" y="1056"/>
                  </a:lnTo>
                  <a:lnTo>
                    <a:pt x="669" y="1056"/>
                  </a:lnTo>
                  <a:lnTo>
                    <a:pt x="668" y="1056"/>
                  </a:lnTo>
                  <a:lnTo>
                    <a:pt x="667" y="1056"/>
                  </a:lnTo>
                  <a:lnTo>
                    <a:pt x="665" y="1056"/>
                  </a:lnTo>
                  <a:lnTo>
                    <a:pt x="664" y="1055"/>
                  </a:lnTo>
                  <a:lnTo>
                    <a:pt x="663" y="1055"/>
                  </a:lnTo>
                  <a:lnTo>
                    <a:pt x="662" y="1054"/>
                  </a:lnTo>
                  <a:lnTo>
                    <a:pt x="661" y="1053"/>
                  </a:lnTo>
                  <a:lnTo>
                    <a:pt x="660" y="1053"/>
                  </a:lnTo>
                  <a:lnTo>
                    <a:pt x="659" y="1051"/>
                  </a:lnTo>
                  <a:lnTo>
                    <a:pt x="658" y="1050"/>
                  </a:lnTo>
                  <a:lnTo>
                    <a:pt x="658" y="1048"/>
                  </a:lnTo>
                  <a:lnTo>
                    <a:pt x="657" y="1046"/>
                  </a:lnTo>
                  <a:lnTo>
                    <a:pt x="656" y="1044"/>
                  </a:lnTo>
                  <a:lnTo>
                    <a:pt x="656" y="1034"/>
                  </a:lnTo>
                  <a:lnTo>
                    <a:pt x="655" y="1029"/>
                  </a:lnTo>
                  <a:lnTo>
                    <a:pt x="654" y="1026"/>
                  </a:lnTo>
                  <a:lnTo>
                    <a:pt x="653" y="1023"/>
                  </a:lnTo>
                  <a:lnTo>
                    <a:pt x="652" y="1021"/>
                  </a:lnTo>
                  <a:lnTo>
                    <a:pt x="651" y="1019"/>
                  </a:lnTo>
                  <a:lnTo>
                    <a:pt x="650" y="1017"/>
                  </a:lnTo>
                  <a:lnTo>
                    <a:pt x="649" y="1015"/>
                  </a:lnTo>
                  <a:lnTo>
                    <a:pt x="646" y="1011"/>
                  </a:lnTo>
                  <a:lnTo>
                    <a:pt x="644" y="1008"/>
                  </a:lnTo>
                  <a:lnTo>
                    <a:pt x="642" y="1007"/>
                  </a:lnTo>
                  <a:lnTo>
                    <a:pt x="640" y="1005"/>
                  </a:lnTo>
                  <a:lnTo>
                    <a:pt x="637" y="1004"/>
                  </a:lnTo>
                  <a:lnTo>
                    <a:pt x="635" y="1002"/>
                  </a:lnTo>
                  <a:lnTo>
                    <a:pt x="632" y="1001"/>
                  </a:lnTo>
                  <a:lnTo>
                    <a:pt x="629" y="1000"/>
                  </a:lnTo>
                  <a:lnTo>
                    <a:pt x="626" y="1000"/>
                  </a:lnTo>
                  <a:lnTo>
                    <a:pt x="623" y="1000"/>
                  </a:lnTo>
                  <a:lnTo>
                    <a:pt x="613" y="1000"/>
                  </a:lnTo>
                  <a:lnTo>
                    <a:pt x="610" y="1000"/>
                  </a:lnTo>
                  <a:lnTo>
                    <a:pt x="606" y="1000"/>
                  </a:lnTo>
                  <a:lnTo>
                    <a:pt x="603" y="1000"/>
                  </a:lnTo>
                  <a:lnTo>
                    <a:pt x="599" y="999"/>
                  </a:lnTo>
                  <a:lnTo>
                    <a:pt x="597" y="999"/>
                  </a:lnTo>
                  <a:lnTo>
                    <a:pt x="594" y="998"/>
                  </a:lnTo>
                  <a:lnTo>
                    <a:pt x="591" y="997"/>
                  </a:lnTo>
                  <a:lnTo>
                    <a:pt x="588" y="996"/>
                  </a:lnTo>
                  <a:lnTo>
                    <a:pt x="572" y="987"/>
                  </a:lnTo>
                  <a:lnTo>
                    <a:pt x="567" y="985"/>
                  </a:lnTo>
                  <a:lnTo>
                    <a:pt x="559" y="979"/>
                  </a:lnTo>
                  <a:lnTo>
                    <a:pt x="556" y="977"/>
                  </a:lnTo>
                  <a:lnTo>
                    <a:pt x="553" y="975"/>
                  </a:lnTo>
                  <a:lnTo>
                    <a:pt x="551" y="974"/>
                  </a:lnTo>
                  <a:lnTo>
                    <a:pt x="549" y="974"/>
                  </a:lnTo>
                  <a:lnTo>
                    <a:pt x="547" y="974"/>
                  </a:lnTo>
                  <a:lnTo>
                    <a:pt x="546" y="974"/>
                  </a:lnTo>
                  <a:lnTo>
                    <a:pt x="544" y="974"/>
                  </a:lnTo>
                  <a:lnTo>
                    <a:pt x="543" y="974"/>
                  </a:lnTo>
                  <a:lnTo>
                    <a:pt x="541" y="974"/>
                  </a:lnTo>
                  <a:lnTo>
                    <a:pt x="534" y="976"/>
                  </a:lnTo>
                  <a:lnTo>
                    <a:pt x="531" y="977"/>
                  </a:lnTo>
                  <a:lnTo>
                    <a:pt x="528" y="978"/>
                  </a:lnTo>
                  <a:lnTo>
                    <a:pt x="523" y="978"/>
                  </a:lnTo>
                  <a:lnTo>
                    <a:pt x="517" y="978"/>
                  </a:lnTo>
                  <a:lnTo>
                    <a:pt x="510" y="978"/>
                  </a:lnTo>
                  <a:lnTo>
                    <a:pt x="504" y="978"/>
                  </a:lnTo>
                  <a:lnTo>
                    <a:pt x="496" y="977"/>
                  </a:lnTo>
                  <a:lnTo>
                    <a:pt x="493" y="977"/>
                  </a:lnTo>
                  <a:lnTo>
                    <a:pt x="491" y="977"/>
                  </a:lnTo>
                  <a:lnTo>
                    <a:pt x="489" y="977"/>
                  </a:lnTo>
                  <a:lnTo>
                    <a:pt x="487" y="978"/>
                  </a:lnTo>
                  <a:lnTo>
                    <a:pt x="486" y="979"/>
                  </a:lnTo>
                  <a:lnTo>
                    <a:pt x="485" y="980"/>
                  </a:lnTo>
                  <a:lnTo>
                    <a:pt x="482" y="982"/>
                  </a:lnTo>
                  <a:lnTo>
                    <a:pt x="480" y="984"/>
                  </a:lnTo>
                  <a:lnTo>
                    <a:pt x="478" y="985"/>
                  </a:lnTo>
                  <a:lnTo>
                    <a:pt x="476" y="989"/>
                  </a:lnTo>
                  <a:lnTo>
                    <a:pt x="474" y="993"/>
                  </a:lnTo>
                  <a:lnTo>
                    <a:pt x="471" y="1001"/>
                  </a:lnTo>
                  <a:lnTo>
                    <a:pt x="468" y="1007"/>
                  </a:lnTo>
                  <a:lnTo>
                    <a:pt x="465" y="1016"/>
                  </a:lnTo>
                  <a:lnTo>
                    <a:pt x="463" y="1020"/>
                  </a:lnTo>
                  <a:lnTo>
                    <a:pt x="462" y="1023"/>
                  </a:lnTo>
                  <a:lnTo>
                    <a:pt x="460" y="1025"/>
                  </a:lnTo>
                  <a:lnTo>
                    <a:pt x="453" y="1034"/>
                  </a:lnTo>
                  <a:lnTo>
                    <a:pt x="447" y="1044"/>
                  </a:lnTo>
                  <a:lnTo>
                    <a:pt x="445" y="1048"/>
                  </a:lnTo>
                  <a:lnTo>
                    <a:pt x="443" y="1050"/>
                  </a:lnTo>
                  <a:lnTo>
                    <a:pt x="440" y="1053"/>
                  </a:lnTo>
                  <a:lnTo>
                    <a:pt x="438" y="1054"/>
                  </a:lnTo>
                  <a:lnTo>
                    <a:pt x="436" y="1057"/>
                  </a:lnTo>
                  <a:lnTo>
                    <a:pt x="429" y="1062"/>
                  </a:lnTo>
                  <a:lnTo>
                    <a:pt x="426" y="1063"/>
                  </a:lnTo>
                  <a:lnTo>
                    <a:pt x="423" y="1065"/>
                  </a:lnTo>
                  <a:lnTo>
                    <a:pt x="420" y="1065"/>
                  </a:lnTo>
                  <a:lnTo>
                    <a:pt x="418" y="1065"/>
                  </a:lnTo>
                  <a:lnTo>
                    <a:pt x="415" y="1065"/>
                  </a:lnTo>
                  <a:lnTo>
                    <a:pt x="413" y="1065"/>
                  </a:lnTo>
                  <a:lnTo>
                    <a:pt x="411" y="1065"/>
                  </a:lnTo>
                  <a:lnTo>
                    <a:pt x="408" y="1064"/>
                  </a:lnTo>
                  <a:lnTo>
                    <a:pt x="406" y="1063"/>
                  </a:lnTo>
                  <a:lnTo>
                    <a:pt x="406" y="1062"/>
                  </a:lnTo>
                  <a:lnTo>
                    <a:pt x="402" y="1059"/>
                  </a:lnTo>
                  <a:lnTo>
                    <a:pt x="400" y="1058"/>
                  </a:lnTo>
                  <a:lnTo>
                    <a:pt x="399" y="1057"/>
                  </a:lnTo>
                  <a:lnTo>
                    <a:pt x="397" y="1056"/>
                  </a:lnTo>
                  <a:lnTo>
                    <a:pt x="396" y="1056"/>
                  </a:lnTo>
                  <a:lnTo>
                    <a:pt x="395" y="1056"/>
                  </a:lnTo>
                  <a:lnTo>
                    <a:pt x="394" y="1056"/>
                  </a:lnTo>
                  <a:lnTo>
                    <a:pt x="392" y="1056"/>
                  </a:lnTo>
                  <a:lnTo>
                    <a:pt x="391" y="1057"/>
                  </a:lnTo>
                  <a:lnTo>
                    <a:pt x="386" y="1060"/>
                  </a:lnTo>
                  <a:lnTo>
                    <a:pt x="385" y="1060"/>
                  </a:lnTo>
                  <a:lnTo>
                    <a:pt x="383" y="1061"/>
                  </a:lnTo>
                  <a:lnTo>
                    <a:pt x="382" y="1061"/>
                  </a:lnTo>
                  <a:lnTo>
                    <a:pt x="380" y="1061"/>
                  </a:lnTo>
                  <a:lnTo>
                    <a:pt x="378" y="1062"/>
                  </a:lnTo>
                  <a:lnTo>
                    <a:pt x="376" y="1062"/>
                  </a:lnTo>
                  <a:lnTo>
                    <a:pt x="373" y="1061"/>
                  </a:lnTo>
                  <a:lnTo>
                    <a:pt x="371" y="1061"/>
                  </a:lnTo>
                  <a:lnTo>
                    <a:pt x="362" y="1059"/>
                  </a:lnTo>
                  <a:lnTo>
                    <a:pt x="359" y="1059"/>
                  </a:lnTo>
                  <a:lnTo>
                    <a:pt x="352" y="1058"/>
                  </a:lnTo>
                  <a:lnTo>
                    <a:pt x="348" y="1057"/>
                  </a:lnTo>
                  <a:lnTo>
                    <a:pt x="344" y="1057"/>
                  </a:lnTo>
                  <a:lnTo>
                    <a:pt x="340" y="1057"/>
                  </a:lnTo>
                  <a:lnTo>
                    <a:pt x="330" y="1057"/>
                  </a:lnTo>
                  <a:lnTo>
                    <a:pt x="326" y="1057"/>
                  </a:lnTo>
                  <a:lnTo>
                    <a:pt x="317" y="1057"/>
                  </a:lnTo>
                  <a:lnTo>
                    <a:pt x="309" y="1056"/>
                  </a:lnTo>
                  <a:lnTo>
                    <a:pt x="297" y="1055"/>
                  </a:lnTo>
                  <a:lnTo>
                    <a:pt x="265" y="1053"/>
                  </a:lnTo>
                  <a:lnTo>
                    <a:pt x="258" y="1052"/>
                  </a:lnTo>
                  <a:lnTo>
                    <a:pt x="254" y="1052"/>
                  </a:lnTo>
                  <a:lnTo>
                    <a:pt x="250" y="1052"/>
                  </a:lnTo>
                  <a:lnTo>
                    <a:pt x="247" y="1052"/>
                  </a:lnTo>
                  <a:lnTo>
                    <a:pt x="239" y="1053"/>
                  </a:lnTo>
                  <a:lnTo>
                    <a:pt x="234" y="1053"/>
                  </a:lnTo>
                  <a:lnTo>
                    <a:pt x="230" y="1053"/>
                  </a:lnTo>
                  <a:lnTo>
                    <a:pt x="224" y="1052"/>
                  </a:lnTo>
                  <a:lnTo>
                    <a:pt x="211" y="1051"/>
                  </a:lnTo>
                  <a:lnTo>
                    <a:pt x="206" y="1051"/>
                  </a:lnTo>
                  <a:lnTo>
                    <a:pt x="203" y="1050"/>
                  </a:lnTo>
                  <a:lnTo>
                    <a:pt x="200" y="1049"/>
                  </a:lnTo>
                  <a:lnTo>
                    <a:pt x="196" y="1048"/>
                  </a:lnTo>
                  <a:lnTo>
                    <a:pt x="192" y="1047"/>
                  </a:lnTo>
                  <a:lnTo>
                    <a:pt x="190" y="1046"/>
                  </a:lnTo>
                  <a:lnTo>
                    <a:pt x="186" y="1045"/>
                  </a:lnTo>
                  <a:lnTo>
                    <a:pt x="181" y="1043"/>
                  </a:lnTo>
                  <a:lnTo>
                    <a:pt x="178" y="1042"/>
                  </a:lnTo>
                  <a:lnTo>
                    <a:pt x="172" y="1039"/>
                  </a:lnTo>
                  <a:lnTo>
                    <a:pt x="157" y="1031"/>
                  </a:lnTo>
                  <a:lnTo>
                    <a:pt x="135" y="1019"/>
                  </a:lnTo>
                  <a:lnTo>
                    <a:pt x="128" y="1015"/>
                  </a:lnTo>
                  <a:lnTo>
                    <a:pt x="124" y="1013"/>
                  </a:lnTo>
                  <a:lnTo>
                    <a:pt x="122" y="1011"/>
                  </a:lnTo>
                  <a:lnTo>
                    <a:pt x="119" y="1009"/>
                  </a:lnTo>
                  <a:lnTo>
                    <a:pt x="115" y="1007"/>
                  </a:lnTo>
                  <a:lnTo>
                    <a:pt x="111" y="1003"/>
                  </a:lnTo>
                  <a:lnTo>
                    <a:pt x="107" y="999"/>
                  </a:lnTo>
                  <a:lnTo>
                    <a:pt x="103" y="996"/>
                  </a:lnTo>
                  <a:lnTo>
                    <a:pt x="99" y="993"/>
                  </a:lnTo>
                  <a:lnTo>
                    <a:pt x="97" y="990"/>
                  </a:lnTo>
                  <a:lnTo>
                    <a:pt x="95" y="987"/>
                  </a:lnTo>
                  <a:lnTo>
                    <a:pt x="93" y="985"/>
                  </a:lnTo>
                  <a:lnTo>
                    <a:pt x="92" y="984"/>
                  </a:lnTo>
                  <a:lnTo>
                    <a:pt x="91" y="982"/>
                  </a:lnTo>
                  <a:lnTo>
                    <a:pt x="90" y="980"/>
                  </a:lnTo>
                  <a:lnTo>
                    <a:pt x="89" y="977"/>
                  </a:lnTo>
                  <a:lnTo>
                    <a:pt x="88" y="970"/>
                  </a:lnTo>
                  <a:lnTo>
                    <a:pt x="88" y="969"/>
                  </a:lnTo>
                  <a:lnTo>
                    <a:pt x="87" y="968"/>
                  </a:lnTo>
                  <a:lnTo>
                    <a:pt x="86" y="966"/>
                  </a:lnTo>
                  <a:lnTo>
                    <a:pt x="86" y="965"/>
                  </a:lnTo>
                  <a:lnTo>
                    <a:pt x="85" y="964"/>
                  </a:lnTo>
                  <a:lnTo>
                    <a:pt x="84" y="963"/>
                  </a:lnTo>
                  <a:lnTo>
                    <a:pt x="82" y="963"/>
                  </a:lnTo>
                  <a:lnTo>
                    <a:pt x="80" y="962"/>
                  </a:lnTo>
                  <a:lnTo>
                    <a:pt x="79" y="961"/>
                  </a:lnTo>
                  <a:lnTo>
                    <a:pt x="76" y="961"/>
                  </a:lnTo>
                  <a:lnTo>
                    <a:pt x="75" y="961"/>
                  </a:lnTo>
                  <a:lnTo>
                    <a:pt x="73" y="960"/>
                  </a:lnTo>
                  <a:lnTo>
                    <a:pt x="72" y="959"/>
                  </a:lnTo>
                  <a:lnTo>
                    <a:pt x="70" y="958"/>
                  </a:lnTo>
                  <a:lnTo>
                    <a:pt x="69" y="957"/>
                  </a:lnTo>
                  <a:lnTo>
                    <a:pt x="65" y="953"/>
                  </a:lnTo>
                  <a:lnTo>
                    <a:pt x="65" y="951"/>
                  </a:lnTo>
                  <a:lnTo>
                    <a:pt x="63" y="951"/>
                  </a:lnTo>
                  <a:lnTo>
                    <a:pt x="60" y="949"/>
                  </a:lnTo>
                  <a:lnTo>
                    <a:pt x="58" y="949"/>
                  </a:lnTo>
                  <a:lnTo>
                    <a:pt x="56" y="948"/>
                  </a:lnTo>
                  <a:lnTo>
                    <a:pt x="49" y="946"/>
                  </a:lnTo>
                  <a:lnTo>
                    <a:pt x="48" y="945"/>
                  </a:lnTo>
                  <a:lnTo>
                    <a:pt x="46" y="945"/>
                  </a:lnTo>
                  <a:lnTo>
                    <a:pt x="45" y="944"/>
                  </a:lnTo>
                  <a:lnTo>
                    <a:pt x="45" y="943"/>
                  </a:lnTo>
                  <a:lnTo>
                    <a:pt x="44" y="942"/>
                  </a:lnTo>
                  <a:lnTo>
                    <a:pt x="44" y="940"/>
                  </a:lnTo>
                  <a:lnTo>
                    <a:pt x="43" y="940"/>
                  </a:lnTo>
                  <a:lnTo>
                    <a:pt x="42" y="939"/>
                  </a:lnTo>
                  <a:lnTo>
                    <a:pt x="42" y="937"/>
                  </a:lnTo>
                  <a:lnTo>
                    <a:pt x="40" y="936"/>
                  </a:lnTo>
                  <a:lnTo>
                    <a:pt x="36" y="934"/>
                  </a:lnTo>
                  <a:lnTo>
                    <a:pt x="35" y="933"/>
                  </a:lnTo>
                  <a:lnTo>
                    <a:pt x="33" y="931"/>
                  </a:lnTo>
                  <a:lnTo>
                    <a:pt x="29" y="928"/>
                  </a:lnTo>
                  <a:lnTo>
                    <a:pt x="28" y="926"/>
                  </a:lnTo>
                  <a:lnTo>
                    <a:pt x="27" y="925"/>
                  </a:lnTo>
                  <a:lnTo>
                    <a:pt x="26" y="925"/>
                  </a:lnTo>
                  <a:lnTo>
                    <a:pt x="24" y="924"/>
                  </a:lnTo>
                  <a:lnTo>
                    <a:pt x="20" y="923"/>
                  </a:lnTo>
                  <a:lnTo>
                    <a:pt x="17" y="922"/>
                  </a:lnTo>
                  <a:lnTo>
                    <a:pt x="14" y="921"/>
                  </a:lnTo>
                  <a:lnTo>
                    <a:pt x="12" y="919"/>
                  </a:lnTo>
                  <a:lnTo>
                    <a:pt x="10" y="918"/>
                  </a:lnTo>
                  <a:lnTo>
                    <a:pt x="8" y="917"/>
                  </a:lnTo>
                  <a:lnTo>
                    <a:pt x="8" y="916"/>
                  </a:lnTo>
                  <a:lnTo>
                    <a:pt x="7" y="915"/>
                  </a:lnTo>
                  <a:lnTo>
                    <a:pt x="4" y="911"/>
                  </a:lnTo>
                  <a:lnTo>
                    <a:pt x="4" y="910"/>
                  </a:lnTo>
                  <a:lnTo>
                    <a:pt x="3" y="909"/>
                  </a:lnTo>
                  <a:lnTo>
                    <a:pt x="1" y="907"/>
                  </a:lnTo>
                  <a:lnTo>
                    <a:pt x="0" y="906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4" name="Freeform 103">
              <a:extLst>
                <a:ext uri="{FF2B5EF4-FFF2-40B4-BE49-F238E27FC236}">
                  <a16:creationId xmlns:a16="http://schemas.microsoft.com/office/drawing/2014/main" id="{11320C9D-1878-4E6C-A59B-2E1AE6FC8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3" y="2652"/>
              <a:ext cx="776" cy="925"/>
            </a:xfrm>
            <a:custGeom>
              <a:avLst/>
              <a:gdLst>
                <a:gd name="T0" fmla="*/ 196 w 776"/>
                <a:gd name="T1" fmla="*/ 906 h 925"/>
                <a:gd name="T2" fmla="*/ 163 w 776"/>
                <a:gd name="T3" fmla="*/ 923 h 925"/>
                <a:gd name="T4" fmla="*/ 114 w 776"/>
                <a:gd name="T5" fmla="*/ 919 h 925"/>
                <a:gd name="T6" fmla="*/ 61 w 776"/>
                <a:gd name="T7" fmla="*/ 883 h 925"/>
                <a:gd name="T8" fmla="*/ 0 w 776"/>
                <a:gd name="T9" fmla="*/ 862 h 925"/>
                <a:gd name="T10" fmla="*/ 16 w 776"/>
                <a:gd name="T11" fmla="*/ 841 h 925"/>
                <a:gd name="T12" fmla="*/ 20 w 776"/>
                <a:gd name="T13" fmla="*/ 827 h 925"/>
                <a:gd name="T14" fmla="*/ 34 w 776"/>
                <a:gd name="T15" fmla="*/ 816 h 925"/>
                <a:gd name="T16" fmla="*/ 56 w 776"/>
                <a:gd name="T17" fmla="*/ 814 h 925"/>
                <a:gd name="T18" fmla="*/ 80 w 776"/>
                <a:gd name="T19" fmla="*/ 822 h 925"/>
                <a:gd name="T20" fmla="*/ 99 w 776"/>
                <a:gd name="T21" fmla="*/ 800 h 925"/>
                <a:gd name="T22" fmla="*/ 134 w 776"/>
                <a:gd name="T23" fmla="*/ 803 h 925"/>
                <a:gd name="T24" fmla="*/ 155 w 776"/>
                <a:gd name="T25" fmla="*/ 799 h 925"/>
                <a:gd name="T26" fmla="*/ 187 w 776"/>
                <a:gd name="T27" fmla="*/ 772 h 925"/>
                <a:gd name="T28" fmla="*/ 217 w 776"/>
                <a:gd name="T29" fmla="*/ 745 h 925"/>
                <a:gd name="T30" fmla="*/ 255 w 776"/>
                <a:gd name="T31" fmla="*/ 737 h 925"/>
                <a:gd name="T32" fmla="*/ 270 w 776"/>
                <a:gd name="T33" fmla="*/ 713 h 925"/>
                <a:gd name="T34" fmla="*/ 290 w 776"/>
                <a:gd name="T35" fmla="*/ 713 h 925"/>
                <a:gd name="T36" fmla="*/ 313 w 776"/>
                <a:gd name="T37" fmla="*/ 694 h 925"/>
                <a:gd name="T38" fmla="*/ 332 w 776"/>
                <a:gd name="T39" fmla="*/ 702 h 925"/>
                <a:gd name="T40" fmla="*/ 360 w 776"/>
                <a:gd name="T41" fmla="*/ 715 h 925"/>
                <a:gd name="T42" fmla="*/ 389 w 776"/>
                <a:gd name="T43" fmla="*/ 703 h 925"/>
                <a:gd name="T44" fmla="*/ 442 w 776"/>
                <a:gd name="T45" fmla="*/ 704 h 925"/>
                <a:gd name="T46" fmla="*/ 460 w 776"/>
                <a:gd name="T47" fmla="*/ 690 h 925"/>
                <a:gd name="T48" fmla="*/ 476 w 776"/>
                <a:gd name="T49" fmla="*/ 668 h 925"/>
                <a:gd name="T50" fmla="*/ 518 w 776"/>
                <a:gd name="T51" fmla="*/ 657 h 925"/>
                <a:gd name="T52" fmla="*/ 533 w 776"/>
                <a:gd name="T53" fmla="*/ 636 h 925"/>
                <a:gd name="T54" fmla="*/ 541 w 776"/>
                <a:gd name="T55" fmla="*/ 617 h 925"/>
                <a:gd name="T56" fmla="*/ 518 w 776"/>
                <a:gd name="T57" fmla="*/ 590 h 925"/>
                <a:gd name="T58" fmla="*/ 533 w 776"/>
                <a:gd name="T59" fmla="*/ 581 h 925"/>
                <a:gd name="T60" fmla="*/ 533 w 776"/>
                <a:gd name="T61" fmla="*/ 557 h 925"/>
                <a:gd name="T62" fmla="*/ 550 w 776"/>
                <a:gd name="T63" fmla="*/ 540 h 925"/>
                <a:gd name="T64" fmla="*/ 559 w 776"/>
                <a:gd name="T65" fmla="*/ 516 h 925"/>
                <a:gd name="T66" fmla="*/ 538 w 776"/>
                <a:gd name="T67" fmla="*/ 496 h 925"/>
                <a:gd name="T68" fmla="*/ 539 w 776"/>
                <a:gd name="T69" fmla="*/ 473 h 925"/>
                <a:gd name="T70" fmla="*/ 564 w 776"/>
                <a:gd name="T71" fmla="*/ 445 h 925"/>
                <a:gd name="T72" fmla="*/ 559 w 776"/>
                <a:gd name="T73" fmla="*/ 425 h 925"/>
                <a:gd name="T74" fmla="*/ 559 w 776"/>
                <a:gd name="T75" fmla="*/ 404 h 925"/>
                <a:gd name="T76" fmla="*/ 570 w 776"/>
                <a:gd name="T77" fmla="*/ 375 h 925"/>
                <a:gd name="T78" fmla="*/ 547 w 776"/>
                <a:gd name="T79" fmla="*/ 365 h 925"/>
                <a:gd name="T80" fmla="*/ 551 w 776"/>
                <a:gd name="T81" fmla="*/ 354 h 925"/>
                <a:gd name="T82" fmla="*/ 524 w 776"/>
                <a:gd name="T83" fmla="*/ 328 h 925"/>
                <a:gd name="T84" fmla="*/ 530 w 776"/>
                <a:gd name="T85" fmla="*/ 284 h 925"/>
                <a:gd name="T86" fmla="*/ 554 w 776"/>
                <a:gd name="T87" fmla="*/ 249 h 925"/>
                <a:gd name="T88" fmla="*/ 592 w 776"/>
                <a:gd name="T89" fmla="*/ 237 h 925"/>
                <a:gd name="T90" fmla="*/ 600 w 776"/>
                <a:gd name="T91" fmla="*/ 224 h 925"/>
                <a:gd name="T92" fmla="*/ 582 w 776"/>
                <a:gd name="T93" fmla="*/ 214 h 925"/>
                <a:gd name="T94" fmla="*/ 602 w 776"/>
                <a:gd name="T95" fmla="*/ 196 h 925"/>
                <a:gd name="T96" fmla="*/ 619 w 776"/>
                <a:gd name="T97" fmla="*/ 206 h 925"/>
                <a:gd name="T98" fmla="*/ 634 w 776"/>
                <a:gd name="T99" fmla="*/ 211 h 925"/>
                <a:gd name="T100" fmla="*/ 642 w 776"/>
                <a:gd name="T101" fmla="*/ 188 h 925"/>
                <a:gd name="T102" fmla="*/ 627 w 776"/>
                <a:gd name="T103" fmla="*/ 164 h 925"/>
                <a:gd name="T104" fmla="*/ 642 w 776"/>
                <a:gd name="T105" fmla="*/ 159 h 925"/>
                <a:gd name="T106" fmla="*/ 663 w 776"/>
                <a:gd name="T107" fmla="*/ 131 h 925"/>
                <a:gd name="T108" fmla="*/ 656 w 776"/>
                <a:gd name="T109" fmla="*/ 113 h 925"/>
                <a:gd name="T110" fmla="*/ 639 w 776"/>
                <a:gd name="T111" fmla="*/ 93 h 925"/>
                <a:gd name="T112" fmla="*/ 651 w 776"/>
                <a:gd name="T113" fmla="*/ 63 h 925"/>
                <a:gd name="T114" fmla="*/ 670 w 776"/>
                <a:gd name="T115" fmla="*/ 47 h 925"/>
                <a:gd name="T116" fmla="*/ 692 w 776"/>
                <a:gd name="T117" fmla="*/ 45 h 925"/>
                <a:gd name="T118" fmla="*/ 735 w 776"/>
                <a:gd name="T119" fmla="*/ 45 h 925"/>
                <a:gd name="T120" fmla="*/ 762 w 776"/>
                <a:gd name="T121" fmla="*/ 39 h 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76" h="925">
                  <a:moveTo>
                    <a:pt x="233" y="906"/>
                  </a:moveTo>
                  <a:lnTo>
                    <a:pt x="232" y="906"/>
                  </a:lnTo>
                  <a:lnTo>
                    <a:pt x="230" y="906"/>
                  </a:lnTo>
                  <a:lnTo>
                    <a:pt x="230" y="905"/>
                  </a:lnTo>
                  <a:lnTo>
                    <a:pt x="229" y="905"/>
                  </a:lnTo>
                  <a:lnTo>
                    <a:pt x="226" y="904"/>
                  </a:lnTo>
                  <a:lnTo>
                    <a:pt x="218" y="904"/>
                  </a:lnTo>
                  <a:lnTo>
                    <a:pt x="213" y="904"/>
                  </a:lnTo>
                  <a:lnTo>
                    <a:pt x="207" y="905"/>
                  </a:lnTo>
                  <a:lnTo>
                    <a:pt x="202" y="905"/>
                  </a:lnTo>
                  <a:lnTo>
                    <a:pt x="196" y="906"/>
                  </a:lnTo>
                  <a:lnTo>
                    <a:pt x="194" y="906"/>
                  </a:lnTo>
                  <a:lnTo>
                    <a:pt x="191" y="907"/>
                  </a:lnTo>
                  <a:lnTo>
                    <a:pt x="189" y="908"/>
                  </a:lnTo>
                  <a:lnTo>
                    <a:pt x="187" y="908"/>
                  </a:lnTo>
                  <a:lnTo>
                    <a:pt x="185" y="910"/>
                  </a:lnTo>
                  <a:lnTo>
                    <a:pt x="182" y="912"/>
                  </a:lnTo>
                  <a:lnTo>
                    <a:pt x="173" y="918"/>
                  </a:lnTo>
                  <a:lnTo>
                    <a:pt x="170" y="920"/>
                  </a:lnTo>
                  <a:lnTo>
                    <a:pt x="168" y="921"/>
                  </a:lnTo>
                  <a:lnTo>
                    <a:pt x="165" y="922"/>
                  </a:lnTo>
                  <a:lnTo>
                    <a:pt x="163" y="923"/>
                  </a:lnTo>
                  <a:lnTo>
                    <a:pt x="162" y="924"/>
                  </a:lnTo>
                  <a:lnTo>
                    <a:pt x="159" y="924"/>
                  </a:lnTo>
                  <a:lnTo>
                    <a:pt x="155" y="925"/>
                  </a:lnTo>
                  <a:lnTo>
                    <a:pt x="152" y="925"/>
                  </a:lnTo>
                  <a:lnTo>
                    <a:pt x="148" y="925"/>
                  </a:lnTo>
                  <a:lnTo>
                    <a:pt x="144" y="925"/>
                  </a:lnTo>
                  <a:lnTo>
                    <a:pt x="138" y="924"/>
                  </a:lnTo>
                  <a:lnTo>
                    <a:pt x="122" y="922"/>
                  </a:lnTo>
                  <a:lnTo>
                    <a:pt x="118" y="921"/>
                  </a:lnTo>
                  <a:lnTo>
                    <a:pt x="116" y="920"/>
                  </a:lnTo>
                  <a:lnTo>
                    <a:pt x="114" y="919"/>
                  </a:lnTo>
                  <a:lnTo>
                    <a:pt x="110" y="917"/>
                  </a:lnTo>
                  <a:lnTo>
                    <a:pt x="106" y="915"/>
                  </a:lnTo>
                  <a:lnTo>
                    <a:pt x="103" y="912"/>
                  </a:lnTo>
                  <a:lnTo>
                    <a:pt x="100" y="909"/>
                  </a:lnTo>
                  <a:lnTo>
                    <a:pt x="89" y="900"/>
                  </a:lnTo>
                  <a:lnTo>
                    <a:pt x="86" y="897"/>
                  </a:lnTo>
                  <a:lnTo>
                    <a:pt x="83" y="895"/>
                  </a:lnTo>
                  <a:lnTo>
                    <a:pt x="81" y="894"/>
                  </a:lnTo>
                  <a:lnTo>
                    <a:pt x="78" y="892"/>
                  </a:lnTo>
                  <a:lnTo>
                    <a:pt x="69" y="888"/>
                  </a:lnTo>
                  <a:lnTo>
                    <a:pt x="61" y="883"/>
                  </a:lnTo>
                  <a:lnTo>
                    <a:pt x="58" y="882"/>
                  </a:lnTo>
                  <a:lnTo>
                    <a:pt x="54" y="880"/>
                  </a:lnTo>
                  <a:lnTo>
                    <a:pt x="50" y="879"/>
                  </a:lnTo>
                  <a:lnTo>
                    <a:pt x="46" y="878"/>
                  </a:lnTo>
                  <a:lnTo>
                    <a:pt x="30" y="875"/>
                  </a:lnTo>
                  <a:lnTo>
                    <a:pt x="26" y="874"/>
                  </a:lnTo>
                  <a:lnTo>
                    <a:pt x="22" y="873"/>
                  </a:lnTo>
                  <a:lnTo>
                    <a:pt x="17" y="872"/>
                  </a:lnTo>
                  <a:lnTo>
                    <a:pt x="14" y="871"/>
                  </a:lnTo>
                  <a:lnTo>
                    <a:pt x="0" y="865"/>
                  </a:lnTo>
                  <a:lnTo>
                    <a:pt x="0" y="862"/>
                  </a:lnTo>
                  <a:lnTo>
                    <a:pt x="2" y="860"/>
                  </a:lnTo>
                  <a:lnTo>
                    <a:pt x="5" y="850"/>
                  </a:lnTo>
                  <a:lnTo>
                    <a:pt x="6" y="849"/>
                  </a:lnTo>
                  <a:lnTo>
                    <a:pt x="7" y="848"/>
                  </a:lnTo>
                  <a:lnTo>
                    <a:pt x="7" y="847"/>
                  </a:lnTo>
                  <a:lnTo>
                    <a:pt x="9" y="847"/>
                  </a:lnTo>
                  <a:lnTo>
                    <a:pt x="11" y="846"/>
                  </a:lnTo>
                  <a:lnTo>
                    <a:pt x="12" y="845"/>
                  </a:lnTo>
                  <a:lnTo>
                    <a:pt x="14" y="843"/>
                  </a:lnTo>
                  <a:lnTo>
                    <a:pt x="16" y="842"/>
                  </a:lnTo>
                  <a:lnTo>
                    <a:pt x="16" y="841"/>
                  </a:lnTo>
                  <a:lnTo>
                    <a:pt x="17" y="841"/>
                  </a:lnTo>
                  <a:lnTo>
                    <a:pt x="16" y="841"/>
                  </a:lnTo>
                  <a:lnTo>
                    <a:pt x="15" y="840"/>
                  </a:lnTo>
                  <a:lnTo>
                    <a:pt x="15" y="839"/>
                  </a:lnTo>
                  <a:lnTo>
                    <a:pt x="15" y="838"/>
                  </a:lnTo>
                  <a:lnTo>
                    <a:pt x="15" y="838"/>
                  </a:lnTo>
                  <a:lnTo>
                    <a:pt x="18" y="835"/>
                  </a:lnTo>
                  <a:lnTo>
                    <a:pt x="19" y="834"/>
                  </a:lnTo>
                  <a:lnTo>
                    <a:pt x="20" y="831"/>
                  </a:lnTo>
                  <a:lnTo>
                    <a:pt x="20" y="830"/>
                  </a:lnTo>
                  <a:lnTo>
                    <a:pt x="20" y="827"/>
                  </a:lnTo>
                  <a:lnTo>
                    <a:pt x="21" y="827"/>
                  </a:lnTo>
                  <a:lnTo>
                    <a:pt x="22" y="827"/>
                  </a:lnTo>
                  <a:lnTo>
                    <a:pt x="25" y="826"/>
                  </a:lnTo>
                  <a:lnTo>
                    <a:pt x="26" y="826"/>
                  </a:lnTo>
                  <a:lnTo>
                    <a:pt x="27" y="825"/>
                  </a:lnTo>
                  <a:lnTo>
                    <a:pt x="28" y="825"/>
                  </a:lnTo>
                  <a:lnTo>
                    <a:pt x="29" y="824"/>
                  </a:lnTo>
                  <a:lnTo>
                    <a:pt x="33" y="820"/>
                  </a:lnTo>
                  <a:lnTo>
                    <a:pt x="34" y="818"/>
                  </a:lnTo>
                  <a:lnTo>
                    <a:pt x="34" y="817"/>
                  </a:lnTo>
                  <a:lnTo>
                    <a:pt x="34" y="816"/>
                  </a:lnTo>
                  <a:lnTo>
                    <a:pt x="35" y="815"/>
                  </a:lnTo>
                  <a:lnTo>
                    <a:pt x="37" y="815"/>
                  </a:lnTo>
                  <a:lnTo>
                    <a:pt x="38" y="814"/>
                  </a:lnTo>
                  <a:lnTo>
                    <a:pt x="40" y="813"/>
                  </a:lnTo>
                  <a:lnTo>
                    <a:pt x="44" y="812"/>
                  </a:lnTo>
                  <a:lnTo>
                    <a:pt x="46" y="812"/>
                  </a:lnTo>
                  <a:lnTo>
                    <a:pt x="48" y="812"/>
                  </a:lnTo>
                  <a:lnTo>
                    <a:pt x="50" y="812"/>
                  </a:lnTo>
                  <a:lnTo>
                    <a:pt x="52" y="812"/>
                  </a:lnTo>
                  <a:lnTo>
                    <a:pt x="54" y="813"/>
                  </a:lnTo>
                  <a:lnTo>
                    <a:pt x="56" y="814"/>
                  </a:lnTo>
                  <a:lnTo>
                    <a:pt x="59" y="815"/>
                  </a:lnTo>
                  <a:lnTo>
                    <a:pt x="63" y="819"/>
                  </a:lnTo>
                  <a:lnTo>
                    <a:pt x="64" y="820"/>
                  </a:lnTo>
                  <a:lnTo>
                    <a:pt x="66" y="821"/>
                  </a:lnTo>
                  <a:lnTo>
                    <a:pt x="68" y="822"/>
                  </a:lnTo>
                  <a:lnTo>
                    <a:pt x="71" y="822"/>
                  </a:lnTo>
                  <a:lnTo>
                    <a:pt x="73" y="823"/>
                  </a:lnTo>
                  <a:lnTo>
                    <a:pt x="76" y="823"/>
                  </a:lnTo>
                  <a:lnTo>
                    <a:pt x="77" y="823"/>
                  </a:lnTo>
                  <a:lnTo>
                    <a:pt x="78" y="823"/>
                  </a:lnTo>
                  <a:lnTo>
                    <a:pt x="80" y="822"/>
                  </a:lnTo>
                  <a:lnTo>
                    <a:pt x="82" y="821"/>
                  </a:lnTo>
                  <a:lnTo>
                    <a:pt x="82" y="819"/>
                  </a:lnTo>
                  <a:lnTo>
                    <a:pt x="84" y="817"/>
                  </a:lnTo>
                  <a:lnTo>
                    <a:pt x="86" y="815"/>
                  </a:lnTo>
                  <a:lnTo>
                    <a:pt x="87" y="814"/>
                  </a:lnTo>
                  <a:lnTo>
                    <a:pt x="91" y="810"/>
                  </a:lnTo>
                  <a:lnTo>
                    <a:pt x="94" y="804"/>
                  </a:lnTo>
                  <a:lnTo>
                    <a:pt x="95" y="803"/>
                  </a:lnTo>
                  <a:lnTo>
                    <a:pt x="97" y="802"/>
                  </a:lnTo>
                  <a:lnTo>
                    <a:pt x="98" y="801"/>
                  </a:lnTo>
                  <a:lnTo>
                    <a:pt x="99" y="800"/>
                  </a:lnTo>
                  <a:lnTo>
                    <a:pt x="100" y="800"/>
                  </a:lnTo>
                  <a:lnTo>
                    <a:pt x="102" y="799"/>
                  </a:lnTo>
                  <a:lnTo>
                    <a:pt x="105" y="799"/>
                  </a:lnTo>
                  <a:lnTo>
                    <a:pt x="115" y="797"/>
                  </a:lnTo>
                  <a:lnTo>
                    <a:pt x="117" y="797"/>
                  </a:lnTo>
                  <a:lnTo>
                    <a:pt x="120" y="797"/>
                  </a:lnTo>
                  <a:lnTo>
                    <a:pt x="123" y="798"/>
                  </a:lnTo>
                  <a:lnTo>
                    <a:pt x="125" y="799"/>
                  </a:lnTo>
                  <a:lnTo>
                    <a:pt x="128" y="800"/>
                  </a:lnTo>
                  <a:lnTo>
                    <a:pt x="131" y="802"/>
                  </a:lnTo>
                  <a:lnTo>
                    <a:pt x="134" y="803"/>
                  </a:lnTo>
                  <a:lnTo>
                    <a:pt x="139" y="806"/>
                  </a:lnTo>
                  <a:lnTo>
                    <a:pt x="140" y="807"/>
                  </a:lnTo>
                  <a:lnTo>
                    <a:pt x="142" y="808"/>
                  </a:lnTo>
                  <a:lnTo>
                    <a:pt x="143" y="808"/>
                  </a:lnTo>
                  <a:lnTo>
                    <a:pt x="145" y="809"/>
                  </a:lnTo>
                  <a:lnTo>
                    <a:pt x="146" y="809"/>
                  </a:lnTo>
                  <a:lnTo>
                    <a:pt x="148" y="808"/>
                  </a:lnTo>
                  <a:lnTo>
                    <a:pt x="149" y="807"/>
                  </a:lnTo>
                  <a:lnTo>
                    <a:pt x="150" y="806"/>
                  </a:lnTo>
                  <a:lnTo>
                    <a:pt x="151" y="804"/>
                  </a:lnTo>
                  <a:lnTo>
                    <a:pt x="155" y="799"/>
                  </a:lnTo>
                  <a:lnTo>
                    <a:pt x="158" y="796"/>
                  </a:lnTo>
                  <a:lnTo>
                    <a:pt x="159" y="794"/>
                  </a:lnTo>
                  <a:lnTo>
                    <a:pt x="162" y="791"/>
                  </a:lnTo>
                  <a:lnTo>
                    <a:pt x="167" y="786"/>
                  </a:lnTo>
                  <a:lnTo>
                    <a:pt x="169" y="784"/>
                  </a:lnTo>
                  <a:lnTo>
                    <a:pt x="171" y="782"/>
                  </a:lnTo>
                  <a:lnTo>
                    <a:pt x="173" y="781"/>
                  </a:lnTo>
                  <a:lnTo>
                    <a:pt x="175" y="780"/>
                  </a:lnTo>
                  <a:lnTo>
                    <a:pt x="182" y="776"/>
                  </a:lnTo>
                  <a:lnTo>
                    <a:pt x="184" y="775"/>
                  </a:lnTo>
                  <a:lnTo>
                    <a:pt x="187" y="772"/>
                  </a:lnTo>
                  <a:lnTo>
                    <a:pt x="190" y="770"/>
                  </a:lnTo>
                  <a:lnTo>
                    <a:pt x="193" y="768"/>
                  </a:lnTo>
                  <a:lnTo>
                    <a:pt x="197" y="763"/>
                  </a:lnTo>
                  <a:lnTo>
                    <a:pt x="199" y="760"/>
                  </a:lnTo>
                  <a:lnTo>
                    <a:pt x="202" y="756"/>
                  </a:lnTo>
                  <a:lnTo>
                    <a:pt x="204" y="754"/>
                  </a:lnTo>
                  <a:lnTo>
                    <a:pt x="205" y="753"/>
                  </a:lnTo>
                  <a:lnTo>
                    <a:pt x="207" y="751"/>
                  </a:lnTo>
                  <a:lnTo>
                    <a:pt x="210" y="748"/>
                  </a:lnTo>
                  <a:lnTo>
                    <a:pt x="214" y="747"/>
                  </a:lnTo>
                  <a:lnTo>
                    <a:pt x="217" y="745"/>
                  </a:lnTo>
                  <a:lnTo>
                    <a:pt x="224" y="743"/>
                  </a:lnTo>
                  <a:lnTo>
                    <a:pt x="228" y="742"/>
                  </a:lnTo>
                  <a:lnTo>
                    <a:pt x="232" y="741"/>
                  </a:lnTo>
                  <a:lnTo>
                    <a:pt x="238" y="740"/>
                  </a:lnTo>
                  <a:lnTo>
                    <a:pt x="241" y="740"/>
                  </a:lnTo>
                  <a:lnTo>
                    <a:pt x="247" y="740"/>
                  </a:lnTo>
                  <a:lnTo>
                    <a:pt x="250" y="740"/>
                  </a:lnTo>
                  <a:lnTo>
                    <a:pt x="252" y="739"/>
                  </a:lnTo>
                  <a:lnTo>
                    <a:pt x="253" y="739"/>
                  </a:lnTo>
                  <a:lnTo>
                    <a:pt x="254" y="738"/>
                  </a:lnTo>
                  <a:lnTo>
                    <a:pt x="255" y="737"/>
                  </a:lnTo>
                  <a:lnTo>
                    <a:pt x="257" y="736"/>
                  </a:lnTo>
                  <a:lnTo>
                    <a:pt x="258" y="734"/>
                  </a:lnTo>
                  <a:lnTo>
                    <a:pt x="259" y="733"/>
                  </a:lnTo>
                  <a:lnTo>
                    <a:pt x="260" y="730"/>
                  </a:lnTo>
                  <a:lnTo>
                    <a:pt x="263" y="725"/>
                  </a:lnTo>
                  <a:lnTo>
                    <a:pt x="264" y="720"/>
                  </a:lnTo>
                  <a:lnTo>
                    <a:pt x="265" y="718"/>
                  </a:lnTo>
                  <a:lnTo>
                    <a:pt x="266" y="716"/>
                  </a:lnTo>
                  <a:lnTo>
                    <a:pt x="267" y="715"/>
                  </a:lnTo>
                  <a:lnTo>
                    <a:pt x="269" y="714"/>
                  </a:lnTo>
                  <a:lnTo>
                    <a:pt x="270" y="713"/>
                  </a:lnTo>
                  <a:lnTo>
                    <a:pt x="271" y="713"/>
                  </a:lnTo>
                  <a:lnTo>
                    <a:pt x="272" y="713"/>
                  </a:lnTo>
                  <a:lnTo>
                    <a:pt x="273" y="713"/>
                  </a:lnTo>
                  <a:lnTo>
                    <a:pt x="275" y="713"/>
                  </a:lnTo>
                  <a:lnTo>
                    <a:pt x="276" y="713"/>
                  </a:lnTo>
                  <a:lnTo>
                    <a:pt x="282" y="713"/>
                  </a:lnTo>
                  <a:lnTo>
                    <a:pt x="284" y="713"/>
                  </a:lnTo>
                  <a:lnTo>
                    <a:pt x="286" y="713"/>
                  </a:lnTo>
                  <a:lnTo>
                    <a:pt x="287" y="713"/>
                  </a:lnTo>
                  <a:lnTo>
                    <a:pt x="288" y="713"/>
                  </a:lnTo>
                  <a:lnTo>
                    <a:pt x="290" y="713"/>
                  </a:lnTo>
                  <a:lnTo>
                    <a:pt x="291" y="712"/>
                  </a:lnTo>
                  <a:lnTo>
                    <a:pt x="293" y="711"/>
                  </a:lnTo>
                  <a:lnTo>
                    <a:pt x="295" y="709"/>
                  </a:lnTo>
                  <a:lnTo>
                    <a:pt x="297" y="708"/>
                  </a:lnTo>
                  <a:lnTo>
                    <a:pt x="299" y="705"/>
                  </a:lnTo>
                  <a:lnTo>
                    <a:pt x="304" y="700"/>
                  </a:lnTo>
                  <a:lnTo>
                    <a:pt x="305" y="699"/>
                  </a:lnTo>
                  <a:lnTo>
                    <a:pt x="306" y="698"/>
                  </a:lnTo>
                  <a:lnTo>
                    <a:pt x="308" y="697"/>
                  </a:lnTo>
                  <a:lnTo>
                    <a:pt x="309" y="696"/>
                  </a:lnTo>
                  <a:lnTo>
                    <a:pt x="313" y="694"/>
                  </a:lnTo>
                  <a:lnTo>
                    <a:pt x="316" y="693"/>
                  </a:lnTo>
                  <a:lnTo>
                    <a:pt x="318" y="692"/>
                  </a:lnTo>
                  <a:lnTo>
                    <a:pt x="321" y="692"/>
                  </a:lnTo>
                  <a:lnTo>
                    <a:pt x="322" y="692"/>
                  </a:lnTo>
                  <a:lnTo>
                    <a:pt x="323" y="692"/>
                  </a:lnTo>
                  <a:lnTo>
                    <a:pt x="324" y="693"/>
                  </a:lnTo>
                  <a:lnTo>
                    <a:pt x="325" y="694"/>
                  </a:lnTo>
                  <a:lnTo>
                    <a:pt x="326" y="695"/>
                  </a:lnTo>
                  <a:lnTo>
                    <a:pt x="328" y="696"/>
                  </a:lnTo>
                  <a:lnTo>
                    <a:pt x="330" y="699"/>
                  </a:lnTo>
                  <a:lnTo>
                    <a:pt x="332" y="702"/>
                  </a:lnTo>
                  <a:lnTo>
                    <a:pt x="333" y="703"/>
                  </a:lnTo>
                  <a:lnTo>
                    <a:pt x="334" y="705"/>
                  </a:lnTo>
                  <a:lnTo>
                    <a:pt x="336" y="707"/>
                  </a:lnTo>
                  <a:lnTo>
                    <a:pt x="343" y="711"/>
                  </a:lnTo>
                  <a:lnTo>
                    <a:pt x="345" y="713"/>
                  </a:lnTo>
                  <a:lnTo>
                    <a:pt x="348" y="713"/>
                  </a:lnTo>
                  <a:lnTo>
                    <a:pt x="350" y="714"/>
                  </a:lnTo>
                  <a:lnTo>
                    <a:pt x="352" y="715"/>
                  </a:lnTo>
                  <a:lnTo>
                    <a:pt x="354" y="715"/>
                  </a:lnTo>
                  <a:lnTo>
                    <a:pt x="356" y="715"/>
                  </a:lnTo>
                  <a:lnTo>
                    <a:pt x="360" y="715"/>
                  </a:lnTo>
                  <a:lnTo>
                    <a:pt x="364" y="714"/>
                  </a:lnTo>
                  <a:lnTo>
                    <a:pt x="366" y="713"/>
                  </a:lnTo>
                  <a:lnTo>
                    <a:pt x="369" y="713"/>
                  </a:lnTo>
                  <a:lnTo>
                    <a:pt x="374" y="710"/>
                  </a:lnTo>
                  <a:lnTo>
                    <a:pt x="376" y="708"/>
                  </a:lnTo>
                  <a:lnTo>
                    <a:pt x="379" y="705"/>
                  </a:lnTo>
                  <a:lnTo>
                    <a:pt x="380" y="704"/>
                  </a:lnTo>
                  <a:lnTo>
                    <a:pt x="382" y="703"/>
                  </a:lnTo>
                  <a:lnTo>
                    <a:pt x="384" y="703"/>
                  </a:lnTo>
                  <a:lnTo>
                    <a:pt x="386" y="703"/>
                  </a:lnTo>
                  <a:lnTo>
                    <a:pt x="389" y="703"/>
                  </a:lnTo>
                  <a:lnTo>
                    <a:pt x="394" y="704"/>
                  </a:lnTo>
                  <a:lnTo>
                    <a:pt x="397" y="705"/>
                  </a:lnTo>
                  <a:lnTo>
                    <a:pt x="402" y="706"/>
                  </a:lnTo>
                  <a:lnTo>
                    <a:pt x="405" y="707"/>
                  </a:lnTo>
                  <a:lnTo>
                    <a:pt x="411" y="708"/>
                  </a:lnTo>
                  <a:lnTo>
                    <a:pt x="416" y="709"/>
                  </a:lnTo>
                  <a:lnTo>
                    <a:pt x="419" y="709"/>
                  </a:lnTo>
                  <a:lnTo>
                    <a:pt x="421" y="709"/>
                  </a:lnTo>
                  <a:lnTo>
                    <a:pt x="426" y="707"/>
                  </a:lnTo>
                  <a:lnTo>
                    <a:pt x="436" y="705"/>
                  </a:lnTo>
                  <a:lnTo>
                    <a:pt x="442" y="704"/>
                  </a:lnTo>
                  <a:lnTo>
                    <a:pt x="445" y="704"/>
                  </a:lnTo>
                  <a:lnTo>
                    <a:pt x="446" y="703"/>
                  </a:lnTo>
                  <a:lnTo>
                    <a:pt x="448" y="702"/>
                  </a:lnTo>
                  <a:lnTo>
                    <a:pt x="456" y="698"/>
                  </a:lnTo>
                  <a:lnTo>
                    <a:pt x="457" y="697"/>
                  </a:lnTo>
                  <a:lnTo>
                    <a:pt x="458" y="696"/>
                  </a:lnTo>
                  <a:lnTo>
                    <a:pt x="459" y="694"/>
                  </a:lnTo>
                  <a:lnTo>
                    <a:pt x="459" y="693"/>
                  </a:lnTo>
                  <a:lnTo>
                    <a:pt x="460" y="692"/>
                  </a:lnTo>
                  <a:lnTo>
                    <a:pt x="460" y="691"/>
                  </a:lnTo>
                  <a:lnTo>
                    <a:pt x="460" y="690"/>
                  </a:lnTo>
                  <a:lnTo>
                    <a:pt x="460" y="684"/>
                  </a:lnTo>
                  <a:lnTo>
                    <a:pt x="460" y="682"/>
                  </a:lnTo>
                  <a:lnTo>
                    <a:pt x="460" y="680"/>
                  </a:lnTo>
                  <a:lnTo>
                    <a:pt x="461" y="678"/>
                  </a:lnTo>
                  <a:lnTo>
                    <a:pt x="462" y="676"/>
                  </a:lnTo>
                  <a:lnTo>
                    <a:pt x="464" y="674"/>
                  </a:lnTo>
                  <a:lnTo>
                    <a:pt x="466" y="672"/>
                  </a:lnTo>
                  <a:lnTo>
                    <a:pt x="468" y="671"/>
                  </a:lnTo>
                  <a:lnTo>
                    <a:pt x="470" y="670"/>
                  </a:lnTo>
                  <a:lnTo>
                    <a:pt x="472" y="669"/>
                  </a:lnTo>
                  <a:lnTo>
                    <a:pt x="476" y="668"/>
                  </a:lnTo>
                  <a:lnTo>
                    <a:pt x="480" y="667"/>
                  </a:lnTo>
                  <a:lnTo>
                    <a:pt x="484" y="667"/>
                  </a:lnTo>
                  <a:lnTo>
                    <a:pt x="492" y="666"/>
                  </a:lnTo>
                  <a:lnTo>
                    <a:pt x="501" y="664"/>
                  </a:lnTo>
                  <a:lnTo>
                    <a:pt x="506" y="663"/>
                  </a:lnTo>
                  <a:lnTo>
                    <a:pt x="511" y="662"/>
                  </a:lnTo>
                  <a:lnTo>
                    <a:pt x="513" y="661"/>
                  </a:lnTo>
                  <a:lnTo>
                    <a:pt x="514" y="660"/>
                  </a:lnTo>
                  <a:lnTo>
                    <a:pt x="515" y="660"/>
                  </a:lnTo>
                  <a:lnTo>
                    <a:pt x="517" y="659"/>
                  </a:lnTo>
                  <a:lnTo>
                    <a:pt x="518" y="657"/>
                  </a:lnTo>
                  <a:lnTo>
                    <a:pt x="520" y="657"/>
                  </a:lnTo>
                  <a:lnTo>
                    <a:pt x="521" y="656"/>
                  </a:lnTo>
                  <a:lnTo>
                    <a:pt x="523" y="654"/>
                  </a:lnTo>
                  <a:lnTo>
                    <a:pt x="524" y="651"/>
                  </a:lnTo>
                  <a:lnTo>
                    <a:pt x="525" y="649"/>
                  </a:lnTo>
                  <a:lnTo>
                    <a:pt x="526" y="647"/>
                  </a:lnTo>
                  <a:lnTo>
                    <a:pt x="528" y="643"/>
                  </a:lnTo>
                  <a:lnTo>
                    <a:pt x="529" y="641"/>
                  </a:lnTo>
                  <a:lnTo>
                    <a:pt x="530" y="639"/>
                  </a:lnTo>
                  <a:lnTo>
                    <a:pt x="531" y="638"/>
                  </a:lnTo>
                  <a:lnTo>
                    <a:pt x="533" y="636"/>
                  </a:lnTo>
                  <a:lnTo>
                    <a:pt x="537" y="633"/>
                  </a:lnTo>
                  <a:lnTo>
                    <a:pt x="539" y="631"/>
                  </a:lnTo>
                  <a:lnTo>
                    <a:pt x="540" y="629"/>
                  </a:lnTo>
                  <a:lnTo>
                    <a:pt x="541" y="628"/>
                  </a:lnTo>
                  <a:lnTo>
                    <a:pt x="542" y="626"/>
                  </a:lnTo>
                  <a:lnTo>
                    <a:pt x="543" y="625"/>
                  </a:lnTo>
                  <a:lnTo>
                    <a:pt x="543" y="623"/>
                  </a:lnTo>
                  <a:lnTo>
                    <a:pt x="543" y="623"/>
                  </a:lnTo>
                  <a:lnTo>
                    <a:pt x="543" y="621"/>
                  </a:lnTo>
                  <a:lnTo>
                    <a:pt x="542" y="619"/>
                  </a:lnTo>
                  <a:lnTo>
                    <a:pt x="541" y="617"/>
                  </a:lnTo>
                  <a:lnTo>
                    <a:pt x="539" y="615"/>
                  </a:lnTo>
                  <a:lnTo>
                    <a:pt x="537" y="613"/>
                  </a:lnTo>
                  <a:lnTo>
                    <a:pt x="536" y="611"/>
                  </a:lnTo>
                  <a:lnTo>
                    <a:pt x="528" y="604"/>
                  </a:lnTo>
                  <a:lnTo>
                    <a:pt x="525" y="601"/>
                  </a:lnTo>
                  <a:lnTo>
                    <a:pt x="522" y="599"/>
                  </a:lnTo>
                  <a:lnTo>
                    <a:pt x="520" y="597"/>
                  </a:lnTo>
                  <a:lnTo>
                    <a:pt x="519" y="595"/>
                  </a:lnTo>
                  <a:lnTo>
                    <a:pt x="518" y="593"/>
                  </a:lnTo>
                  <a:lnTo>
                    <a:pt x="518" y="591"/>
                  </a:lnTo>
                  <a:lnTo>
                    <a:pt x="518" y="590"/>
                  </a:lnTo>
                  <a:lnTo>
                    <a:pt x="518" y="589"/>
                  </a:lnTo>
                  <a:lnTo>
                    <a:pt x="519" y="589"/>
                  </a:lnTo>
                  <a:lnTo>
                    <a:pt x="519" y="589"/>
                  </a:lnTo>
                  <a:lnTo>
                    <a:pt x="520" y="589"/>
                  </a:lnTo>
                  <a:lnTo>
                    <a:pt x="521" y="588"/>
                  </a:lnTo>
                  <a:lnTo>
                    <a:pt x="525" y="587"/>
                  </a:lnTo>
                  <a:lnTo>
                    <a:pt x="526" y="586"/>
                  </a:lnTo>
                  <a:lnTo>
                    <a:pt x="528" y="585"/>
                  </a:lnTo>
                  <a:lnTo>
                    <a:pt x="530" y="584"/>
                  </a:lnTo>
                  <a:lnTo>
                    <a:pt x="532" y="582"/>
                  </a:lnTo>
                  <a:lnTo>
                    <a:pt x="533" y="581"/>
                  </a:lnTo>
                  <a:lnTo>
                    <a:pt x="534" y="579"/>
                  </a:lnTo>
                  <a:lnTo>
                    <a:pt x="535" y="577"/>
                  </a:lnTo>
                  <a:lnTo>
                    <a:pt x="536" y="577"/>
                  </a:lnTo>
                  <a:lnTo>
                    <a:pt x="536" y="575"/>
                  </a:lnTo>
                  <a:lnTo>
                    <a:pt x="536" y="574"/>
                  </a:lnTo>
                  <a:lnTo>
                    <a:pt x="536" y="572"/>
                  </a:lnTo>
                  <a:lnTo>
                    <a:pt x="536" y="569"/>
                  </a:lnTo>
                  <a:lnTo>
                    <a:pt x="535" y="567"/>
                  </a:lnTo>
                  <a:lnTo>
                    <a:pt x="533" y="561"/>
                  </a:lnTo>
                  <a:lnTo>
                    <a:pt x="533" y="559"/>
                  </a:lnTo>
                  <a:lnTo>
                    <a:pt x="533" y="557"/>
                  </a:lnTo>
                  <a:lnTo>
                    <a:pt x="533" y="555"/>
                  </a:lnTo>
                  <a:lnTo>
                    <a:pt x="534" y="554"/>
                  </a:lnTo>
                  <a:lnTo>
                    <a:pt x="535" y="551"/>
                  </a:lnTo>
                  <a:lnTo>
                    <a:pt x="536" y="550"/>
                  </a:lnTo>
                  <a:lnTo>
                    <a:pt x="537" y="548"/>
                  </a:lnTo>
                  <a:lnTo>
                    <a:pt x="537" y="547"/>
                  </a:lnTo>
                  <a:lnTo>
                    <a:pt x="538" y="546"/>
                  </a:lnTo>
                  <a:lnTo>
                    <a:pt x="540" y="545"/>
                  </a:lnTo>
                  <a:lnTo>
                    <a:pt x="542" y="543"/>
                  </a:lnTo>
                  <a:lnTo>
                    <a:pt x="548" y="542"/>
                  </a:lnTo>
                  <a:lnTo>
                    <a:pt x="550" y="540"/>
                  </a:lnTo>
                  <a:lnTo>
                    <a:pt x="553" y="538"/>
                  </a:lnTo>
                  <a:lnTo>
                    <a:pt x="556" y="536"/>
                  </a:lnTo>
                  <a:lnTo>
                    <a:pt x="558" y="534"/>
                  </a:lnTo>
                  <a:lnTo>
                    <a:pt x="559" y="532"/>
                  </a:lnTo>
                  <a:lnTo>
                    <a:pt x="560" y="531"/>
                  </a:lnTo>
                  <a:lnTo>
                    <a:pt x="560" y="529"/>
                  </a:lnTo>
                  <a:lnTo>
                    <a:pt x="560" y="526"/>
                  </a:lnTo>
                  <a:lnTo>
                    <a:pt x="560" y="524"/>
                  </a:lnTo>
                  <a:lnTo>
                    <a:pt x="560" y="520"/>
                  </a:lnTo>
                  <a:lnTo>
                    <a:pt x="560" y="518"/>
                  </a:lnTo>
                  <a:lnTo>
                    <a:pt x="559" y="516"/>
                  </a:lnTo>
                  <a:lnTo>
                    <a:pt x="559" y="515"/>
                  </a:lnTo>
                  <a:lnTo>
                    <a:pt x="558" y="513"/>
                  </a:lnTo>
                  <a:lnTo>
                    <a:pt x="557" y="511"/>
                  </a:lnTo>
                  <a:lnTo>
                    <a:pt x="556" y="509"/>
                  </a:lnTo>
                  <a:lnTo>
                    <a:pt x="555" y="509"/>
                  </a:lnTo>
                  <a:lnTo>
                    <a:pt x="553" y="508"/>
                  </a:lnTo>
                  <a:lnTo>
                    <a:pt x="550" y="505"/>
                  </a:lnTo>
                  <a:lnTo>
                    <a:pt x="545" y="501"/>
                  </a:lnTo>
                  <a:lnTo>
                    <a:pt x="542" y="498"/>
                  </a:lnTo>
                  <a:lnTo>
                    <a:pt x="540" y="497"/>
                  </a:lnTo>
                  <a:lnTo>
                    <a:pt x="538" y="496"/>
                  </a:lnTo>
                  <a:lnTo>
                    <a:pt x="538" y="494"/>
                  </a:lnTo>
                  <a:lnTo>
                    <a:pt x="537" y="493"/>
                  </a:lnTo>
                  <a:lnTo>
                    <a:pt x="537" y="491"/>
                  </a:lnTo>
                  <a:lnTo>
                    <a:pt x="537" y="489"/>
                  </a:lnTo>
                  <a:lnTo>
                    <a:pt x="537" y="487"/>
                  </a:lnTo>
                  <a:lnTo>
                    <a:pt x="537" y="486"/>
                  </a:lnTo>
                  <a:lnTo>
                    <a:pt x="537" y="483"/>
                  </a:lnTo>
                  <a:lnTo>
                    <a:pt x="537" y="481"/>
                  </a:lnTo>
                  <a:lnTo>
                    <a:pt x="537" y="478"/>
                  </a:lnTo>
                  <a:lnTo>
                    <a:pt x="538" y="476"/>
                  </a:lnTo>
                  <a:lnTo>
                    <a:pt x="539" y="473"/>
                  </a:lnTo>
                  <a:lnTo>
                    <a:pt x="540" y="470"/>
                  </a:lnTo>
                  <a:lnTo>
                    <a:pt x="542" y="467"/>
                  </a:lnTo>
                  <a:lnTo>
                    <a:pt x="543" y="464"/>
                  </a:lnTo>
                  <a:lnTo>
                    <a:pt x="545" y="462"/>
                  </a:lnTo>
                  <a:lnTo>
                    <a:pt x="547" y="459"/>
                  </a:lnTo>
                  <a:lnTo>
                    <a:pt x="549" y="456"/>
                  </a:lnTo>
                  <a:lnTo>
                    <a:pt x="551" y="454"/>
                  </a:lnTo>
                  <a:lnTo>
                    <a:pt x="554" y="452"/>
                  </a:lnTo>
                  <a:lnTo>
                    <a:pt x="560" y="448"/>
                  </a:lnTo>
                  <a:lnTo>
                    <a:pt x="563" y="446"/>
                  </a:lnTo>
                  <a:lnTo>
                    <a:pt x="564" y="445"/>
                  </a:lnTo>
                  <a:lnTo>
                    <a:pt x="565" y="444"/>
                  </a:lnTo>
                  <a:lnTo>
                    <a:pt x="566" y="443"/>
                  </a:lnTo>
                  <a:lnTo>
                    <a:pt x="566" y="441"/>
                  </a:lnTo>
                  <a:lnTo>
                    <a:pt x="567" y="441"/>
                  </a:lnTo>
                  <a:lnTo>
                    <a:pt x="567" y="439"/>
                  </a:lnTo>
                  <a:lnTo>
                    <a:pt x="566" y="438"/>
                  </a:lnTo>
                  <a:lnTo>
                    <a:pt x="566" y="436"/>
                  </a:lnTo>
                  <a:lnTo>
                    <a:pt x="565" y="434"/>
                  </a:lnTo>
                  <a:lnTo>
                    <a:pt x="564" y="432"/>
                  </a:lnTo>
                  <a:lnTo>
                    <a:pt x="562" y="430"/>
                  </a:lnTo>
                  <a:lnTo>
                    <a:pt x="559" y="425"/>
                  </a:lnTo>
                  <a:lnTo>
                    <a:pt x="557" y="423"/>
                  </a:lnTo>
                  <a:lnTo>
                    <a:pt x="556" y="421"/>
                  </a:lnTo>
                  <a:lnTo>
                    <a:pt x="555" y="419"/>
                  </a:lnTo>
                  <a:lnTo>
                    <a:pt x="555" y="418"/>
                  </a:lnTo>
                  <a:lnTo>
                    <a:pt x="555" y="415"/>
                  </a:lnTo>
                  <a:lnTo>
                    <a:pt x="555" y="413"/>
                  </a:lnTo>
                  <a:lnTo>
                    <a:pt x="555" y="411"/>
                  </a:lnTo>
                  <a:lnTo>
                    <a:pt x="555" y="409"/>
                  </a:lnTo>
                  <a:lnTo>
                    <a:pt x="556" y="407"/>
                  </a:lnTo>
                  <a:lnTo>
                    <a:pt x="557" y="407"/>
                  </a:lnTo>
                  <a:lnTo>
                    <a:pt x="559" y="404"/>
                  </a:lnTo>
                  <a:lnTo>
                    <a:pt x="565" y="396"/>
                  </a:lnTo>
                  <a:lnTo>
                    <a:pt x="567" y="392"/>
                  </a:lnTo>
                  <a:lnTo>
                    <a:pt x="569" y="388"/>
                  </a:lnTo>
                  <a:lnTo>
                    <a:pt x="570" y="386"/>
                  </a:lnTo>
                  <a:lnTo>
                    <a:pt x="571" y="385"/>
                  </a:lnTo>
                  <a:lnTo>
                    <a:pt x="571" y="383"/>
                  </a:lnTo>
                  <a:lnTo>
                    <a:pt x="571" y="381"/>
                  </a:lnTo>
                  <a:lnTo>
                    <a:pt x="571" y="380"/>
                  </a:lnTo>
                  <a:lnTo>
                    <a:pt x="571" y="379"/>
                  </a:lnTo>
                  <a:lnTo>
                    <a:pt x="570" y="376"/>
                  </a:lnTo>
                  <a:lnTo>
                    <a:pt x="570" y="375"/>
                  </a:lnTo>
                  <a:lnTo>
                    <a:pt x="569" y="374"/>
                  </a:lnTo>
                  <a:lnTo>
                    <a:pt x="568" y="373"/>
                  </a:lnTo>
                  <a:lnTo>
                    <a:pt x="566" y="373"/>
                  </a:lnTo>
                  <a:lnTo>
                    <a:pt x="565" y="373"/>
                  </a:lnTo>
                  <a:lnTo>
                    <a:pt x="559" y="371"/>
                  </a:lnTo>
                  <a:lnTo>
                    <a:pt x="556" y="370"/>
                  </a:lnTo>
                  <a:lnTo>
                    <a:pt x="553" y="369"/>
                  </a:lnTo>
                  <a:lnTo>
                    <a:pt x="551" y="368"/>
                  </a:lnTo>
                  <a:lnTo>
                    <a:pt x="549" y="367"/>
                  </a:lnTo>
                  <a:lnTo>
                    <a:pt x="548" y="366"/>
                  </a:lnTo>
                  <a:lnTo>
                    <a:pt x="547" y="365"/>
                  </a:lnTo>
                  <a:lnTo>
                    <a:pt x="546" y="364"/>
                  </a:lnTo>
                  <a:lnTo>
                    <a:pt x="546" y="363"/>
                  </a:lnTo>
                  <a:lnTo>
                    <a:pt x="546" y="362"/>
                  </a:lnTo>
                  <a:lnTo>
                    <a:pt x="546" y="361"/>
                  </a:lnTo>
                  <a:lnTo>
                    <a:pt x="547" y="360"/>
                  </a:lnTo>
                  <a:lnTo>
                    <a:pt x="548" y="359"/>
                  </a:lnTo>
                  <a:lnTo>
                    <a:pt x="550" y="357"/>
                  </a:lnTo>
                  <a:lnTo>
                    <a:pt x="551" y="356"/>
                  </a:lnTo>
                  <a:lnTo>
                    <a:pt x="551" y="355"/>
                  </a:lnTo>
                  <a:lnTo>
                    <a:pt x="552" y="355"/>
                  </a:lnTo>
                  <a:lnTo>
                    <a:pt x="551" y="354"/>
                  </a:lnTo>
                  <a:lnTo>
                    <a:pt x="551" y="353"/>
                  </a:lnTo>
                  <a:lnTo>
                    <a:pt x="550" y="352"/>
                  </a:lnTo>
                  <a:lnTo>
                    <a:pt x="549" y="351"/>
                  </a:lnTo>
                  <a:lnTo>
                    <a:pt x="537" y="343"/>
                  </a:lnTo>
                  <a:lnTo>
                    <a:pt x="528" y="337"/>
                  </a:lnTo>
                  <a:lnTo>
                    <a:pt x="527" y="335"/>
                  </a:lnTo>
                  <a:lnTo>
                    <a:pt x="525" y="334"/>
                  </a:lnTo>
                  <a:lnTo>
                    <a:pt x="525" y="333"/>
                  </a:lnTo>
                  <a:lnTo>
                    <a:pt x="525" y="331"/>
                  </a:lnTo>
                  <a:lnTo>
                    <a:pt x="524" y="330"/>
                  </a:lnTo>
                  <a:lnTo>
                    <a:pt x="524" y="328"/>
                  </a:lnTo>
                  <a:lnTo>
                    <a:pt x="524" y="327"/>
                  </a:lnTo>
                  <a:lnTo>
                    <a:pt x="524" y="325"/>
                  </a:lnTo>
                  <a:lnTo>
                    <a:pt x="524" y="322"/>
                  </a:lnTo>
                  <a:lnTo>
                    <a:pt x="525" y="314"/>
                  </a:lnTo>
                  <a:lnTo>
                    <a:pt x="527" y="308"/>
                  </a:lnTo>
                  <a:lnTo>
                    <a:pt x="527" y="305"/>
                  </a:lnTo>
                  <a:lnTo>
                    <a:pt x="528" y="299"/>
                  </a:lnTo>
                  <a:lnTo>
                    <a:pt x="528" y="292"/>
                  </a:lnTo>
                  <a:lnTo>
                    <a:pt x="528" y="288"/>
                  </a:lnTo>
                  <a:lnTo>
                    <a:pt x="529" y="286"/>
                  </a:lnTo>
                  <a:lnTo>
                    <a:pt x="530" y="284"/>
                  </a:lnTo>
                  <a:lnTo>
                    <a:pt x="532" y="282"/>
                  </a:lnTo>
                  <a:lnTo>
                    <a:pt x="534" y="278"/>
                  </a:lnTo>
                  <a:lnTo>
                    <a:pt x="536" y="275"/>
                  </a:lnTo>
                  <a:lnTo>
                    <a:pt x="540" y="270"/>
                  </a:lnTo>
                  <a:lnTo>
                    <a:pt x="543" y="267"/>
                  </a:lnTo>
                  <a:lnTo>
                    <a:pt x="544" y="265"/>
                  </a:lnTo>
                  <a:lnTo>
                    <a:pt x="548" y="257"/>
                  </a:lnTo>
                  <a:lnTo>
                    <a:pt x="549" y="254"/>
                  </a:lnTo>
                  <a:lnTo>
                    <a:pt x="551" y="252"/>
                  </a:lnTo>
                  <a:lnTo>
                    <a:pt x="552" y="250"/>
                  </a:lnTo>
                  <a:lnTo>
                    <a:pt x="554" y="249"/>
                  </a:lnTo>
                  <a:lnTo>
                    <a:pt x="555" y="248"/>
                  </a:lnTo>
                  <a:lnTo>
                    <a:pt x="557" y="247"/>
                  </a:lnTo>
                  <a:lnTo>
                    <a:pt x="559" y="245"/>
                  </a:lnTo>
                  <a:lnTo>
                    <a:pt x="561" y="243"/>
                  </a:lnTo>
                  <a:lnTo>
                    <a:pt x="564" y="242"/>
                  </a:lnTo>
                  <a:lnTo>
                    <a:pt x="567" y="241"/>
                  </a:lnTo>
                  <a:lnTo>
                    <a:pt x="571" y="240"/>
                  </a:lnTo>
                  <a:lnTo>
                    <a:pt x="578" y="240"/>
                  </a:lnTo>
                  <a:lnTo>
                    <a:pt x="582" y="239"/>
                  </a:lnTo>
                  <a:lnTo>
                    <a:pt x="588" y="238"/>
                  </a:lnTo>
                  <a:lnTo>
                    <a:pt x="592" y="237"/>
                  </a:lnTo>
                  <a:lnTo>
                    <a:pt x="594" y="237"/>
                  </a:lnTo>
                  <a:lnTo>
                    <a:pt x="596" y="236"/>
                  </a:lnTo>
                  <a:lnTo>
                    <a:pt x="597" y="235"/>
                  </a:lnTo>
                  <a:lnTo>
                    <a:pt x="599" y="233"/>
                  </a:lnTo>
                  <a:lnTo>
                    <a:pt x="600" y="232"/>
                  </a:lnTo>
                  <a:lnTo>
                    <a:pt x="600" y="230"/>
                  </a:lnTo>
                  <a:lnTo>
                    <a:pt x="601" y="229"/>
                  </a:lnTo>
                  <a:lnTo>
                    <a:pt x="601" y="227"/>
                  </a:lnTo>
                  <a:lnTo>
                    <a:pt x="601" y="226"/>
                  </a:lnTo>
                  <a:lnTo>
                    <a:pt x="601" y="226"/>
                  </a:lnTo>
                  <a:lnTo>
                    <a:pt x="600" y="224"/>
                  </a:lnTo>
                  <a:lnTo>
                    <a:pt x="599" y="223"/>
                  </a:lnTo>
                  <a:lnTo>
                    <a:pt x="598" y="222"/>
                  </a:lnTo>
                  <a:lnTo>
                    <a:pt x="597" y="221"/>
                  </a:lnTo>
                  <a:lnTo>
                    <a:pt x="595" y="221"/>
                  </a:lnTo>
                  <a:lnTo>
                    <a:pt x="594" y="220"/>
                  </a:lnTo>
                  <a:lnTo>
                    <a:pt x="592" y="219"/>
                  </a:lnTo>
                  <a:lnTo>
                    <a:pt x="585" y="217"/>
                  </a:lnTo>
                  <a:lnTo>
                    <a:pt x="582" y="216"/>
                  </a:lnTo>
                  <a:lnTo>
                    <a:pt x="582" y="215"/>
                  </a:lnTo>
                  <a:lnTo>
                    <a:pt x="582" y="215"/>
                  </a:lnTo>
                  <a:lnTo>
                    <a:pt x="582" y="214"/>
                  </a:lnTo>
                  <a:lnTo>
                    <a:pt x="582" y="213"/>
                  </a:lnTo>
                  <a:lnTo>
                    <a:pt x="582" y="211"/>
                  </a:lnTo>
                  <a:lnTo>
                    <a:pt x="583" y="210"/>
                  </a:lnTo>
                  <a:lnTo>
                    <a:pt x="586" y="207"/>
                  </a:lnTo>
                  <a:lnTo>
                    <a:pt x="589" y="203"/>
                  </a:lnTo>
                  <a:lnTo>
                    <a:pt x="591" y="202"/>
                  </a:lnTo>
                  <a:lnTo>
                    <a:pt x="593" y="201"/>
                  </a:lnTo>
                  <a:lnTo>
                    <a:pt x="594" y="199"/>
                  </a:lnTo>
                  <a:lnTo>
                    <a:pt x="597" y="198"/>
                  </a:lnTo>
                  <a:lnTo>
                    <a:pt x="600" y="197"/>
                  </a:lnTo>
                  <a:lnTo>
                    <a:pt x="602" y="196"/>
                  </a:lnTo>
                  <a:lnTo>
                    <a:pt x="605" y="195"/>
                  </a:lnTo>
                  <a:lnTo>
                    <a:pt x="606" y="196"/>
                  </a:lnTo>
                  <a:lnTo>
                    <a:pt x="609" y="196"/>
                  </a:lnTo>
                  <a:lnTo>
                    <a:pt x="611" y="196"/>
                  </a:lnTo>
                  <a:lnTo>
                    <a:pt x="612" y="197"/>
                  </a:lnTo>
                  <a:lnTo>
                    <a:pt x="613" y="198"/>
                  </a:lnTo>
                  <a:lnTo>
                    <a:pt x="614" y="198"/>
                  </a:lnTo>
                  <a:lnTo>
                    <a:pt x="615" y="199"/>
                  </a:lnTo>
                  <a:lnTo>
                    <a:pt x="616" y="202"/>
                  </a:lnTo>
                  <a:lnTo>
                    <a:pt x="617" y="205"/>
                  </a:lnTo>
                  <a:lnTo>
                    <a:pt x="619" y="206"/>
                  </a:lnTo>
                  <a:lnTo>
                    <a:pt x="620" y="208"/>
                  </a:lnTo>
                  <a:lnTo>
                    <a:pt x="621" y="210"/>
                  </a:lnTo>
                  <a:lnTo>
                    <a:pt x="622" y="211"/>
                  </a:lnTo>
                  <a:lnTo>
                    <a:pt x="623" y="211"/>
                  </a:lnTo>
                  <a:lnTo>
                    <a:pt x="625" y="212"/>
                  </a:lnTo>
                  <a:lnTo>
                    <a:pt x="626" y="212"/>
                  </a:lnTo>
                  <a:lnTo>
                    <a:pt x="628" y="212"/>
                  </a:lnTo>
                  <a:lnTo>
                    <a:pt x="630" y="212"/>
                  </a:lnTo>
                  <a:lnTo>
                    <a:pt x="631" y="212"/>
                  </a:lnTo>
                  <a:lnTo>
                    <a:pt x="633" y="212"/>
                  </a:lnTo>
                  <a:lnTo>
                    <a:pt x="634" y="211"/>
                  </a:lnTo>
                  <a:lnTo>
                    <a:pt x="636" y="210"/>
                  </a:lnTo>
                  <a:lnTo>
                    <a:pt x="637" y="208"/>
                  </a:lnTo>
                  <a:lnTo>
                    <a:pt x="638" y="207"/>
                  </a:lnTo>
                  <a:lnTo>
                    <a:pt x="639" y="205"/>
                  </a:lnTo>
                  <a:lnTo>
                    <a:pt x="639" y="200"/>
                  </a:lnTo>
                  <a:lnTo>
                    <a:pt x="641" y="195"/>
                  </a:lnTo>
                  <a:lnTo>
                    <a:pt x="642" y="193"/>
                  </a:lnTo>
                  <a:lnTo>
                    <a:pt x="642" y="192"/>
                  </a:lnTo>
                  <a:lnTo>
                    <a:pt x="642" y="191"/>
                  </a:lnTo>
                  <a:lnTo>
                    <a:pt x="642" y="190"/>
                  </a:lnTo>
                  <a:lnTo>
                    <a:pt x="642" y="188"/>
                  </a:lnTo>
                  <a:lnTo>
                    <a:pt x="641" y="187"/>
                  </a:lnTo>
                  <a:lnTo>
                    <a:pt x="640" y="185"/>
                  </a:lnTo>
                  <a:lnTo>
                    <a:pt x="639" y="181"/>
                  </a:lnTo>
                  <a:lnTo>
                    <a:pt x="638" y="179"/>
                  </a:lnTo>
                  <a:lnTo>
                    <a:pt x="636" y="177"/>
                  </a:lnTo>
                  <a:lnTo>
                    <a:pt x="633" y="173"/>
                  </a:lnTo>
                  <a:lnTo>
                    <a:pt x="631" y="171"/>
                  </a:lnTo>
                  <a:lnTo>
                    <a:pt x="629" y="169"/>
                  </a:lnTo>
                  <a:lnTo>
                    <a:pt x="628" y="168"/>
                  </a:lnTo>
                  <a:lnTo>
                    <a:pt x="628" y="166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1"/>
                  </a:lnTo>
                  <a:lnTo>
                    <a:pt x="627" y="160"/>
                  </a:lnTo>
                  <a:lnTo>
                    <a:pt x="628" y="160"/>
                  </a:lnTo>
                  <a:lnTo>
                    <a:pt x="628" y="160"/>
                  </a:lnTo>
                  <a:lnTo>
                    <a:pt x="630" y="160"/>
                  </a:lnTo>
                  <a:lnTo>
                    <a:pt x="634" y="160"/>
                  </a:lnTo>
                  <a:lnTo>
                    <a:pt x="636" y="160"/>
                  </a:lnTo>
                  <a:lnTo>
                    <a:pt x="638" y="160"/>
                  </a:lnTo>
                  <a:lnTo>
                    <a:pt x="639" y="159"/>
                  </a:lnTo>
                  <a:lnTo>
                    <a:pt x="642" y="159"/>
                  </a:lnTo>
                  <a:lnTo>
                    <a:pt x="644" y="158"/>
                  </a:lnTo>
                  <a:lnTo>
                    <a:pt x="646" y="157"/>
                  </a:lnTo>
                  <a:lnTo>
                    <a:pt x="649" y="155"/>
                  </a:lnTo>
                  <a:lnTo>
                    <a:pt x="651" y="152"/>
                  </a:lnTo>
                  <a:lnTo>
                    <a:pt x="654" y="148"/>
                  </a:lnTo>
                  <a:lnTo>
                    <a:pt x="657" y="145"/>
                  </a:lnTo>
                  <a:lnTo>
                    <a:pt x="660" y="141"/>
                  </a:lnTo>
                  <a:lnTo>
                    <a:pt x="661" y="138"/>
                  </a:lnTo>
                  <a:lnTo>
                    <a:pt x="662" y="135"/>
                  </a:lnTo>
                  <a:lnTo>
                    <a:pt x="663" y="132"/>
                  </a:lnTo>
                  <a:lnTo>
                    <a:pt x="663" y="131"/>
                  </a:lnTo>
                  <a:lnTo>
                    <a:pt x="663" y="129"/>
                  </a:lnTo>
                  <a:lnTo>
                    <a:pt x="663" y="127"/>
                  </a:lnTo>
                  <a:lnTo>
                    <a:pt x="663" y="125"/>
                  </a:lnTo>
                  <a:lnTo>
                    <a:pt x="663" y="124"/>
                  </a:lnTo>
                  <a:lnTo>
                    <a:pt x="662" y="123"/>
                  </a:lnTo>
                  <a:lnTo>
                    <a:pt x="662" y="121"/>
                  </a:lnTo>
                  <a:lnTo>
                    <a:pt x="662" y="119"/>
                  </a:lnTo>
                  <a:lnTo>
                    <a:pt x="661" y="118"/>
                  </a:lnTo>
                  <a:lnTo>
                    <a:pt x="660" y="116"/>
                  </a:lnTo>
                  <a:lnTo>
                    <a:pt x="658" y="114"/>
                  </a:lnTo>
                  <a:lnTo>
                    <a:pt x="656" y="113"/>
                  </a:lnTo>
                  <a:lnTo>
                    <a:pt x="653" y="112"/>
                  </a:lnTo>
                  <a:lnTo>
                    <a:pt x="648" y="108"/>
                  </a:lnTo>
                  <a:lnTo>
                    <a:pt x="646" y="107"/>
                  </a:lnTo>
                  <a:lnTo>
                    <a:pt x="644" y="105"/>
                  </a:lnTo>
                  <a:lnTo>
                    <a:pt x="642" y="103"/>
                  </a:lnTo>
                  <a:lnTo>
                    <a:pt x="640" y="101"/>
                  </a:lnTo>
                  <a:lnTo>
                    <a:pt x="639" y="100"/>
                  </a:lnTo>
                  <a:lnTo>
                    <a:pt x="639" y="98"/>
                  </a:lnTo>
                  <a:lnTo>
                    <a:pt x="639" y="96"/>
                  </a:lnTo>
                  <a:lnTo>
                    <a:pt x="639" y="95"/>
                  </a:lnTo>
                  <a:lnTo>
                    <a:pt x="639" y="93"/>
                  </a:lnTo>
                  <a:lnTo>
                    <a:pt x="639" y="92"/>
                  </a:lnTo>
                  <a:lnTo>
                    <a:pt x="639" y="90"/>
                  </a:lnTo>
                  <a:lnTo>
                    <a:pt x="644" y="79"/>
                  </a:lnTo>
                  <a:lnTo>
                    <a:pt x="645" y="74"/>
                  </a:lnTo>
                  <a:lnTo>
                    <a:pt x="646" y="70"/>
                  </a:lnTo>
                  <a:lnTo>
                    <a:pt x="647" y="67"/>
                  </a:lnTo>
                  <a:lnTo>
                    <a:pt x="647" y="65"/>
                  </a:lnTo>
                  <a:lnTo>
                    <a:pt x="648" y="62"/>
                  </a:lnTo>
                  <a:lnTo>
                    <a:pt x="648" y="63"/>
                  </a:lnTo>
                  <a:lnTo>
                    <a:pt x="649" y="63"/>
                  </a:lnTo>
                  <a:lnTo>
                    <a:pt x="651" y="63"/>
                  </a:lnTo>
                  <a:lnTo>
                    <a:pt x="651" y="63"/>
                  </a:lnTo>
                  <a:lnTo>
                    <a:pt x="652" y="63"/>
                  </a:lnTo>
                  <a:lnTo>
                    <a:pt x="653" y="63"/>
                  </a:lnTo>
                  <a:lnTo>
                    <a:pt x="654" y="62"/>
                  </a:lnTo>
                  <a:lnTo>
                    <a:pt x="656" y="61"/>
                  </a:lnTo>
                  <a:lnTo>
                    <a:pt x="658" y="60"/>
                  </a:lnTo>
                  <a:lnTo>
                    <a:pt x="662" y="56"/>
                  </a:lnTo>
                  <a:lnTo>
                    <a:pt x="663" y="55"/>
                  </a:lnTo>
                  <a:lnTo>
                    <a:pt x="668" y="49"/>
                  </a:lnTo>
                  <a:lnTo>
                    <a:pt x="669" y="48"/>
                  </a:lnTo>
                  <a:lnTo>
                    <a:pt x="670" y="47"/>
                  </a:lnTo>
                  <a:lnTo>
                    <a:pt x="672" y="45"/>
                  </a:lnTo>
                  <a:lnTo>
                    <a:pt x="675" y="45"/>
                  </a:lnTo>
                  <a:lnTo>
                    <a:pt x="678" y="44"/>
                  </a:lnTo>
                  <a:lnTo>
                    <a:pt x="680" y="43"/>
                  </a:lnTo>
                  <a:lnTo>
                    <a:pt x="682" y="43"/>
                  </a:lnTo>
                  <a:lnTo>
                    <a:pt x="683" y="43"/>
                  </a:lnTo>
                  <a:lnTo>
                    <a:pt x="685" y="43"/>
                  </a:lnTo>
                  <a:lnTo>
                    <a:pt x="685" y="43"/>
                  </a:lnTo>
                  <a:lnTo>
                    <a:pt x="687" y="44"/>
                  </a:lnTo>
                  <a:lnTo>
                    <a:pt x="690" y="45"/>
                  </a:lnTo>
                  <a:lnTo>
                    <a:pt x="692" y="45"/>
                  </a:lnTo>
                  <a:lnTo>
                    <a:pt x="694" y="46"/>
                  </a:lnTo>
                  <a:lnTo>
                    <a:pt x="696" y="46"/>
                  </a:lnTo>
                  <a:lnTo>
                    <a:pt x="698" y="46"/>
                  </a:lnTo>
                  <a:lnTo>
                    <a:pt x="704" y="45"/>
                  </a:lnTo>
                  <a:lnTo>
                    <a:pt x="708" y="45"/>
                  </a:lnTo>
                  <a:lnTo>
                    <a:pt x="716" y="44"/>
                  </a:lnTo>
                  <a:lnTo>
                    <a:pt x="718" y="43"/>
                  </a:lnTo>
                  <a:lnTo>
                    <a:pt x="719" y="43"/>
                  </a:lnTo>
                  <a:lnTo>
                    <a:pt x="722" y="43"/>
                  </a:lnTo>
                  <a:lnTo>
                    <a:pt x="724" y="43"/>
                  </a:lnTo>
                  <a:lnTo>
                    <a:pt x="735" y="45"/>
                  </a:lnTo>
                  <a:lnTo>
                    <a:pt x="739" y="45"/>
                  </a:lnTo>
                  <a:lnTo>
                    <a:pt x="742" y="46"/>
                  </a:lnTo>
                  <a:lnTo>
                    <a:pt x="747" y="46"/>
                  </a:lnTo>
                  <a:lnTo>
                    <a:pt x="751" y="45"/>
                  </a:lnTo>
                  <a:lnTo>
                    <a:pt x="754" y="45"/>
                  </a:lnTo>
                  <a:lnTo>
                    <a:pt x="756" y="45"/>
                  </a:lnTo>
                  <a:lnTo>
                    <a:pt x="757" y="45"/>
                  </a:lnTo>
                  <a:lnTo>
                    <a:pt x="759" y="44"/>
                  </a:lnTo>
                  <a:lnTo>
                    <a:pt x="760" y="42"/>
                  </a:lnTo>
                  <a:lnTo>
                    <a:pt x="761" y="41"/>
                  </a:lnTo>
                  <a:lnTo>
                    <a:pt x="762" y="39"/>
                  </a:lnTo>
                  <a:lnTo>
                    <a:pt x="763" y="35"/>
                  </a:lnTo>
                  <a:lnTo>
                    <a:pt x="764" y="33"/>
                  </a:lnTo>
                  <a:lnTo>
                    <a:pt x="769" y="12"/>
                  </a:lnTo>
                  <a:lnTo>
                    <a:pt x="771" y="7"/>
                  </a:lnTo>
                  <a:lnTo>
                    <a:pt x="772" y="3"/>
                  </a:lnTo>
                  <a:lnTo>
                    <a:pt x="773" y="1"/>
                  </a:lnTo>
                  <a:lnTo>
                    <a:pt x="774" y="0"/>
                  </a:lnTo>
                  <a:lnTo>
                    <a:pt x="775" y="0"/>
                  </a:lnTo>
                  <a:lnTo>
                    <a:pt x="776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5" name="Freeform 104">
              <a:extLst>
                <a:ext uri="{FF2B5EF4-FFF2-40B4-BE49-F238E27FC236}">
                  <a16:creationId xmlns:a16="http://schemas.microsoft.com/office/drawing/2014/main" id="{37D1184C-B0A0-498F-B81B-D7146E554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0" y="1816"/>
              <a:ext cx="855" cy="1245"/>
            </a:xfrm>
            <a:custGeom>
              <a:avLst/>
              <a:gdLst>
                <a:gd name="T0" fmla="*/ 388 w 855"/>
                <a:gd name="T1" fmla="*/ 20 h 1245"/>
                <a:gd name="T2" fmla="*/ 398 w 855"/>
                <a:gd name="T3" fmla="*/ 62 h 1245"/>
                <a:gd name="T4" fmla="*/ 439 w 855"/>
                <a:gd name="T5" fmla="*/ 59 h 1245"/>
                <a:gd name="T6" fmla="*/ 447 w 855"/>
                <a:gd name="T7" fmla="*/ 122 h 1245"/>
                <a:gd name="T8" fmla="*/ 412 w 855"/>
                <a:gd name="T9" fmla="*/ 130 h 1245"/>
                <a:gd name="T10" fmla="*/ 354 w 855"/>
                <a:gd name="T11" fmla="*/ 178 h 1245"/>
                <a:gd name="T12" fmla="*/ 312 w 855"/>
                <a:gd name="T13" fmla="*/ 249 h 1245"/>
                <a:gd name="T14" fmla="*/ 298 w 855"/>
                <a:gd name="T15" fmla="*/ 328 h 1245"/>
                <a:gd name="T16" fmla="*/ 262 w 855"/>
                <a:gd name="T17" fmla="*/ 406 h 1245"/>
                <a:gd name="T18" fmla="*/ 286 w 855"/>
                <a:gd name="T19" fmla="*/ 446 h 1245"/>
                <a:gd name="T20" fmla="*/ 265 w 855"/>
                <a:gd name="T21" fmla="*/ 496 h 1245"/>
                <a:gd name="T22" fmla="*/ 262 w 855"/>
                <a:gd name="T23" fmla="*/ 544 h 1245"/>
                <a:gd name="T24" fmla="*/ 304 w 855"/>
                <a:gd name="T25" fmla="*/ 560 h 1245"/>
                <a:gd name="T26" fmla="*/ 309 w 855"/>
                <a:gd name="T27" fmla="*/ 594 h 1245"/>
                <a:gd name="T28" fmla="*/ 359 w 855"/>
                <a:gd name="T29" fmla="*/ 573 h 1245"/>
                <a:gd name="T30" fmla="*/ 413 w 855"/>
                <a:gd name="T31" fmla="*/ 551 h 1245"/>
                <a:gd name="T32" fmla="*/ 420 w 855"/>
                <a:gd name="T33" fmla="*/ 602 h 1245"/>
                <a:gd name="T34" fmla="*/ 445 w 855"/>
                <a:gd name="T35" fmla="*/ 608 h 1245"/>
                <a:gd name="T36" fmla="*/ 472 w 855"/>
                <a:gd name="T37" fmla="*/ 582 h 1245"/>
                <a:gd name="T38" fmla="*/ 484 w 855"/>
                <a:gd name="T39" fmla="*/ 544 h 1245"/>
                <a:gd name="T40" fmla="*/ 507 w 855"/>
                <a:gd name="T41" fmla="*/ 552 h 1245"/>
                <a:gd name="T42" fmla="*/ 524 w 855"/>
                <a:gd name="T43" fmla="*/ 604 h 1245"/>
                <a:gd name="T44" fmla="*/ 557 w 855"/>
                <a:gd name="T45" fmla="*/ 649 h 1245"/>
                <a:gd name="T46" fmla="*/ 613 w 855"/>
                <a:gd name="T47" fmla="*/ 671 h 1245"/>
                <a:gd name="T48" fmla="*/ 668 w 855"/>
                <a:gd name="T49" fmla="*/ 664 h 1245"/>
                <a:gd name="T50" fmla="*/ 670 w 855"/>
                <a:gd name="T51" fmla="*/ 724 h 1245"/>
                <a:gd name="T52" fmla="*/ 696 w 855"/>
                <a:gd name="T53" fmla="*/ 766 h 1245"/>
                <a:gd name="T54" fmla="*/ 722 w 855"/>
                <a:gd name="T55" fmla="*/ 766 h 1245"/>
                <a:gd name="T56" fmla="*/ 788 w 855"/>
                <a:gd name="T57" fmla="*/ 836 h 1245"/>
                <a:gd name="T58" fmla="*/ 804 w 855"/>
                <a:gd name="T59" fmla="*/ 887 h 1245"/>
                <a:gd name="T60" fmla="*/ 832 w 855"/>
                <a:gd name="T61" fmla="*/ 886 h 1245"/>
                <a:gd name="T62" fmla="*/ 853 w 855"/>
                <a:gd name="T63" fmla="*/ 921 h 1245"/>
                <a:gd name="T64" fmla="*/ 821 w 855"/>
                <a:gd name="T65" fmla="*/ 942 h 1245"/>
                <a:gd name="T66" fmla="*/ 780 w 855"/>
                <a:gd name="T67" fmla="*/ 961 h 1245"/>
                <a:gd name="T68" fmla="*/ 751 w 855"/>
                <a:gd name="T69" fmla="*/ 1027 h 1245"/>
                <a:gd name="T70" fmla="*/ 707 w 855"/>
                <a:gd name="T71" fmla="*/ 1032 h 1245"/>
                <a:gd name="T72" fmla="*/ 666 w 855"/>
                <a:gd name="T73" fmla="*/ 1026 h 1245"/>
                <a:gd name="T74" fmla="*/ 640 w 855"/>
                <a:gd name="T75" fmla="*/ 1030 h 1245"/>
                <a:gd name="T76" fmla="*/ 648 w 855"/>
                <a:gd name="T77" fmla="*/ 1069 h 1245"/>
                <a:gd name="T78" fmla="*/ 616 w 855"/>
                <a:gd name="T79" fmla="*/ 1086 h 1245"/>
                <a:gd name="T80" fmla="*/ 553 w 855"/>
                <a:gd name="T81" fmla="*/ 1088 h 1245"/>
                <a:gd name="T82" fmla="*/ 535 w 855"/>
                <a:gd name="T83" fmla="*/ 1126 h 1245"/>
                <a:gd name="T84" fmla="*/ 492 w 855"/>
                <a:gd name="T85" fmla="*/ 1117 h 1245"/>
                <a:gd name="T86" fmla="*/ 445 w 855"/>
                <a:gd name="T87" fmla="*/ 1099 h 1245"/>
                <a:gd name="T88" fmla="*/ 426 w 855"/>
                <a:gd name="T89" fmla="*/ 1087 h 1245"/>
                <a:gd name="T90" fmla="*/ 425 w 855"/>
                <a:gd name="T91" fmla="*/ 1150 h 1245"/>
                <a:gd name="T92" fmla="*/ 383 w 855"/>
                <a:gd name="T93" fmla="*/ 1205 h 1245"/>
                <a:gd name="T94" fmla="*/ 317 w 855"/>
                <a:gd name="T95" fmla="*/ 1222 h 1245"/>
                <a:gd name="T96" fmla="*/ 284 w 855"/>
                <a:gd name="T97" fmla="*/ 1245 h 1245"/>
                <a:gd name="T98" fmla="*/ 256 w 855"/>
                <a:gd name="T99" fmla="*/ 1184 h 1245"/>
                <a:gd name="T100" fmla="*/ 190 w 855"/>
                <a:gd name="T101" fmla="*/ 1149 h 1245"/>
                <a:gd name="T102" fmla="*/ 192 w 855"/>
                <a:gd name="T103" fmla="*/ 1098 h 1245"/>
                <a:gd name="T104" fmla="*/ 170 w 855"/>
                <a:gd name="T105" fmla="*/ 1097 h 1245"/>
                <a:gd name="T106" fmla="*/ 140 w 855"/>
                <a:gd name="T107" fmla="*/ 1042 h 1245"/>
                <a:gd name="T108" fmla="*/ 109 w 855"/>
                <a:gd name="T109" fmla="*/ 996 h 1245"/>
                <a:gd name="T110" fmla="*/ 54 w 855"/>
                <a:gd name="T111" fmla="*/ 1002 h 1245"/>
                <a:gd name="T112" fmla="*/ 71 w 855"/>
                <a:gd name="T113" fmla="*/ 1038 h 1245"/>
                <a:gd name="T114" fmla="*/ 74 w 855"/>
                <a:gd name="T115" fmla="*/ 1080 h 1245"/>
                <a:gd name="T116" fmla="*/ 31 w 855"/>
                <a:gd name="T117" fmla="*/ 1113 h 1245"/>
                <a:gd name="T118" fmla="*/ 2 w 855"/>
                <a:gd name="T119" fmla="*/ 1075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55" h="1245">
                  <a:moveTo>
                    <a:pt x="351" y="4"/>
                  </a:moveTo>
                  <a:lnTo>
                    <a:pt x="354" y="4"/>
                  </a:lnTo>
                  <a:lnTo>
                    <a:pt x="357" y="3"/>
                  </a:lnTo>
                  <a:lnTo>
                    <a:pt x="360" y="2"/>
                  </a:lnTo>
                  <a:lnTo>
                    <a:pt x="370" y="0"/>
                  </a:lnTo>
                  <a:lnTo>
                    <a:pt x="373" y="0"/>
                  </a:lnTo>
                  <a:lnTo>
                    <a:pt x="375" y="0"/>
                  </a:lnTo>
                  <a:lnTo>
                    <a:pt x="377" y="0"/>
                  </a:lnTo>
                  <a:lnTo>
                    <a:pt x="379" y="0"/>
                  </a:lnTo>
                  <a:lnTo>
                    <a:pt x="380" y="0"/>
                  </a:lnTo>
                  <a:lnTo>
                    <a:pt x="381" y="1"/>
                  </a:lnTo>
                  <a:lnTo>
                    <a:pt x="382" y="2"/>
                  </a:lnTo>
                  <a:lnTo>
                    <a:pt x="383" y="3"/>
                  </a:lnTo>
                  <a:lnTo>
                    <a:pt x="384" y="4"/>
                  </a:lnTo>
                  <a:lnTo>
                    <a:pt x="385" y="10"/>
                  </a:lnTo>
                  <a:lnTo>
                    <a:pt x="388" y="18"/>
                  </a:lnTo>
                  <a:lnTo>
                    <a:pt x="388" y="20"/>
                  </a:lnTo>
                  <a:lnTo>
                    <a:pt x="388" y="21"/>
                  </a:lnTo>
                  <a:lnTo>
                    <a:pt x="388" y="24"/>
                  </a:lnTo>
                  <a:lnTo>
                    <a:pt x="388" y="27"/>
                  </a:lnTo>
                  <a:lnTo>
                    <a:pt x="387" y="46"/>
                  </a:lnTo>
                  <a:lnTo>
                    <a:pt x="387" y="49"/>
                  </a:lnTo>
                  <a:lnTo>
                    <a:pt x="387" y="52"/>
                  </a:lnTo>
                  <a:lnTo>
                    <a:pt x="388" y="55"/>
                  </a:lnTo>
                  <a:lnTo>
                    <a:pt x="388" y="58"/>
                  </a:lnTo>
                  <a:lnTo>
                    <a:pt x="389" y="59"/>
                  </a:lnTo>
                  <a:lnTo>
                    <a:pt x="390" y="61"/>
                  </a:lnTo>
                  <a:lnTo>
                    <a:pt x="391" y="62"/>
                  </a:lnTo>
                  <a:lnTo>
                    <a:pt x="392" y="62"/>
                  </a:lnTo>
                  <a:lnTo>
                    <a:pt x="393" y="63"/>
                  </a:lnTo>
                  <a:lnTo>
                    <a:pt x="394" y="64"/>
                  </a:lnTo>
                  <a:lnTo>
                    <a:pt x="396" y="64"/>
                  </a:lnTo>
                  <a:lnTo>
                    <a:pt x="397" y="63"/>
                  </a:lnTo>
                  <a:lnTo>
                    <a:pt x="398" y="62"/>
                  </a:lnTo>
                  <a:lnTo>
                    <a:pt x="399" y="62"/>
                  </a:lnTo>
                  <a:lnTo>
                    <a:pt x="403" y="57"/>
                  </a:lnTo>
                  <a:lnTo>
                    <a:pt x="406" y="55"/>
                  </a:lnTo>
                  <a:lnTo>
                    <a:pt x="407" y="54"/>
                  </a:lnTo>
                  <a:lnTo>
                    <a:pt x="409" y="54"/>
                  </a:lnTo>
                  <a:lnTo>
                    <a:pt x="411" y="54"/>
                  </a:lnTo>
                  <a:lnTo>
                    <a:pt x="412" y="53"/>
                  </a:lnTo>
                  <a:lnTo>
                    <a:pt x="416" y="53"/>
                  </a:lnTo>
                  <a:lnTo>
                    <a:pt x="418" y="53"/>
                  </a:lnTo>
                  <a:lnTo>
                    <a:pt x="420" y="53"/>
                  </a:lnTo>
                  <a:lnTo>
                    <a:pt x="423" y="53"/>
                  </a:lnTo>
                  <a:lnTo>
                    <a:pt x="426" y="54"/>
                  </a:lnTo>
                  <a:lnTo>
                    <a:pt x="428" y="54"/>
                  </a:lnTo>
                  <a:lnTo>
                    <a:pt x="431" y="55"/>
                  </a:lnTo>
                  <a:lnTo>
                    <a:pt x="434" y="56"/>
                  </a:lnTo>
                  <a:lnTo>
                    <a:pt x="436" y="58"/>
                  </a:lnTo>
                  <a:lnTo>
                    <a:pt x="439" y="59"/>
                  </a:lnTo>
                  <a:lnTo>
                    <a:pt x="441" y="61"/>
                  </a:lnTo>
                  <a:lnTo>
                    <a:pt x="444" y="63"/>
                  </a:lnTo>
                  <a:lnTo>
                    <a:pt x="445" y="64"/>
                  </a:lnTo>
                  <a:lnTo>
                    <a:pt x="446" y="65"/>
                  </a:lnTo>
                  <a:lnTo>
                    <a:pt x="448" y="68"/>
                  </a:lnTo>
                  <a:lnTo>
                    <a:pt x="449" y="70"/>
                  </a:lnTo>
                  <a:lnTo>
                    <a:pt x="450" y="73"/>
                  </a:lnTo>
                  <a:lnTo>
                    <a:pt x="451" y="75"/>
                  </a:lnTo>
                  <a:lnTo>
                    <a:pt x="452" y="77"/>
                  </a:lnTo>
                  <a:lnTo>
                    <a:pt x="452" y="79"/>
                  </a:lnTo>
                  <a:lnTo>
                    <a:pt x="452" y="80"/>
                  </a:lnTo>
                  <a:lnTo>
                    <a:pt x="451" y="102"/>
                  </a:lnTo>
                  <a:lnTo>
                    <a:pt x="450" y="109"/>
                  </a:lnTo>
                  <a:lnTo>
                    <a:pt x="450" y="113"/>
                  </a:lnTo>
                  <a:lnTo>
                    <a:pt x="448" y="118"/>
                  </a:lnTo>
                  <a:lnTo>
                    <a:pt x="448" y="121"/>
                  </a:lnTo>
                  <a:lnTo>
                    <a:pt x="447" y="122"/>
                  </a:lnTo>
                  <a:lnTo>
                    <a:pt x="446" y="125"/>
                  </a:lnTo>
                  <a:lnTo>
                    <a:pt x="445" y="127"/>
                  </a:lnTo>
                  <a:lnTo>
                    <a:pt x="445" y="127"/>
                  </a:lnTo>
                  <a:lnTo>
                    <a:pt x="444" y="129"/>
                  </a:lnTo>
                  <a:lnTo>
                    <a:pt x="442" y="130"/>
                  </a:lnTo>
                  <a:lnTo>
                    <a:pt x="440" y="130"/>
                  </a:lnTo>
                  <a:lnTo>
                    <a:pt x="437" y="131"/>
                  </a:lnTo>
                  <a:lnTo>
                    <a:pt x="435" y="131"/>
                  </a:lnTo>
                  <a:lnTo>
                    <a:pt x="434" y="131"/>
                  </a:lnTo>
                  <a:lnTo>
                    <a:pt x="431" y="130"/>
                  </a:lnTo>
                  <a:lnTo>
                    <a:pt x="428" y="130"/>
                  </a:lnTo>
                  <a:lnTo>
                    <a:pt x="423" y="129"/>
                  </a:lnTo>
                  <a:lnTo>
                    <a:pt x="420" y="128"/>
                  </a:lnTo>
                  <a:lnTo>
                    <a:pt x="418" y="128"/>
                  </a:lnTo>
                  <a:lnTo>
                    <a:pt x="416" y="128"/>
                  </a:lnTo>
                  <a:lnTo>
                    <a:pt x="414" y="129"/>
                  </a:lnTo>
                  <a:lnTo>
                    <a:pt x="412" y="130"/>
                  </a:lnTo>
                  <a:lnTo>
                    <a:pt x="410" y="133"/>
                  </a:lnTo>
                  <a:lnTo>
                    <a:pt x="406" y="136"/>
                  </a:lnTo>
                  <a:lnTo>
                    <a:pt x="402" y="140"/>
                  </a:lnTo>
                  <a:lnTo>
                    <a:pt x="394" y="150"/>
                  </a:lnTo>
                  <a:lnTo>
                    <a:pt x="391" y="153"/>
                  </a:lnTo>
                  <a:lnTo>
                    <a:pt x="389" y="155"/>
                  </a:lnTo>
                  <a:lnTo>
                    <a:pt x="387" y="156"/>
                  </a:lnTo>
                  <a:lnTo>
                    <a:pt x="384" y="158"/>
                  </a:lnTo>
                  <a:lnTo>
                    <a:pt x="381" y="159"/>
                  </a:lnTo>
                  <a:lnTo>
                    <a:pt x="375" y="162"/>
                  </a:lnTo>
                  <a:lnTo>
                    <a:pt x="373" y="163"/>
                  </a:lnTo>
                  <a:lnTo>
                    <a:pt x="370" y="165"/>
                  </a:lnTo>
                  <a:lnTo>
                    <a:pt x="367" y="166"/>
                  </a:lnTo>
                  <a:lnTo>
                    <a:pt x="365" y="167"/>
                  </a:lnTo>
                  <a:lnTo>
                    <a:pt x="363" y="169"/>
                  </a:lnTo>
                  <a:lnTo>
                    <a:pt x="357" y="176"/>
                  </a:lnTo>
                  <a:lnTo>
                    <a:pt x="354" y="178"/>
                  </a:lnTo>
                  <a:lnTo>
                    <a:pt x="352" y="179"/>
                  </a:lnTo>
                  <a:lnTo>
                    <a:pt x="348" y="183"/>
                  </a:lnTo>
                  <a:lnTo>
                    <a:pt x="345" y="185"/>
                  </a:lnTo>
                  <a:lnTo>
                    <a:pt x="343" y="189"/>
                  </a:lnTo>
                  <a:lnTo>
                    <a:pt x="337" y="194"/>
                  </a:lnTo>
                  <a:lnTo>
                    <a:pt x="324" y="211"/>
                  </a:lnTo>
                  <a:lnTo>
                    <a:pt x="320" y="214"/>
                  </a:lnTo>
                  <a:lnTo>
                    <a:pt x="319" y="218"/>
                  </a:lnTo>
                  <a:lnTo>
                    <a:pt x="318" y="220"/>
                  </a:lnTo>
                  <a:lnTo>
                    <a:pt x="317" y="223"/>
                  </a:lnTo>
                  <a:lnTo>
                    <a:pt x="316" y="226"/>
                  </a:lnTo>
                  <a:lnTo>
                    <a:pt x="315" y="231"/>
                  </a:lnTo>
                  <a:lnTo>
                    <a:pt x="314" y="239"/>
                  </a:lnTo>
                  <a:lnTo>
                    <a:pt x="314" y="241"/>
                  </a:lnTo>
                  <a:lnTo>
                    <a:pt x="314" y="244"/>
                  </a:lnTo>
                  <a:lnTo>
                    <a:pt x="313" y="246"/>
                  </a:lnTo>
                  <a:lnTo>
                    <a:pt x="312" y="249"/>
                  </a:lnTo>
                  <a:lnTo>
                    <a:pt x="309" y="258"/>
                  </a:lnTo>
                  <a:lnTo>
                    <a:pt x="307" y="261"/>
                  </a:lnTo>
                  <a:lnTo>
                    <a:pt x="306" y="264"/>
                  </a:lnTo>
                  <a:lnTo>
                    <a:pt x="306" y="267"/>
                  </a:lnTo>
                  <a:lnTo>
                    <a:pt x="305" y="270"/>
                  </a:lnTo>
                  <a:lnTo>
                    <a:pt x="305" y="274"/>
                  </a:lnTo>
                  <a:lnTo>
                    <a:pt x="306" y="288"/>
                  </a:lnTo>
                  <a:lnTo>
                    <a:pt x="307" y="297"/>
                  </a:lnTo>
                  <a:lnTo>
                    <a:pt x="307" y="303"/>
                  </a:lnTo>
                  <a:lnTo>
                    <a:pt x="307" y="306"/>
                  </a:lnTo>
                  <a:lnTo>
                    <a:pt x="306" y="309"/>
                  </a:lnTo>
                  <a:lnTo>
                    <a:pt x="306" y="313"/>
                  </a:lnTo>
                  <a:lnTo>
                    <a:pt x="305" y="315"/>
                  </a:lnTo>
                  <a:lnTo>
                    <a:pt x="303" y="319"/>
                  </a:lnTo>
                  <a:lnTo>
                    <a:pt x="302" y="322"/>
                  </a:lnTo>
                  <a:lnTo>
                    <a:pt x="300" y="325"/>
                  </a:lnTo>
                  <a:lnTo>
                    <a:pt x="298" y="328"/>
                  </a:lnTo>
                  <a:lnTo>
                    <a:pt x="296" y="331"/>
                  </a:lnTo>
                  <a:lnTo>
                    <a:pt x="295" y="333"/>
                  </a:lnTo>
                  <a:lnTo>
                    <a:pt x="280" y="349"/>
                  </a:lnTo>
                  <a:lnTo>
                    <a:pt x="277" y="354"/>
                  </a:lnTo>
                  <a:lnTo>
                    <a:pt x="275" y="358"/>
                  </a:lnTo>
                  <a:lnTo>
                    <a:pt x="273" y="361"/>
                  </a:lnTo>
                  <a:lnTo>
                    <a:pt x="270" y="365"/>
                  </a:lnTo>
                  <a:lnTo>
                    <a:pt x="267" y="371"/>
                  </a:lnTo>
                  <a:lnTo>
                    <a:pt x="266" y="374"/>
                  </a:lnTo>
                  <a:lnTo>
                    <a:pt x="265" y="376"/>
                  </a:lnTo>
                  <a:lnTo>
                    <a:pt x="265" y="379"/>
                  </a:lnTo>
                  <a:lnTo>
                    <a:pt x="264" y="381"/>
                  </a:lnTo>
                  <a:lnTo>
                    <a:pt x="263" y="384"/>
                  </a:lnTo>
                  <a:lnTo>
                    <a:pt x="263" y="394"/>
                  </a:lnTo>
                  <a:lnTo>
                    <a:pt x="262" y="403"/>
                  </a:lnTo>
                  <a:lnTo>
                    <a:pt x="262" y="405"/>
                  </a:lnTo>
                  <a:lnTo>
                    <a:pt x="262" y="406"/>
                  </a:lnTo>
                  <a:lnTo>
                    <a:pt x="262" y="407"/>
                  </a:lnTo>
                  <a:lnTo>
                    <a:pt x="263" y="409"/>
                  </a:lnTo>
                  <a:lnTo>
                    <a:pt x="263" y="410"/>
                  </a:lnTo>
                  <a:lnTo>
                    <a:pt x="263" y="412"/>
                  </a:lnTo>
                  <a:lnTo>
                    <a:pt x="264" y="414"/>
                  </a:lnTo>
                  <a:lnTo>
                    <a:pt x="266" y="416"/>
                  </a:lnTo>
                  <a:lnTo>
                    <a:pt x="269" y="418"/>
                  </a:lnTo>
                  <a:lnTo>
                    <a:pt x="278" y="428"/>
                  </a:lnTo>
                  <a:lnTo>
                    <a:pt x="280" y="431"/>
                  </a:lnTo>
                  <a:lnTo>
                    <a:pt x="282" y="434"/>
                  </a:lnTo>
                  <a:lnTo>
                    <a:pt x="283" y="436"/>
                  </a:lnTo>
                  <a:lnTo>
                    <a:pt x="284" y="438"/>
                  </a:lnTo>
                  <a:lnTo>
                    <a:pt x="285" y="439"/>
                  </a:lnTo>
                  <a:lnTo>
                    <a:pt x="286" y="440"/>
                  </a:lnTo>
                  <a:lnTo>
                    <a:pt x="286" y="442"/>
                  </a:lnTo>
                  <a:lnTo>
                    <a:pt x="286" y="444"/>
                  </a:lnTo>
                  <a:lnTo>
                    <a:pt x="286" y="446"/>
                  </a:lnTo>
                  <a:lnTo>
                    <a:pt x="286" y="447"/>
                  </a:lnTo>
                  <a:lnTo>
                    <a:pt x="286" y="450"/>
                  </a:lnTo>
                  <a:lnTo>
                    <a:pt x="285" y="452"/>
                  </a:lnTo>
                  <a:lnTo>
                    <a:pt x="284" y="455"/>
                  </a:lnTo>
                  <a:lnTo>
                    <a:pt x="283" y="459"/>
                  </a:lnTo>
                  <a:lnTo>
                    <a:pt x="281" y="462"/>
                  </a:lnTo>
                  <a:lnTo>
                    <a:pt x="279" y="463"/>
                  </a:lnTo>
                  <a:lnTo>
                    <a:pt x="274" y="470"/>
                  </a:lnTo>
                  <a:lnTo>
                    <a:pt x="270" y="475"/>
                  </a:lnTo>
                  <a:lnTo>
                    <a:pt x="267" y="479"/>
                  </a:lnTo>
                  <a:lnTo>
                    <a:pt x="266" y="481"/>
                  </a:lnTo>
                  <a:lnTo>
                    <a:pt x="265" y="483"/>
                  </a:lnTo>
                  <a:lnTo>
                    <a:pt x="265" y="484"/>
                  </a:lnTo>
                  <a:lnTo>
                    <a:pt x="264" y="487"/>
                  </a:lnTo>
                  <a:lnTo>
                    <a:pt x="264" y="489"/>
                  </a:lnTo>
                  <a:lnTo>
                    <a:pt x="265" y="494"/>
                  </a:lnTo>
                  <a:lnTo>
                    <a:pt x="265" y="496"/>
                  </a:lnTo>
                  <a:lnTo>
                    <a:pt x="264" y="497"/>
                  </a:lnTo>
                  <a:lnTo>
                    <a:pt x="264" y="501"/>
                  </a:lnTo>
                  <a:lnTo>
                    <a:pt x="263" y="504"/>
                  </a:lnTo>
                  <a:lnTo>
                    <a:pt x="262" y="508"/>
                  </a:lnTo>
                  <a:lnTo>
                    <a:pt x="257" y="517"/>
                  </a:lnTo>
                  <a:lnTo>
                    <a:pt x="256" y="519"/>
                  </a:lnTo>
                  <a:lnTo>
                    <a:pt x="255" y="521"/>
                  </a:lnTo>
                  <a:lnTo>
                    <a:pt x="255" y="523"/>
                  </a:lnTo>
                  <a:lnTo>
                    <a:pt x="255" y="527"/>
                  </a:lnTo>
                  <a:lnTo>
                    <a:pt x="255" y="528"/>
                  </a:lnTo>
                  <a:lnTo>
                    <a:pt x="255" y="530"/>
                  </a:lnTo>
                  <a:lnTo>
                    <a:pt x="255" y="530"/>
                  </a:lnTo>
                  <a:lnTo>
                    <a:pt x="255" y="532"/>
                  </a:lnTo>
                  <a:lnTo>
                    <a:pt x="257" y="535"/>
                  </a:lnTo>
                  <a:lnTo>
                    <a:pt x="259" y="539"/>
                  </a:lnTo>
                  <a:lnTo>
                    <a:pt x="261" y="541"/>
                  </a:lnTo>
                  <a:lnTo>
                    <a:pt x="262" y="544"/>
                  </a:lnTo>
                  <a:lnTo>
                    <a:pt x="263" y="546"/>
                  </a:lnTo>
                  <a:lnTo>
                    <a:pt x="267" y="551"/>
                  </a:lnTo>
                  <a:lnTo>
                    <a:pt x="272" y="556"/>
                  </a:lnTo>
                  <a:lnTo>
                    <a:pt x="274" y="558"/>
                  </a:lnTo>
                  <a:lnTo>
                    <a:pt x="276" y="561"/>
                  </a:lnTo>
                  <a:lnTo>
                    <a:pt x="278" y="562"/>
                  </a:lnTo>
                  <a:lnTo>
                    <a:pt x="279" y="563"/>
                  </a:lnTo>
                  <a:lnTo>
                    <a:pt x="281" y="564"/>
                  </a:lnTo>
                  <a:lnTo>
                    <a:pt x="283" y="564"/>
                  </a:lnTo>
                  <a:lnTo>
                    <a:pt x="284" y="564"/>
                  </a:lnTo>
                  <a:lnTo>
                    <a:pt x="286" y="564"/>
                  </a:lnTo>
                  <a:lnTo>
                    <a:pt x="288" y="564"/>
                  </a:lnTo>
                  <a:lnTo>
                    <a:pt x="294" y="563"/>
                  </a:lnTo>
                  <a:lnTo>
                    <a:pt x="296" y="562"/>
                  </a:lnTo>
                  <a:lnTo>
                    <a:pt x="300" y="561"/>
                  </a:lnTo>
                  <a:lnTo>
                    <a:pt x="303" y="560"/>
                  </a:lnTo>
                  <a:lnTo>
                    <a:pt x="304" y="560"/>
                  </a:lnTo>
                  <a:lnTo>
                    <a:pt x="305" y="560"/>
                  </a:lnTo>
                  <a:lnTo>
                    <a:pt x="305" y="561"/>
                  </a:lnTo>
                  <a:lnTo>
                    <a:pt x="306" y="561"/>
                  </a:lnTo>
                  <a:lnTo>
                    <a:pt x="307" y="562"/>
                  </a:lnTo>
                  <a:lnTo>
                    <a:pt x="307" y="564"/>
                  </a:lnTo>
                  <a:lnTo>
                    <a:pt x="307" y="564"/>
                  </a:lnTo>
                  <a:lnTo>
                    <a:pt x="307" y="567"/>
                  </a:lnTo>
                  <a:lnTo>
                    <a:pt x="307" y="572"/>
                  </a:lnTo>
                  <a:lnTo>
                    <a:pt x="305" y="580"/>
                  </a:lnTo>
                  <a:lnTo>
                    <a:pt x="305" y="582"/>
                  </a:lnTo>
                  <a:lnTo>
                    <a:pt x="305" y="586"/>
                  </a:lnTo>
                  <a:lnTo>
                    <a:pt x="305" y="587"/>
                  </a:lnTo>
                  <a:lnTo>
                    <a:pt x="306" y="589"/>
                  </a:lnTo>
                  <a:lnTo>
                    <a:pt x="307" y="591"/>
                  </a:lnTo>
                  <a:lnTo>
                    <a:pt x="307" y="592"/>
                  </a:lnTo>
                  <a:lnTo>
                    <a:pt x="308" y="593"/>
                  </a:lnTo>
                  <a:lnTo>
                    <a:pt x="309" y="594"/>
                  </a:lnTo>
                  <a:lnTo>
                    <a:pt x="309" y="594"/>
                  </a:lnTo>
                  <a:lnTo>
                    <a:pt x="311" y="595"/>
                  </a:lnTo>
                  <a:lnTo>
                    <a:pt x="312" y="595"/>
                  </a:lnTo>
                  <a:lnTo>
                    <a:pt x="315" y="595"/>
                  </a:lnTo>
                  <a:lnTo>
                    <a:pt x="324" y="595"/>
                  </a:lnTo>
                  <a:lnTo>
                    <a:pt x="332" y="595"/>
                  </a:lnTo>
                  <a:lnTo>
                    <a:pt x="334" y="594"/>
                  </a:lnTo>
                  <a:lnTo>
                    <a:pt x="337" y="594"/>
                  </a:lnTo>
                  <a:lnTo>
                    <a:pt x="338" y="593"/>
                  </a:lnTo>
                  <a:lnTo>
                    <a:pt x="340" y="592"/>
                  </a:lnTo>
                  <a:lnTo>
                    <a:pt x="341" y="590"/>
                  </a:lnTo>
                  <a:lnTo>
                    <a:pt x="343" y="586"/>
                  </a:lnTo>
                  <a:lnTo>
                    <a:pt x="344" y="585"/>
                  </a:lnTo>
                  <a:lnTo>
                    <a:pt x="346" y="583"/>
                  </a:lnTo>
                  <a:lnTo>
                    <a:pt x="349" y="580"/>
                  </a:lnTo>
                  <a:lnTo>
                    <a:pt x="352" y="578"/>
                  </a:lnTo>
                  <a:lnTo>
                    <a:pt x="359" y="573"/>
                  </a:lnTo>
                  <a:lnTo>
                    <a:pt x="367" y="566"/>
                  </a:lnTo>
                  <a:lnTo>
                    <a:pt x="371" y="564"/>
                  </a:lnTo>
                  <a:lnTo>
                    <a:pt x="376" y="560"/>
                  </a:lnTo>
                  <a:lnTo>
                    <a:pt x="378" y="558"/>
                  </a:lnTo>
                  <a:lnTo>
                    <a:pt x="380" y="557"/>
                  </a:lnTo>
                  <a:lnTo>
                    <a:pt x="383" y="556"/>
                  </a:lnTo>
                  <a:lnTo>
                    <a:pt x="387" y="554"/>
                  </a:lnTo>
                  <a:lnTo>
                    <a:pt x="391" y="552"/>
                  </a:lnTo>
                  <a:lnTo>
                    <a:pt x="393" y="552"/>
                  </a:lnTo>
                  <a:lnTo>
                    <a:pt x="394" y="552"/>
                  </a:lnTo>
                  <a:lnTo>
                    <a:pt x="399" y="551"/>
                  </a:lnTo>
                  <a:lnTo>
                    <a:pt x="404" y="550"/>
                  </a:lnTo>
                  <a:lnTo>
                    <a:pt x="407" y="550"/>
                  </a:lnTo>
                  <a:lnTo>
                    <a:pt x="409" y="550"/>
                  </a:lnTo>
                  <a:lnTo>
                    <a:pt x="411" y="550"/>
                  </a:lnTo>
                  <a:lnTo>
                    <a:pt x="412" y="551"/>
                  </a:lnTo>
                  <a:lnTo>
                    <a:pt x="413" y="551"/>
                  </a:lnTo>
                  <a:lnTo>
                    <a:pt x="415" y="552"/>
                  </a:lnTo>
                  <a:lnTo>
                    <a:pt x="418" y="553"/>
                  </a:lnTo>
                  <a:lnTo>
                    <a:pt x="420" y="555"/>
                  </a:lnTo>
                  <a:lnTo>
                    <a:pt x="421" y="556"/>
                  </a:lnTo>
                  <a:lnTo>
                    <a:pt x="422" y="558"/>
                  </a:lnTo>
                  <a:lnTo>
                    <a:pt x="423" y="561"/>
                  </a:lnTo>
                  <a:lnTo>
                    <a:pt x="423" y="563"/>
                  </a:lnTo>
                  <a:lnTo>
                    <a:pt x="424" y="564"/>
                  </a:lnTo>
                  <a:lnTo>
                    <a:pt x="424" y="565"/>
                  </a:lnTo>
                  <a:lnTo>
                    <a:pt x="424" y="567"/>
                  </a:lnTo>
                  <a:lnTo>
                    <a:pt x="423" y="573"/>
                  </a:lnTo>
                  <a:lnTo>
                    <a:pt x="423" y="578"/>
                  </a:lnTo>
                  <a:lnTo>
                    <a:pt x="420" y="588"/>
                  </a:lnTo>
                  <a:lnTo>
                    <a:pt x="420" y="594"/>
                  </a:lnTo>
                  <a:lnTo>
                    <a:pt x="419" y="597"/>
                  </a:lnTo>
                  <a:lnTo>
                    <a:pt x="419" y="599"/>
                  </a:lnTo>
                  <a:lnTo>
                    <a:pt x="420" y="602"/>
                  </a:lnTo>
                  <a:lnTo>
                    <a:pt x="420" y="604"/>
                  </a:lnTo>
                  <a:lnTo>
                    <a:pt x="421" y="607"/>
                  </a:lnTo>
                  <a:lnTo>
                    <a:pt x="423" y="610"/>
                  </a:lnTo>
                  <a:lnTo>
                    <a:pt x="424" y="613"/>
                  </a:lnTo>
                  <a:lnTo>
                    <a:pt x="426" y="616"/>
                  </a:lnTo>
                  <a:lnTo>
                    <a:pt x="428" y="618"/>
                  </a:lnTo>
                  <a:lnTo>
                    <a:pt x="430" y="619"/>
                  </a:lnTo>
                  <a:lnTo>
                    <a:pt x="432" y="620"/>
                  </a:lnTo>
                  <a:lnTo>
                    <a:pt x="434" y="620"/>
                  </a:lnTo>
                  <a:lnTo>
                    <a:pt x="434" y="620"/>
                  </a:lnTo>
                  <a:lnTo>
                    <a:pt x="435" y="620"/>
                  </a:lnTo>
                  <a:lnTo>
                    <a:pt x="436" y="619"/>
                  </a:lnTo>
                  <a:lnTo>
                    <a:pt x="437" y="618"/>
                  </a:lnTo>
                  <a:lnTo>
                    <a:pt x="439" y="616"/>
                  </a:lnTo>
                  <a:lnTo>
                    <a:pt x="443" y="611"/>
                  </a:lnTo>
                  <a:lnTo>
                    <a:pt x="444" y="609"/>
                  </a:lnTo>
                  <a:lnTo>
                    <a:pt x="445" y="608"/>
                  </a:lnTo>
                  <a:lnTo>
                    <a:pt x="450" y="602"/>
                  </a:lnTo>
                  <a:lnTo>
                    <a:pt x="452" y="600"/>
                  </a:lnTo>
                  <a:lnTo>
                    <a:pt x="453" y="599"/>
                  </a:lnTo>
                  <a:lnTo>
                    <a:pt x="454" y="598"/>
                  </a:lnTo>
                  <a:lnTo>
                    <a:pt x="455" y="594"/>
                  </a:lnTo>
                  <a:lnTo>
                    <a:pt x="456" y="592"/>
                  </a:lnTo>
                  <a:lnTo>
                    <a:pt x="457" y="591"/>
                  </a:lnTo>
                  <a:lnTo>
                    <a:pt x="458" y="589"/>
                  </a:lnTo>
                  <a:lnTo>
                    <a:pt x="459" y="588"/>
                  </a:lnTo>
                  <a:lnTo>
                    <a:pt x="461" y="587"/>
                  </a:lnTo>
                  <a:lnTo>
                    <a:pt x="466" y="586"/>
                  </a:lnTo>
                  <a:lnTo>
                    <a:pt x="467" y="585"/>
                  </a:lnTo>
                  <a:lnTo>
                    <a:pt x="468" y="583"/>
                  </a:lnTo>
                  <a:lnTo>
                    <a:pt x="469" y="582"/>
                  </a:lnTo>
                  <a:lnTo>
                    <a:pt x="470" y="582"/>
                  </a:lnTo>
                  <a:lnTo>
                    <a:pt x="471" y="582"/>
                  </a:lnTo>
                  <a:lnTo>
                    <a:pt x="472" y="582"/>
                  </a:lnTo>
                  <a:lnTo>
                    <a:pt x="473" y="582"/>
                  </a:lnTo>
                  <a:lnTo>
                    <a:pt x="476" y="583"/>
                  </a:lnTo>
                  <a:lnTo>
                    <a:pt x="477" y="584"/>
                  </a:lnTo>
                  <a:lnTo>
                    <a:pt x="478" y="583"/>
                  </a:lnTo>
                  <a:lnTo>
                    <a:pt x="479" y="583"/>
                  </a:lnTo>
                  <a:lnTo>
                    <a:pt x="480" y="583"/>
                  </a:lnTo>
                  <a:lnTo>
                    <a:pt x="482" y="582"/>
                  </a:lnTo>
                  <a:lnTo>
                    <a:pt x="484" y="580"/>
                  </a:lnTo>
                  <a:lnTo>
                    <a:pt x="486" y="578"/>
                  </a:lnTo>
                  <a:lnTo>
                    <a:pt x="488" y="575"/>
                  </a:lnTo>
                  <a:lnTo>
                    <a:pt x="489" y="574"/>
                  </a:lnTo>
                  <a:lnTo>
                    <a:pt x="490" y="572"/>
                  </a:lnTo>
                  <a:lnTo>
                    <a:pt x="490" y="570"/>
                  </a:lnTo>
                  <a:lnTo>
                    <a:pt x="490" y="567"/>
                  </a:lnTo>
                  <a:lnTo>
                    <a:pt x="490" y="565"/>
                  </a:lnTo>
                  <a:lnTo>
                    <a:pt x="489" y="563"/>
                  </a:lnTo>
                  <a:lnTo>
                    <a:pt x="484" y="544"/>
                  </a:lnTo>
                  <a:lnTo>
                    <a:pt x="484" y="541"/>
                  </a:lnTo>
                  <a:lnTo>
                    <a:pt x="484" y="540"/>
                  </a:lnTo>
                  <a:lnTo>
                    <a:pt x="484" y="539"/>
                  </a:lnTo>
                  <a:lnTo>
                    <a:pt x="485" y="537"/>
                  </a:lnTo>
                  <a:lnTo>
                    <a:pt x="486" y="536"/>
                  </a:lnTo>
                  <a:lnTo>
                    <a:pt x="487" y="535"/>
                  </a:lnTo>
                  <a:lnTo>
                    <a:pt x="489" y="534"/>
                  </a:lnTo>
                  <a:lnTo>
                    <a:pt x="491" y="534"/>
                  </a:lnTo>
                  <a:lnTo>
                    <a:pt x="492" y="534"/>
                  </a:lnTo>
                  <a:lnTo>
                    <a:pt x="494" y="534"/>
                  </a:lnTo>
                  <a:lnTo>
                    <a:pt x="496" y="535"/>
                  </a:lnTo>
                  <a:lnTo>
                    <a:pt x="497" y="536"/>
                  </a:lnTo>
                  <a:lnTo>
                    <a:pt x="498" y="537"/>
                  </a:lnTo>
                  <a:lnTo>
                    <a:pt x="499" y="538"/>
                  </a:lnTo>
                  <a:lnTo>
                    <a:pt x="500" y="540"/>
                  </a:lnTo>
                  <a:lnTo>
                    <a:pt x="503" y="546"/>
                  </a:lnTo>
                  <a:lnTo>
                    <a:pt x="507" y="552"/>
                  </a:lnTo>
                  <a:lnTo>
                    <a:pt x="508" y="556"/>
                  </a:lnTo>
                  <a:lnTo>
                    <a:pt x="510" y="560"/>
                  </a:lnTo>
                  <a:lnTo>
                    <a:pt x="510" y="564"/>
                  </a:lnTo>
                  <a:lnTo>
                    <a:pt x="511" y="566"/>
                  </a:lnTo>
                  <a:lnTo>
                    <a:pt x="511" y="572"/>
                  </a:lnTo>
                  <a:lnTo>
                    <a:pt x="511" y="574"/>
                  </a:lnTo>
                  <a:lnTo>
                    <a:pt x="511" y="577"/>
                  </a:lnTo>
                  <a:lnTo>
                    <a:pt x="512" y="580"/>
                  </a:lnTo>
                  <a:lnTo>
                    <a:pt x="513" y="585"/>
                  </a:lnTo>
                  <a:lnTo>
                    <a:pt x="514" y="587"/>
                  </a:lnTo>
                  <a:lnTo>
                    <a:pt x="518" y="594"/>
                  </a:lnTo>
                  <a:lnTo>
                    <a:pt x="519" y="596"/>
                  </a:lnTo>
                  <a:lnTo>
                    <a:pt x="521" y="598"/>
                  </a:lnTo>
                  <a:lnTo>
                    <a:pt x="522" y="599"/>
                  </a:lnTo>
                  <a:lnTo>
                    <a:pt x="523" y="600"/>
                  </a:lnTo>
                  <a:lnTo>
                    <a:pt x="523" y="602"/>
                  </a:lnTo>
                  <a:lnTo>
                    <a:pt x="524" y="604"/>
                  </a:lnTo>
                  <a:lnTo>
                    <a:pt x="524" y="609"/>
                  </a:lnTo>
                  <a:lnTo>
                    <a:pt x="525" y="611"/>
                  </a:lnTo>
                  <a:lnTo>
                    <a:pt x="525" y="614"/>
                  </a:lnTo>
                  <a:lnTo>
                    <a:pt x="525" y="616"/>
                  </a:lnTo>
                  <a:lnTo>
                    <a:pt x="526" y="617"/>
                  </a:lnTo>
                  <a:lnTo>
                    <a:pt x="528" y="619"/>
                  </a:lnTo>
                  <a:lnTo>
                    <a:pt x="535" y="626"/>
                  </a:lnTo>
                  <a:lnTo>
                    <a:pt x="536" y="628"/>
                  </a:lnTo>
                  <a:lnTo>
                    <a:pt x="538" y="631"/>
                  </a:lnTo>
                  <a:lnTo>
                    <a:pt x="541" y="636"/>
                  </a:lnTo>
                  <a:lnTo>
                    <a:pt x="543" y="638"/>
                  </a:lnTo>
                  <a:lnTo>
                    <a:pt x="545" y="641"/>
                  </a:lnTo>
                  <a:lnTo>
                    <a:pt x="546" y="643"/>
                  </a:lnTo>
                  <a:lnTo>
                    <a:pt x="548" y="644"/>
                  </a:lnTo>
                  <a:lnTo>
                    <a:pt x="550" y="646"/>
                  </a:lnTo>
                  <a:lnTo>
                    <a:pt x="552" y="647"/>
                  </a:lnTo>
                  <a:lnTo>
                    <a:pt x="557" y="649"/>
                  </a:lnTo>
                  <a:lnTo>
                    <a:pt x="559" y="651"/>
                  </a:lnTo>
                  <a:lnTo>
                    <a:pt x="561" y="652"/>
                  </a:lnTo>
                  <a:lnTo>
                    <a:pt x="564" y="654"/>
                  </a:lnTo>
                  <a:lnTo>
                    <a:pt x="568" y="658"/>
                  </a:lnTo>
                  <a:lnTo>
                    <a:pt x="570" y="659"/>
                  </a:lnTo>
                  <a:lnTo>
                    <a:pt x="573" y="662"/>
                  </a:lnTo>
                  <a:lnTo>
                    <a:pt x="576" y="663"/>
                  </a:lnTo>
                  <a:lnTo>
                    <a:pt x="586" y="667"/>
                  </a:lnTo>
                  <a:lnTo>
                    <a:pt x="591" y="669"/>
                  </a:lnTo>
                  <a:lnTo>
                    <a:pt x="593" y="670"/>
                  </a:lnTo>
                  <a:lnTo>
                    <a:pt x="595" y="671"/>
                  </a:lnTo>
                  <a:lnTo>
                    <a:pt x="604" y="672"/>
                  </a:lnTo>
                  <a:lnTo>
                    <a:pt x="605" y="672"/>
                  </a:lnTo>
                  <a:lnTo>
                    <a:pt x="607" y="673"/>
                  </a:lnTo>
                  <a:lnTo>
                    <a:pt x="609" y="672"/>
                  </a:lnTo>
                  <a:lnTo>
                    <a:pt x="611" y="672"/>
                  </a:lnTo>
                  <a:lnTo>
                    <a:pt x="613" y="671"/>
                  </a:lnTo>
                  <a:lnTo>
                    <a:pt x="617" y="669"/>
                  </a:lnTo>
                  <a:lnTo>
                    <a:pt x="623" y="667"/>
                  </a:lnTo>
                  <a:lnTo>
                    <a:pt x="627" y="666"/>
                  </a:lnTo>
                  <a:lnTo>
                    <a:pt x="631" y="664"/>
                  </a:lnTo>
                  <a:lnTo>
                    <a:pt x="644" y="660"/>
                  </a:lnTo>
                  <a:lnTo>
                    <a:pt x="647" y="659"/>
                  </a:lnTo>
                  <a:lnTo>
                    <a:pt x="653" y="657"/>
                  </a:lnTo>
                  <a:lnTo>
                    <a:pt x="655" y="657"/>
                  </a:lnTo>
                  <a:lnTo>
                    <a:pt x="657" y="657"/>
                  </a:lnTo>
                  <a:lnTo>
                    <a:pt x="659" y="657"/>
                  </a:lnTo>
                  <a:lnTo>
                    <a:pt x="660" y="657"/>
                  </a:lnTo>
                  <a:lnTo>
                    <a:pt x="661" y="657"/>
                  </a:lnTo>
                  <a:lnTo>
                    <a:pt x="662" y="658"/>
                  </a:lnTo>
                  <a:lnTo>
                    <a:pt x="663" y="659"/>
                  </a:lnTo>
                  <a:lnTo>
                    <a:pt x="664" y="660"/>
                  </a:lnTo>
                  <a:lnTo>
                    <a:pt x="666" y="662"/>
                  </a:lnTo>
                  <a:lnTo>
                    <a:pt x="668" y="664"/>
                  </a:lnTo>
                  <a:lnTo>
                    <a:pt x="670" y="666"/>
                  </a:lnTo>
                  <a:lnTo>
                    <a:pt x="671" y="669"/>
                  </a:lnTo>
                  <a:lnTo>
                    <a:pt x="672" y="672"/>
                  </a:lnTo>
                  <a:lnTo>
                    <a:pt x="673" y="676"/>
                  </a:lnTo>
                  <a:lnTo>
                    <a:pt x="673" y="680"/>
                  </a:lnTo>
                  <a:lnTo>
                    <a:pt x="674" y="684"/>
                  </a:lnTo>
                  <a:lnTo>
                    <a:pt x="674" y="687"/>
                  </a:lnTo>
                  <a:lnTo>
                    <a:pt x="675" y="689"/>
                  </a:lnTo>
                  <a:lnTo>
                    <a:pt x="675" y="693"/>
                  </a:lnTo>
                  <a:lnTo>
                    <a:pt x="674" y="696"/>
                  </a:lnTo>
                  <a:lnTo>
                    <a:pt x="674" y="699"/>
                  </a:lnTo>
                  <a:lnTo>
                    <a:pt x="673" y="700"/>
                  </a:lnTo>
                  <a:lnTo>
                    <a:pt x="672" y="711"/>
                  </a:lnTo>
                  <a:lnTo>
                    <a:pt x="671" y="716"/>
                  </a:lnTo>
                  <a:lnTo>
                    <a:pt x="670" y="719"/>
                  </a:lnTo>
                  <a:lnTo>
                    <a:pt x="670" y="722"/>
                  </a:lnTo>
                  <a:lnTo>
                    <a:pt x="670" y="724"/>
                  </a:lnTo>
                  <a:lnTo>
                    <a:pt x="670" y="727"/>
                  </a:lnTo>
                  <a:lnTo>
                    <a:pt x="670" y="731"/>
                  </a:lnTo>
                  <a:lnTo>
                    <a:pt x="671" y="734"/>
                  </a:lnTo>
                  <a:lnTo>
                    <a:pt x="671" y="738"/>
                  </a:lnTo>
                  <a:lnTo>
                    <a:pt x="672" y="743"/>
                  </a:lnTo>
                  <a:lnTo>
                    <a:pt x="673" y="745"/>
                  </a:lnTo>
                  <a:lnTo>
                    <a:pt x="674" y="748"/>
                  </a:lnTo>
                  <a:lnTo>
                    <a:pt x="675" y="751"/>
                  </a:lnTo>
                  <a:lnTo>
                    <a:pt x="677" y="753"/>
                  </a:lnTo>
                  <a:lnTo>
                    <a:pt x="679" y="755"/>
                  </a:lnTo>
                  <a:lnTo>
                    <a:pt x="681" y="756"/>
                  </a:lnTo>
                  <a:lnTo>
                    <a:pt x="683" y="758"/>
                  </a:lnTo>
                  <a:lnTo>
                    <a:pt x="685" y="760"/>
                  </a:lnTo>
                  <a:lnTo>
                    <a:pt x="688" y="762"/>
                  </a:lnTo>
                  <a:lnTo>
                    <a:pt x="690" y="763"/>
                  </a:lnTo>
                  <a:lnTo>
                    <a:pt x="694" y="765"/>
                  </a:lnTo>
                  <a:lnTo>
                    <a:pt x="696" y="766"/>
                  </a:lnTo>
                  <a:lnTo>
                    <a:pt x="697" y="766"/>
                  </a:lnTo>
                  <a:lnTo>
                    <a:pt x="699" y="766"/>
                  </a:lnTo>
                  <a:lnTo>
                    <a:pt x="701" y="766"/>
                  </a:lnTo>
                  <a:lnTo>
                    <a:pt x="703" y="765"/>
                  </a:lnTo>
                  <a:lnTo>
                    <a:pt x="704" y="765"/>
                  </a:lnTo>
                  <a:lnTo>
                    <a:pt x="705" y="764"/>
                  </a:lnTo>
                  <a:lnTo>
                    <a:pt x="708" y="761"/>
                  </a:lnTo>
                  <a:lnTo>
                    <a:pt x="709" y="761"/>
                  </a:lnTo>
                  <a:lnTo>
                    <a:pt x="711" y="760"/>
                  </a:lnTo>
                  <a:lnTo>
                    <a:pt x="712" y="760"/>
                  </a:lnTo>
                  <a:lnTo>
                    <a:pt x="713" y="760"/>
                  </a:lnTo>
                  <a:lnTo>
                    <a:pt x="714" y="760"/>
                  </a:lnTo>
                  <a:lnTo>
                    <a:pt x="715" y="760"/>
                  </a:lnTo>
                  <a:lnTo>
                    <a:pt x="716" y="761"/>
                  </a:lnTo>
                  <a:lnTo>
                    <a:pt x="718" y="762"/>
                  </a:lnTo>
                  <a:lnTo>
                    <a:pt x="720" y="764"/>
                  </a:lnTo>
                  <a:lnTo>
                    <a:pt x="722" y="766"/>
                  </a:lnTo>
                  <a:lnTo>
                    <a:pt x="724" y="768"/>
                  </a:lnTo>
                  <a:lnTo>
                    <a:pt x="728" y="772"/>
                  </a:lnTo>
                  <a:lnTo>
                    <a:pt x="730" y="776"/>
                  </a:lnTo>
                  <a:lnTo>
                    <a:pt x="732" y="779"/>
                  </a:lnTo>
                  <a:lnTo>
                    <a:pt x="733" y="781"/>
                  </a:lnTo>
                  <a:lnTo>
                    <a:pt x="737" y="788"/>
                  </a:lnTo>
                  <a:lnTo>
                    <a:pt x="738" y="790"/>
                  </a:lnTo>
                  <a:lnTo>
                    <a:pt x="741" y="796"/>
                  </a:lnTo>
                  <a:lnTo>
                    <a:pt x="743" y="798"/>
                  </a:lnTo>
                  <a:lnTo>
                    <a:pt x="744" y="799"/>
                  </a:lnTo>
                  <a:lnTo>
                    <a:pt x="746" y="801"/>
                  </a:lnTo>
                  <a:lnTo>
                    <a:pt x="748" y="802"/>
                  </a:lnTo>
                  <a:lnTo>
                    <a:pt x="767" y="816"/>
                  </a:lnTo>
                  <a:lnTo>
                    <a:pt x="771" y="819"/>
                  </a:lnTo>
                  <a:lnTo>
                    <a:pt x="774" y="822"/>
                  </a:lnTo>
                  <a:lnTo>
                    <a:pt x="783" y="831"/>
                  </a:lnTo>
                  <a:lnTo>
                    <a:pt x="788" y="836"/>
                  </a:lnTo>
                  <a:lnTo>
                    <a:pt x="790" y="839"/>
                  </a:lnTo>
                  <a:lnTo>
                    <a:pt x="795" y="844"/>
                  </a:lnTo>
                  <a:lnTo>
                    <a:pt x="798" y="849"/>
                  </a:lnTo>
                  <a:lnTo>
                    <a:pt x="803" y="857"/>
                  </a:lnTo>
                  <a:lnTo>
                    <a:pt x="806" y="863"/>
                  </a:lnTo>
                  <a:lnTo>
                    <a:pt x="808" y="865"/>
                  </a:lnTo>
                  <a:lnTo>
                    <a:pt x="809" y="868"/>
                  </a:lnTo>
                  <a:lnTo>
                    <a:pt x="809" y="869"/>
                  </a:lnTo>
                  <a:lnTo>
                    <a:pt x="809" y="870"/>
                  </a:lnTo>
                  <a:lnTo>
                    <a:pt x="809" y="872"/>
                  </a:lnTo>
                  <a:lnTo>
                    <a:pt x="809" y="873"/>
                  </a:lnTo>
                  <a:lnTo>
                    <a:pt x="808" y="876"/>
                  </a:lnTo>
                  <a:lnTo>
                    <a:pt x="806" y="880"/>
                  </a:lnTo>
                  <a:lnTo>
                    <a:pt x="805" y="881"/>
                  </a:lnTo>
                  <a:lnTo>
                    <a:pt x="804" y="884"/>
                  </a:lnTo>
                  <a:lnTo>
                    <a:pt x="804" y="886"/>
                  </a:lnTo>
                  <a:lnTo>
                    <a:pt x="804" y="887"/>
                  </a:lnTo>
                  <a:lnTo>
                    <a:pt x="804" y="888"/>
                  </a:lnTo>
                  <a:lnTo>
                    <a:pt x="805" y="891"/>
                  </a:lnTo>
                  <a:lnTo>
                    <a:pt x="806" y="894"/>
                  </a:lnTo>
                  <a:lnTo>
                    <a:pt x="807" y="895"/>
                  </a:lnTo>
                  <a:lnTo>
                    <a:pt x="808" y="896"/>
                  </a:lnTo>
                  <a:lnTo>
                    <a:pt x="809" y="897"/>
                  </a:lnTo>
                  <a:lnTo>
                    <a:pt x="810" y="898"/>
                  </a:lnTo>
                  <a:lnTo>
                    <a:pt x="811" y="898"/>
                  </a:lnTo>
                  <a:lnTo>
                    <a:pt x="813" y="898"/>
                  </a:lnTo>
                  <a:lnTo>
                    <a:pt x="814" y="898"/>
                  </a:lnTo>
                  <a:lnTo>
                    <a:pt x="816" y="896"/>
                  </a:lnTo>
                  <a:lnTo>
                    <a:pt x="821" y="892"/>
                  </a:lnTo>
                  <a:lnTo>
                    <a:pt x="824" y="890"/>
                  </a:lnTo>
                  <a:lnTo>
                    <a:pt x="826" y="888"/>
                  </a:lnTo>
                  <a:lnTo>
                    <a:pt x="828" y="887"/>
                  </a:lnTo>
                  <a:lnTo>
                    <a:pt x="830" y="886"/>
                  </a:lnTo>
                  <a:lnTo>
                    <a:pt x="832" y="886"/>
                  </a:lnTo>
                  <a:lnTo>
                    <a:pt x="834" y="886"/>
                  </a:lnTo>
                  <a:lnTo>
                    <a:pt x="836" y="886"/>
                  </a:lnTo>
                  <a:lnTo>
                    <a:pt x="837" y="886"/>
                  </a:lnTo>
                  <a:lnTo>
                    <a:pt x="838" y="886"/>
                  </a:lnTo>
                  <a:lnTo>
                    <a:pt x="839" y="886"/>
                  </a:lnTo>
                  <a:lnTo>
                    <a:pt x="840" y="887"/>
                  </a:lnTo>
                  <a:lnTo>
                    <a:pt x="841" y="888"/>
                  </a:lnTo>
                  <a:lnTo>
                    <a:pt x="843" y="891"/>
                  </a:lnTo>
                  <a:lnTo>
                    <a:pt x="845" y="894"/>
                  </a:lnTo>
                  <a:lnTo>
                    <a:pt x="847" y="898"/>
                  </a:lnTo>
                  <a:lnTo>
                    <a:pt x="851" y="906"/>
                  </a:lnTo>
                  <a:lnTo>
                    <a:pt x="854" y="912"/>
                  </a:lnTo>
                  <a:lnTo>
                    <a:pt x="855" y="914"/>
                  </a:lnTo>
                  <a:lnTo>
                    <a:pt x="855" y="915"/>
                  </a:lnTo>
                  <a:lnTo>
                    <a:pt x="854" y="916"/>
                  </a:lnTo>
                  <a:lnTo>
                    <a:pt x="854" y="919"/>
                  </a:lnTo>
                  <a:lnTo>
                    <a:pt x="853" y="921"/>
                  </a:lnTo>
                  <a:lnTo>
                    <a:pt x="851" y="923"/>
                  </a:lnTo>
                  <a:lnTo>
                    <a:pt x="850" y="926"/>
                  </a:lnTo>
                  <a:lnTo>
                    <a:pt x="847" y="930"/>
                  </a:lnTo>
                  <a:lnTo>
                    <a:pt x="844" y="934"/>
                  </a:lnTo>
                  <a:lnTo>
                    <a:pt x="843" y="936"/>
                  </a:lnTo>
                  <a:lnTo>
                    <a:pt x="842" y="937"/>
                  </a:lnTo>
                  <a:lnTo>
                    <a:pt x="840" y="938"/>
                  </a:lnTo>
                  <a:lnTo>
                    <a:pt x="839" y="939"/>
                  </a:lnTo>
                  <a:lnTo>
                    <a:pt x="837" y="940"/>
                  </a:lnTo>
                  <a:lnTo>
                    <a:pt x="835" y="941"/>
                  </a:lnTo>
                  <a:lnTo>
                    <a:pt x="834" y="942"/>
                  </a:lnTo>
                  <a:lnTo>
                    <a:pt x="832" y="942"/>
                  </a:lnTo>
                  <a:lnTo>
                    <a:pt x="831" y="943"/>
                  </a:lnTo>
                  <a:lnTo>
                    <a:pt x="829" y="943"/>
                  </a:lnTo>
                  <a:lnTo>
                    <a:pt x="828" y="943"/>
                  </a:lnTo>
                  <a:lnTo>
                    <a:pt x="825" y="943"/>
                  </a:lnTo>
                  <a:lnTo>
                    <a:pt x="821" y="942"/>
                  </a:lnTo>
                  <a:lnTo>
                    <a:pt x="818" y="941"/>
                  </a:lnTo>
                  <a:lnTo>
                    <a:pt x="811" y="939"/>
                  </a:lnTo>
                  <a:lnTo>
                    <a:pt x="808" y="938"/>
                  </a:lnTo>
                  <a:lnTo>
                    <a:pt x="805" y="938"/>
                  </a:lnTo>
                  <a:lnTo>
                    <a:pt x="803" y="938"/>
                  </a:lnTo>
                  <a:lnTo>
                    <a:pt x="801" y="938"/>
                  </a:lnTo>
                  <a:lnTo>
                    <a:pt x="800" y="939"/>
                  </a:lnTo>
                  <a:lnTo>
                    <a:pt x="799" y="940"/>
                  </a:lnTo>
                  <a:lnTo>
                    <a:pt x="798" y="942"/>
                  </a:lnTo>
                  <a:lnTo>
                    <a:pt x="795" y="947"/>
                  </a:lnTo>
                  <a:lnTo>
                    <a:pt x="793" y="949"/>
                  </a:lnTo>
                  <a:lnTo>
                    <a:pt x="792" y="951"/>
                  </a:lnTo>
                  <a:lnTo>
                    <a:pt x="791" y="953"/>
                  </a:lnTo>
                  <a:lnTo>
                    <a:pt x="789" y="955"/>
                  </a:lnTo>
                  <a:lnTo>
                    <a:pt x="787" y="957"/>
                  </a:lnTo>
                  <a:lnTo>
                    <a:pt x="786" y="958"/>
                  </a:lnTo>
                  <a:lnTo>
                    <a:pt x="780" y="961"/>
                  </a:lnTo>
                  <a:lnTo>
                    <a:pt x="777" y="964"/>
                  </a:lnTo>
                  <a:lnTo>
                    <a:pt x="776" y="966"/>
                  </a:lnTo>
                  <a:lnTo>
                    <a:pt x="772" y="971"/>
                  </a:lnTo>
                  <a:lnTo>
                    <a:pt x="767" y="975"/>
                  </a:lnTo>
                  <a:lnTo>
                    <a:pt x="765" y="977"/>
                  </a:lnTo>
                  <a:lnTo>
                    <a:pt x="764" y="979"/>
                  </a:lnTo>
                  <a:lnTo>
                    <a:pt x="764" y="981"/>
                  </a:lnTo>
                  <a:lnTo>
                    <a:pt x="764" y="983"/>
                  </a:lnTo>
                  <a:lnTo>
                    <a:pt x="764" y="985"/>
                  </a:lnTo>
                  <a:lnTo>
                    <a:pt x="763" y="992"/>
                  </a:lnTo>
                  <a:lnTo>
                    <a:pt x="763" y="994"/>
                  </a:lnTo>
                  <a:lnTo>
                    <a:pt x="762" y="997"/>
                  </a:lnTo>
                  <a:lnTo>
                    <a:pt x="761" y="1002"/>
                  </a:lnTo>
                  <a:lnTo>
                    <a:pt x="759" y="1005"/>
                  </a:lnTo>
                  <a:lnTo>
                    <a:pt x="756" y="1013"/>
                  </a:lnTo>
                  <a:lnTo>
                    <a:pt x="753" y="1021"/>
                  </a:lnTo>
                  <a:lnTo>
                    <a:pt x="751" y="1027"/>
                  </a:lnTo>
                  <a:lnTo>
                    <a:pt x="750" y="1028"/>
                  </a:lnTo>
                  <a:lnTo>
                    <a:pt x="749" y="1030"/>
                  </a:lnTo>
                  <a:lnTo>
                    <a:pt x="747" y="1031"/>
                  </a:lnTo>
                  <a:lnTo>
                    <a:pt x="746" y="1032"/>
                  </a:lnTo>
                  <a:lnTo>
                    <a:pt x="745" y="1033"/>
                  </a:lnTo>
                  <a:lnTo>
                    <a:pt x="743" y="1034"/>
                  </a:lnTo>
                  <a:lnTo>
                    <a:pt x="741" y="1035"/>
                  </a:lnTo>
                  <a:lnTo>
                    <a:pt x="733" y="1037"/>
                  </a:lnTo>
                  <a:lnTo>
                    <a:pt x="729" y="1038"/>
                  </a:lnTo>
                  <a:lnTo>
                    <a:pt x="725" y="1038"/>
                  </a:lnTo>
                  <a:lnTo>
                    <a:pt x="722" y="1038"/>
                  </a:lnTo>
                  <a:lnTo>
                    <a:pt x="719" y="1038"/>
                  </a:lnTo>
                  <a:lnTo>
                    <a:pt x="717" y="1037"/>
                  </a:lnTo>
                  <a:lnTo>
                    <a:pt x="713" y="1036"/>
                  </a:lnTo>
                  <a:lnTo>
                    <a:pt x="710" y="1035"/>
                  </a:lnTo>
                  <a:lnTo>
                    <a:pt x="708" y="1034"/>
                  </a:lnTo>
                  <a:lnTo>
                    <a:pt x="707" y="1032"/>
                  </a:lnTo>
                  <a:lnTo>
                    <a:pt x="705" y="1031"/>
                  </a:lnTo>
                  <a:lnTo>
                    <a:pt x="703" y="1029"/>
                  </a:lnTo>
                  <a:lnTo>
                    <a:pt x="698" y="1025"/>
                  </a:lnTo>
                  <a:lnTo>
                    <a:pt x="695" y="1023"/>
                  </a:lnTo>
                  <a:lnTo>
                    <a:pt x="693" y="1020"/>
                  </a:lnTo>
                  <a:lnTo>
                    <a:pt x="689" y="1017"/>
                  </a:lnTo>
                  <a:lnTo>
                    <a:pt x="686" y="1017"/>
                  </a:lnTo>
                  <a:lnTo>
                    <a:pt x="685" y="1016"/>
                  </a:lnTo>
                  <a:lnTo>
                    <a:pt x="684" y="1016"/>
                  </a:lnTo>
                  <a:lnTo>
                    <a:pt x="681" y="1015"/>
                  </a:lnTo>
                  <a:lnTo>
                    <a:pt x="678" y="1015"/>
                  </a:lnTo>
                  <a:lnTo>
                    <a:pt x="677" y="1016"/>
                  </a:lnTo>
                  <a:lnTo>
                    <a:pt x="675" y="1017"/>
                  </a:lnTo>
                  <a:lnTo>
                    <a:pt x="673" y="1017"/>
                  </a:lnTo>
                  <a:lnTo>
                    <a:pt x="672" y="1019"/>
                  </a:lnTo>
                  <a:lnTo>
                    <a:pt x="670" y="1021"/>
                  </a:lnTo>
                  <a:lnTo>
                    <a:pt x="666" y="1026"/>
                  </a:lnTo>
                  <a:lnTo>
                    <a:pt x="665" y="1028"/>
                  </a:lnTo>
                  <a:lnTo>
                    <a:pt x="664" y="1028"/>
                  </a:lnTo>
                  <a:lnTo>
                    <a:pt x="663" y="1029"/>
                  </a:lnTo>
                  <a:lnTo>
                    <a:pt x="662" y="1029"/>
                  </a:lnTo>
                  <a:lnTo>
                    <a:pt x="661" y="1030"/>
                  </a:lnTo>
                  <a:lnTo>
                    <a:pt x="661" y="1030"/>
                  </a:lnTo>
                  <a:lnTo>
                    <a:pt x="660" y="1030"/>
                  </a:lnTo>
                  <a:lnTo>
                    <a:pt x="658" y="1030"/>
                  </a:lnTo>
                  <a:lnTo>
                    <a:pt x="656" y="1030"/>
                  </a:lnTo>
                  <a:lnTo>
                    <a:pt x="650" y="1028"/>
                  </a:lnTo>
                  <a:lnTo>
                    <a:pt x="650" y="1028"/>
                  </a:lnTo>
                  <a:lnTo>
                    <a:pt x="648" y="1028"/>
                  </a:lnTo>
                  <a:lnTo>
                    <a:pt x="646" y="1028"/>
                  </a:lnTo>
                  <a:lnTo>
                    <a:pt x="644" y="1028"/>
                  </a:lnTo>
                  <a:lnTo>
                    <a:pt x="642" y="1029"/>
                  </a:lnTo>
                  <a:lnTo>
                    <a:pt x="641" y="1029"/>
                  </a:lnTo>
                  <a:lnTo>
                    <a:pt x="640" y="1030"/>
                  </a:lnTo>
                  <a:lnTo>
                    <a:pt x="639" y="1031"/>
                  </a:lnTo>
                  <a:lnTo>
                    <a:pt x="639" y="1031"/>
                  </a:lnTo>
                  <a:lnTo>
                    <a:pt x="638" y="1032"/>
                  </a:lnTo>
                  <a:lnTo>
                    <a:pt x="638" y="1033"/>
                  </a:lnTo>
                  <a:lnTo>
                    <a:pt x="638" y="1034"/>
                  </a:lnTo>
                  <a:lnTo>
                    <a:pt x="638" y="1035"/>
                  </a:lnTo>
                  <a:lnTo>
                    <a:pt x="638" y="1037"/>
                  </a:lnTo>
                  <a:lnTo>
                    <a:pt x="639" y="1038"/>
                  </a:lnTo>
                  <a:lnTo>
                    <a:pt x="639" y="1040"/>
                  </a:lnTo>
                  <a:lnTo>
                    <a:pt x="645" y="1051"/>
                  </a:lnTo>
                  <a:lnTo>
                    <a:pt x="647" y="1056"/>
                  </a:lnTo>
                  <a:lnTo>
                    <a:pt x="648" y="1058"/>
                  </a:lnTo>
                  <a:lnTo>
                    <a:pt x="648" y="1061"/>
                  </a:lnTo>
                  <a:lnTo>
                    <a:pt x="648" y="1063"/>
                  </a:lnTo>
                  <a:lnTo>
                    <a:pt x="649" y="1065"/>
                  </a:lnTo>
                  <a:lnTo>
                    <a:pt x="648" y="1067"/>
                  </a:lnTo>
                  <a:lnTo>
                    <a:pt x="648" y="1069"/>
                  </a:lnTo>
                  <a:lnTo>
                    <a:pt x="647" y="1071"/>
                  </a:lnTo>
                  <a:lnTo>
                    <a:pt x="646" y="1073"/>
                  </a:lnTo>
                  <a:lnTo>
                    <a:pt x="644" y="1075"/>
                  </a:lnTo>
                  <a:lnTo>
                    <a:pt x="643" y="1077"/>
                  </a:lnTo>
                  <a:lnTo>
                    <a:pt x="640" y="1080"/>
                  </a:lnTo>
                  <a:lnTo>
                    <a:pt x="639" y="1082"/>
                  </a:lnTo>
                  <a:lnTo>
                    <a:pt x="638" y="1083"/>
                  </a:lnTo>
                  <a:lnTo>
                    <a:pt x="636" y="1084"/>
                  </a:lnTo>
                  <a:lnTo>
                    <a:pt x="634" y="1085"/>
                  </a:lnTo>
                  <a:lnTo>
                    <a:pt x="632" y="1085"/>
                  </a:lnTo>
                  <a:lnTo>
                    <a:pt x="630" y="1086"/>
                  </a:lnTo>
                  <a:lnTo>
                    <a:pt x="627" y="1086"/>
                  </a:lnTo>
                  <a:lnTo>
                    <a:pt x="625" y="1086"/>
                  </a:lnTo>
                  <a:lnTo>
                    <a:pt x="622" y="1087"/>
                  </a:lnTo>
                  <a:lnTo>
                    <a:pt x="620" y="1087"/>
                  </a:lnTo>
                  <a:lnTo>
                    <a:pt x="617" y="1086"/>
                  </a:lnTo>
                  <a:lnTo>
                    <a:pt x="616" y="1086"/>
                  </a:lnTo>
                  <a:lnTo>
                    <a:pt x="613" y="1085"/>
                  </a:lnTo>
                  <a:lnTo>
                    <a:pt x="611" y="1085"/>
                  </a:lnTo>
                  <a:lnTo>
                    <a:pt x="606" y="1084"/>
                  </a:lnTo>
                  <a:lnTo>
                    <a:pt x="604" y="1083"/>
                  </a:lnTo>
                  <a:lnTo>
                    <a:pt x="603" y="1082"/>
                  </a:lnTo>
                  <a:lnTo>
                    <a:pt x="600" y="1082"/>
                  </a:lnTo>
                  <a:lnTo>
                    <a:pt x="597" y="1081"/>
                  </a:lnTo>
                  <a:lnTo>
                    <a:pt x="593" y="1081"/>
                  </a:lnTo>
                  <a:lnTo>
                    <a:pt x="590" y="1081"/>
                  </a:lnTo>
                  <a:lnTo>
                    <a:pt x="586" y="1081"/>
                  </a:lnTo>
                  <a:lnTo>
                    <a:pt x="580" y="1082"/>
                  </a:lnTo>
                  <a:lnTo>
                    <a:pt x="576" y="1083"/>
                  </a:lnTo>
                  <a:lnTo>
                    <a:pt x="573" y="1083"/>
                  </a:lnTo>
                  <a:lnTo>
                    <a:pt x="569" y="1085"/>
                  </a:lnTo>
                  <a:lnTo>
                    <a:pt x="562" y="1086"/>
                  </a:lnTo>
                  <a:lnTo>
                    <a:pt x="556" y="1087"/>
                  </a:lnTo>
                  <a:lnTo>
                    <a:pt x="553" y="1088"/>
                  </a:lnTo>
                  <a:lnTo>
                    <a:pt x="552" y="1089"/>
                  </a:lnTo>
                  <a:lnTo>
                    <a:pt x="551" y="1090"/>
                  </a:lnTo>
                  <a:lnTo>
                    <a:pt x="550" y="1091"/>
                  </a:lnTo>
                  <a:lnTo>
                    <a:pt x="549" y="1092"/>
                  </a:lnTo>
                  <a:lnTo>
                    <a:pt x="549" y="1093"/>
                  </a:lnTo>
                  <a:lnTo>
                    <a:pt x="549" y="1095"/>
                  </a:lnTo>
                  <a:lnTo>
                    <a:pt x="548" y="1097"/>
                  </a:lnTo>
                  <a:lnTo>
                    <a:pt x="548" y="1103"/>
                  </a:lnTo>
                  <a:lnTo>
                    <a:pt x="547" y="1107"/>
                  </a:lnTo>
                  <a:lnTo>
                    <a:pt x="547" y="1108"/>
                  </a:lnTo>
                  <a:lnTo>
                    <a:pt x="546" y="1110"/>
                  </a:lnTo>
                  <a:lnTo>
                    <a:pt x="544" y="1113"/>
                  </a:lnTo>
                  <a:lnTo>
                    <a:pt x="543" y="1115"/>
                  </a:lnTo>
                  <a:lnTo>
                    <a:pt x="541" y="1119"/>
                  </a:lnTo>
                  <a:lnTo>
                    <a:pt x="538" y="1121"/>
                  </a:lnTo>
                  <a:lnTo>
                    <a:pt x="536" y="1124"/>
                  </a:lnTo>
                  <a:lnTo>
                    <a:pt x="535" y="1126"/>
                  </a:lnTo>
                  <a:lnTo>
                    <a:pt x="533" y="1128"/>
                  </a:lnTo>
                  <a:lnTo>
                    <a:pt x="531" y="1130"/>
                  </a:lnTo>
                  <a:lnTo>
                    <a:pt x="528" y="1131"/>
                  </a:lnTo>
                  <a:lnTo>
                    <a:pt x="526" y="1132"/>
                  </a:lnTo>
                  <a:lnTo>
                    <a:pt x="525" y="1133"/>
                  </a:lnTo>
                  <a:lnTo>
                    <a:pt x="524" y="1133"/>
                  </a:lnTo>
                  <a:lnTo>
                    <a:pt x="522" y="1133"/>
                  </a:lnTo>
                  <a:lnTo>
                    <a:pt x="520" y="1132"/>
                  </a:lnTo>
                  <a:lnTo>
                    <a:pt x="517" y="1130"/>
                  </a:lnTo>
                  <a:lnTo>
                    <a:pt x="510" y="1125"/>
                  </a:lnTo>
                  <a:lnTo>
                    <a:pt x="507" y="1122"/>
                  </a:lnTo>
                  <a:lnTo>
                    <a:pt x="504" y="1120"/>
                  </a:lnTo>
                  <a:lnTo>
                    <a:pt x="502" y="1119"/>
                  </a:lnTo>
                  <a:lnTo>
                    <a:pt x="500" y="1119"/>
                  </a:lnTo>
                  <a:lnTo>
                    <a:pt x="498" y="1118"/>
                  </a:lnTo>
                  <a:lnTo>
                    <a:pt x="495" y="1117"/>
                  </a:lnTo>
                  <a:lnTo>
                    <a:pt x="492" y="1117"/>
                  </a:lnTo>
                  <a:lnTo>
                    <a:pt x="490" y="1116"/>
                  </a:lnTo>
                  <a:lnTo>
                    <a:pt x="485" y="1116"/>
                  </a:lnTo>
                  <a:lnTo>
                    <a:pt x="479" y="1115"/>
                  </a:lnTo>
                  <a:lnTo>
                    <a:pt x="476" y="1114"/>
                  </a:lnTo>
                  <a:lnTo>
                    <a:pt x="469" y="1111"/>
                  </a:lnTo>
                  <a:lnTo>
                    <a:pt x="466" y="1110"/>
                  </a:lnTo>
                  <a:lnTo>
                    <a:pt x="463" y="1110"/>
                  </a:lnTo>
                  <a:lnTo>
                    <a:pt x="459" y="1109"/>
                  </a:lnTo>
                  <a:lnTo>
                    <a:pt x="453" y="1109"/>
                  </a:lnTo>
                  <a:lnTo>
                    <a:pt x="451" y="1108"/>
                  </a:lnTo>
                  <a:lnTo>
                    <a:pt x="450" y="1108"/>
                  </a:lnTo>
                  <a:lnTo>
                    <a:pt x="449" y="1107"/>
                  </a:lnTo>
                  <a:lnTo>
                    <a:pt x="448" y="1107"/>
                  </a:lnTo>
                  <a:lnTo>
                    <a:pt x="447" y="1106"/>
                  </a:lnTo>
                  <a:lnTo>
                    <a:pt x="446" y="1104"/>
                  </a:lnTo>
                  <a:lnTo>
                    <a:pt x="445" y="1102"/>
                  </a:lnTo>
                  <a:lnTo>
                    <a:pt x="445" y="1099"/>
                  </a:lnTo>
                  <a:lnTo>
                    <a:pt x="444" y="1092"/>
                  </a:lnTo>
                  <a:lnTo>
                    <a:pt x="444" y="1089"/>
                  </a:lnTo>
                  <a:lnTo>
                    <a:pt x="444" y="1088"/>
                  </a:lnTo>
                  <a:lnTo>
                    <a:pt x="443" y="1086"/>
                  </a:lnTo>
                  <a:lnTo>
                    <a:pt x="441" y="1085"/>
                  </a:lnTo>
                  <a:lnTo>
                    <a:pt x="440" y="1084"/>
                  </a:lnTo>
                  <a:lnTo>
                    <a:pt x="439" y="1083"/>
                  </a:lnTo>
                  <a:lnTo>
                    <a:pt x="438" y="1082"/>
                  </a:lnTo>
                  <a:lnTo>
                    <a:pt x="436" y="1082"/>
                  </a:lnTo>
                  <a:lnTo>
                    <a:pt x="435" y="1082"/>
                  </a:lnTo>
                  <a:lnTo>
                    <a:pt x="434" y="1082"/>
                  </a:lnTo>
                  <a:lnTo>
                    <a:pt x="432" y="1083"/>
                  </a:lnTo>
                  <a:lnTo>
                    <a:pt x="430" y="1084"/>
                  </a:lnTo>
                  <a:lnTo>
                    <a:pt x="429" y="1084"/>
                  </a:lnTo>
                  <a:lnTo>
                    <a:pt x="428" y="1085"/>
                  </a:lnTo>
                  <a:lnTo>
                    <a:pt x="427" y="1085"/>
                  </a:lnTo>
                  <a:lnTo>
                    <a:pt x="426" y="1087"/>
                  </a:lnTo>
                  <a:lnTo>
                    <a:pt x="424" y="1090"/>
                  </a:lnTo>
                  <a:lnTo>
                    <a:pt x="418" y="1100"/>
                  </a:lnTo>
                  <a:lnTo>
                    <a:pt x="416" y="1104"/>
                  </a:lnTo>
                  <a:lnTo>
                    <a:pt x="415" y="1106"/>
                  </a:lnTo>
                  <a:lnTo>
                    <a:pt x="414" y="1109"/>
                  </a:lnTo>
                  <a:lnTo>
                    <a:pt x="414" y="1112"/>
                  </a:lnTo>
                  <a:lnTo>
                    <a:pt x="414" y="1115"/>
                  </a:lnTo>
                  <a:lnTo>
                    <a:pt x="414" y="1119"/>
                  </a:lnTo>
                  <a:lnTo>
                    <a:pt x="415" y="1121"/>
                  </a:lnTo>
                  <a:lnTo>
                    <a:pt x="416" y="1125"/>
                  </a:lnTo>
                  <a:lnTo>
                    <a:pt x="417" y="1129"/>
                  </a:lnTo>
                  <a:lnTo>
                    <a:pt x="418" y="1132"/>
                  </a:lnTo>
                  <a:lnTo>
                    <a:pt x="421" y="1138"/>
                  </a:lnTo>
                  <a:lnTo>
                    <a:pt x="423" y="1144"/>
                  </a:lnTo>
                  <a:lnTo>
                    <a:pt x="424" y="1146"/>
                  </a:lnTo>
                  <a:lnTo>
                    <a:pt x="424" y="1148"/>
                  </a:lnTo>
                  <a:lnTo>
                    <a:pt x="425" y="1150"/>
                  </a:lnTo>
                  <a:lnTo>
                    <a:pt x="425" y="1153"/>
                  </a:lnTo>
                  <a:lnTo>
                    <a:pt x="425" y="1155"/>
                  </a:lnTo>
                  <a:lnTo>
                    <a:pt x="424" y="1157"/>
                  </a:lnTo>
                  <a:lnTo>
                    <a:pt x="423" y="1158"/>
                  </a:lnTo>
                  <a:lnTo>
                    <a:pt x="423" y="1159"/>
                  </a:lnTo>
                  <a:lnTo>
                    <a:pt x="422" y="1161"/>
                  </a:lnTo>
                  <a:lnTo>
                    <a:pt x="421" y="1163"/>
                  </a:lnTo>
                  <a:lnTo>
                    <a:pt x="414" y="1168"/>
                  </a:lnTo>
                  <a:lnTo>
                    <a:pt x="410" y="1173"/>
                  </a:lnTo>
                  <a:lnTo>
                    <a:pt x="407" y="1175"/>
                  </a:lnTo>
                  <a:lnTo>
                    <a:pt x="405" y="1176"/>
                  </a:lnTo>
                  <a:lnTo>
                    <a:pt x="403" y="1178"/>
                  </a:lnTo>
                  <a:lnTo>
                    <a:pt x="400" y="1181"/>
                  </a:lnTo>
                  <a:lnTo>
                    <a:pt x="396" y="1189"/>
                  </a:lnTo>
                  <a:lnTo>
                    <a:pt x="391" y="1195"/>
                  </a:lnTo>
                  <a:lnTo>
                    <a:pt x="387" y="1201"/>
                  </a:lnTo>
                  <a:lnTo>
                    <a:pt x="383" y="1205"/>
                  </a:lnTo>
                  <a:lnTo>
                    <a:pt x="381" y="1208"/>
                  </a:lnTo>
                  <a:lnTo>
                    <a:pt x="379" y="1209"/>
                  </a:lnTo>
                  <a:lnTo>
                    <a:pt x="378" y="1209"/>
                  </a:lnTo>
                  <a:lnTo>
                    <a:pt x="377" y="1211"/>
                  </a:lnTo>
                  <a:lnTo>
                    <a:pt x="374" y="1212"/>
                  </a:lnTo>
                  <a:lnTo>
                    <a:pt x="372" y="1213"/>
                  </a:lnTo>
                  <a:lnTo>
                    <a:pt x="370" y="1214"/>
                  </a:lnTo>
                  <a:lnTo>
                    <a:pt x="368" y="1214"/>
                  </a:lnTo>
                  <a:lnTo>
                    <a:pt x="366" y="1215"/>
                  </a:lnTo>
                  <a:lnTo>
                    <a:pt x="364" y="1215"/>
                  </a:lnTo>
                  <a:lnTo>
                    <a:pt x="355" y="1215"/>
                  </a:lnTo>
                  <a:lnTo>
                    <a:pt x="353" y="1215"/>
                  </a:lnTo>
                  <a:lnTo>
                    <a:pt x="343" y="1217"/>
                  </a:lnTo>
                  <a:lnTo>
                    <a:pt x="337" y="1218"/>
                  </a:lnTo>
                  <a:lnTo>
                    <a:pt x="334" y="1219"/>
                  </a:lnTo>
                  <a:lnTo>
                    <a:pt x="320" y="1221"/>
                  </a:lnTo>
                  <a:lnTo>
                    <a:pt x="317" y="1222"/>
                  </a:lnTo>
                  <a:lnTo>
                    <a:pt x="311" y="1222"/>
                  </a:lnTo>
                  <a:lnTo>
                    <a:pt x="309" y="1222"/>
                  </a:lnTo>
                  <a:lnTo>
                    <a:pt x="308" y="1223"/>
                  </a:lnTo>
                  <a:lnTo>
                    <a:pt x="307" y="1224"/>
                  </a:lnTo>
                  <a:lnTo>
                    <a:pt x="305" y="1225"/>
                  </a:lnTo>
                  <a:lnTo>
                    <a:pt x="302" y="1228"/>
                  </a:lnTo>
                  <a:lnTo>
                    <a:pt x="299" y="1230"/>
                  </a:lnTo>
                  <a:lnTo>
                    <a:pt x="298" y="1232"/>
                  </a:lnTo>
                  <a:lnTo>
                    <a:pt x="297" y="1233"/>
                  </a:lnTo>
                  <a:lnTo>
                    <a:pt x="293" y="1239"/>
                  </a:lnTo>
                  <a:lnTo>
                    <a:pt x="291" y="1241"/>
                  </a:lnTo>
                  <a:lnTo>
                    <a:pt x="290" y="1243"/>
                  </a:lnTo>
                  <a:lnTo>
                    <a:pt x="288" y="1243"/>
                  </a:lnTo>
                  <a:lnTo>
                    <a:pt x="287" y="1244"/>
                  </a:lnTo>
                  <a:lnTo>
                    <a:pt x="286" y="1245"/>
                  </a:lnTo>
                  <a:lnTo>
                    <a:pt x="285" y="1245"/>
                  </a:lnTo>
                  <a:lnTo>
                    <a:pt x="284" y="1245"/>
                  </a:lnTo>
                  <a:lnTo>
                    <a:pt x="283" y="1245"/>
                  </a:lnTo>
                  <a:lnTo>
                    <a:pt x="282" y="1245"/>
                  </a:lnTo>
                  <a:lnTo>
                    <a:pt x="281" y="1245"/>
                  </a:lnTo>
                  <a:lnTo>
                    <a:pt x="281" y="1244"/>
                  </a:lnTo>
                  <a:lnTo>
                    <a:pt x="281" y="1243"/>
                  </a:lnTo>
                  <a:lnTo>
                    <a:pt x="279" y="1241"/>
                  </a:lnTo>
                  <a:lnTo>
                    <a:pt x="275" y="1229"/>
                  </a:lnTo>
                  <a:lnTo>
                    <a:pt x="271" y="1220"/>
                  </a:lnTo>
                  <a:lnTo>
                    <a:pt x="270" y="1216"/>
                  </a:lnTo>
                  <a:lnTo>
                    <a:pt x="268" y="1210"/>
                  </a:lnTo>
                  <a:lnTo>
                    <a:pt x="263" y="1197"/>
                  </a:lnTo>
                  <a:lnTo>
                    <a:pt x="263" y="1194"/>
                  </a:lnTo>
                  <a:lnTo>
                    <a:pt x="262" y="1191"/>
                  </a:lnTo>
                  <a:lnTo>
                    <a:pt x="261" y="1189"/>
                  </a:lnTo>
                  <a:lnTo>
                    <a:pt x="260" y="1187"/>
                  </a:lnTo>
                  <a:lnTo>
                    <a:pt x="259" y="1187"/>
                  </a:lnTo>
                  <a:lnTo>
                    <a:pt x="256" y="1184"/>
                  </a:lnTo>
                  <a:lnTo>
                    <a:pt x="249" y="1178"/>
                  </a:lnTo>
                  <a:lnTo>
                    <a:pt x="245" y="1175"/>
                  </a:lnTo>
                  <a:lnTo>
                    <a:pt x="242" y="1174"/>
                  </a:lnTo>
                  <a:lnTo>
                    <a:pt x="239" y="1172"/>
                  </a:lnTo>
                  <a:lnTo>
                    <a:pt x="234" y="1170"/>
                  </a:lnTo>
                  <a:lnTo>
                    <a:pt x="230" y="1168"/>
                  </a:lnTo>
                  <a:lnTo>
                    <a:pt x="223" y="1166"/>
                  </a:lnTo>
                  <a:lnTo>
                    <a:pt x="216" y="1164"/>
                  </a:lnTo>
                  <a:lnTo>
                    <a:pt x="212" y="1162"/>
                  </a:lnTo>
                  <a:lnTo>
                    <a:pt x="207" y="1160"/>
                  </a:lnTo>
                  <a:lnTo>
                    <a:pt x="203" y="1158"/>
                  </a:lnTo>
                  <a:lnTo>
                    <a:pt x="198" y="1155"/>
                  </a:lnTo>
                  <a:lnTo>
                    <a:pt x="195" y="1153"/>
                  </a:lnTo>
                  <a:lnTo>
                    <a:pt x="194" y="1153"/>
                  </a:lnTo>
                  <a:lnTo>
                    <a:pt x="192" y="1152"/>
                  </a:lnTo>
                  <a:lnTo>
                    <a:pt x="191" y="1150"/>
                  </a:lnTo>
                  <a:lnTo>
                    <a:pt x="190" y="1149"/>
                  </a:lnTo>
                  <a:lnTo>
                    <a:pt x="190" y="1148"/>
                  </a:lnTo>
                  <a:lnTo>
                    <a:pt x="189" y="1147"/>
                  </a:lnTo>
                  <a:lnTo>
                    <a:pt x="189" y="1146"/>
                  </a:lnTo>
                  <a:lnTo>
                    <a:pt x="189" y="1144"/>
                  </a:lnTo>
                  <a:lnTo>
                    <a:pt x="190" y="1139"/>
                  </a:lnTo>
                  <a:lnTo>
                    <a:pt x="192" y="1132"/>
                  </a:lnTo>
                  <a:lnTo>
                    <a:pt x="194" y="1123"/>
                  </a:lnTo>
                  <a:lnTo>
                    <a:pt x="195" y="1120"/>
                  </a:lnTo>
                  <a:lnTo>
                    <a:pt x="195" y="1116"/>
                  </a:lnTo>
                  <a:lnTo>
                    <a:pt x="195" y="1112"/>
                  </a:lnTo>
                  <a:lnTo>
                    <a:pt x="195" y="1108"/>
                  </a:lnTo>
                  <a:lnTo>
                    <a:pt x="195" y="1106"/>
                  </a:lnTo>
                  <a:lnTo>
                    <a:pt x="195" y="1102"/>
                  </a:lnTo>
                  <a:lnTo>
                    <a:pt x="194" y="1101"/>
                  </a:lnTo>
                  <a:lnTo>
                    <a:pt x="194" y="1100"/>
                  </a:lnTo>
                  <a:lnTo>
                    <a:pt x="193" y="1099"/>
                  </a:lnTo>
                  <a:lnTo>
                    <a:pt x="192" y="1098"/>
                  </a:lnTo>
                  <a:lnTo>
                    <a:pt x="191" y="1098"/>
                  </a:lnTo>
                  <a:lnTo>
                    <a:pt x="190" y="1099"/>
                  </a:lnTo>
                  <a:lnTo>
                    <a:pt x="189" y="1101"/>
                  </a:lnTo>
                  <a:lnTo>
                    <a:pt x="187" y="1105"/>
                  </a:lnTo>
                  <a:lnTo>
                    <a:pt x="185" y="1106"/>
                  </a:lnTo>
                  <a:lnTo>
                    <a:pt x="184" y="1107"/>
                  </a:lnTo>
                  <a:lnTo>
                    <a:pt x="184" y="1107"/>
                  </a:lnTo>
                  <a:lnTo>
                    <a:pt x="182" y="1107"/>
                  </a:lnTo>
                  <a:lnTo>
                    <a:pt x="181" y="1107"/>
                  </a:lnTo>
                  <a:lnTo>
                    <a:pt x="180" y="1107"/>
                  </a:lnTo>
                  <a:lnTo>
                    <a:pt x="179" y="1107"/>
                  </a:lnTo>
                  <a:lnTo>
                    <a:pt x="178" y="1107"/>
                  </a:lnTo>
                  <a:lnTo>
                    <a:pt x="176" y="1106"/>
                  </a:lnTo>
                  <a:lnTo>
                    <a:pt x="175" y="1104"/>
                  </a:lnTo>
                  <a:lnTo>
                    <a:pt x="173" y="1103"/>
                  </a:lnTo>
                  <a:lnTo>
                    <a:pt x="172" y="1100"/>
                  </a:lnTo>
                  <a:lnTo>
                    <a:pt x="170" y="1097"/>
                  </a:lnTo>
                  <a:lnTo>
                    <a:pt x="167" y="1095"/>
                  </a:lnTo>
                  <a:lnTo>
                    <a:pt x="166" y="1093"/>
                  </a:lnTo>
                  <a:lnTo>
                    <a:pt x="165" y="1091"/>
                  </a:lnTo>
                  <a:lnTo>
                    <a:pt x="161" y="1085"/>
                  </a:lnTo>
                  <a:lnTo>
                    <a:pt x="161" y="1083"/>
                  </a:lnTo>
                  <a:lnTo>
                    <a:pt x="160" y="1082"/>
                  </a:lnTo>
                  <a:lnTo>
                    <a:pt x="159" y="1080"/>
                  </a:lnTo>
                  <a:lnTo>
                    <a:pt x="158" y="1079"/>
                  </a:lnTo>
                  <a:lnTo>
                    <a:pt x="153" y="1074"/>
                  </a:lnTo>
                  <a:lnTo>
                    <a:pt x="151" y="1073"/>
                  </a:lnTo>
                  <a:lnTo>
                    <a:pt x="150" y="1071"/>
                  </a:lnTo>
                  <a:lnTo>
                    <a:pt x="149" y="1069"/>
                  </a:lnTo>
                  <a:lnTo>
                    <a:pt x="148" y="1067"/>
                  </a:lnTo>
                  <a:lnTo>
                    <a:pt x="147" y="1064"/>
                  </a:lnTo>
                  <a:lnTo>
                    <a:pt x="145" y="1057"/>
                  </a:lnTo>
                  <a:lnTo>
                    <a:pt x="142" y="1049"/>
                  </a:lnTo>
                  <a:lnTo>
                    <a:pt x="140" y="1042"/>
                  </a:lnTo>
                  <a:lnTo>
                    <a:pt x="138" y="1039"/>
                  </a:lnTo>
                  <a:lnTo>
                    <a:pt x="138" y="1037"/>
                  </a:lnTo>
                  <a:lnTo>
                    <a:pt x="136" y="1035"/>
                  </a:lnTo>
                  <a:lnTo>
                    <a:pt x="134" y="1031"/>
                  </a:lnTo>
                  <a:lnTo>
                    <a:pt x="132" y="1030"/>
                  </a:lnTo>
                  <a:lnTo>
                    <a:pt x="131" y="1028"/>
                  </a:lnTo>
                  <a:lnTo>
                    <a:pt x="129" y="1025"/>
                  </a:lnTo>
                  <a:lnTo>
                    <a:pt x="128" y="1023"/>
                  </a:lnTo>
                  <a:lnTo>
                    <a:pt x="127" y="1021"/>
                  </a:lnTo>
                  <a:lnTo>
                    <a:pt x="123" y="1017"/>
                  </a:lnTo>
                  <a:lnTo>
                    <a:pt x="121" y="1015"/>
                  </a:lnTo>
                  <a:lnTo>
                    <a:pt x="119" y="1011"/>
                  </a:lnTo>
                  <a:lnTo>
                    <a:pt x="116" y="1006"/>
                  </a:lnTo>
                  <a:lnTo>
                    <a:pt x="116" y="1005"/>
                  </a:lnTo>
                  <a:lnTo>
                    <a:pt x="114" y="1002"/>
                  </a:lnTo>
                  <a:lnTo>
                    <a:pt x="111" y="999"/>
                  </a:lnTo>
                  <a:lnTo>
                    <a:pt x="109" y="996"/>
                  </a:lnTo>
                  <a:lnTo>
                    <a:pt x="107" y="995"/>
                  </a:lnTo>
                  <a:lnTo>
                    <a:pt x="105" y="994"/>
                  </a:lnTo>
                  <a:lnTo>
                    <a:pt x="104" y="994"/>
                  </a:lnTo>
                  <a:lnTo>
                    <a:pt x="103" y="993"/>
                  </a:lnTo>
                  <a:lnTo>
                    <a:pt x="98" y="992"/>
                  </a:lnTo>
                  <a:lnTo>
                    <a:pt x="91" y="989"/>
                  </a:lnTo>
                  <a:lnTo>
                    <a:pt x="87" y="988"/>
                  </a:lnTo>
                  <a:lnTo>
                    <a:pt x="84" y="988"/>
                  </a:lnTo>
                  <a:lnTo>
                    <a:pt x="82" y="988"/>
                  </a:lnTo>
                  <a:lnTo>
                    <a:pt x="79" y="988"/>
                  </a:lnTo>
                  <a:lnTo>
                    <a:pt x="77" y="989"/>
                  </a:lnTo>
                  <a:lnTo>
                    <a:pt x="72" y="990"/>
                  </a:lnTo>
                  <a:lnTo>
                    <a:pt x="69" y="992"/>
                  </a:lnTo>
                  <a:lnTo>
                    <a:pt x="64" y="994"/>
                  </a:lnTo>
                  <a:lnTo>
                    <a:pt x="60" y="996"/>
                  </a:lnTo>
                  <a:lnTo>
                    <a:pt x="58" y="998"/>
                  </a:lnTo>
                  <a:lnTo>
                    <a:pt x="54" y="1002"/>
                  </a:lnTo>
                  <a:lnTo>
                    <a:pt x="50" y="1006"/>
                  </a:lnTo>
                  <a:lnTo>
                    <a:pt x="49" y="1007"/>
                  </a:lnTo>
                  <a:lnTo>
                    <a:pt x="49" y="1008"/>
                  </a:lnTo>
                  <a:lnTo>
                    <a:pt x="48" y="1008"/>
                  </a:lnTo>
                  <a:lnTo>
                    <a:pt x="48" y="1009"/>
                  </a:lnTo>
                  <a:lnTo>
                    <a:pt x="48" y="1010"/>
                  </a:lnTo>
                  <a:lnTo>
                    <a:pt x="49" y="1011"/>
                  </a:lnTo>
                  <a:lnTo>
                    <a:pt x="50" y="1013"/>
                  </a:lnTo>
                  <a:lnTo>
                    <a:pt x="51" y="1015"/>
                  </a:lnTo>
                  <a:lnTo>
                    <a:pt x="52" y="1017"/>
                  </a:lnTo>
                  <a:lnTo>
                    <a:pt x="53" y="1017"/>
                  </a:lnTo>
                  <a:lnTo>
                    <a:pt x="54" y="1019"/>
                  </a:lnTo>
                  <a:lnTo>
                    <a:pt x="55" y="1020"/>
                  </a:lnTo>
                  <a:lnTo>
                    <a:pt x="68" y="1032"/>
                  </a:lnTo>
                  <a:lnTo>
                    <a:pt x="70" y="1034"/>
                  </a:lnTo>
                  <a:lnTo>
                    <a:pt x="70" y="1036"/>
                  </a:lnTo>
                  <a:lnTo>
                    <a:pt x="71" y="1038"/>
                  </a:lnTo>
                  <a:lnTo>
                    <a:pt x="72" y="1039"/>
                  </a:lnTo>
                  <a:lnTo>
                    <a:pt x="74" y="1044"/>
                  </a:lnTo>
                  <a:lnTo>
                    <a:pt x="74" y="1046"/>
                  </a:lnTo>
                  <a:lnTo>
                    <a:pt x="75" y="1048"/>
                  </a:lnTo>
                  <a:lnTo>
                    <a:pt x="79" y="1052"/>
                  </a:lnTo>
                  <a:lnTo>
                    <a:pt x="80" y="1055"/>
                  </a:lnTo>
                  <a:lnTo>
                    <a:pt x="81" y="1057"/>
                  </a:lnTo>
                  <a:lnTo>
                    <a:pt x="81" y="1060"/>
                  </a:lnTo>
                  <a:lnTo>
                    <a:pt x="81" y="1062"/>
                  </a:lnTo>
                  <a:lnTo>
                    <a:pt x="81" y="1063"/>
                  </a:lnTo>
                  <a:lnTo>
                    <a:pt x="81" y="1065"/>
                  </a:lnTo>
                  <a:lnTo>
                    <a:pt x="81" y="1067"/>
                  </a:lnTo>
                  <a:lnTo>
                    <a:pt x="81" y="1068"/>
                  </a:lnTo>
                  <a:lnTo>
                    <a:pt x="81" y="1070"/>
                  </a:lnTo>
                  <a:lnTo>
                    <a:pt x="80" y="1072"/>
                  </a:lnTo>
                  <a:lnTo>
                    <a:pt x="77" y="1076"/>
                  </a:lnTo>
                  <a:lnTo>
                    <a:pt x="74" y="1080"/>
                  </a:lnTo>
                  <a:lnTo>
                    <a:pt x="72" y="1085"/>
                  </a:lnTo>
                  <a:lnTo>
                    <a:pt x="70" y="1092"/>
                  </a:lnTo>
                  <a:lnTo>
                    <a:pt x="68" y="1096"/>
                  </a:lnTo>
                  <a:lnTo>
                    <a:pt x="66" y="1098"/>
                  </a:lnTo>
                  <a:lnTo>
                    <a:pt x="64" y="1101"/>
                  </a:lnTo>
                  <a:lnTo>
                    <a:pt x="62" y="1103"/>
                  </a:lnTo>
                  <a:lnTo>
                    <a:pt x="59" y="1106"/>
                  </a:lnTo>
                  <a:lnTo>
                    <a:pt x="56" y="1109"/>
                  </a:lnTo>
                  <a:lnTo>
                    <a:pt x="53" y="1112"/>
                  </a:lnTo>
                  <a:lnTo>
                    <a:pt x="50" y="1114"/>
                  </a:lnTo>
                  <a:lnTo>
                    <a:pt x="47" y="1116"/>
                  </a:lnTo>
                  <a:lnTo>
                    <a:pt x="46" y="1116"/>
                  </a:lnTo>
                  <a:lnTo>
                    <a:pt x="44" y="1117"/>
                  </a:lnTo>
                  <a:lnTo>
                    <a:pt x="41" y="1117"/>
                  </a:lnTo>
                  <a:lnTo>
                    <a:pt x="38" y="1116"/>
                  </a:lnTo>
                  <a:lnTo>
                    <a:pt x="35" y="1115"/>
                  </a:lnTo>
                  <a:lnTo>
                    <a:pt x="31" y="1113"/>
                  </a:lnTo>
                  <a:lnTo>
                    <a:pt x="27" y="1111"/>
                  </a:lnTo>
                  <a:lnTo>
                    <a:pt x="23" y="1108"/>
                  </a:lnTo>
                  <a:lnTo>
                    <a:pt x="13" y="1103"/>
                  </a:lnTo>
                  <a:lnTo>
                    <a:pt x="9" y="1099"/>
                  </a:lnTo>
                  <a:lnTo>
                    <a:pt x="8" y="1097"/>
                  </a:lnTo>
                  <a:lnTo>
                    <a:pt x="6" y="1096"/>
                  </a:lnTo>
                  <a:lnTo>
                    <a:pt x="3" y="1093"/>
                  </a:lnTo>
                  <a:lnTo>
                    <a:pt x="2" y="1090"/>
                  </a:lnTo>
                  <a:lnTo>
                    <a:pt x="1" y="1089"/>
                  </a:lnTo>
                  <a:lnTo>
                    <a:pt x="1" y="1087"/>
                  </a:lnTo>
                  <a:lnTo>
                    <a:pt x="0" y="1086"/>
                  </a:lnTo>
                  <a:lnTo>
                    <a:pt x="0" y="1085"/>
                  </a:lnTo>
                  <a:lnTo>
                    <a:pt x="0" y="1083"/>
                  </a:lnTo>
                  <a:lnTo>
                    <a:pt x="0" y="1081"/>
                  </a:lnTo>
                  <a:lnTo>
                    <a:pt x="1" y="1079"/>
                  </a:lnTo>
                  <a:lnTo>
                    <a:pt x="1" y="1077"/>
                  </a:lnTo>
                  <a:lnTo>
                    <a:pt x="2" y="1075"/>
                  </a:lnTo>
                  <a:lnTo>
                    <a:pt x="2" y="1074"/>
                  </a:lnTo>
                  <a:lnTo>
                    <a:pt x="3" y="1073"/>
                  </a:lnTo>
                  <a:lnTo>
                    <a:pt x="5" y="1071"/>
                  </a:lnTo>
                  <a:lnTo>
                    <a:pt x="11" y="1066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6" name="Freeform 105">
              <a:extLst>
                <a:ext uri="{FF2B5EF4-FFF2-40B4-BE49-F238E27FC236}">
                  <a16:creationId xmlns:a16="http://schemas.microsoft.com/office/drawing/2014/main" id="{98358A91-3459-4D0A-BF0A-E639A5E89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1677"/>
              <a:ext cx="429" cy="1205"/>
            </a:xfrm>
            <a:custGeom>
              <a:avLst/>
              <a:gdLst>
                <a:gd name="T0" fmla="*/ 91 w 429"/>
                <a:gd name="T1" fmla="*/ 1196 h 1205"/>
                <a:gd name="T2" fmla="*/ 76 w 429"/>
                <a:gd name="T3" fmla="*/ 1170 h 1205"/>
                <a:gd name="T4" fmla="*/ 67 w 429"/>
                <a:gd name="T5" fmla="*/ 1127 h 1205"/>
                <a:gd name="T6" fmla="*/ 80 w 429"/>
                <a:gd name="T7" fmla="*/ 1095 h 1205"/>
                <a:gd name="T8" fmla="*/ 90 w 429"/>
                <a:gd name="T9" fmla="*/ 1086 h 1205"/>
                <a:gd name="T10" fmla="*/ 62 w 429"/>
                <a:gd name="T11" fmla="*/ 1080 h 1205"/>
                <a:gd name="T12" fmla="*/ 32 w 429"/>
                <a:gd name="T13" fmla="*/ 1069 h 1205"/>
                <a:gd name="T14" fmla="*/ 30 w 429"/>
                <a:gd name="T15" fmla="*/ 1043 h 1205"/>
                <a:gd name="T16" fmla="*/ 34 w 429"/>
                <a:gd name="T17" fmla="*/ 1030 h 1205"/>
                <a:gd name="T18" fmla="*/ 62 w 429"/>
                <a:gd name="T19" fmla="*/ 1032 h 1205"/>
                <a:gd name="T20" fmla="*/ 69 w 429"/>
                <a:gd name="T21" fmla="*/ 1018 h 1205"/>
                <a:gd name="T22" fmla="*/ 75 w 429"/>
                <a:gd name="T23" fmla="*/ 999 h 1205"/>
                <a:gd name="T24" fmla="*/ 77 w 429"/>
                <a:gd name="T25" fmla="*/ 963 h 1205"/>
                <a:gd name="T26" fmla="*/ 77 w 429"/>
                <a:gd name="T27" fmla="*/ 941 h 1205"/>
                <a:gd name="T28" fmla="*/ 98 w 429"/>
                <a:gd name="T29" fmla="*/ 912 h 1205"/>
                <a:gd name="T30" fmla="*/ 103 w 429"/>
                <a:gd name="T31" fmla="*/ 884 h 1205"/>
                <a:gd name="T32" fmla="*/ 94 w 429"/>
                <a:gd name="T33" fmla="*/ 861 h 1205"/>
                <a:gd name="T34" fmla="*/ 71 w 429"/>
                <a:gd name="T35" fmla="*/ 853 h 1205"/>
                <a:gd name="T36" fmla="*/ 67 w 429"/>
                <a:gd name="T37" fmla="*/ 847 h 1205"/>
                <a:gd name="T38" fmla="*/ 67 w 429"/>
                <a:gd name="T39" fmla="*/ 822 h 1205"/>
                <a:gd name="T40" fmla="*/ 59 w 429"/>
                <a:gd name="T41" fmla="*/ 801 h 1205"/>
                <a:gd name="T42" fmla="*/ 34 w 429"/>
                <a:gd name="T43" fmla="*/ 764 h 1205"/>
                <a:gd name="T44" fmla="*/ 19 w 429"/>
                <a:gd name="T45" fmla="*/ 732 h 1205"/>
                <a:gd name="T46" fmla="*/ 18 w 429"/>
                <a:gd name="T47" fmla="*/ 709 h 1205"/>
                <a:gd name="T48" fmla="*/ 31 w 429"/>
                <a:gd name="T49" fmla="*/ 686 h 1205"/>
                <a:gd name="T50" fmla="*/ 29 w 429"/>
                <a:gd name="T51" fmla="*/ 657 h 1205"/>
                <a:gd name="T52" fmla="*/ 14 w 429"/>
                <a:gd name="T53" fmla="*/ 598 h 1205"/>
                <a:gd name="T54" fmla="*/ 0 w 429"/>
                <a:gd name="T55" fmla="*/ 547 h 1205"/>
                <a:gd name="T56" fmla="*/ 3 w 429"/>
                <a:gd name="T57" fmla="*/ 538 h 1205"/>
                <a:gd name="T58" fmla="*/ 23 w 429"/>
                <a:gd name="T59" fmla="*/ 531 h 1205"/>
                <a:gd name="T60" fmla="*/ 44 w 429"/>
                <a:gd name="T61" fmla="*/ 510 h 1205"/>
                <a:gd name="T62" fmla="*/ 64 w 429"/>
                <a:gd name="T63" fmla="*/ 489 h 1205"/>
                <a:gd name="T64" fmla="*/ 64 w 429"/>
                <a:gd name="T65" fmla="*/ 457 h 1205"/>
                <a:gd name="T66" fmla="*/ 69 w 429"/>
                <a:gd name="T67" fmla="*/ 432 h 1205"/>
                <a:gd name="T68" fmla="*/ 67 w 429"/>
                <a:gd name="T69" fmla="*/ 406 h 1205"/>
                <a:gd name="T70" fmla="*/ 84 w 429"/>
                <a:gd name="T71" fmla="*/ 367 h 1205"/>
                <a:gd name="T72" fmla="*/ 103 w 429"/>
                <a:gd name="T73" fmla="*/ 308 h 1205"/>
                <a:gd name="T74" fmla="*/ 105 w 429"/>
                <a:gd name="T75" fmla="*/ 297 h 1205"/>
                <a:gd name="T76" fmla="*/ 127 w 429"/>
                <a:gd name="T77" fmla="*/ 274 h 1205"/>
                <a:gd name="T78" fmla="*/ 154 w 429"/>
                <a:gd name="T79" fmla="*/ 266 h 1205"/>
                <a:gd name="T80" fmla="*/ 180 w 429"/>
                <a:gd name="T81" fmla="*/ 253 h 1205"/>
                <a:gd name="T82" fmla="*/ 192 w 429"/>
                <a:gd name="T83" fmla="*/ 254 h 1205"/>
                <a:gd name="T84" fmla="*/ 212 w 429"/>
                <a:gd name="T85" fmla="*/ 266 h 1205"/>
                <a:gd name="T86" fmla="*/ 218 w 429"/>
                <a:gd name="T87" fmla="*/ 251 h 1205"/>
                <a:gd name="T88" fmla="*/ 215 w 429"/>
                <a:gd name="T89" fmla="*/ 214 h 1205"/>
                <a:gd name="T90" fmla="*/ 207 w 429"/>
                <a:gd name="T91" fmla="*/ 182 h 1205"/>
                <a:gd name="T92" fmla="*/ 171 w 429"/>
                <a:gd name="T93" fmla="*/ 159 h 1205"/>
                <a:gd name="T94" fmla="*/ 156 w 429"/>
                <a:gd name="T95" fmla="*/ 142 h 1205"/>
                <a:gd name="T96" fmla="*/ 134 w 429"/>
                <a:gd name="T97" fmla="*/ 83 h 1205"/>
                <a:gd name="T98" fmla="*/ 109 w 429"/>
                <a:gd name="T99" fmla="*/ 57 h 1205"/>
                <a:gd name="T100" fmla="*/ 100 w 429"/>
                <a:gd name="T101" fmla="*/ 44 h 1205"/>
                <a:gd name="T102" fmla="*/ 108 w 429"/>
                <a:gd name="T103" fmla="*/ 20 h 1205"/>
                <a:gd name="T104" fmla="*/ 127 w 429"/>
                <a:gd name="T105" fmla="*/ 0 h 1205"/>
                <a:gd name="T106" fmla="*/ 166 w 429"/>
                <a:gd name="T107" fmla="*/ 23 h 1205"/>
                <a:gd name="T108" fmla="*/ 196 w 429"/>
                <a:gd name="T109" fmla="*/ 30 h 1205"/>
                <a:gd name="T110" fmla="*/ 243 w 429"/>
                <a:gd name="T111" fmla="*/ 45 h 1205"/>
                <a:gd name="T112" fmla="*/ 280 w 429"/>
                <a:gd name="T113" fmla="*/ 54 h 1205"/>
                <a:gd name="T114" fmla="*/ 313 w 429"/>
                <a:gd name="T115" fmla="*/ 71 h 1205"/>
                <a:gd name="T116" fmla="*/ 343 w 429"/>
                <a:gd name="T117" fmla="*/ 71 h 1205"/>
                <a:gd name="T118" fmla="*/ 358 w 429"/>
                <a:gd name="T119" fmla="*/ 94 h 1205"/>
                <a:gd name="T120" fmla="*/ 380 w 429"/>
                <a:gd name="T121" fmla="*/ 122 h 1205"/>
                <a:gd name="T122" fmla="*/ 410 w 429"/>
                <a:gd name="T123" fmla="*/ 140 h 1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29" h="1205">
                  <a:moveTo>
                    <a:pt x="89" y="1205"/>
                  </a:moveTo>
                  <a:lnTo>
                    <a:pt x="90" y="1204"/>
                  </a:lnTo>
                  <a:lnTo>
                    <a:pt x="91" y="1202"/>
                  </a:lnTo>
                  <a:lnTo>
                    <a:pt x="91" y="1201"/>
                  </a:lnTo>
                  <a:lnTo>
                    <a:pt x="91" y="1201"/>
                  </a:lnTo>
                  <a:lnTo>
                    <a:pt x="91" y="1199"/>
                  </a:lnTo>
                  <a:lnTo>
                    <a:pt x="91" y="1198"/>
                  </a:lnTo>
                  <a:lnTo>
                    <a:pt x="91" y="1196"/>
                  </a:lnTo>
                  <a:lnTo>
                    <a:pt x="90" y="1192"/>
                  </a:lnTo>
                  <a:lnTo>
                    <a:pt x="89" y="1190"/>
                  </a:lnTo>
                  <a:lnTo>
                    <a:pt x="87" y="1186"/>
                  </a:lnTo>
                  <a:lnTo>
                    <a:pt x="85" y="1183"/>
                  </a:lnTo>
                  <a:lnTo>
                    <a:pt x="80" y="1177"/>
                  </a:lnTo>
                  <a:lnTo>
                    <a:pt x="78" y="1174"/>
                  </a:lnTo>
                  <a:lnTo>
                    <a:pt x="77" y="1171"/>
                  </a:lnTo>
                  <a:lnTo>
                    <a:pt x="76" y="1170"/>
                  </a:lnTo>
                  <a:lnTo>
                    <a:pt x="74" y="1166"/>
                  </a:lnTo>
                  <a:lnTo>
                    <a:pt x="73" y="1160"/>
                  </a:lnTo>
                  <a:lnTo>
                    <a:pt x="69" y="1150"/>
                  </a:lnTo>
                  <a:lnTo>
                    <a:pt x="68" y="1142"/>
                  </a:lnTo>
                  <a:lnTo>
                    <a:pt x="68" y="1138"/>
                  </a:lnTo>
                  <a:lnTo>
                    <a:pt x="67" y="1133"/>
                  </a:lnTo>
                  <a:lnTo>
                    <a:pt x="67" y="1130"/>
                  </a:lnTo>
                  <a:lnTo>
                    <a:pt x="67" y="1127"/>
                  </a:lnTo>
                  <a:lnTo>
                    <a:pt x="67" y="1122"/>
                  </a:lnTo>
                  <a:lnTo>
                    <a:pt x="68" y="1119"/>
                  </a:lnTo>
                  <a:lnTo>
                    <a:pt x="69" y="1116"/>
                  </a:lnTo>
                  <a:lnTo>
                    <a:pt x="70" y="1113"/>
                  </a:lnTo>
                  <a:lnTo>
                    <a:pt x="75" y="1106"/>
                  </a:lnTo>
                  <a:lnTo>
                    <a:pt x="76" y="1103"/>
                  </a:lnTo>
                  <a:lnTo>
                    <a:pt x="79" y="1098"/>
                  </a:lnTo>
                  <a:lnTo>
                    <a:pt x="80" y="1095"/>
                  </a:lnTo>
                  <a:lnTo>
                    <a:pt x="82" y="1093"/>
                  </a:lnTo>
                  <a:lnTo>
                    <a:pt x="84" y="1092"/>
                  </a:lnTo>
                  <a:lnTo>
                    <a:pt x="85" y="1090"/>
                  </a:lnTo>
                  <a:lnTo>
                    <a:pt x="89" y="1088"/>
                  </a:lnTo>
                  <a:lnTo>
                    <a:pt x="89" y="1088"/>
                  </a:lnTo>
                  <a:lnTo>
                    <a:pt x="90" y="1088"/>
                  </a:lnTo>
                  <a:lnTo>
                    <a:pt x="90" y="1087"/>
                  </a:lnTo>
                  <a:lnTo>
                    <a:pt x="90" y="1086"/>
                  </a:lnTo>
                  <a:lnTo>
                    <a:pt x="89" y="1086"/>
                  </a:lnTo>
                  <a:lnTo>
                    <a:pt x="87" y="1085"/>
                  </a:lnTo>
                  <a:lnTo>
                    <a:pt x="86" y="1085"/>
                  </a:lnTo>
                  <a:lnTo>
                    <a:pt x="80" y="1083"/>
                  </a:lnTo>
                  <a:lnTo>
                    <a:pt x="76" y="1083"/>
                  </a:lnTo>
                  <a:lnTo>
                    <a:pt x="72" y="1082"/>
                  </a:lnTo>
                  <a:lnTo>
                    <a:pt x="67" y="1081"/>
                  </a:lnTo>
                  <a:lnTo>
                    <a:pt x="62" y="1080"/>
                  </a:lnTo>
                  <a:lnTo>
                    <a:pt x="52" y="1077"/>
                  </a:lnTo>
                  <a:lnTo>
                    <a:pt x="44" y="1075"/>
                  </a:lnTo>
                  <a:lnTo>
                    <a:pt x="37" y="1073"/>
                  </a:lnTo>
                  <a:lnTo>
                    <a:pt x="35" y="1072"/>
                  </a:lnTo>
                  <a:lnTo>
                    <a:pt x="34" y="1072"/>
                  </a:lnTo>
                  <a:lnTo>
                    <a:pt x="33" y="1071"/>
                  </a:lnTo>
                  <a:lnTo>
                    <a:pt x="32" y="1070"/>
                  </a:lnTo>
                  <a:lnTo>
                    <a:pt x="32" y="1069"/>
                  </a:lnTo>
                  <a:lnTo>
                    <a:pt x="31" y="1067"/>
                  </a:lnTo>
                  <a:lnTo>
                    <a:pt x="31" y="1066"/>
                  </a:lnTo>
                  <a:lnTo>
                    <a:pt x="31" y="1065"/>
                  </a:lnTo>
                  <a:lnTo>
                    <a:pt x="31" y="1062"/>
                  </a:lnTo>
                  <a:lnTo>
                    <a:pt x="31" y="1055"/>
                  </a:lnTo>
                  <a:lnTo>
                    <a:pt x="31" y="1054"/>
                  </a:lnTo>
                  <a:lnTo>
                    <a:pt x="31" y="1051"/>
                  </a:lnTo>
                  <a:lnTo>
                    <a:pt x="30" y="1043"/>
                  </a:lnTo>
                  <a:lnTo>
                    <a:pt x="30" y="1041"/>
                  </a:lnTo>
                  <a:lnTo>
                    <a:pt x="30" y="1039"/>
                  </a:lnTo>
                  <a:lnTo>
                    <a:pt x="31" y="1036"/>
                  </a:lnTo>
                  <a:lnTo>
                    <a:pt x="31" y="1034"/>
                  </a:lnTo>
                  <a:lnTo>
                    <a:pt x="32" y="1032"/>
                  </a:lnTo>
                  <a:lnTo>
                    <a:pt x="33" y="1031"/>
                  </a:lnTo>
                  <a:lnTo>
                    <a:pt x="34" y="1030"/>
                  </a:lnTo>
                  <a:lnTo>
                    <a:pt x="34" y="1030"/>
                  </a:lnTo>
                  <a:lnTo>
                    <a:pt x="35" y="1030"/>
                  </a:lnTo>
                  <a:lnTo>
                    <a:pt x="37" y="1030"/>
                  </a:lnTo>
                  <a:lnTo>
                    <a:pt x="46" y="1031"/>
                  </a:lnTo>
                  <a:lnTo>
                    <a:pt x="55" y="1032"/>
                  </a:lnTo>
                  <a:lnTo>
                    <a:pt x="57" y="1033"/>
                  </a:lnTo>
                  <a:lnTo>
                    <a:pt x="59" y="1033"/>
                  </a:lnTo>
                  <a:lnTo>
                    <a:pt x="61" y="1033"/>
                  </a:lnTo>
                  <a:lnTo>
                    <a:pt x="62" y="1032"/>
                  </a:lnTo>
                  <a:lnTo>
                    <a:pt x="64" y="1032"/>
                  </a:lnTo>
                  <a:lnTo>
                    <a:pt x="65" y="1031"/>
                  </a:lnTo>
                  <a:lnTo>
                    <a:pt x="66" y="1031"/>
                  </a:lnTo>
                  <a:lnTo>
                    <a:pt x="67" y="1029"/>
                  </a:lnTo>
                  <a:lnTo>
                    <a:pt x="68" y="1028"/>
                  </a:lnTo>
                  <a:lnTo>
                    <a:pt x="68" y="1027"/>
                  </a:lnTo>
                  <a:lnTo>
                    <a:pt x="69" y="1025"/>
                  </a:lnTo>
                  <a:lnTo>
                    <a:pt x="69" y="1018"/>
                  </a:lnTo>
                  <a:lnTo>
                    <a:pt x="70" y="1015"/>
                  </a:lnTo>
                  <a:lnTo>
                    <a:pt x="71" y="1012"/>
                  </a:lnTo>
                  <a:lnTo>
                    <a:pt x="72" y="1010"/>
                  </a:lnTo>
                  <a:lnTo>
                    <a:pt x="74" y="1008"/>
                  </a:lnTo>
                  <a:lnTo>
                    <a:pt x="74" y="1008"/>
                  </a:lnTo>
                  <a:lnTo>
                    <a:pt x="74" y="1007"/>
                  </a:lnTo>
                  <a:lnTo>
                    <a:pt x="74" y="1005"/>
                  </a:lnTo>
                  <a:lnTo>
                    <a:pt x="75" y="999"/>
                  </a:lnTo>
                  <a:lnTo>
                    <a:pt x="76" y="996"/>
                  </a:lnTo>
                  <a:lnTo>
                    <a:pt x="78" y="988"/>
                  </a:lnTo>
                  <a:lnTo>
                    <a:pt x="80" y="982"/>
                  </a:lnTo>
                  <a:lnTo>
                    <a:pt x="80" y="978"/>
                  </a:lnTo>
                  <a:lnTo>
                    <a:pt x="80" y="975"/>
                  </a:lnTo>
                  <a:lnTo>
                    <a:pt x="80" y="974"/>
                  </a:lnTo>
                  <a:lnTo>
                    <a:pt x="80" y="973"/>
                  </a:lnTo>
                  <a:lnTo>
                    <a:pt x="77" y="963"/>
                  </a:lnTo>
                  <a:lnTo>
                    <a:pt x="76" y="961"/>
                  </a:lnTo>
                  <a:lnTo>
                    <a:pt x="75" y="958"/>
                  </a:lnTo>
                  <a:lnTo>
                    <a:pt x="75" y="956"/>
                  </a:lnTo>
                  <a:lnTo>
                    <a:pt x="75" y="953"/>
                  </a:lnTo>
                  <a:lnTo>
                    <a:pt x="75" y="950"/>
                  </a:lnTo>
                  <a:lnTo>
                    <a:pt x="76" y="947"/>
                  </a:lnTo>
                  <a:lnTo>
                    <a:pt x="76" y="944"/>
                  </a:lnTo>
                  <a:lnTo>
                    <a:pt x="77" y="941"/>
                  </a:lnTo>
                  <a:lnTo>
                    <a:pt x="79" y="939"/>
                  </a:lnTo>
                  <a:lnTo>
                    <a:pt x="80" y="936"/>
                  </a:lnTo>
                  <a:lnTo>
                    <a:pt x="81" y="934"/>
                  </a:lnTo>
                  <a:lnTo>
                    <a:pt x="83" y="932"/>
                  </a:lnTo>
                  <a:lnTo>
                    <a:pt x="90" y="925"/>
                  </a:lnTo>
                  <a:lnTo>
                    <a:pt x="96" y="917"/>
                  </a:lnTo>
                  <a:lnTo>
                    <a:pt x="97" y="915"/>
                  </a:lnTo>
                  <a:lnTo>
                    <a:pt x="98" y="912"/>
                  </a:lnTo>
                  <a:lnTo>
                    <a:pt x="100" y="910"/>
                  </a:lnTo>
                  <a:lnTo>
                    <a:pt x="100" y="907"/>
                  </a:lnTo>
                  <a:lnTo>
                    <a:pt x="102" y="904"/>
                  </a:lnTo>
                  <a:lnTo>
                    <a:pt x="103" y="900"/>
                  </a:lnTo>
                  <a:lnTo>
                    <a:pt x="103" y="895"/>
                  </a:lnTo>
                  <a:lnTo>
                    <a:pt x="103" y="891"/>
                  </a:lnTo>
                  <a:lnTo>
                    <a:pt x="103" y="888"/>
                  </a:lnTo>
                  <a:lnTo>
                    <a:pt x="103" y="884"/>
                  </a:lnTo>
                  <a:lnTo>
                    <a:pt x="102" y="875"/>
                  </a:lnTo>
                  <a:lnTo>
                    <a:pt x="102" y="873"/>
                  </a:lnTo>
                  <a:lnTo>
                    <a:pt x="101" y="870"/>
                  </a:lnTo>
                  <a:lnTo>
                    <a:pt x="100" y="868"/>
                  </a:lnTo>
                  <a:lnTo>
                    <a:pt x="99" y="865"/>
                  </a:lnTo>
                  <a:lnTo>
                    <a:pt x="97" y="863"/>
                  </a:lnTo>
                  <a:lnTo>
                    <a:pt x="96" y="862"/>
                  </a:lnTo>
                  <a:lnTo>
                    <a:pt x="94" y="861"/>
                  </a:lnTo>
                  <a:lnTo>
                    <a:pt x="92" y="859"/>
                  </a:lnTo>
                  <a:lnTo>
                    <a:pt x="91" y="858"/>
                  </a:lnTo>
                  <a:lnTo>
                    <a:pt x="89" y="857"/>
                  </a:lnTo>
                  <a:lnTo>
                    <a:pt x="87" y="856"/>
                  </a:lnTo>
                  <a:lnTo>
                    <a:pt x="85" y="855"/>
                  </a:lnTo>
                  <a:lnTo>
                    <a:pt x="78" y="853"/>
                  </a:lnTo>
                  <a:lnTo>
                    <a:pt x="75" y="853"/>
                  </a:lnTo>
                  <a:lnTo>
                    <a:pt x="71" y="853"/>
                  </a:lnTo>
                  <a:lnTo>
                    <a:pt x="69" y="852"/>
                  </a:lnTo>
                  <a:lnTo>
                    <a:pt x="69" y="852"/>
                  </a:lnTo>
                  <a:lnTo>
                    <a:pt x="69" y="851"/>
                  </a:lnTo>
                  <a:lnTo>
                    <a:pt x="68" y="851"/>
                  </a:lnTo>
                  <a:lnTo>
                    <a:pt x="68" y="850"/>
                  </a:lnTo>
                  <a:lnTo>
                    <a:pt x="67" y="850"/>
                  </a:lnTo>
                  <a:lnTo>
                    <a:pt x="67" y="849"/>
                  </a:lnTo>
                  <a:lnTo>
                    <a:pt x="67" y="847"/>
                  </a:lnTo>
                  <a:lnTo>
                    <a:pt x="68" y="844"/>
                  </a:lnTo>
                  <a:lnTo>
                    <a:pt x="69" y="839"/>
                  </a:lnTo>
                  <a:lnTo>
                    <a:pt x="69" y="838"/>
                  </a:lnTo>
                  <a:lnTo>
                    <a:pt x="69" y="835"/>
                  </a:lnTo>
                  <a:lnTo>
                    <a:pt x="69" y="832"/>
                  </a:lnTo>
                  <a:lnTo>
                    <a:pt x="69" y="831"/>
                  </a:lnTo>
                  <a:lnTo>
                    <a:pt x="69" y="829"/>
                  </a:lnTo>
                  <a:lnTo>
                    <a:pt x="67" y="822"/>
                  </a:lnTo>
                  <a:lnTo>
                    <a:pt x="66" y="820"/>
                  </a:lnTo>
                  <a:lnTo>
                    <a:pt x="66" y="818"/>
                  </a:lnTo>
                  <a:lnTo>
                    <a:pt x="65" y="811"/>
                  </a:lnTo>
                  <a:lnTo>
                    <a:pt x="64" y="809"/>
                  </a:lnTo>
                  <a:lnTo>
                    <a:pt x="63" y="807"/>
                  </a:lnTo>
                  <a:lnTo>
                    <a:pt x="62" y="805"/>
                  </a:lnTo>
                  <a:lnTo>
                    <a:pt x="60" y="803"/>
                  </a:lnTo>
                  <a:lnTo>
                    <a:pt x="59" y="801"/>
                  </a:lnTo>
                  <a:lnTo>
                    <a:pt x="53" y="793"/>
                  </a:lnTo>
                  <a:lnTo>
                    <a:pt x="49" y="789"/>
                  </a:lnTo>
                  <a:lnTo>
                    <a:pt x="44" y="782"/>
                  </a:lnTo>
                  <a:lnTo>
                    <a:pt x="42" y="781"/>
                  </a:lnTo>
                  <a:lnTo>
                    <a:pt x="41" y="778"/>
                  </a:lnTo>
                  <a:lnTo>
                    <a:pt x="38" y="773"/>
                  </a:lnTo>
                  <a:lnTo>
                    <a:pt x="35" y="767"/>
                  </a:lnTo>
                  <a:lnTo>
                    <a:pt x="34" y="764"/>
                  </a:lnTo>
                  <a:lnTo>
                    <a:pt x="31" y="755"/>
                  </a:lnTo>
                  <a:lnTo>
                    <a:pt x="30" y="752"/>
                  </a:lnTo>
                  <a:lnTo>
                    <a:pt x="29" y="750"/>
                  </a:lnTo>
                  <a:lnTo>
                    <a:pt x="28" y="748"/>
                  </a:lnTo>
                  <a:lnTo>
                    <a:pt x="26" y="746"/>
                  </a:lnTo>
                  <a:lnTo>
                    <a:pt x="21" y="737"/>
                  </a:lnTo>
                  <a:lnTo>
                    <a:pt x="20" y="735"/>
                  </a:lnTo>
                  <a:lnTo>
                    <a:pt x="19" y="732"/>
                  </a:lnTo>
                  <a:lnTo>
                    <a:pt x="18" y="729"/>
                  </a:lnTo>
                  <a:lnTo>
                    <a:pt x="18" y="726"/>
                  </a:lnTo>
                  <a:lnTo>
                    <a:pt x="17" y="723"/>
                  </a:lnTo>
                  <a:lnTo>
                    <a:pt x="17" y="719"/>
                  </a:lnTo>
                  <a:lnTo>
                    <a:pt x="17" y="717"/>
                  </a:lnTo>
                  <a:lnTo>
                    <a:pt x="17" y="714"/>
                  </a:lnTo>
                  <a:lnTo>
                    <a:pt x="18" y="712"/>
                  </a:lnTo>
                  <a:lnTo>
                    <a:pt x="18" y="709"/>
                  </a:lnTo>
                  <a:lnTo>
                    <a:pt x="19" y="706"/>
                  </a:lnTo>
                  <a:lnTo>
                    <a:pt x="20" y="703"/>
                  </a:lnTo>
                  <a:lnTo>
                    <a:pt x="21" y="702"/>
                  </a:lnTo>
                  <a:lnTo>
                    <a:pt x="22" y="700"/>
                  </a:lnTo>
                  <a:lnTo>
                    <a:pt x="23" y="696"/>
                  </a:lnTo>
                  <a:lnTo>
                    <a:pt x="29" y="690"/>
                  </a:lnTo>
                  <a:lnTo>
                    <a:pt x="30" y="688"/>
                  </a:lnTo>
                  <a:lnTo>
                    <a:pt x="31" y="686"/>
                  </a:lnTo>
                  <a:lnTo>
                    <a:pt x="32" y="684"/>
                  </a:lnTo>
                  <a:lnTo>
                    <a:pt x="32" y="681"/>
                  </a:lnTo>
                  <a:lnTo>
                    <a:pt x="32" y="680"/>
                  </a:lnTo>
                  <a:lnTo>
                    <a:pt x="32" y="677"/>
                  </a:lnTo>
                  <a:lnTo>
                    <a:pt x="32" y="673"/>
                  </a:lnTo>
                  <a:lnTo>
                    <a:pt x="30" y="665"/>
                  </a:lnTo>
                  <a:lnTo>
                    <a:pt x="29" y="661"/>
                  </a:lnTo>
                  <a:lnTo>
                    <a:pt x="29" y="657"/>
                  </a:lnTo>
                  <a:lnTo>
                    <a:pt x="28" y="650"/>
                  </a:lnTo>
                  <a:lnTo>
                    <a:pt x="27" y="640"/>
                  </a:lnTo>
                  <a:lnTo>
                    <a:pt x="27" y="636"/>
                  </a:lnTo>
                  <a:lnTo>
                    <a:pt x="26" y="632"/>
                  </a:lnTo>
                  <a:lnTo>
                    <a:pt x="25" y="628"/>
                  </a:lnTo>
                  <a:lnTo>
                    <a:pt x="22" y="617"/>
                  </a:lnTo>
                  <a:lnTo>
                    <a:pt x="16" y="604"/>
                  </a:lnTo>
                  <a:lnTo>
                    <a:pt x="14" y="598"/>
                  </a:lnTo>
                  <a:lnTo>
                    <a:pt x="12" y="594"/>
                  </a:lnTo>
                  <a:lnTo>
                    <a:pt x="12" y="589"/>
                  </a:lnTo>
                  <a:lnTo>
                    <a:pt x="9" y="576"/>
                  </a:lnTo>
                  <a:lnTo>
                    <a:pt x="7" y="571"/>
                  </a:lnTo>
                  <a:lnTo>
                    <a:pt x="5" y="563"/>
                  </a:lnTo>
                  <a:lnTo>
                    <a:pt x="1" y="554"/>
                  </a:lnTo>
                  <a:lnTo>
                    <a:pt x="0" y="551"/>
                  </a:lnTo>
                  <a:lnTo>
                    <a:pt x="0" y="547"/>
                  </a:lnTo>
                  <a:lnTo>
                    <a:pt x="0" y="544"/>
                  </a:lnTo>
                  <a:lnTo>
                    <a:pt x="0" y="544"/>
                  </a:lnTo>
                  <a:lnTo>
                    <a:pt x="0" y="542"/>
                  </a:lnTo>
                  <a:lnTo>
                    <a:pt x="0" y="541"/>
                  </a:lnTo>
                  <a:lnTo>
                    <a:pt x="0" y="540"/>
                  </a:lnTo>
                  <a:lnTo>
                    <a:pt x="1" y="539"/>
                  </a:lnTo>
                  <a:lnTo>
                    <a:pt x="2" y="538"/>
                  </a:lnTo>
                  <a:lnTo>
                    <a:pt x="3" y="538"/>
                  </a:lnTo>
                  <a:lnTo>
                    <a:pt x="4" y="537"/>
                  </a:lnTo>
                  <a:lnTo>
                    <a:pt x="6" y="536"/>
                  </a:lnTo>
                  <a:lnTo>
                    <a:pt x="9" y="535"/>
                  </a:lnTo>
                  <a:lnTo>
                    <a:pt x="12" y="534"/>
                  </a:lnTo>
                  <a:lnTo>
                    <a:pt x="18" y="533"/>
                  </a:lnTo>
                  <a:lnTo>
                    <a:pt x="21" y="533"/>
                  </a:lnTo>
                  <a:lnTo>
                    <a:pt x="23" y="532"/>
                  </a:lnTo>
                  <a:lnTo>
                    <a:pt x="23" y="531"/>
                  </a:lnTo>
                  <a:lnTo>
                    <a:pt x="25" y="530"/>
                  </a:lnTo>
                  <a:lnTo>
                    <a:pt x="27" y="529"/>
                  </a:lnTo>
                  <a:lnTo>
                    <a:pt x="30" y="526"/>
                  </a:lnTo>
                  <a:lnTo>
                    <a:pt x="32" y="524"/>
                  </a:lnTo>
                  <a:lnTo>
                    <a:pt x="34" y="522"/>
                  </a:lnTo>
                  <a:lnTo>
                    <a:pt x="36" y="519"/>
                  </a:lnTo>
                  <a:lnTo>
                    <a:pt x="38" y="517"/>
                  </a:lnTo>
                  <a:lnTo>
                    <a:pt x="44" y="510"/>
                  </a:lnTo>
                  <a:lnTo>
                    <a:pt x="46" y="508"/>
                  </a:lnTo>
                  <a:lnTo>
                    <a:pt x="55" y="501"/>
                  </a:lnTo>
                  <a:lnTo>
                    <a:pt x="57" y="499"/>
                  </a:lnTo>
                  <a:lnTo>
                    <a:pt x="59" y="497"/>
                  </a:lnTo>
                  <a:lnTo>
                    <a:pt x="61" y="495"/>
                  </a:lnTo>
                  <a:lnTo>
                    <a:pt x="62" y="493"/>
                  </a:lnTo>
                  <a:lnTo>
                    <a:pt x="63" y="491"/>
                  </a:lnTo>
                  <a:lnTo>
                    <a:pt x="64" y="489"/>
                  </a:lnTo>
                  <a:lnTo>
                    <a:pt x="65" y="486"/>
                  </a:lnTo>
                  <a:lnTo>
                    <a:pt x="66" y="483"/>
                  </a:lnTo>
                  <a:lnTo>
                    <a:pt x="67" y="481"/>
                  </a:lnTo>
                  <a:lnTo>
                    <a:pt x="67" y="478"/>
                  </a:lnTo>
                  <a:lnTo>
                    <a:pt x="67" y="476"/>
                  </a:lnTo>
                  <a:lnTo>
                    <a:pt x="66" y="465"/>
                  </a:lnTo>
                  <a:lnTo>
                    <a:pt x="65" y="463"/>
                  </a:lnTo>
                  <a:lnTo>
                    <a:pt x="64" y="457"/>
                  </a:lnTo>
                  <a:lnTo>
                    <a:pt x="64" y="454"/>
                  </a:lnTo>
                  <a:lnTo>
                    <a:pt x="63" y="453"/>
                  </a:lnTo>
                  <a:lnTo>
                    <a:pt x="63" y="450"/>
                  </a:lnTo>
                  <a:lnTo>
                    <a:pt x="64" y="448"/>
                  </a:lnTo>
                  <a:lnTo>
                    <a:pt x="64" y="445"/>
                  </a:lnTo>
                  <a:lnTo>
                    <a:pt x="65" y="442"/>
                  </a:lnTo>
                  <a:lnTo>
                    <a:pt x="68" y="435"/>
                  </a:lnTo>
                  <a:lnTo>
                    <a:pt x="69" y="432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8" y="426"/>
                  </a:lnTo>
                  <a:lnTo>
                    <a:pt x="67" y="416"/>
                  </a:lnTo>
                  <a:lnTo>
                    <a:pt x="67" y="413"/>
                  </a:lnTo>
                  <a:lnTo>
                    <a:pt x="66" y="410"/>
                  </a:lnTo>
                  <a:lnTo>
                    <a:pt x="67" y="408"/>
                  </a:lnTo>
                  <a:lnTo>
                    <a:pt x="67" y="406"/>
                  </a:lnTo>
                  <a:lnTo>
                    <a:pt x="68" y="404"/>
                  </a:lnTo>
                  <a:lnTo>
                    <a:pt x="69" y="402"/>
                  </a:lnTo>
                  <a:lnTo>
                    <a:pt x="71" y="397"/>
                  </a:lnTo>
                  <a:lnTo>
                    <a:pt x="73" y="395"/>
                  </a:lnTo>
                  <a:lnTo>
                    <a:pt x="77" y="385"/>
                  </a:lnTo>
                  <a:lnTo>
                    <a:pt x="80" y="379"/>
                  </a:lnTo>
                  <a:lnTo>
                    <a:pt x="81" y="375"/>
                  </a:lnTo>
                  <a:lnTo>
                    <a:pt x="84" y="367"/>
                  </a:lnTo>
                  <a:lnTo>
                    <a:pt x="91" y="346"/>
                  </a:lnTo>
                  <a:lnTo>
                    <a:pt x="94" y="338"/>
                  </a:lnTo>
                  <a:lnTo>
                    <a:pt x="98" y="328"/>
                  </a:lnTo>
                  <a:lnTo>
                    <a:pt x="100" y="324"/>
                  </a:lnTo>
                  <a:lnTo>
                    <a:pt x="101" y="320"/>
                  </a:lnTo>
                  <a:lnTo>
                    <a:pt x="102" y="317"/>
                  </a:lnTo>
                  <a:lnTo>
                    <a:pt x="103" y="313"/>
                  </a:lnTo>
                  <a:lnTo>
                    <a:pt x="103" y="308"/>
                  </a:lnTo>
                  <a:lnTo>
                    <a:pt x="103" y="306"/>
                  </a:lnTo>
                  <a:lnTo>
                    <a:pt x="103" y="302"/>
                  </a:lnTo>
                  <a:lnTo>
                    <a:pt x="103" y="299"/>
                  </a:lnTo>
                  <a:lnTo>
                    <a:pt x="103" y="298"/>
                  </a:lnTo>
                  <a:lnTo>
                    <a:pt x="102" y="298"/>
                  </a:lnTo>
                  <a:lnTo>
                    <a:pt x="103" y="298"/>
                  </a:lnTo>
                  <a:lnTo>
                    <a:pt x="103" y="298"/>
                  </a:lnTo>
                  <a:lnTo>
                    <a:pt x="105" y="297"/>
                  </a:lnTo>
                  <a:lnTo>
                    <a:pt x="107" y="295"/>
                  </a:lnTo>
                  <a:lnTo>
                    <a:pt x="109" y="295"/>
                  </a:lnTo>
                  <a:lnTo>
                    <a:pt x="110" y="293"/>
                  </a:lnTo>
                  <a:lnTo>
                    <a:pt x="117" y="284"/>
                  </a:lnTo>
                  <a:lnTo>
                    <a:pt x="119" y="283"/>
                  </a:lnTo>
                  <a:lnTo>
                    <a:pt x="122" y="280"/>
                  </a:lnTo>
                  <a:lnTo>
                    <a:pt x="125" y="277"/>
                  </a:lnTo>
                  <a:lnTo>
                    <a:pt x="127" y="274"/>
                  </a:lnTo>
                  <a:lnTo>
                    <a:pt x="130" y="272"/>
                  </a:lnTo>
                  <a:lnTo>
                    <a:pt x="133" y="272"/>
                  </a:lnTo>
                  <a:lnTo>
                    <a:pt x="135" y="271"/>
                  </a:lnTo>
                  <a:lnTo>
                    <a:pt x="137" y="269"/>
                  </a:lnTo>
                  <a:lnTo>
                    <a:pt x="139" y="268"/>
                  </a:lnTo>
                  <a:lnTo>
                    <a:pt x="142" y="268"/>
                  </a:lnTo>
                  <a:lnTo>
                    <a:pt x="147" y="267"/>
                  </a:lnTo>
                  <a:lnTo>
                    <a:pt x="154" y="266"/>
                  </a:lnTo>
                  <a:lnTo>
                    <a:pt x="159" y="265"/>
                  </a:lnTo>
                  <a:lnTo>
                    <a:pt x="163" y="264"/>
                  </a:lnTo>
                  <a:lnTo>
                    <a:pt x="166" y="263"/>
                  </a:lnTo>
                  <a:lnTo>
                    <a:pt x="170" y="261"/>
                  </a:lnTo>
                  <a:lnTo>
                    <a:pt x="171" y="260"/>
                  </a:lnTo>
                  <a:lnTo>
                    <a:pt x="174" y="258"/>
                  </a:lnTo>
                  <a:lnTo>
                    <a:pt x="178" y="254"/>
                  </a:lnTo>
                  <a:lnTo>
                    <a:pt x="180" y="253"/>
                  </a:lnTo>
                  <a:lnTo>
                    <a:pt x="181" y="251"/>
                  </a:lnTo>
                  <a:lnTo>
                    <a:pt x="182" y="251"/>
                  </a:lnTo>
                  <a:lnTo>
                    <a:pt x="184" y="250"/>
                  </a:lnTo>
                  <a:lnTo>
                    <a:pt x="186" y="250"/>
                  </a:lnTo>
                  <a:lnTo>
                    <a:pt x="187" y="250"/>
                  </a:lnTo>
                  <a:lnTo>
                    <a:pt x="189" y="251"/>
                  </a:lnTo>
                  <a:lnTo>
                    <a:pt x="191" y="252"/>
                  </a:lnTo>
                  <a:lnTo>
                    <a:pt x="192" y="254"/>
                  </a:lnTo>
                  <a:lnTo>
                    <a:pt x="200" y="261"/>
                  </a:lnTo>
                  <a:lnTo>
                    <a:pt x="203" y="263"/>
                  </a:lnTo>
                  <a:lnTo>
                    <a:pt x="204" y="264"/>
                  </a:lnTo>
                  <a:lnTo>
                    <a:pt x="205" y="265"/>
                  </a:lnTo>
                  <a:lnTo>
                    <a:pt x="206" y="266"/>
                  </a:lnTo>
                  <a:lnTo>
                    <a:pt x="208" y="266"/>
                  </a:lnTo>
                  <a:lnTo>
                    <a:pt x="210" y="266"/>
                  </a:lnTo>
                  <a:lnTo>
                    <a:pt x="212" y="266"/>
                  </a:lnTo>
                  <a:lnTo>
                    <a:pt x="214" y="265"/>
                  </a:lnTo>
                  <a:lnTo>
                    <a:pt x="215" y="264"/>
                  </a:lnTo>
                  <a:lnTo>
                    <a:pt x="216" y="262"/>
                  </a:lnTo>
                  <a:lnTo>
                    <a:pt x="217" y="261"/>
                  </a:lnTo>
                  <a:lnTo>
                    <a:pt x="218" y="259"/>
                  </a:lnTo>
                  <a:lnTo>
                    <a:pt x="219" y="257"/>
                  </a:lnTo>
                  <a:lnTo>
                    <a:pt x="219" y="254"/>
                  </a:lnTo>
                  <a:lnTo>
                    <a:pt x="218" y="251"/>
                  </a:lnTo>
                  <a:lnTo>
                    <a:pt x="217" y="249"/>
                  </a:lnTo>
                  <a:lnTo>
                    <a:pt x="216" y="242"/>
                  </a:lnTo>
                  <a:lnTo>
                    <a:pt x="215" y="238"/>
                  </a:lnTo>
                  <a:lnTo>
                    <a:pt x="214" y="233"/>
                  </a:lnTo>
                  <a:lnTo>
                    <a:pt x="214" y="229"/>
                  </a:lnTo>
                  <a:lnTo>
                    <a:pt x="213" y="227"/>
                  </a:lnTo>
                  <a:lnTo>
                    <a:pt x="214" y="224"/>
                  </a:lnTo>
                  <a:lnTo>
                    <a:pt x="215" y="214"/>
                  </a:lnTo>
                  <a:lnTo>
                    <a:pt x="215" y="210"/>
                  </a:lnTo>
                  <a:lnTo>
                    <a:pt x="215" y="205"/>
                  </a:lnTo>
                  <a:lnTo>
                    <a:pt x="215" y="201"/>
                  </a:lnTo>
                  <a:lnTo>
                    <a:pt x="214" y="197"/>
                  </a:lnTo>
                  <a:lnTo>
                    <a:pt x="213" y="193"/>
                  </a:lnTo>
                  <a:lnTo>
                    <a:pt x="212" y="190"/>
                  </a:lnTo>
                  <a:lnTo>
                    <a:pt x="210" y="186"/>
                  </a:lnTo>
                  <a:lnTo>
                    <a:pt x="207" y="182"/>
                  </a:lnTo>
                  <a:lnTo>
                    <a:pt x="205" y="180"/>
                  </a:lnTo>
                  <a:lnTo>
                    <a:pt x="203" y="177"/>
                  </a:lnTo>
                  <a:lnTo>
                    <a:pt x="200" y="174"/>
                  </a:lnTo>
                  <a:lnTo>
                    <a:pt x="197" y="173"/>
                  </a:lnTo>
                  <a:lnTo>
                    <a:pt x="194" y="170"/>
                  </a:lnTo>
                  <a:lnTo>
                    <a:pt x="180" y="162"/>
                  </a:lnTo>
                  <a:lnTo>
                    <a:pt x="177" y="160"/>
                  </a:lnTo>
                  <a:lnTo>
                    <a:pt x="171" y="159"/>
                  </a:lnTo>
                  <a:lnTo>
                    <a:pt x="169" y="157"/>
                  </a:lnTo>
                  <a:lnTo>
                    <a:pt x="166" y="155"/>
                  </a:lnTo>
                  <a:lnTo>
                    <a:pt x="164" y="153"/>
                  </a:lnTo>
                  <a:lnTo>
                    <a:pt x="162" y="151"/>
                  </a:lnTo>
                  <a:lnTo>
                    <a:pt x="160" y="149"/>
                  </a:lnTo>
                  <a:lnTo>
                    <a:pt x="159" y="147"/>
                  </a:lnTo>
                  <a:lnTo>
                    <a:pt x="158" y="145"/>
                  </a:lnTo>
                  <a:lnTo>
                    <a:pt x="156" y="142"/>
                  </a:lnTo>
                  <a:lnTo>
                    <a:pt x="155" y="140"/>
                  </a:lnTo>
                  <a:lnTo>
                    <a:pt x="150" y="127"/>
                  </a:lnTo>
                  <a:lnTo>
                    <a:pt x="145" y="114"/>
                  </a:lnTo>
                  <a:lnTo>
                    <a:pt x="142" y="108"/>
                  </a:lnTo>
                  <a:lnTo>
                    <a:pt x="140" y="102"/>
                  </a:lnTo>
                  <a:lnTo>
                    <a:pt x="137" y="93"/>
                  </a:lnTo>
                  <a:lnTo>
                    <a:pt x="136" y="87"/>
                  </a:lnTo>
                  <a:lnTo>
                    <a:pt x="134" y="83"/>
                  </a:lnTo>
                  <a:lnTo>
                    <a:pt x="132" y="79"/>
                  </a:lnTo>
                  <a:lnTo>
                    <a:pt x="130" y="78"/>
                  </a:lnTo>
                  <a:lnTo>
                    <a:pt x="129" y="76"/>
                  </a:lnTo>
                  <a:lnTo>
                    <a:pt x="127" y="74"/>
                  </a:lnTo>
                  <a:lnTo>
                    <a:pt x="125" y="72"/>
                  </a:lnTo>
                  <a:lnTo>
                    <a:pt x="124" y="70"/>
                  </a:lnTo>
                  <a:lnTo>
                    <a:pt x="118" y="65"/>
                  </a:lnTo>
                  <a:lnTo>
                    <a:pt x="109" y="57"/>
                  </a:lnTo>
                  <a:lnTo>
                    <a:pt x="107" y="56"/>
                  </a:lnTo>
                  <a:lnTo>
                    <a:pt x="105" y="54"/>
                  </a:lnTo>
                  <a:lnTo>
                    <a:pt x="103" y="52"/>
                  </a:lnTo>
                  <a:lnTo>
                    <a:pt x="102" y="50"/>
                  </a:lnTo>
                  <a:lnTo>
                    <a:pt x="101" y="48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100" y="44"/>
                  </a:lnTo>
                  <a:lnTo>
                    <a:pt x="100" y="41"/>
                  </a:lnTo>
                  <a:lnTo>
                    <a:pt x="100" y="39"/>
                  </a:lnTo>
                  <a:lnTo>
                    <a:pt x="100" y="37"/>
                  </a:lnTo>
                  <a:lnTo>
                    <a:pt x="101" y="34"/>
                  </a:lnTo>
                  <a:lnTo>
                    <a:pt x="102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8" y="20"/>
                  </a:lnTo>
                  <a:lnTo>
                    <a:pt x="110" y="16"/>
                  </a:lnTo>
                  <a:lnTo>
                    <a:pt x="113" y="12"/>
                  </a:lnTo>
                  <a:lnTo>
                    <a:pt x="115" y="10"/>
                  </a:lnTo>
                  <a:lnTo>
                    <a:pt x="117" y="7"/>
                  </a:lnTo>
                  <a:lnTo>
                    <a:pt x="121" y="5"/>
                  </a:lnTo>
                  <a:lnTo>
                    <a:pt x="125" y="2"/>
                  </a:lnTo>
                  <a:lnTo>
                    <a:pt x="126" y="1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30" y="1"/>
                  </a:lnTo>
                  <a:lnTo>
                    <a:pt x="133" y="3"/>
                  </a:lnTo>
                  <a:lnTo>
                    <a:pt x="137" y="7"/>
                  </a:lnTo>
                  <a:lnTo>
                    <a:pt x="142" y="10"/>
                  </a:lnTo>
                  <a:lnTo>
                    <a:pt x="148" y="13"/>
                  </a:lnTo>
                  <a:lnTo>
                    <a:pt x="160" y="20"/>
                  </a:lnTo>
                  <a:lnTo>
                    <a:pt x="166" y="23"/>
                  </a:lnTo>
                  <a:lnTo>
                    <a:pt x="172" y="26"/>
                  </a:lnTo>
                  <a:lnTo>
                    <a:pt x="174" y="27"/>
                  </a:lnTo>
                  <a:lnTo>
                    <a:pt x="177" y="28"/>
                  </a:lnTo>
                  <a:lnTo>
                    <a:pt x="180" y="29"/>
                  </a:lnTo>
                  <a:lnTo>
                    <a:pt x="182" y="30"/>
                  </a:lnTo>
                  <a:lnTo>
                    <a:pt x="186" y="30"/>
                  </a:lnTo>
                  <a:lnTo>
                    <a:pt x="194" y="30"/>
                  </a:lnTo>
                  <a:lnTo>
                    <a:pt x="196" y="30"/>
                  </a:lnTo>
                  <a:lnTo>
                    <a:pt x="199" y="30"/>
                  </a:lnTo>
                  <a:lnTo>
                    <a:pt x="203" y="31"/>
                  </a:lnTo>
                  <a:lnTo>
                    <a:pt x="213" y="34"/>
                  </a:lnTo>
                  <a:lnTo>
                    <a:pt x="216" y="34"/>
                  </a:lnTo>
                  <a:lnTo>
                    <a:pt x="219" y="35"/>
                  </a:lnTo>
                  <a:lnTo>
                    <a:pt x="235" y="42"/>
                  </a:lnTo>
                  <a:lnTo>
                    <a:pt x="239" y="44"/>
                  </a:lnTo>
                  <a:lnTo>
                    <a:pt x="243" y="45"/>
                  </a:lnTo>
                  <a:lnTo>
                    <a:pt x="249" y="46"/>
                  </a:lnTo>
                  <a:lnTo>
                    <a:pt x="255" y="48"/>
                  </a:lnTo>
                  <a:lnTo>
                    <a:pt x="260" y="49"/>
                  </a:lnTo>
                  <a:lnTo>
                    <a:pt x="268" y="50"/>
                  </a:lnTo>
                  <a:lnTo>
                    <a:pt x="272" y="50"/>
                  </a:lnTo>
                  <a:lnTo>
                    <a:pt x="274" y="51"/>
                  </a:lnTo>
                  <a:lnTo>
                    <a:pt x="277" y="52"/>
                  </a:lnTo>
                  <a:lnTo>
                    <a:pt x="280" y="54"/>
                  </a:lnTo>
                  <a:lnTo>
                    <a:pt x="283" y="55"/>
                  </a:lnTo>
                  <a:lnTo>
                    <a:pt x="286" y="58"/>
                  </a:lnTo>
                  <a:lnTo>
                    <a:pt x="288" y="59"/>
                  </a:lnTo>
                  <a:lnTo>
                    <a:pt x="302" y="67"/>
                  </a:lnTo>
                  <a:lnTo>
                    <a:pt x="304" y="68"/>
                  </a:lnTo>
                  <a:lnTo>
                    <a:pt x="307" y="69"/>
                  </a:lnTo>
                  <a:lnTo>
                    <a:pt x="310" y="70"/>
                  </a:lnTo>
                  <a:lnTo>
                    <a:pt x="313" y="71"/>
                  </a:lnTo>
                  <a:lnTo>
                    <a:pt x="315" y="71"/>
                  </a:lnTo>
                  <a:lnTo>
                    <a:pt x="319" y="71"/>
                  </a:lnTo>
                  <a:lnTo>
                    <a:pt x="323" y="71"/>
                  </a:lnTo>
                  <a:lnTo>
                    <a:pt x="333" y="70"/>
                  </a:lnTo>
                  <a:lnTo>
                    <a:pt x="338" y="70"/>
                  </a:lnTo>
                  <a:lnTo>
                    <a:pt x="340" y="70"/>
                  </a:lnTo>
                  <a:lnTo>
                    <a:pt x="341" y="70"/>
                  </a:lnTo>
                  <a:lnTo>
                    <a:pt x="343" y="71"/>
                  </a:lnTo>
                  <a:lnTo>
                    <a:pt x="345" y="72"/>
                  </a:lnTo>
                  <a:lnTo>
                    <a:pt x="346" y="73"/>
                  </a:lnTo>
                  <a:lnTo>
                    <a:pt x="347" y="74"/>
                  </a:lnTo>
                  <a:lnTo>
                    <a:pt x="349" y="75"/>
                  </a:lnTo>
                  <a:lnTo>
                    <a:pt x="350" y="77"/>
                  </a:lnTo>
                  <a:lnTo>
                    <a:pt x="351" y="79"/>
                  </a:lnTo>
                  <a:lnTo>
                    <a:pt x="355" y="90"/>
                  </a:lnTo>
                  <a:lnTo>
                    <a:pt x="358" y="94"/>
                  </a:lnTo>
                  <a:lnTo>
                    <a:pt x="360" y="98"/>
                  </a:lnTo>
                  <a:lnTo>
                    <a:pt x="363" y="102"/>
                  </a:lnTo>
                  <a:lnTo>
                    <a:pt x="365" y="106"/>
                  </a:lnTo>
                  <a:lnTo>
                    <a:pt x="368" y="110"/>
                  </a:lnTo>
                  <a:lnTo>
                    <a:pt x="371" y="113"/>
                  </a:lnTo>
                  <a:lnTo>
                    <a:pt x="374" y="116"/>
                  </a:lnTo>
                  <a:lnTo>
                    <a:pt x="377" y="119"/>
                  </a:lnTo>
                  <a:lnTo>
                    <a:pt x="380" y="122"/>
                  </a:lnTo>
                  <a:lnTo>
                    <a:pt x="385" y="125"/>
                  </a:lnTo>
                  <a:lnTo>
                    <a:pt x="388" y="129"/>
                  </a:lnTo>
                  <a:lnTo>
                    <a:pt x="392" y="131"/>
                  </a:lnTo>
                  <a:lnTo>
                    <a:pt x="395" y="133"/>
                  </a:lnTo>
                  <a:lnTo>
                    <a:pt x="398" y="135"/>
                  </a:lnTo>
                  <a:lnTo>
                    <a:pt x="402" y="136"/>
                  </a:lnTo>
                  <a:lnTo>
                    <a:pt x="407" y="138"/>
                  </a:lnTo>
                  <a:lnTo>
                    <a:pt x="410" y="140"/>
                  </a:lnTo>
                  <a:lnTo>
                    <a:pt x="412" y="141"/>
                  </a:lnTo>
                  <a:lnTo>
                    <a:pt x="415" y="142"/>
                  </a:lnTo>
                  <a:lnTo>
                    <a:pt x="417" y="142"/>
                  </a:lnTo>
                  <a:lnTo>
                    <a:pt x="421" y="143"/>
                  </a:lnTo>
                  <a:lnTo>
                    <a:pt x="423" y="143"/>
                  </a:lnTo>
                  <a:lnTo>
                    <a:pt x="426" y="143"/>
                  </a:lnTo>
                  <a:lnTo>
                    <a:pt x="429" y="143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7" name="Freeform 106">
              <a:extLst>
                <a:ext uri="{FF2B5EF4-FFF2-40B4-BE49-F238E27FC236}">
                  <a16:creationId xmlns:a16="http://schemas.microsoft.com/office/drawing/2014/main" id="{F79642C3-62D2-4D02-BEED-FD8804B8E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" y="2728"/>
              <a:ext cx="989" cy="818"/>
            </a:xfrm>
            <a:custGeom>
              <a:avLst/>
              <a:gdLst>
                <a:gd name="T0" fmla="*/ 657 w 989"/>
                <a:gd name="T1" fmla="*/ 20 h 818"/>
                <a:gd name="T2" fmla="*/ 704 w 989"/>
                <a:gd name="T3" fmla="*/ 27 h 818"/>
                <a:gd name="T4" fmla="*/ 787 w 989"/>
                <a:gd name="T5" fmla="*/ 25 h 818"/>
                <a:gd name="T6" fmla="*/ 848 w 989"/>
                <a:gd name="T7" fmla="*/ 50 h 818"/>
                <a:gd name="T8" fmla="*/ 894 w 989"/>
                <a:gd name="T9" fmla="*/ 50 h 818"/>
                <a:gd name="T10" fmla="*/ 935 w 989"/>
                <a:gd name="T11" fmla="*/ 97 h 818"/>
                <a:gd name="T12" fmla="*/ 964 w 989"/>
                <a:gd name="T13" fmla="*/ 140 h 818"/>
                <a:gd name="T14" fmla="*/ 988 w 989"/>
                <a:gd name="T15" fmla="*/ 168 h 818"/>
                <a:gd name="T16" fmla="*/ 969 w 989"/>
                <a:gd name="T17" fmla="*/ 228 h 818"/>
                <a:gd name="T18" fmla="*/ 869 w 989"/>
                <a:gd name="T19" fmla="*/ 276 h 818"/>
                <a:gd name="T20" fmla="*/ 816 w 989"/>
                <a:gd name="T21" fmla="*/ 309 h 818"/>
                <a:gd name="T22" fmla="*/ 797 w 989"/>
                <a:gd name="T23" fmla="*/ 367 h 818"/>
                <a:gd name="T24" fmla="*/ 784 w 989"/>
                <a:gd name="T25" fmla="*/ 437 h 818"/>
                <a:gd name="T26" fmla="*/ 775 w 989"/>
                <a:gd name="T27" fmla="*/ 490 h 818"/>
                <a:gd name="T28" fmla="*/ 758 w 989"/>
                <a:gd name="T29" fmla="*/ 564 h 818"/>
                <a:gd name="T30" fmla="*/ 706 w 989"/>
                <a:gd name="T31" fmla="*/ 605 h 818"/>
                <a:gd name="T32" fmla="*/ 640 w 989"/>
                <a:gd name="T33" fmla="*/ 613 h 818"/>
                <a:gd name="T34" fmla="*/ 618 w 989"/>
                <a:gd name="T35" fmla="*/ 660 h 818"/>
                <a:gd name="T36" fmla="*/ 600 w 989"/>
                <a:gd name="T37" fmla="*/ 720 h 818"/>
                <a:gd name="T38" fmla="*/ 536 w 989"/>
                <a:gd name="T39" fmla="*/ 732 h 818"/>
                <a:gd name="T40" fmla="*/ 490 w 989"/>
                <a:gd name="T41" fmla="*/ 780 h 818"/>
                <a:gd name="T42" fmla="*/ 421 w 989"/>
                <a:gd name="T43" fmla="*/ 817 h 818"/>
                <a:gd name="T44" fmla="*/ 378 w 989"/>
                <a:gd name="T45" fmla="*/ 755 h 818"/>
                <a:gd name="T46" fmla="*/ 340 w 989"/>
                <a:gd name="T47" fmla="*/ 723 h 818"/>
                <a:gd name="T48" fmla="*/ 314 w 989"/>
                <a:gd name="T49" fmla="*/ 700 h 818"/>
                <a:gd name="T50" fmla="*/ 256 w 989"/>
                <a:gd name="T51" fmla="*/ 703 h 818"/>
                <a:gd name="T52" fmla="*/ 205 w 989"/>
                <a:gd name="T53" fmla="*/ 679 h 818"/>
                <a:gd name="T54" fmla="*/ 189 w 989"/>
                <a:gd name="T55" fmla="*/ 650 h 818"/>
                <a:gd name="T56" fmla="*/ 132 w 989"/>
                <a:gd name="T57" fmla="*/ 633 h 818"/>
                <a:gd name="T58" fmla="*/ 91 w 989"/>
                <a:gd name="T59" fmla="*/ 611 h 818"/>
                <a:gd name="T60" fmla="*/ 86 w 989"/>
                <a:gd name="T61" fmla="*/ 574 h 818"/>
                <a:gd name="T62" fmla="*/ 59 w 989"/>
                <a:gd name="T63" fmla="*/ 554 h 818"/>
                <a:gd name="T64" fmla="*/ 3 w 989"/>
                <a:gd name="T65" fmla="*/ 563 h 818"/>
                <a:gd name="T66" fmla="*/ 10 w 989"/>
                <a:gd name="T67" fmla="*/ 535 h 818"/>
                <a:gd name="T68" fmla="*/ 49 w 989"/>
                <a:gd name="T69" fmla="*/ 490 h 818"/>
                <a:gd name="T70" fmla="*/ 60 w 989"/>
                <a:gd name="T71" fmla="*/ 454 h 818"/>
                <a:gd name="T72" fmla="*/ 31 w 989"/>
                <a:gd name="T73" fmla="*/ 448 h 818"/>
                <a:gd name="T74" fmla="*/ 17 w 989"/>
                <a:gd name="T75" fmla="*/ 404 h 818"/>
                <a:gd name="T76" fmla="*/ 19 w 989"/>
                <a:gd name="T77" fmla="*/ 349 h 818"/>
                <a:gd name="T78" fmla="*/ 45 w 989"/>
                <a:gd name="T79" fmla="*/ 320 h 818"/>
                <a:gd name="T80" fmla="*/ 102 w 989"/>
                <a:gd name="T81" fmla="*/ 303 h 818"/>
                <a:gd name="T82" fmla="*/ 143 w 989"/>
                <a:gd name="T83" fmla="*/ 277 h 818"/>
                <a:gd name="T84" fmla="*/ 172 w 989"/>
                <a:gd name="T85" fmla="*/ 238 h 818"/>
                <a:gd name="T86" fmla="*/ 163 w 989"/>
                <a:gd name="T87" fmla="*/ 192 h 818"/>
                <a:gd name="T88" fmla="*/ 187 w 989"/>
                <a:gd name="T89" fmla="*/ 172 h 818"/>
                <a:gd name="T90" fmla="*/ 200 w 989"/>
                <a:gd name="T91" fmla="*/ 197 h 818"/>
                <a:gd name="T92" fmla="*/ 251 w 989"/>
                <a:gd name="T93" fmla="*/ 208 h 818"/>
                <a:gd name="T94" fmla="*/ 285 w 989"/>
                <a:gd name="T95" fmla="*/ 209 h 818"/>
                <a:gd name="T96" fmla="*/ 299 w 989"/>
                <a:gd name="T97" fmla="*/ 177 h 818"/>
                <a:gd name="T98" fmla="*/ 351 w 989"/>
                <a:gd name="T99" fmla="*/ 171 h 818"/>
                <a:gd name="T100" fmla="*/ 385 w 989"/>
                <a:gd name="T101" fmla="*/ 171 h 818"/>
                <a:gd name="T102" fmla="*/ 392 w 989"/>
                <a:gd name="T103" fmla="*/ 139 h 818"/>
                <a:gd name="T104" fmla="*/ 393 w 989"/>
                <a:gd name="T105" fmla="*/ 116 h 818"/>
                <a:gd name="T106" fmla="*/ 417 w 989"/>
                <a:gd name="T107" fmla="*/ 109 h 818"/>
                <a:gd name="T108" fmla="*/ 450 w 989"/>
                <a:gd name="T109" fmla="*/ 117 h 818"/>
                <a:gd name="T110" fmla="*/ 492 w 989"/>
                <a:gd name="T111" fmla="*/ 121 h 818"/>
                <a:gd name="T112" fmla="*/ 511 w 989"/>
                <a:gd name="T113" fmla="*/ 71 h 818"/>
                <a:gd name="T114" fmla="*/ 540 w 989"/>
                <a:gd name="T115" fmla="*/ 37 h 818"/>
                <a:gd name="T116" fmla="*/ 576 w 989"/>
                <a:gd name="T117" fmla="*/ 31 h 818"/>
                <a:gd name="T118" fmla="*/ 600 w 989"/>
                <a:gd name="T119" fmla="*/ 9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89" h="818">
                  <a:moveTo>
                    <a:pt x="616" y="0"/>
                  </a:moveTo>
                  <a:lnTo>
                    <a:pt x="620" y="0"/>
                  </a:lnTo>
                  <a:lnTo>
                    <a:pt x="624" y="0"/>
                  </a:lnTo>
                  <a:lnTo>
                    <a:pt x="628" y="1"/>
                  </a:lnTo>
                  <a:lnTo>
                    <a:pt x="633" y="3"/>
                  </a:lnTo>
                  <a:lnTo>
                    <a:pt x="636" y="3"/>
                  </a:lnTo>
                  <a:lnTo>
                    <a:pt x="640" y="5"/>
                  </a:lnTo>
                  <a:lnTo>
                    <a:pt x="643" y="7"/>
                  </a:lnTo>
                  <a:lnTo>
                    <a:pt x="646" y="9"/>
                  </a:lnTo>
                  <a:lnTo>
                    <a:pt x="648" y="11"/>
                  </a:lnTo>
                  <a:lnTo>
                    <a:pt x="651" y="14"/>
                  </a:lnTo>
                  <a:lnTo>
                    <a:pt x="654" y="16"/>
                  </a:lnTo>
                  <a:lnTo>
                    <a:pt x="655" y="17"/>
                  </a:lnTo>
                  <a:lnTo>
                    <a:pt x="657" y="20"/>
                  </a:lnTo>
                  <a:lnTo>
                    <a:pt x="660" y="26"/>
                  </a:lnTo>
                  <a:lnTo>
                    <a:pt x="661" y="28"/>
                  </a:lnTo>
                  <a:lnTo>
                    <a:pt x="663" y="30"/>
                  </a:lnTo>
                  <a:lnTo>
                    <a:pt x="664" y="32"/>
                  </a:lnTo>
                  <a:lnTo>
                    <a:pt x="665" y="33"/>
                  </a:lnTo>
                  <a:lnTo>
                    <a:pt x="667" y="34"/>
                  </a:lnTo>
                  <a:lnTo>
                    <a:pt x="669" y="35"/>
                  </a:lnTo>
                  <a:lnTo>
                    <a:pt x="670" y="35"/>
                  </a:lnTo>
                  <a:lnTo>
                    <a:pt x="673" y="35"/>
                  </a:lnTo>
                  <a:lnTo>
                    <a:pt x="676" y="35"/>
                  </a:lnTo>
                  <a:lnTo>
                    <a:pt x="678" y="35"/>
                  </a:lnTo>
                  <a:lnTo>
                    <a:pt x="682" y="34"/>
                  </a:lnTo>
                  <a:lnTo>
                    <a:pt x="686" y="33"/>
                  </a:lnTo>
                  <a:lnTo>
                    <a:pt x="704" y="27"/>
                  </a:lnTo>
                  <a:lnTo>
                    <a:pt x="713" y="25"/>
                  </a:lnTo>
                  <a:lnTo>
                    <a:pt x="719" y="24"/>
                  </a:lnTo>
                  <a:lnTo>
                    <a:pt x="730" y="22"/>
                  </a:lnTo>
                  <a:lnTo>
                    <a:pt x="737" y="21"/>
                  </a:lnTo>
                  <a:lnTo>
                    <a:pt x="745" y="20"/>
                  </a:lnTo>
                  <a:lnTo>
                    <a:pt x="753" y="20"/>
                  </a:lnTo>
                  <a:lnTo>
                    <a:pt x="758" y="20"/>
                  </a:lnTo>
                  <a:lnTo>
                    <a:pt x="761" y="20"/>
                  </a:lnTo>
                  <a:lnTo>
                    <a:pt x="763" y="21"/>
                  </a:lnTo>
                  <a:lnTo>
                    <a:pt x="772" y="23"/>
                  </a:lnTo>
                  <a:lnTo>
                    <a:pt x="773" y="24"/>
                  </a:lnTo>
                  <a:lnTo>
                    <a:pt x="777" y="24"/>
                  </a:lnTo>
                  <a:lnTo>
                    <a:pt x="784" y="25"/>
                  </a:lnTo>
                  <a:lnTo>
                    <a:pt x="787" y="25"/>
                  </a:lnTo>
                  <a:lnTo>
                    <a:pt x="791" y="25"/>
                  </a:lnTo>
                  <a:lnTo>
                    <a:pt x="793" y="26"/>
                  </a:lnTo>
                  <a:lnTo>
                    <a:pt x="795" y="27"/>
                  </a:lnTo>
                  <a:lnTo>
                    <a:pt x="799" y="29"/>
                  </a:lnTo>
                  <a:lnTo>
                    <a:pt x="801" y="31"/>
                  </a:lnTo>
                  <a:lnTo>
                    <a:pt x="811" y="38"/>
                  </a:lnTo>
                  <a:lnTo>
                    <a:pt x="815" y="40"/>
                  </a:lnTo>
                  <a:lnTo>
                    <a:pt x="818" y="42"/>
                  </a:lnTo>
                  <a:lnTo>
                    <a:pt x="819" y="44"/>
                  </a:lnTo>
                  <a:lnTo>
                    <a:pt x="823" y="45"/>
                  </a:lnTo>
                  <a:lnTo>
                    <a:pt x="826" y="46"/>
                  </a:lnTo>
                  <a:lnTo>
                    <a:pt x="829" y="47"/>
                  </a:lnTo>
                  <a:lnTo>
                    <a:pt x="843" y="49"/>
                  </a:lnTo>
                  <a:lnTo>
                    <a:pt x="848" y="50"/>
                  </a:lnTo>
                  <a:lnTo>
                    <a:pt x="854" y="51"/>
                  </a:lnTo>
                  <a:lnTo>
                    <a:pt x="857" y="51"/>
                  </a:lnTo>
                  <a:lnTo>
                    <a:pt x="861" y="51"/>
                  </a:lnTo>
                  <a:lnTo>
                    <a:pt x="863" y="51"/>
                  </a:lnTo>
                  <a:lnTo>
                    <a:pt x="864" y="50"/>
                  </a:lnTo>
                  <a:lnTo>
                    <a:pt x="868" y="50"/>
                  </a:lnTo>
                  <a:lnTo>
                    <a:pt x="875" y="48"/>
                  </a:lnTo>
                  <a:lnTo>
                    <a:pt x="879" y="48"/>
                  </a:lnTo>
                  <a:lnTo>
                    <a:pt x="880" y="48"/>
                  </a:lnTo>
                  <a:lnTo>
                    <a:pt x="884" y="48"/>
                  </a:lnTo>
                  <a:lnTo>
                    <a:pt x="886" y="48"/>
                  </a:lnTo>
                  <a:lnTo>
                    <a:pt x="888" y="48"/>
                  </a:lnTo>
                  <a:lnTo>
                    <a:pt x="891" y="49"/>
                  </a:lnTo>
                  <a:lnTo>
                    <a:pt x="894" y="50"/>
                  </a:lnTo>
                  <a:lnTo>
                    <a:pt x="896" y="52"/>
                  </a:lnTo>
                  <a:lnTo>
                    <a:pt x="897" y="53"/>
                  </a:lnTo>
                  <a:lnTo>
                    <a:pt x="899" y="56"/>
                  </a:lnTo>
                  <a:lnTo>
                    <a:pt x="901" y="58"/>
                  </a:lnTo>
                  <a:lnTo>
                    <a:pt x="902" y="59"/>
                  </a:lnTo>
                  <a:lnTo>
                    <a:pt x="908" y="70"/>
                  </a:lnTo>
                  <a:lnTo>
                    <a:pt x="910" y="74"/>
                  </a:lnTo>
                  <a:lnTo>
                    <a:pt x="912" y="77"/>
                  </a:lnTo>
                  <a:lnTo>
                    <a:pt x="914" y="80"/>
                  </a:lnTo>
                  <a:lnTo>
                    <a:pt x="916" y="82"/>
                  </a:lnTo>
                  <a:lnTo>
                    <a:pt x="919" y="84"/>
                  </a:lnTo>
                  <a:lnTo>
                    <a:pt x="920" y="86"/>
                  </a:lnTo>
                  <a:lnTo>
                    <a:pt x="923" y="89"/>
                  </a:lnTo>
                  <a:lnTo>
                    <a:pt x="935" y="97"/>
                  </a:lnTo>
                  <a:lnTo>
                    <a:pt x="939" y="100"/>
                  </a:lnTo>
                  <a:lnTo>
                    <a:pt x="941" y="102"/>
                  </a:lnTo>
                  <a:lnTo>
                    <a:pt x="943" y="104"/>
                  </a:lnTo>
                  <a:lnTo>
                    <a:pt x="945" y="106"/>
                  </a:lnTo>
                  <a:lnTo>
                    <a:pt x="950" y="113"/>
                  </a:lnTo>
                  <a:lnTo>
                    <a:pt x="952" y="115"/>
                  </a:lnTo>
                  <a:lnTo>
                    <a:pt x="953" y="116"/>
                  </a:lnTo>
                  <a:lnTo>
                    <a:pt x="954" y="119"/>
                  </a:lnTo>
                  <a:lnTo>
                    <a:pt x="954" y="121"/>
                  </a:lnTo>
                  <a:lnTo>
                    <a:pt x="959" y="131"/>
                  </a:lnTo>
                  <a:lnTo>
                    <a:pt x="961" y="135"/>
                  </a:lnTo>
                  <a:lnTo>
                    <a:pt x="962" y="137"/>
                  </a:lnTo>
                  <a:lnTo>
                    <a:pt x="963" y="139"/>
                  </a:lnTo>
                  <a:lnTo>
                    <a:pt x="964" y="140"/>
                  </a:lnTo>
                  <a:lnTo>
                    <a:pt x="965" y="142"/>
                  </a:lnTo>
                  <a:lnTo>
                    <a:pt x="967" y="144"/>
                  </a:lnTo>
                  <a:lnTo>
                    <a:pt x="969" y="145"/>
                  </a:lnTo>
                  <a:lnTo>
                    <a:pt x="971" y="147"/>
                  </a:lnTo>
                  <a:lnTo>
                    <a:pt x="974" y="149"/>
                  </a:lnTo>
                  <a:lnTo>
                    <a:pt x="977" y="150"/>
                  </a:lnTo>
                  <a:lnTo>
                    <a:pt x="979" y="151"/>
                  </a:lnTo>
                  <a:lnTo>
                    <a:pt x="982" y="152"/>
                  </a:lnTo>
                  <a:lnTo>
                    <a:pt x="983" y="153"/>
                  </a:lnTo>
                  <a:lnTo>
                    <a:pt x="984" y="153"/>
                  </a:lnTo>
                  <a:lnTo>
                    <a:pt x="984" y="154"/>
                  </a:lnTo>
                  <a:lnTo>
                    <a:pt x="986" y="157"/>
                  </a:lnTo>
                  <a:lnTo>
                    <a:pt x="987" y="162"/>
                  </a:lnTo>
                  <a:lnTo>
                    <a:pt x="988" y="168"/>
                  </a:lnTo>
                  <a:lnTo>
                    <a:pt x="988" y="171"/>
                  </a:lnTo>
                  <a:lnTo>
                    <a:pt x="989" y="174"/>
                  </a:lnTo>
                  <a:lnTo>
                    <a:pt x="989" y="179"/>
                  </a:lnTo>
                  <a:lnTo>
                    <a:pt x="989" y="184"/>
                  </a:lnTo>
                  <a:lnTo>
                    <a:pt x="989" y="188"/>
                  </a:lnTo>
                  <a:lnTo>
                    <a:pt x="988" y="192"/>
                  </a:lnTo>
                  <a:lnTo>
                    <a:pt x="988" y="196"/>
                  </a:lnTo>
                  <a:lnTo>
                    <a:pt x="986" y="200"/>
                  </a:lnTo>
                  <a:lnTo>
                    <a:pt x="984" y="206"/>
                  </a:lnTo>
                  <a:lnTo>
                    <a:pt x="982" y="208"/>
                  </a:lnTo>
                  <a:lnTo>
                    <a:pt x="980" y="211"/>
                  </a:lnTo>
                  <a:lnTo>
                    <a:pt x="978" y="215"/>
                  </a:lnTo>
                  <a:lnTo>
                    <a:pt x="972" y="223"/>
                  </a:lnTo>
                  <a:lnTo>
                    <a:pt x="969" y="228"/>
                  </a:lnTo>
                  <a:lnTo>
                    <a:pt x="965" y="230"/>
                  </a:lnTo>
                  <a:lnTo>
                    <a:pt x="963" y="233"/>
                  </a:lnTo>
                  <a:lnTo>
                    <a:pt x="959" y="236"/>
                  </a:lnTo>
                  <a:lnTo>
                    <a:pt x="955" y="238"/>
                  </a:lnTo>
                  <a:lnTo>
                    <a:pt x="952" y="241"/>
                  </a:lnTo>
                  <a:lnTo>
                    <a:pt x="945" y="244"/>
                  </a:lnTo>
                  <a:lnTo>
                    <a:pt x="930" y="251"/>
                  </a:lnTo>
                  <a:lnTo>
                    <a:pt x="916" y="258"/>
                  </a:lnTo>
                  <a:lnTo>
                    <a:pt x="908" y="263"/>
                  </a:lnTo>
                  <a:lnTo>
                    <a:pt x="903" y="264"/>
                  </a:lnTo>
                  <a:lnTo>
                    <a:pt x="897" y="267"/>
                  </a:lnTo>
                  <a:lnTo>
                    <a:pt x="883" y="272"/>
                  </a:lnTo>
                  <a:lnTo>
                    <a:pt x="874" y="275"/>
                  </a:lnTo>
                  <a:lnTo>
                    <a:pt x="869" y="276"/>
                  </a:lnTo>
                  <a:lnTo>
                    <a:pt x="866" y="277"/>
                  </a:lnTo>
                  <a:lnTo>
                    <a:pt x="850" y="281"/>
                  </a:lnTo>
                  <a:lnTo>
                    <a:pt x="842" y="283"/>
                  </a:lnTo>
                  <a:lnTo>
                    <a:pt x="840" y="284"/>
                  </a:lnTo>
                  <a:lnTo>
                    <a:pt x="836" y="285"/>
                  </a:lnTo>
                  <a:lnTo>
                    <a:pt x="834" y="286"/>
                  </a:lnTo>
                  <a:lnTo>
                    <a:pt x="832" y="287"/>
                  </a:lnTo>
                  <a:lnTo>
                    <a:pt x="829" y="289"/>
                  </a:lnTo>
                  <a:lnTo>
                    <a:pt x="827" y="291"/>
                  </a:lnTo>
                  <a:lnTo>
                    <a:pt x="825" y="293"/>
                  </a:lnTo>
                  <a:lnTo>
                    <a:pt x="824" y="295"/>
                  </a:lnTo>
                  <a:lnTo>
                    <a:pt x="821" y="298"/>
                  </a:lnTo>
                  <a:lnTo>
                    <a:pt x="818" y="307"/>
                  </a:lnTo>
                  <a:lnTo>
                    <a:pt x="816" y="309"/>
                  </a:lnTo>
                  <a:lnTo>
                    <a:pt x="812" y="314"/>
                  </a:lnTo>
                  <a:lnTo>
                    <a:pt x="806" y="323"/>
                  </a:lnTo>
                  <a:lnTo>
                    <a:pt x="803" y="328"/>
                  </a:lnTo>
                  <a:lnTo>
                    <a:pt x="800" y="332"/>
                  </a:lnTo>
                  <a:lnTo>
                    <a:pt x="798" y="336"/>
                  </a:lnTo>
                  <a:lnTo>
                    <a:pt x="797" y="339"/>
                  </a:lnTo>
                  <a:lnTo>
                    <a:pt x="796" y="343"/>
                  </a:lnTo>
                  <a:lnTo>
                    <a:pt x="795" y="347"/>
                  </a:lnTo>
                  <a:lnTo>
                    <a:pt x="795" y="351"/>
                  </a:lnTo>
                  <a:lnTo>
                    <a:pt x="795" y="354"/>
                  </a:lnTo>
                  <a:lnTo>
                    <a:pt x="795" y="356"/>
                  </a:lnTo>
                  <a:lnTo>
                    <a:pt x="797" y="363"/>
                  </a:lnTo>
                  <a:lnTo>
                    <a:pt x="797" y="365"/>
                  </a:lnTo>
                  <a:lnTo>
                    <a:pt x="797" y="367"/>
                  </a:lnTo>
                  <a:lnTo>
                    <a:pt x="797" y="371"/>
                  </a:lnTo>
                  <a:lnTo>
                    <a:pt x="796" y="374"/>
                  </a:lnTo>
                  <a:lnTo>
                    <a:pt x="795" y="381"/>
                  </a:lnTo>
                  <a:lnTo>
                    <a:pt x="795" y="387"/>
                  </a:lnTo>
                  <a:lnTo>
                    <a:pt x="794" y="390"/>
                  </a:lnTo>
                  <a:lnTo>
                    <a:pt x="792" y="396"/>
                  </a:lnTo>
                  <a:lnTo>
                    <a:pt x="788" y="405"/>
                  </a:lnTo>
                  <a:lnTo>
                    <a:pt x="787" y="409"/>
                  </a:lnTo>
                  <a:lnTo>
                    <a:pt x="786" y="411"/>
                  </a:lnTo>
                  <a:lnTo>
                    <a:pt x="786" y="415"/>
                  </a:lnTo>
                  <a:lnTo>
                    <a:pt x="785" y="420"/>
                  </a:lnTo>
                  <a:lnTo>
                    <a:pt x="784" y="425"/>
                  </a:lnTo>
                  <a:lnTo>
                    <a:pt x="784" y="435"/>
                  </a:lnTo>
                  <a:lnTo>
                    <a:pt x="784" y="437"/>
                  </a:lnTo>
                  <a:lnTo>
                    <a:pt x="783" y="440"/>
                  </a:lnTo>
                  <a:lnTo>
                    <a:pt x="783" y="442"/>
                  </a:lnTo>
                  <a:lnTo>
                    <a:pt x="782" y="445"/>
                  </a:lnTo>
                  <a:lnTo>
                    <a:pt x="778" y="453"/>
                  </a:lnTo>
                  <a:lnTo>
                    <a:pt x="776" y="456"/>
                  </a:lnTo>
                  <a:lnTo>
                    <a:pt x="774" y="465"/>
                  </a:lnTo>
                  <a:lnTo>
                    <a:pt x="773" y="467"/>
                  </a:lnTo>
                  <a:lnTo>
                    <a:pt x="773" y="470"/>
                  </a:lnTo>
                  <a:lnTo>
                    <a:pt x="772" y="473"/>
                  </a:lnTo>
                  <a:lnTo>
                    <a:pt x="772" y="476"/>
                  </a:lnTo>
                  <a:lnTo>
                    <a:pt x="773" y="479"/>
                  </a:lnTo>
                  <a:lnTo>
                    <a:pt x="774" y="486"/>
                  </a:lnTo>
                  <a:lnTo>
                    <a:pt x="775" y="489"/>
                  </a:lnTo>
                  <a:lnTo>
                    <a:pt x="775" y="490"/>
                  </a:lnTo>
                  <a:lnTo>
                    <a:pt x="774" y="492"/>
                  </a:lnTo>
                  <a:lnTo>
                    <a:pt x="774" y="501"/>
                  </a:lnTo>
                  <a:lnTo>
                    <a:pt x="773" y="513"/>
                  </a:lnTo>
                  <a:lnTo>
                    <a:pt x="773" y="518"/>
                  </a:lnTo>
                  <a:lnTo>
                    <a:pt x="773" y="522"/>
                  </a:lnTo>
                  <a:lnTo>
                    <a:pt x="772" y="525"/>
                  </a:lnTo>
                  <a:lnTo>
                    <a:pt x="772" y="528"/>
                  </a:lnTo>
                  <a:lnTo>
                    <a:pt x="771" y="532"/>
                  </a:lnTo>
                  <a:lnTo>
                    <a:pt x="770" y="535"/>
                  </a:lnTo>
                  <a:lnTo>
                    <a:pt x="768" y="540"/>
                  </a:lnTo>
                  <a:lnTo>
                    <a:pt x="766" y="547"/>
                  </a:lnTo>
                  <a:lnTo>
                    <a:pt x="761" y="555"/>
                  </a:lnTo>
                  <a:lnTo>
                    <a:pt x="760" y="562"/>
                  </a:lnTo>
                  <a:lnTo>
                    <a:pt x="758" y="564"/>
                  </a:lnTo>
                  <a:lnTo>
                    <a:pt x="756" y="569"/>
                  </a:lnTo>
                  <a:lnTo>
                    <a:pt x="751" y="576"/>
                  </a:lnTo>
                  <a:lnTo>
                    <a:pt x="749" y="581"/>
                  </a:lnTo>
                  <a:lnTo>
                    <a:pt x="746" y="584"/>
                  </a:lnTo>
                  <a:lnTo>
                    <a:pt x="743" y="588"/>
                  </a:lnTo>
                  <a:lnTo>
                    <a:pt x="739" y="591"/>
                  </a:lnTo>
                  <a:lnTo>
                    <a:pt x="736" y="594"/>
                  </a:lnTo>
                  <a:lnTo>
                    <a:pt x="731" y="597"/>
                  </a:lnTo>
                  <a:lnTo>
                    <a:pt x="727" y="599"/>
                  </a:lnTo>
                  <a:lnTo>
                    <a:pt x="722" y="601"/>
                  </a:lnTo>
                  <a:lnTo>
                    <a:pt x="717" y="603"/>
                  </a:lnTo>
                  <a:lnTo>
                    <a:pt x="711" y="604"/>
                  </a:lnTo>
                  <a:lnTo>
                    <a:pt x="708" y="605"/>
                  </a:lnTo>
                  <a:lnTo>
                    <a:pt x="706" y="605"/>
                  </a:lnTo>
                  <a:lnTo>
                    <a:pt x="704" y="606"/>
                  </a:lnTo>
                  <a:lnTo>
                    <a:pt x="701" y="606"/>
                  </a:lnTo>
                  <a:lnTo>
                    <a:pt x="695" y="606"/>
                  </a:lnTo>
                  <a:lnTo>
                    <a:pt x="685" y="606"/>
                  </a:lnTo>
                  <a:lnTo>
                    <a:pt x="681" y="606"/>
                  </a:lnTo>
                  <a:lnTo>
                    <a:pt x="677" y="606"/>
                  </a:lnTo>
                  <a:lnTo>
                    <a:pt x="662" y="608"/>
                  </a:lnTo>
                  <a:lnTo>
                    <a:pt x="657" y="608"/>
                  </a:lnTo>
                  <a:lnTo>
                    <a:pt x="653" y="609"/>
                  </a:lnTo>
                  <a:lnTo>
                    <a:pt x="650" y="610"/>
                  </a:lnTo>
                  <a:lnTo>
                    <a:pt x="647" y="611"/>
                  </a:lnTo>
                  <a:lnTo>
                    <a:pt x="645" y="611"/>
                  </a:lnTo>
                  <a:lnTo>
                    <a:pt x="642" y="612"/>
                  </a:lnTo>
                  <a:lnTo>
                    <a:pt x="640" y="613"/>
                  </a:lnTo>
                  <a:lnTo>
                    <a:pt x="638" y="615"/>
                  </a:lnTo>
                  <a:lnTo>
                    <a:pt x="636" y="615"/>
                  </a:lnTo>
                  <a:lnTo>
                    <a:pt x="635" y="617"/>
                  </a:lnTo>
                  <a:lnTo>
                    <a:pt x="633" y="618"/>
                  </a:lnTo>
                  <a:lnTo>
                    <a:pt x="631" y="620"/>
                  </a:lnTo>
                  <a:lnTo>
                    <a:pt x="630" y="622"/>
                  </a:lnTo>
                  <a:lnTo>
                    <a:pt x="628" y="625"/>
                  </a:lnTo>
                  <a:lnTo>
                    <a:pt x="627" y="626"/>
                  </a:lnTo>
                  <a:lnTo>
                    <a:pt x="626" y="629"/>
                  </a:lnTo>
                  <a:lnTo>
                    <a:pt x="625" y="631"/>
                  </a:lnTo>
                  <a:lnTo>
                    <a:pt x="624" y="637"/>
                  </a:lnTo>
                  <a:lnTo>
                    <a:pt x="621" y="646"/>
                  </a:lnTo>
                  <a:lnTo>
                    <a:pt x="619" y="655"/>
                  </a:lnTo>
                  <a:lnTo>
                    <a:pt x="618" y="660"/>
                  </a:lnTo>
                  <a:lnTo>
                    <a:pt x="617" y="663"/>
                  </a:lnTo>
                  <a:lnTo>
                    <a:pt x="616" y="668"/>
                  </a:lnTo>
                  <a:lnTo>
                    <a:pt x="614" y="680"/>
                  </a:lnTo>
                  <a:lnTo>
                    <a:pt x="614" y="683"/>
                  </a:lnTo>
                  <a:lnTo>
                    <a:pt x="613" y="689"/>
                  </a:lnTo>
                  <a:lnTo>
                    <a:pt x="612" y="694"/>
                  </a:lnTo>
                  <a:lnTo>
                    <a:pt x="611" y="698"/>
                  </a:lnTo>
                  <a:lnTo>
                    <a:pt x="609" y="703"/>
                  </a:lnTo>
                  <a:lnTo>
                    <a:pt x="607" y="708"/>
                  </a:lnTo>
                  <a:lnTo>
                    <a:pt x="605" y="711"/>
                  </a:lnTo>
                  <a:lnTo>
                    <a:pt x="604" y="715"/>
                  </a:lnTo>
                  <a:lnTo>
                    <a:pt x="602" y="717"/>
                  </a:lnTo>
                  <a:lnTo>
                    <a:pt x="602" y="718"/>
                  </a:lnTo>
                  <a:lnTo>
                    <a:pt x="600" y="720"/>
                  </a:lnTo>
                  <a:lnTo>
                    <a:pt x="598" y="721"/>
                  </a:lnTo>
                  <a:lnTo>
                    <a:pt x="597" y="722"/>
                  </a:lnTo>
                  <a:lnTo>
                    <a:pt x="594" y="724"/>
                  </a:lnTo>
                  <a:lnTo>
                    <a:pt x="592" y="725"/>
                  </a:lnTo>
                  <a:lnTo>
                    <a:pt x="590" y="726"/>
                  </a:lnTo>
                  <a:lnTo>
                    <a:pt x="589" y="726"/>
                  </a:lnTo>
                  <a:lnTo>
                    <a:pt x="586" y="727"/>
                  </a:lnTo>
                  <a:lnTo>
                    <a:pt x="583" y="727"/>
                  </a:lnTo>
                  <a:lnTo>
                    <a:pt x="560" y="728"/>
                  </a:lnTo>
                  <a:lnTo>
                    <a:pt x="556" y="728"/>
                  </a:lnTo>
                  <a:lnTo>
                    <a:pt x="552" y="728"/>
                  </a:lnTo>
                  <a:lnTo>
                    <a:pt x="545" y="729"/>
                  </a:lnTo>
                  <a:lnTo>
                    <a:pt x="539" y="731"/>
                  </a:lnTo>
                  <a:lnTo>
                    <a:pt x="536" y="732"/>
                  </a:lnTo>
                  <a:lnTo>
                    <a:pt x="534" y="732"/>
                  </a:lnTo>
                  <a:lnTo>
                    <a:pt x="533" y="733"/>
                  </a:lnTo>
                  <a:lnTo>
                    <a:pt x="531" y="734"/>
                  </a:lnTo>
                  <a:lnTo>
                    <a:pt x="529" y="735"/>
                  </a:lnTo>
                  <a:lnTo>
                    <a:pt x="528" y="736"/>
                  </a:lnTo>
                  <a:lnTo>
                    <a:pt x="525" y="738"/>
                  </a:lnTo>
                  <a:lnTo>
                    <a:pt x="516" y="746"/>
                  </a:lnTo>
                  <a:lnTo>
                    <a:pt x="511" y="751"/>
                  </a:lnTo>
                  <a:lnTo>
                    <a:pt x="508" y="756"/>
                  </a:lnTo>
                  <a:lnTo>
                    <a:pt x="504" y="761"/>
                  </a:lnTo>
                  <a:lnTo>
                    <a:pt x="502" y="763"/>
                  </a:lnTo>
                  <a:lnTo>
                    <a:pt x="498" y="771"/>
                  </a:lnTo>
                  <a:lnTo>
                    <a:pt x="493" y="777"/>
                  </a:lnTo>
                  <a:lnTo>
                    <a:pt x="490" y="780"/>
                  </a:lnTo>
                  <a:lnTo>
                    <a:pt x="488" y="783"/>
                  </a:lnTo>
                  <a:lnTo>
                    <a:pt x="484" y="787"/>
                  </a:lnTo>
                  <a:lnTo>
                    <a:pt x="477" y="795"/>
                  </a:lnTo>
                  <a:lnTo>
                    <a:pt x="474" y="798"/>
                  </a:lnTo>
                  <a:lnTo>
                    <a:pt x="470" y="801"/>
                  </a:lnTo>
                  <a:lnTo>
                    <a:pt x="466" y="804"/>
                  </a:lnTo>
                  <a:lnTo>
                    <a:pt x="463" y="806"/>
                  </a:lnTo>
                  <a:lnTo>
                    <a:pt x="459" y="807"/>
                  </a:lnTo>
                  <a:lnTo>
                    <a:pt x="453" y="809"/>
                  </a:lnTo>
                  <a:lnTo>
                    <a:pt x="442" y="813"/>
                  </a:lnTo>
                  <a:lnTo>
                    <a:pt x="434" y="816"/>
                  </a:lnTo>
                  <a:lnTo>
                    <a:pt x="429" y="817"/>
                  </a:lnTo>
                  <a:lnTo>
                    <a:pt x="422" y="818"/>
                  </a:lnTo>
                  <a:lnTo>
                    <a:pt x="421" y="817"/>
                  </a:lnTo>
                  <a:lnTo>
                    <a:pt x="420" y="814"/>
                  </a:lnTo>
                  <a:lnTo>
                    <a:pt x="419" y="809"/>
                  </a:lnTo>
                  <a:lnTo>
                    <a:pt x="415" y="801"/>
                  </a:lnTo>
                  <a:lnTo>
                    <a:pt x="414" y="798"/>
                  </a:lnTo>
                  <a:lnTo>
                    <a:pt x="412" y="796"/>
                  </a:lnTo>
                  <a:lnTo>
                    <a:pt x="410" y="793"/>
                  </a:lnTo>
                  <a:lnTo>
                    <a:pt x="404" y="785"/>
                  </a:lnTo>
                  <a:lnTo>
                    <a:pt x="396" y="773"/>
                  </a:lnTo>
                  <a:lnTo>
                    <a:pt x="393" y="769"/>
                  </a:lnTo>
                  <a:lnTo>
                    <a:pt x="391" y="765"/>
                  </a:lnTo>
                  <a:lnTo>
                    <a:pt x="387" y="762"/>
                  </a:lnTo>
                  <a:lnTo>
                    <a:pt x="385" y="759"/>
                  </a:lnTo>
                  <a:lnTo>
                    <a:pt x="382" y="757"/>
                  </a:lnTo>
                  <a:lnTo>
                    <a:pt x="378" y="755"/>
                  </a:lnTo>
                  <a:lnTo>
                    <a:pt x="375" y="753"/>
                  </a:lnTo>
                  <a:lnTo>
                    <a:pt x="359" y="745"/>
                  </a:lnTo>
                  <a:lnTo>
                    <a:pt x="354" y="743"/>
                  </a:lnTo>
                  <a:lnTo>
                    <a:pt x="350" y="741"/>
                  </a:lnTo>
                  <a:lnTo>
                    <a:pt x="348" y="740"/>
                  </a:lnTo>
                  <a:lnTo>
                    <a:pt x="346" y="739"/>
                  </a:lnTo>
                  <a:lnTo>
                    <a:pt x="344" y="739"/>
                  </a:lnTo>
                  <a:lnTo>
                    <a:pt x="343" y="738"/>
                  </a:lnTo>
                  <a:lnTo>
                    <a:pt x="342" y="736"/>
                  </a:lnTo>
                  <a:lnTo>
                    <a:pt x="341" y="735"/>
                  </a:lnTo>
                  <a:lnTo>
                    <a:pt x="341" y="733"/>
                  </a:lnTo>
                  <a:lnTo>
                    <a:pt x="340" y="731"/>
                  </a:lnTo>
                  <a:lnTo>
                    <a:pt x="340" y="729"/>
                  </a:lnTo>
                  <a:lnTo>
                    <a:pt x="340" y="723"/>
                  </a:lnTo>
                  <a:lnTo>
                    <a:pt x="339" y="720"/>
                  </a:lnTo>
                  <a:lnTo>
                    <a:pt x="339" y="718"/>
                  </a:lnTo>
                  <a:lnTo>
                    <a:pt x="338" y="717"/>
                  </a:lnTo>
                  <a:lnTo>
                    <a:pt x="338" y="716"/>
                  </a:lnTo>
                  <a:lnTo>
                    <a:pt x="337" y="714"/>
                  </a:lnTo>
                  <a:lnTo>
                    <a:pt x="336" y="713"/>
                  </a:lnTo>
                  <a:lnTo>
                    <a:pt x="335" y="711"/>
                  </a:lnTo>
                  <a:lnTo>
                    <a:pt x="334" y="710"/>
                  </a:lnTo>
                  <a:lnTo>
                    <a:pt x="331" y="708"/>
                  </a:lnTo>
                  <a:lnTo>
                    <a:pt x="328" y="705"/>
                  </a:lnTo>
                  <a:lnTo>
                    <a:pt x="325" y="705"/>
                  </a:lnTo>
                  <a:lnTo>
                    <a:pt x="322" y="703"/>
                  </a:lnTo>
                  <a:lnTo>
                    <a:pt x="320" y="702"/>
                  </a:lnTo>
                  <a:lnTo>
                    <a:pt x="314" y="700"/>
                  </a:lnTo>
                  <a:lnTo>
                    <a:pt x="307" y="697"/>
                  </a:lnTo>
                  <a:lnTo>
                    <a:pt x="305" y="696"/>
                  </a:lnTo>
                  <a:lnTo>
                    <a:pt x="303" y="696"/>
                  </a:lnTo>
                  <a:lnTo>
                    <a:pt x="302" y="696"/>
                  </a:lnTo>
                  <a:lnTo>
                    <a:pt x="301" y="696"/>
                  </a:lnTo>
                  <a:lnTo>
                    <a:pt x="299" y="696"/>
                  </a:lnTo>
                  <a:lnTo>
                    <a:pt x="288" y="697"/>
                  </a:lnTo>
                  <a:lnTo>
                    <a:pt x="282" y="698"/>
                  </a:lnTo>
                  <a:lnTo>
                    <a:pt x="278" y="698"/>
                  </a:lnTo>
                  <a:lnTo>
                    <a:pt x="273" y="699"/>
                  </a:lnTo>
                  <a:lnTo>
                    <a:pt x="264" y="702"/>
                  </a:lnTo>
                  <a:lnTo>
                    <a:pt x="260" y="702"/>
                  </a:lnTo>
                  <a:lnTo>
                    <a:pt x="258" y="703"/>
                  </a:lnTo>
                  <a:lnTo>
                    <a:pt x="256" y="703"/>
                  </a:lnTo>
                  <a:lnTo>
                    <a:pt x="254" y="703"/>
                  </a:lnTo>
                  <a:lnTo>
                    <a:pt x="252" y="702"/>
                  </a:lnTo>
                  <a:lnTo>
                    <a:pt x="249" y="701"/>
                  </a:lnTo>
                  <a:lnTo>
                    <a:pt x="247" y="700"/>
                  </a:lnTo>
                  <a:lnTo>
                    <a:pt x="244" y="699"/>
                  </a:lnTo>
                  <a:lnTo>
                    <a:pt x="240" y="697"/>
                  </a:lnTo>
                  <a:lnTo>
                    <a:pt x="237" y="694"/>
                  </a:lnTo>
                  <a:lnTo>
                    <a:pt x="223" y="683"/>
                  </a:lnTo>
                  <a:lnTo>
                    <a:pt x="221" y="683"/>
                  </a:lnTo>
                  <a:lnTo>
                    <a:pt x="219" y="682"/>
                  </a:lnTo>
                  <a:lnTo>
                    <a:pt x="216" y="681"/>
                  </a:lnTo>
                  <a:lnTo>
                    <a:pt x="214" y="680"/>
                  </a:lnTo>
                  <a:lnTo>
                    <a:pt x="211" y="679"/>
                  </a:lnTo>
                  <a:lnTo>
                    <a:pt x="205" y="679"/>
                  </a:lnTo>
                  <a:lnTo>
                    <a:pt x="202" y="678"/>
                  </a:lnTo>
                  <a:lnTo>
                    <a:pt x="199" y="677"/>
                  </a:lnTo>
                  <a:lnTo>
                    <a:pt x="198" y="677"/>
                  </a:lnTo>
                  <a:lnTo>
                    <a:pt x="196" y="676"/>
                  </a:lnTo>
                  <a:lnTo>
                    <a:pt x="195" y="675"/>
                  </a:lnTo>
                  <a:lnTo>
                    <a:pt x="193" y="674"/>
                  </a:lnTo>
                  <a:lnTo>
                    <a:pt x="193" y="672"/>
                  </a:lnTo>
                  <a:lnTo>
                    <a:pt x="192" y="671"/>
                  </a:lnTo>
                  <a:lnTo>
                    <a:pt x="192" y="670"/>
                  </a:lnTo>
                  <a:lnTo>
                    <a:pt x="192" y="668"/>
                  </a:lnTo>
                  <a:lnTo>
                    <a:pt x="191" y="660"/>
                  </a:lnTo>
                  <a:lnTo>
                    <a:pt x="191" y="657"/>
                  </a:lnTo>
                  <a:lnTo>
                    <a:pt x="190" y="653"/>
                  </a:lnTo>
                  <a:lnTo>
                    <a:pt x="189" y="650"/>
                  </a:lnTo>
                  <a:lnTo>
                    <a:pt x="188" y="649"/>
                  </a:lnTo>
                  <a:lnTo>
                    <a:pt x="187" y="649"/>
                  </a:lnTo>
                  <a:lnTo>
                    <a:pt x="185" y="647"/>
                  </a:lnTo>
                  <a:lnTo>
                    <a:pt x="183" y="645"/>
                  </a:lnTo>
                  <a:lnTo>
                    <a:pt x="180" y="642"/>
                  </a:lnTo>
                  <a:lnTo>
                    <a:pt x="178" y="641"/>
                  </a:lnTo>
                  <a:lnTo>
                    <a:pt x="175" y="640"/>
                  </a:lnTo>
                  <a:lnTo>
                    <a:pt x="172" y="639"/>
                  </a:lnTo>
                  <a:lnTo>
                    <a:pt x="170" y="638"/>
                  </a:lnTo>
                  <a:lnTo>
                    <a:pt x="158" y="637"/>
                  </a:lnTo>
                  <a:lnTo>
                    <a:pt x="151" y="636"/>
                  </a:lnTo>
                  <a:lnTo>
                    <a:pt x="136" y="634"/>
                  </a:lnTo>
                  <a:lnTo>
                    <a:pt x="134" y="633"/>
                  </a:lnTo>
                  <a:lnTo>
                    <a:pt x="132" y="633"/>
                  </a:lnTo>
                  <a:lnTo>
                    <a:pt x="130" y="632"/>
                  </a:lnTo>
                  <a:lnTo>
                    <a:pt x="128" y="630"/>
                  </a:lnTo>
                  <a:lnTo>
                    <a:pt x="126" y="629"/>
                  </a:lnTo>
                  <a:lnTo>
                    <a:pt x="123" y="626"/>
                  </a:lnTo>
                  <a:lnTo>
                    <a:pt x="120" y="623"/>
                  </a:lnTo>
                  <a:lnTo>
                    <a:pt x="118" y="621"/>
                  </a:lnTo>
                  <a:lnTo>
                    <a:pt x="115" y="619"/>
                  </a:lnTo>
                  <a:lnTo>
                    <a:pt x="113" y="618"/>
                  </a:lnTo>
                  <a:lnTo>
                    <a:pt x="109" y="616"/>
                  </a:lnTo>
                  <a:lnTo>
                    <a:pt x="105" y="615"/>
                  </a:lnTo>
                  <a:lnTo>
                    <a:pt x="103" y="614"/>
                  </a:lnTo>
                  <a:lnTo>
                    <a:pt x="101" y="613"/>
                  </a:lnTo>
                  <a:lnTo>
                    <a:pt x="98" y="612"/>
                  </a:lnTo>
                  <a:lnTo>
                    <a:pt x="91" y="611"/>
                  </a:lnTo>
                  <a:lnTo>
                    <a:pt x="90" y="610"/>
                  </a:lnTo>
                  <a:lnTo>
                    <a:pt x="89" y="609"/>
                  </a:lnTo>
                  <a:lnTo>
                    <a:pt x="89" y="608"/>
                  </a:lnTo>
                  <a:lnTo>
                    <a:pt x="88" y="607"/>
                  </a:lnTo>
                  <a:lnTo>
                    <a:pt x="88" y="605"/>
                  </a:lnTo>
                  <a:lnTo>
                    <a:pt x="87" y="603"/>
                  </a:lnTo>
                  <a:lnTo>
                    <a:pt x="87" y="603"/>
                  </a:lnTo>
                  <a:lnTo>
                    <a:pt x="87" y="599"/>
                  </a:lnTo>
                  <a:lnTo>
                    <a:pt x="88" y="590"/>
                  </a:lnTo>
                  <a:lnTo>
                    <a:pt x="88" y="585"/>
                  </a:lnTo>
                  <a:lnTo>
                    <a:pt x="88" y="582"/>
                  </a:lnTo>
                  <a:lnTo>
                    <a:pt x="87" y="580"/>
                  </a:lnTo>
                  <a:lnTo>
                    <a:pt x="87" y="577"/>
                  </a:lnTo>
                  <a:lnTo>
                    <a:pt x="86" y="574"/>
                  </a:lnTo>
                  <a:lnTo>
                    <a:pt x="85" y="571"/>
                  </a:lnTo>
                  <a:lnTo>
                    <a:pt x="83" y="569"/>
                  </a:lnTo>
                  <a:lnTo>
                    <a:pt x="80" y="564"/>
                  </a:lnTo>
                  <a:lnTo>
                    <a:pt x="78" y="559"/>
                  </a:lnTo>
                  <a:lnTo>
                    <a:pt x="77" y="558"/>
                  </a:lnTo>
                  <a:lnTo>
                    <a:pt x="74" y="556"/>
                  </a:lnTo>
                  <a:lnTo>
                    <a:pt x="73" y="555"/>
                  </a:lnTo>
                  <a:lnTo>
                    <a:pt x="71" y="554"/>
                  </a:lnTo>
                  <a:lnTo>
                    <a:pt x="70" y="553"/>
                  </a:lnTo>
                  <a:lnTo>
                    <a:pt x="69" y="553"/>
                  </a:lnTo>
                  <a:lnTo>
                    <a:pt x="67" y="553"/>
                  </a:lnTo>
                  <a:lnTo>
                    <a:pt x="64" y="553"/>
                  </a:lnTo>
                  <a:lnTo>
                    <a:pt x="61" y="553"/>
                  </a:lnTo>
                  <a:lnTo>
                    <a:pt x="59" y="554"/>
                  </a:lnTo>
                  <a:lnTo>
                    <a:pt x="56" y="555"/>
                  </a:lnTo>
                  <a:lnTo>
                    <a:pt x="50" y="557"/>
                  </a:lnTo>
                  <a:lnTo>
                    <a:pt x="33" y="563"/>
                  </a:lnTo>
                  <a:lnTo>
                    <a:pt x="27" y="565"/>
                  </a:lnTo>
                  <a:lnTo>
                    <a:pt x="23" y="566"/>
                  </a:lnTo>
                  <a:lnTo>
                    <a:pt x="20" y="567"/>
                  </a:lnTo>
                  <a:lnTo>
                    <a:pt x="17" y="567"/>
                  </a:lnTo>
                  <a:lnTo>
                    <a:pt x="14" y="567"/>
                  </a:lnTo>
                  <a:lnTo>
                    <a:pt x="11" y="567"/>
                  </a:lnTo>
                  <a:lnTo>
                    <a:pt x="10" y="567"/>
                  </a:lnTo>
                  <a:lnTo>
                    <a:pt x="8" y="566"/>
                  </a:lnTo>
                  <a:lnTo>
                    <a:pt x="6" y="566"/>
                  </a:lnTo>
                  <a:lnTo>
                    <a:pt x="4" y="565"/>
                  </a:lnTo>
                  <a:lnTo>
                    <a:pt x="3" y="563"/>
                  </a:lnTo>
                  <a:lnTo>
                    <a:pt x="2" y="563"/>
                  </a:lnTo>
                  <a:lnTo>
                    <a:pt x="2" y="561"/>
                  </a:lnTo>
                  <a:lnTo>
                    <a:pt x="1" y="559"/>
                  </a:lnTo>
                  <a:lnTo>
                    <a:pt x="0" y="556"/>
                  </a:lnTo>
                  <a:lnTo>
                    <a:pt x="0" y="552"/>
                  </a:lnTo>
                  <a:lnTo>
                    <a:pt x="0" y="549"/>
                  </a:lnTo>
                  <a:lnTo>
                    <a:pt x="0" y="547"/>
                  </a:lnTo>
                  <a:lnTo>
                    <a:pt x="1" y="545"/>
                  </a:lnTo>
                  <a:lnTo>
                    <a:pt x="2" y="543"/>
                  </a:lnTo>
                  <a:lnTo>
                    <a:pt x="3" y="541"/>
                  </a:lnTo>
                  <a:lnTo>
                    <a:pt x="4" y="540"/>
                  </a:lnTo>
                  <a:lnTo>
                    <a:pt x="6" y="538"/>
                  </a:lnTo>
                  <a:lnTo>
                    <a:pt x="10" y="535"/>
                  </a:lnTo>
                  <a:lnTo>
                    <a:pt x="10" y="535"/>
                  </a:lnTo>
                  <a:lnTo>
                    <a:pt x="12" y="533"/>
                  </a:lnTo>
                  <a:lnTo>
                    <a:pt x="14" y="531"/>
                  </a:lnTo>
                  <a:lnTo>
                    <a:pt x="16" y="528"/>
                  </a:lnTo>
                  <a:lnTo>
                    <a:pt x="18" y="524"/>
                  </a:lnTo>
                  <a:lnTo>
                    <a:pt x="22" y="514"/>
                  </a:lnTo>
                  <a:lnTo>
                    <a:pt x="24" y="512"/>
                  </a:lnTo>
                  <a:lnTo>
                    <a:pt x="26" y="508"/>
                  </a:lnTo>
                  <a:lnTo>
                    <a:pt x="29" y="505"/>
                  </a:lnTo>
                  <a:lnTo>
                    <a:pt x="30" y="503"/>
                  </a:lnTo>
                  <a:lnTo>
                    <a:pt x="33" y="502"/>
                  </a:lnTo>
                  <a:lnTo>
                    <a:pt x="34" y="501"/>
                  </a:lnTo>
                  <a:lnTo>
                    <a:pt x="40" y="497"/>
                  </a:lnTo>
                  <a:lnTo>
                    <a:pt x="46" y="492"/>
                  </a:lnTo>
                  <a:lnTo>
                    <a:pt x="49" y="490"/>
                  </a:lnTo>
                  <a:lnTo>
                    <a:pt x="51" y="489"/>
                  </a:lnTo>
                  <a:lnTo>
                    <a:pt x="52" y="487"/>
                  </a:lnTo>
                  <a:lnTo>
                    <a:pt x="54" y="485"/>
                  </a:lnTo>
                  <a:lnTo>
                    <a:pt x="55" y="482"/>
                  </a:lnTo>
                  <a:lnTo>
                    <a:pt x="56" y="479"/>
                  </a:lnTo>
                  <a:lnTo>
                    <a:pt x="57" y="476"/>
                  </a:lnTo>
                  <a:lnTo>
                    <a:pt x="58" y="472"/>
                  </a:lnTo>
                  <a:lnTo>
                    <a:pt x="59" y="468"/>
                  </a:lnTo>
                  <a:lnTo>
                    <a:pt x="60" y="466"/>
                  </a:lnTo>
                  <a:lnTo>
                    <a:pt x="60" y="463"/>
                  </a:lnTo>
                  <a:lnTo>
                    <a:pt x="61" y="460"/>
                  </a:lnTo>
                  <a:lnTo>
                    <a:pt x="61" y="457"/>
                  </a:lnTo>
                  <a:lnTo>
                    <a:pt x="61" y="456"/>
                  </a:lnTo>
                  <a:lnTo>
                    <a:pt x="60" y="454"/>
                  </a:lnTo>
                  <a:lnTo>
                    <a:pt x="59" y="452"/>
                  </a:lnTo>
                  <a:lnTo>
                    <a:pt x="59" y="450"/>
                  </a:lnTo>
                  <a:lnTo>
                    <a:pt x="58" y="449"/>
                  </a:lnTo>
                  <a:lnTo>
                    <a:pt x="56" y="448"/>
                  </a:lnTo>
                  <a:lnTo>
                    <a:pt x="56" y="448"/>
                  </a:lnTo>
                  <a:lnTo>
                    <a:pt x="54" y="448"/>
                  </a:lnTo>
                  <a:lnTo>
                    <a:pt x="52" y="448"/>
                  </a:lnTo>
                  <a:lnTo>
                    <a:pt x="48" y="448"/>
                  </a:lnTo>
                  <a:lnTo>
                    <a:pt x="45" y="449"/>
                  </a:lnTo>
                  <a:lnTo>
                    <a:pt x="39" y="449"/>
                  </a:lnTo>
                  <a:lnTo>
                    <a:pt x="35" y="449"/>
                  </a:lnTo>
                  <a:lnTo>
                    <a:pt x="33" y="448"/>
                  </a:lnTo>
                  <a:lnTo>
                    <a:pt x="32" y="448"/>
                  </a:lnTo>
                  <a:lnTo>
                    <a:pt x="31" y="448"/>
                  </a:lnTo>
                  <a:lnTo>
                    <a:pt x="30" y="447"/>
                  </a:lnTo>
                  <a:lnTo>
                    <a:pt x="29" y="446"/>
                  </a:lnTo>
                  <a:lnTo>
                    <a:pt x="29" y="445"/>
                  </a:lnTo>
                  <a:lnTo>
                    <a:pt x="28" y="444"/>
                  </a:lnTo>
                  <a:lnTo>
                    <a:pt x="28" y="442"/>
                  </a:lnTo>
                  <a:lnTo>
                    <a:pt x="29" y="437"/>
                  </a:lnTo>
                  <a:lnTo>
                    <a:pt x="29" y="435"/>
                  </a:lnTo>
                  <a:lnTo>
                    <a:pt x="28" y="433"/>
                  </a:lnTo>
                  <a:lnTo>
                    <a:pt x="28" y="432"/>
                  </a:lnTo>
                  <a:lnTo>
                    <a:pt x="27" y="429"/>
                  </a:lnTo>
                  <a:lnTo>
                    <a:pt x="24" y="422"/>
                  </a:lnTo>
                  <a:lnTo>
                    <a:pt x="20" y="411"/>
                  </a:lnTo>
                  <a:lnTo>
                    <a:pt x="18" y="407"/>
                  </a:lnTo>
                  <a:lnTo>
                    <a:pt x="17" y="404"/>
                  </a:lnTo>
                  <a:lnTo>
                    <a:pt x="17" y="401"/>
                  </a:lnTo>
                  <a:lnTo>
                    <a:pt x="16" y="399"/>
                  </a:lnTo>
                  <a:lnTo>
                    <a:pt x="16" y="389"/>
                  </a:lnTo>
                  <a:lnTo>
                    <a:pt x="15" y="386"/>
                  </a:lnTo>
                  <a:lnTo>
                    <a:pt x="14" y="382"/>
                  </a:lnTo>
                  <a:lnTo>
                    <a:pt x="13" y="375"/>
                  </a:lnTo>
                  <a:lnTo>
                    <a:pt x="12" y="372"/>
                  </a:lnTo>
                  <a:lnTo>
                    <a:pt x="12" y="369"/>
                  </a:lnTo>
                  <a:lnTo>
                    <a:pt x="12" y="365"/>
                  </a:lnTo>
                  <a:lnTo>
                    <a:pt x="13" y="363"/>
                  </a:lnTo>
                  <a:lnTo>
                    <a:pt x="14" y="361"/>
                  </a:lnTo>
                  <a:lnTo>
                    <a:pt x="15" y="358"/>
                  </a:lnTo>
                  <a:lnTo>
                    <a:pt x="16" y="354"/>
                  </a:lnTo>
                  <a:lnTo>
                    <a:pt x="19" y="349"/>
                  </a:lnTo>
                  <a:lnTo>
                    <a:pt x="28" y="332"/>
                  </a:lnTo>
                  <a:lnTo>
                    <a:pt x="28" y="333"/>
                  </a:lnTo>
                  <a:lnTo>
                    <a:pt x="29" y="333"/>
                  </a:lnTo>
                  <a:lnTo>
                    <a:pt x="30" y="333"/>
                  </a:lnTo>
                  <a:lnTo>
                    <a:pt x="31" y="333"/>
                  </a:lnTo>
                  <a:lnTo>
                    <a:pt x="32" y="333"/>
                  </a:lnTo>
                  <a:lnTo>
                    <a:pt x="33" y="333"/>
                  </a:lnTo>
                  <a:lnTo>
                    <a:pt x="34" y="332"/>
                  </a:lnTo>
                  <a:lnTo>
                    <a:pt x="35" y="331"/>
                  </a:lnTo>
                  <a:lnTo>
                    <a:pt x="37" y="331"/>
                  </a:lnTo>
                  <a:lnTo>
                    <a:pt x="38" y="329"/>
                  </a:lnTo>
                  <a:lnTo>
                    <a:pt x="40" y="327"/>
                  </a:lnTo>
                  <a:lnTo>
                    <a:pt x="44" y="321"/>
                  </a:lnTo>
                  <a:lnTo>
                    <a:pt x="45" y="320"/>
                  </a:lnTo>
                  <a:lnTo>
                    <a:pt x="46" y="318"/>
                  </a:lnTo>
                  <a:lnTo>
                    <a:pt x="49" y="316"/>
                  </a:lnTo>
                  <a:lnTo>
                    <a:pt x="52" y="313"/>
                  </a:lnTo>
                  <a:lnTo>
                    <a:pt x="54" y="312"/>
                  </a:lnTo>
                  <a:lnTo>
                    <a:pt x="55" y="311"/>
                  </a:lnTo>
                  <a:lnTo>
                    <a:pt x="56" y="310"/>
                  </a:lnTo>
                  <a:lnTo>
                    <a:pt x="58" y="310"/>
                  </a:lnTo>
                  <a:lnTo>
                    <a:pt x="64" y="310"/>
                  </a:lnTo>
                  <a:lnTo>
                    <a:pt x="67" y="309"/>
                  </a:lnTo>
                  <a:lnTo>
                    <a:pt x="81" y="307"/>
                  </a:lnTo>
                  <a:lnTo>
                    <a:pt x="84" y="306"/>
                  </a:lnTo>
                  <a:lnTo>
                    <a:pt x="90" y="305"/>
                  </a:lnTo>
                  <a:lnTo>
                    <a:pt x="100" y="303"/>
                  </a:lnTo>
                  <a:lnTo>
                    <a:pt x="102" y="303"/>
                  </a:lnTo>
                  <a:lnTo>
                    <a:pt x="111" y="303"/>
                  </a:lnTo>
                  <a:lnTo>
                    <a:pt x="113" y="303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9" y="301"/>
                  </a:lnTo>
                  <a:lnTo>
                    <a:pt x="121" y="300"/>
                  </a:lnTo>
                  <a:lnTo>
                    <a:pt x="124" y="299"/>
                  </a:lnTo>
                  <a:lnTo>
                    <a:pt x="125" y="297"/>
                  </a:lnTo>
                  <a:lnTo>
                    <a:pt x="126" y="297"/>
                  </a:lnTo>
                  <a:lnTo>
                    <a:pt x="128" y="296"/>
                  </a:lnTo>
                  <a:lnTo>
                    <a:pt x="130" y="293"/>
                  </a:lnTo>
                  <a:lnTo>
                    <a:pt x="134" y="289"/>
                  </a:lnTo>
                  <a:lnTo>
                    <a:pt x="138" y="283"/>
                  </a:lnTo>
                  <a:lnTo>
                    <a:pt x="143" y="277"/>
                  </a:lnTo>
                  <a:lnTo>
                    <a:pt x="147" y="269"/>
                  </a:lnTo>
                  <a:lnTo>
                    <a:pt x="150" y="266"/>
                  </a:lnTo>
                  <a:lnTo>
                    <a:pt x="152" y="264"/>
                  </a:lnTo>
                  <a:lnTo>
                    <a:pt x="154" y="263"/>
                  </a:lnTo>
                  <a:lnTo>
                    <a:pt x="157" y="261"/>
                  </a:lnTo>
                  <a:lnTo>
                    <a:pt x="161" y="256"/>
                  </a:lnTo>
                  <a:lnTo>
                    <a:pt x="168" y="251"/>
                  </a:lnTo>
                  <a:lnTo>
                    <a:pt x="169" y="249"/>
                  </a:lnTo>
                  <a:lnTo>
                    <a:pt x="170" y="247"/>
                  </a:lnTo>
                  <a:lnTo>
                    <a:pt x="170" y="246"/>
                  </a:lnTo>
                  <a:lnTo>
                    <a:pt x="171" y="245"/>
                  </a:lnTo>
                  <a:lnTo>
                    <a:pt x="172" y="243"/>
                  </a:lnTo>
                  <a:lnTo>
                    <a:pt x="172" y="241"/>
                  </a:lnTo>
                  <a:lnTo>
                    <a:pt x="172" y="238"/>
                  </a:lnTo>
                  <a:lnTo>
                    <a:pt x="171" y="236"/>
                  </a:lnTo>
                  <a:lnTo>
                    <a:pt x="171" y="234"/>
                  </a:lnTo>
                  <a:lnTo>
                    <a:pt x="170" y="232"/>
                  </a:lnTo>
                  <a:lnTo>
                    <a:pt x="168" y="226"/>
                  </a:lnTo>
                  <a:lnTo>
                    <a:pt x="165" y="220"/>
                  </a:lnTo>
                  <a:lnTo>
                    <a:pt x="164" y="217"/>
                  </a:lnTo>
                  <a:lnTo>
                    <a:pt x="163" y="213"/>
                  </a:lnTo>
                  <a:lnTo>
                    <a:pt x="162" y="209"/>
                  </a:lnTo>
                  <a:lnTo>
                    <a:pt x="161" y="207"/>
                  </a:lnTo>
                  <a:lnTo>
                    <a:pt x="161" y="203"/>
                  </a:lnTo>
                  <a:lnTo>
                    <a:pt x="161" y="200"/>
                  </a:lnTo>
                  <a:lnTo>
                    <a:pt x="161" y="197"/>
                  </a:lnTo>
                  <a:lnTo>
                    <a:pt x="162" y="194"/>
                  </a:lnTo>
                  <a:lnTo>
                    <a:pt x="163" y="192"/>
                  </a:lnTo>
                  <a:lnTo>
                    <a:pt x="165" y="188"/>
                  </a:lnTo>
                  <a:lnTo>
                    <a:pt x="171" y="178"/>
                  </a:lnTo>
                  <a:lnTo>
                    <a:pt x="173" y="175"/>
                  </a:lnTo>
                  <a:lnTo>
                    <a:pt x="174" y="173"/>
                  </a:lnTo>
                  <a:lnTo>
                    <a:pt x="175" y="173"/>
                  </a:lnTo>
                  <a:lnTo>
                    <a:pt x="176" y="172"/>
                  </a:lnTo>
                  <a:lnTo>
                    <a:pt x="177" y="172"/>
                  </a:lnTo>
                  <a:lnTo>
                    <a:pt x="179" y="171"/>
                  </a:lnTo>
                  <a:lnTo>
                    <a:pt x="181" y="170"/>
                  </a:lnTo>
                  <a:lnTo>
                    <a:pt x="182" y="170"/>
                  </a:lnTo>
                  <a:lnTo>
                    <a:pt x="183" y="170"/>
                  </a:lnTo>
                  <a:lnTo>
                    <a:pt x="185" y="170"/>
                  </a:lnTo>
                  <a:lnTo>
                    <a:pt x="186" y="171"/>
                  </a:lnTo>
                  <a:lnTo>
                    <a:pt x="187" y="172"/>
                  </a:lnTo>
                  <a:lnTo>
                    <a:pt x="188" y="173"/>
                  </a:lnTo>
                  <a:lnTo>
                    <a:pt x="190" y="174"/>
                  </a:lnTo>
                  <a:lnTo>
                    <a:pt x="191" y="176"/>
                  </a:lnTo>
                  <a:lnTo>
                    <a:pt x="191" y="177"/>
                  </a:lnTo>
                  <a:lnTo>
                    <a:pt x="191" y="180"/>
                  </a:lnTo>
                  <a:lnTo>
                    <a:pt x="192" y="187"/>
                  </a:lnTo>
                  <a:lnTo>
                    <a:pt x="192" y="190"/>
                  </a:lnTo>
                  <a:lnTo>
                    <a:pt x="193" y="192"/>
                  </a:lnTo>
                  <a:lnTo>
                    <a:pt x="194" y="194"/>
                  </a:lnTo>
                  <a:lnTo>
                    <a:pt x="195" y="195"/>
                  </a:lnTo>
                  <a:lnTo>
                    <a:pt x="196" y="195"/>
                  </a:lnTo>
                  <a:lnTo>
                    <a:pt x="197" y="196"/>
                  </a:lnTo>
                  <a:lnTo>
                    <a:pt x="198" y="196"/>
                  </a:lnTo>
                  <a:lnTo>
                    <a:pt x="200" y="197"/>
                  </a:lnTo>
                  <a:lnTo>
                    <a:pt x="206" y="197"/>
                  </a:lnTo>
                  <a:lnTo>
                    <a:pt x="210" y="198"/>
                  </a:lnTo>
                  <a:lnTo>
                    <a:pt x="213" y="198"/>
                  </a:lnTo>
                  <a:lnTo>
                    <a:pt x="216" y="199"/>
                  </a:lnTo>
                  <a:lnTo>
                    <a:pt x="223" y="202"/>
                  </a:lnTo>
                  <a:lnTo>
                    <a:pt x="226" y="203"/>
                  </a:lnTo>
                  <a:lnTo>
                    <a:pt x="232" y="204"/>
                  </a:lnTo>
                  <a:lnTo>
                    <a:pt x="237" y="204"/>
                  </a:lnTo>
                  <a:lnTo>
                    <a:pt x="239" y="205"/>
                  </a:lnTo>
                  <a:lnTo>
                    <a:pt x="242" y="205"/>
                  </a:lnTo>
                  <a:lnTo>
                    <a:pt x="245" y="206"/>
                  </a:lnTo>
                  <a:lnTo>
                    <a:pt x="247" y="207"/>
                  </a:lnTo>
                  <a:lnTo>
                    <a:pt x="249" y="207"/>
                  </a:lnTo>
                  <a:lnTo>
                    <a:pt x="251" y="208"/>
                  </a:lnTo>
                  <a:lnTo>
                    <a:pt x="254" y="210"/>
                  </a:lnTo>
                  <a:lnTo>
                    <a:pt x="257" y="213"/>
                  </a:lnTo>
                  <a:lnTo>
                    <a:pt x="264" y="218"/>
                  </a:lnTo>
                  <a:lnTo>
                    <a:pt x="267" y="220"/>
                  </a:lnTo>
                  <a:lnTo>
                    <a:pt x="269" y="221"/>
                  </a:lnTo>
                  <a:lnTo>
                    <a:pt x="271" y="221"/>
                  </a:lnTo>
                  <a:lnTo>
                    <a:pt x="272" y="221"/>
                  </a:lnTo>
                  <a:lnTo>
                    <a:pt x="273" y="220"/>
                  </a:lnTo>
                  <a:lnTo>
                    <a:pt x="275" y="219"/>
                  </a:lnTo>
                  <a:lnTo>
                    <a:pt x="278" y="218"/>
                  </a:lnTo>
                  <a:lnTo>
                    <a:pt x="280" y="216"/>
                  </a:lnTo>
                  <a:lnTo>
                    <a:pt x="282" y="214"/>
                  </a:lnTo>
                  <a:lnTo>
                    <a:pt x="283" y="212"/>
                  </a:lnTo>
                  <a:lnTo>
                    <a:pt x="285" y="209"/>
                  </a:lnTo>
                  <a:lnTo>
                    <a:pt x="288" y="207"/>
                  </a:lnTo>
                  <a:lnTo>
                    <a:pt x="290" y="203"/>
                  </a:lnTo>
                  <a:lnTo>
                    <a:pt x="291" y="201"/>
                  </a:lnTo>
                  <a:lnTo>
                    <a:pt x="293" y="198"/>
                  </a:lnTo>
                  <a:lnTo>
                    <a:pt x="294" y="196"/>
                  </a:lnTo>
                  <a:lnTo>
                    <a:pt x="294" y="195"/>
                  </a:lnTo>
                  <a:lnTo>
                    <a:pt x="295" y="191"/>
                  </a:lnTo>
                  <a:lnTo>
                    <a:pt x="295" y="185"/>
                  </a:lnTo>
                  <a:lnTo>
                    <a:pt x="296" y="183"/>
                  </a:lnTo>
                  <a:lnTo>
                    <a:pt x="296" y="181"/>
                  </a:lnTo>
                  <a:lnTo>
                    <a:pt x="296" y="180"/>
                  </a:lnTo>
                  <a:lnTo>
                    <a:pt x="297" y="179"/>
                  </a:lnTo>
                  <a:lnTo>
                    <a:pt x="298" y="178"/>
                  </a:lnTo>
                  <a:lnTo>
                    <a:pt x="299" y="177"/>
                  </a:lnTo>
                  <a:lnTo>
                    <a:pt x="300" y="176"/>
                  </a:lnTo>
                  <a:lnTo>
                    <a:pt x="303" y="175"/>
                  </a:lnTo>
                  <a:lnTo>
                    <a:pt x="309" y="174"/>
                  </a:lnTo>
                  <a:lnTo>
                    <a:pt x="316" y="173"/>
                  </a:lnTo>
                  <a:lnTo>
                    <a:pt x="320" y="171"/>
                  </a:lnTo>
                  <a:lnTo>
                    <a:pt x="323" y="171"/>
                  </a:lnTo>
                  <a:lnTo>
                    <a:pt x="327" y="170"/>
                  </a:lnTo>
                  <a:lnTo>
                    <a:pt x="333" y="169"/>
                  </a:lnTo>
                  <a:lnTo>
                    <a:pt x="337" y="169"/>
                  </a:lnTo>
                  <a:lnTo>
                    <a:pt x="340" y="169"/>
                  </a:lnTo>
                  <a:lnTo>
                    <a:pt x="344" y="169"/>
                  </a:lnTo>
                  <a:lnTo>
                    <a:pt x="347" y="170"/>
                  </a:lnTo>
                  <a:lnTo>
                    <a:pt x="350" y="170"/>
                  </a:lnTo>
                  <a:lnTo>
                    <a:pt x="351" y="171"/>
                  </a:lnTo>
                  <a:lnTo>
                    <a:pt x="353" y="172"/>
                  </a:lnTo>
                  <a:lnTo>
                    <a:pt x="358" y="173"/>
                  </a:lnTo>
                  <a:lnTo>
                    <a:pt x="360" y="173"/>
                  </a:lnTo>
                  <a:lnTo>
                    <a:pt x="363" y="174"/>
                  </a:lnTo>
                  <a:lnTo>
                    <a:pt x="364" y="174"/>
                  </a:lnTo>
                  <a:lnTo>
                    <a:pt x="367" y="175"/>
                  </a:lnTo>
                  <a:lnTo>
                    <a:pt x="369" y="175"/>
                  </a:lnTo>
                  <a:lnTo>
                    <a:pt x="372" y="174"/>
                  </a:lnTo>
                  <a:lnTo>
                    <a:pt x="374" y="174"/>
                  </a:lnTo>
                  <a:lnTo>
                    <a:pt x="377" y="174"/>
                  </a:lnTo>
                  <a:lnTo>
                    <a:pt x="379" y="173"/>
                  </a:lnTo>
                  <a:lnTo>
                    <a:pt x="381" y="173"/>
                  </a:lnTo>
                  <a:lnTo>
                    <a:pt x="383" y="172"/>
                  </a:lnTo>
                  <a:lnTo>
                    <a:pt x="385" y="171"/>
                  </a:lnTo>
                  <a:lnTo>
                    <a:pt x="386" y="170"/>
                  </a:lnTo>
                  <a:lnTo>
                    <a:pt x="387" y="168"/>
                  </a:lnTo>
                  <a:lnTo>
                    <a:pt x="390" y="165"/>
                  </a:lnTo>
                  <a:lnTo>
                    <a:pt x="391" y="163"/>
                  </a:lnTo>
                  <a:lnTo>
                    <a:pt x="393" y="161"/>
                  </a:lnTo>
                  <a:lnTo>
                    <a:pt x="394" y="159"/>
                  </a:lnTo>
                  <a:lnTo>
                    <a:pt x="395" y="157"/>
                  </a:lnTo>
                  <a:lnTo>
                    <a:pt x="395" y="155"/>
                  </a:lnTo>
                  <a:lnTo>
                    <a:pt x="396" y="153"/>
                  </a:lnTo>
                  <a:lnTo>
                    <a:pt x="395" y="151"/>
                  </a:lnTo>
                  <a:lnTo>
                    <a:pt x="395" y="149"/>
                  </a:lnTo>
                  <a:lnTo>
                    <a:pt x="395" y="146"/>
                  </a:lnTo>
                  <a:lnTo>
                    <a:pt x="394" y="144"/>
                  </a:lnTo>
                  <a:lnTo>
                    <a:pt x="392" y="139"/>
                  </a:lnTo>
                  <a:lnTo>
                    <a:pt x="386" y="128"/>
                  </a:lnTo>
                  <a:lnTo>
                    <a:pt x="386" y="126"/>
                  </a:lnTo>
                  <a:lnTo>
                    <a:pt x="385" y="125"/>
                  </a:lnTo>
                  <a:lnTo>
                    <a:pt x="385" y="123"/>
                  </a:lnTo>
                  <a:lnTo>
                    <a:pt x="385" y="122"/>
                  </a:lnTo>
                  <a:lnTo>
                    <a:pt x="385" y="121"/>
                  </a:lnTo>
                  <a:lnTo>
                    <a:pt x="385" y="120"/>
                  </a:lnTo>
                  <a:lnTo>
                    <a:pt x="386" y="119"/>
                  </a:lnTo>
                  <a:lnTo>
                    <a:pt x="386" y="119"/>
                  </a:lnTo>
                  <a:lnTo>
                    <a:pt x="387" y="118"/>
                  </a:lnTo>
                  <a:lnTo>
                    <a:pt x="388" y="117"/>
                  </a:lnTo>
                  <a:lnTo>
                    <a:pt x="389" y="117"/>
                  </a:lnTo>
                  <a:lnTo>
                    <a:pt x="391" y="116"/>
                  </a:lnTo>
                  <a:lnTo>
                    <a:pt x="393" y="116"/>
                  </a:lnTo>
                  <a:lnTo>
                    <a:pt x="395" y="116"/>
                  </a:lnTo>
                  <a:lnTo>
                    <a:pt x="397" y="116"/>
                  </a:lnTo>
                  <a:lnTo>
                    <a:pt x="397" y="116"/>
                  </a:lnTo>
                  <a:lnTo>
                    <a:pt x="403" y="118"/>
                  </a:lnTo>
                  <a:lnTo>
                    <a:pt x="405" y="118"/>
                  </a:lnTo>
                  <a:lnTo>
                    <a:pt x="407" y="118"/>
                  </a:lnTo>
                  <a:lnTo>
                    <a:pt x="408" y="118"/>
                  </a:lnTo>
                  <a:lnTo>
                    <a:pt x="408" y="118"/>
                  </a:lnTo>
                  <a:lnTo>
                    <a:pt x="409" y="117"/>
                  </a:lnTo>
                  <a:lnTo>
                    <a:pt x="410" y="117"/>
                  </a:lnTo>
                  <a:lnTo>
                    <a:pt x="411" y="116"/>
                  </a:lnTo>
                  <a:lnTo>
                    <a:pt x="412" y="116"/>
                  </a:lnTo>
                  <a:lnTo>
                    <a:pt x="413" y="114"/>
                  </a:lnTo>
                  <a:lnTo>
                    <a:pt x="417" y="109"/>
                  </a:lnTo>
                  <a:lnTo>
                    <a:pt x="419" y="107"/>
                  </a:lnTo>
                  <a:lnTo>
                    <a:pt x="420" y="105"/>
                  </a:lnTo>
                  <a:lnTo>
                    <a:pt x="422" y="105"/>
                  </a:lnTo>
                  <a:lnTo>
                    <a:pt x="424" y="104"/>
                  </a:lnTo>
                  <a:lnTo>
                    <a:pt x="425" y="103"/>
                  </a:lnTo>
                  <a:lnTo>
                    <a:pt x="428" y="103"/>
                  </a:lnTo>
                  <a:lnTo>
                    <a:pt x="431" y="104"/>
                  </a:lnTo>
                  <a:lnTo>
                    <a:pt x="432" y="104"/>
                  </a:lnTo>
                  <a:lnTo>
                    <a:pt x="433" y="105"/>
                  </a:lnTo>
                  <a:lnTo>
                    <a:pt x="436" y="105"/>
                  </a:lnTo>
                  <a:lnTo>
                    <a:pt x="440" y="108"/>
                  </a:lnTo>
                  <a:lnTo>
                    <a:pt x="442" y="111"/>
                  </a:lnTo>
                  <a:lnTo>
                    <a:pt x="445" y="113"/>
                  </a:lnTo>
                  <a:lnTo>
                    <a:pt x="450" y="117"/>
                  </a:lnTo>
                  <a:lnTo>
                    <a:pt x="452" y="119"/>
                  </a:lnTo>
                  <a:lnTo>
                    <a:pt x="454" y="120"/>
                  </a:lnTo>
                  <a:lnTo>
                    <a:pt x="455" y="122"/>
                  </a:lnTo>
                  <a:lnTo>
                    <a:pt x="457" y="123"/>
                  </a:lnTo>
                  <a:lnTo>
                    <a:pt x="460" y="124"/>
                  </a:lnTo>
                  <a:lnTo>
                    <a:pt x="464" y="125"/>
                  </a:lnTo>
                  <a:lnTo>
                    <a:pt x="466" y="126"/>
                  </a:lnTo>
                  <a:lnTo>
                    <a:pt x="469" y="126"/>
                  </a:lnTo>
                  <a:lnTo>
                    <a:pt x="472" y="126"/>
                  </a:lnTo>
                  <a:lnTo>
                    <a:pt x="476" y="126"/>
                  </a:lnTo>
                  <a:lnTo>
                    <a:pt x="480" y="125"/>
                  </a:lnTo>
                  <a:lnTo>
                    <a:pt x="488" y="123"/>
                  </a:lnTo>
                  <a:lnTo>
                    <a:pt x="490" y="122"/>
                  </a:lnTo>
                  <a:lnTo>
                    <a:pt x="492" y="121"/>
                  </a:lnTo>
                  <a:lnTo>
                    <a:pt x="493" y="120"/>
                  </a:lnTo>
                  <a:lnTo>
                    <a:pt x="494" y="119"/>
                  </a:lnTo>
                  <a:lnTo>
                    <a:pt x="496" y="118"/>
                  </a:lnTo>
                  <a:lnTo>
                    <a:pt x="497" y="116"/>
                  </a:lnTo>
                  <a:lnTo>
                    <a:pt x="498" y="115"/>
                  </a:lnTo>
                  <a:lnTo>
                    <a:pt x="500" y="109"/>
                  </a:lnTo>
                  <a:lnTo>
                    <a:pt x="503" y="101"/>
                  </a:lnTo>
                  <a:lnTo>
                    <a:pt x="506" y="93"/>
                  </a:lnTo>
                  <a:lnTo>
                    <a:pt x="508" y="90"/>
                  </a:lnTo>
                  <a:lnTo>
                    <a:pt x="509" y="85"/>
                  </a:lnTo>
                  <a:lnTo>
                    <a:pt x="510" y="82"/>
                  </a:lnTo>
                  <a:lnTo>
                    <a:pt x="510" y="80"/>
                  </a:lnTo>
                  <a:lnTo>
                    <a:pt x="511" y="73"/>
                  </a:lnTo>
                  <a:lnTo>
                    <a:pt x="511" y="71"/>
                  </a:lnTo>
                  <a:lnTo>
                    <a:pt x="511" y="69"/>
                  </a:lnTo>
                  <a:lnTo>
                    <a:pt x="511" y="67"/>
                  </a:lnTo>
                  <a:lnTo>
                    <a:pt x="512" y="65"/>
                  </a:lnTo>
                  <a:lnTo>
                    <a:pt x="514" y="63"/>
                  </a:lnTo>
                  <a:lnTo>
                    <a:pt x="519" y="59"/>
                  </a:lnTo>
                  <a:lnTo>
                    <a:pt x="523" y="54"/>
                  </a:lnTo>
                  <a:lnTo>
                    <a:pt x="524" y="52"/>
                  </a:lnTo>
                  <a:lnTo>
                    <a:pt x="527" y="49"/>
                  </a:lnTo>
                  <a:lnTo>
                    <a:pt x="533" y="46"/>
                  </a:lnTo>
                  <a:lnTo>
                    <a:pt x="534" y="45"/>
                  </a:lnTo>
                  <a:lnTo>
                    <a:pt x="536" y="43"/>
                  </a:lnTo>
                  <a:lnTo>
                    <a:pt x="538" y="41"/>
                  </a:lnTo>
                  <a:lnTo>
                    <a:pt x="539" y="39"/>
                  </a:lnTo>
                  <a:lnTo>
                    <a:pt x="540" y="37"/>
                  </a:lnTo>
                  <a:lnTo>
                    <a:pt x="542" y="35"/>
                  </a:lnTo>
                  <a:lnTo>
                    <a:pt x="545" y="30"/>
                  </a:lnTo>
                  <a:lnTo>
                    <a:pt x="546" y="28"/>
                  </a:lnTo>
                  <a:lnTo>
                    <a:pt x="547" y="27"/>
                  </a:lnTo>
                  <a:lnTo>
                    <a:pt x="548" y="26"/>
                  </a:lnTo>
                  <a:lnTo>
                    <a:pt x="550" y="26"/>
                  </a:lnTo>
                  <a:lnTo>
                    <a:pt x="552" y="26"/>
                  </a:lnTo>
                  <a:lnTo>
                    <a:pt x="555" y="26"/>
                  </a:lnTo>
                  <a:lnTo>
                    <a:pt x="558" y="27"/>
                  </a:lnTo>
                  <a:lnTo>
                    <a:pt x="565" y="29"/>
                  </a:lnTo>
                  <a:lnTo>
                    <a:pt x="568" y="30"/>
                  </a:lnTo>
                  <a:lnTo>
                    <a:pt x="572" y="31"/>
                  </a:lnTo>
                  <a:lnTo>
                    <a:pt x="575" y="31"/>
                  </a:lnTo>
                  <a:lnTo>
                    <a:pt x="576" y="31"/>
                  </a:lnTo>
                  <a:lnTo>
                    <a:pt x="578" y="31"/>
                  </a:lnTo>
                  <a:lnTo>
                    <a:pt x="579" y="30"/>
                  </a:lnTo>
                  <a:lnTo>
                    <a:pt x="581" y="30"/>
                  </a:lnTo>
                  <a:lnTo>
                    <a:pt x="582" y="29"/>
                  </a:lnTo>
                  <a:lnTo>
                    <a:pt x="584" y="28"/>
                  </a:lnTo>
                  <a:lnTo>
                    <a:pt x="586" y="27"/>
                  </a:lnTo>
                  <a:lnTo>
                    <a:pt x="587" y="26"/>
                  </a:lnTo>
                  <a:lnTo>
                    <a:pt x="589" y="25"/>
                  </a:lnTo>
                  <a:lnTo>
                    <a:pt x="590" y="24"/>
                  </a:lnTo>
                  <a:lnTo>
                    <a:pt x="591" y="22"/>
                  </a:lnTo>
                  <a:lnTo>
                    <a:pt x="594" y="18"/>
                  </a:lnTo>
                  <a:lnTo>
                    <a:pt x="597" y="14"/>
                  </a:lnTo>
                  <a:lnTo>
                    <a:pt x="598" y="11"/>
                  </a:lnTo>
                  <a:lnTo>
                    <a:pt x="600" y="9"/>
                  </a:lnTo>
                  <a:lnTo>
                    <a:pt x="601" y="7"/>
                  </a:lnTo>
                  <a:lnTo>
                    <a:pt x="601" y="4"/>
                  </a:lnTo>
                  <a:lnTo>
                    <a:pt x="602" y="3"/>
                  </a:lnTo>
                  <a:lnTo>
                    <a:pt x="602" y="2"/>
                  </a:lnTo>
                  <a:lnTo>
                    <a:pt x="602" y="2"/>
                  </a:lnTo>
                  <a:lnTo>
                    <a:pt x="604" y="2"/>
                  </a:lnTo>
                  <a:lnTo>
                    <a:pt x="608" y="2"/>
                  </a:lnTo>
                  <a:lnTo>
                    <a:pt x="610" y="1"/>
                  </a:lnTo>
                  <a:lnTo>
                    <a:pt x="612" y="0"/>
                  </a:lnTo>
                  <a:lnTo>
                    <a:pt x="613" y="0"/>
                  </a:lnTo>
                  <a:lnTo>
                    <a:pt x="614" y="0"/>
                  </a:lnTo>
                  <a:lnTo>
                    <a:pt x="616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8" name="Freeform 107">
              <a:extLst>
                <a:ext uri="{FF2B5EF4-FFF2-40B4-BE49-F238E27FC236}">
                  <a16:creationId xmlns:a16="http://schemas.microsoft.com/office/drawing/2014/main" id="{54C7A2B8-6486-4B75-915F-885DDC6A3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9" y="1811"/>
              <a:ext cx="1156" cy="1071"/>
            </a:xfrm>
            <a:custGeom>
              <a:avLst/>
              <a:gdLst>
                <a:gd name="T0" fmla="*/ 263 w 1156"/>
                <a:gd name="T1" fmla="*/ 20 h 1071"/>
                <a:gd name="T2" fmla="*/ 261 w 1156"/>
                <a:gd name="T3" fmla="*/ 62 h 1071"/>
                <a:gd name="T4" fmla="*/ 283 w 1156"/>
                <a:gd name="T5" fmla="*/ 115 h 1071"/>
                <a:gd name="T6" fmla="*/ 253 w 1156"/>
                <a:gd name="T7" fmla="*/ 143 h 1071"/>
                <a:gd name="T8" fmla="*/ 176 w 1156"/>
                <a:gd name="T9" fmla="*/ 181 h 1071"/>
                <a:gd name="T10" fmla="*/ 176 w 1156"/>
                <a:gd name="T11" fmla="*/ 212 h 1071"/>
                <a:gd name="T12" fmla="*/ 232 w 1156"/>
                <a:gd name="T13" fmla="*/ 247 h 1071"/>
                <a:gd name="T14" fmla="*/ 273 w 1156"/>
                <a:gd name="T15" fmla="*/ 275 h 1071"/>
                <a:gd name="T16" fmla="*/ 314 w 1156"/>
                <a:gd name="T17" fmla="*/ 352 h 1071"/>
                <a:gd name="T18" fmla="*/ 367 w 1156"/>
                <a:gd name="T19" fmla="*/ 395 h 1071"/>
                <a:gd name="T20" fmla="*/ 421 w 1156"/>
                <a:gd name="T21" fmla="*/ 390 h 1071"/>
                <a:gd name="T22" fmla="*/ 498 w 1156"/>
                <a:gd name="T23" fmla="*/ 356 h 1071"/>
                <a:gd name="T24" fmla="*/ 504 w 1156"/>
                <a:gd name="T25" fmla="*/ 331 h 1071"/>
                <a:gd name="T26" fmla="*/ 484 w 1156"/>
                <a:gd name="T27" fmla="*/ 310 h 1071"/>
                <a:gd name="T28" fmla="*/ 520 w 1156"/>
                <a:gd name="T29" fmla="*/ 302 h 1071"/>
                <a:gd name="T30" fmla="*/ 563 w 1156"/>
                <a:gd name="T31" fmla="*/ 365 h 1071"/>
                <a:gd name="T32" fmla="*/ 611 w 1156"/>
                <a:gd name="T33" fmla="*/ 371 h 1071"/>
                <a:gd name="T34" fmla="*/ 643 w 1156"/>
                <a:gd name="T35" fmla="*/ 386 h 1071"/>
                <a:gd name="T36" fmla="*/ 690 w 1156"/>
                <a:gd name="T37" fmla="*/ 413 h 1071"/>
                <a:gd name="T38" fmla="*/ 723 w 1156"/>
                <a:gd name="T39" fmla="*/ 453 h 1071"/>
                <a:gd name="T40" fmla="*/ 742 w 1156"/>
                <a:gd name="T41" fmla="*/ 426 h 1071"/>
                <a:gd name="T42" fmla="*/ 809 w 1156"/>
                <a:gd name="T43" fmla="*/ 436 h 1071"/>
                <a:gd name="T44" fmla="*/ 886 w 1156"/>
                <a:gd name="T45" fmla="*/ 467 h 1071"/>
                <a:gd name="T46" fmla="*/ 903 w 1156"/>
                <a:gd name="T47" fmla="*/ 445 h 1071"/>
                <a:gd name="T48" fmla="*/ 921 w 1156"/>
                <a:gd name="T49" fmla="*/ 484 h 1071"/>
                <a:gd name="T50" fmla="*/ 938 w 1156"/>
                <a:gd name="T51" fmla="*/ 513 h 1071"/>
                <a:gd name="T52" fmla="*/ 933 w 1156"/>
                <a:gd name="T53" fmla="*/ 573 h 1071"/>
                <a:gd name="T54" fmla="*/ 977 w 1156"/>
                <a:gd name="T55" fmla="*/ 678 h 1071"/>
                <a:gd name="T56" fmla="*/ 1032 w 1156"/>
                <a:gd name="T57" fmla="*/ 701 h 1071"/>
                <a:gd name="T58" fmla="*/ 1086 w 1156"/>
                <a:gd name="T59" fmla="*/ 719 h 1071"/>
                <a:gd name="T60" fmla="*/ 1120 w 1156"/>
                <a:gd name="T61" fmla="*/ 770 h 1071"/>
                <a:gd name="T62" fmla="*/ 1155 w 1156"/>
                <a:gd name="T63" fmla="*/ 873 h 1071"/>
                <a:gd name="T64" fmla="*/ 1132 w 1156"/>
                <a:gd name="T65" fmla="*/ 916 h 1071"/>
                <a:gd name="T66" fmla="*/ 1065 w 1156"/>
                <a:gd name="T67" fmla="*/ 942 h 1071"/>
                <a:gd name="T68" fmla="*/ 971 w 1156"/>
                <a:gd name="T69" fmla="*/ 940 h 1071"/>
                <a:gd name="T70" fmla="*/ 928 w 1156"/>
                <a:gd name="T71" fmla="*/ 942 h 1071"/>
                <a:gd name="T72" fmla="*/ 915 w 1156"/>
                <a:gd name="T73" fmla="*/ 986 h 1071"/>
                <a:gd name="T74" fmla="*/ 855 w 1156"/>
                <a:gd name="T75" fmla="*/ 1065 h 1071"/>
                <a:gd name="T76" fmla="*/ 805 w 1156"/>
                <a:gd name="T77" fmla="*/ 1064 h 1071"/>
                <a:gd name="T78" fmla="*/ 773 w 1156"/>
                <a:gd name="T79" fmla="*/ 1017 h 1071"/>
                <a:gd name="T80" fmla="*/ 722 w 1156"/>
                <a:gd name="T81" fmla="*/ 965 h 1071"/>
                <a:gd name="T82" fmla="*/ 653 w 1156"/>
                <a:gd name="T83" fmla="*/ 961 h 1071"/>
                <a:gd name="T84" fmla="*/ 587 w 1156"/>
                <a:gd name="T85" fmla="*/ 937 h 1071"/>
                <a:gd name="T86" fmla="*/ 497 w 1156"/>
                <a:gd name="T87" fmla="*/ 947 h 1071"/>
                <a:gd name="T88" fmla="*/ 448 w 1156"/>
                <a:gd name="T89" fmla="*/ 917 h 1071"/>
                <a:gd name="T90" fmla="*/ 418 w 1156"/>
                <a:gd name="T91" fmla="*/ 891 h 1071"/>
                <a:gd name="T92" fmla="*/ 387 w 1156"/>
                <a:gd name="T93" fmla="*/ 899 h 1071"/>
                <a:gd name="T94" fmla="*/ 379 w 1156"/>
                <a:gd name="T95" fmla="*/ 854 h 1071"/>
                <a:gd name="T96" fmla="*/ 311 w 1156"/>
                <a:gd name="T97" fmla="*/ 781 h 1071"/>
                <a:gd name="T98" fmla="*/ 282 w 1156"/>
                <a:gd name="T99" fmla="*/ 771 h 1071"/>
                <a:gd name="T100" fmla="*/ 252 w 1156"/>
                <a:gd name="T101" fmla="*/ 739 h 1071"/>
                <a:gd name="T102" fmla="*/ 253 w 1156"/>
                <a:gd name="T103" fmla="*/ 677 h 1071"/>
                <a:gd name="T104" fmla="*/ 208 w 1156"/>
                <a:gd name="T105" fmla="*/ 671 h 1071"/>
                <a:gd name="T106" fmla="*/ 145 w 1156"/>
                <a:gd name="T107" fmla="*/ 659 h 1071"/>
                <a:gd name="T108" fmla="*/ 106 w 1156"/>
                <a:gd name="T109" fmla="*/ 619 h 1071"/>
                <a:gd name="T110" fmla="*/ 91 w 1156"/>
                <a:gd name="T111" fmla="*/ 569 h 1071"/>
                <a:gd name="T112" fmla="*/ 65 w 1156"/>
                <a:gd name="T113" fmla="*/ 544 h 1071"/>
                <a:gd name="T114" fmla="*/ 58 w 1156"/>
                <a:gd name="T115" fmla="*/ 589 h 1071"/>
                <a:gd name="T116" fmla="*/ 34 w 1156"/>
                <a:gd name="T117" fmla="*/ 604 h 1071"/>
                <a:gd name="T118" fmla="*/ 4 w 1156"/>
                <a:gd name="T119" fmla="*/ 615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56" h="1071">
                  <a:moveTo>
                    <a:pt x="237" y="0"/>
                  </a:moveTo>
                  <a:lnTo>
                    <a:pt x="238" y="0"/>
                  </a:lnTo>
                  <a:lnTo>
                    <a:pt x="240" y="1"/>
                  </a:lnTo>
                  <a:lnTo>
                    <a:pt x="242" y="1"/>
                  </a:lnTo>
                  <a:lnTo>
                    <a:pt x="243" y="2"/>
                  </a:lnTo>
                  <a:lnTo>
                    <a:pt x="244" y="2"/>
                  </a:lnTo>
                  <a:lnTo>
                    <a:pt x="247" y="4"/>
                  </a:lnTo>
                  <a:lnTo>
                    <a:pt x="249" y="5"/>
                  </a:lnTo>
                  <a:lnTo>
                    <a:pt x="251" y="7"/>
                  </a:lnTo>
                  <a:lnTo>
                    <a:pt x="253" y="10"/>
                  </a:lnTo>
                  <a:lnTo>
                    <a:pt x="254" y="11"/>
                  </a:lnTo>
                  <a:lnTo>
                    <a:pt x="255" y="13"/>
                  </a:lnTo>
                  <a:lnTo>
                    <a:pt x="256" y="15"/>
                  </a:lnTo>
                  <a:lnTo>
                    <a:pt x="257" y="17"/>
                  </a:lnTo>
                  <a:lnTo>
                    <a:pt x="257" y="18"/>
                  </a:lnTo>
                  <a:lnTo>
                    <a:pt x="260" y="19"/>
                  </a:lnTo>
                  <a:lnTo>
                    <a:pt x="263" y="20"/>
                  </a:lnTo>
                  <a:lnTo>
                    <a:pt x="265" y="20"/>
                  </a:lnTo>
                  <a:lnTo>
                    <a:pt x="266" y="21"/>
                  </a:lnTo>
                  <a:lnTo>
                    <a:pt x="267" y="22"/>
                  </a:lnTo>
                  <a:lnTo>
                    <a:pt x="268" y="23"/>
                  </a:lnTo>
                  <a:lnTo>
                    <a:pt x="269" y="25"/>
                  </a:lnTo>
                  <a:lnTo>
                    <a:pt x="269" y="25"/>
                  </a:lnTo>
                  <a:lnTo>
                    <a:pt x="270" y="27"/>
                  </a:lnTo>
                  <a:lnTo>
                    <a:pt x="270" y="29"/>
                  </a:lnTo>
                  <a:lnTo>
                    <a:pt x="269" y="31"/>
                  </a:lnTo>
                  <a:lnTo>
                    <a:pt x="269" y="33"/>
                  </a:lnTo>
                  <a:lnTo>
                    <a:pt x="268" y="36"/>
                  </a:lnTo>
                  <a:lnTo>
                    <a:pt x="264" y="46"/>
                  </a:lnTo>
                  <a:lnTo>
                    <a:pt x="263" y="51"/>
                  </a:lnTo>
                  <a:lnTo>
                    <a:pt x="262" y="54"/>
                  </a:lnTo>
                  <a:lnTo>
                    <a:pt x="261" y="57"/>
                  </a:lnTo>
                  <a:lnTo>
                    <a:pt x="261" y="59"/>
                  </a:lnTo>
                  <a:lnTo>
                    <a:pt x="261" y="62"/>
                  </a:lnTo>
                  <a:lnTo>
                    <a:pt x="261" y="65"/>
                  </a:lnTo>
                  <a:lnTo>
                    <a:pt x="262" y="68"/>
                  </a:lnTo>
                  <a:lnTo>
                    <a:pt x="263" y="70"/>
                  </a:lnTo>
                  <a:lnTo>
                    <a:pt x="264" y="73"/>
                  </a:lnTo>
                  <a:lnTo>
                    <a:pt x="265" y="76"/>
                  </a:lnTo>
                  <a:lnTo>
                    <a:pt x="266" y="79"/>
                  </a:lnTo>
                  <a:lnTo>
                    <a:pt x="268" y="81"/>
                  </a:lnTo>
                  <a:lnTo>
                    <a:pt x="276" y="90"/>
                  </a:lnTo>
                  <a:lnTo>
                    <a:pt x="278" y="93"/>
                  </a:lnTo>
                  <a:lnTo>
                    <a:pt x="279" y="96"/>
                  </a:lnTo>
                  <a:lnTo>
                    <a:pt x="281" y="98"/>
                  </a:lnTo>
                  <a:lnTo>
                    <a:pt x="281" y="99"/>
                  </a:lnTo>
                  <a:lnTo>
                    <a:pt x="282" y="101"/>
                  </a:lnTo>
                  <a:lnTo>
                    <a:pt x="283" y="104"/>
                  </a:lnTo>
                  <a:lnTo>
                    <a:pt x="283" y="107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83" y="118"/>
                  </a:lnTo>
                  <a:lnTo>
                    <a:pt x="282" y="121"/>
                  </a:lnTo>
                  <a:lnTo>
                    <a:pt x="282" y="124"/>
                  </a:lnTo>
                  <a:lnTo>
                    <a:pt x="281" y="126"/>
                  </a:lnTo>
                  <a:lnTo>
                    <a:pt x="279" y="127"/>
                  </a:lnTo>
                  <a:lnTo>
                    <a:pt x="279" y="128"/>
                  </a:lnTo>
                  <a:lnTo>
                    <a:pt x="278" y="130"/>
                  </a:lnTo>
                  <a:lnTo>
                    <a:pt x="276" y="132"/>
                  </a:lnTo>
                  <a:lnTo>
                    <a:pt x="274" y="133"/>
                  </a:lnTo>
                  <a:lnTo>
                    <a:pt x="272" y="134"/>
                  </a:lnTo>
                  <a:lnTo>
                    <a:pt x="269" y="136"/>
                  </a:lnTo>
                  <a:lnTo>
                    <a:pt x="267" y="136"/>
                  </a:lnTo>
                  <a:lnTo>
                    <a:pt x="262" y="138"/>
                  </a:lnTo>
                  <a:lnTo>
                    <a:pt x="260" y="138"/>
                  </a:lnTo>
                  <a:lnTo>
                    <a:pt x="257" y="139"/>
                  </a:lnTo>
                  <a:lnTo>
                    <a:pt x="254" y="141"/>
                  </a:lnTo>
                  <a:lnTo>
                    <a:pt x="253" y="143"/>
                  </a:lnTo>
                  <a:lnTo>
                    <a:pt x="252" y="145"/>
                  </a:lnTo>
                  <a:lnTo>
                    <a:pt x="251" y="146"/>
                  </a:lnTo>
                  <a:lnTo>
                    <a:pt x="247" y="151"/>
                  </a:lnTo>
                  <a:lnTo>
                    <a:pt x="245" y="153"/>
                  </a:lnTo>
                  <a:lnTo>
                    <a:pt x="243" y="155"/>
                  </a:lnTo>
                  <a:lnTo>
                    <a:pt x="242" y="157"/>
                  </a:lnTo>
                  <a:lnTo>
                    <a:pt x="241" y="158"/>
                  </a:lnTo>
                  <a:lnTo>
                    <a:pt x="239" y="159"/>
                  </a:lnTo>
                  <a:lnTo>
                    <a:pt x="237" y="160"/>
                  </a:lnTo>
                  <a:lnTo>
                    <a:pt x="235" y="161"/>
                  </a:lnTo>
                  <a:lnTo>
                    <a:pt x="233" y="162"/>
                  </a:lnTo>
                  <a:lnTo>
                    <a:pt x="228" y="164"/>
                  </a:lnTo>
                  <a:lnTo>
                    <a:pt x="215" y="168"/>
                  </a:lnTo>
                  <a:lnTo>
                    <a:pt x="199" y="172"/>
                  </a:lnTo>
                  <a:lnTo>
                    <a:pt x="191" y="175"/>
                  </a:lnTo>
                  <a:lnTo>
                    <a:pt x="178" y="180"/>
                  </a:lnTo>
                  <a:lnTo>
                    <a:pt x="176" y="181"/>
                  </a:lnTo>
                  <a:lnTo>
                    <a:pt x="174" y="183"/>
                  </a:lnTo>
                  <a:lnTo>
                    <a:pt x="173" y="183"/>
                  </a:lnTo>
                  <a:lnTo>
                    <a:pt x="171" y="185"/>
                  </a:lnTo>
                  <a:lnTo>
                    <a:pt x="170" y="186"/>
                  </a:lnTo>
                  <a:lnTo>
                    <a:pt x="169" y="188"/>
                  </a:lnTo>
                  <a:lnTo>
                    <a:pt x="168" y="190"/>
                  </a:lnTo>
                  <a:lnTo>
                    <a:pt x="167" y="192"/>
                  </a:lnTo>
                  <a:lnTo>
                    <a:pt x="167" y="194"/>
                  </a:lnTo>
                  <a:lnTo>
                    <a:pt x="167" y="195"/>
                  </a:lnTo>
                  <a:lnTo>
                    <a:pt x="168" y="197"/>
                  </a:lnTo>
                  <a:lnTo>
                    <a:pt x="169" y="199"/>
                  </a:lnTo>
                  <a:lnTo>
                    <a:pt x="169" y="201"/>
                  </a:lnTo>
                  <a:lnTo>
                    <a:pt x="171" y="204"/>
                  </a:lnTo>
                  <a:lnTo>
                    <a:pt x="172" y="206"/>
                  </a:lnTo>
                  <a:lnTo>
                    <a:pt x="174" y="208"/>
                  </a:lnTo>
                  <a:lnTo>
                    <a:pt x="175" y="210"/>
                  </a:lnTo>
                  <a:lnTo>
                    <a:pt x="176" y="212"/>
                  </a:lnTo>
                  <a:lnTo>
                    <a:pt x="178" y="215"/>
                  </a:lnTo>
                  <a:lnTo>
                    <a:pt x="182" y="217"/>
                  </a:lnTo>
                  <a:lnTo>
                    <a:pt x="191" y="226"/>
                  </a:lnTo>
                  <a:lnTo>
                    <a:pt x="194" y="229"/>
                  </a:lnTo>
                  <a:lnTo>
                    <a:pt x="197" y="232"/>
                  </a:lnTo>
                  <a:lnTo>
                    <a:pt x="202" y="239"/>
                  </a:lnTo>
                  <a:lnTo>
                    <a:pt x="205" y="240"/>
                  </a:lnTo>
                  <a:lnTo>
                    <a:pt x="208" y="243"/>
                  </a:lnTo>
                  <a:lnTo>
                    <a:pt x="209" y="245"/>
                  </a:lnTo>
                  <a:lnTo>
                    <a:pt x="213" y="247"/>
                  </a:lnTo>
                  <a:lnTo>
                    <a:pt x="216" y="249"/>
                  </a:lnTo>
                  <a:lnTo>
                    <a:pt x="220" y="250"/>
                  </a:lnTo>
                  <a:lnTo>
                    <a:pt x="222" y="250"/>
                  </a:lnTo>
                  <a:lnTo>
                    <a:pt x="224" y="250"/>
                  </a:lnTo>
                  <a:lnTo>
                    <a:pt x="226" y="250"/>
                  </a:lnTo>
                  <a:lnTo>
                    <a:pt x="228" y="249"/>
                  </a:lnTo>
                  <a:lnTo>
                    <a:pt x="232" y="247"/>
                  </a:lnTo>
                  <a:lnTo>
                    <a:pt x="236" y="247"/>
                  </a:lnTo>
                  <a:lnTo>
                    <a:pt x="238" y="247"/>
                  </a:lnTo>
                  <a:lnTo>
                    <a:pt x="240" y="247"/>
                  </a:lnTo>
                  <a:lnTo>
                    <a:pt x="242" y="247"/>
                  </a:lnTo>
                  <a:lnTo>
                    <a:pt x="243" y="247"/>
                  </a:lnTo>
                  <a:lnTo>
                    <a:pt x="245" y="248"/>
                  </a:lnTo>
                  <a:lnTo>
                    <a:pt x="247" y="249"/>
                  </a:lnTo>
                  <a:lnTo>
                    <a:pt x="250" y="250"/>
                  </a:lnTo>
                  <a:lnTo>
                    <a:pt x="252" y="251"/>
                  </a:lnTo>
                  <a:lnTo>
                    <a:pt x="254" y="252"/>
                  </a:lnTo>
                  <a:lnTo>
                    <a:pt x="256" y="254"/>
                  </a:lnTo>
                  <a:lnTo>
                    <a:pt x="258" y="256"/>
                  </a:lnTo>
                  <a:lnTo>
                    <a:pt x="261" y="259"/>
                  </a:lnTo>
                  <a:lnTo>
                    <a:pt x="264" y="262"/>
                  </a:lnTo>
                  <a:lnTo>
                    <a:pt x="265" y="263"/>
                  </a:lnTo>
                  <a:lnTo>
                    <a:pt x="270" y="272"/>
                  </a:lnTo>
                  <a:lnTo>
                    <a:pt x="273" y="275"/>
                  </a:lnTo>
                  <a:lnTo>
                    <a:pt x="281" y="285"/>
                  </a:lnTo>
                  <a:lnTo>
                    <a:pt x="284" y="289"/>
                  </a:lnTo>
                  <a:lnTo>
                    <a:pt x="287" y="295"/>
                  </a:lnTo>
                  <a:lnTo>
                    <a:pt x="288" y="297"/>
                  </a:lnTo>
                  <a:lnTo>
                    <a:pt x="289" y="299"/>
                  </a:lnTo>
                  <a:lnTo>
                    <a:pt x="291" y="305"/>
                  </a:lnTo>
                  <a:lnTo>
                    <a:pt x="292" y="307"/>
                  </a:lnTo>
                  <a:lnTo>
                    <a:pt x="298" y="318"/>
                  </a:lnTo>
                  <a:lnTo>
                    <a:pt x="299" y="320"/>
                  </a:lnTo>
                  <a:lnTo>
                    <a:pt x="299" y="324"/>
                  </a:lnTo>
                  <a:lnTo>
                    <a:pt x="302" y="333"/>
                  </a:lnTo>
                  <a:lnTo>
                    <a:pt x="306" y="343"/>
                  </a:lnTo>
                  <a:lnTo>
                    <a:pt x="308" y="345"/>
                  </a:lnTo>
                  <a:lnTo>
                    <a:pt x="309" y="347"/>
                  </a:lnTo>
                  <a:lnTo>
                    <a:pt x="311" y="349"/>
                  </a:lnTo>
                  <a:lnTo>
                    <a:pt x="312" y="351"/>
                  </a:lnTo>
                  <a:lnTo>
                    <a:pt x="314" y="352"/>
                  </a:lnTo>
                  <a:lnTo>
                    <a:pt x="316" y="353"/>
                  </a:lnTo>
                  <a:lnTo>
                    <a:pt x="322" y="357"/>
                  </a:lnTo>
                  <a:lnTo>
                    <a:pt x="326" y="359"/>
                  </a:lnTo>
                  <a:lnTo>
                    <a:pt x="334" y="363"/>
                  </a:lnTo>
                  <a:lnTo>
                    <a:pt x="337" y="365"/>
                  </a:lnTo>
                  <a:lnTo>
                    <a:pt x="340" y="365"/>
                  </a:lnTo>
                  <a:lnTo>
                    <a:pt x="342" y="367"/>
                  </a:lnTo>
                  <a:lnTo>
                    <a:pt x="344" y="369"/>
                  </a:lnTo>
                  <a:lnTo>
                    <a:pt x="346" y="372"/>
                  </a:lnTo>
                  <a:lnTo>
                    <a:pt x="347" y="375"/>
                  </a:lnTo>
                  <a:lnTo>
                    <a:pt x="350" y="378"/>
                  </a:lnTo>
                  <a:lnTo>
                    <a:pt x="351" y="380"/>
                  </a:lnTo>
                  <a:lnTo>
                    <a:pt x="352" y="383"/>
                  </a:lnTo>
                  <a:lnTo>
                    <a:pt x="354" y="385"/>
                  </a:lnTo>
                  <a:lnTo>
                    <a:pt x="357" y="388"/>
                  </a:lnTo>
                  <a:lnTo>
                    <a:pt x="361" y="390"/>
                  </a:lnTo>
                  <a:lnTo>
                    <a:pt x="367" y="395"/>
                  </a:lnTo>
                  <a:lnTo>
                    <a:pt x="369" y="397"/>
                  </a:lnTo>
                  <a:lnTo>
                    <a:pt x="371" y="398"/>
                  </a:lnTo>
                  <a:lnTo>
                    <a:pt x="375" y="399"/>
                  </a:lnTo>
                  <a:lnTo>
                    <a:pt x="379" y="400"/>
                  </a:lnTo>
                  <a:lnTo>
                    <a:pt x="379" y="400"/>
                  </a:lnTo>
                  <a:lnTo>
                    <a:pt x="381" y="400"/>
                  </a:lnTo>
                  <a:lnTo>
                    <a:pt x="384" y="401"/>
                  </a:lnTo>
                  <a:lnTo>
                    <a:pt x="386" y="401"/>
                  </a:lnTo>
                  <a:lnTo>
                    <a:pt x="389" y="400"/>
                  </a:lnTo>
                  <a:lnTo>
                    <a:pt x="398" y="399"/>
                  </a:lnTo>
                  <a:lnTo>
                    <a:pt x="402" y="399"/>
                  </a:lnTo>
                  <a:lnTo>
                    <a:pt x="407" y="398"/>
                  </a:lnTo>
                  <a:lnTo>
                    <a:pt x="410" y="397"/>
                  </a:lnTo>
                  <a:lnTo>
                    <a:pt x="413" y="396"/>
                  </a:lnTo>
                  <a:lnTo>
                    <a:pt x="416" y="394"/>
                  </a:lnTo>
                  <a:lnTo>
                    <a:pt x="419" y="392"/>
                  </a:lnTo>
                  <a:lnTo>
                    <a:pt x="421" y="390"/>
                  </a:lnTo>
                  <a:lnTo>
                    <a:pt x="424" y="387"/>
                  </a:lnTo>
                  <a:lnTo>
                    <a:pt x="436" y="376"/>
                  </a:lnTo>
                  <a:lnTo>
                    <a:pt x="439" y="374"/>
                  </a:lnTo>
                  <a:lnTo>
                    <a:pt x="442" y="372"/>
                  </a:lnTo>
                  <a:lnTo>
                    <a:pt x="445" y="370"/>
                  </a:lnTo>
                  <a:lnTo>
                    <a:pt x="448" y="367"/>
                  </a:lnTo>
                  <a:lnTo>
                    <a:pt x="451" y="365"/>
                  </a:lnTo>
                  <a:lnTo>
                    <a:pt x="455" y="364"/>
                  </a:lnTo>
                  <a:lnTo>
                    <a:pt x="463" y="361"/>
                  </a:lnTo>
                  <a:lnTo>
                    <a:pt x="469" y="358"/>
                  </a:lnTo>
                  <a:lnTo>
                    <a:pt x="471" y="357"/>
                  </a:lnTo>
                  <a:lnTo>
                    <a:pt x="474" y="356"/>
                  </a:lnTo>
                  <a:lnTo>
                    <a:pt x="477" y="355"/>
                  </a:lnTo>
                  <a:lnTo>
                    <a:pt x="480" y="355"/>
                  </a:lnTo>
                  <a:lnTo>
                    <a:pt x="481" y="355"/>
                  </a:lnTo>
                  <a:lnTo>
                    <a:pt x="493" y="356"/>
                  </a:lnTo>
                  <a:lnTo>
                    <a:pt x="498" y="356"/>
                  </a:lnTo>
                  <a:lnTo>
                    <a:pt x="503" y="356"/>
                  </a:lnTo>
                  <a:lnTo>
                    <a:pt x="504" y="356"/>
                  </a:lnTo>
                  <a:lnTo>
                    <a:pt x="506" y="355"/>
                  </a:lnTo>
                  <a:lnTo>
                    <a:pt x="507" y="355"/>
                  </a:lnTo>
                  <a:lnTo>
                    <a:pt x="508" y="354"/>
                  </a:lnTo>
                  <a:lnTo>
                    <a:pt x="509" y="353"/>
                  </a:lnTo>
                  <a:lnTo>
                    <a:pt x="510" y="351"/>
                  </a:lnTo>
                  <a:lnTo>
                    <a:pt x="510" y="348"/>
                  </a:lnTo>
                  <a:lnTo>
                    <a:pt x="511" y="345"/>
                  </a:lnTo>
                  <a:lnTo>
                    <a:pt x="510" y="342"/>
                  </a:lnTo>
                  <a:lnTo>
                    <a:pt x="510" y="340"/>
                  </a:lnTo>
                  <a:lnTo>
                    <a:pt x="509" y="337"/>
                  </a:lnTo>
                  <a:lnTo>
                    <a:pt x="508" y="336"/>
                  </a:lnTo>
                  <a:lnTo>
                    <a:pt x="508" y="334"/>
                  </a:lnTo>
                  <a:lnTo>
                    <a:pt x="507" y="333"/>
                  </a:lnTo>
                  <a:lnTo>
                    <a:pt x="505" y="331"/>
                  </a:lnTo>
                  <a:lnTo>
                    <a:pt x="504" y="331"/>
                  </a:lnTo>
                  <a:lnTo>
                    <a:pt x="502" y="330"/>
                  </a:lnTo>
                  <a:lnTo>
                    <a:pt x="500" y="329"/>
                  </a:lnTo>
                  <a:lnTo>
                    <a:pt x="497" y="328"/>
                  </a:lnTo>
                  <a:lnTo>
                    <a:pt x="492" y="327"/>
                  </a:lnTo>
                  <a:lnTo>
                    <a:pt x="491" y="326"/>
                  </a:lnTo>
                  <a:lnTo>
                    <a:pt x="489" y="326"/>
                  </a:lnTo>
                  <a:lnTo>
                    <a:pt x="487" y="325"/>
                  </a:lnTo>
                  <a:lnTo>
                    <a:pt x="486" y="324"/>
                  </a:lnTo>
                  <a:lnTo>
                    <a:pt x="486" y="323"/>
                  </a:lnTo>
                  <a:lnTo>
                    <a:pt x="485" y="322"/>
                  </a:lnTo>
                  <a:lnTo>
                    <a:pt x="484" y="321"/>
                  </a:lnTo>
                  <a:lnTo>
                    <a:pt x="484" y="319"/>
                  </a:lnTo>
                  <a:lnTo>
                    <a:pt x="483" y="318"/>
                  </a:lnTo>
                  <a:lnTo>
                    <a:pt x="483" y="316"/>
                  </a:lnTo>
                  <a:lnTo>
                    <a:pt x="483" y="314"/>
                  </a:lnTo>
                  <a:lnTo>
                    <a:pt x="484" y="312"/>
                  </a:lnTo>
                  <a:lnTo>
                    <a:pt x="484" y="310"/>
                  </a:lnTo>
                  <a:lnTo>
                    <a:pt x="485" y="308"/>
                  </a:lnTo>
                  <a:lnTo>
                    <a:pt x="486" y="307"/>
                  </a:lnTo>
                  <a:lnTo>
                    <a:pt x="488" y="305"/>
                  </a:lnTo>
                  <a:lnTo>
                    <a:pt x="490" y="303"/>
                  </a:lnTo>
                  <a:lnTo>
                    <a:pt x="492" y="301"/>
                  </a:lnTo>
                  <a:lnTo>
                    <a:pt x="493" y="300"/>
                  </a:lnTo>
                  <a:lnTo>
                    <a:pt x="495" y="299"/>
                  </a:lnTo>
                  <a:lnTo>
                    <a:pt x="497" y="298"/>
                  </a:lnTo>
                  <a:lnTo>
                    <a:pt x="499" y="297"/>
                  </a:lnTo>
                  <a:lnTo>
                    <a:pt x="501" y="297"/>
                  </a:lnTo>
                  <a:lnTo>
                    <a:pt x="503" y="297"/>
                  </a:lnTo>
                  <a:lnTo>
                    <a:pt x="504" y="297"/>
                  </a:lnTo>
                  <a:lnTo>
                    <a:pt x="507" y="297"/>
                  </a:lnTo>
                  <a:lnTo>
                    <a:pt x="510" y="298"/>
                  </a:lnTo>
                  <a:lnTo>
                    <a:pt x="515" y="299"/>
                  </a:lnTo>
                  <a:lnTo>
                    <a:pt x="517" y="301"/>
                  </a:lnTo>
                  <a:lnTo>
                    <a:pt x="520" y="302"/>
                  </a:lnTo>
                  <a:lnTo>
                    <a:pt x="522" y="304"/>
                  </a:lnTo>
                  <a:lnTo>
                    <a:pt x="525" y="306"/>
                  </a:lnTo>
                  <a:lnTo>
                    <a:pt x="533" y="312"/>
                  </a:lnTo>
                  <a:lnTo>
                    <a:pt x="536" y="315"/>
                  </a:lnTo>
                  <a:lnTo>
                    <a:pt x="538" y="317"/>
                  </a:lnTo>
                  <a:lnTo>
                    <a:pt x="539" y="319"/>
                  </a:lnTo>
                  <a:lnTo>
                    <a:pt x="541" y="322"/>
                  </a:lnTo>
                  <a:lnTo>
                    <a:pt x="549" y="337"/>
                  </a:lnTo>
                  <a:lnTo>
                    <a:pt x="549" y="340"/>
                  </a:lnTo>
                  <a:lnTo>
                    <a:pt x="550" y="342"/>
                  </a:lnTo>
                  <a:lnTo>
                    <a:pt x="552" y="350"/>
                  </a:lnTo>
                  <a:lnTo>
                    <a:pt x="553" y="353"/>
                  </a:lnTo>
                  <a:lnTo>
                    <a:pt x="555" y="355"/>
                  </a:lnTo>
                  <a:lnTo>
                    <a:pt x="557" y="358"/>
                  </a:lnTo>
                  <a:lnTo>
                    <a:pt x="559" y="362"/>
                  </a:lnTo>
                  <a:lnTo>
                    <a:pt x="561" y="364"/>
                  </a:lnTo>
                  <a:lnTo>
                    <a:pt x="563" y="365"/>
                  </a:lnTo>
                  <a:lnTo>
                    <a:pt x="564" y="366"/>
                  </a:lnTo>
                  <a:lnTo>
                    <a:pt x="566" y="367"/>
                  </a:lnTo>
                  <a:lnTo>
                    <a:pt x="568" y="368"/>
                  </a:lnTo>
                  <a:lnTo>
                    <a:pt x="570" y="369"/>
                  </a:lnTo>
                  <a:lnTo>
                    <a:pt x="572" y="370"/>
                  </a:lnTo>
                  <a:lnTo>
                    <a:pt x="578" y="373"/>
                  </a:lnTo>
                  <a:lnTo>
                    <a:pt x="590" y="377"/>
                  </a:lnTo>
                  <a:lnTo>
                    <a:pt x="593" y="378"/>
                  </a:lnTo>
                  <a:lnTo>
                    <a:pt x="595" y="378"/>
                  </a:lnTo>
                  <a:lnTo>
                    <a:pt x="596" y="378"/>
                  </a:lnTo>
                  <a:lnTo>
                    <a:pt x="599" y="378"/>
                  </a:lnTo>
                  <a:lnTo>
                    <a:pt x="600" y="377"/>
                  </a:lnTo>
                  <a:lnTo>
                    <a:pt x="602" y="377"/>
                  </a:lnTo>
                  <a:lnTo>
                    <a:pt x="603" y="376"/>
                  </a:lnTo>
                  <a:lnTo>
                    <a:pt x="605" y="376"/>
                  </a:lnTo>
                  <a:lnTo>
                    <a:pt x="609" y="372"/>
                  </a:lnTo>
                  <a:lnTo>
                    <a:pt x="611" y="371"/>
                  </a:lnTo>
                  <a:lnTo>
                    <a:pt x="613" y="370"/>
                  </a:lnTo>
                  <a:lnTo>
                    <a:pt x="614" y="369"/>
                  </a:lnTo>
                  <a:lnTo>
                    <a:pt x="616" y="369"/>
                  </a:lnTo>
                  <a:lnTo>
                    <a:pt x="617" y="369"/>
                  </a:lnTo>
                  <a:lnTo>
                    <a:pt x="619" y="368"/>
                  </a:lnTo>
                  <a:lnTo>
                    <a:pt x="621" y="369"/>
                  </a:lnTo>
                  <a:lnTo>
                    <a:pt x="623" y="369"/>
                  </a:lnTo>
                  <a:lnTo>
                    <a:pt x="626" y="370"/>
                  </a:lnTo>
                  <a:lnTo>
                    <a:pt x="629" y="371"/>
                  </a:lnTo>
                  <a:lnTo>
                    <a:pt x="630" y="372"/>
                  </a:lnTo>
                  <a:lnTo>
                    <a:pt x="631" y="372"/>
                  </a:lnTo>
                  <a:lnTo>
                    <a:pt x="632" y="373"/>
                  </a:lnTo>
                  <a:lnTo>
                    <a:pt x="634" y="374"/>
                  </a:lnTo>
                  <a:lnTo>
                    <a:pt x="636" y="376"/>
                  </a:lnTo>
                  <a:lnTo>
                    <a:pt x="638" y="377"/>
                  </a:lnTo>
                  <a:lnTo>
                    <a:pt x="640" y="380"/>
                  </a:lnTo>
                  <a:lnTo>
                    <a:pt x="643" y="386"/>
                  </a:lnTo>
                  <a:lnTo>
                    <a:pt x="645" y="388"/>
                  </a:lnTo>
                  <a:lnTo>
                    <a:pt x="648" y="391"/>
                  </a:lnTo>
                  <a:lnTo>
                    <a:pt x="649" y="392"/>
                  </a:lnTo>
                  <a:lnTo>
                    <a:pt x="650" y="393"/>
                  </a:lnTo>
                  <a:lnTo>
                    <a:pt x="652" y="394"/>
                  </a:lnTo>
                  <a:lnTo>
                    <a:pt x="655" y="396"/>
                  </a:lnTo>
                  <a:lnTo>
                    <a:pt x="658" y="397"/>
                  </a:lnTo>
                  <a:lnTo>
                    <a:pt x="669" y="400"/>
                  </a:lnTo>
                  <a:lnTo>
                    <a:pt x="673" y="401"/>
                  </a:lnTo>
                  <a:lnTo>
                    <a:pt x="675" y="402"/>
                  </a:lnTo>
                  <a:lnTo>
                    <a:pt x="679" y="404"/>
                  </a:lnTo>
                  <a:lnTo>
                    <a:pt x="681" y="405"/>
                  </a:lnTo>
                  <a:lnTo>
                    <a:pt x="684" y="407"/>
                  </a:lnTo>
                  <a:lnTo>
                    <a:pt x="686" y="409"/>
                  </a:lnTo>
                  <a:lnTo>
                    <a:pt x="686" y="410"/>
                  </a:lnTo>
                  <a:lnTo>
                    <a:pt x="688" y="411"/>
                  </a:lnTo>
                  <a:lnTo>
                    <a:pt x="690" y="413"/>
                  </a:lnTo>
                  <a:lnTo>
                    <a:pt x="691" y="416"/>
                  </a:lnTo>
                  <a:lnTo>
                    <a:pt x="693" y="420"/>
                  </a:lnTo>
                  <a:lnTo>
                    <a:pt x="697" y="428"/>
                  </a:lnTo>
                  <a:lnTo>
                    <a:pt x="697" y="432"/>
                  </a:lnTo>
                  <a:lnTo>
                    <a:pt x="699" y="433"/>
                  </a:lnTo>
                  <a:lnTo>
                    <a:pt x="700" y="436"/>
                  </a:lnTo>
                  <a:lnTo>
                    <a:pt x="703" y="439"/>
                  </a:lnTo>
                  <a:lnTo>
                    <a:pt x="705" y="442"/>
                  </a:lnTo>
                  <a:lnTo>
                    <a:pt x="707" y="444"/>
                  </a:lnTo>
                  <a:lnTo>
                    <a:pt x="708" y="445"/>
                  </a:lnTo>
                  <a:lnTo>
                    <a:pt x="711" y="447"/>
                  </a:lnTo>
                  <a:lnTo>
                    <a:pt x="713" y="449"/>
                  </a:lnTo>
                  <a:lnTo>
                    <a:pt x="715" y="450"/>
                  </a:lnTo>
                  <a:lnTo>
                    <a:pt x="717" y="451"/>
                  </a:lnTo>
                  <a:lnTo>
                    <a:pt x="719" y="452"/>
                  </a:lnTo>
                  <a:lnTo>
                    <a:pt x="721" y="453"/>
                  </a:lnTo>
                  <a:lnTo>
                    <a:pt x="723" y="453"/>
                  </a:lnTo>
                  <a:lnTo>
                    <a:pt x="726" y="453"/>
                  </a:lnTo>
                  <a:lnTo>
                    <a:pt x="728" y="452"/>
                  </a:lnTo>
                  <a:lnTo>
                    <a:pt x="729" y="451"/>
                  </a:lnTo>
                  <a:lnTo>
                    <a:pt x="731" y="450"/>
                  </a:lnTo>
                  <a:lnTo>
                    <a:pt x="735" y="447"/>
                  </a:lnTo>
                  <a:lnTo>
                    <a:pt x="739" y="444"/>
                  </a:lnTo>
                  <a:lnTo>
                    <a:pt x="740" y="444"/>
                  </a:lnTo>
                  <a:lnTo>
                    <a:pt x="742" y="442"/>
                  </a:lnTo>
                  <a:lnTo>
                    <a:pt x="742" y="441"/>
                  </a:lnTo>
                  <a:lnTo>
                    <a:pt x="743" y="439"/>
                  </a:lnTo>
                  <a:lnTo>
                    <a:pt x="743" y="435"/>
                  </a:lnTo>
                  <a:lnTo>
                    <a:pt x="743" y="434"/>
                  </a:lnTo>
                  <a:lnTo>
                    <a:pt x="743" y="433"/>
                  </a:lnTo>
                  <a:lnTo>
                    <a:pt x="741" y="429"/>
                  </a:lnTo>
                  <a:lnTo>
                    <a:pt x="741" y="428"/>
                  </a:lnTo>
                  <a:lnTo>
                    <a:pt x="742" y="427"/>
                  </a:lnTo>
                  <a:lnTo>
                    <a:pt x="742" y="426"/>
                  </a:lnTo>
                  <a:lnTo>
                    <a:pt x="743" y="426"/>
                  </a:lnTo>
                  <a:lnTo>
                    <a:pt x="744" y="426"/>
                  </a:lnTo>
                  <a:lnTo>
                    <a:pt x="747" y="426"/>
                  </a:lnTo>
                  <a:lnTo>
                    <a:pt x="750" y="426"/>
                  </a:lnTo>
                  <a:lnTo>
                    <a:pt x="754" y="427"/>
                  </a:lnTo>
                  <a:lnTo>
                    <a:pt x="763" y="430"/>
                  </a:lnTo>
                  <a:lnTo>
                    <a:pt x="767" y="431"/>
                  </a:lnTo>
                  <a:lnTo>
                    <a:pt x="771" y="432"/>
                  </a:lnTo>
                  <a:lnTo>
                    <a:pt x="776" y="432"/>
                  </a:lnTo>
                  <a:lnTo>
                    <a:pt x="779" y="433"/>
                  </a:lnTo>
                  <a:lnTo>
                    <a:pt x="792" y="433"/>
                  </a:lnTo>
                  <a:lnTo>
                    <a:pt x="797" y="433"/>
                  </a:lnTo>
                  <a:lnTo>
                    <a:pt x="801" y="433"/>
                  </a:lnTo>
                  <a:lnTo>
                    <a:pt x="803" y="433"/>
                  </a:lnTo>
                  <a:lnTo>
                    <a:pt x="805" y="434"/>
                  </a:lnTo>
                  <a:lnTo>
                    <a:pt x="807" y="435"/>
                  </a:lnTo>
                  <a:lnTo>
                    <a:pt x="809" y="436"/>
                  </a:lnTo>
                  <a:lnTo>
                    <a:pt x="822" y="444"/>
                  </a:lnTo>
                  <a:lnTo>
                    <a:pt x="830" y="447"/>
                  </a:lnTo>
                  <a:lnTo>
                    <a:pt x="833" y="449"/>
                  </a:lnTo>
                  <a:lnTo>
                    <a:pt x="835" y="451"/>
                  </a:lnTo>
                  <a:lnTo>
                    <a:pt x="851" y="462"/>
                  </a:lnTo>
                  <a:lnTo>
                    <a:pt x="854" y="463"/>
                  </a:lnTo>
                  <a:lnTo>
                    <a:pt x="856" y="464"/>
                  </a:lnTo>
                  <a:lnTo>
                    <a:pt x="858" y="466"/>
                  </a:lnTo>
                  <a:lnTo>
                    <a:pt x="863" y="467"/>
                  </a:lnTo>
                  <a:lnTo>
                    <a:pt x="868" y="468"/>
                  </a:lnTo>
                  <a:lnTo>
                    <a:pt x="870" y="468"/>
                  </a:lnTo>
                  <a:lnTo>
                    <a:pt x="873" y="469"/>
                  </a:lnTo>
                  <a:lnTo>
                    <a:pt x="877" y="469"/>
                  </a:lnTo>
                  <a:lnTo>
                    <a:pt x="879" y="469"/>
                  </a:lnTo>
                  <a:lnTo>
                    <a:pt x="882" y="468"/>
                  </a:lnTo>
                  <a:lnTo>
                    <a:pt x="884" y="468"/>
                  </a:lnTo>
                  <a:lnTo>
                    <a:pt x="886" y="467"/>
                  </a:lnTo>
                  <a:lnTo>
                    <a:pt x="888" y="467"/>
                  </a:lnTo>
                  <a:lnTo>
                    <a:pt x="889" y="467"/>
                  </a:lnTo>
                  <a:lnTo>
                    <a:pt x="890" y="465"/>
                  </a:lnTo>
                  <a:lnTo>
                    <a:pt x="891" y="464"/>
                  </a:lnTo>
                  <a:lnTo>
                    <a:pt x="892" y="462"/>
                  </a:lnTo>
                  <a:lnTo>
                    <a:pt x="893" y="461"/>
                  </a:lnTo>
                  <a:lnTo>
                    <a:pt x="894" y="460"/>
                  </a:lnTo>
                  <a:lnTo>
                    <a:pt x="894" y="458"/>
                  </a:lnTo>
                  <a:lnTo>
                    <a:pt x="896" y="453"/>
                  </a:lnTo>
                  <a:lnTo>
                    <a:pt x="898" y="450"/>
                  </a:lnTo>
                  <a:lnTo>
                    <a:pt x="898" y="448"/>
                  </a:lnTo>
                  <a:lnTo>
                    <a:pt x="899" y="447"/>
                  </a:lnTo>
                  <a:lnTo>
                    <a:pt x="900" y="446"/>
                  </a:lnTo>
                  <a:lnTo>
                    <a:pt x="901" y="446"/>
                  </a:lnTo>
                  <a:lnTo>
                    <a:pt x="902" y="445"/>
                  </a:lnTo>
                  <a:lnTo>
                    <a:pt x="902" y="445"/>
                  </a:lnTo>
                  <a:lnTo>
                    <a:pt x="903" y="445"/>
                  </a:lnTo>
                  <a:lnTo>
                    <a:pt x="905" y="445"/>
                  </a:lnTo>
                  <a:lnTo>
                    <a:pt x="907" y="446"/>
                  </a:lnTo>
                  <a:lnTo>
                    <a:pt x="910" y="446"/>
                  </a:lnTo>
                  <a:lnTo>
                    <a:pt x="912" y="447"/>
                  </a:lnTo>
                  <a:lnTo>
                    <a:pt x="913" y="448"/>
                  </a:lnTo>
                  <a:lnTo>
                    <a:pt x="914" y="449"/>
                  </a:lnTo>
                  <a:lnTo>
                    <a:pt x="915" y="450"/>
                  </a:lnTo>
                  <a:lnTo>
                    <a:pt x="916" y="451"/>
                  </a:lnTo>
                  <a:lnTo>
                    <a:pt x="917" y="453"/>
                  </a:lnTo>
                  <a:lnTo>
                    <a:pt x="918" y="454"/>
                  </a:lnTo>
                  <a:lnTo>
                    <a:pt x="919" y="456"/>
                  </a:lnTo>
                  <a:lnTo>
                    <a:pt x="920" y="458"/>
                  </a:lnTo>
                  <a:lnTo>
                    <a:pt x="921" y="461"/>
                  </a:lnTo>
                  <a:lnTo>
                    <a:pt x="921" y="465"/>
                  </a:lnTo>
                  <a:lnTo>
                    <a:pt x="921" y="468"/>
                  </a:lnTo>
                  <a:lnTo>
                    <a:pt x="921" y="478"/>
                  </a:lnTo>
                  <a:lnTo>
                    <a:pt x="921" y="484"/>
                  </a:lnTo>
                  <a:lnTo>
                    <a:pt x="921" y="487"/>
                  </a:lnTo>
                  <a:lnTo>
                    <a:pt x="921" y="489"/>
                  </a:lnTo>
                  <a:lnTo>
                    <a:pt x="922" y="490"/>
                  </a:lnTo>
                  <a:lnTo>
                    <a:pt x="922" y="491"/>
                  </a:lnTo>
                  <a:lnTo>
                    <a:pt x="923" y="494"/>
                  </a:lnTo>
                  <a:lnTo>
                    <a:pt x="924" y="496"/>
                  </a:lnTo>
                  <a:lnTo>
                    <a:pt x="924" y="498"/>
                  </a:lnTo>
                  <a:lnTo>
                    <a:pt x="925" y="499"/>
                  </a:lnTo>
                  <a:lnTo>
                    <a:pt x="925" y="501"/>
                  </a:lnTo>
                  <a:lnTo>
                    <a:pt x="927" y="502"/>
                  </a:lnTo>
                  <a:lnTo>
                    <a:pt x="929" y="504"/>
                  </a:lnTo>
                  <a:lnTo>
                    <a:pt x="931" y="506"/>
                  </a:lnTo>
                  <a:lnTo>
                    <a:pt x="935" y="509"/>
                  </a:lnTo>
                  <a:lnTo>
                    <a:pt x="936" y="511"/>
                  </a:lnTo>
                  <a:lnTo>
                    <a:pt x="937" y="512"/>
                  </a:lnTo>
                  <a:lnTo>
                    <a:pt x="938" y="512"/>
                  </a:lnTo>
                  <a:lnTo>
                    <a:pt x="938" y="513"/>
                  </a:lnTo>
                  <a:lnTo>
                    <a:pt x="938" y="515"/>
                  </a:lnTo>
                  <a:lnTo>
                    <a:pt x="938" y="516"/>
                  </a:lnTo>
                  <a:lnTo>
                    <a:pt x="938" y="517"/>
                  </a:lnTo>
                  <a:lnTo>
                    <a:pt x="938" y="519"/>
                  </a:lnTo>
                  <a:lnTo>
                    <a:pt x="937" y="521"/>
                  </a:lnTo>
                  <a:lnTo>
                    <a:pt x="935" y="527"/>
                  </a:lnTo>
                  <a:lnTo>
                    <a:pt x="932" y="534"/>
                  </a:lnTo>
                  <a:lnTo>
                    <a:pt x="929" y="542"/>
                  </a:lnTo>
                  <a:lnTo>
                    <a:pt x="928" y="544"/>
                  </a:lnTo>
                  <a:lnTo>
                    <a:pt x="927" y="546"/>
                  </a:lnTo>
                  <a:lnTo>
                    <a:pt x="927" y="549"/>
                  </a:lnTo>
                  <a:lnTo>
                    <a:pt x="927" y="552"/>
                  </a:lnTo>
                  <a:lnTo>
                    <a:pt x="927" y="556"/>
                  </a:lnTo>
                  <a:lnTo>
                    <a:pt x="928" y="559"/>
                  </a:lnTo>
                  <a:lnTo>
                    <a:pt x="929" y="563"/>
                  </a:lnTo>
                  <a:lnTo>
                    <a:pt x="931" y="569"/>
                  </a:lnTo>
                  <a:lnTo>
                    <a:pt x="933" y="573"/>
                  </a:lnTo>
                  <a:lnTo>
                    <a:pt x="935" y="576"/>
                  </a:lnTo>
                  <a:lnTo>
                    <a:pt x="936" y="580"/>
                  </a:lnTo>
                  <a:lnTo>
                    <a:pt x="939" y="587"/>
                  </a:lnTo>
                  <a:lnTo>
                    <a:pt x="943" y="594"/>
                  </a:lnTo>
                  <a:lnTo>
                    <a:pt x="947" y="605"/>
                  </a:lnTo>
                  <a:lnTo>
                    <a:pt x="955" y="622"/>
                  </a:lnTo>
                  <a:lnTo>
                    <a:pt x="961" y="637"/>
                  </a:lnTo>
                  <a:lnTo>
                    <a:pt x="966" y="646"/>
                  </a:lnTo>
                  <a:lnTo>
                    <a:pt x="967" y="648"/>
                  </a:lnTo>
                  <a:lnTo>
                    <a:pt x="968" y="651"/>
                  </a:lnTo>
                  <a:lnTo>
                    <a:pt x="969" y="654"/>
                  </a:lnTo>
                  <a:lnTo>
                    <a:pt x="971" y="666"/>
                  </a:lnTo>
                  <a:lnTo>
                    <a:pt x="973" y="671"/>
                  </a:lnTo>
                  <a:lnTo>
                    <a:pt x="974" y="672"/>
                  </a:lnTo>
                  <a:lnTo>
                    <a:pt x="975" y="674"/>
                  </a:lnTo>
                  <a:lnTo>
                    <a:pt x="976" y="676"/>
                  </a:lnTo>
                  <a:lnTo>
                    <a:pt x="977" y="678"/>
                  </a:lnTo>
                  <a:lnTo>
                    <a:pt x="979" y="680"/>
                  </a:lnTo>
                  <a:lnTo>
                    <a:pt x="980" y="682"/>
                  </a:lnTo>
                  <a:lnTo>
                    <a:pt x="981" y="683"/>
                  </a:lnTo>
                  <a:lnTo>
                    <a:pt x="983" y="685"/>
                  </a:lnTo>
                  <a:lnTo>
                    <a:pt x="985" y="686"/>
                  </a:lnTo>
                  <a:lnTo>
                    <a:pt x="987" y="687"/>
                  </a:lnTo>
                  <a:lnTo>
                    <a:pt x="990" y="689"/>
                  </a:lnTo>
                  <a:lnTo>
                    <a:pt x="993" y="690"/>
                  </a:lnTo>
                  <a:lnTo>
                    <a:pt x="994" y="691"/>
                  </a:lnTo>
                  <a:lnTo>
                    <a:pt x="1006" y="694"/>
                  </a:lnTo>
                  <a:lnTo>
                    <a:pt x="1010" y="695"/>
                  </a:lnTo>
                  <a:lnTo>
                    <a:pt x="1019" y="696"/>
                  </a:lnTo>
                  <a:lnTo>
                    <a:pt x="1022" y="697"/>
                  </a:lnTo>
                  <a:lnTo>
                    <a:pt x="1025" y="697"/>
                  </a:lnTo>
                  <a:lnTo>
                    <a:pt x="1027" y="698"/>
                  </a:lnTo>
                  <a:lnTo>
                    <a:pt x="1030" y="699"/>
                  </a:lnTo>
                  <a:lnTo>
                    <a:pt x="1032" y="701"/>
                  </a:lnTo>
                  <a:lnTo>
                    <a:pt x="1035" y="703"/>
                  </a:lnTo>
                  <a:lnTo>
                    <a:pt x="1039" y="707"/>
                  </a:lnTo>
                  <a:lnTo>
                    <a:pt x="1044" y="712"/>
                  </a:lnTo>
                  <a:lnTo>
                    <a:pt x="1047" y="715"/>
                  </a:lnTo>
                  <a:lnTo>
                    <a:pt x="1048" y="716"/>
                  </a:lnTo>
                  <a:lnTo>
                    <a:pt x="1050" y="716"/>
                  </a:lnTo>
                  <a:lnTo>
                    <a:pt x="1053" y="718"/>
                  </a:lnTo>
                  <a:lnTo>
                    <a:pt x="1057" y="719"/>
                  </a:lnTo>
                  <a:lnTo>
                    <a:pt x="1061" y="720"/>
                  </a:lnTo>
                  <a:lnTo>
                    <a:pt x="1063" y="721"/>
                  </a:lnTo>
                  <a:lnTo>
                    <a:pt x="1065" y="721"/>
                  </a:lnTo>
                  <a:lnTo>
                    <a:pt x="1068" y="721"/>
                  </a:lnTo>
                  <a:lnTo>
                    <a:pt x="1070" y="721"/>
                  </a:lnTo>
                  <a:lnTo>
                    <a:pt x="1072" y="721"/>
                  </a:lnTo>
                  <a:lnTo>
                    <a:pt x="1079" y="720"/>
                  </a:lnTo>
                  <a:lnTo>
                    <a:pt x="1084" y="719"/>
                  </a:lnTo>
                  <a:lnTo>
                    <a:pt x="1086" y="719"/>
                  </a:lnTo>
                  <a:lnTo>
                    <a:pt x="1089" y="719"/>
                  </a:lnTo>
                  <a:lnTo>
                    <a:pt x="1092" y="720"/>
                  </a:lnTo>
                  <a:lnTo>
                    <a:pt x="1094" y="720"/>
                  </a:lnTo>
                  <a:lnTo>
                    <a:pt x="1096" y="721"/>
                  </a:lnTo>
                  <a:lnTo>
                    <a:pt x="1099" y="722"/>
                  </a:lnTo>
                  <a:lnTo>
                    <a:pt x="1102" y="723"/>
                  </a:lnTo>
                  <a:lnTo>
                    <a:pt x="1105" y="725"/>
                  </a:lnTo>
                  <a:lnTo>
                    <a:pt x="1106" y="727"/>
                  </a:lnTo>
                  <a:lnTo>
                    <a:pt x="1107" y="727"/>
                  </a:lnTo>
                  <a:lnTo>
                    <a:pt x="1109" y="729"/>
                  </a:lnTo>
                  <a:lnTo>
                    <a:pt x="1110" y="731"/>
                  </a:lnTo>
                  <a:lnTo>
                    <a:pt x="1111" y="734"/>
                  </a:lnTo>
                  <a:lnTo>
                    <a:pt x="1112" y="735"/>
                  </a:lnTo>
                  <a:lnTo>
                    <a:pt x="1113" y="740"/>
                  </a:lnTo>
                  <a:lnTo>
                    <a:pt x="1115" y="745"/>
                  </a:lnTo>
                  <a:lnTo>
                    <a:pt x="1117" y="756"/>
                  </a:lnTo>
                  <a:lnTo>
                    <a:pt x="1120" y="770"/>
                  </a:lnTo>
                  <a:lnTo>
                    <a:pt x="1127" y="792"/>
                  </a:lnTo>
                  <a:lnTo>
                    <a:pt x="1130" y="806"/>
                  </a:lnTo>
                  <a:lnTo>
                    <a:pt x="1131" y="809"/>
                  </a:lnTo>
                  <a:lnTo>
                    <a:pt x="1132" y="812"/>
                  </a:lnTo>
                  <a:lnTo>
                    <a:pt x="1134" y="816"/>
                  </a:lnTo>
                  <a:lnTo>
                    <a:pt x="1136" y="821"/>
                  </a:lnTo>
                  <a:lnTo>
                    <a:pt x="1137" y="824"/>
                  </a:lnTo>
                  <a:lnTo>
                    <a:pt x="1138" y="828"/>
                  </a:lnTo>
                  <a:lnTo>
                    <a:pt x="1140" y="837"/>
                  </a:lnTo>
                  <a:lnTo>
                    <a:pt x="1141" y="841"/>
                  </a:lnTo>
                  <a:lnTo>
                    <a:pt x="1142" y="845"/>
                  </a:lnTo>
                  <a:lnTo>
                    <a:pt x="1144" y="851"/>
                  </a:lnTo>
                  <a:lnTo>
                    <a:pt x="1146" y="855"/>
                  </a:lnTo>
                  <a:lnTo>
                    <a:pt x="1147" y="858"/>
                  </a:lnTo>
                  <a:lnTo>
                    <a:pt x="1151" y="864"/>
                  </a:lnTo>
                  <a:lnTo>
                    <a:pt x="1153" y="870"/>
                  </a:lnTo>
                  <a:lnTo>
                    <a:pt x="1155" y="873"/>
                  </a:lnTo>
                  <a:lnTo>
                    <a:pt x="1155" y="875"/>
                  </a:lnTo>
                  <a:lnTo>
                    <a:pt x="1156" y="878"/>
                  </a:lnTo>
                  <a:lnTo>
                    <a:pt x="1156" y="881"/>
                  </a:lnTo>
                  <a:lnTo>
                    <a:pt x="1156" y="884"/>
                  </a:lnTo>
                  <a:lnTo>
                    <a:pt x="1155" y="886"/>
                  </a:lnTo>
                  <a:lnTo>
                    <a:pt x="1154" y="888"/>
                  </a:lnTo>
                  <a:lnTo>
                    <a:pt x="1152" y="894"/>
                  </a:lnTo>
                  <a:lnTo>
                    <a:pt x="1151" y="900"/>
                  </a:lnTo>
                  <a:lnTo>
                    <a:pt x="1150" y="907"/>
                  </a:lnTo>
                  <a:lnTo>
                    <a:pt x="1149" y="908"/>
                  </a:lnTo>
                  <a:lnTo>
                    <a:pt x="1148" y="909"/>
                  </a:lnTo>
                  <a:lnTo>
                    <a:pt x="1147" y="910"/>
                  </a:lnTo>
                  <a:lnTo>
                    <a:pt x="1146" y="911"/>
                  </a:lnTo>
                  <a:lnTo>
                    <a:pt x="1144" y="911"/>
                  </a:lnTo>
                  <a:lnTo>
                    <a:pt x="1142" y="912"/>
                  </a:lnTo>
                  <a:lnTo>
                    <a:pt x="1140" y="913"/>
                  </a:lnTo>
                  <a:lnTo>
                    <a:pt x="1132" y="916"/>
                  </a:lnTo>
                  <a:lnTo>
                    <a:pt x="1129" y="917"/>
                  </a:lnTo>
                  <a:lnTo>
                    <a:pt x="1125" y="919"/>
                  </a:lnTo>
                  <a:lnTo>
                    <a:pt x="1121" y="920"/>
                  </a:lnTo>
                  <a:lnTo>
                    <a:pt x="1112" y="925"/>
                  </a:lnTo>
                  <a:lnTo>
                    <a:pt x="1107" y="928"/>
                  </a:lnTo>
                  <a:lnTo>
                    <a:pt x="1102" y="931"/>
                  </a:lnTo>
                  <a:lnTo>
                    <a:pt x="1093" y="937"/>
                  </a:lnTo>
                  <a:lnTo>
                    <a:pt x="1089" y="940"/>
                  </a:lnTo>
                  <a:lnTo>
                    <a:pt x="1085" y="942"/>
                  </a:lnTo>
                  <a:lnTo>
                    <a:pt x="1083" y="942"/>
                  </a:lnTo>
                  <a:lnTo>
                    <a:pt x="1081" y="943"/>
                  </a:lnTo>
                  <a:lnTo>
                    <a:pt x="1078" y="943"/>
                  </a:lnTo>
                  <a:lnTo>
                    <a:pt x="1075" y="943"/>
                  </a:lnTo>
                  <a:lnTo>
                    <a:pt x="1073" y="943"/>
                  </a:lnTo>
                  <a:lnTo>
                    <a:pt x="1072" y="943"/>
                  </a:lnTo>
                  <a:lnTo>
                    <a:pt x="1069" y="943"/>
                  </a:lnTo>
                  <a:lnTo>
                    <a:pt x="1065" y="942"/>
                  </a:lnTo>
                  <a:lnTo>
                    <a:pt x="1054" y="939"/>
                  </a:lnTo>
                  <a:lnTo>
                    <a:pt x="1050" y="938"/>
                  </a:lnTo>
                  <a:lnTo>
                    <a:pt x="1048" y="938"/>
                  </a:lnTo>
                  <a:lnTo>
                    <a:pt x="1044" y="937"/>
                  </a:lnTo>
                  <a:lnTo>
                    <a:pt x="1036" y="936"/>
                  </a:lnTo>
                  <a:lnTo>
                    <a:pt x="1027" y="934"/>
                  </a:lnTo>
                  <a:lnTo>
                    <a:pt x="1024" y="934"/>
                  </a:lnTo>
                  <a:lnTo>
                    <a:pt x="1020" y="934"/>
                  </a:lnTo>
                  <a:lnTo>
                    <a:pt x="1015" y="935"/>
                  </a:lnTo>
                  <a:lnTo>
                    <a:pt x="1007" y="937"/>
                  </a:lnTo>
                  <a:lnTo>
                    <a:pt x="993" y="940"/>
                  </a:lnTo>
                  <a:lnTo>
                    <a:pt x="987" y="941"/>
                  </a:lnTo>
                  <a:lnTo>
                    <a:pt x="981" y="941"/>
                  </a:lnTo>
                  <a:lnTo>
                    <a:pt x="980" y="941"/>
                  </a:lnTo>
                  <a:lnTo>
                    <a:pt x="977" y="941"/>
                  </a:lnTo>
                  <a:lnTo>
                    <a:pt x="974" y="941"/>
                  </a:lnTo>
                  <a:lnTo>
                    <a:pt x="971" y="940"/>
                  </a:lnTo>
                  <a:lnTo>
                    <a:pt x="970" y="940"/>
                  </a:lnTo>
                  <a:lnTo>
                    <a:pt x="968" y="939"/>
                  </a:lnTo>
                  <a:lnTo>
                    <a:pt x="962" y="936"/>
                  </a:lnTo>
                  <a:lnTo>
                    <a:pt x="960" y="935"/>
                  </a:lnTo>
                  <a:lnTo>
                    <a:pt x="958" y="934"/>
                  </a:lnTo>
                  <a:lnTo>
                    <a:pt x="954" y="934"/>
                  </a:lnTo>
                  <a:lnTo>
                    <a:pt x="952" y="934"/>
                  </a:lnTo>
                  <a:lnTo>
                    <a:pt x="949" y="934"/>
                  </a:lnTo>
                  <a:lnTo>
                    <a:pt x="947" y="934"/>
                  </a:lnTo>
                  <a:lnTo>
                    <a:pt x="944" y="935"/>
                  </a:lnTo>
                  <a:lnTo>
                    <a:pt x="941" y="935"/>
                  </a:lnTo>
                  <a:lnTo>
                    <a:pt x="939" y="936"/>
                  </a:lnTo>
                  <a:lnTo>
                    <a:pt x="937" y="937"/>
                  </a:lnTo>
                  <a:lnTo>
                    <a:pt x="936" y="938"/>
                  </a:lnTo>
                  <a:lnTo>
                    <a:pt x="933" y="939"/>
                  </a:lnTo>
                  <a:lnTo>
                    <a:pt x="930" y="941"/>
                  </a:lnTo>
                  <a:lnTo>
                    <a:pt x="928" y="942"/>
                  </a:lnTo>
                  <a:lnTo>
                    <a:pt x="925" y="944"/>
                  </a:lnTo>
                  <a:lnTo>
                    <a:pt x="925" y="946"/>
                  </a:lnTo>
                  <a:lnTo>
                    <a:pt x="923" y="948"/>
                  </a:lnTo>
                  <a:lnTo>
                    <a:pt x="922" y="951"/>
                  </a:lnTo>
                  <a:lnTo>
                    <a:pt x="920" y="953"/>
                  </a:lnTo>
                  <a:lnTo>
                    <a:pt x="920" y="955"/>
                  </a:lnTo>
                  <a:lnTo>
                    <a:pt x="919" y="956"/>
                  </a:lnTo>
                  <a:lnTo>
                    <a:pt x="919" y="959"/>
                  </a:lnTo>
                  <a:lnTo>
                    <a:pt x="918" y="961"/>
                  </a:lnTo>
                  <a:lnTo>
                    <a:pt x="918" y="964"/>
                  </a:lnTo>
                  <a:lnTo>
                    <a:pt x="919" y="970"/>
                  </a:lnTo>
                  <a:lnTo>
                    <a:pt x="919" y="973"/>
                  </a:lnTo>
                  <a:lnTo>
                    <a:pt x="919" y="976"/>
                  </a:lnTo>
                  <a:lnTo>
                    <a:pt x="918" y="978"/>
                  </a:lnTo>
                  <a:lnTo>
                    <a:pt x="918" y="980"/>
                  </a:lnTo>
                  <a:lnTo>
                    <a:pt x="917" y="983"/>
                  </a:lnTo>
                  <a:lnTo>
                    <a:pt x="915" y="986"/>
                  </a:lnTo>
                  <a:lnTo>
                    <a:pt x="913" y="989"/>
                  </a:lnTo>
                  <a:lnTo>
                    <a:pt x="911" y="994"/>
                  </a:lnTo>
                  <a:lnTo>
                    <a:pt x="904" y="1002"/>
                  </a:lnTo>
                  <a:lnTo>
                    <a:pt x="902" y="1005"/>
                  </a:lnTo>
                  <a:lnTo>
                    <a:pt x="895" y="1014"/>
                  </a:lnTo>
                  <a:lnTo>
                    <a:pt x="888" y="1023"/>
                  </a:lnTo>
                  <a:lnTo>
                    <a:pt x="886" y="1025"/>
                  </a:lnTo>
                  <a:lnTo>
                    <a:pt x="883" y="1030"/>
                  </a:lnTo>
                  <a:lnTo>
                    <a:pt x="879" y="1037"/>
                  </a:lnTo>
                  <a:lnTo>
                    <a:pt x="871" y="1048"/>
                  </a:lnTo>
                  <a:lnTo>
                    <a:pt x="869" y="1051"/>
                  </a:lnTo>
                  <a:lnTo>
                    <a:pt x="868" y="1054"/>
                  </a:lnTo>
                  <a:lnTo>
                    <a:pt x="865" y="1056"/>
                  </a:lnTo>
                  <a:lnTo>
                    <a:pt x="862" y="1058"/>
                  </a:lnTo>
                  <a:lnTo>
                    <a:pt x="860" y="1060"/>
                  </a:lnTo>
                  <a:lnTo>
                    <a:pt x="857" y="1063"/>
                  </a:lnTo>
                  <a:lnTo>
                    <a:pt x="855" y="1065"/>
                  </a:lnTo>
                  <a:lnTo>
                    <a:pt x="851" y="1067"/>
                  </a:lnTo>
                  <a:lnTo>
                    <a:pt x="848" y="1067"/>
                  </a:lnTo>
                  <a:lnTo>
                    <a:pt x="845" y="1068"/>
                  </a:lnTo>
                  <a:lnTo>
                    <a:pt x="843" y="1069"/>
                  </a:lnTo>
                  <a:lnTo>
                    <a:pt x="840" y="1070"/>
                  </a:lnTo>
                  <a:lnTo>
                    <a:pt x="837" y="1070"/>
                  </a:lnTo>
                  <a:lnTo>
                    <a:pt x="834" y="1070"/>
                  </a:lnTo>
                  <a:lnTo>
                    <a:pt x="832" y="1071"/>
                  </a:lnTo>
                  <a:lnTo>
                    <a:pt x="829" y="1070"/>
                  </a:lnTo>
                  <a:lnTo>
                    <a:pt x="819" y="1070"/>
                  </a:lnTo>
                  <a:lnTo>
                    <a:pt x="818" y="1070"/>
                  </a:lnTo>
                  <a:lnTo>
                    <a:pt x="817" y="1070"/>
                  </a:lnTo>
                  <a:lnTo>
                    <a:pt x="816" y="1069"/>
                  </a:lnTo>
                  <a:lnTo>
                    <a:pt x="813" y="1068"/>
                  </a:lnTo>
                  <a:lnTo>
                    <a:pt x="811" y="1067"/>
                  </a:lnTo>
                  <a:lnTo>
                    <a:pt x="808" y="1066"/>
                  </a:lnTo>
                  <a:lnTo>
                    <a:pt x="805" y="1064"/>
                  </a:lnTo>
                  <a:lnTo>
                    <a:pt x="803" y="1062"/>
                  </a:lnTo>
                  <a:lnTo>
                    <a:pt x="801" y="1061"/>
                  </a:lnTo>
                  <a:lnTo>
                    <a:pt x="799" y="1059"/>
                  </a:lnTo>
                  <a:lnTo>
                    <a:pt x="798" y="1057"/>
                  </a:lnTo>
                  <a:lnTo>
                    <a:pt x="797" y="1056"/>
                  </a:lnTo>
                  <a:lnTo>
                    <a:pt x="796" y="1054"/>
                  </a:lnTo>
                  <a:lnTo>
                    <a:pt x="795" y="1052"/>
                  </a:lnTo>
                  <a:lnTo>
                    <a:pt x="793" y="1048"/>
                  </a:lnTo>
                  <a:lnTo>
                    <a:pt x="788" y="1038"/>
                  </a:lnTo>
                  <a:lnTo>
                    <a:pt x="788" y="1036"/>
                  </a:lnTo>
                  <a:lnTo>
                    <a:pt x="787" y="1033"/>
                  </a:lnTo>
                  <a:lnTo>
                    <a:pt x="786" y="1032"/>
                  </a:lnTo>
                  <a:lnTo>
                    <a:pt x="784" y="1030"/>
                  </a:lnTo>
                  <a:lnTo>
                    <a:pt x="779" y="1023"/>
                  </a:lnTo>
                  <a:lnTo>
                    <a:pt x="777" y="1021"/>
                  </a:lnTo>
                  <a:lnTo>
                    <a:pt x="775" y="1019"/>
                  </a:lnTo>
                  <a:lnTo>
                    <a:pt x="773" y="1017"/>
                  </a:lnTo>
                  <a:lnTo>
                    <a:pt x="769" y="1014"/>
                  </a:lnTo>
                  <a:lnTo>
                    <a:pt x="757" y="1006"/>
                  </a:lnTo>
                  <a:lnTo>
                    <a:pt x="754" y="1003"/>
                  </a:lnTo>
                  <a:lnTo>
                    <a:pt x="753" y="1001"/>
                  </a:lnTo>
                  <a:lnTo>
                    <a:pt x="750" y="999"/>
                  </a:lnTo>
                  <a:lnTo>
                    <a:pt x="748" y="997"/>
                  </a:lnTo>
                  <a:lnTo>
                    <a:pt x="746" y="994"/>
                  </a:lnTo>
                  <a:lnTo>
                    <a:pt x="744" y="991"/>
                  </a:lnTo>
                  <a:lnTo>
                    <a:pt x="742" y="987"/>
                  </a:lnTo>
                  <a:lnTo>
                    <a:pt x="736" y="976"/>
                  </a:lnTo>
                  <a:lnTo>
                    <a:pt x="735" y="975"/>
                  </a:lnTo>
                  <a:lnTo>
                    <a:pt x="733" y="973"/>
                  </a:lnTo>
                  <a:lnTo>
                    <a:pt x="731" y="970"/>
                  </a:lnTo>
                  <a:lnTo>
                    <a:pt x="730" y="969"/>
                  </a:lnTo>
                  <a:lnTo>
                    <a:pt x="728" y="967"/>
                  </a:lnTo>
                  <a:lnTo>
                    <a:pt x="725" y="966"/>
                  </a:lnTo>
                  <a:lnTo>
                    <a:pt x="722" y="965"/>
                  </a:lnTo>
                  <a:lnTo>
                    <a:pt x="720" y="965"/>
                  </a:lnTo>
                  <a:lnTo>
                    <a:pt x="718" y="965"/>
                  </a:lnTo>
                  <a:lnTo>
                    <a:pt x="714" y="965"/>
                  </a:lnTo>
                  <a:lnTo>
                    <a:pt x="713" y="965"/>
                  </a:lnTo>
                  <a:lnTo>
                    <a:pt x="709" y="965"/>
                  </a:lnTo>
                  <a:lnTo>
                    <a:pt x="702" y="967"/>
                  </a:lnTo>
                  <a:lnTo>
                    <a:pt x="698" y="967"/>
                  </a:lnTo>
                  <a:lnTo>
                    <a:pt x="697" y="968"/>
                  </a:lnTo>
                  <a:lnTo>
                    <a:pt x="695" y="968"/>
                  </a:lnTo>
                  <a:lnTo>
                    <a:pt x="691" y="968"/>
                  </a:lnTo>
                  <a:lnTo>
                    <a:pt x="688" y="968"/>
                  </a:lnTo>
                  <a:lnTo>
                    <a:pt x="682" y="967"/>
                  </a:lnTo>
                  <a:lnTo>
                    <a:pt x="677" y="966"/>
                  </a:lnTo>
                  <a:lnTo>
                    <a:pt x="663" y="964"/>
                  </a:lnTo>
                  <a:lnTo>
                    <a:pt x="660" y="963"/>
                  </a:lnTo>
                  <a:lnTo>
                    <a:pt x="657" y="962"/>
                  </a:lnTo>
                  <a:lnTo>
                    <a:pt x="653" y="961"/>
                  </a:lnTo>
                  <a:lnTo>
                    <a:pt x="652" y="959"/>
                  </a:lnTo>
                  <a:lnTo>
                    <a:pt x="649" y="957"/>
                  </a:lnTo>
                  <a:lnTo>
                    <a:pt x="645" y="955"/>
                  </a:lnTo>
                  <a:lnTo>
                    <a:pt x="635" y="948"/>
                  </a:lnTo>
                  <a:lnTo>
                    <a:pt x="633" y="946"/>
                  </a:lnTo>
                  <a:lnTo>
                    <a:pt x="629" y="944"/>
                  </a:lnTo>
                  <a:lnTo>
                    <a:pt x="627" y="943"/>
                  </a:lnTo>
                  <a:lnTo>
                    <a:pt x="625" y="942"/>
                  </a:lnTo>
                  <a:lnTo>
                    <a:pt x="621" y="942"/>
                  </a:lnTo>
                  <a:lnTo>
                    <a:pt x="618" y="942"/>
                  </a:lnTo>
                  <a:lnTo>
                    <a:pt x="611" y="941"/>
                  </a:lnTo>
                  <a:lnTo>
                    <a:pt x="607" y="941"/>
                  </a:lnTo>
                  <a:lnTo>
                    <a:pt x="606" y="940"/>
                  </a:lnTo>
                  <a:lnTo>
                    <a:pt x="597" y="938"/>
                  </a:lnTo>
                  <a:lnTo>
                    <a:pt x="595" y="937"/>
                  </a:lnTo>
                  <a:lnTo>
                    <a:pt x="592" y="937"/>
                  </a:lnTo>
                  <a:lnTo>
                    <a:pt x="587" y="937"/>
                  </a:lnTo>
                  <a:lnTo>
                    <a:pt x="579" y="937"/>
                  </a:lnTo>
                  <a:lnTo>
                    <a:pt x="571" y="938"/>
                  </a:lnTo>
                  <a:lnTo>
                    <a:pt x="564" y="939"/>
                  </a:lnTo>
                  <a:lnTo>
                    <a:pt x="553" y="941"/>
                  </a:lnTo>
                  <a:lnTo>
                    <a:pt x="547" y="942"/>
                  </a:lnTo>
                  <a:lnTo>
                    <a:pt x="538" y="944"/>
                  </a:lnTo>
                  <a:lnTo>
                    <a:pt x="520" y="950"/>
                  </a:lnTo>
                  <a:lnTo>
                    <a:pt x="516" y="951"/>
                  </a:lnTo>
                  <a:lnTo>
                    <a:pt x="512" y="952"/>
                  </a:lnTo>
                  <a:lnTo>
                    <a:pt x="510" y="952"/>
                  </a:lnTo>
                  <a:lnTo>
                    <a:pt x="507" y="952"/>
                  </a:lnTo>
                  <a:lnTo>
                    <a:pt x="504" y="952"/>
                  </a:lnTo>
                  <a:lnTo>
                    <a:pt x="503" y="952"/>
                  </a:lnTo>
                  <a:lnTo>
                    <a:pt x="501" y="951"/>
                  </a:lnTo>
                  <a:lnTo>
                    <a:pt x="499" y="950"/>
                  </a:lnTo>
                  <a:lnTo>
                    <a:pt x="498" y="949"/>
                  </a:lnTo>
                  <a:lnTo>
                    <a:pt x="497" y="947"/>
                  </a:lnTo>
                  <a:lnTo>
                    <a:pt x="495" y="945"/>
                  </a:lnTo>
                  <a:lnTo>
                    <a:pt x="494" y="943"/>
                  </a:lnTo>
                  <a:lnTo>
                    <a:pt x="491" y="937"/>
                  </a:lnTo>
                  <a:lnTo>
                    <a:pt x="489" y="934"/>
                  </a:lnTo>
                  <a:lnTo>
                    <a:pt x="488" y="933"/>
                  </a:lnTo>
                  <a:lnTo>
                    <a:pt x="485" y="931"/>
                  </a:lnTo>
                  <a:lnTo>
                    <a:pt x="482" y="928"/>
                  </a:lnTo>
                  <a:lnTo>
                    <a:pt x="480" y="926"/>
                  </a:lnTo>
                  <a:lnTo>
                    <a:pt x="477" y="924"/>
                  </a:lnTo>
                  <a:lnTo>
                    <a:pt x="474" y="922"/>
                  </a:lnTo>
                  <a:lnTo>
                    <a:pt x="470" y="920"/>
                  </a:lnTo>
                  <a:lnTo>
                    <a:pt x="467" y="920"/>
                  </a:lnTo>
                  <a:lnTo>
                    <a:pt x="462" y="918"/>
                  </a:lnTo>
                  <a:lnTo>
                    <a:pt x="458" y="917"/>
                  </a:lnTo>
                  <a:lnTo>
                    <a:pt x="454" y="917"/>
                  </a:lnTo>
                  <a:lnTo>
                    <a:pt x="450" y="917"/>
                  </a:lnTo>
                  <a:lnTo>
                    <a:pt x="448" y="917"/>
                  </a:lnTo>
                  <a:lnTo>
                    <a:pt x="447" y="917"/>
                  </a:lnTo>
                  <a:lnTo>
                    <a:pt x="446" y="917"/>
                  </a:lnTo>
                  <a:lnTo>
                    <a:pt x="444" y="918"/>
                  </a:lnTo>
                  <a:lnTo>
                    <a:pt x="442" y="919"/>
                  </a:lnTo>
                  <a:lnTo>
                    <a:pt x="438" y="919"/>
                  </a:lnTo>
                  <a:lnTo>
                    <a:pt x="436" y="919"/>
                  </a:lnTo>
                  <a:lnTo>
                    <a:pt x="436" y="919"/>
                  </a:lnTo>
                  <a:lnTo>
                    <a:pt x="435" y="917"/>
                  </a:lnTo>
                  <a:lnTo>
                    <a:pt x="432" y="911"/>
                  </a:lnTo>
                  <a:lnTo>
                    <a:pt x="428" y="903"/>
                  </a:lnTo>
                  <a:lnTo>
                    <a:pt x="426" y="899"/>
                  </a:lnTo>
                  <a:lnTo>
                    <a:pt x="424" y="896"/>
                  </a:lnTo>
                  <a:lnTo>
                    <a:pt x="422" y="893"/>
                  </a:lnTo>
                  <a:lnTo>
                    <a:pt x="421" y="892"/>
                  </a:lnTo>
                  <a:lnTo>
                    <a:pt x="420" y="891"/>
                  </a:lnTo>
                  <a:lnTo>
                    <a:pt x="419" y="891"/>
                  </a:lnTo>
                  <a:lnTo>
                    <a:pt x="418" y="891"/>
                  </a:lnTo>
                  <a:lnTo>
                    <a:pt x="417" y="891"/>
                  </a:lnTo>
                  <a:lnTo>
                    <a:pt x="415" y="891"/>
                  </a:lnTo>
                  <a:lnTo>
                    <a:pt x="413" y="891"/>
                  </a:lnTo>
                  <a:lnTo>
                    <a:pt x="411" y="891"/>
                  </a:lnTo>
                  <a:lnTo>
                    <a:pt x="409" y="892"/>
                  </a:lnTo>
                  <a:lnTo>
                    <a:pt x="407" y="893"/>
                  </a:lnTo>
                  <a:lnTo>
                    <a:pt x="405" y="895"/>
                  </a:lnTo>
                  <a:lnTo>
                    <a:pt x="402" y="897"/>
                  </a:lnTo>
                  <a:lnTo>
                    <a:pt x="397" y="901"/>
                  </a:lnTo>
                  <a:lnTo>
                    <a:pt x="395" y="903"/>
                  </a:lnTo>
                  <a:lnTo>
                    <a:pt x="394" y="903"/>
                  </a:lnTo>
                  <a:lnTo>
                    <a:pt x="392" y="903"/>
                  </a:lnTo>
                  <a:lnTo>
                    <a:pt x="391" y="903"/>
                  </a:lnTo>
                  <a:lnTo>
                    <a:pt x="390" y="902"/>
                  </a:lnTo>
                  <a:lnTo>
                    <a:pt x="389" y="901"/>
                  </a:lnTo>
                  <a:lnTo>
                    <a:pt x="388" y="900"/>
                  </a:lnTo>
                  <a:lnTo>
                    <a:pt x="387" y="899"/>
                  </a:lnTo>
                  <a:lnTo>
                    <a:pt x="386" y="896"/>
                  </a:lnTo>
                  <a:lnTo>
                    <a:pt x="385" y="893"/>
                  </a:lnTo>
                  <a:lnTo>
                    <a:pt x="385" y="892"/>
                  </a:lnTo>
                  <a:lnTo>
                    <a:pt x="385" y="891"/>
                  </a:lnTo>
                  <a:lnTo>
                    <a:pt x="385" y="889"/>
                  </a:lnTo>
                  <a:lnTo>
                    <a:pt x="386" y="886"/>
                  </a:lnTo>
                  <a:lnTo>
                    <a:pt x="387" y="885"/>
                  </a:lnTo>
                  <a:lnTo>
                    <a:pt x="389" y="881"/>
                  </a:lnTo>
                  <a:lnTo>
                    <a:pt x="390" y="878"/>
                  </a:lnTo>
                  <a:lnTo>
                    <a:pt x="390" y="877"/>
                  </a:lnTo>
                  <a:lnTo>
                    <a:pt x="390" y="875"/>
                  </a:lnTo>
                  <a:lnTo>
                    <a:pt x="390" y="874"/>
                  </a:lnTo>
                  <a:lnTo>
                    <a:pt x="390" y="873"/>
                  </a:lnTo>
                  <a:lnTo>
                    <a:pt x="389" y="870"/>
                  </a:lnTo>
                  <a:lnTo>
                    <a:pt x="387" y="868"/>
                  </a:lnTo>
                  <a:lnTo>
                    <a:pt x="384" y="862"/>
                  </a:lnTo>
                  <a:lnTo>
                    <a:pt x="379" y="854"/>
                  </a:lnTo>
                  <a:lnTo>
                    <a:pt x="376" y="849"/>
                  </a:lnTo>
                  <a:lnTo>
                    <a:pt x="371" y="844"/>
                  </a:lnTo>
                  <a:lnTo>
                    <a:pt x="369" y="841"/>
                  </a:lnTo>
                  <a:lnTo>
                    <a:pt x="364" y="836"/>
                  </a:lnTo>
                  <a:lnTo>
                    <a:pt x="355" y="827"/>
                  </a:lnTo>
                  <a:lnTo>
                    <a:pt x="352" y="824"/>
                  </a:lnTo>
                  <a:lnTo>
                    <a:pt x="348" y="821"/>
                  </a:lnTo>
                  <a:lnTo>
                    <a:pt x="329" y="807"/>
                  </a:lnTo>
                  <a:lnTo>
                    <a:pt x="327" y="806"/>
                  </a:lnTo>
                  <a:lnTo>
                    <a:pt x="325" y="804"/>
                  </a:lnTo>
                  <a:lnTo>
                    <a:pt x="324" y="803"/>
                  </a:lnTo>
                  <a:lnTo>
                    <a:pt x="322" y="801"/>
                  </a:lnTo>
                  <a:lnTo>
                    <a:pt x="319" y="795"/>
                  </a:lnTo>
                  <a:lnTo>
                    <a:pt x="318" y="793"/>
                  </a:lnTo>
                  <a:lnTo>
                    <a:pt x="314" y="786"/>
                  </a:lnTo>
                  <a:lnTo>
                    <a:pt x="313" y="784"/>
                  </a:lnTo>
                  <a:lnTo>
                    <a:pt x="311" y="781"/>
                  </a:lnTo>
                  <a:lnTo>
                    <a:pt x="309" y="777"/>
                  </a:lnTo>
                  <a:lnTo>
                    <a:pt x="305" y="773"/>
                  </a:lnTo>
                  <a:lnTo>
                    <a:pt x="303" y="771"/>
                  </a:lnTo>
                  <a:lnTo>
                    <a:pt x="301" y="769"/>
                  </a:lnTo>
                  <a:lnTo>
                    <a:pt x="299" y="767"/>
                  </a:lnTo>
                  <a:lnTo>
                    <a:pt x="297" y="766"/>
                  </a:lnTo>
                  <a:lnTo>
                    <a:pt x="296" y="765"/>
                  </a:lnTo>
                  <a:lnTo>
                    <a:pt x="295" y="765"/>
                  </a:lnTo>
                  <a:lnTo>
                    <a:pt x="294" y="765"/>
                  </a:lnTo>
                  <a:lnTo>
                    <a:pt x="293" y="765"/>
                  </a:lnTo>
                  <a:lnTo>
                    <a:pt x="292" y="765"/>
                  </a:lnTo>
                  <a:lnTo>
                    <a:pt x="290" y="766"/>
                  </a:lnTo>
                  <a:lnTo>
                    <a:pt x="289" y="766"/>
                  </a:lnTo>
                  <a:lnTo>
                    <a:pt x="286" y="769"/>
                  </a:lnTo>
                  <a:lnTo>
                    <a:pt x="285" y="770"/>
                  </a:lnTo>
                  <a:lnTo>
                    <a:pt x="284" y="770"/>
                  </a:lnTo>
                  <a:lnTo>
                    <a:pt x="282" y="771"/>
                  </a:lnTo>
                  <a:lnTo>
                    <a:pt x="280" y="771"/>
                  </a:lnTo>
                  <a:lnTo>
                    <a:pt x="278" y="771"/>
                  </a:lnTo>
                  <a:lnTo>
                    <a:pt x="277" y="771"/>
                  </a:lnTo>
                  <a:lnTo>
                    <a:pt x="275" y="770"/>
                  </a:lnTo>
                  <a:lnTo>
                    <a:pt x="271" y="768"/>
                  </a:lnTo>
                  <a:lnTo>
                    <a:pt x="269" y="767"/>
                  </a:lnTo>
                  <a:lnTo>
                    <a:pt x="266" y="765"/>
                  </a:lnTo>
                  <a:lnTo>
                    <a:pt x="264" y="763"/>
                  </a:lnTo>
                  <a:lnTo>
                    <a:pt x="262" y="761"/>
                  </a:lnTo>
                  <a:lnTo>
                    <a:pt x="260" y="760"/>
                  </a:lnTo>
                  <a:lnTo>
                    <a:pt x="258" y="758"/>
                  </a:lnTo>
                  <a:lnTo>
                    <a:pt x="256" y="756"/>
                  </a:lnTo>
                  <a:lnTo>
                    <a:pt x="255" y="753"/>
                  </a:lnTo>
                  <a:lnTo>
                    <a:pt x="254" y="750"/>
                  </a:lnTo>
                  <a:lnTo>
                    <a:pt x="253" y="748"/>
                  </a:lnTo>
                  <a:lnTo>
                    <a:pt x="252" y="743"/>
                  </a:lnTo>
                  <a:lnTo>
                    <a:pt x="252" y="739"/>
                  </a:lnTo>
                  <a:lnTo>
                    <a:pt x="251" y="736"/>
                  </a:lnTo>
                  <a:lnTo>
                    <a:pt x="251" y="732"/>
                  </a:lnTo>
                  <a:lnTo>
                    <a:pt x="251" y="729"/>
                  </a:lnTo>
                  <a:lnTo>
                    <a:pt x="251" y="727"/>
                  </a:lnTo>
                  <a:lnTo>
                    <a:pt x="251" y="724"/>
                  </a:lnTo>
                  <a:lnTo>
                    <a:pt x="252" y="721"/>
                  </a:lnTo>
                  <a:lnTo>
                    <a:pt x="253" y="716"/>
                  </a:lnTo>
                  <a:lnTo>
                    <a:pt x="254" y="705"/>
                  </a:lnTo>
                  <a:lnTo>
                    <a:pt x="255" y="704"/>
                  </a:lnTo>
                  <a:lnTo>
                    <a:pt x="255" y="701"/>
                  </a:lnTo>
                  <a:lnTo>
                    <a:pt x="256" y="698"/>
                  </a:lnTo>
                  <a:lnTo>
                    <a:pt x="256" y="694"/>
                  </a:lnTo>
                  <a:lnTo>
                    <a:pt x="255" y="692"/>
                  </a:lnTo>
                  <a:lnTo>
                    <a:pt x="255" y="689"/>
                  </a:lnTo>
                  <a:lnTo>
                    <a:pt x="254" y="685"/>
                  </a:lnTo>
                  <a:lnTo>
                    <a:pt x="254" y="681"/>
                  </a:lnTo>
                  <a:lnTo>
                    <a:pt x="253" y="677"/>
                  </a:lnTo>
                  <a:lnTo>
                    <a:pt x="252" y="674"/>
                  </a:lnTo>
                  <a:lnTo>
                    <a:pt x="251" y="671"/>
                  </a:lnTo>
                  <a:lnTo>
                    <a:pt x="249" y="669"/>
                  </a:lnTo>
                  <a:lnTo>
                    <a:pt x="247" y="667"/>
                  </a:lnTo>
                  <a:lnTo>
                    <a:pt x="245" y="665"/>
                  </a:lnTo>
                  <a:lnTo>
                    <a:pt x="244" y="664"/>
                  </a:lnTo>
                  <a:lnTo>
                    <a:pt x="243" y="663"/>
                  </a:lnTo>
                  <a:lnTo>
                    <a:pt x="242" y="662"/>
                  </a:lnTo>
                  <a:lnTo>
                    <a:pt x="241" y="662"/>
                  </a:lnTo>
                  <a:lnTo>
                    <a:pt x="240" y="662"/>
                  </a:lnTo>
                  <a:lnTo>
                    <a:pt x="238" y="662"/>
                  </a:lnTo>
                  <a:lnTo>
                    <a:pt x="236" y="662"/>
                  </a:lnTo>
                  <a:lnTo>
                    <a:pt x="234" y="662"/>
                  </a:lnTo>
                  <a:lnTo>
                    <a:pt x="228" y="664"/>
                  </a:lnTo>
                  <a:lnTo>
                    <a:pt x="225" y="665"/>
                  </a:lnTo>
                  <a:lnTo>
                    <a:pt x="212" y="669"/>
                  </a:lnTo>
                  <a:lnTo>
                    <a:pt x="208" y="671"/>
                  </a:lnTo>
                  <a:lnTo>
                    <a:pt x="204" y="672"/>
                  </a:lnTo>
                  <a:lnTo>
                    <a:pt x="198" y="674"/>
                  </a:lnTo>
                  <a:lnTo>
                    <a:pt x="194" y="676"/>
                  </a:lnTo>
                  <a:lnTo>
                    <a:pt x="192" y="677"/>
                  </a:lnTo>
                  <a:lnTo>
                    <a:pt x="190" y="677"/>
                  </a:lnTo>
                  <a:lnTo>
                    <a:pt x="188" y="678"/>
                  </a:lnTo>
                  <a:lnTo>
                    <a:pt x="186" y="677"/>
                  </a:lnTo>
                  <a:lnTo>
                    <a:pt x="185" y="677"/>
                  </a:lnTo>
                  <a:lnTo>
                    <a:pt x="176" y="676"/>
                  </a:lnTo>
                  <a:lnTo>
                    <a:pt x="174" y="675"/>
                  </a:lnTo>
                  <a:lnTo>
                    <a:pt x="172" y="674"/>
                  </a:lnTo>
                  <a:lnTo>
                    <a:pt x="167" y="672"/>
                  </a:lnTo>
                  <a:lnTo>
                    <a:pt x="157" y="668"/>
                  </a:lnTo>
                  <a:lnTo>
                    <a:pt x="154" y="667"/>
                  </a:lnTo>
                  <a:lnTo>
                    <a:pt x="151" y="664"/>
                  </a:lnTo>
                  <a:lnTo>
                    <a:pt x="149" y="663"/>
                  </a:lnTo>
                  <a:lnTo>
                    <a:pt x="145" y="659"/>
                  </a:lnTo>
                  <a:lnTo>
                    <a:pt x="142" y="657"/>
                  </a:lnTo>
                  <a:lnTo>
                    <a:pt x="140" y="656"/>
                  </a:lnTo>
                  <a:lnTo>
                    <a:pt x="138" y="654"/>
                  </a:lnTo>
                  <a:lnTo>
                    <a:pt x="133" y="652"/>
                  </a:lnTo>
                  <a:lnTo>
                    <a:pt x="131" y="651"/>
                  </a:lnTo>
                  <a:lnTo>
                    <a:pt x="129" y="649"/>
                  </a:lnTo>
                  <a:lnTo>
                    <a:pt x="127" y="648"/>
                  </a:lnTo>
                  <a:lnTo>
                    <a:pt x="126" y="646"/>
                  </a:lnTo>
                  <a:lnTo>
                    <a:pt x="124" y="643"/>
                  </a:lnTo>
                  <a:lnTo>
                    <a:pt x="122" y="641"/>
                  </a:lnTo>
                  <a:lnTo>
                    <a:pt x="119" y="636"/>
                  </a:lnTo>
                  <a:lnTo>
                    <a:pt x="117" y="633"/>
                  </a:lnTo>
                  <a:lnTo>
                    <a:pt x="116" y="631"/>
                  </a:lnTo>
                  <a:lnTo>
                    <a:pt x="109" y="624"/>
                  </a:lnTo>
                  <a:lnTo>
                    <a:pt x="107" y="622"/>
                  </a:lnTo>
                  <a:lnTo>
                    <a:pt x="106" y="621"/>
                  </a:lnTo>
                  <a:lnTo>
                    <a:pt x="106" y="619"/>
                  </a:lnTo>
                  <a:lnTo>
                    <a:pt x="106" y="616"/>
                  </a:lnTo>
                  <a:lnTo>
                    <a:pt x="105" y="614"/>
                  </a:lnTo>
                  <a:lnTo>
                    <a:pt x="105" y="609"/>
                  </a:lnTo>
                  <a:lnTo>
                    <a:pt x="104" y="607"/>
                  </a:lnTo>
                  <a:lnTo>
                    <a:pt x="104" y="605"/>
                  </a:lnTo>
                  <a:lnTo>
                    <a:pt x="103" y="604"/>
                  </a:lnTo>
                  <a:lnTo>
                    <a:pt x="102" y="603"/>
                  </a:lnTo>
                  <a:lnTo>
                    <a:pt x="100" y="601"/>
                  </a:lnTo>
                  <a:lnTo>
                    <a:pt x="99" y="599"/>
                  </a:lnTo>
                  <a:lnTo>
                    <a:pt x="95" y="592"/>
                  </a:lnTo>
                  <a:lnTo>
                    <a:pt x="94" y="590"/>
                  </a:lnTo>
                  <a:lnTo>
                    <a:pt x="93" y="585"/>
                  </a:lnTo>
                  <a:lnTo>
                    <a:pt x="92" y="582"/>
                  </a:lnTo>
                  <a:lnTo>
                    <a:pt x="92" y="579"/>
                  </a:lnTo>
                  <a:lnTo>
                    <a:pt x="92" y="577"/>
                  </a:lnTo>
                  <a:lnTo>
                    <a:pt x="92" y="571"/>
                  </a:lnTo>
                  <a:lnTo>
                    <a:pt x="91" y="569"/>
                  </a:lnTo>
                  <a:lnTo>
                    <a:pt x="91" y="565"/>
                  </a:lnTo>
                  <a:lnTo>
                    <a:pt x="89" y="561"/>
                  </a:lnTo>
                  <a:lnTo>
                    <a:pt x="88" y="557"/>
                  </a:lnTo>
                  <a:lnTo>
                    <a:pt x="84" y="551"/>
                  </a:lnTo>
                  <a:lnTo>
                    <a:pt x="81" y="545"/>
                  </a:lnTo>
                  <a:lnTo>
                    <a:pt x="80" y="543"/>
                  </a:lnTo>
                  <a:lnTo>
                    <a:pt x="79" y="542"/>
                  </a:lnTo>
                  <a:lnTo>
                    <a:pt x="78" y="541"/>
                  </a:lnTo>
                  <a:lnTo>
                    <a:pt x="77" y="540"/>
                  </a:lnTo>
                  <a:lnTo>
                    <a:pt x="75" y="539"/>
                  </a:lnTo>
                  <a:lnTo>
                    <a:pt x="73" y="539"/>
                  </a:lnTo>
                  <a:lnTo>
                    <a:pt x="72" y="539"/>
                  </a:lnTo>
                  <a:lnTo>
                    <a:pt x="70" y="539"/>
                  </a:lnTo>
                  <a:lnTo>
                    <a:pt x="68" y="540"/>
                  </a:lnTo>
                  <a:lnTo>
                    <a:pt x="67" y="541"/>
                  </a:lnTo>
                  <a:lnTo>
                    <a:pt x="66" y="542"/>
                  </a:lnTo>
                  <a:lnTo>
                    <a:pt x="65" y="544"/>
                  </a:lnTo>
                  <a:lnTo>
                    <a:pt x="65" y="545"/>
                  </a:lnTo>
                  <a:lnTo>
                    <a:pt x="65" y="546"/>
                  </a:lnTo>
                  <a:lnTo>
                    <a:pt x="65" y="549"/>
                  </a:lnTo>
                  <a:lnTo>
                    <a:pt x="70" y="568"/>
                  </a:lnTo>
                  <a:lnTo>
                    <a:pt x="71" y="570"/>
                  </a:lnTo>
                  <a:lnTo>
                    <a:pt x="71" y="572"/>
                  </a:lnTo>
                  <a:lnTo>
                    <a:pt x="71" y="575"/>
                  </a:lnTo>
                  <a:lnTo>
                    <a:pt x="71" y="577"/>
                  </a:lnTo>
                  <a:lnTo>
                    <a:pt x="70" y="579"/>
                  </a:lnTo>
                  <a:lnTo>
                    <a:pt x="69" y="580"/>
                  </a:lnTo>
                  <a:lnTo>
                    <a:pt x="67" y="583"/>
                  </a:lnTo>
                  <a:lnTo>
                    <a:pt x="65" y="585"/>
                  </a:lnTo>
                  <a:lnTo>
                    <a:pt x="63" y="587"/>
                  </a:lnTo>
                  <a:lnTo>
                    <a:pt x="61" y="588"/>
                  </a:lnTo>
                  <a:lnTo>
                    <a:pt x="60" y="588"/>
                  </a:lnTo>
                  <a:lnTo>
                    <a:pt x="59" y="588"/>
                  </a:lnTo>
                  <a:lnTo>
                    <a:pt x="58" y="589"/>
                  </a:lnTo>
                  <a:lnTo>
                    <a:pt x="57" y="588"/>
                  </a:lnTo>
                  <a:lnTo>
                    <a:pt x="54" y="587"/>
                  </a:lnTo>
                  <a:lnTo>
                    <a:pt x="53" y="587"/>
                  </a:lnTo>
                  <a:lnTo>
                    <a:pt x="52" y="587"/>
                  </a:lnTo>
                  <a:lnTo>
                    <a:pt x="51" y="587"/>
                  </a:lnTo>
                  <a:lnTo>
                    <a:pt x="50" y="587"/>
                  </a:lnTo>
                  <a:lnTo>
                    <a:pt x="49" y="588"/>
                  </a:lnTo>
                  <a:lnTo>
                    <a:pt x="48" y="590"/>
                  </a:lnTo>
                  <a:lnTo>
                    <a:pt x="47" y="591"/>
                  </a:lnTo>
                  <a:lnTo>
                    <a:pt x="42" y="592"/>
                  </a:lnTo>
                  <a:lnTo>
                    <a:pt x="40" y="593"/>
                  </a:lnTo>
                  <a:lnTo>
                    <a:pt x="39" y="594"/>
                  </a:lnTo>
                  <a:lnTo>
                    <a:pt x="38" y="596"/>
                  </a:lnTo>
                  <a:lnTo>
                    <a:pt x="37" y="597"/>
                  </a:lnTo>
                  <a:lnTo>
                    <a:pt x="36" y="599"/>
                  </a:lnTo>
                  <a:lnTo>
                    <a:pt x="35" y="603"/>
                  </a:lnTo>
                  <a:lnTo>
                    <a:pt x="34" y="604"/>
                  </a:lnTo>
                  <a:lnTo>
                    <a:pt x="33" y="605"/>
                  </a:lnTo>
                  <a:lnTo>
                    <a:pt x="31" y="607"/>
                  </a:lnTo>
                  <a:lnTo>
                    <a:pt x="26" y="613"/>
                  </a:lnTo>
                  <a:lnTo>
                    <a:pt x="25" y="614"/>
                  </a:lnTo>
                  <a:lnTo>
                    <a:pt x="24" y="616"/>
                  </a:lnTo>
                  <a:lnTo>
                    <a:pt x="20" y="621"/>
                  </a:lnTo>
                  <a:lnTo>
                    <a:pt x="18" y="623"/>
                  </a:lnTo>
                  <a:lnTo>
                    <a:pt x="17" y="624"/>
                  </a:lnTo>
                  <a:lnTo>
                    <a:pt x="16" y="625"/>
                  </a:lnTo>
                  <a:lnTo>
                    <a:pt x="15" y="625"/>
                  </a:lnTo>
                  <a:lnTo>
                    <a:pt x="15" y="625"/>
                  </a:lnTo>
                  <a:lnTo>
                    <a:pt x="13" y="625"/>
                  </a:lnTo>
                  <a:lnTo>
                    <a:pt x="11" y="624"/>
                  </a:lnTo>
                  <a:lnTo>
                    <a:pt x="9" y="623"/>
                  </a:lnTo>
                  <a:lnTo>
                    <a:pt x="7" y="621"/>
                  </a:lnTo>
                  <a:lnTo>
                    <a:pt x="5" y="618"/>
                  </a:lnTo>
                  <a:lnTo>
                    <a:pt x="4" y="615"/>
                  </a:lnTo>
                  <a:lnTo>
                    <a:pt x="2" y="612"/>
                  </a:lnTo>
                  <a:lnTo>
                    <a:pt x="1" y="609"/>
                  </a:lnTo>
                  <a:lnTo>
                    <a:pt x="1" y="607"/>
                  </a:lnTo>
                  <a:lnTo>
                    <a:pt x="0" y="604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9" name="Freeform 108">
              <a:extLst>
                <a:ext uri="{FF2B5EF4-FFF2-40B4-BE49-F238E27FC236}">
                  <a16:creationId xmlns:a16="http://schemas.microsoft.com/office/drawing/2014/main" id="{AD7BCC54-8833-414C-B368-539159A42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5" y="1811"/>
              <a:ext cx="401" cy="604"/>
            </a:xfrm>
            <a:custGeom>
              <a:avLst/>
              <a:gdLst>
                <a:gd name="T0" fmla="*/ 168 w 401"/>
                <a:gd name="T1" fmla="*/ 583 h 604"/>
                <a:gd name="T2" fmla="*/ 168 w 401"/>
                <a:gd name="T3" fmla="*/ 568 h 604"/>
                <a:gd name="T4" fmla="*/ 163 w 401"/>
                <a:gd name="T5" fmla="*/ 558 h 604"/>
                <a:gd name="T6" fmla="*/ 154 w 401"/>
                <a:gd name="T7" fmla="*/ 555 h 604"/>
                <a:gd name="T8" fmla="*/ 138 w 401"/>
                <a:gd name="T9" fmla="*/ 557 h 604"/>
                <a:gd name="T10" fmla="*/ 123 w 401"/>
                <a:gd name="T11" fmla="*/ 563 h 604"/>
                <a:gd name="T12" fmla="*/ 97 w 401"/>
                <a:gd name="T13" fmla="*/ 583 h 604"/>
                <a:gd name="T14" fmla="*/ 86 w 401"/>
                <a:gd name="T15" fmla="*/ 595 h 604"/>
                <a:gd name="T16" fmla="*/ 77 w 401"/>
                <a:gd name="T17" fmla="*/ 600 h 604"/>
                <a:gd name="T18" fmla="*/ 54 w 401"/>
                <a:gd name="T19" fmla="*/ 599 h 604"/>
                <a:gd name="T20" fmla="*/ 51 w 401"/>
                <a:gd name="T21" fmla="*/ 594 h 604"/>
                <a:gd name="T22" fmla="*/ 52 w 401"/>
                <a:gd name="T23" fmla="*/ 577 h 604"/>
                <a:gd name="T24" fmla="*/ 51 w 401"/>
                <a:gd name="T25" fmla="*/ 566 h 604"/>
                <a:gd name="T26" fmla="*/ 45 w 401"/>
                <a:gd name="T27" fmla="*/ 566 h 604"/>
                <a:gd name="T28" fmla="*/ 29 w 401"/>
                <a:gd name="T29" fmla="*/ 569 h 604"/>
                <a:gd name="T30" fmla="*/ 21 w 401"/>
                <a:gd name="T31" fmla="*/ 566 h 604"/>
                <a:gd name="T32" fmla="*/ 7 w 401"/>
                <a:gd name="T33" fmla="*/ 549 h 604"/>
                <a:gd name="T34" fmla="*/ 0 w 401"/>
                <a:gd name="T35" fmla="*/ 535 h 604"/>
                <a:gd name="T36" fmla="*/ 0 w 401"/>
                <a:gd name="T37" fmla="*/ 526 h 604"/>
                <a:gd name="T38" fmla="*/ 9 w 401"/>
                <a:gd name="T39" fmla="*/ 506 h 604"/>
                <a:gd name="T40" fmla="*/ 9 w 401"/>
                <a:gd name="T41" fmla="*/ 492 h 604"/>
                <a:gd name="T42" fmla="*/ 15 w 401"/>
                <a:gd name="T43" fmla="*/ 480 h 604"/>
                <a:gd name="T44" fmla="*/ 29 w 401"/>
                <a:gd name="T45" fmla="*/ 460 h 604"/>
                <a:gd name="T46" fmla="*/ 31 w 401"/>
                <a:gd name="T47" fmla="*/ 449 h 604"/>
                <a:gd name="T48" fmla="*/ 28 w 401"/>
                <a:gd name="T49" fmla="*/ 441 h 604"/>
                <a:gd name="T50" fmla="*/ 11 w 401"/>
                <a:gd name="T51" fmla="*/ 421 h 604"/>
                <a:gd name="T52" fmla="*/ 7 w 401"/>
                <a:gd name="T53" fmla="*/ 412 h 604"/>
                <a:gd name="T54" fmla="*/ 8 w 401"/>
                <a:gd name="T55" fmla="*/ 389 h 604"/>
                <a:gd name="T56" fmla="*/ 12 w 401"/>
                <a:gd name="T57" fmla="*/ 376 h 604"/>
                <a:gd name="T58" fmla="*/ 25 w 401"/>
                <a:gd name="T59" fmla="*/ 354 h 604"/>
                <a:gd name="T60" fmla="*/ 47 w 401"/>
                <a:gd name="T61" fmla="*/ 327 h 604"/>
                <a:gd name="T62" fmla="*/ 52 w 401"/>
                <a:gd name="T63" fmla="*/ 311 h 604"/>
                <a:gd name="T64" fmla="*/ 50 w 401"/>
                <a:gd name="T65" fmla="*/ 275 h 604"/>
                <a:gd name="T66" fmla="*/ 57 w 401"/>
                <a:gd name="T67" fmla="*/ 254 h 604"/>
                <a:gd name="T68" fmla="*/ 60 w 401"/>
                <a:gd name="T69" fmla="*/ 236 h 604"/>
                <a:gd name="T70" fmla="*/ 65 w 401"/>
                <a:gd name="T71" fmla="*/ 219 h 604"/>
                <a:gd name="T72" fmla="*/ 93 w 401"/>
                <a:gd name="T73" fmla="*/ 188 h 604"/>
                <a:gd name="T74" fmla="*/ 110 w 401"/>
                <a:gd name="T75" fmla="*/ 172 h 604"/>
                <a:gd name="T76" fmla="*/ 126 w 401"/>
                <a:gd name="T77" fmla="*/ 164 h 604"/>
                <a:gd name="T78" fmla="*/ 139 w 401"/>
                <a:gd name="T79" fmla="*/ 155 h 604"/>
                <a:gd name="T80" fmla="*/ 159 w 401"/>
                <a:gd name="T81" fmla="*/ 134 h 604"/>
                <a:gd name="T82" fmla="*/ 173 w 401"/>
                <a:gd name="T83" fmla="*/ 135 h 604"/>
                <a:gd name="T84" fmla="*/ 185 w 401"/>
                <a:gd name="T85" fmla="*/ 135 h 604"/>
                <a:gd name="T86" fmla="*/ 191 w 401"/>
                <a:gd name="T87" fmla="*/ 130 h 604"/>
                <a:gd name="T88" fmla="*/ 195 w 401"/>
                <a:gd name="T89" fmla="*/ 114 h 604"/>
                <a:gd name="T90" fmla="*/ 199 w 401"/>
                <a:gd name="T91" fmla="*/ 86 h 604"/>
                <a:gd name="T92" fmla="*/ 208 w 401"/>
                <a:gd name="T93" fmla="*/ 81 h 604"/>
                <a:gd name="T94" fmla="*/ 229 w 401"/>
                <a:gd name="T95" fmla="*/ 66 h 604"/>
                <a:gd name="T96" fmla="*/ 252 w 401"/>
                <a:gd name="T97" fmla="*/ 60 h 604"/>
                <a:gd name="T98" fmla="*/ 285 w 401"/>
                <a:gd name="T99" fmla="*/ 61 h 604"/>
                <a:gd name="T100" fmla="*/ 308 w 401"/>
                <a:gd name="T101" fmla="*/ 57 h 604"/>
                <a:gd name="T102" fmla="*/ 322 w 401"/>
                <a:gd name="T103" fmla="*/ 58 h 604"/>
                <a:gd name="T104" fmla="*/ 338 w 401"/>
                <a:gd name="T105" fmla="*/ 61 h 604"/>
                <a:gd name="T106" fmla="*/ 356 w 401"/>
                <a:gd name="T107" fmla="*/ 55 h 604"/>
                <a:gd name="T108" fmla="*/ 376 w 401"/>
                <a:gd name="T109" fmla="*/ 37 h 604"/>
                <a:gd name="T110" fmla="*/ 387 w 401"/>
                <a:gd name="T111" fmla="*/ 22 h 604"/>
                <a:gd name="T112" fmla="*/ 394 w 401"/>
                <a:gd name="T113" fmla="*/ 2 h 604"/>
                <a:gd name="T114" fmla="*/ 401 w 401"/>
                <a:gd name="T115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" h="604">
                  <a:moveTo>
                    <a:pt x="164" y="604"/>
                  </a:moveTo>
                  <a:lnTo>
                    <a:pt x="164" y="602"/>
                  </a:lnTo>
                  <a:lnTo>
                    <a:pt x="165" y="599"/>
                  </a:lnTo>
                  <a:lnTo>
                    <a:pt x="165" y="593"/>
                  </a:lnTo>
                  <a:lnTo>
                    <a:pt x="168" y="583"/>
                  </a:lnTo>
                  <a:lnTo>
                    <a:pt x="168" y="578"/>
                  </a:lnTo>
                  <a:lnTo>
                    <a:pt x="169" y="572"/>
                  </a:lnTo>
                  <a:lnTo>
                    <a:pt x="169" y="570"/>
                  </a:lnTo>
                  <a:lnTo>
                    <a:pt x="169" y="569"/>
                  </a:lnTo>
                  <a:lnTo>
                    <a:pt x="168" y="568"/>
                  </a:lnTo>
                  <a:lnTo>
                    <a:pt x="168" y="566"/>
                  </a:lnTo>
                  <a:lnTo>
                    <a:pt x="167" y="563"/>
                  </a:lnTo>
                  <a:lnTo>
                    <a:pt x="166" y="561"/>
                  </a:lnTo>
                  <a:lnTo>
                    <a:pt x="165" y="560"/>
                  </a:lnTo>
                  <a:lnTo>
                    <a:pt x="163" y="558"/>
                  </a:lnTo>
                  <a:lnTo>
                    <a:pt x="160" y="557"/>
                  </a:lnTo>
                  <a:lnTo>
                    <a:pt x="158" y="556"/>
                  </a:lnTo>
                  <a:lnTo>
                    <a:pt x="157" y="556"/>
                  </a:lnTo>
                  <a:lnTo>
                    <a:pt x="156" y="555"/>
                  </a:lnTo>
                  <a:lnTo>
                    <a:pt x="154" y="555"/>
                  </a:lnTo>
                  <a:lnTo>
                    <a:pt x="152" y="555"/>
                  </a:lnTo>
                  <a:lnTo>
                    <a:pt x="149" y="555"/>
                  </a:lnTo>
                  <a:lnTo>
                    <a:pt x="144" y="556"/>
                  </a:lnTo>
                  <a:lnTo>
                    <a:pt x="139" y="557"/>
                  </a:lnTo>
                  <a:lnTo>
                    <a:pt x="138" y="557"/>
                  </a:lnTo>
                  <a:lnTo>
                    <a:pt x="136" y="557"/>
                  </a:lnTo>
                  <a:lnTo>
                    <a:pt x="132" y="559"/>
                  </a:lnTo>
                  <a:lnTo>
                    <a:pt x="128" y="561"/>
                  </a:lnTo>
                  <a:lnTo>
                    <a:pt x="125" y="562"/>
                  </a:lnTo>
                  <a:lnTo>
                    <a:pt x="123" y="563"/>
                  </a:lnTo>
                  <a:lnTo>
                    <a:pt x="121" y="565"/>
                  </a:lnTo>
                  <a:lnTo>
                    <a:pt x="116" y="569"/>
                  </a:lnTo>
                  <a:lnTo>
                    <a:pt x="112" y="571"/>
                  </a:lnTo>
                  <a:lnTo>
                    <a:pt x="104" y="578"/>
                  </a:lnTo>
                  <a:lnTo>
                    <a:pt x="97" y="583"/>
                  </a:lnTo>
                  <a:lnTo>
                    <a:pt x="94" y="585"/>
                  </a:lnTo>
                  <a:lnTo>
                    <a:pt x="91" y="588"/>
                  </a:lnTo>
                  <a:lnTo>
                    <a:pt x="89" y="590"/>
                  </a:lnTo>
                  <a:lnTo>
                    <a:pt x="88" y="591"/>
                  </a:lnTo>
                  <a:lnTo>
                    <a:pt x="86" y="595"/>
                  </a:lnTo>
                  <a:lnTo>
                    <a:pt x="85" y="597"/>
                  </a:lnTo>
                  <a:lnTo>
                    <a:pt x="83" y="598"/>
                  </a:lnTo>
                  <a:lnTo>
                    <a:pt x="82" y="599"/>
                  </a:lnTo>
                  <a:lnTo>
                    <a:pt x="79" y="599"/>
                  </a:lnTo>
                  <a:lnTo>
                    <a:pt x="77" y="600"/>
                  </a:lnTo>
                  <a:lnTo>
                    <a:pt x="69" y="600"/>
                  </a:lnTo>
                  <a:lnTo>
                    <a:pt x="60" y="600"/>
                  </a:lnTo>
                  <a:lnTo>
                    <a:pt x="57" y="600"/>
                  </a:lnTo>
                  <a:lnTo>
                    <a:pt x="56" y="600"/>
                  </a:lnTo>
                  <a:lnTo>
                    <a:pt x="54" y="599"/>
                  </a:lnTo>
                  <a:lnTo>
                    <a:pt x="54" y="599"/>
                  </a:lnTo>
                  <a:lnTo>
                    <a:pt x="53" y="598"/>
                  </a:lnTo>
                  <a:lnTo>
                    <a:pt x="52" y="597"/>
                  </a:lnTo>
                  <a:lnTo>
                    <a:pt x="52" y="596"/>
                  </a:lnTo>
                  <a:lnTo>
                    <a:pt x="51" y="594"/>
                  </a:lnTo>
                  <a:lnTo>
                    <a:pt x="50" y="592"/>
                  </a:lnTo>
                  <a:lnTo>
                    <a:pt x="50" y="591"/>
                  </a:lnTo>
                  <a:lnTo>
                    <a:pt x="50" y="587"/>
                  </a:lnTo>
                  <a:lnTo>
                    <a:pt x="50" y="585"/>
                  </a:lnTo>
                  <a:lnTo>
                    <a:pt x="52" y="577"/>
                  </a:lnTo>
                  <a:lnTo>
                    <a:pt x="52" y="572"/>
                  </a:lnTo>
                  <a:lnTo>
                    <a:pt x="52" y="569"/>
                  </a:lnTo>
                  <a:lnTo>
                    <a:pt x="52" y="569"/>
                  </a:lnTo>
                  <a:lnTo>
                    <a:pt x="52" y="567"/>
                  </a:lnTo>
                  <a:lnTo>
                    <a:pt x="51" y="566"/>
                  </a:lnTo>
                  <a:lnTo>
                    <a:pt x="50" y="566"/>
                  </a:lnTo>
                  <a:lnTo>
                    <a:pt x="50" y="565"/>
                  </a:lnTo>
                  <a:lnTo>
                    <a:pt x="49" y="565"/>
                  </a:lnTo>
                  <a:lnTo>
                    <a:pt x="48" y="565"/>
                  </a:lnTo>
                  <a:lnTo>
                    <a:pt x="45" y="566"/>
                  </a:lnTo>
                  <a:lnTo>
                    <a:pt x="41" y="567"/>
                  </a:lnTo>
                  <a:lnTo>
                    <a:pt x="39" y="568"/>
                  </a:lnTo>
                  <a:lnTo>
                    <a:pt x="33" y="569"/>
                  </a:lnTo>
                  <a:lnTo>
                    <a:pt x="31" y="569"/>
                  </a:lnTo>
                  <a:lnTo>
                    <a:pt x="29" y="569"/>
                  </a:lnTo>
                  <a:lnTo>
                    <a:pt x="28" y="569"/>
                  </a:lnTo>
                  <a:lnTo>
                    <a:pt x="26" y="569"/>
                  </a:lnTo>
                  <a:lnTo>
                    <a:pt x="24" y="568"/>
                  </a:lnTo>
                  <a:lnTo>
                    <a:pt x="23" y="567"/>
                  </a:lnTo>
                  <a:lnTo>
                    <a:pt x="21" y="566"/>
                  </a:lnTo>
                  <a:lnTo>
                    <a:pt x="19" y="563"/>
                  </a:lnTo>
                  <a:lnTo>
                    <a:pt x="17" y="561"/>
                  </a:lnTo>
                  <a:lnTo>
                    <a:pt x="12" y="556"/>
                  </a:lnTo>
                  <a:lnTo>
                    <a:pt x="8" y="551"/>
                  </a:lnTo>
                  <a:lnTo>
                    <a:pt x="7" y="549"/>
                  </a:lnTo>
                  <a:lnTo>
                    <a:pt x="6" y="546"/>
                  </a:lnTo>
                  <a:lnTo>
                    <a:pt x="4" y="544"/>
                  </a:lnTo>
                  <a:lnTo>
                    <a:pt x="2" y="540"/>
                  </a:lnTo>
                  <a:lnTo>
                    <a:pt x="0" y="537"/>
                  </a:lnTo>
                  <a:lnTo>
                    <a:pt x="0" y="535"/>
                  </a:lnTo>
                  <a:lnTo>
                    <a:pt x="0" y="535"/>
                  </a:lnTo>
                  <a:lnTo>
                    <a:pt x="0" y="533"/>
                  </a:lnTo>
                  <a:lnTo>
                    <a:pt x="0" y="532"/>
                  </a:lnTo>
                  <a:lnTo>
                    <a:pt x="0" y="528"/>
                  </a:lnTo>
                  <a:lnTo>
                    <a:pt x="0" y="526"/>
                  </a:lnTo>
                  <a:lnTo>
                    <a:pt x="1" y="524"/>
                  </a:lnTo>
                  <a:lnTo>
                    <a:pt x="2" y="522"/>
                  </a:lnTo>
                  <a:lnTo>
                    <a:pt x="7" y="513"/>
                  </a:lnTo>
                  <a:lnTo>
                    <a:pt x="8" y="509"/>
                  </a:lnTo>
                  <a:lnTo>
                    <a:pt x="9" y="506"/>
                  </a:lnTo>
                  <a:lnTo>
                    <a:pt x="9" y="502"/>
                  </a:lnTo>
                  <a:lnTo>
                    <a:pt x="10" y="501"/>
                  </a:lnTo>
                  <a:lnTo>
                    <a:pt x="10" y="499"/>
                  </a:lnTo>
                  <a:lnTo>
                    <a:pt x="9" y="494"/>
                  </a:lnTo>
                  <a:lnTo>
                    <a:pt x="9" y="492"/>
                  </a:lnTo>
                  <a:lnTo>
                    <a:pt x="10" y="489"/>
                  </a:lnTo>
                  <a:lnTo>
                    <a:pt x="10" y="488"/>
                  </a:lnTo>
                  <a:lnTo>
                    <a:pt x="11" y="486"/>
                  </a:lnTo>
                  <a:lnTo>
                    <a:pt x="12" y="484"/>
                  </a:lnTo>
                  <a:lnTo>
                    <a:pt x="15" y="480"/>
                  </a:lnTo>
                  <a:lnTo>
                    <a:pt x="19" y="475"/>
                  </a:lnTo>
                  <a:lnTo>
                    <a:pt x="24" y="468"/>
                  </a:lnTo>
                  <a:lnTo>
                    <a:pt x="26" y="467"/>
                  </a:lnTo>
                  <a:lnTo>
                    <a:pt x="28" y="464"/>
                  </a:lnTo>
                  <a:lnTo>
                    <a:pt x="29" y="460"/>
                  </a:lnTo>
                  <a:lnTo>
                    <a:pt x="30" y="457"/>
                  </a:lnTo>
                  <a:lnTo>
                    <a:pt x="31" y="455"/>
                  </a:lnTo>
                  <a:lnTo>
                    <a:pt x="31" y="452"/>
                  </a:lnTo>
                  <a:lnTo>
                    <a:pt x="31" y="451"/>
                  </a:lnTo>
                  <a:lnTo>
                    <a:pt x="31" y="449"/>
                  </a:lnTo>
                  <a:lnTo>
                    <a:pt x="31" y="447"/>
                  </a:lnTo>
                  <a:lnTo>
                    <a:pt x="31" y="445"/>
                  </a:lnTo>
                  <a:lnTo>
                    <a:pt x="30" y="444"/>
                  </a:lnTo>
                  <a:lnTo>
                    <a:pt x="29" y="443"/>
                  </a:lnTo>
                  <a:lnTo>
                    <a:pt x="28" y="441"/>
                  </a:lnTo>
                  <a:lnTo>
                    <a:pt x="27" y="439"/>
                  </a:lnTo>
                  <a:lnTo>
                    <a:pt x="25" y="436"/>
                  </a:lnTo>
                  <a:lnTo>
                    <a:pt x="23" y="433"/>
                  </a:lnTo>
                  <a:lnTo>
                    <a:pt x="14" y="423"/>
                  </a:lnTo>
                  <a:lnTo>
                    <a:pt x="11" y="421"/>
                  </a:lnTo>
                  <a:lnTo>
                    <a:pt x="9" y="419"/>
                  </a:lnTo>
                  <a:lnTo>
                    <a:pt x="8" y="417"/>
                  </a:lnTo>
                  <a:lnTo>
                    <a:pt x="8" y="415"/>
                  </a:lnTo>
                  <a:lnTo>
                    <a:pt x="8" y="414"/>
                  </a:lnTo>
                  <a:lnTo>
                    <a:pt x="7" y="412"/>
                  </a:lnTo>
                  <a:lnTo>
                    <a:pt x="7" y="411"/>
                  </a:lnTo>
                  <a:lnTo>
                    <a:pt x="7" y="410"/>
                  </a:lnTo>
                  <a:lnTo>
                    <a:pt x="7" y="408"/>
                  </a:lnTo>
                  <a:lnTo>
                    <a:pt x="8" y="399"/>
                  </a:lnTo>
                  <a:lnTo>
                    <a:pt x="8" y="389"/>
                  </a:lnTo>
                  <a:lnTo>
                    <a:pt x="9" y="386"/>
                  </a:lnTo>
                  <a:lnTo>
                    <a:pt x="10" y="384"/>
                  </a:lnTo>
                  <a:lnTo>
                    <a:pt x="10" y="381"/>
                  </a:lnTo>
                  <a:lnTo>
                    <a:pt x="11" y="379"/>
                  </a:lnTo>
                  <a:lnTo>
                    <a:pt x="12" y="376"/>
                  </a:lnTo>
                  <a:lnTo>
                    <a:pt x="15" y="370"/>
                  </a:lnTo>
                  <a:lnTo>
                    <a:pt x="18" y="366"/>
                  </a:lnTo>
                  <a:lnTo>
                    <a:pt x="20" y="363"/>
                  </a:lnTo>
                  <a:lnTo>
                    <a:pt x="22" y="359"/>
                  </a:lnTo>
                  <a:lnTo>
                    <a:pt x="25" y="354"/>
                  </a:lnTo>
                  <a:lnTo>
                    <a:pt x="40" y="338"/>
                  </a:lnTo>
                  <a:lnTo>
                    <a:pt x="41" y="336"/>
                  </a:lnTo>
                  <a:lnTo>
                    <a:pt x="43" y="333"/>
                  </a:lnTo>
                  <a:lnTo>
                    <a:pt x="45" y="330"/>
                  </a:lnTo>
                  <a:lnTo>
                    <a:pt x="47" y="327"/>
                  </a:lnTo>
                  <a:lnTo>
                    <a:pt x="48" y="324"/>
                  </a:lnTo>
                  <a:lnTo>
                    <a:pt x="50" y="320"/>
                  </a:lnTo>
                  <a:lnTo>
                    <a:pt x="51" y="318"/>
                  </a:lnTo>
                  <a:lnTo>
                    <a:pt x="51" y="314"/>
                  </a:lnTo>
                  <a:lnTo>
                    <a:pt x="52" y="311"/>
                  </a:lnTo>
                  <a:lnTo>
                    <a:pt x="52" y="308"/>
                  </a:lnTo>
                  <a:lnTo>
                    <a:pt x="52" y="302"/>
                  </a:lnTo>
                  <a:lnTo>
                    <a:pt x="51" y="293"/>
                  </a:lnTo>
                  <a:lnTo>
                    <a:pt x="50" y="279"/>
                  </a:lnTo>
                  <a:lnTo>
                    <a:pt x="50" y="275"/>
                  </a:lnTo>
                  <a:lnTo>
                    <a:pt x="51" y="272"/>
                  </a:lnTo>
                  <a:lnTo>
                    <a:pt x="51" y="269"/>
                  </a:lnTo>
                  <a:lnTo>
                    <a:pt x="52" y="266"/>
                  </a:lnTo>
                  <a:lnTo>
                    <a:pt x="54" y="263"/>
                  </a:lnTo>
                  <a:lnTo>
                    <a:pt x="57" y="254"/>
                  </a:lnTo>
                  <a:lnTo>
                    <a:pt x="58" y="251"/>
                  </a:lnTo>
                  <a:lnTo>
                    <a:pt x="59" y="249"/>
                  </a:lnTo>
                  <a:lnTo>
                    <a:pt x="59" y="246"/>
                  </a:lnTo>
                  <a:lnTo>
                    <a:pt x="59" y="244"/>
                  </a:lnTo>
                  <a:lnTo>
                    <a:pt x="60" y="236"/>
                  </a:lnTo>
                  <a:lnTo>
                    <a:pt x="61" y="231"/>
                  </a:lnTo>
                  <a:lnTo>
                    <a:pt x="62" y="228"/>
                  </a:lnTo>
                  <a:lnTo>
                    <a:pt x="63" y="225"/>
                  </a:lnTo>
                  <a:lnTo>
                    <a:pt x="64" y="223"/>
                  </a:lnTo>
                  <a:lnTo>
                    <a:pt x="65" y="219"/>
                  </a:lnTo>
                  <a:lnTo>
                    <a:pt x="69" y="216"/>
                  </a:lnTo>
                  <a:lnTo>
                    <a:pt x="82" y="199"/>
                  </a:lnTo>
                  <a:lnTo>
                    <a:pt x="88" y="194"/>
                  </a:lnTo>
                  <a:lnTo>
                    <a:pt x="90" y="190"/>
                  </a:lnTo>
                  <a:lnTo>
                    <a:pt x="93" y="188"/>
                  </a:lnTo>
                  <a:lnTo>
                    <a:pt x="97" y="184"/>
                  </a:lnTo>
                  <a:lnTo>
                    <a:pt x="99" y="183"/>
                  </a:lnTo>
                  <a:lnTo>
                    <a:pt x="102" y="181"/>
                  </a:lnTo>
                  <a:lnTo>
                    <a:pt x="108" y="174"/>
                  </a:lnTo>
                  <a:lnTo>
                    <a:pt x="110" y="172"/>
                  </a:lnTo>
                  <a:lnTo>
                    <a:pt x="112" y="171"/>
                  </a:lnTo>
                  <a:lnTo>
                    <a:pt x="115" y="170"/>
                  </a:lnTo>
                  <a:lnTo>
                    <a:pt x="118" y="168"/>
                  </a:lnTo>
                  <a:lnTo>
                    <a:pt x="120" y="167"/>
                  </a:lnTo>
                  <a:lnTo>
                    <a:pt x="126" y="164"/>
                  </a:lnTo>
                  <a:lnTo>
                    <a:pt x="129" y="163"/>
                  </a:lnTo>
                  <a:lnTo>
                    <a:pt x="132" y="161"/>
                  </a:lnTo>
                  <a:lnTo>
                    <a:pt x="134" y="160"/>
                  </a:lnTo>
                  <a:lnTo>
                    <a:pt x="136" y="158"/>
                  </a:lnTo>
                  <a:lnTo>
                    <a:pt x="139" y="155"/>
                  </a:lnTo>
                  <a:lnTo>
                    <a:pt x="147" y="145"/>
                  </a:lnTo>
                  <a:lnTo>
                    <a:pt x="151" y="141"/>
                  </a:lnTo>
                  <a:lnTo>
                    <a:pt x="155" y="138"/>
                  </a:lnTo>
                  <a:lnTo>
                    <a:pt x="157" y="135"/>
                  </a:lnTo>
                  <a:lnTo>
                    <a:pt x="159" y="134"/>
                  </a:lnTo>
                  <a:lnTo>
                    <a:pt x="161" y="133"/>
                  </a:lnTo>
                  <a:lnTo>
                    <a:pt x="163" y="133"/>
                  </a:lnTo>
                  <a:lnTo>
                    <a:pt x="165" y="133"/>
                  </a:lnTo>
                  <a:lnTo>
                    <a:pt x="168" y="134"/>
                  </a:lnTo>
                  <a:lnTo>
                    <a:pt x="173" y="135"/>
                  </a:lnTo>
                  <a:lnTo>
                    <a:pt x="176" y="135"/>
                  </a:lnTo>
                  <a:lnTo>
                    <a:pt x="179" y="136"/>
                  </a:lnTo>
                  <a:lnTo>
                    <a:pt x="180" y="136"/>
                  </a:lnTo>
                  <a:lnTo>
                    <a:pt x="182" y="136"/>
                  </a:lnTo>
                  <a:lnTo>
                    <a:pt x="185" y="135"/>
                  </a:lnTo>
                  <a:lnTo>
                    <a:pt x="187" y="135"/>
                  </a:lnTo>
                  <a:lnTo>
                    <a:pt x="189" y="134"/>
                  </a:lnTo>
                  <a:lnTo>
                    <a:pt x="190" y="132"/>
                  </a:lnTo>
                  <a:lnTo>
                    <a:pt x="190" y="132"/>
                  </a:lnTo>
                  <a:lnTo>
                    <a:pt x="191" y="130"/>
                  </a:lnTo>
                  <a:lnTo>
                    <a:pt x="192" y="127"/>
                  </a:lnTo>
                  <a:lnTo>
                    <a:pt x="193" y="126"/>
                  </a:lnTo>
                  <a:lnTo>
                    <a:pt x="193" y="123"/>
                  </a:lnTo>
                  <a:lnTo>
                    <a:pt x="195" y="118"/>
                  </a:lnTo>
                  <a:lnTo>
                    <a:pt x="195" y="114"/>
                  </a:lnTo>
                  <a:lnTo>
                    <a:pt x="196" y="107"/>
                  </a:lnTo>
                  <a:lnTo>
                    <a:pt x="197" y="85"/>
                  </a:lnTo>
                  <a:lnTo>
                    <a:pt x="198" y="85"/>
                  </a:lnTo>
                  <a:lnTo>
                    <a:pt x="198" y="86"/>
                  </a:lnTo>
                  <a:lnTo>
                    <a:pt x="199" y="86"/>
                  </a:lnTo>
                  <a:lnTo>
                    <a:pt x="200" y="85"/>
                  </a:lnTo>
                  <a:lnTo>
                    <a:pt x="202" y="85"/>
                  </a:lnTo>
                  <a:lnTo>
                    <a:pt x="203" y="83"/>
                  </a:lnTo>
                  <a:lnTo>
                    <a:pt x="205" y="82"/>
                  </a:lnTo>
                  <a:lnTo>
                    <a:pt x="208" y="81"/>
                  </a:lnTo>
                  <a:lnTo>
                    <a:pt x="214" y="75"/>
                  </a:lnTo>
                  <a:lnTo>
                    <a:pt x="217" y="72"/>
                  </a:lnTo>
                  <a:lnTo>
                    <a:pt x="220" y="70"/>
                  </a:lnTo>
                  <a:lnTo>
                    <a:pt x="224" y="69"/>
                  </a:lnTo>
                  <a:lnTo>
                    <a:pt x="229" y="66"/>
                  </a:lnTo>
                  <a:lnTo>
                    <a:pt x="234" y="64"/>
                  </a:lnTo>
                  <a:lnTo>
                    <a:pt x="239" y="63"/>
                  </a:lnTo>
                  <a:lnTo>
                    <a:pt x="245" y="61"/>
                  </a:lnTo>
                  <a:lnTo>
                    <a:pt x="248" y="61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60" y="60"/>
                  </a:lnTo>
                  <a:lnTo>
                    <a:pt x="267" y="60"/>
                  </a:lnTo>
                  <a:lnTo>
                    <a:pt x="281" y="61"/>
                  </a:lnTo>
                  <a:lnTo>
                    <a:pt x="285" y="61"/>
                  </a:lnTo>
                  <a:lnTo>
                    <a:pt x="289" y="60"/>
                  </a:lnTo>
                  <a:lnTo>
                    <a:pt x="293" y="60"/>
                  </a:lnTo>
                  <a:lnTo>
                    <a:pt x="296" y="60"/>
                  </a:lnTo>
                  <a:lnTo>
                    <a:pt x="299" y="59"/>
                  </a:lnTo>
                  <a:lnTo>
                    <a:pt x="308" y="57"/>
                  </a:lnTo>
                  <a:lnTo>
                    <a:pt x="311" y="57"/>
                  </a:lnTo>
                  <a:lnTo>
                    <a:pt x="314" y="57"/>
                  </a:lnTo>
                  <a:lnTo>
                    <a:pt x="316" y="57"/>
                  </a:lnTo>
                  <a:lnTo>
                    <a:pt x="319" y="57"/>
                  </a:lnTo>
                  <a:lnTo>
                    <a:pt x="322" y="58"/>
                  </a:lnTo>
                  <a:lnTo>
                    <a:pt x="327" y="59"/>
                  </a:lnTo>
                  <a:lnTo>
                    <a:pt x="328" y="60"/>
                  </a:lnTo>
                  <a:lnTo>
                    <a:pt x="331" y="61"/>
                  </a:lnTo>
                  <a:lnTo>
                    <a:pt x="334" y="61"/>
                  </a:lnTo>
                  <a:lnTo>
                    <a:pt x="338" y="61"/>
                  </a:lnTo>
                  <a:lnTo>
                    <a:pt x="340" y="61"/>
                  </a:lnTo>
                  <a:lnTo>
                    <a:pt x="344" y="60"/>
                  </a:lnTo>
                  <a:lnTo>
                    <a:pt x="348" y="59"/>
                  </a:lnTo>
                  <a:lnTo>
                    <a:pt x="352" y="57"/>
                  </a:lnTo>
                  <a:lnTo>
                    <a:pt x="356" y="55"/>
                  </a:lnTo>
                  <a:lnTo>
                    <a:pt x="360" y="52"/>
                  </a:lnTo>
                  <a:lnTo>
                    <a:pt x="363" y="49"/>
                  </a:lnTo>
                  <a:lnTo>
                    <a:pt x="368" y="46"/>
                  </a:lnTo>
                  <a:lnTo>
                    <a:pt x="372" y="41"/>
                  </a:lnTo>
                  <a:lnTo>
                    <a:pt x="376" y="37"/>
                  </a:lnTo>
                  <a:lnTo>
                    <a:pt x="380" y="33"/>
                  </a:lnTo>
                  <a:lnTo>
                    <a:pt x="383" y="30"/>
                  </a:lnTo>
                  <a:lnTo>
                    <a:pt x="384" y="27"/>
                  </a:lnTo>
                  <a:lnTo>
                    <a:pt x="386" y="25"/>
                  </a:lnTo>
                  <a:lnTo>
                    <a:pt x="387" y="22"/>
                  </a:lnTo>
                  <a:lnTo>
                    <a:pt x="388" y="20"/>
                  </a:lnTo>
                  <a:lnTo>
                    <a:pt x="389" y="17"/>
                  </a:lnTo>
                  <a:lnTo>
                    <a:pt x="393" y="6"/>
                  </a:lnTo>
                  <a:lnTo>
                    <a:pt x="394" y="3"/>
                  </a:lnTo>
                  <a:lnTo>
                    <a:pt x="394" y="2"/>
                  </a:lnTo>
                  <a:lnTo>
                    <a:pt x="395" y="1"/>
                  </a:lnTo>
                  <a:lnTo>
                    <a:pt x="396" y="1"/>
                  </a:lnTo>
                  <a:lnTo>
                    <a:pt x="397" y="0"/>
                  </a:lnTo>
                  <a:lnTo>
                    <a:pt x="399" y="0"/>
                  </a:lnTo>
                  <a:lnTo>
                    <a:pt x="401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0" name="Rectangle 109">
              <a:extLst>
                <a:ext uri="{FF2B5EF4-FFF2-40B4-BE49-F238E27FC236}">
                  <a16:creationId xmlns:a16="http://schemas.microsoft.com/office/drawing/2014/main" id="{BDA5B9A0-1769-4F66-B623-99EE7F7B48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6" y="3208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1" name="Rectangle 110">
              <a:extLst>
                <a:ext uri="{FF2B5EF4-FFF2-40B4-BE49-F238E27FC236}">
                  <a16:creationId xmlns:a16="http://schemas.microsoft.com/office/drawing/2014/main" id="{CE0698C9-C5D8-4A35-A641-8FCA35596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3149"/>
              <a:ext cx="9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I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2" name="Rectangle 111">
              <a:extLst>
                <a:ext uri="{FF2B5EF4-FFF2-40B4-BE49-F238E27FC236}">
                  <a16:creationId xmlns:a16="http://schemas.microsoft.com/office/drawing/2014/main" id="{9279F29F-449C-4B70-9770-EE0F6E1E57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" y="3037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T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3" name="Rectangle 112">
              <a:extLst>
                <a:ext uri="{FF2B5EF4-FFF2-40B4-BE49-F238E27FC236}">
                  <a16:creationId xmlns:a16="http://schemas.microsoft.com/office/drawing/2014/main" id="{2E5ECFD0-535C-4A78-AB7C-84003942E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5" y="2986"/>
              <a:ext cx="8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I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4" name="Rectangle 113">
              <a:extLst>
                <a:ext uri="{FF2B5EF4-FFF2-40B4-BE49-F238E27FC236}">
                  <a16:creationId xmlns:a16="http://schemas.microsoft.com/office/drawing/2014/main" id="{21B0B971-04A1-47E1-8EFE-BE1ED921FD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0" y="2580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B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5" name="Rectangle 114">
              <a:extLst>
                <a:ext uri="{FF2B5EF4-FFF2-40B4-BE49-F238E27FC236}">
                  <a16:creationId xmlns:a16="http://schemas.microsoft.com/office/drawing/2014/main" id="{76E2CAD8-B63E-41D5-AA22-FEA7ECC867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1" y="2953"/>
              <a:ext cx="90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I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6" name="Rectangle 115">
              <a:extLst>
                <a:ext uri="{FF2B5EF4-FFF2-40B4-BE49-F238E27FC236}">
                  <a16:creationId xmlns:a16="http://schemas.microsoft.com/office/drawing/2014/main" id="{6585F4F4-4C8C-4062-9906-58A4CB5E5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4" y="3492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N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7" name="Rectangle 116">
              <a:extLst>
                <a:ext uri="{FF2B5EF4-FFF2-40B4-BE49-F238E27FC236}">
                  <a16:creationId xmlns:a16="http://schemas.microsoft.com/office/drawing/2014/main" id="{40670D28-7923-4930-94D2-075F1046E1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1" y="2776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R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8" name="Rectangle 117">
              <a:extLst>
                <a:ext uri="{FF2B5EF4-FFF2-40B4-BE49-F238E27FC236}">
                  <a16:creationId xmlns:a16="http://schemas.microsoft.com/office/drawing/2014/main" id="{36DD1C06-6B40-4343-9A32-3C65B6C6E1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30" y="3374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B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9" name="Rectangle 118">
              <a:extLst>
                <a:ext uri="{FF2B5EF4-FFF2-40B4-BE49-F238E27FC236}">
                  <a16:creationId xmlns:a16="http://schemas.microsoft.com/office/drawing/2014/main" id="{C74E5972-A2B0-431B-9EDE-1A40ADAA32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7" y="3671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K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0" name="Rectangle 119">
              <a:extLst>
                <a:ext uri="{FF2B5EF4-FFF2-40B4-BE49-F238E27FC236}">
                  <a16:creationId xmlns:a16="http://schemas.microsoft.com/office/drawing/2014/main" id="{67C639EE-D398-42B5-9FFF-5CC77F7FCE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7" y="1242"/>
              <a:ext cx="8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I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1" name="Rectangle 120">
              <a:extLst>
                <a:ext uri="{FF2B5EF4-FFF2-40B4-BE49-F238E27FC236}">
                  <a16:creationId xmlns:a16="http://schemas.microsoft.com/office/drawing/2014/main" id="{BA5260A3-EB74-4A24-BDFE-E4CDBF0AF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6" y="3190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2" name="Rectangle 121">
              <a:extLst>
                <a:ext uri="{FF2B5EF4-FFF2-40B4-BE49-F238E27FC236}">
                  <a16:creationId xmlns:a16="http://schemas.microsoft.com/office/drawing/2014/main" id="{697332DD-15EB-4CCC-A630-7313AC7374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" y="1911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V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3" name="Rectangle 122">
              <a:extLst>
                <a:ext uri="{FF2B5EF4-FFF2-40B4-BE49-F238E27FC236}">
                  <a16:creationId xmlns:a16="http://schemas.microsoft.com/office/drawing/2014/main" id="{9EB19261-4EF2-4D48-B555-7BA022249A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3" y="2542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C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4" name="Rectangle 123">
              <a:extLst>
                <a:ext uri="{FF2B5EF4-FFF2-40B4-BE49-F238E27FC236}">
                  <a16:creationId xmlns:a16="http://schemas.microsoft.com/office/drawing/2014/main" id="{8D3C8ADC-E5C1-499F-9ABD-1C48F4C99A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9" y="3380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T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5" name="Rectangle 124">
              <a:extLst>
                <a:ext uri="{FF2B5EF4-FFF2-40B4-BE49-F238E27FC236}">
                  <a16:creationId xmlns:a16="http://schemas.microsoft.com/office/drawing/2014/main" id="{E72DB95E-005A-4281-99F7-CD65723E7B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1" y="2100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R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6" name="Rectangle 125">
              <a:extLst>
                <a:ext uri="{FF2B5EF4-FFF2-40B4-BE49-F238E27FC236}">
                  <a16:creationId xmlns:a16="http://schemas.microsoft.com/office/drawing/2014/main" id="{80053400-5F2E-4B82-808F-E2B6FA93F2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1" y="2927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7" name="Rectangle 126">
              <a:extLst>
                <a:ext uri="{FF2B5EF4-FFF2-40B4-BE49-F238E27FC236}">
                  <a16:creationId xmlns:a16="http://schemas.microsoft.com/office/drawing/2014/main" id="{52C0C4AD-6CB7-4906-B477-9D87856044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4" y="2431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C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8" name="Rectangle 127">
              <a:extLst>
                <a:ext uri="{FF2B5EF4-FFF2-40B4-BE49-F238E27FC236}">
                  <a16:creationId xmlns:a16="http://schemas.microsoft.com/office/drawing/2014/main" id="{DCFD1A4C-7355-445C-A84D-9F47E3B7F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506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Y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9" name="Rectangle 128">
              <a:extLst>
                <a:ext uri="{FF2B5EF4-FFF2-40B4-BE49-F238E27FC236}">
                  <a16:creationId xmlns:a16="http://schemas.microsoft.com/office/drawing/2014/main" id="{698894DE-A2D7-4E98-B831-7EB6126115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3" y="2524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N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0" name="Rectangle 129">
              <a:extLst>
                <a:ext uri="{FF2B5EF4-FFF2-40B4-BE49-F238E27FC236}">
                  <a16:creationId xmlns:a16="http://schemas.microsoft.com/office/drawing/2014/main" id="{AB4D87DD-E324-4A6A-A57A-C0D864E234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2856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1" name="Rectangle 130">
              <a:extLst>
                <a:ext uri="{FF2B5EF4-FFF2-40B4-BE49-F238E27FC236}">
                  <a16:creationId xmlns:a16="http://schemas.microsoft.com/office/drawing/2014/main" id="{14C6327A-70A8-436A-8FB2-D717925F1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8" y="2297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S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2" name="Rectangle 131">
              <a:extLst>
                <a:ext uri="{FF2B5EF4-FFF2-40B4-BE49-F238E27FC236}">
                  <a16:creationId xmlns:a16="http://schemas.microsoft.com/office/drawing/2014/main" id="{ADB9D997-56E0-4884-8359-4CE034DA38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1" y="2194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3" name="Rectangle 132">
              <a:extLst>
                <a:ext uri="{FF2B5EF4-FFF2-40B4-BE49-F238E27FC236}">
                  <a16:creationId xmlns:a16="http://schemas.microsoft.com/office/drawing/2014/main" id="{C0E6E273-1B0F-4385-92B3-CD4E50E8E6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1" y="1618"/>
              <a:ext cx="10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T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4" name="Rectangle 133">
              <a:extLst>
                <a:ext uri="{FF2B5EF4-FFF2-40B4-BE49-F238E27FC236}">
                  <a16:creationId xmlns:a16="http://schemas.microsoft.com/office/drawing/2014/main" id="{5A5E488F-B024-4971-8520-C3C6DF4648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3" y="2579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B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5" name="Rectangle 134">
              <a:extLst>
                <a:ext uri="{FF2B5EF4-FFF2-40B4-BE49-F238E27FC236}">
                  <a16:creationId xmlns:a16="http://schemas.microsoft.com/office/drawing/2014/main" id="{B6D8AD51-4A62-49CC-B50E-A16D3987A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5" y="1532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U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6" name="Rectangle 135">
              <a:extLst>
                <a:ext uri="{FF2B5EF4-FFF2-40B4-BE49-F238E27FC236}">
                  <a16:creationId xmlns:a16="http://schemas.microsoft.com/office/drawing/2014/main" id="{071865E9-1362-4526-BC82-2886C6DF05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8" y="2884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S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7" name="Rectangle 136">
              <a:extLst>
                <a:ext uri="{FF2B5EF4-FFF2-40B4-BE49-F238E27FC236}">
                  <a16:creationId xmlns:a16="http://schemas.microsoft.com/office/drawing/2014/main" id="{CDDD5A64-09FA-4A80-96C4-C69C87763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7" y="3078"/>
              <a:ext cx="10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L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8" name="Rectangle 137">
              <a:extLst>
                <a:ext uri="{FF2B5EF4-FFF2-40B4-BE49-F238E27FC236}">
                  <a16:creationId xmlns:a16="http://schemas.microsoft.com/office/drawing/2014/main" id="{F0EEA6BC-EA24-4BB7-97C4-AA9FDC5147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2" y="2173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9" name="Rectangle 138">
              <a:extLst>
                <a:ext uri="{FF2B5EF4-FFF2-40B4-BE49-F238E27FC236}">
                  <a16:creationId xmlns:a16="http://schemas.microsoft.com/office/drawing/2014/main" id="{2C4132E1-A583-42E1-91B4-935B414C50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4" y="2606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M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0" name="Rectangle 139">
              <a:extLst>
                <a:ext uri="{FF2B5EF4-FFF2-40B4-BE49-F238E27FC236}">
                  <a16:creationId xmlns:a16="http://schemas.microsoft.com/office/drawing/2014/main" id="{58625D10-E485-4309-8686-6D1877A3AE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5" y="1808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N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1" name="Rectangle 140">
              <a:extLst>
                <a:ext uri="{FF2B5EF4-FFF2-40B4-BE49-F238E27FC236}">
                  <a16:creationId xmlns:a16="http://schemas.microsoft.com/office/drawing/2014/main" id="{1FDACC5C-A09F-4F35-895B-A09951F8FA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2" y="2693"/>
              <a:ext cx="10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J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2" name="Rectangle 141">
              <a:extLst>
                <a:ext uri="{FF2B5EF4-FFF2-40B4-BE49-F238E27FC236}">
                  <a16:creationId xmlns:a16="http://schemas.microsoft.com/office/drawing/2014/main" id="{A3433949-1D69-4055-A8D5-BE8375A630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3" y="3041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3" name="Rectangle 142">
              <a:extLst>
                <a:ext uri="{FF2B5EF4-FFF2-40B4-BE49-F238E27FC236}">
                  <a16:creationId xmlns:a16="http://schemas.microsoft.com/office/drawing/2014/main" id="{750B0D09-5142-4DE0-AA83-A5A1B40B72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4" y="1413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L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4" name="Rectangle 143">
              <a:extLst>
                <a:ext uri="{FF2B5EF4-FFF2-40B4-BE49-F238E27FC236}">
                  <a16:creationId xmlns:a16="http://schemas.microsoft.com/office/drawing/2014/main" id="{4ACADFEA-6831-4316-A5F4-304ACD2C0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6" y="2273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P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5" name="Rectangle 144">
              <a:extLst>
                <a:ext uri="{FF2B5EF4-FFF2-40B4-BE49-F238E27FC236}">
                  <a16:creationId xmlns:a16="http://schemas.microsoft.com/office/drawing/2014/main" id="{02E25C9B-CE0E-421A-BB33-6298955B5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" y="2768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6" name="Rectangle 145">
              <a:extLst>
                <a:ext uri="{FF2B5EF4-FFF2-40B4-BE49-F238E27FC236}">
                  <a16:creationId xmlns:a16="http://schemas.microsoft.com/office/drawing/2014/main" id="{D41ECF14-19B1-49BE-AF8D-68782BD4B7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5" y="3505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V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7" name="Rectangle 146">
              <a:extLst>
                <a:ext uri="{FF2B5EF4-FFF2-40B4-BE49-F238E27FC236}">
                  <a16:creationId xmlns:a16="http://schemas.microsoft.com/office/drawing/2014/main" id="{A7DDFC9D-3F23-4286-AD95-9D6CAF0BDA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3" y="3417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8" name="Rectangle 147">
              <a:extLst>
                <a:ext uri="{FF2B5EF4-FFF2-40B4-BE49-F238E27FC236}">
                  <a16:creationId xmlns:a16="http://schemas.microsoft.com/office/drawing/2014/main" id="{75908DC0-0BC1-4F27-AF1C-9015EAA88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" y="2065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H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9" name="Rectangle 148">
              <a:extLst>
                <a:ext uri="{FF2B5EF4-FFF2-40B4-BE49-F238E27FC236}">
                  <a16:creationId xmlns:a16="http://schemas.microsoft.com/office/drawing/2014/main" id="{A69B7D5F-E161-4A17-B6BD-F268165FD1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2" y="1708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C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0" name="Rectangle 149">
              <a:extLst>
                <a:ext uri="{FF2B5EF4-FFF2-40B4-BE49-F238E27FC236}">
                  <a16:creationId xmlns:a16="http://schemas.microsoft.com/office/drawing/2014/main" id="{7BCBFBA6-F71D-4A87-B9CA-C3A4AA6945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9" y="2548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J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1" name="Rectangle 150">
              <a:extLst>
                <a:ext uri="{FF2B5EF4-FFF2-40B4-BE49-F238E27FC236}">
                  <a16:creationId xmlns:a16="http://schemas.microsoft.com/office/drawing/2014/main" id="{D4E0A23C-0AB3-4FEC-994B-975552C71D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2" y="3301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H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2" name="Rectangle 151">
              <a:extLst>
                <a:ext uri="{FF2B5EF4-FFF2-40B4-BE49-F238E27FC236}">
                  <a16:creationId xmlns:a16="http://schemas.microsoft.com/office/drawing/2014/main" id="{15178569-39E1-4505-852C-C637D099A2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4" y="2341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3" name="Rectangle 152">
              <a:extLst>
                <a:ext uri="{FF2B5EF4-FFF2-40B4-BE49-F238E27FC236}">
                  <a16:creationId xmlns:a16="http://schemas.microsoft.com/office/drawing/2014/main" id="{A37F0054-0CE0-4F7F-A275-459E610B7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8" y="1944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K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4" name="Rectangle 153">
              <a:extLst>
                <a:ext uri="{FF2B5EF4-FFF2-40B4-BE49-F238E27FC236}">
                  <a16:creationId xmlns:a16="http://schemas.microsoft.com/office/drawing/2014/main" id="{B6E32AC9-10AA-47FF-84F3-6A170AA957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2" y="1663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V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5" name="Rectangle 154">
              <a:extLst>
                <a:ext uri="{FF2B5EF4-FFF2-40B4-BE49-F238E27FC236}">
                  <a16:creationId xmlns:a16="http://schemas.microsoft.com/office/drawing/2014/main" id="{A1D14E1D-3DD8-4B66-90C8-7B941135E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8" y="1689"/>
              <a:ext cx="130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B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6" name="Rectangle 155">
              <a:extLst>
                <a:ext uri="{FF2B5EF4-FFF2-40B4-BE49-F238E27FC236}">
                  <a16:creationId xmlns:a16="http://schemas.microsoft.com/office/drawing/2014/main" id="{C2B25267-C025-4E83-B28E-4E0CF11C71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4" y="3065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Y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7" name="Rectangle 156">
              <a:extLst>
                <a:ext uri="{FF2B5EF4-FFF2-40B4-BE49-F238E27FC236}">
                  <a16:creationId xmlns:a16="http://schemas.microsoft.com/office/drawing/2014/main" id="{E1794FBF-CED8-4F7E-A021-7FEDC7C739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0" y="2349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H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8" name="Rectangle 157">
              <a:extLst>
                <a:ext uri="{FF2B5EF4-FFF2-40B4-BE49-F238E27FC236}">
                  <a16:creationId xmlns:a16="http://schemas.microsoft.com/office/drawing/2014/main" id="{BF16A765-A461-4D77-89B0-66369AF6E6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3" y="2119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U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9" name="Rectangle 158">
              <a:extLst>
                <a:ext uri="{FF2B5EF4-FFF2-40B4-BE49-F238E27FC236}">
                  <a16:creationId xmlns:a16="http://schemas.microsoft.com/office/drawing/2014/main" id="{20150B8F-E3BA-47AE-AD91-EC6ED8B0FB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9" y="1185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C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0" name="Rectangle 159">
              <a:extLst>
                <a:ext uri="{FF2B5EF4-FFF2-40B4-BE49-F238E27FC236}">
                  <a16:creationId xmlns:a16="http://schemas.microsoft.com/office/drawing/2014/main" id="{149EF092-1A32-4762-96A6-F426728D84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1" y="2068"/>
              <a:ext cx="120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A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1" name="Rectangle 160">
              <a:extLst>
                <a:ext uri="{FF2B5EF4-FFF2-40B4-BE49-F238E27FC236}">
                  <a16:creationId xmlns:a16="http://schemas.microsoft.com/office/drawing/2014/main" id="{ACDEC642-44C5-451F-B743-D6A521444D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916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K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2" name="Rectangle 161">
              <a:extLst>
                <a:ext uri="{FF2B5EF4-FFF2-40B4-BE49-F238E27FC236}">
                  <a16:creationId xmlns:a16="http://schemas.microsoft.com/office/drawing/2014/main" id="{B5CE91FF-8DA0-45A5-BC5F-C2C5FE717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8" y="2753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3" name="Rectangle 162">
              <a:extLst>
                <a:ext uri="{FF2B5EF4-FFF2-40B4-BE49-F238E27FC236}">
                  <a16:creationId xmlns:a16="http://schemas.microsoft.com/office/drawing/2014/main" id="{37A05B66-F0F3-43F5-AC4D-FADD42D739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" y="2798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K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4" name="Rectangle 163">
              <a:extLst>
                <a:ext uri="{FF2B5EF4-FFF2-40B4-BE49-F238E27FC236}">
                  <a16:creationId xmlns:a16="http://schemas.microsoft.com/office/drawing/2014/main" id="{F1F45139-D366-4D9C-8400-B46530C6AA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9" y="1933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B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5" name="Rectangle 164">
              <a:extLst>
                <a:ext uri="{FF2B5EF4-FFF2-40B4-BE49-F238E27FC236}">
                  <a16:creationId xmlns:a16="http://schemas.microsoft.com/office/drawing/2014/main" id="{8D374840-230E-476F-8B03-E8C8AC86A4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1" y="1670"/>
              <a:ext cx="120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6" name="Rectangle 165">
              <a:extLst>
                <a:ext uri="{FF2B5EF4-FFF2-40B4-BE49-F238E27FC236}">
                  <a16:creationId xmlns:a16="http://schemas.microsoft.com/office/drawing/2014/main" id="{1E5F11DA-6CC3-433C-BD3D-11FB4F0A73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9" y="1855"/>
              <a:ext cx="10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E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7" name="Rectangle 166">
              <a:extLst>
                <a:ext uri="{FF2B5EF4-FFF2-40B4-BE49-F238E27FC236}">
                  <a16:creationId xmlns:a16="http://schemas.microsoft.com/office/drawing/2014/main" id="{CC49A99A-F191-4D10-BE28-09D95365A5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8" y="2779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V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8" name="Rectangle 167">
              <a:extLst>
                <a:ext uri="{FF2B5EF4-FFF2-40B4-BE49-F238E27FC236}">
                  <a16:creationId xmlns:a16="http://schemas.microsoft.com/office/drawing/2014/main" id="{D044D723-0443-4ABE-B0E7-15B572066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1" y="2227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Y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9" name="Rectangle 168">
              <a:extLst>
                <a:ext uri="{FF2B5EF4-FFF2-40B4-BE49-F238E27FC236}">
                  <a16:creationId xmlns:a16="http://schemas.microsoft.com/office/drawing/2014/main" id="{B2AD2A8D-9726-4568-9498-721C782186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" y="1905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0" name="Rectangle 169">
              <a:extLst>
                <a:ext uri="{FF2B5EF4-FFF2-40B4-BE49-F238E27FC236}">
                  <a16:creationId xmlns:a16="http://schemas.microsoft.com/office/drawing/2014/main" id="{297C9FF1-E08D-4F6C-9263-0CAB48449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3" y="2997"/>
              <a:ext cx="130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M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1" name="Rectangle 170">
              <a:extLst>
                <a:ext uri="{FF2B5EF4-FFF2-40B4-BE49-F238E27FC236}">
                  <a16:creationId xmlns:a16="http://schemas.microsoft.com/office/drawing/2014/main" id="{D55523A8-1521-4CEF-8055-0A77490308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3" y="1953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D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2" name="Rectangle 171">
              <a:extLst>
                <a:ext uri="{FF2B5EF4-FFF2-40B4-BE49-F238E27FC236}">
                  <a16:creationId xmlns:a16="http://schemas.microsoft.com/office/drawing/2014/main" id="{74E25533-F9CE-43E9-B3FD-94564794BC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2" y="2148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3" name="Rectangle 172">
              <a:extLst>
                <a:ext uri="{FF2B5EF4-FFF2-40B4-BE49-F238E27FC236}">
                  <a16:creationId xmlns:a16="http://schemas.microsoft.com/office/drawing/2014/main" id="{787060E7-BCEB-4E09-B8A8-6409B9A86E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9" y="2288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4" name="Rectangle 173">
              <a:extLst>
                <a:ext uri="{FF2B5EF4-FFF2-40B4-BE49-F238E27FC236}">
                  <a16:creationId xmlns:a16="http://schemas.microsoft.com/office/drawing/2014/main" id="{A1F85E4B-3760-4837-9EAA-FED6E5402A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5" y="1777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E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5" name="Rectangle 174">
              <a:extLst>
                <a:ext uri="{FF2B5EF4-FFF2-40B4-BE49-F238E27FC236}">
                  <a16:creationId xmlns:a16="http://schemas.microsoft.com/office/drawing/2014/main" id="{FB4BA3EA-C62D-4358-92F7-2F383613DB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1" y="1458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M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6" name="Rectangle 175">
              <a:extLst>
                <a:ext uri="{FF2B5EF4-FFF2-40B4-BE49-F238E27FC236}">
                  <a16:creationId xmlns:a16="http://schemas.microsoft.com/office/drawing/2014/main" id="{22159521-9BAD-494B-A75B-A3FC031B37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" y="2322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Z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7" name="Rectangle 176">
              <a:extLst>
                <a:ext uri="{FF2B5EF4-FFF2-40B4-BE49-F238E27FC236}">
                  <a16:creationId xmlns:a16="http://schemas.microsoft.com/office/drawing/2014/main" id="{E1968322-FF97-4870-8321-E6D8172A3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9" y="2399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8" name="Rectangle 177">
              <a:extLst>
                <a:ext uri="{FF2B5EF4-FFF2-40B4-BE49-F238E27FC236}">
                  <a16:creationId xmlns:a16="http://schemas.microsoft.com/office/drawing/2014/main" id="{B62A98CC-FCBD-4F92-BAE8-2232E5A3D0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9" y="1445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P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9" name="Rectangle 178">
              <a:extLst>
                <a:ext uri="{FF2B5EF4-FFF2-40B4-BE49-F238E27FC236}">
                  <a16:creationId xmlns:a16="http://schemas.microsoft.com/office/drawing/2014/main" id="{3A6528AC-71BC-44A7-B315-7AFAA44838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3" y="2091"/>
              <a:ext cx="138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H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0" name="Rectangle 179">
              <a:extLst>
                <a:ext uri="{FF2B5EF4-FFF2-40B4-BE49-F238E27FC236}">
                  <a16:creationId xmlns:a16="http://schemas.microsoft.com/office/drawing/2014/main" id="{6F653F36-B3F3-4916-8C43-DEB6BB6AC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2" y="2337"/>
              <a:ext cx="9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I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1" name="Rectangle 180">
              <a:extLst>
                <a:ext uri="{FF2B5EF4-FFF2-40B4-BE49-F238E27FC236}">
                  <a16:creationId xmlns:a16="http://schemas.microsoft.com/office/drawing/2014/main" id="{FC98B03D-FD0D-4055-AC45-FF24B23B04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4" y="1322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N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2" name="Rectangle 181">
              <a:extLst>
                <a:ext uri="{FF2B5EF4-FFF2-40B4-BE49-F238E27FC236}">
                  <a16:creationId xmlns:a16="http://schemas.microsoft.com/office/drawing/2014/main" id="{AF259AA4-4A99-4A85-8427-66CA610DFB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6" y="1375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L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3" name="Rectangle 182">
              <a:extLst>
                <a:ext uri="{FF2B5EF4-FFF2-40B4-BE49-F238E27FC236}">
                  <a16:creationId xmlns:a16="http://schemas.microsoft.com/office/drawing/2014/main" id="{65363943-F093-4786-B40B-64C7F0387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5" y="1517"/>
              <a:ext cx="13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4" name="Rectangle 183">
              <a:extLst>
                <a:ext uri="{FF2B5EF4-FFF2-40B4-BE49-F238E27FC236}">
                  <a16:creationId xmlns:a16="http://schemas.microsoft.com/office/drawing/2014/main" id="{22D5C607-9FF2-419F-904F-A6F7D3C17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1" y="2365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V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5" name="Rectangle 184">
              <a:extLst>
                <a:ext uri="{FF2B5EF4-FFF2-40B4-BE49-F238E27FC236}">
                  <a16:creationId xmlns:a16="http://schemas.microsoft.com/office/drawing/2014/main" id="{693EB437-1B55-4B2C-AEE9-E034F4726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4" y="2508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M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6" name="Rectangle 185">
              <a:extLst>
                <a:ext uri="{FF2B5EF4-FFF2-40B4-BE49-F238E27FC236}">
                  <a16:creationId xmlns:a16="http://schemas.microsoft.com/office/drawing/2014/main" id="{541627AF-0C3D-4904-BEBF-FFCF857948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95"/>
              <a:ext cx="143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M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79939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dirty="0"/>
              <a:t>Spádová oblast FNB (2021): akutní lůžková péče – </a:t>
            </a:r>
            <a:r>
              <a:rPr lang="cs-CZ" dirty="0" err="1"/>
              <a:t>hematoonkologie</a:t>
            </a:r>
            <a:endParaRPr lang="en-US" dirty="0"/>
          </a:p>
        </p:txBody>
      </p:sp>
      <p:grpSp>
        <p:nvGrpSpPr>
          <p:cNvPr id="282" name="Skupina 281">
            <a:extLst>
              <a:ext uri="{FF2B5EF4-FFF2-40B4-BE49-F238E27FC236}">
                <a16:creationId xmlns:a16="http://schemas.microsoft.com/office/drawing/2014/main" id="{31D9F62A-2EC7-4AC1-BF75-45B3D8FD9C2D}"/>
              </a:ext>
            </a:extLst>
          </p:cNvPr>
          <p:cNvGrpSpPr/>
          <p:nvPr/>
        </p:nvGrpSpPr>
        <p:grpSpPr>
          <a:xfrm>
            <a:off x="3798821" y="2850121"/>
            <a:ext cx="5311833" cy="3037454"/>
            <a:chOff x="12475564" y="1829811"/>
            <a:chExt cx="2915491" cy="1667159"/>
          </a:xfrm>
        </p:grpSpPr>
        <p:sp>
          <p:nvSpPr>
            <p:cNvPr id="283" name="Freeform 226">
              <a:extLst>
                <a:ext uri="{FF2B5EF4-FFF2-40B4-BE49-F238E27FC236}">
                  <a16:creationId xmlns:a16="http://schemas.microsoft.com/office/drawing/2014/main" id="{9F6FAE47-8164-4D25-B5A5-2A4E3798C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11182" y="2122277"/>
              <a:ext cx="633847" cy="739827"/>
            </a:xfrm>
            <a:custGeom>
              <a:avLst/>
              <a:gdLst>
                <a:gd name="T0" fmla="*/ 382 w 622"/>
                <a:gd name="T1" fmla="*/ 15 h 726"/>
                <a:gd name="T2" fmla="*/ 401 w 622"/>
                <a:gd name="T3" fmla="*/ 14 h 726"/>
                <a:gd name="T4" fmla="*/ 434 w 622"/>
                <a:gd name="T5" fmla="*/ 42 h 726"/>
                <a:gd name="T6" fmla="*/ 459 w 622"/>
                <a:gd name="T7" fmla="*/ 64 h 726"/>
                <a:gd name="T8" fmla="*/ 455 w 622"/>
                <a:gd name="T9" fmla="*/ 93 h 726"/>
                <a:gd name="T10" fmla="*/ 463 w 622"/>
                <a:gd name="T11" fmla="*/ 127 h 726"/>
                <a:gd name="T12" fmla="*/ 450 w 622"/>
                <a:gd name="T13" fmla="*/ 153 h 726"/>
                <a:gd name="T14" fmla="*/ 451 w 622"/>
                <a:gd name="T15" fmla="*/ 173 h 726"/>
                <a:gd name="T16" fmla="*/ 471 w 622"/>
                <a:gd name="T17" fmla="*/ 182 h 726"/>
                <a:gd name="T18" fmla="*/ 486 w 622"/>
                <a:gd name="T19" fmla="*/ 204 h 726"/>
                <a:gd name="T20" fmla="*/ 499 w 622"/>
                <a:gd name="T21" fmla="*/ 216 h 726"/>
                <a:gd name="T22" fmla="*/ 544 w 622"/>
                <a:gd name="T23" fmla="*/ 212 h 726"/>
                <a:gd name="T24" fmla="*/ 557 w 622"/>
                <a:gd name="T25" fmla="*/ 230 h 726"/>
                <a:gd name="T26" fmla="*/ 563 w 622"/>
                <a:gd name="T27" fmla="*/ 267 h 726"/>
                <a:gd name="T28" fmla="*/ 553 w 622"/>
                <a:gd name="T29" fmla="*/ 294 h 726"/>
                <a:gd name="T30" fmla="*/ 558 w 622"/>
                <a:gd name="T31" fmla="*/ 312 h 726"/>
                <a:gd name="T32" fmla="*/ 583 w 622"/>
                <a:gd name="T33" fmla="*/ 326 h 726"/>
                <a:gd name="T34" fmla="*/ 572 w 622"/>
                <a:gd name="T35" fmla="*/ 339 h 726"/>
                <a:gd name="T36" fmla="*/ 572 w 622"/>
                <a:gd name="T37" fmla="*/ 350 h 726"/>
                <a:gd name="T38" fmla="*/ 562 w 622"/>
                <a:gd name="T39" fmla="*/ 369 h 726"/>
                <a:gd name="T40" fmla="*/ 556 w 622"/>
                <a:gd name="T41" fmla="*/ 379 h 726"/>
                <a:gd name="T42" fmla="*/ 572 w 622"/>
                <a:gd name="T43" fmla="*/ 393 h 726"/>
                <a:gd name="T44" fmla="*/ 592 w 622"/>
                <a:gd name="T45" fmla="*/ 402 h 726"/>
                <a:gd name="T46" fmla="*/ 601 w 622"/>
                <a:gd name="T47" fmla="*/ 418 h 726"/>
                <a:gd name="T48" fmla="*/ 621 w 622"/>
                <a:gd name="T49" fmla="*/ 438 h 726"/>
                <a:gd name="T50" fmla="*/ 615 w 622"/>
                <a:gd name="T51" fmla="*/ 469 h 726"/>
                <a:gd name="T52" fmla="*/ 605 w 622"/>
                <a:gd name="T53" fmla="*/ 500 h 726"/>
                <a:gd name="T54" fmla="*/ 581 w 622"/>
                <a:gd name="T55" fmla="*/ 514 h 726"/>
                <a:gd name="T56" fmla="*/ 581 w 622"/>
                <a:gd name="T57" fmla="*/ 533 h 726"/>
                <a:gd name="T58" fmla="*/ 563 w 622"/>
                <a:gd name="T59" fmla="*/ 539 h 726"/>
                <a:gd name="T60" fmla="*/ 537 w 622"/>
                <a:gd name="T61" fmla="*/ 556 h 726"/>
                <a:gd name="T62" fmla="*/ 506 w 622"/>
                <a:gd name="T63" fmla="*/ 565 h 726"/>
                <a:gd name="T64" fmla="*/ 492 w 622"/>
                <a:gd name="T65" fmla="*/ 574 h 726"/>
                <a:gd name="T66" fmla="*/ 475 w 622"/>
                <a:gd name="T67" fmla="*/ 610 h 726"/>
                <a:gd name="T68" fmla="*/ 496 w 622"/>
                <a:gd name="T69" fmla="*/ 629 h 726"/>
                <a:gd name="T70" fmla="*/ 500 w 622"/>
                <a:gd name="T71" fmla="*/ 651 h 726"/>
                <a:gd name="T72" fmla="*/ 477 w 622"/>
                <a:gd name="T73" fmla="*/ 658 h 726"/>
                <a:gd name="T74" fmla="*/ 465 w 622"/>
                <a:gd name="T75" fmla="*/ 671 h 726"/>
                <a:gd name="T76" fmla="*/ 436 w 622"/>
                <a:gd name="T77" fmla="*/ 667 h 726"/>
                <a:gd name="T78" fmla="*/ 396 w 622"/>
                <a:gd name="T79" fmla="*/ 665 h 726"/>
                <a:gd name="T80" fmla="*/ 390 w 622"/>
                <a:gd name="T81" fmla="*/ 677 h 726"/>
                <a:gd name="T82" fmla="*/ 373 w 622"/>
                <a:gd name="T83" fmla="*/ 688 h 726"/>
                <a:gd name="T84" fmla="*/ 360 w 622"/>
                <a:gd name="T85" fmla="*/ 702 h 726"/>
                <a:gd name="T86" fmla="*/ 343 w 622"/>
                <a:gd name="T87" fmla="*/ 677 h 726"/>
                <a:gd name="T88" fmla="*/ 326 w 622"/>
                <a:gd name="T89" fmla="*/ 676 h 726"/>
                <a:gd name="T90" fmla="*/ 296 w 622"/>
                <a:gd name="T91" fmla="*/ 659 h 726"/>
                <a:gd name="T92" fmla="*/ 282 w 622"/>
                <a:gd name="T93" fmla="*/ 679 h 726"/>
                <a:gd name="T94" fmla="*/ 279 w 622"/>
                <a:gd name="T95" fmla="*/ 703 h 726"/>
                <a:gd name="T96" fmla="*/ 248 w 622"/>
                <a:gd name="T97" fmla="*/ 726 h 726"/>
                <a:gd name="T98" fmla="*/ 224 w 622"/>
                <a:gd name="T99" fmla="*/ 719 h 726"/>
                <a:gd name="T100" fmla="*/ 220 w 622"/>
                <a:gd name="T101" fmla="*/ 708 h 726"/>
                <a:gd name="T102" fmla="*/ 185 w 622"/>
                <a:gd name="T103" fmla="*/ 706 h 726"/>
                <a:gd name="T104" fmla="*/ 160 w 622"/>
                <a:gd name="T105" fmla="*/ 704 h 726"/>
                <a:gd name="T106" fmla="*/ 145 w 622"/>
                <a:gd name="T107" fmla="*/ 705 h 726"/>
                <a:gd name="T108" fmla="*/ 127 w 622"/>
                <a:gd name="T109" fmla="*/ 713 h 726"/>
                <a:gd name="T110" fmla="*/ 108 w 622"/>
                <a:gd name="T111" fmla="*/ 704 h 726"/>
                <a:gd name="T112" fmla="*/ 86 w 622"/>
                <a:gd name="T113" fmla="*/ 690 h 726"/>
                <a:gd name="T114" fmla="*/ 62 w 622"/>
                <a:gd name="T115" fmla="*/ 706 h 726"/>
                <a:gd name="T116" fmla="*/ 22 w 622"/>
                <a:gd name="T117" fmla="*/ 711 h 726"/>
                <a:gd name="T118" fmla="*/ 1 w 622"/>
                <a:gd name="T119" fmla="*/ 706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22" h="726">
                  <a:moveTo>
                    <a:pt x="363" y="0"/>
                  </a:moveTo>
                  <a:lnTo>
                    <a:pt x="364" y="1"/>
                  </a:lnTo>
                  <a:lnTo>
                    <a:pt x="365" y="1"/>
                  </a:lnTo>
                  <a:lnTo>
                    <a:pt x="366" y="2"/>
                  </a:lnTo>
                  <a:lnTo>
                    <a:pt x="366" y="2"/>
                  </a:lnTo>
                  <a:lnTo>
                    <a:pt x="369" y="5"/>
                  </a:lnTo>
                  <a:lnTo>
                    <a:pt x="370" y="6"/>
                  </a:lnTo>
                  <a:lnTo>
                    <a:pt x="372" y="7"/>
                  </a:lnTo>
                  <a:lnTo>
                    <a:pt x="375" y="9"/>
                  </a:lnTo>
                  <a:lnTo>
                    <a:pt x="376" y="10"/>
                  </a:lnTo>
                  <a:lnTo>
                    <a:pt x="377" y="11"/>
                  </a:lnTo>
                  <a:lnTo>
                    <a:pt x="378" y="13"/>
                  </a:lnTo>
                  <a:lnTo>
                    <a:pt x="378" y="13"/>
                  </a:lnTo>
                  <a:lnTo>
                    <a:pt x="379" y="14"/>
                  </a:lnTo>
                  <a:lnTo>
                    <a:pt x="380" y="14"/>
                  </a:lnTo>
                  <a:lnTo>
                    <a:pt x="381" y="15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3" y="14"/>
                  </a:lnTo>
                  <a:lnTo>
                    <a:pt x="384" y="14"/>
                  </a:lnTo>
                  <a:lnTo>
                    <a:pt x="384" y="14"/>
                  </a:lnTo>
                  <a:lnTo>
                    <a:pt x="386" y="13"/>
                  </a:lnTo>
                  <a:lnTo>
                    <a:pt x="387" y="12"/>
                  </a:lnTo>
                  <a:lnTo>
                    <a:pt x="388" y="11"/>
                  </a:lnTo>
                  <a:lnTo>
                    <a:pt x="389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2" y="11"/>
                  </a:lnTo>
                  <a:lnTo>
                    <a:pt x="396" y="12"/>
                  </a:lnTo>
                  <a:lnTo>
                    <a:pt x="397" y="12"/>
                  </a:lnTo>
                  <a:lnTo>
                    <a:pt x="398" y="12"/>
                  </a:lnTo>
                  <a:lnTo>
                    <a:pt x="399" y="13"/>
                  </a:lnTo>
                  <a:lnTo>
                    <a:pt x="400" y="13"/>
                  </a:lnTo>
                  <a:lnTo>
                    <a:pt x="401" y="14"/>
                  </a:lnTo>
                  <a:lnTo>
                    <a:pt x="402" y="16"/>
                  </a:lnTo>
                  <a:lnTo>
                    <a:pt x="406" y="20"/>
                  </a:lnTo>
                  <a:lnTo>
                    <a:pt x="412" y="27"/>
                  </a:lnTo>
                  <a:lnTo>
                    <a:pt x="415" y="30"/>
                  </a:lnTo>
                  <a:lnTo>
                    <a:pt x="416" y="30"/>
                  </a:lnTo>
                  <a:lnTo>
                    <a:pt x="416" y="31"/>
                  </a:lnTo>
                  <a:lnTo>
                    <a:pt x="417" y="32"/>
                  </a:lnTo>
                  <a:lnTo>
                    <a:pt x="419" y="32"/>
                  </a:lnTo>
                  <a:lnTo>
                    <a:pt x="420" y="33"/>
                  </a:lnTo>
                  <a:lnTo>
                    <a:pt x="423" y="34"/>
                  </a:lnTo>
                  <a:lnTo>
                    <a:pt x="424" y="34"/>
                  </a:lnTo>
                  <a:lnTo>
                    <a:pt x="425" y="35"/>
                  </a:lnTo>
                  <a:lnTo>
                    <a:pt x="427" y="36"/>
                  </a:lnTo>
                  <a:lnTo>
                    <a:pt x="429" y="38"/>
                  </a:lnTo>
                  <a:lnTo>
                    <a:pt x="432" y="40"/>
                  </a:lnTo>
                  <a:lnTo>
                    <a:pt x="433" y="41"/>
                  </a:lnTo>
                  <a:lnTo>
                    <a:pt x="434" y="42"/>
                  </a:lnTo>
                  <a:lnTo>
                    <a:pt x="435" y="43"/>
                  </a:lnTo>
                  <a:lnTo>
                    <a:pt x="436" y="45"/>
                  </a:lnTo>
                  <a:lnTo>
                    <a:pt x="437" y="46"/>
                  </a:lnTo>
                  <a:lnTo>
                    <a:pt x="439" y="50"/>
                  </a:lnTo>
                  <a:lnTo>
                    <a:pt x="440" y="52"/>
                  </a:lnTo>
                  <a:lnTo>
                    <a:pt x="441" y="53"/>
                  </a:lnTo>
                  <a:lnTo>
                    <a:pt x="442" y="53"/>
                  </a:lnTo>
                  <a:lnTo>
                    <a:pt x="443" y="55"/>
                  </a:lnTo>
                  <a:lnTo>
                    <a:pt x="444" y="55"/>
                  </a:lnTo>
                  <a:lnTo>
                    <a:pt x="445" y="56"/>
                  </a:lnTo>
                  <a:lnTo>
                    <a:pt x="446" y="57"/>
                  </a:lnTo>
                  <a:lnTo>
                    <a:pt x="448" y="58"/>
                  </a:lnTo>
                  <a:lnTo>
                    <a:pt x="451" y="59"/>
                  </a:lnTo>
                  <a:lnTo>
                    <a:pt x="457" y="62"/>
                  </a:lnTo>
                  <a:lnTo>
                    <a:pt x="458" y="62"/>
                  </a:lnTo>
                  <a:lnTo>
                    <a:pt x="460" y="63"/>
                  </a:lnTo>
                  <a:lnTo>
                    <a:pt x="459" y="64"/>
                  </a:lnTo>
                  <a:lnTo>
                    <a:pt x="457" y="66"/>
                  </a:lnTo>
                  <a:lnTo>
                    <a:pt x="454" y="69"/>
                  </a:lnTo>
                  <a:lnTo>
                    <a:pt x="452" y="71"/>
                  </a:lnTo>
                  <a:lnTo>
                    <a:pt x="451" y="72"/>
                  </a:lnTo>
                  <a:lnTo>
                    <a:pt x="450" y="73"/>
                  </a:lnTo>
                  <a:lnTo>
                    <a:pt x="450" y="74"/>
                  </a:lnTo>
                  <a:lnTo>
                    <a:pt x="450" y="75"/>
                  </a:lnTo>
                  <a:lnTo>
                    <a:pt x="449" y="76"/>
                  </a:lnTo>
                  <a:lnTo>
                    <a:pt x="449" y="77"/>
                  </a:lnTo>
                  <a:lnTo>
                    <a:pt x="449" y="78"/>
                  </a:lnTo>
                  <a:lnTo>
                    <a:pt x="450" y="79"/>
                  </a:lnTo>
                  <a:lnTo>
                    <a:pt x="450" y="80"/>
                  </a:lnTo>
                  <a:lnTo>
                    <a:pt x="452" y="83"/>
                  </a:lnTo>
                  <a:lnTo>
                    <a:pt x="453" y="85"/>
                  </a:lnTo>
                  <a:lnTo>
                    <a:pt x="453" y="87"/>
                  </a:lnTo>
                  <a:lnTo>
                    <a:pt x="454" y="90"/>
                  </a:lnTo>
                  <a:lnTo>
                    <a:pt x="455" y="93"/>
                  </a:lnTo>
                  <a:lnTo>
                    <a:pt x="456" y="94"/>
                  </a:lnTo>
                  <a:lnTo>
                    <a:pt x="456" y="95"/>
                  </a:lnTo>
                  <a:lnTo>
                    <a:pt x="456" y="96"/>
                  </a:lnTo>
                  <a:lnTo>
                    <a:pt x="456" y="99"/>
                  </a:lnTo>
                  <a:lnTo>
                    <a:pt x="456" y="105"/>
                  </a:lnTo>
                  <a:lnTo>
                    <a:pt x="456" y="107"/>
                  </a:lnTo>
                  <a:lnTo>
                    <a:pt x="456" y="109"/>
                  </a:lnTo>
                  <a:lnTo>
                    <a:pt x="456" y="110"/>
                  </a:lnTo>
                  <a:lnTo>
                    <a:pt x="457" y="111"/>
                  </a:lnTo>
                  <a:lnTo>
                    <a:pt x="458" y="112"/>
                  </a:lnTo>
                  <a:lnTo>
                    <a:pt x="459" y="114"/>
                  </a:lnTo>
                  <a:lnTo>
                    <a:pt x="460" y="115"/>
                  </a:lnTo>
                  <a:lnTo>
                    <a:pt x="460" y="117"/>
                  </a:lnTo>
                  <a:lnTo>
                    <a:pt x="461" y="118"/>
                  </a:lnTo>
                  <a:lnTo>
                    <a:pt x="462" y="119"/>
                  </a:lnTo>
                  <a:lnTo>
                    <a:pt x="463" y="125"/>
                  </a:lnTo>
                  <a:lnTo>
                    <a:pt x="463" y="127"/>
                  </a:lnTo>
                  <a:lnTo>
                    <a:pt x="463" y="128"/>
                  </a:lnTo>
                  <a:lnTo>
                    <a:pt x="463" y="130"/>
                  </a:lnTo>
                  <a:lnTo>
                    <a:pt x="463" y="132"/>
                  </a:lnTo>
                  <a:lnTo>
                    <a:pt x="463" y="134"/>
                  </a:lnTo>
                  <a:lnTo>
                    <a:pt x="462" y="136"/>
                  </a:lnTo>
                  <a:lnTo>
                    <a:pt x="462" y="137"/>
                  </a:lnTo>
                  <a:lnTo>
                    <a:pt x="461" y="138"/>
                  </a:lnTo>
                  <a:lnTo>
                    <a:pt x="459" y="142"/>
                  </a:lnTo>
                  <a:lnTo>
                    <a:pt x="458" y="143"/>
                  </a:lnTo>
                  <a:lnTo>
                    <a:pt x="458" y="144"/>
                  </a:lnTo>
                  <a:lnTo>
                    <a:pt x="456" y="148"/>
                  </a:lnTo>
                  <a:lnTo>
                    <a:pt x="456" y="149"/>
                  </a:lnTo>
                  <a:lnTo>
                    <a:pt x="455" y="150"/>
                  </a:lnTo>
                  <a:lnTo>
                    <a:pt x="455" y="150"/>
                  </a:lnTo>
                  <a:lnTo>
                    <a:pt x="454" y="151"/>
                  </a:lnTo>
                  <a:lnTo>
                    <a:pt x="453" y="152"/>
                  </a:lnTo>
                  <a:lnTo>
                    <a:pt x="450" y="153"/>
                  </a:lnTo>
                  <a:lnTo>
                    <a:pt x="449" y="154"/>
                  </a:lnTo>
                  <a:lnTo>
                    <a:pt x="448" y="154"/>
                  </a:lnTo>
                  <a:lnTo>
                    <a:pt x="448" y="155"/>
                  </a:lnTo>
                  <a:lnTo>
                    <a:pt x="447" y="156"/>
                  </a:lnTo>
                  <a:lnTo>
                    <a:pt x="446" y="157"/>
                  </a:lnTo>
                  <a:lnTo>
                    <a:pt x="446" y="158"/>
                  </a:lnTo>
                  <a:lnTo>
                    <a:pt x="446" y="159"/>
                  </a:lnTo>
                  <a:lnTo>
                    <a:pt x="446" y="160"/>
                  </a:lnTo>
                  <a:lnTo>
                    <a:pt x="446" y="161"/>
                  </a:lnTo>
                  <a:lnTo>
                    <a:pt x="446" y="162"/>
                  </a:lnTo>
                  <a:lnTo>
                    <a:pt x="447" y="163"/>
                  </a:lnTo>
                  <a:lnTo>
                    <a:pt x="447" y="164"/>
                  </a:lnTo>
                  <a:lnTo>
                    <a:pt x="449" y="167"/>
                  </a:lnTo>
                  <a:lnTo>
                    <a:pt x="450" y="168"/>
                  </a:lnTo>
                  <a:lnTo>
                    <a:pt x="450" y="169"/>
                  </a:lnTo>
                  <a:lnTo>
                    <a:pt x="451" y="171"/>
                  </a:lnTo>
                  <a:lnTo>
                    <a:pt x="451" y="173"/>
                  </a:lnTo>
                  <a:lnTo>
                    <a:pt x="452" y="174"/>
                  </a:lnTo>
                  <a:lnTo>
                    <a:pt x="452" y="175"/>
                  </a:lnTo>
                  <a:lnTo>
                    <a:pt x="453" y="176"/>
                  </a:lnTo>
                  <a:lnTo>
                    <a:pt x="454" y="177"/>
                  </a:lnTo>
                  <a:lnTo>
                    <a:pt x="455" y="177"/>
                  </a:lnTo>
                  <a:lnTo>
                    <a:pt x="456" y="178"/>
                  </a:lnTo>
                  <a:lnTo>
                    <a:pt x="457" y="179"/>
                  </a:lnTo>
                  <a:lnTo>
                    <a:pt x="458" y="179"/>
                  </a:lnTo>
                  <a:lnTo>
                    <a:pt x="459" y="180"/>
                  </a:lnTo>
                  <a:lnTo>
                    <a:pt x="460" y="180"/>
                  </a:lnTo>
                  <a:lnTo>
                    <a:pt x="461" y="180"/>
                  </a:lnTo>
                  <a:lnTo>
                    <a:pt x="462" y="181"/>
                  </a:lnTo>
                  <a:lnTo>
                    <a:pt x="463" y="181"/>
                  </a:lnTo>
                  <a:lnTo>
                    <a:pt x="467" y="181"/>
                  </a:lnTo>
                  <a:lnTo>
                    <a:pt x="468" y="181"/>
                  </a:lnTo>
                  <a:lnTo>
                    <a:pt x="469" y="182"/>
                  </a:lnTo>
                  <a:lnTo>
                    <a:pt x="471" y="182"/>
                  </a:lnTo>
                  <a:lnTo>
                    <a:pt x="472" y="183"/>
                  </a:lnTo>
                  <a:lnTo>
                    <a:pt x="473" y="184"/>
                  </a:lnTo>
                  <a:lnTo>
                    <a:pt x="474" y="184"/>
                  </a:lnTo>
                  <a:lnTo>
                    <a:pt x="475" y="185"/>
                  </a:lnTo>
                  <a:lnTo>
                    <a:pt x="476" y="187"/>
                  </a:lnTo>
                  <a:lnTo>
                    <a:pt x="477" y="188"/>
                  </a:lnTo>
                  <a:lnTo>
                    <a:pt x="478" y="189"/>
                  </a:lnTo>
                  <a:lnTo>
                    <a:pt x="480" y="191"/>
                  </a:lnTo>
                  <a:lnTo>
                    <a:pt x="482" y="192"/>
                  </a:lnTo>
                  <a:lnTo>
                    <a:pt x="484" y="194"/>
                  </a:lnTo>
                  <a:lnTo>
                    <a:pt x="484" y="195"/>
                  </a:lnTo>
                  <a:lnTo>
                    <a:pt x="485" y="196"/>
                  </a:lnTo>
                  <a:lnTo>
                    <a:pt x="486" y="197"/>
                  </a:lnTo>
                  <a:lnTo>
                    <a:pt x="486" y="198"/>
                  </a:lnTo>
                  <a:lnTo>
                    <a:pt x="486" y="199"/>
                  </a:lnTo>
                  <a:lnTo>
                    <a:pt x="486" y="202"/>
                  </a:lnTo>
                  <a:lnTo>
                    <a:pt x="486" y="204"/>
                  </a:lnTo>
                  <a:lnTo>
                    <a:pt x="486" y="205"/>
                  </a:lnTo>
                  <a:lnTo>
                    <a:pt x="487" y="207"/>
                  </a:lnTo>
                  <a:lnTo>
                    <a:pt x="487" y="208"/>
                  </a:lnTo>
                  <a:lnTo>
                    <a:pt x="488" y="209"/>
                  </a:lnTo>
                  <a:lnTo>
                    <a:pt x="488" y="210"/>
                  </a:lnTo>
                  <a:lnTo>
                    <a:pt x="488" y="211"/>
                  </a:lnTo>
                  <a:lnTo>
                    <a:pt x="489" y="211"/>
                  </a:lnTo>
                  <a:lnTo>
                    <a:pt x="490" y="212"/>
                  </a:lnTo>
                  <a:lnTo>
                    <a:pt x="491" y="213"/>
                  </a:lnTo>
                  <a:lnTo>
                    <a:pt x="492" y="214"/>
                  </a:lnTo>
                  <a:lnTo>
                    <a:pt x="493" y="214"/>
                  </a:lnTo>
                  <a:lnTo>
                    <a:pt x="494" y="215"/>
                  </a:lnTo>
                  <a:lnTo>
                    <a:pt x="495" y="215"/>
                  </a:lnTo>
                  <a:lnTo>
                    <a:pt x="496" y="216"/>
                  </a:lnTo>
                  <a:lnTo>
                    <a:pt x="497" y="216"/>
                  </a:lnTo>
                  <a:lnTo>
                    <a:pt x="498" y="216"/>
                  </a:lnTo>
                  <a:lnTo>
                    <a:pt x="499" y="216"/>
                  </a:lnTo>
                  <a:lnTo>
                    <a:pt x="500" y="216"/>
                  </a:lnTo>
                  <a:lnTo>
                    <a:pt x="507" y="215"/>
                  </a:lnTo>
                  <a:lnTo>
                    <a:pt x="508" y="215"/>
                  </a:lnTo>
                  <a:lnTo>
                    <a:pt x="510" y="215"/>
                  </a:lnTo>
                  <a:lnTo>
                    <a:pt x="516" y="216"/>
                  </a:lnTo>
                  <a:lnTo>
                    <a:pt x="519" y="216"/>
                  </a:lnTo>
                  <a:lnTo>
                    <a:pt x="524" y="217"/>
                  </a:lnTo>
                  <a:lnTo>
                    <a:pt x="525" y="217"/>
                  </a:lnTo>
                  <a:lnTo>
                    <a:pt x="527" y="217"/>
                  </a:lnTo>
                  <a:lnTo>
                    <a:pt x="528" y="217"/>
                  </a:lnTo>
                  <a:lnTo>
                    <a:pt x="530" y="216"/>
                  </a:lnTo>
                  <a:lnTo>
                    <a:pt x="535" y="215"/>
                  </a:lnTo>
                  <a:lnTo>
                    <a:pt x="538" y="213"/>
                  </a:lnTo>
                  <a:lnTo>
                    <a:pt x="540" y="213"/>
                  </a:lnTo>
                  <a:lnTo>
                    <a:pt x="541" y="212"/>
                  </a:lnTo>
                  <a:lnTo>
                    <a:pt x="543" y="212"/>
                  </a:lnTo>
                  <a:lnTo>
                    <a:pt x="544" y="212"/>
                  </a:lnTo>
                  <a:lnTo>
                    <a:pt x="545" y="212"/>
                  </a:lnTo>
                  <a:lnTo>
                    <a:pt x="545" y="212"/>
                  </a:lnTo>
                  <a:lnTo>
                    <a:pt x="546" y="212"/>
                  </a:lnTo>
                  <a:lnTo>
                    <a:pt x="547" y="213"/>
                  </a:lnTo>
                  <a:lnTo>
                    <a:pt x="548" y="213"/>
                  </a:lnTo>
                  <a:lnTo>
                    <a:pt x="550" y="215"/>
                  </a:lnTo>
                  <a:lnTo>
                    <a:pt x="551" y="216"/>
                  </a:lnTo>
                  <a:lnTo>
                    <a:pt x="553" y="217"/>
                  </a:lnTo>
                  <a:lnTo>
                    <a:pt x="553" y="218"/>
                  </a:lnTo>
                  <a:lnTo>
                    <a:pt x="554" y="219"/>
                  </a:lnTo>
                  <a:lnTo>
                    <a:pt x="555" y="220"/>
                  </a:lnTo>
                  <a:lnTo>
                    <a:pt x="555" y="221"/>
                  </a:lnTo>
                  <a:lnTo>
                    <a:pt x="556" y="222"/>
                  </a:lnTo>
                  <a:lnTo>
                    <a:pt x="556" y="224"/>
                  </a:lnTo>
                  <a:lnTo>
                    <a:pt x="557" y="225"/>
                  </a:lnTo>
                  <a:lnTo>
                    <a:pt x="557" y="227"/>
                  </a:lnTo>
                  <a:lnTo>
                    <a:pt x="557" y="230"/>
                  </a:lnTo>
                  <a:lnTo>
                    <a:pt x="557" y="234"/>
                  </a:lnTo>
                  <a:lnTo>
                    <a:pt x="557" y="237"/>
                  </a:lnTo>
                  <a:lnTo>
                    <a:pt x="557" y="239"/>
                  </a:lnTo>
                  <a:lnTo>
                    <a:pt x="556" y="243"/>
                  </a:lnTo>
                  <a:lnTo>
                    <a:pt x="556" y="244"/>
                  </a:lnTo>
                  <a:lnTo>
                    <a:pt x="556" y="245"/>
                  </a:lnTo>
                  <a:lnTo>
                    <a:pt x="556" y="248"/>
                  </a:lnTo>
                  <a:lnTo>
                    <a:pt x="556" y="250"/>
                  </a:lnTo>
                  <a:lnTo>
                    <a:pt x="556" y="252"/>
                  </a:lnTo>
                  <a:lnTo>
                    <a:pt x="557" y="254"/>
                  </a:lnTo>
                  <a:lnTo>
                    <a:pt x="557" y="255"/>
                  </a:lnTo>
                  <a:lnTo>
                    <a:pt x="557" y="256"/>
                  </a:lnTo>
                  <a:lnTo>
                    <a:pt x="558" y="258"/>
                  </a:lnTo>
                  <a:lnTo>
                    <a:pt x="559" y="260"/>
                  </a:lnTo>
                  <a:lnTo>
                    <a:pt x="561" y="263"/>
                  </a:lnTo>
                  <a:lnTo>
                    <a:pt x="562" y="265"/>
                  </a:lnTo>
                  <a:lnTo>
                    <a:pt x="563" y="267"/>
                  </a:lnTo>
                  <a:lnTo>
                    <a:pt x="563" y="268"/>
                  </a:lnTo>
                  <a:lnTo>
                    <a:pt x="564" y="271"/>
                  </a:lnTo>
                  <a:lnTo>
                    <a:pt x="564" y="271"/>
                  </a:lnTo>
                  <a:lnTo>
                    <a:pt x="564" y="272"/>
                  </a:lnTo>
                  <a:lnTo>
                    <a:pt x="564" y="273"/>
                  </a:lnTo>
                  <a:lnTo>
                    <a:pt x="564" y="275"/>
                  </a:lnTo>
                  <a:lnTo>
                    <a:pt x="564" y="276"/>
                  </a:lnTo>
                  <a:lnTo>
                    <a:pt x="564" y="277"/>
                  </a:lnTo>
                  <a:lnTo>
                    <a:pt x="563" y="279"/>
                  </a:lnTo>
                  <a:lnTo>
                    <a:pt x="562" y="281"/>
                  </a:lnTo>
                  <a:lnTo>
                    <a:pt x="562" y="283"/>
                  </a:lnTo>
                  <a:lnTo>
                    <a:pt x="561" y="284"/>
                  </a:lnTo>
                  <a:lnTo>
                    <a:pt x="560" y="286"/>
                  </a:lnTo>
                  <a:lnTo>
                    <a:pt x="558" y="289"/>
                  </a:lnTo>
                  <a:lnTo>
                    <a:pt x="557" y="290"/>
                  </a:lnTo>
                  <a:lnTo>
                    <a:pt x="555" y="292"/>
                  </a:lnTo>
                  <a:lnTo>
                    <a:pt x="553" y="294"/>
                  </a:lnTo>
                  <a:lnTo>
                    <a:pt x="552" y="296"/>
                  </a:lnTo>
                  <a:lnTo>
                    <a:pt x="551" y="297"/>
                  </a:lnTo>
                  <a:lnTo>
                    <a:pt x="551" y="298"/>
                  </a:lnTo>
                  <a:lnTo>
                    <a:pt x="551" y="299"/>
                  </a:lnTo>
                  <a:lnTo>
                    <a:pt x="551" y="299"/>
                  </a:lnTo>
                  <a:lnTo>
                    <a:pt x="552" y="301"/>
                  </a:lnTo>
                  <a:lnTo>
                    <a:pt x="552" y="303"/>
                  </a:lnTo>
                  <a:lnTo>
                    <a:pt x="552" y="303"/>
                  </a:lnTo>
                  <a:lnTo>
                    <a:pt x="552" y="304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09"/>
                  </a:lnTo>
                  <a:lnTo>
                    <a:pt x="551" y="309"/>
                  </a:lnTo>
                  <a:lnTo>
                    <a:pt x="551" y="309"/>
                  </a:lnTo>
                  <a:lnTo>
                    <a:pt x="552" y="310"/>
                  </a:lnTo>
                  <a:lnTo>
                    <a:pt x="553" y="310"/>
                  </a:lnTo>
                  <a:lnTo>
                    <a:pt x="558" y="312"/>
                  </a:lnTo>
                  <a:lnTo>
                    <a:pt x="563" y="313"/>
                  </a:lnTo>
                  <a:lnTo>
                    <a:pt x="564" y="314"/>
                  </a:lnTo>
                  <a:lnTo>
                    <a:pt x="566" y="315"/>
                  </a:lnTo>
                  <a:lnTo>
                    <a:pt x="569" y="315"/>
                  </a:lnTo>
                  <a:lnTo>
                    <a:pt x="571" y="315"/>
                  </a:lnTo>
                  <a:lnTo>
                    <a:pt x="572" y="316"/>
                  </a:lnTo>
                  <a:lnTo>
                    <a:pt x="573" y="316"/>
                  </a:lnTo>
                  <a:lnTo>
                    <a:pt x="574" y="317"/>
                  </a:lnTo>
                  <a:lnTo>
                    <a:pt x="578" y="319"/>
                  </a:lnTo>
                  <a:lnTo>
                    <a:pt x="579" y="320"/>
                  </a:lnTo>
                  <a:lnTo>
                    <a:pt x="581" y="322"/>
                  </a:lnTo>
                  <a:lnTo>
                    <a:pt x="581" y="322"/>
                  </a:lnTo>
                  <a:lnTo>
                    <a:pt x="582" y="323"/>
                  </a:lnTo>
                  <a:lnTo>
                    <a:pt x="582" y="324"/>
                  </a:lnTo>
                  <a:lnTo>
                    <a:pt x="583" y="324"/>
                  </a:lnTo>
                  <a:lnTo>
                    <a:pt x="583" y="325"/>
                  </a:lnTo>
                  <a:lnTo>
                    <a:pt x="583" y="326"/>
                  </a:lnTo>
                  <a:lnTo>
                    <a:pt x="583" y="327"/>
                  </a:lnTo>
                  <a:lnTo>
                    <a:pt x="584" y="327"/>
                  </a:lnTo>
                  <a:lnTo>
                    <a:pt x="583" y="329"/>
                  </a:lnTo>
                  <a:lnTo>
                    <a:pt x="583" y="331"/>
                  </a:lnTo>
                  <a:lnTo>
                    <a:pt x="583" y="333"/>
                  </a:lnTo>
                  <a:lnTo>
                    <a:pt x="582" y="333"/>
                  </a:lnTo>
                  <a:lnTo>
                    <a:pt x="582" y="334"/>
                  </a:lnTo>
                  <a:lnTo>
                    <a:pt x="581" y="334"/>
                  </a:lnTo>
                  <a:lnTo>
                    <a:pt x="581" y="335"/>
                  </a:lnTo>
                  <a:lnTo>
                    <a:pt x="580" y="335"/>
                  </a:lnTo>
                  <a:lnTo>
                    <a:pt x="579" y="336"/>
                  </a:lnTo>
                  <a:lnTo>
                    <a:pt x="578" y="336"/>
                  </a:lnTo>
                  <a:lnTo>
                    <a:pt x="577" y="337"/>
                  </a:lnTo>
                  <a:lnTo>
                    <a:pt x="575" y="337"/>
                  </a:lnTo>
                  <a:lnTo>
                    <a:pt x="573" y="338"/>
                  </a:lnTo>
                  <a:lnTo>
                    <a:pt x="572" y="338"/>
                  </a:lnTo>
                  <a:lnTo>
                    <a:pt x="572" y="339"/>
                  </a:lnTo>
                  <a:lnTo>
                    <a:pt x="571" y="339"/>
                  </a:lnTo>
                  <a:lnTo>
                    <a:pt x="571" y="340"/>
                  </a:lnTo>
                  <a:lnTo>
                    <a:pt x="570" y="340"/>
                  </a:lnTo>
                  <a:lnTo>
                    <a:pt x="570" y="341"/>
                  </a:lnTo>
                  <a:lnTo>
                    <a:pt x="570" y="341"/>
                  </a:lnTo>
                  <a:lnTo>
                    <a:pt x="570" y="342"/>
                  </a:lnTo>
                  <a:lnTo>
                    <a:pt x="570" y="342"/>
                  </a:lnTo>
                  <a:lnTo>
                    <a:pt x="571" y="343"/>
                  </a:lnTo>
                  <a:lnTo>
                    <a:pt x="571" y="344"/>
                  </a:lnTo>
                  <a:lnTo>
                    <a:pt x="573" y="345"/>
                  </a:lnTo>
                  <a:lnTo>
                    <a:pt x="573" y="346"/>
                  </a:lnTo>
                  <a:lnTo>
                    <a:pt x="573" y="346"/>
                  </a:lnTo>
                  <a:lnTo>
                    <a:pt x="574" y="347"/>
                  </a:lnTo>
                  <a:lnTo>
                    <a:pt x="574" y="347"/>
                  </a:lnTo>
                  <a:lnTo>
                    <a:pt x="573" y="348"/>
                  </a:lnTo>
                  <a:lnTo>
                    <a:pt x="572" y="350"/>
                  </a:lnTo>
                  <a:lnTo>
                    <a:pt x="572" y="350"/>
                  </a:lnTo>
                  <a:lnTo>
                    <a:pt x="571" y="351"/>
                  </a:lnTo>
                  <a:lnTo>
                    <a:pt x="571" y="353"/>
                  </a:lnTo>
                  <a:lnTo>
                    <a:pt x="571" y="357"/>
                  </a:lnTo>
                  <a:lnTo>
                    <a:pt x="570" y="358"/>
                  </a:lnTo>
                  <a:lnTo>
                    <a:pt x="570" y="359"/>
                  </a:lnTo>
                  <a:lnTo>
                    <a:pt x="570" y="360"/>
                  </a:lnTo>
                  <a:lnTo>
                    <a:pt x="569" y="361"/>
                  </a:lnTo>
                  <a:lnTo>
                    <a:pt x="569" y="362"/>
                  </a:lnTo>
                  <a:lnTo>
                    <a:pt x="568" y="362"/>
                  </a:lnTo>
                  <a:lnTo>
                    <a:pt x="567" y="363"/>
                  </a:lnTo>
                  <a:lnTo>
                    <a:pt x="566" y="364"/>
                  </a:lnTo>
                  <a:lnTo>
                    <a:pt x="563" y="366"/>
                  </a:lnTo>
                  <a:lnTo>
                    <a:pt x="562" y="367"/>
                  </a:lnTo>
                  <a:lnTo>
                    <a:pt x="562" y="368"/>
                  </a:lnTo>
                  <a:lnTo>
                    <a:pt x="562" y="368"/>
                  </a:lnTo>
                  <a:lnTo>
                    <a:pt x="562" y="369"/>
                  </a:lnTo>
                  <a:lnTo>
                    <a:pt x="562" y="369"/>
                  </a:lnTo>
                  <a:lnTo>
                    <a:pt x="562" y="369"/>
                  </a:lnTo>
                  <a:lnTo>
                    <a:pt x="562" y="370"/>
                  </a:lnTo>
                  <a:lnTo>
                    <a:pt x="562" y="370"/>
                  </a:lnTo>
                  <a:lnTo>
                    <a:pt x="563" y="372"/>
                  </a:lnTo>
                  <a:lnTo>
                    <a:pt x="564" y="372"/>
                  </a:lnTo>
                  <a:lnTo>
                    <a:pt x="564" y="373"/>
                  </a:lnTo>
                  <a:lnTo>
                    <a:pt x="564" y="373"/>
                  </a:lnTo>
                  <a:lnTo>
                    <a:pt x="564" y="373"/>
                  </a:lnTo>
                  <a:lnTo>
                    <a:pt x="563" y="374"/>
                  </a:lnTo>
                  <a:lnTo>
                    <a:pt x="563" y="374"/>
                  </a:lnTo>
                  <a:lnTo>
                    <a:pt x="561" y="375"/>
                  </a:lnTo>
                  <a:lnTo>
                    <a:pt x="560" y="376"/>
                  </a:lnTo>
                  <a:lnTo>
                    <a:pt x="559" y="376"/>
                  </a:lnTo>
                  <a:lnTo>
                    <a:pt x="558" y="377"/>
                  </a:lnTo>
                  <a:lnTo>
                    <a:pt x="557" y="377"/>
                  </a:lnTo>
                  <a:lnTo>
                    <a:pt x="557" y="378"/>
                  </a:lnTo>
                  <a:lnTo>
                    <a:pt x="556" y="379"/>
                  </a:lnTo>
                  <a:lnTo>
                    <a:pt x="556" y="379"/>
                  </a:lnTo>
                  <a:lnTo>
                    <a:pt x="556" y="380"/>
                  </a:lnTo>
                  <a:lnTo>
                    <a:pt x="556" y="380"/>
                  </a:lnTo>
                  <a:lnTo>
                    <a:pt x="556" y="381"/>
                  </a:lnTo>
                  <a:lnTo>
                    <a:pt x="556" y="382"/>
                  </a:lnTo>
                  <a:lnTo>
                    <a:pt x="557" y="383"/>
                  </a:lnTo>
                  <a:lnTo>
                    <a:pt x="557" y="385"/>
                  </a:lnTo>
                  <a:lnTo>
                    <a:pt x="558" y="386"/>
                  </a:lnTo>
                  <a:lnTo>
                    <a:pt x="559" y="387"/>
                  </a:lnTo>
                  <a:lnTo>
                    <a:pt x="560" y="388"/>
                  </a:lnTo>
                  <a:lnTo>
                    <a:pt x="561" y="388"/>
                  </a:lnTo>
                  <a:lnTo>
                    <a:pt x="563" y="389"/>
                  </a:lnTo>
                  <a:lnTo>
                    <a:pt x="564" y="390"/>
                  </a:lnTo>
                  <a:lnTo>
                    <a:pt x="566" y="391"/>
                  </a:lnTo>
                  <a:lnTo>
                    <a:pt x="568" y="391"/>
                  </a:lnTo>
                  <a:lnTo>
                    <a:pt x="571" y="392"/>
                  </a:lnTo>
                  <a:lnTo>
                    <a:pt x="572" y="393"/>
                  </a:lnTo>
                  <a:lnTo>
                    <a:pt x="573" y="393"/>
                  </a:lnTo>
                  <a:lnTo>
                    <a:pt x="575" y="394"/>
                  </a:lnTo>
                  <a:lnTo>
                    <a:pt x="576" y="395"/>
                  </a:lnTo>
                  <a:lnTo>
                    <a:pt x="577" y="395"/>
                  </a:lnTo>
                  <a:lnTo>
                    <a:pt x="578" y="397"/>
                  </a:lnTo>
                  <a:lnTo>
                    <a:pt x="579" y="397"/>
                  </a:lnTo>
                  <a:lnTo>
                    <a:pt x="579" y="398"/>
                  </a:lnTo>
                  <a:lnTo>
                    <a:pt x="580" y="398"/>
                  </a:lnTo>
                  <a:lnTo>
                    <a:pt x="582" y="399"/>
                  </a:lnTo>
                  <a:lnTo>
                    <a:pt x="585" y="399"/>
                  </a:lnTo>
                  <a:lnTo>
                    <a:pt x="586" y="400"/>
                  </a:lnTo>
                  <a:lnTo>
                    <a:pt x="588" y="400"/>
                  </a:lnTo>
                  <a:lnTo>
                    <a:pt x="589" y="400"/>
                  </a:lnTo>
                  <a:lnTo>
                    <a:pt x="590" y="400"/>
                  </a:lnTo>
                  <a:lnTo>
                    <a:pt x="590" y="401"/>
                  </a:lnTo>
                  <a:lnTo>
                    <a:pt x="591" y="401"/>
                  </a:lnTo>
                  <a:lnTo>
                    <a:pt x="592" y="402"/>
                  </a:lnTo>
                  <a:lnTo>
                    <a:pt x="593" y="403"/>
                  </a:lnTo>
                  <a:lnTo>
                    <a:pt x="593" y="403"/>
                  </a:lnTo>
                  <a:lnTo>
                    <a:pt x="595" y="404"/>
                  </a:lnTo>
                  <a:lnTo>
                    <a:pt x="595" y="404"/>
                  </a:lnTo>
                  <a:lnTo>
                    <a:pt x="596" y="404"/>
                  </a:lnTo>
                  <a:lnTo>
                    <a:pt x="596" y="405"/>
                  </a:lnTo>
                  <a:lnTo>
                    <a:pt x="596" y="406"/>
                  </a:lnTo>
                  <a:lnTo>
                    <a:pt x="596" y="406"/>
                  </a:lnTo>
                  <a:lnTo>
                    <a:pt x="597" y="408"/>
                  </a:lnTo>
                  <a:lnTo>
                    <a:pt x="597" y="411"/>
                  </a:lnTo>
                  <a:lnTo>
                    <a:pt x="597" y="412"/>
                  </a:lnTo>
                  <a:lnTo>
                    <a:pt x="597" y="413"/>
                  </a:lnTo>
                  <a:lnTo>
                    <a:pt x="598" y="414"/>
                  </a:lnTo>
                  <a:lnTo>
                    <a:pt x="598" y="415"/>
                  </a:lnTo>
                  <a:lnTo>
                    <a:pt x="599" y="415"/>
                  </a:lnTo>
                  <a:lnTo>
                    <a:pt x="599" y="416"/>
                  </a:lnTo>
                  <a:lnTo>
                    <a:pt x="601" y="418"/>
                  </a:lnTo>
                  <a:lnTo>
                    <a:pt x="602" y="419"/>
                  </a:lnTo>
                  <a:lnTo>
                    <a:pt x="604" y="420"/>
                  </a:lnTo>
                  <a:lnTo>
                    <a:pt x="606" y="422"/>
                  </a:lnTo>
                  <a:lnTo>
                    <a:pt x="609" y="424"/>
                  </a:lnTo>
                  <a:lnTo>
                    <a:pt x="610" y="424"/>
                  </a:lnTo>
                  <a:lnTo>
                    <a:pt x="614" y="426"/>
                  </a:lnTo>
                  <a:lnTo>
                    <a:pt x="615" y="427"/>
                  </a:lnTo>
                  <a:lnTo>
                    <a:pt x="617" y="428"/>
                  </a:lnTo>
                  <a:lnTo>
                    <a:pt x="618" y="429"/>
                  </a:lnTo>
                  <a:lnTo>
                    <a:pt x="619" y="430"/>
                  </a:lnTo>
                  <a:lnTo>
                    <a:pt x="620" y="431"/>
                  </a:lnTo>
                  <a:lnTo>
                    <a:pt x="621" y="432"/>
                  </a:lnTo>
                  <a:lnTo>
                    <a:pt x="621" y="433"/>
                  </a:lnTo>
                  <a:lnTo>
                    <a:pt x="621" y="434"/>
                  </a:lnTo>
                  <a:lnTo>
                    <a:pt x="621" y="435"/>
                  </a:lnTo>
                  <a:lnTo>
                    <a:pt x="621" y="436"/>
                  </a:lnTo>
                  <a:lnTo>
                    <a:pt x="621" y="438"/>
                  </a:lnTo>
                  <a:lnTo>
                    <a:pt x="621" y="441"/>
                  </a:lnTo>
                  <a:lnTo>
                    <a:pt x="620" y="442"/>
                  </a:lnTo>
                  <a:lnTo>
                    <a:pt x="620" y="443"/>
                  </a:lnTo>
                  <a:lnTo>
                    <a:pt x="620" y="444"/>
                  </a:lnTo>
                  <a:lnTo>
                    <a:pt x="620" y="445"/>
                  </a:lnTo>
                  <a:lnTo>
                    <a:pt x="621" y="446"/>
                  </a:lnTo>
                  <a:lnTo>
                    <a:pt x="621" y="450"/>
                  </a:lnTo>
                  <a:lnTo>
                    <a:pt x="622" y="451"/>
                  </a:lnTo>
                  <a:lnTo>
                    <a:pt x="622" y="453"/>
                  </a:lnTo>
                  <a:lnTo>
                    <a:pt x="622" y="454"/>
                  </a:lnTo>
                  <a:lnTo>
                    <a:pt x="621" y="455"/>
                  </a:lnTo>
                  <a:lnTo>
                    <a:pt x="621" y="457"/>
                  </a:lnTo>
                  <a:lnTo>
                    <a:pt x="620" y="459"/>
                  </a:lnTo>
                  <a:lnTo>
                    <a:pt x="619" y="462"/>
                  </a:lnTo>
                  <a:lnTo>
                    <a:pt x="617" y="467"/>
                  </a:lnTo>
                  <a:lnTo>
                    <a:pt x="616" y="468"/>
                  </a:lnTo>
                  <a:lnTo>
                    <a:pt x="615" y="469"/>
                  </a:lnTo>
                  <a:lnTo>
                    <a:pt x="613" y="472"/>
                  </a:lnTo>
                  <a:lnTo>
                    <a:pt x="612" y="473"/>
                  </a:lnTo>
                  <a:lnTo>
                    <a:pt x="612" y="474"/>
                  </a:lnTo>
                  <a:lnTo>
                    <a:pt x="612" y="475"/>
                  </a:lnTo>
                  <a:lnTo>
                    <a:pt x="611" y="476"/>
                  </a:lnTo>
                  <a:lnTo>
                    <a:pt x="611" y="477"/>
                  </a:lnTo>
                  <a:lnTo>
                    <a:pt x="611" y="482"/>
                  </a:lnTo>
                  <a:lnTo>
                    <a:pt x="610" y="487"/>
                  </a:lnTo>
                  <a:lnTo>
                    <a:pt x="609" y="492"/>
                  </a:lnTo>
                  <a:lnTo>
                    <a:pt x="609" y="495"/>
                  </a:lnTo>
                  <a:lnTo>
                    <a:pt x="609" y="496"/>
                  </a:lnTo>
                  <a:lnTo>
                    <a:pt x="609" y="496"/>
                  </a:lnTo>
                  <a:lnTo>
                    <a:pt x="609" y="497"/>
                  </a:lnTo>
                  <a:lnTo>
                    <a:pt x="608" y="498"/>
                  </a:lnTo>
                  <a:lnTo>
                    <a:pt x="607" y="499"/>
                  </a:lnTo>
                  <a:lnTo>
                    <a:pt x="606" y="499"/>
                  </a:lnTo>
                  <a:lnTo>
                    <a:pt x="605" y="500"/>
                  </a:lnTo>
                  <a:lnTo>
                    <a:pt x="602" y="503"/>
                  </a:lnTo>
                  <a:lnTo>
                    <a:pt x="599" y="505"/>
                  </a:lnTo>
                  <a:lnTo>
                    <a:pt x="598" y="506"/>
                  </a:lnTo>
                  <a:lnTo>
                    <a:pt x="597" y="506"/>
                  </a:lnTo>
                  <a:lnTo>
                    <a:pt x="596" y="507"/>
                  </a:lnTo>
                  <a:lnTo>
                    <a:pt x="595" y="507"/>
                  </a:lnTo>
                  <a:lnTo>
                    <a:pt x="594" y="508"/>
                  </a:lnTo>
                  <a:lnTo>
                    <a:pt x="593" y="508"/>
                  </a:lnTo>
                  <a:lnTo>
                    <a:pt x="590" y="508"/>
                  </a:lnTo>
                  <a:lnTo>
                    <a:pt x="589" y="508"/>
                  </a:lnTo>
                  <a:lnTo>
                    <a:pt x="588" y="509"/>
                  </a:lnTo>
                  <a:lnTo>
                    <a:pt x="586" y="510"/>
                  </a:lnTo>
                  <a:lnTo>
                    <a:pt x="585" y="510"/>
                  </a:lnTo>
                  <a:lnTo>
                    <a:pt x="584" y="511"/>
                  </a:lnTo>
                  <a:lnTo>
                    <a:pt x="583" y="511"/>
                  </a:lnTo>
                  <a:lnTo>
                    <a:pt x="582" y="512"/>
                  </a:lnTo>
                  <a:lnTo>
                    <a:pt x="581" y="514"/>
                  </a:lnTo>
                  <a:lnTo>
                    <a:pt x="579" y="515"/>
                  </a:lnTo>
                  <a:lnTo>
                    <a:pt x="579" y="516"/>
                  </a:lnTo>
                  <a:lnTo>
                    <a:pt x="578" y="517"/>
                  </a:lnTo>
                  <a:lnTo>
                    <a:pt x="578" y="518"/>
                  </a:lnTo>
                  <a:lnTo>
                    <a:pt x="578" y="518"/>
                  </a:lnTo>
                  <a:lnTo>
                    <a:pt x="577" y="519"/>
                  </a:lnTo>
                  <a:lnTo>
                    <a:pt x="577" y="520"/>
                  </a:lnTo>
                  <a:lnTo>
                    <a:pt x="577" y="521"/>
                  </a:lnTo>
                  <a:lnTo>
                    <a:pt x="577" y="522"/>
                  </a:lnTo>
                  <a:lnTo>
                    <a:pt x="577" y="523"/>
                  </a:lnTo>
                  <a:lnTo>
                    <a:pt x="578" y="524"/>
                  </a:lnTo>
                  <a:lnTo>
                    <a:pt x="579" y="528"/>
                  </a:lnTo>
                  <a:lnTo>
                    <a:pt x="580" y="530"/>
                  </a:lnTo>
                  <a:lnTo>
                    <a:pt x="580" y="531"/>
                  </a:lnTo>
                  <a:lnTo>
                    <a:pt x="580" y="532"/>
                  </a:lnTo>
                  <a:lnTo>
                    <a:pt x="581" y="533"/>
                  </a:lnTo>
                  <a:lnTo>
                    <a:pt x="581" y="533"/>
                  </a:lnTo>
                  <a:lnTo>
                    <a:pt x="581" y="534"/>
                  </a:lnTo>
                  <a:lnTo>
                    <a:pt x="580" y="535"/>
                  </a:lnTo>
                  <a:lnTo>
                    <a:pt x="580" y="536"/>
                  </a:lnTo>
                  <a:lnTo>
                    <a:pt x="580" y="536"/>
                  </a:lnTo>
                  <a:lnTo>
                    <a:pt x="579" y="536"/>
                  </a:lnTo>
                  <a:lnTo>
                    <a:pt x="579" y="537"/>
                  </a:lnTo>
                  <a:lnTo>
                    <a:pt x="578" y="538"/>
                  </a:lnTo>
                  <a:lnTo>
                    <a:pt x="578" y="538"/>
                  </a:lnTo>
                  <a:lnTo>
                    <a:pt x="577" y="539"/>
                  </a:lnTo>
                  <a:lnTo>
                    <a:pt x="576" y="539"/>
                  </a:lnTo>
                  <a:lnTo>
                    <a:pt x="574" y="539"/>
                  </a:lnTo>
                  <a:lnTo>
                    <a:pt x="573" y="539"/>
                  </a:lnTo>
                  <a:lnTo>
                    <a:pt x="572" y="539"/>
                  </a:lnTo>
                  <a:lnTo>
                    <a:pt x="570" y="539"/>
                  </a:lnTo>
                  <a:lnTo>
                    <a:pt x="566" y="539"/>
                  </a:lnTo>
                  <a:lnTo>
                    <a:pt x="563" y="539"/>
                  </a:lnTo>
                  <a:lnTo>
                    <a:pt x="563" y="539"/>
                  </a:lnTo>
                  <a:lnTo>
                    <a:pt x="562" y="539"/>
                  </a:lnTo>
                  <a:lnTo>
                    <a:pt x="561" y="540"/>
                  </a:lnTo>
                  <a:lnTo>
                    <a:pt x="560" y="540"/>
                  </a:lnTo>
                  <a:lnTo>
                    <a:pt x="559" y="541"/>
                  </a:lnTo>
                  <a:lnTo>
                    <a:pt x="558" y="542"/>
                  </a:lnTo>
                  <a:lnTo>
                    <a:pt x="557" y="544"/>
                  </a:lnTo>
                  <a:lnTo>
                    <a:pt x="554" y="547"/>
                  </a:lnTo>
                  <a:lnTo>
                    <a:pt x="553" y="548"/>
                  </a:lnTo>
                  <a:lnTo>
                    <a:pt x="553" y="549"/>
                  </a:lnTo>
                  <a:lnTo>
                    <a:pt x="551" y="550"/>
                  </a:lnTo>
                  <a:lnTo>
                    <a:pt x="549" y="552"/>
                  </a:lnTo>
                  <a:lnTo>
                    <a:pt x="547" y="553"/>
                  </a:lnTo>
                  <a:lnTo>
                    <a:pt x="546" y="553"/>
                  </a:lnTo>
                  <a:lnTo>
                    <a:pt x="544" y="554"/>
                  </a:lnTo>
                  <a:lnTo>
                    <a:pt x="541" y="555"/>
                  </a:lnTo>
                  <a:lnTo>
                    <a:pt x="539" y="555"/>
                  </a:lnTo>
                  <a:lnTo>
                    <a:pt x="537" y="556"/>
                  </a:lnTo>
                  <a:lnTo>
                    <a:pt x="532" y="557"/>
                  </a:lnTo>
                  <a:lnTo>
                    <a:pt x="530" y="558"/>
                  </a:lnTo>
                  <a:lnTo>
                    <a:pt x="527" y="559"/>
                  </a:lnTo>
                  <a:lnTo>
                    <a:pt x="525" y="559"/>
                  </a:lnTo>
                  <a:lnTo>
                    <a:pt x="523" y="560"/>
                  </a:lnTo>
                  <a:lnTo>
                    <a:pt x="521" y="561"/>
                  </a:lnTo>
                  <a:lnTo>
                    <a:pt x="516" y="564"/>
                  </a:lnTo>
                  <a:lnTo>
                    <a:pt x="515" y="564"/>
                  </a:lnTo>
                  <a:lnTo>
                    <a:pt x="514" y="565"/>
                  </a:lnTo>
                  <a:lnTo>
                    <a:pt x="512" y="565"/>
                  </a:lnTo>
                  <a:lnTo>
                    <a:pt x="511" y="566"/>
                  </a:lnTo>
                  <a:lnTo>
                    <a:pt x="510" y="566"/>
                  </a:lnTo>
                  <a:lnTo>
                    <a:pt x="509" y="566"/>
                  </a:lnTo>
                  <a:lnTo>
                    <a:pt x="508" y="565"/>
                  </a:lnTo>
                  <a:lnTo>
                    <a:pt x="507" y="565"/>
                  </a:lnTo>
                  <a:lnTo>
                    <a:pt x="507" y="565"/>
                  </a:lnTo>
                  <a:lnTo>
                    <a:pt x="506" y="565"/>
                  </a:lnTo>
                  <a:lnTo>
                    <a:pt x="504" y="564"/>
                  </a:lnTo>
                  <a:lnTo>
                    <a:pt x="504" y="564"/>
                  </a:lnTo>
                  <a:lnTo>
                    <a:pt x="503" y="563"/>
                  </a:lnTo>
                  <a:lnTo>
                    <a:pt x="502" y="564"/>
                  </a:lnTo>
                  <a:lnTo>
                    <a:pt x="501" y="564"/>
                  </a:lnTo>
                  <a:lnTo>
                    <a:pt x="500" y="564"/>
                  </a:lnTo>
                  <a:lnTo>
                    <a:pt x="498" y="565"/>
                  </a:lnTo>
                  <a:lnTo>
                    <a:pt x="497" y="565"/>
                  </a:lnTo>
                  <a:lnTo>
                    <a:pt x="497" y="566"/>
                  </a:lnTo>
                  <a:lnTo>
                    <a:pt x="496" y="566"/>
                  </a:lnTo>
                  <a:lnTo>
                    <a:pt x="495" y="567"/>
                  </a:lnTo>
                  <a:lnTo>
                    <a:pt x="495" y="568"/>
                  </a:lnTo>
                  <a:lnTo>
                    <a:pt x="494" y="569"/>
                  </a:lnTo>
                  <a:lnTo>
                    <a:pt x="494" y="570"/>
                  </a:lnTo>
                  <a:lnTo>
                    <a:pt x="493" y="570"/>
                  </a:lnTo>
                  <a:lnTo>
                    <a:pt x="492" y="573"/>
                  </a:lnTo>
                  <a:lnTo>
                    <a:pt x="492" y="574"/>
                  </a:lnTo>
                  <a:lnTo>
                    <a:pt x="490" y="577"/>
                  </a:lnTo>
                  <a:lnTo>
                    <a:pt x="489" y="581"/>
                  </a:lnTo>
                  <a:lnTo>
                    <a:pt x="488" y="583"/>
                  </a:lnTo>
                  <a:lnTo>
                    <a:pt x="487" y="584"/>
                  </a:lnTo>
                  <a:lnTo>
                    <a:pt x="486" y="585"/>
                  </a:lnTo>
                  <a:lnTo>
                    <a:pt x="478" y="595"/>
                  </a:lnTo>
                  <a:lnTo>
                    <a:pt x="477" y="596"/>
                  </a:lnTo>
                  <a:lnTo>
                    <a:pt x="477" y="597"/>
                  </a:lnTo>
                  <a:lnTo>
                    <a:pt x="476" y="599"/>
                  </a:lnTo>
                  <a:lnTo>
                    <a:pt x="476" y="600"/>
                  </a:lnTo>
                  <a:lnTo>
                    <a:pt x="475" y="602"/>
                  </a:lnTo>
                  <a:lnTo>
                    <a:pt x="475" y="603"/>
                  </a:lnTo>
                  <a:lnTo>
                    <a:pt x="475" y="604"/>
                  </a:lnTo>
                  <a:lnTo>
                    <a:pt x="475" y="606"/>
                  </a:lnTo>
                  <a:lnTo>
                    <a:pt x="474" y="607"/>
                  </a:lnTo>
                  <a:lnTo>
                    <a:pt x="475" y="609"/>
                  </a:lnTo>
                  <a:lnTo>
                    <a:pt x="475" y="610"/>
                  </a:lnTo>
                  <a:lnTo>
                    <a:pt x="475" y="612"/>
                  </a:lnTo>
                  <a:lnTo>
                    <a:pt x="475" y="614"/>
                  </a:lnTo>
                  <a:lnTo>
                    <a:pt x="476" y="615"/>
                  </a:lnTo>
                  <a:lnTo>
                    <a:pt x="476" y="617"/>
                  </a:lnTo>
                  <a:lnTo>
                    <a:pt x="477" y="618"/>
                  </a:lnTo>
                  <a:lnTo>
                    <a:pt x="477" y="619"/>
                  </a:lnTo>
                  <a:lnTo>
                    <a:pt x="478" y="620"/>
                  </a:lnTo>
                  <a:lnTo>
                    <a:pt x="479" y="621"/>
                  </a:lnTo>
                  <a:lnTo>
                    <a:pt x="480" y="621"/>
                  </a:lnTo>
                  <a:lnTo>
                    <a:pt x="485" y="624"/>
                  </a:lnTo>
                  <a:lnTo>
                    <a:pt x="487" y="625"/>
                  </a:lnTo>
                  <a:lnTo>
                    <a:pt x="491" y="626"/>
                  </a:lnTo>
                  <a:lnTo>
                    <a:pt x="492" y="626"/>
                  </a:lnTo>
                  <a:lnTo>
                    <a:pt x="494" y="627"/>
                  </a:lnTo>
                  <a:lnTo>
                    <a:pt x="495" y="628"/>
                  </a:lnTo>
                  <a:lnTo>
                    <a:pt x="496" y="628"/>
                  </a:lnTo>
                  <a:lnTo>
                    <a:pt x="496" y="629"/>
                  </a:lnTo>
                  <a:lnTo>
                    <a:pt x="497" y="630"/>
                  </a:lnTo>
                  <a:lnTo>
                    <a:pt x="498" y="630"/>
                  </a:lnTo>
                  <a:lnTo>
                    <a:pt x="499" y="633"/>
                  </a:lnTo>
                  <a:lnTo>
                    <a:pt x="501" y="635"/>
                  </a:lnTo>
                  <a:lnTo>
                    <a:pt x="501" y="636"/>
                  </a:lnTo>
                  <a:lnTo>
                    <a:pt x="502" y="638"/>
                  </a:lnTo>
                  <a:lnTo>
                    <a:pt x="502" y="639"/>
                  </a:lnTo>
                  <a:lnTo>
                    <a:pt x="503" y="640"/>
                  </a:lnTo>
                  <a:lnTo>
                    <a:pt x="503" y="642"/>
                  </a:lnTo>
                  <a:lnTo>
                    <a:pt x="503" y="643"/>
                  </a:lnTo>
                  <a:lnTo>
                    <a:pt x="503" y="645"/>
                  </a:lnTo>
                  <a:lnTo>
                    <a:pt x="503" y="646"/>
                  </a:lnTo>
                  <a:lnTo>
                    <a:pt x="502" y="647"/>
                  </a:lnTo>
                  <a:lnTo>
                    <a:pt x="502" y="648"/>
                  </a:lnTo>
                  <a:lnTo>
                    <a:pt x="502" y="650"/>
                  </a:lnTo>
                  <a:lnTo>
                    <a:pt x="501" y="651"/>
                  </a:lnTo>
                  <a:lnTo>
                    <a:pt x="500" y="651"/>
                  </a:lnTo>
                  <a:lnTo>
                    <a:pt x="500" y="652"/>
                  </a:lnTo>
                  <a:lnTo>
                    <a:pt x="499" y="653"/>
                  </a:lnTo>
                  <a:lnTo>
                    <a:pt x="498" y="654"/>
                  </a:lnTo>
                  <a:lnTo>
                    <a:pt x="496" y="656"/>
                  </a:lnTo>
                  <a:lnTo>
                    <a:pt x="494" y="657"/>
                  </a:lnTo>
                  <a:lnTo>
                    <a:pt x="493" y="657"/>
                  </a:lnTo>
                  <a:lnTo>
                    <a:pt x="492" y="658"/>
                  </a:lnTo>
                  <a:lnTo>
                    <a:pt x="490" y="658"/>
                  </a:lnTo>
                  <a:lnTo>
                    <a:pt x="489" y="658"/>
                  </a:lnTo>
                  <a:lnTo>
                    <a:pt x="488" y="658"/>
                  </a:lnTo>
                  <a:lnTo>
                    <a:pt x="485" y="658"/>
                  </a:lnTo>
                  <a:lnTo>
                    <a:pt x="484" y="658"/>
                  </a:lnTo>
                  <a:lnTo>
                    <a:pt x="481" y="658"/>
                  </a:lnTo>
                  <a:lnTo>
                    <a:pt x="479" y="657"/>
                  </a:lnTo>
                  <a:lnTo>
                    <a:pt x="478" y="657"/>
                  </a:lnTo>
                  <a:lnTo>
                    <a:pt x="478" y="658"/>
                  </a:lnTo>
                  <a:lnTo>
                    <a:pt x="477" y="658"/>
                  </a:lnTo>
                  <a:lnTo>
                    <a:pt x="476" y="658"/>
                  </a:lnTo>
                  <a:lnTo>
                    <a:pt x="475" y="659"/>
                  </a:lnTo>
                  <a:lnTo>
                    <a:pt x="473" y="660"/>
                  </a:lnTo>
                  <a:lnTo>
                    <a:pt x="473" y="661"/>
                  </a:lnTo>
                  <a:lnTo>
                    <a:pt x="472" y="661"/>
                  </a:lnTo>
                  <a:lnTo>
                    <a:pt x="472" y="662"/>
                  </a:lnTo>
                  <a:lnTo>
                    <a:pt x="471" y="662"/>
                  </a:lnTo>
                  <a:lnTo>
                    <a:pt x="470" y="665"/>
                  </a:lnTo>
                  <a:lnTo>
                    <a:pt x="470" y="667"/>
                  </a:lnTo>
                  <a:lnTo>
                    <a:pt x="469" y="668"/>
                  </a:lnTo>
                  <a:lnTo>
                    <a:pt x="468" y="670"/>
                  </a:lnTo>
                  <a:lnTo>
                    <a:pt x="467" y="670"/>
                  </a:lnTo>
                  <a:lnTo>
                    <a:pt x="467" y="671"/>
                  </a:lnTo>
                  <a:lnTo>
                    <a:pt x="466" y="671"/>
                  </a:lnTo>
                  <a:lnTo>
                    <a:pt x="466" y="671"/>
                  </a:lnTo>
                  <a:lnTo>
                    <a:pt x="465" y="671"/>
                  </a:lnTo>
                  <a:lnTo>
                    <a:pt x="465" y="671"/>
                  </a:lnTo>
                  <a:lnTo>
                    <a:pt x="464" y="671"/>
                  </a:lnTo>
                  <a:lnTo>
                    <a:pt x="463" y="670"/>
                  </a:lnTo>
                  <a:lnTo>
                    <a:pt x="461" y="668"/>
                  </a:lnTo>
                  <a:lnTo>
                    <a:pt x="459" y="668"/>
                  </a:lnTo>
                  <a:lnTo>
                    <a:pt x="459" y="667"/>
                  </a:lnTo>
                  <a:lnTo>
                    <a:pt x="457" y="667"/>
                  </a:lnTo>
                  <a:lnTo>
                    <a:pt x="454" y="666"/>
                  </a:lnTo>
                  <a:lnTo>
                    <a:pt x="453" y="666"/>
                  </a:lnTo>
                  <a:lnTo>
                    <a:pt x="451" y="665"/>
                  </a:lnTo>
                  <a:lnTo>
                    <a:pt x="447" y="664"/>
                  </a:lnTo>
                  <a:lnTo>
                    <a:pt x="447" y="663"/>
                  </a:lnTo>
                  <a:lnTo>
                    <a:pt x="446" y="663"/>
                  </a:lnTo>
                  <a:lnTo>
                    <a:pt x="446" y="663"/>
                  </a:lnTo>
                  <a:lnTo>
                    <a:pt x="445" y="663"/>
                  </a:lnTo>
                  <a:lnTo>
                    <a:pt x="443" y="664"/>
                  </a:lnTo>
                  <a:lnTo>
                    <a:pt x="441" y="665"/>
                  </a:lnTo>
                  <a:lnTo>
                    <a:pt x="436" y="667"/>
                  </a:lnTo>
                  <a:lnTo>
                    <a:pt x="433" y="668"/>
                  </a:lnTo>
                  <a:lnTo>
                    <a:pt x="432" y="668"/>
                  </a:lnTo>
                  <a:lnTo>
                    <a:pt x="430" y="669"/>
                  </a:lnTo>
                  <a:lnTo>
                    <a:pt x="428" y="669"/>
                  </a:lnTo>
                  <a:lnTo>
                    <a:pt x="426" y="669"/>
                  </a:lnTo>
                  <a:lnTo>
                    <a:pt x="424" y="669"/>
                  </a:lnTo>
                  <a:lnTo>
                    <a:pt x="422" y="669"/>
                  </a:lnTo>
                  <a:lnTo>
                    <a:pt x="421" y="669"/>
                  </a:lnTo>
                  <a:lnTo>
                    <a:pt x="415" y="668"/>
                  </a:lnTo>
                  <a:lnTo>
                    <a:pt x="413" y="668"/>
                  </a:lnTo>
                  <a:lnTo>
                    <a:pt x="409" y="668"/>
                  </a:lnTo>
                  <a:lnTo>
                    <a:pt x="408" y="667"/>
                  </a:lnTo>
                  <a:lnTo>
                    <a:pt x="406" y="667"/>
                  </a:lnTo>
                  <a:lnTo>
                    <a:pt x="404" y="667"/>
                  </a:lnTo>
                  <a:lnTo>
                    <a:pt x="399" y="665"/>
                  </a:lnTo>
                  <a:lnTo>
                    <a:pt x="398" y="665"/>
                  </a:lnTo>
                  <a:lnTo>
                    <a:pt x="396" y="665"/>
                  </a:lnTo>
                  <a:lnTo>
                    <a:pt x="395" y="665"/>
                  </a:lnTo>
                  <a:lnTo>
                    <a:pt x="394" y="665"/>
                  </a:lnTo>
                  <a:lnTo>
                    <a:pt x="393" y="666"/>
                  </a:lnTo>
                  <a:lnTo>
                    <a:pt x="392" y="666"/>
                  </a:lnTo>
                  <a:lnTo>
                    <a:pt x="392" y="666"/>
                  </a:lnTo>
                  <a:lnTo>
                    <a:pt x="391" y="667"/>
                  </a:lnTo>
                  <a:lnTo>
                    <a:pt x="390" y="667"/>
                  </a:lnTo>
                  <a:lnTo>
                    <a:pt x="390" y="668"/>
                  </a:lnTo>
                  <a:lnTo>
                    <a:pt x="389" y="669"/>
                  </a:lnTo>
                  <a:lnTo>
                    <a:pt x="389" y="669"/>
                  </a:lnTo>
                  <a:lnTo>
                    <a:pt x="389" y="670"/>
                  </a:lnTo>
                  <a:lnTo>
                    <a:pt x="389" y="671"/>
                  </a:lnTo>
                  <a:lnTo>
                    <a:pt x="389" y="672"/>
                  </a:lnTo>
                  <a:lnTo>
                    <a:pt x="390" y="675"/>
                  </a:lnTo>
                  <a:lnTo>
                    <a:pt x="390" y="676"/>
                  </a:lnTo>
                  <a:lnTo>
                    <a:pt x="390" y="677"/>
                  </a:lnTo>
                  <a:lnTo>
                    <a:pt x="390" y="677"/>
                  </a:lnTo>
                  <a:lnTo>
                    <a:pt x="390" y="678"/>
                  </a:lnTo>
                  <a:lnTo>
                    <a:pt x="390" y="678"/>
                  </a:lnTo>
                  <a:lnTo>
                    <a:pt x="389" y="679"/>
                  </a:lnTo>
                  <a:lnTo>
                    <a:pt x="389" y="679"/>
                  </a:lnTo>
                  <a:lnTo>
                    <a:pt x="388" y="680"/>
                  </a:lnTo>
                  <a:lnTo>
                    <a:pt x="387" y="680"/>
                  </a:lnTo>
                  <a:lnTo>
                    <a:pt x="386" y="681"/>
                  </a:lnTo>
                  <a:lnTo>
                    <a:pt x="384" y="681"/>
                  </a:lnTo>
                  <a:lnTo>
                    <a:pt x="378" y="683"/>
                  </a:lnTo>
                  <a:lnTo>
                    <a:pt x="376" y="683"/>
                  </a:lnTo>
                  <a:lnTo>
                    <a:pt x="376" y="684"/>
                  </a:lnTo>
                  <a:lnTo>
                    <a:pt x="375" y="684"/>
                  </a:lnTo>
                  <a:lnTo>
                    <a:pt x="375" y="684"/>
                  </a:lnTo>
                  <a:lnTo>
                    <a:pt x="374" y="685"/>
                  </a:lnTo>
                  <a:lnTo>
                    <a:pt x="374" y="686"/>
                  </a:lnTo>
                  <a:lnTo>
                    <a:pt x="373" y="687"/>
                  </a:lnTo>
                  <a:lnTo>
                    <a:pt x="373" y="688"/>
                  </a:lnTo>
                  <a:lnTo>
                    <a:pt x="373" y="689"/>
                  </a:lnTo>
                  <a:lnTo>
                    <a:pt x="372" y="690"/>
                  </a:lnTo>
                  <a:lnTo>
                    <a:pt x="372" y="694"/>
                  </a:lnTo>
                  <a:lnTo>
                    <a:pt x="371" y="696"/>
                  </a:lnTo>
                  <a:lnTo>
                    <a:pt x="371" y="697"/>
                  </a:lnTo>
                  <a:lnTo>
                    <a:pt x="369" y="700"/>
                  </a:lnTo>
                  <a:lnTo>
                    <a:pt x="369" y="701"/>
                  </a:lnTo>
                  <a:lnTo>
                    <a:pt x="368" y="701"/>
                  </a:lnTo>
                  <a:lnTo>
                    <a:pt x="367" y="702"/>
                  </a:lnTo>
                  <a:lnTo>
                    <a:pt x="367" y="702"/>
                  </a:lnTo>
                  <a:lnTo>
                    <a:pt x="366" y="702"/>
                  </a:lnTo>
                  <a:lnTo>
                    <a:pt x="365" y="702"/>
                  </a:lnTo>
                  <a:lnTo>
                    <a:pt x="364" y="702"/>
                  </a:lnTo>
                  <a:lnTo>
                    <a:pt x="363" y="702"/>
                  </a:lnTo>
                  <a:lnTo>
                    <a:pt x="362" y="702"/>
                  </a:lnTo>
                  <a:lnTo>
                    <a:pt x="361" y="702"/>
                  </a:lnTo>
                  <a:lnTo>
                    <a:pt x="360" y="702"/>
                  </a:lnTo>
                  <a:lnTo>
                    <a:pt x="359" y="701"/>
                  </a:lnTo>
                  <a:lnTo>
                    <a:pt x="358" y="701"/>
                  </a:lnTo>
                  <a:lnTo>
                    <a:pt x="357" y="700"/>
                  </a:lnTo>
                  <a:lnTo>
                    <a:pt x="355" y="699"/>
                  </a:lnTo>
                  <a:lnTo>
                    <a:pt x="355" y="698"/>
                  </a:lnTo>
                  <a:lnTo>
                    <a:pt x="354" y="697"/>
                  </a:lnTo>
                  <a:lnTo>
                    <a:pt x="353" y="696"/>
                  </a:lnTo>
                  <a:lnTo>
                    <a:pt x="352" y="694"/>
                  </a:lnTo>
                  <a:lnTo>
                    <a:pt x="350" y="690"/>
                  </a:lnTo>
                  <a:lnTo>
                    <a:pt x="348" y="686"/>
                  </a:lnTo>
                  <a:lnTo>
                    <a:pt x="347" y="684"/>
                  </a:lnTo>
                  <a:lnTo>
                    <a:pt x="346" y="682"/>
                  </a:lnTo>
                  <a:lnTo>
                    <a:pt x="345" y="680"/>
                  </a:lnTo>
                  <a:lnTo>
                    <a:pt x="344" y="678"/>
                  </a:lnTo>
                  <a:lnTo>
                    <a:pt x="344" y="677"/>
                  </a:lnTo>
                  <a:lnTo>
                    <a:pt x="343" y="677"/>
                  </a:lnTo>
                  <a:lnTo>
                    <a:pt x="343" y="677"/>
                  </a:lnTo>
                  <a:lnTo>
                    <a:pt x="342" y="676"/>
                  </a:lnTo>
                  <a:lnTo>
                    <a:pt x="342" y="676"/>
                  </a:lnTo>
                  <a:lnTo>
                    <a:pt x="341" y="676"/>
                  </a:lnTo>
                  <a:lnTo>
                    <a:pt x="341" y="676"/>
                  </a:lnTo>
                  <a:lnTo>
                    <a:pt x="339" y="677"/>
                  </a:lnTo>
                  <a:lnTo>
                    <a:pt x="338" y="677"/>
                  </a:lnTo>
                  <a:lnTo>
                    <a:pt x="337" y="678"/>
                  </a:lnTo>
                  <a:lnTo>
                    <a:pt x="335" y="679"/>
                  </a:lnTo>
                  <a:lnTo>
                    <a:pt x="334" y="679"/>
                  </a:lnTo>
                  <a:lnTo>
                    <a:pt x="333" y="680"/>
                  </a:lnTo>
                  <a:lnTo>
                    <a:pt x="333" y="680"/>
                  </a:lnTo>
                  <a:lnTo>
                    <a:pt x="332" y="679"/>
                  </a:lnTo>
                  <a:lnTo>
                    <a:pt x="332" y="679"/>
                  </a:lnTo>
                  <a:lnTo>
                    <a:pt x="330" y="679"/>
                  </a:lnTo>
                  <a:lnTo>
                    <a:pt x="329" y="678"/>
                  </a:lnTo>
                  <a:lnTo>
                    <a:pt x="328" y="677"/>
                  </a:lnTo>
                  <a:lnTo>
                    <a:pt x="326" y="676"/>
                  </a:lnTo>
                  <a:lnTo>
                    <a:pt x="324" y="674"/>
                  </a:lnTo>
                  <a:lnTo>
                    <a:pt x="319" y="670"/>
                  </a:lnTo>
                  <a:lnTo>
                    <a:pt x="318" y="669"/>
                  </a:lnTo>
                  <a:lnTo>
                    <a:pt x="317" y="668"/>
                  </a:lnTo>
                  <a:lnTo>
                    <a:pt x="316" y="667"/>
                  </a:lnTo>
                  <a:lnTo>
                    <a:pt x="314" y="667"/>
                  </a:lnTo>
                  <a:lnTo>
                    <a:pt x="309" y="664"/>
                  </a:lnTo>
                  <a:lnTo>
                    <a:pt x="306" y="663"/>
                  </a:lnTo>
                  <a:lnTo>
                    <a:pt x="305" y="662"/>
                  </a:lnTo>
                  <a:lnTo>
                    <a:pt x="302" y="660"/>
                  </a:lnTo>
                  <a:lnTo>
                    <a:pt x="301" y="659"/>
                  </a:lnTo>
                  <a:lnTo>
                    <a:pt x="300" y="659"/>
                  </a:lnTo>
                  <a:lnTo>
                    <a:pt x="299" y="659"/>
                  </a:lnTo>
                  <a:lnTo>
                    <a:pt x="298" y="659"/>
                  </a:lnTo>
                  <a:lnTo>
                    <a:pt x="298" y="659"/>
                  </a:lnTo>
                  <a:lnTo>
                    <a:pt x="297" y="659"/>
                  </a:lnTo>
                  <a:lnTo>
                    <a:pt x="296" y="659"/>
                  </a:lnTo>
                  <a:lnTo>
                    <a:pt x="294" y="661"/>
                  </a:lnTo>
                  <a:lnTo>
                    <a:pt x="291" y="663"/>
                  </a:lnTo>
                  <a:lnTo>
                    <a:pt x="290" y="664"/>
                  </a:lnTo>
                  <a:lnTo>
                    <a:pt x="290" y="665"/>
                  </a:lnTo>
                  <a:lnTo>
                    <a:pt x="289" y="666"/>
                  </a:lnTo>
                  <a:lnTo>
                    <a:pt x="288" y="667"/>
                  </a:lnTo>
                  <a:lnTo>
                    <a:pt x="287" y="668"/>
                  </a:lnTo>
                  <a:lnTo>
                    <a:pt x="287" y="669"/>
                  </a:lnTo>
                  <a:lnTo>
                    <a:pt x="285" y="670"/>
                  </a:lnTo>
                  <a:lnTo>
                    <a:pt x="284" y="671"/>
                  </a:lnTo>
                  <a:lnTo>
                    <a:pt x="284" y="672"/>
                  </a:lnTo>
                  <a:lnTo>
                    <a:pt x="283" y="673"/>
                  </a:lnTo>
                  <a:lnTo>
                    <a:pt x="283" y="673"/>
                  </a:lnTo>
                  <a:lnTo>
                    <a:pt x="283" y="674"/>
                  </a:lnTo>
                  <a:lnTo>
                    <a:pt x="283" y="676"/>
                  </a:lnTo>
                  <a:lnTo>
                    <a:pt x="283" y="678"/>
                  </a:lnTo>
                  <a:lnTo>
                    <a:pt x="282" y="679"/>
                  </a:lnTo>
                  <a:lnTo>
                    <a:pt x="281" y="683"/>
                  </a:lnTo>
                  <a:lnTo>
                    <a:pt x="281" y="684"/>
                  </a:lnTo>
                  <a:lnTo>
                    <a:pt x="281" y="686"/>
                  </a:lnTo>
                  <a:lnTo>
                    <a:pt x="281" y="687"/>
                  </a:lnTo>
                  <a:lnTo>
                    <a:pt x="281" y="688"/>
                  </a:lnTo>
                  <a:lnTo>
                    <a:pt x="282" y="690"/>
                  </a:lnTo>
                  <a:lnTo>
                    <a:pt x="283" y="693"/>
                  </a:lnTo>
                  <a:lnTo>
                    <a:pt x="283" y="696"/>
                  </a:lnTo>
                  <a:lnTo>
                    <a:pt x="284" y="697"/>
                  </a:lnTo>
                  <a:lnTo>
                    <a:pt x="284" y="698"/>
                  </a:lnTo>
                  <a:lnTo>
                    <a:pt x="284" y="699"/>
                  </a:lnTo>
                  <a:lnTo>
                    <a:pt x="283" y="700"/>
                  </a:lnTo>
                  <a:lnTo>
                    <a:pt x="283" y="701"/>
                  </a:lnTo>
                  <a:lnTo>
                    <a:pt x="282" y="701"/>
                  </a:lnTo>
                  <a:lnTo>
                    <a:pt x="282" y="702"/>
                  </a:lnTo>
                  <a:lnTo>
                    <a:pt x="280" y="702"/>
                  </a:lnTo>
                  <a:lnTo>
                    <a:pt x="279" y="703"/>
                  </a:lnTo>
                  <a:lnTo>
                    <a:pt x="277" y="704"/>
                  </a:lnTo>
                  <a:lnTo>
                    <a:pt x="276" y="704"/>
                  </a:lnTo>
                  <a:lnTo>
                    <a:pt x="271" y="706"/>
                  </a:lnTo>
                  <a:lnTo>
                    <a:pt x="269" y="706"/>
                  </a:lnTo>
                  <a:lnTo>
                    <a:pt x="268" y="707"/>
                  </a:lnTo>
                  <a:lnTo>
                    <a:pt x="267" y="707"/>
                  </a:lnTo>
                  <a:lnTo>
                    <a:pt x="264" y="709"/>
                  </a:lnTo>
                  <a:lnTo>
                    <a:pt x="262" y="711"/>
                  </a:lnTo>
                  <a:lnTo>
                    <a:pt x="258" y="715"/>
                  </a:lnTo>
                  <a:lnTo>
                    <a:pt x="256" y="717"/>
                  </a:lnTo>
                  <a:lnTo>
                    <a:pt x="254" y="718"/>
                  </a:lnTo>
                  <a:lnTo>
                    <a:pt x="252" y="720"/>
                  </a:lnTo>
                  <a:lnTo>
                    <a:pt x="251" y="721"/>
                  </a:lnTo>
                  <a:lnTo>
                    <a:pt x="250" y="724"/>
                  </a:lnTo>
                  <a:lnTo>
                    <a:pt x="249" y="725"/>
                  </a:lnTo>
                  <a:lnTo>
                    <a:pt x="249" y="726"/>
                  </a:lnTo>
                  <a:lnTo>
                    <a:pt x="248" y="726"/>
                  </a:lnTo>
                  <a:lnTo>
                    <a:pt x="247" y="726"/>
                  </a:lnTo>
                  <a:lnTo>
                    <a:pt x="247" y="726"/>
                  </a:lnTo>
                  <a:lnTo>
                    <a:pt x="246" y="726"/>
                  </a:lnTo>
                  <a:lnTo>
                    <a:pt x="246" y="726"/>
                  </a:lnTo>
                  <a:lnTo>
                    <a:pt x="245" y="726"/>
                  </a:lnTo>
                  <a:lnTo>
                    <a:pt x="245" y="726"/>
                  </a:lnTo>
                  <a:lnTo>
                    <a:pt x="244" y="725"/>
                  </a:lnTo>
                  <a:lnTo>
                    <a:pt x="241" y="724"/>
                  </a:lnTo>
                  <a:lnTo>
                    <a:pt x="240" y="723"/>
                  </a:lnTo>
                  <a:lnTo>
                    <a:pt x="239" y="722"/>
                  </a:lnTo>
                  <a:lnTo>
                    <a:pt x="237" y="721"/>
                  </a:lnTo>
                  <a:lnTo>
                    <a:pt x="234" y="721"/>
                  </a:lnTo>
                  <a:lnTo>
                    <a:pt x="232" y="720"/>
                  </a:lnTo>
                  <a:lnTo>
                    <a:pt x="230" y="720"/>
                  </a:lnTo>
                  <a:lnTo>
                    <a:pt x="227" y="719"/>
                  </a:lnTo>
                  <a:lnTo>
                    <a:pt x="225" y="719"/>
                  </a:lnTo>
                  <a:lnTo>
                    <a:pt x="224" y="719"/>
                  </a:lnTo>
                  <a:lnTo>
                    <a:pt x="223" y="719"/>
                  </a:lnTo>
                  <a:lnTo>
                    <a:pt x="223" y="718"/>
                  </a:lnTo>
                  <a:lnTo>
                    <a:pt x="222" y="718"/>
                  </a:lnTo>
                  <a:lnTo>
                    <a:pt x="221" y="717"/>
                  </a:lnTo>
                  <a:lnTo>
                    <a:pt x="221" y="717"/>
                  </a:lnTo>
                  <a:lnTo>
                    <a:pt x="221" y="716"/>
                  </a:lnTo>
                  <a:lnTo>
                    <a:pt x="220" y="716"/>
                  </a:lnTo>
                  <a:lnTo>
                    <a:pt x="220" y="715"/>
                  </a:lnTo>
                  <a:lnTo>
                    <a:pt x="221" y="714"/>
                  </a:lnTo>
                  <a:lnTo>
                    <a:pt x="221" y="711"/>
                  </a:lnTo>
                  <a:lnTo>
                    <a:pt x="221" y="710"/>
                  </a:lnTo>
                  <a:lnTo>
                    <a:pt x="221" y="709"/>
                  </a:lnTo>
                  <a:lnTo>
                    <a:pt x="221" y="708"/>
                  </a:lnTo>
                  <a:lnTo>
                    <a:pt x="221" y="708"/>
                  </a:lnTo>
                  <a:lnTo>
                    <a:pt x="221" y="708"/>
                  </a:lnTo>
                  <a:lnTo>
                    <a:pt x="220" y="708"/>
                  </a:lnTo>
                  <a:lnTo>
                    <a:pt x="220" y="708"/>
                  </a:lnTo>
                  <a:lnTo>
                    <a:pt x="217" y="709"/>
                  </a:lnTo>
                  <a:lnTo>
                    <a:pt x="215" y="709"/>
                  </a:lnTo>
                  <a:lnTo>
                    <a:pt x="213" y="710"/>
                  </a:lnTo>
                  <a:lnTo>
                    <a:pt x="210" y="710"/>
                  </a:lnTo>
                  <a:lnTo>
                    <a:pt x="209" y="710"/>
                  </a:lnTo>
                  <a:lnTo>
                    <a:pt x="208" y="711"/>
                  </a:lnTo>
                  <a:lnTo>
                    <a:pt x="205" y="710"/>
                  </a:lnTo>
                  <a:lnTo>
                    <a:pt x="203" y="710"/>
                  </a:lnTo>
                  <a:lnTo>
                    <a:pt x="198" y="710"/>
                  </a:lnTo>
                  <a:lnTo>
                    <a:pt x="195" y="709"/>
                  </a:lnTo>
                  <a:lnTo>
                    <a:pt x="194" y="709"/>
                  </a:lnTo>
                  <a:lnTo>
                    <a:pt x="192" y="708"/>
                  </a:lnTo>
                  <a:lnTo>
                    <a:pt x="191" y="708"/>
                  </a:lnTo>
                  <a:lnTo>
                    <a:pt x="188" y="706"/>
                  </a:lnTo>
                  <a:lnTo>
                    <a:pt x="187" y="706"/>
                  </a:lnTo>
                  <a:lnTo>
                    <a:pt x="186" y="706"/>
                  </a:lnTo>
                  <a:lnTo>
                    <a:pt x="185" y="706"/>
                  </a:lnTo>
                  <a:lnTo>
                    <a:pt x="184" y="705"/>
                  </a:lnTo>
                  <a:lnTo>
                    <a:pt x="181" y="705"/>
                  </a:lnTo>
                  <a:lnTo>
                    <a:pt x="180" y="705"/>
                  </a:lnTo>
                  <a:lnTo>
                    <a:pt x="178" y="705"/>
                  </a:lnTo>
                  <a:lnTo>
                    <a:pt x="177" y="705"/>
                  </a:lnTo>
                  <a:lnTo>
                    <a:pt x="177" y="706"/>
                  </a:lnTo>
                  <a:lnTo>
                    <a:pt x="175" y="706"/>
                  </a:lnTo>
                  <a:lnTo>
                    <a:pt x="173" y="707"/>
                  </a:lnTo>
                  <a:lnTo>
                    <a:pt x="171" y="709"/>
                  </a:lnTo>
                  <a:lnTo>
                    <a:pt x="171" y="709"/>
                  </a:lnTo>
                  <a:lnTo>
                    <a:pt x="170" y="709"/>
                  </a:lnTo>
                  <a:lnTo>
                    <a:pt x="170" y="709"/>
                  </a:lnTo>
                  <a:lnTo>
                    <a:pt x="169" y="709"/>
                  </a:lnTo>
                  <a:lnTo>
                    <a:pt x="168" y="709"/>
                  </a:lnTo>
                  <a:lnTo>
                    <a:pt x="166" y="708"/>
                  </a:lnTo>
                  <a:lnTo>
                    <a:pt x="165" y="707"/>
                  </a:lnTo>
                  <a:lnTo>
                    <a:pt x="160" y="704"/>
                  </a:lnTo>
                  <a:lnTo>
                    <a:pt x="159" y="703"/>
                  </a:lnTo>
                  <a:lnTo>
                    <a:pt x="158" y="703"/>
                  </a:lnTo>
                  <a:lnTo>
                    <a:pt x="155" y="702"/>
                  </a:lnTo>
                  <a:lnTo>
                    <a:pt x="154" y="701"/>
                  </a:lnTo>
                  <a:lnTo>
                    <a:pt x="153" y="700"/>
                  </a:lnTo>
                  <a:lnTo>
                    <a:pt x="149" y="698"/>
                  </a:lnTo>
                  <a:lnTo>
                    <a:pt x="148" y="698"/>
                  </a:lnTo>
                  <a:lnTo>
                    <a:pt x="147" y="697"/>
                  </a:lnTo>
                  <a:lnTo>
                    <a:pt x="147" y="698"/>
                  </a:lnTo>
                  <a:lnTo>
                    <a:pt x="146" y="698"/>
                  </a:lnTo>
                  <a:lnTo>
                    <a:pt x="146" y="698"/>
                  </a:lnTo>
                  <a:lnTo>
                    <a:pt x="145" y="699"/>
                  </a:lnTo>
                  <a:lnTo>
                    <a:pt x="145" y="699"/>
                  </a:lnTo>
                  <a:lnTo>
                    <a:pt x="145" y="699"/>
                  </a:lnTo>
                  <a:lnTo>
                    <a:pt x="145" y="700"/>
                  </a:lnTo>
                  <a:lnTo>
                    <a:pt x="145" y="703"/>
                  </a:lnTo>
                  <a:lnTo>
                    <a:pt x="145" y="705"/>
                  </a:lnTo>
                  <a:lnTo>
                    <a:pt x="145" y="705"/>
                  </a:lnTo>
                  <a:lnTo>
                    <a:pt x="145" y="706"/>
                  </a:lnTo>
                  <a:lnTo>
                    <a:pt x="145" y="706"/>
                  </a:lnTo>
                  <a:lnTo>
                    <a:pt x="144" y="706"/>
                  </a:lnTo>
                  <a:lnTo>
                    <a:pt x="144" y="706"/>
                  </a:lnTo>
                  <a:lnTo>
                    <a:pt x="143" y="706"/>
                  </a:lnTo>
                  <a:lnTo>
                    <a:pt x="141" y="706"/>
                  </a:lnTo>
                  <a:lnTo>
                    <a:pt x="139" y="706"/>
                  </a:lnTo>
                  <a:lnTo>
                    <a:pt x="138" y="706"/>
                  </a:lnTo>
                  <a:lnTo>
                    <a:pt x="137" y="707"/>
                  </a:lnTo>
                  <a:lnTo>
                    <a:pt x="135" y="707"/>
                  </a:lnTo>
                  <a:lnTo>
                    <a:pt x="134" y="708"/>
                  </a:lnTo>
                  <a:lnTo>
                    <a:pt x="133" y="709"/>
                  </a:lnTo>
                  <a:lnTo>
                    <a:pt x="129" y="712"/>
                  </a:lnTo>
                  <a:lnTo>
                    <a:pt x="128" y="712"/>
                  </a:lnTo>
                  <a:lnTo>
                    <a:pt x="127" y="713"/>
                  </a:lnTo>
                  <a:lnTo>
                    <a:pt x="127" y="713"/>
                  </a:lnTo>
                  <a:lnTo>
                    <a:pt x="124" y="714"/>
                  </a:lnTo>
                  <a:lnTo>
                    <a:pt x="123" y="714"/>
                  </a:lnTo>
                  <a:lnTo>
                    <a:pt x="122" y="714"/>
                  </a:lnTo>
                  <a:lnTo>
                    <a:pt x="120" y="713"/>
                  </a:lnTo>
                  <a:lnTo>
                    <a:pt x="118" y="713"/>
                  </a:lnTo>
                  <a:lnTo>
                    <a:pt x="115" y="713"/>
                  </a:lnTo>
                  <a:lnTo>
                    <a:pt x="114" y="712"/>
                  </a:lnTo>
                  <a:lnTo>
                    <a:pt x="114" y="712"/>
                  </a:lnTo>
                  <a:lnTo>
                    <a:pt x="114" y="712"/>
                  </a:lnTo>
                  <a:lnTo>
                    <a:pt x="113" y="712"/>
                  </a:lnTo>
                  <a:lnTo>
                    <a:pt x="113" y="711"/>
                  </a:lnTo>
                  <a:lnTo>
                    <a:pt x="112" y="708"/>
                  </a:lnTo>
                  <a:lnTo>
                    <a:pt x="111" y="708"/>
                  </a:lnTo>
                  <a:lnTo>
                    <a:pt x="111" y="707"/>
                  </a:lnTo>
                  <a:lnTo>
                    <a:pt x="110" y="706"/>
                  </a:lnTo>
                  <a:lnTo>
                    <a:pt x="109" y="705"/>
                  </a:lnTo>
                  <a:lnTo>
                    <a:pt x="108" y="704"/>
                  </a:lnTo>
                  <a:lnTo>
                    <a:pt x="108" y="704"/>
                  </a:lnTo>
                  <a:lnTo>
                    <a:pt x="107" y="703"/>
                  </a:lnTo>
                  <a:lnTo>
                    <a:pt x="105" y="702"/>
                  </a:lnTo>
                  <a:lnTo>
                    <a:pt x="103" y="701"/>
                  </a:lnTo>
                  <a:lnTo>
                    <a:pt x="100" y="700"/>
                  </a:lnTo>
                  <a:lnTo>
                    <a:pt x="100" y="700"/>
                  </a:lnTo>
                  <a:lnTo>
                    <a:pt x="99" y="699"/>
                  </a:lnTo>
                  <a:lnTo>
                    <a:pt x="98" y="699"/>
                  </a:lnTo>
                  <a:lnTo>
                    <a:pt x="97" y="698"/>
                  </a:lnTo>
                  <a:lnTo>
                    <a:pt x="97" y="697"/>
                  </a:lnTo>
                  <a:lnTo>
                    <a:pt x="95" y="695"/>
                  </a:lnTo>
                  <a:lnTo>
                    <a:pt x="94" y="694"/>
                  </a:lnTo>
                  <a:lnTo>
                    <a:pt x="93" y="693"/>
                  </a:lnTo>
                  <a:lnTo>
                    <a:pt x="92" y="692"/>
                  </a:lnTo>
                  <a:lnTo>
                    <a:pt x="90" y="691"/>
                  </a:lnTo>
                  <a:lnTo>
                    <a:pt x="88" y="690"/>
                  </a:lnTo>
                  <a:lnTo>
                    <a:pt x="86" y="690"/>
                  </a:lnTo>
                  <a:lnTo>
                    <a:pt x="85" y="689"/>
                  </a:lnTo>
                  <a:lnTo>
                    <a:pt x="84" y="689"/>
                  </a:lnTo>
                  <a:lnTo>
                    <a:pt x="83" y="689"/>
                  </a:lnTo>
                  <a:lnTo>
                    <a:pt x="81" y="689"/>
                  </a:lnTo>
                  <a:lnTo>
                    <a:pt x="80" y="690"/>
                  </a:lnTo>
                  <a:lnTo>
                    <a:pt x="78" y="690"/>
                  </a:lnTo>
                  <a:lnTo>
                    <a:pt x="73" y="691"/>
                  </a:lnTo>
                  <a:lnTo>
                    <a:pt x="72" y="692"/>
                  </a:lnTo>
                  <a:lnTo>
                    <a:pt x="71" y="692"/>
                  </a:lnTo>
                  <a:lnTo>
                    <a:pt x="70" y="693"/>
                  </a:lnTo>
                  <a:lnTo>
                    <a:pt x="69" y="694"/>
                  </a:lnTo>
                  <a:lnTo>
                    <a:pt x="68" y="695"/>
                  </a:lnTo>
                  <a:lnTo>
                    <a:pt x="67" y="698"/>
                  </a:lnTo>
                  <a:lnTo>
                    <a:pt x="66" y="700"/>
                  </a:lnTo>
                  <a:lnTo>
                    <a:pt x="65" y="702"/>
                  </a:lnTo>
                  <a:lnTo>
                    <a:pt x="63" y="704"/>
                  </a:lnTo>
                  <a:lnTo>
                    <a:pt x="62" y="706"/>
                  </a:lnTo>
                  <a:lnTo>
                    <a:pt x="62" y="707"/>
                  </a:lnTo>
                  <a:lnTo>
                    <a:pt x="61" y="707"/>
                  </a:lnTo>
                  <a:lnTo>
                    <a:pt x="60" y="708"/>
                  </a:lnTo>
                  <a:lnTo>
                    <a:pt x="59" y="708"/>
                  </a:lnTo>
                  <a:lnTo>
                    <a:pt x="59" y="708"/>
                  </a:lnTo>
                  <a:lnTo>
                    <a:pt x="58" y="708"/>
                  </a:lnTo>
                  <a:lnTo>
                    <a:pt x="56" y="708"/>
                  </a:lnTo>
                  <a:lnTo>
                    <a:pt x="54" y="708"/>
                  </a:lnTo>
                  <a:lnTo>
                    <a:pt x="52" y="709"/>
                  </a:lnTo>
                  <a:lnTo>
                    <a:pt x="47" y="709"/>
                  </a:lnTo>
                  <a:lnTo>
                    <a:pt x="36" y="710"/>
                  </a:lnTo>
                  <a:lnTo>
                    <a:pt x="34" y="710"/>
                  </a:lnTo>
                  <a:lnTo>
                    <a:pt x="30" y="710"/>
                  </a:lnTo>
                  <a:lnTo>
                    <a:pt x="28" y="710"/>
                  </a:lnTo>
                  <a:lnTo>
                    <a:pt x="26" y="710"/>
                  </a:lnTo>
                  <a:lnTo>
                    <a:pt x="23" y="711"/>
                  </a:lnTo>
                  <a:lnTo>
                    <a:pt x="22" y="711"/>
                  </a:lnTo>
                  <a:lnTo>
                    <a:pt x="20" y="711"/>
                  </a:lnTo>
                  <a:lnTo>
                    <a:pt x="17" y="710"/>
                  </a:lnTo>
                  <a:lnTo>
                    <a:pt x="16" y="710"/>
                  </a:lnTo>
                  <a:lnTo>
                    <a:pt x="15" y="710"/>
                  </a:lnTo>
                  <a:lnTo>
                    <a:pt x="13" y="711"/>
                  </a:lnTo>
                  <a:lnTo>
                    <a:pt x="12" y="711"/>
                  </a:lnTo>
                  <a:lnTo>
                    <a:pt x="10" y="711"/>
                  </a:lnTo>
                  <a:lnTo>
                    <a:pt x="9" y="711"/>
                  </a:lnTo>
                  <a:lnTo>
                    <a:pt x="7" y="711"/>
                  </a:lnTo>
                  <a:lnTo>
                    <a:pt x="6" y="711"/>
                  </a:lnTo>
                  <a:lnTo>
                    <a:pt x="5" y="710"/>
                  </a:lnTo>
                  <a:lnTo>
                    <a:pt x="4" y="710"/>
                  </a:lnTo>
                  <a:lnTo>
                    <a:pt x="3" y="709"/>
                  </a:lnTo>
                  <a:lnTo>
                    <a:pt x="3" y="708"/>
                  </a:lnTo>
                  <a:lnTo>
                    <a:pt x="2" y="708"/>
                  </a:lnTo>
                  <a:lnTo>
                    <a:pt x="1" y="707"/>
                  </a:lnTo>
                  <a:lnTo>
                    <a:pt x="1" y="706"/>
                  </a:lnTo>
                  <a:lnTo>
                    <a:pt x="1" y="705"/>
                  </a:lnTo>
                  <a:lnTo>
                    <a:pt x="1" y="703"/>
                  </a:lnTo>
                  <a:lnTo>
                    <a:pt x="0" y="702"/>
                  </a:lnTo>
                  <a:lnTo>
                    <a:pt x="0" y="70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Freeform 227">
              <a:extLst>
                <a:ext uri="{FF2B5EF4-FFF2-40B4-BE49-F238E27FC236}">
                  <a16:creationId xmlns:a16="http://schemas.microsoft.com/office/drawing/2014/main" id="{E20F91B2-F43F-45F0-A34A-A457D51B4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29925" y="2122277"/>
              <a:ext cx="651170" cy="740846"/>
            </a:xfrm>
            <a:custGeom>
              <a:avLst/>
              <a:gdLst>
                <a:gd name="T0" fmla="*/ 255 w 639"/>
                <a:gd name="T1" fmla="*/ 699 h 727"/>
                <a:gd name="T2" fmla="*/ 242 w 639"/>
                <a:gd name="T3" fmla="*/ 716 h 727"/>
                <a:gd name="T4" fmla="*/ 217 w 639"/>
                <a:gd name="T5" fmla="*/ 726 h 727"/>
                <a:gd name="T6" fmla="*/ 198 w 639"/>
                <a:gd name="T7" fmla="*/ 720 h 727"/>
                <a:gd name="T8" fmla="*/ 178 w 639"/>
                <a:gd name="T9" fmla="*/ 720 h 727"/>
                <a:gd name="T10" fmla="*/ 151 w 639"/>
                <a:gd name="T11" fmla="*/ 721 h 727"/>
                <a:gd name="T12" fmla="*/ 146 w 639"/>
                <a:gd name="T13" fmla="*/ 702 h 727"/>
                <a:gd name="T14" fmla="*/ 138 w 639"/>
                <a:gd name="T15" fmla="*/ 677 h 727"/>
                <a:gd name="T16" fmla="*/ 137 w 639"/>
                <a:gd name="T17" fmla="*/ 648 h 727"/>
                <a:gd name="T18" fmla="*/ 123 w 639"/>
                <a:gd name="T19" fmla="*/ 643 h 727"/>
                <a:gd name="T20" fmla="*/ 120 w 639"/>
                <a:gd name="T21" fmla="*/ 634 h 727"/>
                <a:gd name="T22" fmla="*/ 119 w 639"/>
                <a:gd name="T23" fmla="*/ 622 h 727"/>
                <a:gd name="T24" fmla="*/ 128 w 639"/>
                <a:gd name="T25" fmla="*/ 611 h 727"/>
                <a:gd name="T26" fmla="*/ 112 w 639"/>
                <a:gd name="T27" fmla="*/ 608 h 727"/>
                <a:gd name="T28" fmla="*/ 124 w 639"/>
                <a:gd name="T29" fmla="*/ 584 h 727"/>
                <a:gd name="T30" fmla="*/ 146 w 639"/>
                <a:gd name="T31" fmla="*/ 582 h 727"/>
                <a:gd name="T32" fmla="*/ 166 w 639"/>
                <a:gd name="T33" fmla="*/ 566 h 727"/>
                <a:gd name="T34" fmla="*/ 161 w 639"/>
                <a:gd name="T35" fmla="*/ 553 h 727"/>
                <a:gd name="T36" fmla="*/ 166 w 639"/>
                <a:gd name="T37" fmla="*/ 524 h 727"/>
                <a:gd name="T38" fmla="*/ 173 w 639"/>
                <a:gd name="T39" fmla="*/ 490 h 727"/>
                <a:gd name="T40" fmla="*/ 176 w 639"/>
                <a:gd name="T41" fmla="*/ 451 h 727"/>
                <a:gd name="T42" fmla="*/ 145 w 639"/>
                <a:gd name="T43" fmla="*/ 437 h 727"/>
                <a:gd name="T44" fmla="*/ 129 w 639"/>
                <a:gd name="T45" fmla="*/ 423 h 727"/>
                <a:gd name="T46" fmla="*/ 102 w 639"/>
                <a:gd name="T47" fmla="*/ 401 h 727"/>
                <a:gd name="T48" fmla="*/ 72 w 639"/>
                <a:gd name="T49" fmla="*/ 402 h 727"/>
                <a:gd name="T50" fmla="*/ 46 w 639"/>
                <a:gd name="T51" fmla="*/ 384 h 727"/>
                <a:gd name="T52" fmla="*/ 48 w 639"/>
                <a:gd name="T53" fmla="*/ 375 h 727"/>
                <a:gd name="T54" fmla="*/ 20 w 639"/>
                <a:gd name="T55" fmla="*/ 374 h 727"/>
                <a:gd name="T56" fmla="*/ 0 w 639"/>
                <a:gd name="T57" fmla="*/ 373 h 727"/>
                <a:gd name="T58" fmla="*/ 9 w 639"/>
                <a:gd name="T59" fmla="*/ 352 h 727"/>
                <a:gd name="T60" fmla="*/ 8 w 639"/>
                <a:gd name="T61" fmla="*/ 333 h 727"/>
                <a:gd name="T62" fmla="*/ 27 w 639"/>
                <a:gd name="T63" fmla="*/ 324 h 727"/>
                <a:gd name="T64" fmla="*/ 37 w 639"/>
                <a:gd name="T65" fmla="*/ 309 h 727"/>
                <a:gd name="T66" fmla="*/ 48 w 639"/>
                <a:gd name="T67" fmla="*/ 286 h 727"/>
                <a:gd name="T68" fmla="*/ 79 w 639"/>
                <a:gd name="T69" fmla="*/ 275 h 727"/>
                <a:gd name="T70" fmla="*/ 111 w 639"/>
                <a:gd name="T71" fmla="*/ 251 h 727"/>
                <a:gd name="T72" fmla="*/ 129 w 639"/>
                <a:gd name="T73" fmla="*/ 254 h 727"/>
                <a:gd name="T74" fmla="*/ 158 w 639"/>
                <a:gd name="T75" fmla="*/ 246 h 727"/>
                <a:gd name="T76" fmla="*/ 182 w 639"/>
                <a:gd name="T77" fmla="*/ 235 h 727"/>
                <a:gd name="T78" fmla="*/ 200 w 639"/>
                <a:gd name="T79" fmla="*/ 233 h 727"/>
                <a:gd name="T80" fmla="*/ 227 w 639"/>
                <a:gd name="T81" fmla="*/ 218 h 727"/>
                <a:gd name="T82" fmla="*/ 243 w 639"/>
                <a:gd name="T83" fmla="*/ 204 h 727"/>
                <a:gd name="T84" fmla="*/ 249 w 639"/>
                <a:gd name="T85" fmla="*/ 187 h 727"/>
                <a:gd name="T86" fmla="*/ 271 w 639"/>
                <a:gd name="T87" fmla="*/ 178 h 727"/>
                <a:gd name="T88" fmla="*/ 329 w 639"/>
                <a:gd name="T89" fmla="*/ 183 h 727"/>
                <a:gd name="T90" fmla="*/ 360 w 639"/>
                <a:gd name="T91" fmla="*/ 184 h 727"/>
                <a:gd name="T92" fmla="*/ 395 w 639"/>
                <a:gd name="T93" fmla="*/ 172 h 727"/>
                <a:gd name="T94" fmla="*/ 411 w 639"/>
                <a:gd name="T95" fmla="*/ 160 h 727"/>
                <a:gd name="T96" fmla="*/ 410 w 639"/>
                <a:gd name="T97" fmla="*/ 130 h 727"/>
                <a:gd name="T98" fmla="*/ 424 w 639"/>
                <a:gd name="T99" fmla="*/ 126 h 727"/>
                <a:gd name="T100" fmla="*/ 436 w 639"/>
                <a:gd name="T101" fmla="*/ 112 h 727"/>
                <a:gd name="T102" fmla="*/ 453 w 639"/>
                <a:gd name="T103" fmla="*/ 100 h 727"/>
                <a:gd name="T104" fmla="*/ 455 w 639"/>
                <a:gd name="T105" fmla="*/ 75 h 727"/>
                <a:gd name="T106" fmla="*/ 464 w 639"/>
                <a:gd name="T107" fmla="*/ 77 h 727"/>
                <a:gd name="T108" fmla="*/ 485 w 639"/>
                <a:gd name="T109" fmla="*/ 76 h 727"/>
                <a:gd name="T110" fmla="*/ 499 w 639"/>
                <a:gd name="T111" fmla="*/ 82 h 727"/>
                <a:gd name="T112" fmla="*/ 510 w 639"/>
                <a:gd name="T113" fmla="*/ 93 h 727"/>
                <a:gd name="T114" fmla="*/ 544 w 639"/>
                <a:gd name="T115" fmla="*/ 86 h 727"/>
                <a:gd name="T116" fmla="*/ 569 w 639"/>
                <a:gd name="T117" fmla="*/ 62 h 727"/>
                <a:gd name="T118" fmla="*/ 582 w 639"/>
                <a:gd name="T119" fmla="*/ 44 h 727"/>
                <a:gd name="T120" fmla="*/ 609 w 639"/>
                <a:gd name="T121" fmla="*/ 44 h 727"/>
                <a:gd name="T122" fmla="*/ 620 w 639"/>
                <a:gd name="T123" fmla="*/ 28 h 727"/>
                <a:gd name="T124" fmla="*/ 638 w 639"/>
                <a:gd name="T125" fmla="*/ 3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9" h="727">
                  <a:moveTo>
                    <a:pt x="276" y="700"/>
                  </a:moveTo>
                  <a:lnTo>
                    <a:pt x="276" y="694"/>
                  </a:lnTo>
                  <a:lnTo>
                    <a:pt x="276" y="692"/>
                  </a:lnTo>
                  <a:lnTo>
                    <a:pt x="276" y="692"/>
                  </a:lnTo>
                  <a:lnTo>
                    <a:pt x="276" y="691"/>
                  </a:lnTo>
                  <a:lnTo>
                    <a:pt x="275" y="690"/>
                  </a:lnTo>
                  <a:lnTo>
                    <a:pt x="275" y="690"/>
                  </a:lnTo>
                  <a:lnTo>
                    <a:pt x="275" y="690"/>
                  </a:lnTo>
                  <a:lnTo>
                    <a:pt x="272" y="691"/>
                  </a:lnTo>
                  <a:lnTo>
                    <a:pt x="270" y="692"/>
                  </a:lnTo>
                  <a:lnTo>
                    <a:pt x="268" y="692"/>
                  </a:lnTo>
                  <a:lnTo>
                    <a:pt x="266" y="693"/>
                  </a:lnTo>
                  <a:lnTo>
                    <a:pt x="263" y="695"/>
                  </a:lnTo>
                  <a:lnTo>
                    <a:pt x="258" y="697"/>
                  </a:lnTo>
                  <a:lnTo>
                    <a:pt x="256" y="698"/>
                  </a:lnTo>
                  <a:lnTo>
                    <a:pt x="255" y="699"/>
                  </a:lnTo>
                  <a:lnTo>
                    <a:pt x="255" y="699"/>
                  </a:lnTo>
                  <a:lnTo>
                    <a:pt x="254" y="700"/>
                  </a:lnTo>
                  <a:lnTo>
                    <a:pt x="254" y="701"/>
                  </a:lnTo>
                  <a:lnTo>
                    <a:pt x="253" y="702"/>
                  </a:lnTo>
                  <a:lnTo>
                    <a:pt x="252" y="705"/>
                  </a:lnTo>
                  <a:lnTo>
                    <a:pt x="251" y="708"/>
                  </a:lnTo>
                  <a:lnTo>
                    <a:pt x="250" y="709"/>
                  </a:lnTo>
                  <a:lnTo>
                    <a:pt x="250" y="710"/>
                  </a:lnTo>
                  <a:lnTo>
                    <a:pt x="249" y="712"/>
                  </a:lnTo>
                  <a:lnTo>
                    <a:pt x="248" y="714"/>
                  </a:lnTo>
                  <a:lnTo>
                    <a:pt x="247" y="714"/>
                  </a:lnTo>
                  <a:lnTo>
                    <a:pt x="246" y="715"/>
                  </a:lnTo>
                  <a:lnTo>
                    <a:pt x="246" y="715"/>
                  </a:lnTo>
                  <a:lnTo>
                    <a:pt x="246" y="715"/>
                  </a:lnTo>
                  <a:lnTo>
                    <a:pt x="243" y="716"/>
                  </a:lnTo>
                  <a:lnTo>
                    <a:pt x="242" y="716"/>
                  </a:lnTo>
                  <a:lnTo>
                    <a:pt x="241" y="717"/>
                  </a:lnTo>
                  <a:lnTo>
                    <a:pt x="239" y="718"/>
                  </a:lnTo>
                  <a:lnTo>
                    <a:pt x="237" y="719"/>
                  </a:lnTo>
                  <a:lnTo>
                    <a:pt x="236" y="720"/>
                  </a:lnTo>
                  <a:lnTo>
                    <a:pt x="235" y="720"/>
                  </a:lnTo>
                  <a:lnTo>
                    <a:pt x="234" y="721"/>
                  </a:lnTo>
                  <a:lnTo>
                    <a:pt x="233" y="721"/>
                  </a:lnTo>
                  <a:lnTo>
                    <a:pt x="228" y="721"/>
                  </a:lnTo>
                  <a:lnTo>
                    <a:pt x="227" y="722"/>
                  </a:lnTo>
                  <a:lnTo>
                    <a:pt x="225" y="722"/>
                  </a:lnTo>
                  <a:lnTo>
                    <a:pt x="224" y="723"/>
                  </a:lnTo>
                  <a:lnTo>
                    <a:pt x="223" y="723"/>
                  </a:lnTo>
                  <a:lnTo>
                    <a:pt x="221" y="725"/>
                  </a:lnTo>
                  <a:lnTo>
                    <a:pt x="220" y="725"/>
                  </a:lnTo>
                  <a:lnTo>
                    <a:pt x="219" y="726"/>
                  </a:lnTo>
                  <a:lnTo>
                    <a:pt x="217" y="726"/>
                  </a:lnTo>
                  <a:lnTo>
                    <a:pt x="216" y="727"/>
                  </a:lnTo>
                  <a:lnTo>
                    <a:pt x="215" y="727"/>
                  </a:lnTo>
                  <a:lnTo>
                    <a:pt x="213" y="727"/>
                  </a:lnTo>
                  <a:lnTo>
                    <a:pt x="212" y="727"/>
                  </a:lnTo>
                  <a:lnTo>
                    <a:pt x="211" y="726"/>
                  </a:lnTo>
                  <a:lnTo>
                    <a:pt x="209" y="726"/>
                  </a:lnTo>
                  <a:lnTo>
                    <a:pt x="208" y="725"/>
                  </a:lnTo>
                  <a:lnTo>
                    <a:pt x="206" y="724"/>
                  </a:lnTo>
                  <a:lnTo>
                    <a:pt x="205" y="724"/>
                  </a:lnTo>
                  <a:lnTo>
                    <a:pt x="204" y="724"/>
                  </a:lnTo>
                  <a:lnTo>
                    <a:pt x="204" y="723"/>
                  </a:lnTo>
                  <a:lnTo>
                    <a:pt x="203" y="722"/>
                  </a:lnTo>
                  <a:lnTo>
                    <a:pt x="202" y="722"/>
                  </a:lnTo>
                  <a:lnTo>
                    <a:pt x="201" y="721"/>
                  </a:lnTo>
                  <a:lnTo>
                    <a:pt x="199" y="720"/>
                  </a:lnTo>
                  <a:lnTo>
                    <a:pt x="198" y="720"/>
                  </a:lnTo>
                  <a:lnTo>
                    <a:pt x="195" y="717"/>
                  </a:lnTo>
                  <a:lnTo>
                    <a:pt x="194" y="717"/>
                  </a:lnTo>
                  <a:lnTo>
                    <a:pt x="193" y="716"/>
                  </a:lnTo>
                  <a:lnTo>
                    <a:pt x="193" y="716"/>
                  </a:lnTo>
                  <a:lnTo>
                    <a:pt x="192" y="716"/>
                  </a:lnTo>
                  <a:lnTo>
                    <a:pt x="191" y="716"/>
                  </a:lnTo>
                  <a:lnTo>
                    <a:pt x="189" y="716"/>
                  </a:lnTo>
                  <a:lnTo>
                    <a:pt x="188" y="717"/>
                  </a:lnTo>
                  <a:lnTo>
                    <a:pt x="185" y="719"/>
                  </a:lnTo>
                  <a:lnTo>
                    <a:pt x="183" y="719"/>
                  </a:lnTo>
                  <a:lnTo>
                    <a:pt x="182" y="719"/>
                  </a:lnTo>
                  <a:lnTo>
                    <a:pt x="181" y="720"/>
                  </a:lnTo>
                  <a:lnTo>
                    <a:pt x="181" y="720"/>
                  </a:lnTo>
                  <a:lnTo>
                    <a:pt x="180" y="720"/>
                  </a:lnTo>
                  <a:lnTo>
                    <a:pt x="179" y="720"/>
                  </a:lnTo>
                  <a:lnTo>
                    <a:pt x="178" y="720"/>
                  </a:lnTo>
                  <a:lnTo>
                    <a:pt x="178" y="719"/>
                  </a:lnTo>
                  <a:lnTo>
                    <a:pt x="177" y="719"/>
                  </a:lnTo>
                  <a:lnTo>
                    <a:pt x="174" y="716"/>
                  </a:lnTo>
                  <a:lnTo>
                    <a:pt x="173" y="715"/>
                  </a:lnTo>
                  <a:lnTo>
                    <a:pt x="172" y="715"/>
                  </a:lnTo>
                  <a:lnTo>
                    <a:pt x="172" y="715"/>
                  </a:lnTo>
                  <a:lnTo>
                    <a:pt x="171" y="715"/>
                  </a:lnTo>
                  <a:lnTo>
                    <a:pt x="170" y="715"/>
                  </a:lnTo>
                  <a:lnTo>
                    <a:pt x="170" y="715"/>
                  </a:lnTo>
                  <a:lnTo>
                    <a:pt x="169" y="715"/>
                  </a:lnTo>
                  <a:lnTo>
                    <a:pt x="166" y="716"/>
                  </a:lnTo>
                  <a:lnTo>
                    <a:pt x="164" y="717"/>
                  </a:lnTo>
                  <a:lnTo>
                    <a:pt x="158" y="719"/>
                  </a:lnTo>
                  <a:lnTo>
                    <a:pt x="154" y="720"/>
                  </a:lnTo>
                  <a:lnTo>
                    <a:pt x="153" y="720"/>
                  </a:lnTo>
                  <a:lnTo>
                    <a:pt x="151" y="721"/>
                  </a:lnTo>
                  <a:lnTo>
                    <a:pt x="149" y="721"/>
                  </a:lnTo>
                  <a:lnTo>
                    <a:pt x="149" y="720"/>
                  </a:lnTo>
                  <a:lnTo>
                    <a:pt x="148" y="720"/>
                  </a:lnTo>
                  <a:lnTo>
                    <a:pt x="148" y="720"/>
                  </a:lnTo>
                  <a:lnTo>
                    <a:pt x="147" y="720"/>
                  </a:lnTo>
                  <a:lnTo>
                    <a:pt x="148" y="720"/>
                  </a:lnTo>
                  <a:lnTo>
                    <a:pt x="148" y="718"/>
                  </a:lnTo>
                  <a:lnTo>
                    <a:pt x="148" y="716"/>
                  </a:lnTo>
                  <a:lnTo>
                    <a:pt x="148" y="714"/>
                  </a:lnTo>
                  <a:lnTo>
                    <a:pt x="148" y="712"/>
                  </a:lnTo>
                  <a:lnTo>
                    <a:pt x="148" y="710"/>
                  </a:lnTo>
                  <a:lnTo>
                    <a:pt x="148" y="709"/>
                  </a:lnTo>
                  <a:lnTo>
                    <a:pt x="147" y="707"/>
                  </a:lnTo>
                  <a:lnTo>
                    <a:pt x="147" y="705"/>
                  </a:lnTo>
                  <a:lnTo>
                    <a:pt x="146" y="703"/>
                  </a:lnTo>
                  <a:lnTo>
                    <a:pt x="146" y="702"/>
                  </a:lnTo>
                  <a:lnTo>
                    <a:pt x="145" y="701"/>
                  </a:lnTo>
                  <a:lnTo>
                    <a:pt x="144" y="700"/>
                  </a:lnTo>
                  <a:lnTo>
                    <a:pt x="143" y="699"/>
                  </a:lnTo>
                  <a:lnTo>
                    <a:pt x="142" y="698"/>
                  </a:lnTo>
                  <a:lnTo>
                    <a:pt x="141" y="698"/>
                  </a:lnTo>
                  <a:lnTo>
                    <a:pt x="139" y="697"/>
                  </a:lnTo>
                  <a:lnTo>
                    <a:pt x="139" y="696"/>
                  </a:lnTo>
                  <a:lnTo>
                    <a:pt x="138" y="696"/>
                  </a:lnTo>
                  <a:lnTo>
                    <a:pt x="138" y="695"/>
                  </a:lnTo>
                  <a:lnTo>
                    <a:pt x="138" y="695"/>
                  </a:lnTo>
                  <a:lnTo>
                    <a:pt x="138" y="694"/>
                  </a:lnTo>
                  <a:lnTo>
                    <a:pt x="138" y="693"/>
                  </a:lnTo>
                  <a:lnTo>
                    <a:pt x="138" y="687"/>
                  </a:lnTo>
                  <a:lnTo>
                    <a:pt x="138" y="686"/>
                  </a:lnTo>
                  <a:lnTo>
                    <a:pt x="138" y="682"/>
                  </a:lnTo>
                  <a:lnTo>
                    <a:pt x="138" y="677"/>
                  </a:lnTo>
                  <a:lnTo>
                    <a:pt x="139" y="675"/>
                  </a:lnTo>
                  <a:lnTo>
                    <a:pt x="139" y="673"/>
                  </a:lnTo>
                  <a:lnTo>
                    <a:pt x="140" y="667"/>
                  </a:lnTo>
                  <a:lnTo>
                    <a:pt x="141" y="665"/>
                  </a:lnTo>
                  <a:lnTo>
                    <a:pt x="141" y="664"/>
                  </a:lnTo>
                  <a:lnTo>
                    <a:pt x="141" y="661"/>
                  </a:lnTo>
                  <a:lnTo>
                    <a:pt x="141" y="659"/>
                  </a:lnTo>
                  <a:lnTo>
                    <a:pt x="141" y="656"/>
                  </a:lnTo>
                  <a:lnTo>
                    <a:pt x="141" y="654"/>
                  </a:lnTo>
                  <a:lnTo>
                    <a:pt x="141" y="652"/>
                  </a:lnTo>
                  <a:lnTo>
                    <a:pt x="140" y="652"/>
                  </a:lnTo>
                  <a:lnTo>
                    <a:pt x="140" y="651"/>
                  </a:lnTo>
                  <a:lnTo>
                    <a:pt x="139" y="650"/>
                  </a:lnTo>
                  <a:lnTo>
                    <a:pt x="139" y="650"/>
                  </a:lnTo>
                  <a:lnTo>
                    <a:pt x="138" y="649"/>
                  </a:lnTo>
                  <a:lnTo>
                    <a:pt x="137" y="648"/>
                  </a:lnTo>
                  <a:lnTo>
                    <a:pt x="135" y="648"/>
                  </a:lnTo>
                  <a:lnTo>
                    <a:pt x="134" y="647"/>
                  </a:lnTo>
                  <a:lnTo>
                    <a:pt x="132" y="647"/>
                  </a:lnTo>
                  <a:lnTo>
                    <a:pt x="131" y="646"/>
                  </a:lnTo>
                  <a:lnTo>
                    <a:pt x="129" y="646"/>
                  </a:lnTo>
                  <a:lnTo>
                    <a:pt x="126" y="646"/>
                  </a:lnTo>
                  <a:lnTo>
                    <a:pt x="125" y="646"/>
                  </a:lnTo>
                  <a:lnTo>
                    <a:pt x="124" y="646"/>
                  </a:lnTo>
                  <a:lnTo>
                    <a:pt x="124" y="646"/>
                  </a:lnTo>
                  <a:lnTo>
                    <a:pt x="123" y="646"/>
                  </a:lnTo>
                  <a:lnTo>
                    <a:pt x="123" y="645"/>
                  </a:lnTo>
                  <a:lnTo>
                    <a:pt x="122" y="645"/>
                  </a:lnTo>
                  <a:lnTo>
                    <a:pt x="122" y="645"/>
                  </a:lnTo>
                  <a:lnTo>
                    <a:pt x="122" y="644"/>
                  </a:lnTo>
                  <a:lnTo>
                    <a:pt x="122" y="644"/>
                  </a:lnTo>
                  <a:lnTo>
                    <a:pt x="123" y="643"/>
                  </a:lnTo>
                  <a:lnTo>
                    <a:pt x="123" y="642"/>
                  </a:lnTo>
                  <a:lnTo>
                    <a:pt x="123" y="641"/>
                  </a:lnTo>
                  <a:lnTo>
                    <a:pt x="122" y="640"/>
                  </a:lnTo>
                  <a:lnTo>
                    <a:pt x="122" y="640"/>
                  </a:lnTo>
                  <a:lnTo>
                    <a:pt x="121" y="639"/>
                  </a:lnTo>
                  <a:lnTo>
                    <a:pt x="120" y="638"/>
                  </a:lnTo>
                  <a:lnTo>
                    <a:pt x="118" y="637"/>
                  </a:lnTo>
                  <a:lnTo>
                    <a:pt x="117" y="636"/>
                  </a:lnTo>
                  <a:lnTo>
                    <a:pt x="116" y="636"/>
                  </a:lnTo>
                  <a:lnTo>
                    <a:pt x="116" y="635"/>
                  </a:lnTo>
                  <a:lnTo>
                    <a:pt x="116" y="635"/>
                  </a:lnTo>
                  <a:lnTo>
                    <a:pt x="116" y="635"/>
                  </a:lnTo>
                  <a:lnTo>
                    <a:pt x="116" y="635"/>
                  </a:lnTo>
                  <a:lnTo>
                    <a:pt x="117" y="635"/>
                  </a:lnTo>
                  <a:lnTo>
                    <a:pt x="118" y="634"/>
                  </a:lnTo>
                  <a:lnTo>
                    <a:pt x="120" y="634"/>
                  </a:lnTo>
                  <a:lnTo>
                    <a:pt x="121" y="634"/>
                  </a:lnTo>
                  <a:lnTo>
                    <a:pt x="122" y="634"/>
                  </a:lnTo>
                  <a:lnTo>
                    <a:pt x="123" y="633"/>
                  </a:lnTo>
                  <a:lnTo>
                    <a:pt x="124" y="633"/>
                  </a:lnTo>
                  <a:lnTo>
                    <a:pt x="124" y="632"/>
                  </a:lnTo>
                  <a:lnTo>
                    <a:pt x="124" y="632"/>
                  </a:lnTo>
                  <a:lnTo>
                    <a:pt x="125" y="631"/>
                  </a:lnTo>
                  <a:lnTo>
                    <a:pt x="125" y="631"/>
                  </a:lnTo>
                  <a:lnTo>
                    <a:pt x="124" y="630"/>
                  </a:lnTo>
                  <a:lnTo>
                    <a:pt x="124" y="629"/>
                  </a:lnTo>
                  <a:lnTo>
                    <a:pt x="123" y="628"/>
                  </a:lnTo>
                  <a:lnTo>
                    <a:pt x="123" y="627"/>
                  </a:lnTo>
                  <a:lnTo>
                    <a:pt x="122" y="626"/>
                  </a:lnTo>
                  <a:lnTo>
                    <a:pt x="120" y="624"/>
                  </a:lnTo>
                  <a:lnTo>
                    <a:pt x="120" y="623"/>
                  </a:lnTo>
                  <a:lnTo>
                    <a:pt x="119" y="622"/>
                  </a:lnTo>
                  <a:lnTo>
                    <a:pt x="119" y="622"/>
                  </a:lnTo>
                  <a:lnTo>
                    <a:pt x="119" y="621"/>
                  </a:lnTo>
                  <a:lnTo>
                    <a:pt x="119" y="620"/>
                  </a:lnTo>
                  <a:lnTo>
                    <a:pt x="119" y="619"/>
                  </a:lnTo>
                  <a:lnTo>
                    <a:pt x="119" y="619"/>
                  </a:lnTo>
                  <a:lnTo>
                    <a:pt x="119" y="618"/>
                  </a:lnTo>
                  <a:lnTo>
                    <a:pt x="119" y="618"/>
                  </a:lnTo>
                  <a:lnTo>
                    <a:pt x="120" y="618"/>
                  </a:lnTo>
                  <a:lnTo>
                    <a:pt x="125" y="615"/>
                  </a:lnTo>
                  <a:lnTo>
                    <a:pt x="127" y="614"/>
                  </a:lnTo>
                  <a:lnTo>
                    <a:pt x="127" y="614"/>
                  </a:lnTo>
                  <a:lnTo>
                    <a:pt x="128" y="613"/>
                  </a:lnTo>
                  <a:lnTo>
                    <a:pt x="128" y="613"/>
                  </a:lnTo>
                  <a:lnTo>
                    <a:pt x="129" y="612"/>
                  </a:lnTo>
                  <a:lnTo>
                    <a:pt x="128" y="612"/>
                  </a:lnTo>
                  <a:lnTo>
                    <a:pt x="128" y="611"/>
                  </a:lnTo>
                  <a:lnTo>
                    <a:pt x="128" y="611"/>
                  </a:lnTo>
                  <a:lnTo>
                    <a:pt x="127" y="610"/>
                  </a:lnTo>
                  <a:lnTo>
                    <a:pt x="127" y="610"/>
                  </a:lnTo>
                  <a:lnTo>
                    <a:pt x="126" y="609"/>
                  </a:lnTo>
                  <a:lnTo>
                    <a:pt x="125" y="609"/>
                  </a:lnTo>
                  <a:lnTo>
                    <a:pt x="123" y="609"/>
                  </a:lnTo>
                  <a:lnTo>
                    <a:pt x="122" y="609"/>
                  </a:lnTo>
                  <a:lnTo>
                    <a:pt x="120" y="609"/>
                  </a:lnTo>
                  <a:lnTo>
                    <a:pt x="118" y="609"/>
                  </a:lnTo>
                  <a:lnTo>
                    <a:pt x="116" y="609"/>
                  </a:lnTo>
                  <a:lnTo>
                    <a:pt x="115" y="609"/>
                  </a:lnTo>
                  <a:lnTo>
                    <a:pt x="114" y="609"/>
                  </a:lnTo>
                  <a:lnTo>
                    <a:pt x="113" y="609"/>
                  </a:lnTo>
                  <a:lnTo>
                    <a:pt x="113" y="609"/>
                  </a:lnTo>
                  <a:lnTo>
                    <a:pt x="112" y="608"/>
                  </a:lnTo>
                  <a:lnTo>
                    <a:pt x="112" y="608"/>
                  </a:lnTo>
                  <a:lnTo>
                    <a:pt x="111" y="607"/>
                  </a:lnTo>
                  <a:lnTo>
                    <a:pt x="111" y="606"/>
                  </a:lnTo>
                  <a:lnTo>
                    <a:pt x="111" y="605"/>
                  </a:lnTo>
                  <a:lnTo>
                    <a:pt x="111" y="604"/>
                  </a:lnTo>
                  <a:lnTo>
                    <a:pt x="111" y="603"/>
                  </a:lnTo>
                  <a:lnTo>
                    <a:pt x="111" y="601"/>
                  </a:lnTo>
                  <a:lnTo>
                    <a:pt x="112" y="600"/>
                  </a:lnTo>
                  <a:lnTo>
                    <a:pt x="112" y="599"/>
                  </a:lnTo>
                  <a:lnTo>
                    <a:pt x="113" y="598"/>
                  </a:lnTo>
                  <a:lnTo>
                    <a:pt x="114" y="596"/>
                  </a:lnTo>
                  <a:lnTo>
                    <a:pt x="118" y="591"/>
                  </a:lnTo>
                  <a:lnTo>
                    <a:pt x="119" y="589"/>
                  </a:lnTo>
                  <a:lnTo>
                    <a:pt x="120" y="588"/>
                  </a:lnTo>
                  <a:lnTo>
                    <a:pt x="122" y="587"/>
                  </a:lnTo>
                  <a:lnTo>
                    <a:pt x="123" y="586"/>
                  </a:lnTo>
                  <a:lnTo>
                    <a:pt x="124" y="584"/>
                  </a:lnTo>
                  <a:lnTo>
                    <a:pt x="125" y="584"/>
                  </a:lnTo>
                  <a:lnTo>
                    <a:pt x="127" y="582"/>
                  </a:lnTo>
                  <a:lnTo>
                    <a:pt x="128" y="581"/>
                  </a:lnTo>
                  <a:lnTo>
                    <a:pt x="130" y="581"/>
                  </a:lnTo>
                  <a:lnTo>
                    <a:pt x="132" y="580"/>
                  </a:lnTo>
                  <a:lnTo>
                    <a:pt x="133" y="579"/>
                  </a:lnTo>
                  <a:lnTo>
                    <a:pt x="134" y="579"/>
                  </a:lnTo>
                  <a:lnTo>
                    <a:pt x="135" y="578"/>
                  </a:lnTo>
                  <a:lnTo>
                    <a:pt x="137" y="578"/>
                  </a:lnTo>
                  <a:lnTo>
                    <a:pt x="138" y="578"/>
                  </a:lnTo>
                  <a:lnTo>
                    <a:pt x="139" y="578"/>
                  </a:lnTo>
                  <a:lnTo>
                    <a:pt x="139" y="579"/>
                  </a:lnTo>
                  <a:lnTo>
                    <a:pt x="140" y="579"/>
                  </a:lnTo>
                  <a:lnTo>
                    <a:pt x="144" y="581"/>
                  </a:lnTo>
                  <a:lnTo>
                    <a:pt x="145" y="582"/>
                  </a:lnTo>
                  <a:lnTo>
                    <a:pt x="146" y="582"/>
                  </a:lnTo>
                  <a:lnTo>
                    <a:pt x="147" y="582"/>
                  </a:lnTo>
                  <a:lnTo>
                    <a:pt x="147" y="582"/>
                  </a:lnTo>
                  <a:lnTo>
                    <a:pt x="148" y="582"/>
                  </a:lnTo>
                  <a:lnTo>
                    <a:pt x="149" y="582"/>
                  </a:lnTo>
                  <a:lnTo>
                    <a:pt x="150" y="582"/>
                  </a:lnTo>
                  <a:lnTo>
                    <a:pt x="150" y="581"/>
                  </a:lnTo>
                  <a:lnTo>
                    <a:pt x="151" y="581"/>
                  </a:lnTo>
                  <a:lnTo>
                    <a:pt x="152" y="580"/>
                  </a:lnTo>
                  <a:lnTo>
                    <a:pt x="153" y="579"/>
                  </a:lnTo>
                  <a:lnTo>
                    <a:pt x="155" y="575"/>
                  </a:lnTo>
                  <a:lnTo>
                    <a:pt x="156" y="574"/>
                  </a:lnTo>
                  <a:lnTo>
                    <a:pt x="158" y="573"/>
                  </a:lnTo>
                  <a:lnTo>
                    <a:pt x="159" y="571"/>
                  </a:lnTo>
                  <a:lnTo>
                    <a:pt x="163" y="568"/>
                  </a:lnTo>
                  <a:lnTo>
                    <a:pt x="165" y="566"/>
                  </a:lnTo>
                  <a:lnTo>
                    <a:pt x="166" y="566"/>
                  </a:lnTo>
                  <a:lnTo>
                    <a:pt x="166" y="565"/>
                  </a:lnTo>
                  <a:lnTo>
                    <a:pt x="167" y="564"/>
                  </a:lnTo>
                  <a:lnTo>
                    <a:pt x="167" y="563"/>
                  </a:lnTo>
                  <a:lnTo>
                    <a:pt x="167" y="563"/>
                  </a:lnTo>
                  <a:lnTo>
                    <a:pt x="167" y="562"/>
                  </a:lnTo>
                  <a:lnTo>
                    <a:pt x="167" y="561"/>
                  </a:lnTo>
                  <a:lnTo>
                    <a:pt x="167" y="560"/>
                  </a:lnTo>
                  <a:lnTo>
                    <a:pt x="166" y="559"/>
                  </a:lnTo>
                  <a:lnTo>
                    <a:pt x="165" y="558"/>
                  </a:lnTo>
                  <a:lnTo>
                    <a:pt x="164" y="558"/>
                  </a:lnTo>
                  <a:lnTo>
                    <a:pt x="162" y="557"/>
                  </a:lnTo>
                  <a:lnTo>
                    <a:pt x="162" y="556"/>
                  </a:lnTo>
                  <a:lnTo>
                    <a:pt x="161" y="556"/>
                  </a:lnTo>
                  <a:lnTo>
                    <a:pt x="161" y="555"/>
                  </a:lnTo>
                  <a:lnTo>
                    <a:pt x="161" y="554"/>
                  </a:lnTo>
                  <a:lnTo>
                    <a:pt x="161" y="553"/>
                  </a:lnTo>
                  <a:lnTo>
                    <a:pt x="162" y="551"/>
                  </a:lnTo>
                  <a:lnTo>
                    <a:pt x="162" y="549"/>
                  </a:lnTo>
                  <a:lnTo>
                    <a:pt x="162" y="548"/>
                  </a:lnTo>
                  <a:lnTo>
                    <a:pt x="163" y="546"/>
                  </a:lnTo>
                  <a:lnTo>
                    <a:pt x="163" y="545"/>
                  </a:lnTo>
                  <a:lnTo>
                    <a:pt x="163" y="543"/>
                  </a:lnTo>
                  <a:lnTo>
                    <a:pt x="163" y="539"/>
                  </a:lnTo>
                  <a:lnTo>
                    <a:pt x="163" y="537"/>
                  </a:lnTo>
                  <a:lnTo>
                    <a:pt x="163" y="536"/>
                  </a:lnTo>
                  <a:lnTo>
                    <a:pt x="163" y="535"/>
                  </a:lnTo>
                  <a:lnTo>
                    <a:pt x="163" y="534"/>
                  </a:lnTo>
                  <a:lnTo>
                    <a:pt x="164" y="533"/>
                  </a:lnTo>
                  <a:lnTo>
                    <a:pt x="165" y="529"/>
                  </a:lnTo>
                  <a:lnTo>
                    <a:pt x="166" y="527"/>
                  </a:lnTo>
                  <a:lnTo>
                    <a:pt x="166" y="525"/>
                  </a:lnTo>
                  <a:lnTo>
                    <a:pt x="166" y="524"/>
                  </a:lnTo>
                  <a:lnTo>
                    <a:pt x="167" y="522"/>
                  </a:lnTo>
                  <a:lnTo>
                    <a:pt x="167" y="521"/>
                  </a:lnTo>
                  <a:lnTo>
                    <a:pt x="167" y="519"/>
                  </a:lnTo>
                  <a:lnTo>
                    <a:pt x="166" y="516"/>
                  </a:lnTo>
                  <a:lnTo>
                    <a:pt x="166" y="513"/>
                  </a:lnTo>
                  <a:lnTo>
                    <a:pt x="166" y="512"/>
                  </a:lnTo>
                  <a:lnTo>
                    <a:pt x="167" y="506"/>
                  </a:lnTo>
                  <a:lnTo>
                    <a:pt x="167" y="504"/>
                  </a:lnTo>
                  <a:lnTo>
                    <a:pt x="168" y="502"/>
                  </a:lnTo>
                  <a:lnTo>
                    <a:pt x="169" y="498"/>
                  </a:lnTo>
                  <a:lnTo>
                    <a:pt x="170" y="495"/>
                  </a:lnTo>
                  <a:lnTo>
                    <a:pt x="171" y="493"/>
                  </a:lnTo>
                  <a:lnTo>
                    <a:pt x="171" y="492"/>
                  </a:lnTo>
                  <a:lnTo>
                    <a:pt x="172" y="491"/>
                  </a:lnTo>
                  <a:lnTo>
                    <a:pt x="173" y="490"/>
                  </a:lnTo>
                  <a:lnTo>
                    <a:pt x="173" y="490"/>
                  </a:lnTo>
                  <a:lnTo>
                    <a:pt x="176" y="488"/>
                  </a:lnTo>
                  <a:lnTo>
                    <a:pt x="177" y="487"/>
                  </a:lnTo>
                  <a:lnTo>
                    <a:pt x="177" y="486"/>
                  </a:lnTo>
                  <a:lnTo>
                    <a:pt x="177" y="485"/>
                  </a:lnTo>
                  <a:lnTo>
                    <a:pt x="178" y="484"/>
                  </a:lnTo>
                  <a:lnTo>
                    <a:pt x="178" y="483"/>
                  </a:lnTo>
                  <a:lnTo>
                    <a:pt x="178" y="482"/>
                  </a:lnTo>
                  <a:lnTo>
                    <a:pt x="178" y="480"/>
                  </a:lnTo>
                  <a:lnTo>
                    <a:pt x="178" y="475"/>
                  </a:lnTo>
                  <a:lnTo>
                    <a:pt x="177" y="473"/>
                  </a:lnTo>
                  <a:lnTo>
                    <a:pt x="177" y="467"/>
                  </a:lnTo>
                  <a:lnTo>
                    <a:pt x="176" y="462"/>
                  </a:lnTo>
                  <a:lnTo>
                    <a:pt x="176" y="460"/>
                  </a:lnTo>
                  <a:lnTo>
                    <a:pt x="176" y="453"/>
                  </a:lnTo>
                  <a:lnTo>
                    <a:pt x="176" y="452"/>
                  </a:lnTo>
                  <a:lnTo>
                    <a:pt x="176" y="451"/>
                  </a:lnTo>
                  <a:lnTo>
                    <a:pt x="175" y="451"/>
                  </a:lnTo>
                  <a:lnTo>
                    <a:pt x="175" y="450"/>
                  </a:lnTo>
                  <a:lnTo>
                    <a:pt x="174" y="450"/>
                  </a:lnTo>
                  <a:lnTo>
                    <a:pt x="173" y="449"/>
                  </a:lnTo>
                  <a:lnTo>
                    <a:pt x="164" y="444"/>
                  </a:lnTo>
                  <a:lnTo>
                    <a:pt x="161" y="443"/>
                  </a:lnTo>
                  <a:lnTo>
                    <a:pt x="159" y="442"/>
                  </a:lnTo>
                  <a:lnTo>
                    <a:pt x="156" y="441"/>
                  </a:lnTo>
                  <a:lnTo>
                    <a:pt x="152" y="440"/>
                  </a:lnTo>
                  <a:lnTo>
                    <a:pt x="148" y="439"/>
                  </a:lnTo>
                  <a:lnTo>
                    <a:pt x="147" y="439"/>
                  </a:lnTo>
                  <a:lnTo>
                    <a:pt x="147" y="438"/>
                  </a:lnTo>
                  <a:lnTo>
                    <a:pt x="146" y="438"/>
                  </a:lnTo>
                  <a:lnTo>
                    <a:pt x="146" y="438"/>
                  </a:lnTo>
                  <a:lnTo>
                    <a:pt x="146" y="437"/>
                  </a:lnTo>
                  <a:lnTo>
                    <a:pt x="145" y="437"/>
                  </a:lnTo>
                  <a:lnTo>
                    <a:pt x="145" y="436"/>
                  </a:lnTo>
                  <a:lnTo>
                    <a:pt x="144" y="432"/>
                  </a:lnTo>
                  <a:lnTo>
                    <a:pt x="144" y="431"/>
                  </a:lnTo>
                  <a:lnTo>
                    <a:pt x="144" y="430"/>
                  </a:lnTo>
                  <a:lnTo>
                    <a:pt x="144" y="429"/>
                  </a:lnTo>
                  <a:lnTo>
                    <a:pt x="143" y="429"/>
                  </a:lnTo>
                  <a:lnTo>
                    <a:pt x="143" y="428"/>
                  </a:lnTo>
                  <a:lnTo>
                    <a:pt x="142" y="427"/>
                  </a:lnTo>
                  <a:lnTo>
                    <a:pt x="141" y="427"/>
                  </a:lnTo>
                  <a:lnTo>
                    <a:pt x="140" y="426"/>
                  </a:lnTo>
                  <a:lnTo>
                    <a:pt x="139" y="425"/>
                  </a:lnTo>
                  <a:lnTo>
                    <a:pt x="137" y="425"/>
                  </a:lnTo>
                  <a:lnTo>
                    <a:pt x="136" y="424"/>
                  </a:lnTo>
                  <a:lnTo>
                    <a:pt x="135" y="424"/>
                  </a:lnTo>
                  <a:lnTo>
                    <a:pt x="130" y="423"/>
                  </a:lnTo>
                  <a:lnTo>
                    <a:pt x="129" y="423"/>
                  </a:lnTo>
                  <a:lnTo>
                    <a:pt x="127" y="422"/>
                  </a:lnTo>
                  <a:lnTo>
                    <a:pt x="126" y="422"/>
                  </a:lnTo>
                  <a:lnTo>
                    <a:pt x="125" y="421"/>
                  </a:lnTo>
                  <a:lnTo>
                    <a:pt x="121" y="417"/>
                  </a:lnTo>
                  <a:lnTo>
                    <a:pt x="118" y="414"/>
                  </a:lnTo>
                  <a:lnTo>
                    <a:pt x="117" y="413"/>
                  </a:lnTo>
                  <a:lnTo>
                    <a:pt x="115" y="411"/>
                  </a:lnTo>
                  <a:lnTo>
                    <a:pt x="111" y="407"/>
                  </a:lnTo>
                  <a:lnTo>
                    <a:pt x="110" y="405"/>
                  </a:lnTo>
                  <a:lnTo>
                    <a:pt x="109" y="404"/>
                  </a:lnTo>
                  <a:lnTo>
                    <a:pt x="108" y="404"/>
                  </a:lnTo>
                  <a:lnTo>
                    <a:pt x="107" y="403"/>
                  </a:lnTo>
                  <a:lnTo>
                    <a:pt x="106" y="402"/>
                  </a:lnTo>
                  <a:lnTo>
                    <a:pt x="105" y="402"/>
                  </a:lnTo>
                  <a:lnTo>
                    <a:pt x="103" y="402"/>
                  </a:lnTo>
                  <a:lnTo>
                    <a:pt x="102" y="401"/>
                  </a:lnTo>
                  <a:lnTo>
                    <a:pt x="100" y="401"/>
                  </a:lnTo>
                  <a:lnTo>
                    <a:pt x="99" y="402"/>
                  </a:lnTo>
                  <a:lnTo>
                    <a:pt x="97" y="402"/>
                  </a:lnTo>
                  <a:lnTo>
                    <a:pt x="92" y="403"/>
                  </a:lnTo>
                  <a:lnTo>
                    <a:pt x="91" y="403"/>
                  </a:lnTo>
                  <a:lnTo>
                    <a:pt x="89" y="404"/>
                  </a:lnTo>
                  <a:lnTo>
                    <a:pt x="87" y="404"/>
                  </a:lnTo>
                  <a:lnTo>
                    <a:pt x="86" y="404"/>
                  </a:lnTo>
                  <a:lnTo>
                    <a:pt x="84" y="404"/>
                  </a:lnTo>
                  <a:lnTo>
                    <a:pt x="82" y="404"/>
                  </a:lnTo>
                  <a:lnTo>
                    <a:pt x="80" y="404"/>
                  </a:lnTo>
                  <a:lnTo>
                    <a:pt x="78" y="404"/>
                  </a:lnTo>
                  <a:lnTo>
                    <a:pt x="76" y="403"/>
                  </a:lnTo>
                  <a:lnTo>
                    <a:pt x="75" y="403"/>
                  </a:lnTo>
                  <a:lnTo>
                    <a:pt x="73" y="402"/>
                  </a:lnTo>
                  <a:lnTo>
                    <a:pt x="72" y="402"/>
                  </a:lnTo>
                  <a:lnTo>
                    <a:pt x="70" y="401"/>
                  </a:lnTo>
                  <a:lnTo>
                    <a:pt x="69" y="400"/>
                  </a:lnTo>
                  <a:lnTo>
                    <a:pt x="67" y="399"/>
                  </a:lnTo>
                  <a:lnTo>
                    <a:pt x="62" y="395"/>
                  </a:lnTo>
                  <a:lnTo>
                    <a:pt x="60" y="394"/>
                  </a:lnTo>
                  <a:lnTo>
                    <a:pt x="57" y="392"/>
                  </a:lnTo>
                  <a:lnTo>
                    <a:pt x="52" y="390"/>
                  </a:lnTo>
                  <a:lnTo>
                    <a:pt x="51" y="389"/>
                  </a:lnTo>
                  <a:lnTo>
                    <a:pt x="50" y="388"/>
                  </a:lnTo>
                  <a:lnTo>
                    <a:pt x="49" y="387"/>
                  </a:lnTo>
                  <a:lnTo>
                    <a:pt x="47" y="386"/>
                  </a:lnTo>
                  <a:lnTo>
                    <a:pt x="47" y="385"/>
                  </a:lnTo>
                  <a:lnTo>
                    <a:pt x="47" y="385"/>
                  </a:lnTo>
                  <a:lnTo>
                    <a:pt x="46" y="384"/>
                  </a:lnTo>
                  <a:lnTo>
                    <a:pt x="46" y="384"/>
                  </a:lnTo>
                  <a:lnTo>
                    <a:pt x="46" y="384"/>
                  </a:lnTo>
                  <a:lnTo>
                    <a:pt x="46" y="383"/>
                  </a:lnTo>
                  <a:lnTo>
                    <a:pt x="46" y="383"/>
                  </a:lnTo>
                  <a:lnTo>
                    <a:pt x="46" y="382"/>
                  </a:lnTo>
                  <a:lnTo>
                    <a:pt x="47" y="382"/>
                  </a:lnTo>
                  <a:lnTo>
                    <a:pt x="47" y="381"/>
                  </a:lnTo>
                  <a:lnTo>
                    <a:pt x="48" y="381"/>
                  </a:lnTo>
                  <a:lnTo>
                    <a:pt x="49" y="380"/>
                  </a:lnTo>
                  <a:lnTo>
                    <a:pt x="52" y="379"/>
                  </a:lnTo>
                  <a:lnTo>
                    <a:pt x="52" y="379"/>
                  </a:lnTo>
                  <a:lnTo>
                    <a:pt x="52" y="378"/>
                  </a:lnTo>
                  <a:lnTo>
                    <a:pt x="52" y="378"/>
                  </a:lnTo>
                  <a:lnTo>
                    <a:pt x="52" y="378"/>
                  </a:lnTo>
                  <a:lnTo>
                    <a:pt x="52" y="377"/>
                  </a:lnTo>
                  <a:lnTo>
                    <a:pt x="51" y="377"/>
                  </a:lnTo>
                  <a:lnTo>
                    <a:pt x="50" y="376"/>
                  </a:lnTo>
                  <a:lnTo>
                    <a:pt x="48" y="375"/>
                  </a:lnTo>
                  <a:lnTo>
                    <a:pt x="47" y="375"/>
                  </a:lnTo>
                  <a:lnTo>
                    <a:pt x="46" y="375"/>
                  </a:lnTo>
                  <a:lnTo>
                    <a:pt x="45" y="374"/>
                  </a:lnTo>
                  <a:lnTo>
                    <a:pt x="44" y="374"/>
                  </a:lnTo>
                  <a:lnTo>
                    <a:pt x="42" y="374"/>
                  </a:lnTo>
                  <a:lnTo>
                    <a:pt x="38" y="375"/>
                  </a:lnTo>
                  <a:lnTo>
                    <a:pt x="37" y="375"/>
                  </a:lnTo>
                  <a:lnTo>
                    <a:pt x="36" y="375"/>
                  </a:lnTo>
                  <a:lnTo>
                    <a:pt x="34" y="375"/>
                  </a:lnTo>
                  <a:lnTo>
                    <a:pt x="31" y="374"/>
                  </a:lnTo>
                  <a:lnTo>
                    <a:pt x="28" y="374"/>
                  </a:lnTo>
                  <a:lnTo>
                    <a:pt x="27" y="374"/>
                  </a:lnTo>
                  <a:lnTo>
                    <a:pt x="25" y="374"/>
                  </a:lnTo>
                  <a:lnTo>
                    <a:pt x="22" y="374"/>
                  </a:lnTo>
                  <a:lnTo>
                    <a:pt x="21" y="374"/>
                  </a:lnTo>
                  <a:lnTo>
                    <a:pt x="20" y="374"/>
                  </a:lnTo>
                  <a:lnTo>
                    <a:pt x="18" y="375"/>
                  </a:lnTo>
                  <a:lnTo>
                    <a:pt x="15" y="376"/>
                  </a:lnTo>
                  <a:lnTo>
                    <a:pt x="13" y="377"/>
                  </a:lnTo>
                  <a:lnTo>
                    <a:pt x="12" y="377"/>
                  </a:lnTo>
                  <a:lnTo>
                    <a:pt x="11" y="377"/>
                  </a:lnTo>
                  <a:lnTo>
                    <a:pt x="10" y="378"/>
                  </a:lnTo>
                  <a:lnTo>
                    <a:pt x="9" y="377"/>
                  </a:lnTo>
                  <a:lnTo>
                    <a:pt x="8" y="377"/>
                  </a:lnTo>
                  <a:lnTo>
                    <a:pt x="4" y="376"/>
                  </a:lnTo>
                  <a:lnTo>
                    <a:pt x="3" y="376"/>
                  </a:lnTo>
                  <a:lnTo>
                    <a:pt x="2" y="376"/>
                  </a:lnTo>
                  <a:lnTo>
                    <a:pt x="2" y="375"/>
                  </a:lnTo>
                  <a:lnTo>
                    <a:pt x="1" y="375"/>
                  </a:lnTo>
                  <a:lnTo>
                    <a:pt x="1" y="375"/>
                  </a:lnTo>
                  <a:lnTo>
                    <a:pt x="0" y="374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2"/>
                  </a:lnTo>
                  <a:lnTo>
                    <a:pt x="0" y="371"/>
                  </a:lnTo>
                  <a:lnTo>
                    <a:pt x="1" y="370"/>
                  </a:lnTo>
                  <a:lnTo>
                    <a:pt x="1" y="369"/>
                  </a:lnTo>
                  <a:lnTo>
                    <a:pt x="2" y="368"/>
                  </a:lnTo>
                  <a:lnTo>
                    <a:pt x="3" y="364"/>
                  </a:lnTo>
                  <a:lnTo>
                    <a:pt x="4" y="363"/>
                  </a:lnTo>
                  <a:lnTo>
                    <a:pt x="6" y="361"/>
                  </a:lnTo>
                  <a:lnTo>
                    <a:pt x="8" y="358"/>
                  </a:lnTo>
                  <a:lnTo>
                    <a:pt x="8" y="357"/>
                  </a:lnTo>
                  <a:lnTo>
                    <a:pt x="9" y="356"/>
                  </a:lnTo>
                  <a:lnTo>
                    <a:pt x="9" y="355"/>
                  </a:lnTo>
                  <a:lnTo>
                    <a:pt x="9" y="355"/>
                  </a:lnTo>
                  <a:lnTo>
                    <a:pt x="9" y="354"/>
                  </a:lnTo>
                  <a:lnTo>
                    <a:pt x="9" y="352"/>
                  </a:lnTo>
                  <a:lnTo>
                    <a:pt x="9" y="351"/>
                  </a:lnTo>
                  <a:lnTo>
                    <a:pt x="8" y="350"/>
                  </a:lnTo>
                  <a:lnTo>
                    <a:pt x="8" y="349"/>
                  </a:lnTo>
                  <a:lnTo>
                    <a:pt x="7" y="347"/>
                  </a:lnTo>
                  <a:lnTo>
                    <a:pt x="6" y="345"/>
                  </a:lnTo>
                  <a:lnTo>
                    <a:pt x="5" y="344"/>
                  </a:lnTo>
                  <a:lnTo>
                    <a:pt x="3" y="342"/>
                  </a:lnTo>
                  <a:lnTo>
                    <a:pt x="3" y="341"/>
                  </a:lnTo>
                  <a:lnTo>
                    <a:pt x="3" y="340"/>
                  </a:lnTo>
                  <a:lnTo>
                    <a:pt x="2" y="340"/>
                  </a:lnTo>
                  <a:lnTo>
                    <a:pt x="3" y="339"/>
                  </a:lnTo>
                  <a:lnTo>
                    <a:pt x="3" y="338"/>
                  </a:lnTo>
                  <a:lnTo>
                    <a:pt x="4" y="337"/>
                  </a:lnTo>
                  <a:lnTo>
                    <a:pt x="4" y="336"/>
                  </a:lnTo>
                  <a:lnTo>
                    <a:pt x="6" y="335"/>
                  </a:lnTo>
                  <a:lnTo>
                    <a:pt x="8" y="333"/>
                  </a:lnTo>
                  <a:lnTo>
                    <a:pt x="9" y="332"/>
                  </a:lnTo>
                  <a:lnTo>
                    <a:pt x="11" y="331"/>
                  </a:lnTo>
                  <a:lnTo>
                    <a:pt x="12" y="330"/>
                  </a:lnTo>
                  <a:lnTo>
                    <a:pt x="13" y="330"/>
                  </a:lnTo>
                  <a:lnTo>
                    <a:pt x="14" y="330"/>
                  </a:lnTo>
                  <a:lnTo>
                    <a:pt x="15" y="329"/>
                  </a:lnTo>
                  <a:lnTo>
                    <a:pt x="17" y="329"/>
                  </a:lnTo>
                  <a:lnTo>
                    <a:pt x="20" y="329"/>
                  </a:lnTo>
                  <a:lnTo>
                    <a:pt x="21" y="329"/>
                  </a:lnTo>
                  <a:lnTo>
                    <a:pt x="22" y="328"/>
                  </a:lnTo>
                  <a:lnTo>
                    <a:pt x="23" y="328"/>
                  </a:lnTo>
                  <a:lnTo>
                    <a:pt x="24" y="328"/>
                  </a:lnTo>
                  <a:lnTo>
                    <a:pt x="24" y="327"/>
                  </a:lnTo>
                  <a:lnTo>
                    <a:pt x="25" y="327"/>
                  </a:lnTo>
                  <a:lnTo>
                    <a:pt x="25" y="326"/>
                  </a:lnTo>
                  <a:lnTo>
                    <a:pt x="27" y="324"/>
                  </a:lnTo>
                  <a:lnTo>
                    <a:pt x="28" y="323"/>
                  </a:lnTo>
                  <a:lnTo>
                    <a:pt x="28" y="322"/>
                  </a:lnTo>
                  <a:lnTo>
                    <a:pt x="30" y="318"/>
                  </a:lnTo>
                  <a:lnTo>
                    <a:pt x="30" y="317"/>
                  </a:lnTo>
                  <a:lnTo>
                    <a:pt x="31" y="317"/>
                  </a:lnTo>
                  <a:lnTo>
                    <a:pt x="31" y="316"/>
                  </a:lnTo>
                  <a:lnTo>
                    <a:pt x="32" y="316"/>
                  </a:lnTo>
                  <a:lnTo>
                    <a:pt x="34" y="315"/>
                  </a:lnTo>
                  <a:lnTo>
                    <a:pt x="35" y="314"/>
                  </a:lnTo>
                  <a:lnTo>
                    <a:pt x="35" y="314"/>
                  </a:lnTo>
                  <a:lnTo>
                    <a:pt x="36" y="313"/>
                  </a:lnTo>
                  <a:lnTo>
                    <a:pt x="36" y="313"/>
                  </a:lnTo>
                  <a:lnTo>
                    <a:pt x="36" y="313"/>
                  </a:lnTo>
                  <a:lnTo>
                    <a:pt x="36" y="312"/>
                  </a:lnTo>
                  <a:lnTo>
                    <a:pt x="37" y="310"/>
                  </a:lnTo>
                  <a:lnTo>
                    <a:pt x="37" y="309"/>
                  </a:lnTo>
                  <a:lnTo>
                    <a:pt x="37" y="307"/>
                  </a:lnTo>
                  <a:lnTo>
                    <a:pt x="37" y="306"/>
                  </a:lnTo>
                  <a:lnTo>
                    <a:pt x="37" y="305"/>
                  </a:lnTo>
                  <a:lnTo>
                    <a:pt x="38" y="303"/>
                  </a:lnTo>
                  <a:lnTo>
                    <a:pt x="38" y="302"/>
                  </a:lnTo>
                  <a:lnTo>
                    <a:pt x="38" y="300"/>
                  </a:lnTo>
                  <a:lnTo>
                    <a:pt x="39" y="297"/>
                  </a:lnTo>
                  <a:lnTo>
                    <a:pt x="39" y="296"/>
                  </a:lnTo>
                  <a:lnTo>
                    <a:pt x="39" y="294"/>
                  </a:lnTo>
                  <a:lnTo>
                    <a:pt x="40" y="293"/>
                  </a:lnTo>
                  <a:lnTo>
                    <a:pt x="40" y="293"/>
                  </a:lnTo>
                  <a:lnTo>
                    <a:pt x="41" y="292"/>
                  </a:lnTo>
                  <a:lnTo>
                    <a:pt x="42" y="291"/>
                  </a:lnTo>
                  <a:lnTo>
                    <a:pt x="45" y="289"/>
                  </a:lnTo>
                  <a:lnTo>
                    <a:pt x="47" y="287"/>
                  </a:lnTo>
                  <a:lnTo>
                    <a:pt x="48" y="286"/>
                  </a:lnTo>
                  <a:lnTo>
                    <a:pt x="51" y="284"/>
                  </a:lnTo>
                  <a:lnTo>
                    <a:pt x="52" y="283"/>
                  </a:lnTo>
                  <a:lnTo>
                    <a:pt x="54" y="281"/>
                  </a:lnTo>
                  <a:lnTo>
                    <a:pt x="57" y="279"/>
                  </a:lnTo>
                  <a:lnTo>
                    <a:pt x="58" y="278"/>
                  </a:lnTo>
                  <a:lnTo>
                    <a:pt x="60" y="277"/>
                  </a:lnTo>
                  <a:lnTo>
                    <a:pt x="61" y="277"/>
                  </a:lnTo>
                  <a:lnTo>
                    <a:pt x="63" y="276"/>
                  </a:lnTo>
                  <a:lnTo>
                    <a:pt x="65" y="276"/>
                  </a:lnTo>
                  <a:lnTo>
                    <a:pt x="66" y="276"/>
                  </a:lnTo>
                  <a:lnTo>
                    <a:pt x="68" y="276"/>
                  </a:lnTo>
                  <a:lnTo>
                    <a:pt x="71" y="276"/>
                  </a:lnTo>
                  <a:lnTo>
                    <a:pt x="73" y="276"/>
                  </a:lnTo>
                  <a:lnTo>
                    <a:pt x="75" y="276"/>
                  </a:lnTo>
                  <a:lnTo>
                    <a:pt x="77" y="276"/>
                  </a:lnTo>
                  <a:lnTo>
                    <a:pt x="79" y="275"/>
                  </a:lnTo>
                  <a:lnTo>
                    <a:pt x="81" y="275"/>
                  </a:lnTo>
                  <a:lnTo>
                    <a:pt x="84" y="274"/>
                  </a:lnTo>
                  <a:lnTo>
                    <a:pt x="86" y="273"/>
                  </a:lnTo>
                  <a:lnTo>
                    <a:pt x="87" y="272"/>
                  </a:lnTo>
                  <a:lnTo>
                    <a:pt x="88" y="271"/>
                  </a:lnTo>
                  <a:lnTo>
                    <a:pt x="90" y="270"/>
                  </a:lnTo>
                  <a:lnTo>
                    <a:pt x="91" y="269"/>
                  </a:lnTo>
                  <a:lnTo>
                    <a:pt x="93" y="267"/>
                  </a:lnTo>
                  <a:lnTo>
                    <a:pt x="94" y="265"/>
                  </a:lnTo>
                  <a:lnTo>
                    <a:pt x="95" y="264"/>
                  </a:lnTo>
                  <a:lnTo>
                    <a:pt x="96" y="264"/>
                  </a:lnTo>
                  <a:lnTo>
                    <a:pt x="99" y="261"/>
                  </a:lnTo>
                  <a:lnTo>
                    <a:pt x="102" y="258"/>
                  </a:lnTo>
                  <a:lnTo>
                    <a:pt x="108" y="253"/>
                  </a:lnTo>
                  <a:lnTo>
                    <a:pt x="110" y="252"/>
                  </a:lnTo>
                  <a:lnTo>
                    <a:pt x="111" y="251"/>
                  </a:lnTo>
                  <a:lnTo>
                    <a:pt x="112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4" y="250"/>
                  </a:lnTo>
                  <a:lnTo>
                    <a:pt x="114" y="250"/>
                  </a:lnTo>
                  <a:lnTo>
                    <a:pt x="115" y="250"/>
                  </a:lnTo>
                  <a:lnTo>
                    <a:pt x="115" y="250"/>
                  </a:lnTo>
                  <a:lnTo>
                    <a:pt x="117" y="251"/>
                  </a:lnTo>
                  <a:lnTo>
                    <a:pt x="118" y="252"/>
                  </a:lnTo>
                  <a:lnTo>
                    <a:pt x="119" y="252"/>
                  </a:lnTo>
                  <a:lnTo>
                    <a:pt x="120" y="253"/>
                  </a:lnTo>
                  <a:lnTo>
                    <a:pt x="122" y="253"/>
                  </a:lnTo>
                  <a:lnTo>
                    <a:pt x="124" y="254"/>
                  </a:lnTo>
                  <a:lnTo>
                    <a:pt x="126" y="254"/>
                  </a:lnTo>
                  <a:lnTo>
                    <a:pt x="127" y="254"/>
                  </a:lnTo>
                  <a:lnTo>
                    <a:pt x="129" y="254"/>
                  </a:lnTo>
                  <a:lnTo>
                    <a:pt x="131" y="254"/>
                  </a:lnTo>
                  <a:lnTo>
                    <a:pt x="138" y="254"/>
                  </a:lnTo>
                  <a:lnTo>
                    <a:pt x="140" y="254"/>
                  </a:lnTo>
                  <a:lnTo>
                    <a:pt x="142" y="254"/>
                  </a:lnTo>
                  <a:lnTo>
                    <a:pt x="143" y="253"/>
                  </a:lnTo>
                  <a:lnTo>
                    <a:pt x="145" y="253"/>
                  </a:lnTo>
                  <a:lnTo>
                    <a:pt x="146" y="252"/>
                  </a:lnTo>
                  <a:lnTo>
                    <a:pt x="148" y="252"/>
                  </a:lnTo>
                  <a:lnTo>
                    <a:pt x="149" y="251"/>
                  </a:lnTo>
                  <a:lnTo>
                    <a:pt x="152" y="249"/>
                  </a:lnTo>
                  <a:lnTo>
                    <a:pt x="153" y="248"/>
                  </a:lnTo>
                  <a:lnTo>
                    <a:pt x="154" y="247"/>
                  </a:lnTo>
                  <a:lnTo>
                    <a:pt x="156" y="247"/>
                  </a:lnTo>
                  <a:lnTo>
                    <a:pt x="156" y="247"/>
                  </a:lnTo>
                  <a:lnTo>
                    <a:pt x="157" y="246"/>
                  </a:lnTo>
                  <a:lnTo>
                    <a:pt x="158" y="246"/>
                  </a:lnTo>
                  <a:lnTo>
                    <a:pt x="160" y="244"/>
                  </a:lnTo>
                  <a:lnTo>
                    <a:pt x="161" y="243"/>
                  </a:lnTo>
                  <a:lnTo>
                    <a:pt x="163" y="242"/>
                  </a:lnTo>
                  <a:lnTo>
                    <a:pt x="167" y="237"/>
                  </a:lnTo>
                  <a:lnTo>
                    <a:pt x="169" y="236"/>
                  </a:lnTo>
                  <a:lnTo>
                    <a:pt x="170" y="235"/>
                  </a:lnTo>
                  <a:lnTo>
                    <a:pt x="171" y="234"/>
                  </a:lnTo>
                  <a:lnTo>
                    <a:pt x="173" y="233"/>
                  </a:lnTo>
                  <a:lnTo>
                    <a:pt x="174" y="232"/>
                  </a:lnTo>
                  <a:lnTo>
                    <a:pt x="175" y="232"/>
                  </a:lnTo>
                  <a:lnTo>
                    <a:pt x="176" y="232"/>
                  </a:lnTo>
                  <a:lnTo>
                    <a:pt x="177" y="232"/>
                  </a:lnTo>
                  <a:lnTo>
                    <a:pt x="179" y="233"/>
                  </a:lnTo>
                  <a:lnTo>
                    <a:pt x="180" y="234"/>
                  </a:lnTo>
                  <a:lnTo>
                    <a:pt x="181" y="234"/>
                  </a:lnTo>
                  <a:lnTo>
                    <a:pt x="182" y="235"/>
                  </a:lnTo>
                  <a:lnTo>
                    <a:pt x="185" y="238"/>
                  </a:lnTo>
                  <a:lnTo>
                    <a:pt x="186" y="239"/>
                  </a:lnTo>
                  <a:lnTo>
                    <a:pt x="187" y="240"/>
                  </a:lnTo>
                  <a:lnTo>
                    <a:pt x="188" y="240"/>
                  </a:lnTo>
                  <a:lnTo>
                    <a:pt x="188" y="240"/>
                  </a:lnTo>
                  <a:lnTo>
                    <a:pt x="189" y="240"/>
                  </a:lnTo>
                  <a:lnTo>
                    <a:pt x="190" y="241"/>
                  </a:lnTo>
                  <a:lnTo>
                    <a:pt x="190" y="241"/>
                  </a:lnTo>
                  <a:lnTo>
                    <a:pt x="192" y="240"/>
                  </a:lnTo>
                  <a:lnTo>
                    <a:pt x="192" y="240"/>
                  </a:lnTo>
                  <a:lnTo>
                    <a:pt x="193" y="240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6" y="238"/>
                  </a:lnTo>
                  <a:lnTo>
                    <a:pt x="197" y="236"/>
                  </a:lnTo>
                  <a:lnTo>
                    <a:pt x="200" y="233"/>
                  </a:lnTo>
                  <a:lnTo>
                    <a:pt x="202" y="230"/>
                  </a:lnTo>
                  <a:lnTo>
                    <a:pt x="203" y="230"/>
                  </a:lnTo>
                  <a:lnTo>
                    <a:pt x="204" y="229"/>
                  </a:lnTo>
                  <a:lnTo>
                    <a:pt x="206" y="227"/>
                  </a:lnTo>
                  <a:lnTo>
                    <a:pt x="207" y="227"/>
                  </a:lnTo>
                  <a:lnTo>
                    <a:pt x="208" y="226"/>
                  </a:lnTo>
                  <a:lnTo>
                    <a:pt x="209" y="225"/>
                  </a:lnTo>
                  <a:lnTo>
                    <a:pt x="211" y="225"/>
                  </a:lnTo>
                  <a:lnTo>
                    <a:pt x="213" y="224"/>
                  </a:lnTo>
                  <a:lnTo>
                    <a:pt x="214" y="224"/>
                  </a:lnTo>
                  <a:lnTo>
                    <a:pt x="219" y="222"/>
                  </a:lnTo>
                  <a:lnTo>
                    <a:pt x="220" y="222"/>
                  </a:lnTo>
                  <a:lnTo>
                    <a:pt x="221" y="221"/>
                  </a:lnTo>
                  <a:lnTo>
                    <a:pt x="223" y="221"/>
                  </a:lnTo>
                  <a:lnTo>
                    <a:pt x="225" y="219"/>
                  </a:lnTo>
                  <a:lnTo>
                    <a:pt x="227" y="218"/>
                  </a:lnTo>
                  <a:lnTo>
                    <a:pt x="228" y="218"/>
                  </a:lnTo>
                  <a:lnTo>
                    <a:pt x="229" y="216"/>
                  </a:lnTo>
                  <a:lnTo>
                    <a:pt x="231" y="214"/>
                  </a:lnTo>
                  <a:lnTo>
                    <a:pt x="232" y="213"/>
                  </a:lnTo>
                  <a:lnTo>
                    <a:pt x="233" y="212"/>
                  </a:lnTo>
                  <a:lnTo>
                    <a:pt x="234" y="211"/>
                  </a:lnTo>
                  <a:lnTo>
                    <a:pt x="235" y="209"/>
                  </a:lnTo>
                  <a:lnTo>
                    <a:pt x="235" y="208"/>
                  </a:lnTo>
                  <a:lnTo>
                    <a:pt x="236" y="206"/>
                  </a:lnTo>
                  <a:lnTo>
                    <a:pt x="236" y="206"/>
                  </a:lnTo>
                  <a:lnTo>
                    <a:pt x="236" y="205"/>
                  </a:lnTo>
                  <a:lnTo>
                    <a:pt x="237" y="204"/>
                  </a:lnTo>
                  <a:lnTo>
                    <a:pt x="238" y="204"/>
                  </a:lnTo>
                  <a:lnTo>
                    <a:pt x="239" y="204"/>
                  </a:lnTo>
                  <a:lnTo>
                    <a:pt x="241" y="204"/>
                  </a:lnTo>
                  <a:lnTo>
                    <a:pt x="243" y="204"/>
                  </a:lnTo>
                  <a:lnTo>
                    <a:pt x="245" y="203"/>
                  </a:lnTo>
                  <a:lnTo>
                    <a:pt x="246" y="203"/>
                  </a:lnTo>
                  <a:lnTo>
                    <a:pt x="247" y="203"/>
                  </a:lnTo>
                  <a:lnTo>
                    <a:pt x="247" y="202"/>
                  </a:lnTo>
                  <a:lnTo>
                    <a:pt x="248" y="202"/>
                  </a:lnTo>
                  <a:lnTo>
                    <a:pt x="248" y="201"/>
                  </a:lnTo>
                  <a:lnTo>
                    <a:pt x="249" y="201"/>
                  </a:lnTo>
                  <a:lnTo>
                    <a:pt x="249" y="200"/>
                  </a:lnTo>
                  <a:lnTo>
                    <a:pt x="249" y="199"/>
                  </a:lnTo>
                  <a:lnTo>
                    <a:pt x="249" y="197"/>
                  </a:lnTo>
                  <a:lnTo>
                    <a:pt x="249" y="195"/>
                  </a:lnTo>
                  <a:lnTo>
                    <a:pt x="249" y="194"/>
                  </a:lnTo>
                  <a:lnTo>
                    <a:pt x="249" y="191"/>
                  </a:lnTo>
                  <a:lnTo>
                    <a:pt x="249" y="189"/>
                  </a:lnTo>
                  <a:lnTo>
                    <a:pt x="249" y="188"/>
                  </a:lnTo>
                  <a:lnTo>
                    <a:pt x="249" y="187"/>
                  </a:lnTo>
                  <a:lnTo>
                    <a:pt x="250" y="186"/>
                  </a:lnTo>
                  <a:lnTo>
                    <a:pt x="250" y="186"/>
                  </a:lnTo>
                  <a:lnTo>
                    <a:pt x="250" y="185"/>
                  </a:lnTo>
                  <a:lnTo>
                    <a:pt x="251" y="183"/>
                  </a:lnTo>
                  <a:lnTo>
                    <a:pt x="252" y="182"/>
                  </a:lnTo>
                  <a:lnTo>
                    <a:pt x="253" y="181"/>
                  </a:lnTo>
                  <a:lnTo>
                    <a:pt x="254" y="180"/>
                  </a:lnTo>
                  <a:lnTo>
                    <a:pt x="255" y="180"/>
                  </a:lnTo>
                  <a:lnTo>
                    <a:pt x="256" y="179"/>
                  </a:lnTo>
                  <a:lnTo>
                    <a:pt x="258" y="178"/>
                  </a:lnTo>
                  <a:lnTo>
                    <a:pt x="259" y="178"/>
                  </a:lnTo>
                  <a:lnTo>
                    <a:pt x="260" y="178"/>
                  </a:lnTo>
                  <a:lnTo>
                    <a:pt x="261" y="177"/>
                  </a:lnTo>
                  <a:lnTo>
                    <a:pt x="262" y="177"/>
                  </a:lnTo>
                  <a:lnTo>
                    <a:pt x="264" y="177"/>
                  </a:lnTo>
                  <a:lnTo>
                    <a:pt x="271" y="178"/>
                  </a:lnTo>
                  <a:lnTo>
                    <a:pt x="273" y="178"/>
                  </a:lnTo>
                  <a:lnTo>
                    <a:pt x="276" y="179"/>
                  </a:lnTo>
                  <a:lnTo>
                    <a:pt x="281" y="180"/>
                  </a:lnTo>
                  <a:lnTo>
                    <a:pt x="287" y="182"/>
                  </a:lnTo>
                  <a:lnTo>
                    <a:pt x="291" y="183"/>
                  </a:lnTo>
                  <a:lnTo>
                    <a:pt x="293" y="183"/>
                  </a:lnTo>
                  <a:lnTo>
                    <a:pt x="296" y="184"/>
                  </a:lnTo>
                  <a:lnTo>
                    <a:pt x="305" y="185"/>
                  </a:lnTo>
                  <a:lnTo>
                    <a:pt x="308" y="185"/>
                  </a:lnTo>
                  <a:lnTo>
                    <a:pt x="312" y="185"/>
                  </a:lnTo>
                  <a:lnTo>
                    <a:pt x="315" y="185"/>
                  </a:lnTo>
                  <a:lnTo>
                    <a:pt x="318" y="185"/>
                  </a:lnTo>
                  <a:lnTo>
                    <a:pt x="321" y="185"/>
                  </a:lnTo>
                  <a:lnTo>
                    <a:pt x="324" y="184"/>
                  </a:lnTo>
                  <a:lnTo>
                    <a:pt x="327" y="183"/>
                  </a:lnTo>
                  <a:lnTo>
                    <a:pt x="329" y="183"/>
                  </a:lnTo>
                  <a:lnTo>
                    <a:pt x="331" y="182"/>
                  </a:lnTo>
                  <a:lnTo>
                    <a:pt x="332" y="181"/>
                  </a:lnTo>
                  <a:lnTo>
                    <a:pt x="333" y="181"/>
                  </a:lnTo>
                  <a:lnTo>
                    <a:pt x="334" y="181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40" y="182"/>
                  </a:lnTo>
                  <a:lnTo>
                    <a:pt x="342" y="183"/>
                  </a:lnTo>
                  <a:lnTo>
                    <a:pt x="347" y="183"/>
                  </a:lnTo>
                  <a:lnTo>
                    <a:pt x="352" y="184"/>
                  </a:lnTo>
                  <a:lnTo>
                    <a:pt x="354" y="185"/>
                  </a:lnTo>
                  <a:lnTo>
                    <a:pt x="356" y="185"/>
                  </a:lnTo>
                  <a:lnTo>
                    <a:pt x="357" y="185"/>
                  </a:lnTo>
                  <a:lnTo>
                    <a:pt x="358" y="185"/>
                  </a:lnTo>
                  <a:lnTo>
                    <a:pt x="359" y="185"/>
                  </a:lnTo>
                  <a:lnTo>
                    <a:pt x="360" y="184"/>
                  </a:lnTo>
                  <a:lnTo>
                    <a:pt x="360" y="184"/>
                  </a:lnTo>
                  <a:lnTo>
                    <a:pt x="362" y="183"/>
                  </a:lnTo>
                  <a:lnTo>
                    <a:pt x="363" y="182"/>
                  </a:lnTo>
                  <a:lnTo>
                    <a:pt x="364" y="181"/>
                  </a:lnTo>
                  <a:lnTo>
                    <a:pt x="367" y="178"/>
                  </a:lnTo>
                  <a:lnTo>
                    <a:pt x="368" y="177"/>
                  </a:lnTo>
                  <a:lnTo>
                    <a:pt x="369" y="176"/>
                  </a:lnTo>
                  <a:lnTo>
                    <a:pt x="370" y="176"/>
                  </a:lnTo>
                  <a:lnTo>
                    <a:pt x="371" y="175"/>
                  </a:lnTo>
                  <a:lnTo>
                    <a:pt x="372" y="175"/>
                  </a:lnTo>
                  <a:lnTo>
                    <a:pt x="374" y="175"/>
                  </a:lnTo>
                  <a:lnTo>
                    <a:pt x="383" y="173"/>
                  </a:lnTo>
                  <a:lnTo>
                    <a:pt x="386" y="173"/>
                  </a:lnTo>
                  <a:lnTo>
                    <a:pt x="392" y="172"/>
                  </a:lnTo>
                  <a:lnTo>
                    <a:pt x="394" y="172"/>
                  </a:lnTo>
                  <a:lnTo>
                    <a:pt x="395" y="172"/>
                  </a:lnTo>
                  <a:lnTo>
                    <a:pt x="397" y="173"/>
                  </a:lnTo>
                  <a:lnTo>
                    <a:pt x="401" y="173"/>
                  </a:lnTo>
                  <a:lnTo>
                    <a:pt x="402" y="174"/>
                  </a:lnTo>
                  <a:lnTo>
                    <a:pt x="403" y="174"/>
                  </a:lnTo>
                  <a:lnTo>
                    <a:pt x="404" y="173"/>
                  </a:lnTo>
                  <a:lnTo>
                    <a:pt x="405" y="173"/>
                  </a:lnTo>
                  <a:lnTo>
                    <a:pt x="406" y="173"/>
                  </a:lnTo>
                  <a:lnTo>
                    <a:pt x="407" y="172"/>
                  </a:lnTo>
                  <a:lnTo>
                    <a:pt x="407" y="172"/>
                  </a:lnTo>
                  <a:lnTo>
                    <a:pt x="408" y="171"/>
                  </a:lnTo>
                  <a:lnTo>
                    <a:pt x="408" y="171"/>
                  </a:lnTo>
                  <a:lnTo>
                    <a:pt x="409" y="169"/>
                  </a:lnTo>
                  <a:lnTo>
                    <a:pt x="410" y="168"/>
                  </a:lnTo>
                  <a:lnTo>
                    <a:pt x="410" y="167"/>
                  </a:lnTo>
                  <a:lnTo>
                    <a:pt x="410" y="166"/>
                  </a:lnTo>
                  <a:lnTo>
                    <a:pt x="411" y="160"/>
                  </a:lnTo>
                  <a:lnTo>
                    <a:pt x="412" y="156"/>
                  </a:lnTo>
                  <a:lnTo>
                    <a:pt x="412" y="155"/>
                  </a:lnTo>
                  <a:lnTo>
                    <a:pt x="412" y="153"/>
                  </a:lnTo>
                  <a:lnTo>
                    <a:pt x="412" y="152"/>
                  </a:lnTo>
                  <a:lnTo>
                    <a:pt x="412" y="150"/>
                  </a:lnTo>
                  <a:lnTo>
                    <a:pt x="412" y="148"/>
                  </a:lnTo>
                  <a:lnTo>
                    <a:pt x="412" y="147"/>
                  </a:lnTo>
                  <a:lnTo>
                    <a:pt x="412" y="145"/>
                  </a:lnTo>
                  <a:lnTo>
                    <a:pt x="411" y="141"/>
                  </a:lnTo>
                  <a:lnTo>
                    <a:pt x="410" y="140"/>
                  </a:lnTo>
                  <a:lnTo>
                    <a:pt x="410" y="139"/>
                  </a:lnTo>
                  <a:lnTo>
                    <a:pt x="410" y="137"/>
                  </a:lnTo>
                  <a:lnTo>
                    <a:pt x="410" y="135"/>
                  </a:lnTo>
                  <a:lnTo>
                    <a:pt x="410" y="134"/>
                  </a:lnTo>
                  <a:lnTo>
                    <a:pt x="410" y="133"/>
                  </a:lnTo>
                  <a:lnTo>
                    <a:pt x="410" y="130"/>
                  </a:lnTo>
                  <a:lnTo>
                    <a:pt x="410" y="126"/>
                  </a:lnTo>
                  <a:lnTo>
                    <a:pt x="410" y="125"/>
                  </a:lnTo>
                  <a:lnTo>
                    <a:pt x="410" y="125"/>
                  </a:lnTo>
                  <a:lnTo>
                    <a:pt x="410" y="124"/>
                  </a:lnTo>
                  <a:lnTo>
                    <a:pt x="410" y="124"/>
                  </a:lnTo>
                  <a:lnTo>
                    <a:pt x="411" y="124"/>
                  </a:lnTo>
                  <a:lnTo>
                    <a:pt x="412" y="123"/>
                  </a:lnTo>
                  <a:lnTo>
                    <a:pt x="412" y="123"/>
                  </a:lnTo>
                  <a:lnTo>
                    <a:pt x="413" y="123"/>
                  </a:lnTo>
                  <a:lnTo>
                    <a:pt x="414" y="123"/>
                  </a:lnTo>
                  <a:lnTo>
                    <a:pt x="414" y="123"/>
                  </a:lnTo>
                  <a:lnTo>
                    <a:pt x="415" y="123"/>
                  </a:lnTo>
                  <a:lnTo>
                    <a:pt x="416" y="123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4" y="126"/>
                  </a:lnTo>
                  <a:lnTo>
                    <a:pt x="426" y="126"/>
                  </a:lnTo>
                  <a:lnTo>
                    <a:pt x="427" y="126"/>
                  </a:lnTo>
                  <a:lnTo>
                    <a:pt x="428" y="126"/>
                  </a:lnTo>
                  <a:lnTo>
                    <a:pt x="429" y="126"/>
                  </a:lnTo>
                  <a:lnTo>
                    <a:pt x="429" y="126"/>
                  </a:lnTo>
                  <a:lnTo>
                    <a:pt x="429" y="125"/>
                  </a:lnTo>
                  <a:lnTo>
                    <a:pt x="430" y="125"/>
                  </a:lnTo>
                  <a:lnTo>
                    <a:pt x="430" y="125"/>
                  </a:lnTo>
                  <a:lnTo>
                    <a:pt x="430" y="124"/>
                  </a:lnTo>
                  <a:lnTo>
                    <a:pt x="430" y="122"/>
                  </a:lnTo>
                  <a:lnTo>
                    <a:pt x="430" y="122"/>
                  </a:lnTo>
                  <a:lnTo>
                    <a:pt x="432" y="118"/>
                  </a:lnTo>
                  <a:lnTo>
                    <a:pt x="434" y="114"/>
                  </a:lnTo>
                  <a:lnTo>
                    <a:pt x="435" y="113"/>
                  </a:lnTo>
                  <a:lnTo>
                    <a:pt x="435" y="113"/>
                  </a:lnTo>
                  <a:lnTo>
                    <a:pt x="436" y="112"/>
                  </a:lnTo>
                  <a:lnTo>
                    <a:pt x="437" y="112"/>
                  </a:lnTo>
                  <a:lnTo>
                    <a:pt x="441" y="111"/>
                  </a:lnTo>
                  <a:lnTo>
                    <a:pt x="445" y="110"/>
                  </a:lnTo>
                  <a:lnTo>
                    <a:pt x="448" y="109"/>
                  </a:lnTo>
                  <a:lnTo>
                    <a:pt x="449" y="108"/>
                  </a:lnTo>
                  <a:lnTo>
                    <a:pt x="450" y="108"/>
                  </a:lnTo>
                  <a:lnTo>
                    <a:pt x="450" y="108"/>
                  </a:lnTo>
                  <a:lnTo>
                    <a:pt x="451" y="107"/>
                  </a:lnTo>
                  <a:lnTo>
                    <a:pt x="451" y="107"/>
                  </a:lnTo>
                  <a:lnTo>
                    <a:pt x="451" y="106"/>
                  </a:lnTo>
                  <a:lnTo>
                    <a:pt x="452" y="105"/>
                  </a:lnTo>
                  <a:lnTo>
                    <a:pt x="452" y="104"/>
                  </a:lnTo>
                  <a:lnTo>
                    <a:pt x="452" y="103"/>
                  </a:lnTo>
                  <a:lnTo>
                    <a:pt x="453" y="102"/>
                  </a:lnTo>
                  <a:lnTo>
                    <a:pt x="453" y="101"/>
                  </a:lnTo>
                  <a:lnTo>
                    <a:pt x="453" y="100"/>
                  </a:lnTo>
                  <a:lnTo>
                    <a:pt x="452" y="96"/>
                  </a:lnTo>
                  <a:lnTo>
                    <a:pt x="452" y="94"/>
                  </a:lnTo>
                  <a:lnTo>
                    <a:pt x="452" y="91"/>
                  </a:lnTo>
                  <a:lnTo>
                    <a:pt x="451" y="87"/>
                  </a:lnTo>
                  <a:lnTo>
                    <a:pt x="450" y="85"/>
                  </a:lnTo>
                  <a:lnTo>
                    <a:pt x="450" y="84"/>
                  </a:lnTo>
                  <a:lnTo>
                    <a:pt x="450" y="83"/>
                  </a:lnTo>
                  <a:lnTo>
                    <a:pt x="451" y="82"/>
                  </a:lnTo>
                  <a:lnTo>
                    <a:pt x="451" y="81"/>
                  </a:lnTo>
                  <a:lnTo>
                    <a:pt x="451" y="80"/>
                  </a:lnTo>
                  <a:lnTo>
                    <a:pt x="451" y="79"/>
                  </a:lnTo>
                  <a:lnTo>
                    <a:pt x="452" y="78"/>
                  </a:lnTo>
                  <a:lnTo>
                    <a:pt x="453" y="77"/>
                  </a:lnTo>
                  <a:lnTo>
                    <a:pt x="454" y="76"/>
                  </a:lnTo>
                  <a:lnTo>
                    <a:pt x="455" y="75"/>
                  </a:lnTo>
                  <a:lnTo>
                    <a:pt x="455" y="75"/>
                  </a:lnTo>
                  <a:lnTo>
                    <a:pt x="456" y="74"/>
                  </a:lnTo>
                  <a:lnTo>
                    <a:pt x="457" y="74"/>
                  </a:lnTo>
                  <a:lnTo>
                    <a:pt x="457" y="74"/>
                  </a:lnTo>
                  <a:lnTo>
                    <a:pt x="458" y="73"/>
                  </a:lnTo>
                  <a:lnTo>
                    <a:pt x="459" y="74"/>
                  </a:lnTo>
                  <a:lnTo>
                    <a:pt x="459" y="74"/>
                  </a:lnTo>
                  <a:lnTo>
                    <a:pt x="459" y="74"/>
                  </a:lnTo>
                  <a:lnTo>
                    <a:pt x="459" y="74"/>
                  </a:lnTo>
                  <a:lnTo>
                    <a:pt x="460" y="75"/>
                  </a:lnTo>
                  <a:lnTo>
                    <a:pt x="460" y="75"/>
                  </a:lnTo>
                  <a:lnTo>
                    <a:pt x="461" y="76"/>
                  </a:lnTo>
                  <a:lnTo>
                    <a:pt x="462" y="76"/>
                  </a:lnTo>
                  <a:lnTo>
                    <a:pt x="462" y="77"/>
                  </a:lnTo>
                  <a:lnTo>
                    <a:pt x="463" y="77"/>
                  </a:lnTo>
                  <a:lnTo>
                    <a:pt x="464" y="77"/>
                  </a:lnTo>
                  <a:lnTo>
                    <a:pt x="464" y="77"/>
                  </a:lnTo>
                  <a:lnTo>
                    <a:pt x="465" y="76"/>
                  </a:lnTo>
                  <a:lnTo>
                    <a:pt x="466" y="76"/>
                  </a:lnTo>
                  <a:lnTo>
                    <a:pt x="469" y="75"/>
                  </a:lnTo>
                  <a:lnTo>
                    <a:pt x="470" y="74"/>
                  </a:lnTo>
                  <a:lnTo>
                    <a:pt x="471" y="74"/>
                  </a:lnTo>
                  <a:lnTo>
                    <a:pt x="472" y="73"/>
                  </a:lnTo>
                  <a:lnTo>
                    <a:pt x="473" y="73"/>
                  </a:lnTo>
                  <a:lnTo>
                    <a:pt x="475" y="74"/>
                  </a:lnTo>
                  <a:lnTo>
                    <a:pt x="476" y="74"/>
                  </a:lnTo>
                  <a:lnTo>
                    <a:pt x="479" y="76"/>
                  </a:lnTo>
                  <a:lnTo>
                    <a:pt x="480" y="76"/>
                  </a:lnTo>
                  <a:lnTo>
                    <a:pt x="482" y="76"/>
                  </a:lnTo>
                  <a:lnTo>
                    <a:pt x="482" y="76"/>
                  </a:lnTo>
                  <a:lnTo>
                    <a:pt x="483" y="76"/>
                  </a:lnTo>
                  <a:lnTo>
                    <a:pt x="484" y="76"/>
                  </a:lnTo>
                  <a:lnTo>
                    <a:pt x="485" y="76"/>
                  </a:lnTo>
                  <a:lnTo>
                    <a:pt x="486" y="76"/>
                  </a:lnTo>
                  <a:lnTo>
                    <a:pt x="488" y="75"/>
                  </a:lnTo>
                  <a:lnTo>
                    <a:pt x="489" y="74"/>
                  </a:lnTo>
                  <a:lnTo>
                    <a:pt x="491" y="74"/>
                  </a:lnTo>
                  <a:lnTo>
                    <a:pt x="492" y="73"/>
                  </a:lnTo>
                  <a:lnTo>
                    <a:pt x="493" y="73"/>
                  </a:lnTo>
                  <a:lnTo>
                    <a:pt x="494" y="73"/>
                  </a:lnTo>
                  <a:lnTo>
                    <a:pt x="494" y="73"/>
                  </a:lnTo>
                  <a:lnTo>
                    <a:pt x="495" y="73"/>
                  </a:lnTo>
                  <a:lnTo>
                    <a:pt x="496" y="74"/>
                  </a:lnTo>
                  <a:lnTo>
                    <a:pt x="496" y="74"/>
                  </a:lnTo>
                  <a:lnTo>
                    <a:pt x="497" y="75"/>
                  </a:lnTo>
                  <a:lnTo>
                    <a:pt x="497" y="76"/>
                  </a:lnTo>
                  <a:lnTo>
                    <a:pt x="498" y="77"/>
                  </a:lnTo>
                  <a:lnTo>
                    <a:pt x="498" y="78"/>
                  </a:lnTo>
                  <a:lnTo>
                    <a:pt x="499" y="82"/>
                  </a:lnTo>
                  <a:lnTo>
                    <a:pt x="499" y="84"/>
                  </a:lnTo>
                  <a:lnTo>
                    <a:pt x="500" y="86"/>
                  </a:lnTo>
                  <a:lnTo>
                    <a:pt x="500" y="87"/>
                  </a:lnTo>
                  <a:lnTo>
                    <a:pt x="501" y="88"/>
                  </a:lnTo>
                  <a:lnTo>
                    <a:pt x="501" y="89"/>
                  </a:lnTo>
                  <a:lnTo>
                    <a:pt x="502" y="90"/>
                  </a:lnTo>
                  <a:lnTo>
                    <a:pt x="502" y="91"/>
                  </a:lnTo>
                  <a:lnTo>
                    <a:pt x="503" y="91"/>
                  </a:lnTo>
                  <a:lnTo>
                    <a:pt x="504" y="91"/>
                  </a:lnTo>
                  <a:lnTo>
                    <a:pt x="505" y="92"/>
                  </a:lnTo>
                  <a:lnTo>
                    <a:pt x="506" y="92"/>
                  </a:lnTo>
                  <a:lnTo>
                    <a:pt x="507" y="93"/>
                  </a:lnTo>
                  <a:lnTo>
                    <a:pt x="508" y="93"/>
                  </a:lnTo>
                  <a:lnTo>
                    <a:pt x="509" y="93"/>
                  </a:lnTo>
                  <a:lnTo>
                    <a:pt x="510" y="93"/>
                  </a:lnTo>
                  <a:lnTo>
                    <a:pt x="510" y="93"/>
                  </a:lnTo>
                  <a:lnTo>
                    <a:pt x="511" y="93"/>
                  </a:lnTo>
                  <a:lnTo>
                    <a:pt x="512" y="92"/>
                  </a:lnTo>
                  <a:lnTo>
                    <a:pt x="514" y="92"/>
                  </a:lnTo>
                  <a:lnTo>
                    <a:pt x="515" y="91"/>
                  </a:lnTo>
                  <a:lnTo>
                    <a:pt x="520" y="90"/>
                  </a:lnTo>
                  <a:lnTo>
                    <a:pt x="521" y="89"/>
                  </a:lnTo>
                  <a:lnTo>
                    <a:pt x="523" y="89"/>
                  </a:lnTo>
                  <a:lnTo>
                    <a:pt x="526" y="89"/>
                  </a:lnTo>
                  <a:lnTo>
                    <a:pt x="527" y="89"/>
                  </a:lnTo>
                  <a:lnTo>
                    <a:pt x="530" y="89"/>
                  </a:lnTo>
                  <a:lnTo>
                    <a:pt x="531" y="88"/>
                  </a:lnTo>
                  <a:lnTo>
                    <a:pt x="540" y="88"/>
                  </a:lnTo>
                  <a:lnTo>
                    <a:pt x="542" y="88"/>
                  </a:lnTo>
                  <a:lnTo>
                    <a:pt x="542" y="87"/>
                  </a:lnTo>
                  <a:lnTo>
                    <a:pt x="543" y="87"/>
                  </a:lnTo>
                  <a:lnTo>
                    <a:pt x="544" y="86"/>
                  </a:lnTo>
                  <a:lnTo>
                    <a:pt x="547" y="83"/>
                  </a:lnTo>
                  <a:lnTo>
                    <a:pt x="552" y="80"/>
                  </a:lnTo>
                  <a:lnTo>
                    <a:pt x="554" y="78"/>
                  </a:lnTo>
                  <a:lnTo>
                    <a:pt x="555" y="77"/>
                  </a:lnTo>
                  <a:lnTo>
                    <a:pt x="556" y="76"/>
                  </a:lnTo>
                  <a:lnTo>
                    <a:pt x="557" y="74"/>
                  </a:lnTo>
                  <a:lnTo>
                    <a:pt x="560" y="71"/>
                  </a:lnTo>
                  <a:lnTo>
                    <a:pt x="560" y="70"/>
                  </a:lnTo>
                  <a:lnTo>
                    <a:pt x="561" y="69"/>
                  </a:lnTo>
                  <a:lnTo>
                    <a:pt x="562" y="68"/>
                  </a:lnTo>
                  <a:lnTo>
                    <a:pt x="563" y="68"/>
                  </a:lnTo>
                  <a:lnTo>
                    <a:pt x="566" y="65"/>
                  </a:lnTo>
                  <a:lnTo>
                    <a:pt x="567" y="65"/>
                  </a:lnTo>
                  <a:lnTo>
                    <a:pt x="568" y="64"/>
                  </a:lnTo>
                  <a:lnTo>
                    <a:pt x="568" y="63"/>
                  </a:lnTo>
                  <a:lnTo>
                    <a:pt x="569" y="62"/>
                  </a:lnTo>
                  <a:lnTo>
                    <a:pt x="570" y="61"/>
                  </a:lnTo>
                  <a:lnTo>
                    <a:pt x="570" y="60"/>
                  </a:lnTo>
                  <a:lnTo>
                    <a:pt x="570" y="58"/>
                  </a:lnTo>
                  <a:lnTo>
                    <a:pt x="571" y="56"/>
                  </a:lnTo>
                  <a:lnTo>
                    <a:pt x="571" y="50"/>
                  </a:lnTo>
                  <a:lnTo>
                    <a:pt x="572" y="49"/>
                  </a:lnTo>
                  <a:lnTo>
                    <a:pt x="572" y="48"/>
                  </a:lnTo>
                  <a:lnTo>
                    <a:pt x="573" y="46"/>
                  </a:lnTo>
                  <a:lnTo>
                    <a:pt x="573" y="45"/>
                  </a:lnTo>
                  <a:lnTo>
                    <a:pt x="574" y="45"/>
                  </a:lnTo>
                  <a:lnTo>
                    <a:pt x="575" y="44"/>
                  </a:lnTo>
                  <a:lnTo>
                    <a:pt x="576" y="44"/>
                  </a:lnTo>
                  <a:lnTo>
                    <a:pt x="577" y="44"/>
                  </a:lnTo>
                  <a:lnTo>
                    <a:pt x="579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5" y="44"/>
                  </a:lnTo>
                  <a:lnTo>
                    <a:pt x="588" y="45"/>
                  </a:lnTo>
                  <a:lnTo>
                    <a:pt x="591" y="46"/>
                  </a:lnTo>
                  <a:lnTo>
                    <a:pt x="596" y="47"/>
                  </a:lnTo>
                  <a:lnTo>
                    <a:pt x="598" y="48"/>
                  </a:lnTo>
                  <a:lnTo>
                    <a:pt x="600" y="48"/>
                  </a:lnTo>
                  <a:lnTo>
                    <a:pt x="600" y="48"/>
                  </a:lnTo>
                  <a:lnTo>
                    <a:pt x="601" y="48"/>
                  </a:lnTo>
                  <a:lnTo>
                    <a:pt x="602" y="48"/>
                  </a:lnTo>
                  <a:lnTo>
                    <a:pt x="603" y="48"/>
                  </a:lnTo>
                  <a:lnTo>
                    <a:pt x="604" y="48"/>
                  </a:lnTo>
                  <a:lnTo>
                    <a:pt x="605" y="47"/>
                  </a:lnTo>
                  <a:lnTo>
                    <a:pt x="606" y="47"/>
                  </a:lnTo>
                  <a:lnTo>
                    <a:pt x="607" y="46"/>
                  </a:lnTo>
                  <a:lnTo>
                    <a:pt x="608" y="45"/>
                  </a:lnTo>
                  <a:lnTo>
                    <a:pt x="609" y="44"/>
                  </a:lnTo>
                  <a:lnTo>
                    <a:pt x="610" y="43"/>
                  </a:lnTo>
                  <a:lnTo>
                    <a:pt x="611" y="43"/>
                  </a:lnTo>
                  <a:lnTo>
                    <a:pt x="611" y="42"/>
                  </a:lnTo>
                  <a:lnTo>
                    <a:pt x="612" y="41"/>
                  </a:lnTo>
                  <a:lnTo>
                    <a:pt x="612" y="40"/>
                  </a:lnTo>
                  <a:lnTo>
                    <a:pt x="613" y="39"/>
                  </a:lnTo>
                  <a:lnTo>
                    <a:pt x="613" y="36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3"/>
                  </a:lnTo>
                  <a:lnTo>
                    <a:pt x="615" y="32"/>
                  </a:lnTo>
                  <a:lnTo>
                    <a:pt x="615" y="32"/>
                  </a:lnTo>
                  <a:lnTo>
                    <a:pt x="616" y="31"/>
                  </a:lnTo>
                  <a:lnTo>
                    <a:pt x="617" y="30"/>
                  </a:lnTo>
                  <a:lnTo>
                    <a:pt x="619" y="29"/>
                  </a:lnTo>
                  <a:lnTo>
                    <a:pt x="620" y="28"/>
                  </a:lnTo>
                  <a:lnTo>
                    <a:pt x="623" y="27"/>
                  </a:lnTo>
                  <a:lnTo>
                    <a:pt x="628" y="24"/>
                  </a:lnTo>
                  <a:lnTo>
                    <a:pt x="630" y="23"/>
                  </a:lnTo>
                  <a:lnTo>
                    <a:pt x="631" y="23"/>
                  </a:lnTo>
                  <a:lnTo>
                    <a:pt x="631" y="22"/>
                  </a:lnTo>
                  <a:lnTo>
                    <a:pt x="632" y="21"/>
                  </a:lnTo>
                  <a:lnTo>
                    <a:pt x="633" y="20"/>
                  </a:lnTo>
                  <a:lnTo>
                    <a:pt x="633" y="19"/>
                  </a:lnTo>
                  <a:lnTo>
                    <a:pt x="634" y="18"/>
                  </a:lnTo>
                  <a:lnTo>
                    <a:pt x="634" y="17"/>
                  </a:lnTo>
                  <a:lnTo>
                    <a:pt x="634" y="13"/>
                  </a:lnTo>
                  <a:lnTo>
                    <a:pt x="635" y="11"/>
                  </a:lnTo>
                  <a:lnTo>
                    <a:pt x="636" y="9"/>
                  </a:lnTo>
                  <a:lnTo>
                    <a:pt x="637" y="6"/>
                  </a:lnTo>
                  <a:lnTo>
                    <a:pt x="637" y="5"/>
                  </a:lnTo>
                  <a:lnTo>
                    <a:pt x="638" y="3"/>
                  </a:lnTo>
                  <a:lnTo>
                    <a:pt x="638" y="1"/>
                  </a:lnTo>
                  <a:lnTo>
                    <a:pt x="638" y="0"/>
                  </a:lnTo>
                  <a:lnTo>
                    <a:pt x="639" y="0"/>
                  </a:lnTo>
                  <a:lnTo>
                    <a:pt x="639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Freeform 230">
              <a:extLst>
                <a:ext uri="{FF2B5EF4-FFF2-40B4-BE49-F238E27FC236}">
                  <a16:creationId xmlns:a16="http://schemas.microsoft.com/office/drawing/2014/main" id="{0E2A3BD8-C8B2-44E3-A219-36C369E2B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10163" y="2793829"/>
              <a:ext cx="668494" cy="600218"/>
            </a:xfrm>
            <a:custGeom>
              <a:avLst/>
              <a:gdLst>
                <a:gd name="T0" fmla="*/ 6 w 656"/>
                <a:gd name="T1" fmla="*/ 51 h 589"/>
                <a:gd name="T2" fmla="*/ 37 w 656"/>
                <a:gd name="T3" fmla="*/ 51 h 589"/>
                <a:gd name="T4" fmla="*/ 70 w 656"/>
                <a:gd name="T5" fmla="*/ 35 h 589"/>
                <a:gd name="T6" fmla="*/ 96 w 656"/>
                <a:gd name="T7" fmla="*/ 36 h 589"/>
                <a:gd name="T8" fmla="*/ 114 w 656"/>
                <a:gd name="T9" fmla="*/ 52 h 589"/>
                <a:gd name="T10" fmla="*/ 136 w 656"/>
                <a:gd name="T11" fmla="*/ 48 h 589"/>
                <a:gd name="T12" fmla="*/ 147 w 656"/>
                <a:gd name="T13" fmla="*/ 39 h 589"/>
                <a:gd name="T14" fmla="*/ 171 w 656"/>
                <a:gd name="T15" fmla="*/ 50 h 589"/>
                <a:gd name="T16" fmla="*/ 195 w 656"/>
                <a:gd name="T17" fmla="*/ 50 h 589"/>
                <a:gd name="T18" fmla="*/ 222 w 656"/>
                <a:gd name="T19" fmla="*/ 51 h 589"/>
                <a:gd name="T20" fmla="*/ 238 w 656"/>
                <a:gd name="T21" fmla="*/ 62 h 589"/>
                <a:gd name="T22" fmla="*/ 255 w 656"/>
                <a:gd name="T23" fmla="*/ 59 h 589"/>
                <a:gd name="T24" fmla="*/ 285 w 656"/>
                <a:gd name="T25" fmla="*/ 40 h 589"/>
                <a:gd name="T26" fmla="*/ 285 w 656"/>
                <a:gd name="T27" fmla="*/ 13 h 589"/>
                <a:gd name="T28" fmla="*/ 302 w 656"/>
                <a:gd name="T29" fmla="*/ 0 h 589"/>
                <a:gd name="T30" fmla="*/ 334 w 656"/>
                <a:gd name="T31" fmla="*/ 21 h 589"/>
                <a:gd name="T32" fmla="*/ 348 w 656"/>
                <a:gd name="T33" fmla="*/ 25 h 589"/>
                <a:gd name="T34" fmla="*/ 367 w 656"/>
                <a:gd name="T35" fmla="*/ 43 h 589"/>
                <a:gd name="T36" fmla="*/ 368 w 656"/>
                <a:gd name="T37" fmla="*/ 58 h 589"/>
                <a:gd name="T38" fmla="*/ 366 w 656"/>
                <a:gd name="T39" fmla="*/ 74 h 589"/>
                <a:gd name="T40" fmla="*/ 365 w 656"/>
                <a:gd name="T41" fmla="*/ 107 h 589"/>
                <a:gd name="T42" fmla="*/ 355 w 656"/>
                <a:gd name="T43" fmla="*/ 145 h 589"/>
                <a:gd name="T44" fmla="*/ 367 w 656"/>
                <a:gd name="T45" fmla="*/ 168 h 589"/>
                <a:gd name="T46" fmla="*/ 362 w 656"/>
                <a:gd name="T47" fmla="*/ 186 h 589"/>
                <a:gd name="T48" fmla="*/ 393 w 656"/>
                <a:gd name="T49" fmla="*/ 218 h 589"/>
                <a:gd name="T50" fmla="*/ 420 w 656"/>
                <a:gd name="T51" fmla="*/ 217 h 589"/>
                <a:gd name="T52" fmla="*/ 442 w 656"/>
                <a:gd name="T53" fmla="*/ 231 h 589"/>
                <a:gd name="T54" fmla="*/ 441 w 656"/>
                <a:gd name="T55" fmla="*/ 241 h 589"/>
                <a:gd name="T56" fmla="*/ 463 w 656"/>
                <a:gd name="T57" fmla="*/ 255 h 589"/>
                <a:gd name="T58" fmla="*/ 493 w 656"/>
                <a:gd name="T59" fmla="*/ 253 h 589"/>
                <a:gd name="T60" fmla="*/ 526 w 656"/>
                <a:gd name="T61" fmla="*/ 260 h 589"/>
                <a:gd name="T62" fmla="*/ 548 w 656"/>
                <a:gd name="T63" fmla="*/ 271 h 589"/>
                <a:gd name="T64" fmla="*/ 555 w 656"/>
                <a:gd name="T65" fmla="*/ 302 h 589"/>
                <a:gd name="T66" fmla="*/ 588 w 656"/>
                <a:gd name="T67" fmla="*/ 318 h 589"/>
                <a:gd name="T68" fmla="*/ 623 w 656"/>
                <a:gd name="T69" fmla="*/ 317 h 589"/>
                <a:gd name="T70" fmla="*/ 641 w 656"/>
                <a:gd name="T71" fmla="*/ 319 h 589"/>
                <a:gd name="T72" fmla="*/ 650 w 656"/>
                <a:gd name="T73" fmla="*/ 334 h 589"/>
                <a:gd name="T74" fmla="*/ 646 w 656"/>
                <a:gd name="T75" fmla="*/ 353 h 589"/>
                <a:gd name="T76" fmla="*/ 631 w 656"/>
                <a:gd name="T77" fmla="*/ 372 h 589"/>
                <a:gd name="T78" fmla="*/ 613 w 656"/>
                <a:gd name="T79" fmla="*/ 401 h 589"/>
                <a:gd name="T80" fmla="*/ 625 w 656"/>
                <a:gd name="T81" fmla="*/ 409 h 589"/>
                <a:gd name="T82" fmla="*/ 649 w 656"/>
                <a:gd name="T83" fmla="*/ 429 h 589"/>
                <a:gd name="T84" fmla="*/ 645 w 656"/>
                <a:gd name="T85" fmla="*/ 442 h 589"/>
                <a:gd name="T86" fmla="*/ 638 w 656"/>
                <a:gd name="T87" fmla="*/ 452 h 589"/>
                <a:gd name="T88" fmla="*/ 612 w 656"/>
                <a:gd name="T89" fmla="*/ 442 h 589"/>
                <a:gd name="T90" fmla="*/ 579 w 656"/>
                <a:gd name="T91" fmla="*/ 429 h 589"/>
                <a:gd name="T92" fmla="*/ 534 w 656"/>
                <a:gd name="T93" fmla="*/ 413 h 589"/>
                <a:gd name="T94" fmla="*/ 518 w 656"/>
                <a:gd name="T95" fmla="*/ 419 h 589"/>
                <a:gd name="T96" fmla="*/ 488 w 656"/>
                <a:gd name="T97" fmla="*/ 433 h 589"/>
                <a:gd name="T98" fmla="*/ 469 w 656"/>
                <a:gd name="T99" fmla="*/ 433 h 589"/>
                <a:gd name="T100" fmla="*/ 460 w 656"/>
                <a:gd name="T101" fmla="*/ 405 h 589"/>
                <a:gd name="T102" fmla="*/ 429 w 656"/>
                <a:gd name="T103" fmla="*/ 398 h 589"/>
                <a:gd name="T104" fmla="*/ 400 w 656"/>
                <a:gd name="T105" fmla="*/ 394 h 589"/>
                <a:gd name="T106" fmla="*/ 390 w 656"/>
                <a:gd name="T107" fmla="*/ 420 h 589"/>
                <a:gd name="T108" fmla="*/ 393 w 656"/>
                <a:gd name="T109" fmla="*/ 472 h 589"/>
                <a:gd name="T110" fmla="*/ 383 w 656"/>
                <a:gd name="T111" fmla="*/ 522 h 589"/>
                <a:gd name="T112" fmla="*/ 387 w 656"/>
                <a:gd name="T113" fmla="*/ 550 h 589"/>
                <a:gd name="T114" fmla="*/ 352 w 656"/>
                <a:gd name="T115" fmla="*/ 550 h 589"/>
                <a:gd name="T116" fmla="*/ 321 w 656"/>
                <a:gd name="T117" fmla="*/ 547 h 589"/>
                <a:gd name="T118" fmla="*/ 307 w 656"/>
                <a:gd name="T119" fmla="*/ 582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56" h="589">
                  <a:moveTo>
                    <a:pt x="0" y="31"/>
                  </a:moveTo>
                  <a:lnTo>
                    <a:pt x="0" y="31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5"/>
                  </a:lnTo>
                  <a:lnTo>
                    <a:pt x="1" y="41"/>
                  </a:lnTo>
                  <a:lnTo>
                    <a:pt x="1" y="43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2" y="47"/>
                  </a:lnTo>
                  <a:lnTo>
                    <a:pt x="2" y="48"/>
                  </a:lnTo>
                  <a:lnTo>
                    <a:pt x="3" y="49"/>
                  </a:lnTo>
                  <a:lnTo>
                    <a:pt x="4" y="49"/>
                  </a:lnTo>
                  <a:lnTo>
                    <a:pt x="4" y="50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7" y="52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4" y="52"/>
                  </a:lnTo>
                  <a:lnTo>
                    <a:pt x="16" y="51"/>
                  </a:lnTo>
                  <a:lnTo>
                    <a:pt x="17" y="51"/>
                  </a:lnTo>
                  <a:lnTo>
                    <a:pt x="18" y="51"/>
                  </a:lnTo>
                  <a:lnTo>
                    <a:pt x="21" y="52"/>
                  </a:lnTo>
                  <a:lnTo>
                    <a:pt x="23" y="52"/>
                  </a:lnTo>
                  <a:lnTo>
                    <a:pt x="24" y="52"/>
                  </a:lnTo>
                  <a:lnTo>
                    <a:pt x="27" y="51"/>
                  </a:lnTo>
                  <a:lnTo>
                    <a:pt x="29" y="51"/>
                  </a:lnTo>
                  <a:lnTo>
                    <a:pt x="31" y="51"/>
                  </a:lnTo>
                  <a:lnTo>
                    <a:pt x="35" y="51"/>
                  </a:lnTo>
                  <a:lnTo>
                    <a:pt x="37" y="51"/>
                  </a:lnTo>
                  <a:lnTo>
                    <a:pt x="48" y="50"/>
                  </a:lnTo>
                  <a:lnTo>
                    <a:pt x="53" y="50"/>
                  </a:lnTo>
                  <a:lnTo>
                    <a:pt x="55" y="49"/>
                  </a:lnTo>
                  <a:lnTo>
                    <a:pt x="57" y="49"/>
                  </a:lnTo>
                  <a:lnTo>
                    <a:pt x="59" y="49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61" y="49"/>
                  </a:lnTo>
                  <a:lnTo>
                    <a:pt x="62" y="48"/>
                  </a:lnTo>
                  <a:lnTo>
                    <a:pt x="63" y="48"/>
                  </a:lnTo>
                  <a:lnTo>
                    <a:pt x="63" y="47"/>
                  </a:lnTo>
                  <a:lnTo>
                    <a:pt x="64" y="45"/>
                  </a:lnTo>
                  <a:lnTo>
                    <a:pt x="66" y="43"/>
                  </a:lnTo>
                  <a:lnTo>
                    <a:pt x="67" y="41"/>
                  </a:lnTo>
                  <a:lnTo>
                    <a:pt x="68" y="39"/>
                  </a:lnTo>
                  <a:lnTo>
                    <a:pt x="69" y="36"/>
                  </a:lnTo>
                  <a:lnTo>
                    <a:pt x="70" y="35"/>
                  </a:lnTo>
                  <a:lnTo>
                    <a:pt x="71" y="34"/>
                  </a:lnTo>
                  <a:lnTo>
                    <a:pt x="72" y="33"/>
                  </a:lnTo>
                  <a:lnTo>
                    <a:pt x="73" y="33"/>
                  </a:lnTo>
                  <a:lnTo>
                    <a:pt x="74" y="32"/>
                  </a:lnTo>
                  <a:lnTo>
                    <a:pt x="79" y="31"/>
                  </a:lnTo>
                  <a:lnTo>
                    <a:pt x="81" y="31"/>
                  </a:lnTo>
                  <a:lnTo>
                    <a:pt x="82" y="30"/>
                  </a:lnTo>
                  <a:lnTo>
                    <a:pt x="84" y="30"/>
                  </a:lnTo>
                  <a:lnTo>
                    <a:pt x="85" y="30"/>
                  </a:lnTo>
                  <a:lnTo>
                    <a:pt x="86" y="30"/>
                  </a:lnTo>
                  <a:lnTo>
                    <a:pt x="87" y="31"/>
                  </a:lnTo>
                  <a:lnTo>
                    <a:pt x="89" y="31"/>
                  </a:lnTo>
                  <a:lnTo>
                    <a:pt x="91" y="32"/>
                  </a:lnTo>
                  <a:lnTo>
                    <a:pt x="93" y="33"/>
                  </a:lnTo>
                  <a:lnTo>
                    <a:pt x="94" y="34"/>
                  </a:lnTo>
                  <a:lnTo>
                    <a:pt x="95" y="35"/>
                  </a:lnTo>
                  <a:lnTo>
                    <a:pt x="96" y="36"/>
                  </a:lnTo>
                  <a:lnTo>
                    <a:pt x="98" y="38"/>
                  </a:lnTo>
                  <a:lnTo>
                    <a:pt x="98" y="39"/>
                  </a:lnTo>
                  <a:lnTo>
                    <a:pt x="99" y="40"/>
                  </a:lnTo>
                  <a:lnTo>
                    <a:pt x="100" y="40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4" y="42"/>
                  </a:lnTo>
                  <a:lnTo>
                    <a:pt x="106" y="43"/>
                  </a:lnTo>
                  <a:lnTo>
                    <a:pt x="108" y="44"/>
                  </a:lnTo>
                  <a:lnTo>
                    <a:pt x="109" y="45"/>
                  </a:lnTo>
                  <a:lnTo>
                    <a:pt x="109" y="45"/>
                  </a:lnTo>
                  <a:lnTo>
                    <a:pt x="110" y="46"/>
                  </a:lnTo>
                  <a:lnTo>
                    <a:pt x="111" y="47"/>
                  </a:lnTo>
                  <a:lnTo>
                    <a:pt x="112" y="48"/>
                  </a:lnTo>
                  <a:lnTo>
                    <a:pt x="112" y="49"/>
                  </a:lnTo>
                  <a:lnTo>
                    <a:pt x="113" y="49"/>
                  </a:lnTo>
                  <a:lnTo>
                    <a:pt x="114" y="52"/>
                  </a:lnTo>
                  <a:lnTo>
                    <a:pt x="114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6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5"/>
                  </a:lnTo>
                  <a:lnTo>
                    <a:pt x="124" y="55"/>
                  </a:lnTo>
                  <a:lnTo>
                    <a:pt x="125" y="55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9" y="53"/>
                  </a:lnTo>
                  <a:lnTo>
                    <a:pt x="130" y="53"/>
                  </a:lnTo>
                  <a:lnTo>
                    <a:pt x="134" y="50"/>
                  </a:lnTo>
                  <a:lnTo>
                    <a:pt x="135" y="49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39" y="47"/>
                  </a:lnTo>
                  <a:lnTo>
                    <a:pt x="140" y="47"/>
                  </a:lnTo>
                  <a:lnTo>
                    <a:pt x="142" y="47"/>
                  </a:lnTo>
                  <a:lnTo>
                    <a:pt x="144" y="47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6"/>
                  </a:lnTo>
                  <a:lnTo>
                    <a:pt x="146" y="46"/>
                  </a:lnTo>
                  <a:lnTo>
                    <a:pt x="146" y="44"/>
                  </a:lnTo>
                  <a:lnTo>
                    <a:pt x="146" y="41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7" y="39"/>
                  </a:lnTo>
                  <a:lnTo>
                    <a:pt x="147" y="39"/>
                  </a:lnTo>
                  <a:lnTo>
                    <a:pt x="148" y="39"/>
                  </a:lnTo>
                  <a:lnTo>
                    <a:pt x="148" y="38"/>
                  </a:lnTo>
                  <a:lnTo>
                    <a:pt x="149" y="39"/>
                  </a:lnTo>
                  <a:lnTo>
                    <a:pt x="150" y="39"/>
                  </a:lnTo>
                  <a:lnTo>
                    <a:pt x="154" y="41"/>
                  </a:lnTo>
                  <a:lnTo>
                    <a:pt x="155" y="42"/>
                  </a:lnTo>
                  <a:lnTo>
                    <a:pt x="156" y="43"/>
                  </a:lnTo>
                  <a:lnTo>
                    <a:pt x="159" y="44"/>
                  </a:lnTo>
                  <a:lnTo>
                    <a:pt x="160" y="44"/>
                  </a:lnTo>
                  <a:lnTo>
                    <a:pt x="161" y="45"/>
                  </a:lnTo>
                  <a:lnTo>
                    <a:pt x="166" y="48"/>
                  </a:lnTo>
                  <a:lnTo>
                    <a:pt x="167" y="49"/>
                  </a:lnTo>
                  <a:lnTo>
                    <a:pt x="169" y="50"/>
                  </a:lnTo>
                  <a:lnTo>
                    <a:pt x="170" y="50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2" y="50"/>
                  </a:lnTo>
                  <a:lnTo>
                    <a:pt x="172" y="50"/>
                  </a:lnTo>
                  <a:lnTo>
                    <a:pt x="174" y="48"/>
                  </a:lnTo>
                  <a:lnTo>
                    <a:pt x="176" y="47"/>
                  </a:lnTo>
                  <a:lnTo>
                    <a:pt x="178" y="47"/>
                  </a:lnTo>
                  <a:lnTo>
                    <a:pt x="178" y="46"/>
                  </a:lnTo>
                  <a:lnTo>
                    <a:pt x="179" y="46"/>
                  </a:lnTo>
                  <a:lnTo>
                    <a:pt x="181" y="46"/>
                  </a:lnTo>
                  <a:lnTo>
                    <a:pt x="182" y="46"/>
                  </a:lnTo>
                  <a:lnTo>
                    <a:pt x="185" y="46"/>
                  </a:lnTo>
                  <a:lnTo>
                    <a:pt x="186" y="47"/>
                  </a:lnTo>
                  <a:lnTo>
                    <a:pt x="187" y="47"/>
                  </a:lnTo>
                  <a:lnTo>
                    <a:pt x="188" y="47"/>
                  </a:lnTo>
                  <a:lnTo>
                    <a:pt x="189" y="47"/>
                  </a:lnTo>
                  <a:lnTo>
                    <a:pt x="192" y="49"/>
                  </a:lnTo>
                  <a:lnTo>
                    <a:pt x="193" y="49"/>
                  </a:lnTo>
                  <a:lnTo>
                    <a:pt x="195" y="50"/>
                  </a:lnTo>
                  <a:lnTo>
                    <a:pt x="196" y="50"/>
                  </a:lnTo>
                  <a:lnTo>
                    <a:pt x="199" y="51"/>
                  </a:lnTo>
                  <a:lnTo>
                    <a:pt x="204" y="51"/>
                  </a:lnTo>
                  <a:lnTo>
                    <a:pt x="206" y="51"/>
                  </a:lnTo>
                  <a:lnTo>
                    <a:pt x="209" y="52"/>
                  </a:lnTo>
                  <a:lnTo>
                    <a:pt x="210" y="51"/>
                  </a:lnTo>
                  <a:lnTo>
                    <a:pt x="211" y="51"/>
                  </a:lnTo>
                  <a:lnTo>
                    <a:pt x="214" y="51"/>
                  </a:lnTo>
                  <a:lnTo>
                    <a:pt x="216" y="50"/>
                  </a:lnTo>
                  <a:lnTo>
                    <a:pt x="218" y="50"/>
                  </a:lnTo>
                  <a:lnTo>
                    <a:pt x="221" y="49"/>
                  </a:lnTo>
                  <a:lnTo>
                    <a:pt x="221" y="49"/>
                  </a:lnTo>
                  <a:lnTo>
                    <a:pt x="222" y="49"/>
                  </a:lnTo>
                  <a:lnTo>
                    <a:pt x="222" y="49"/>
                  </a:lnTo>
                  <a:lnTo>
                    <a:pt x="222" y="49"/>
                  </a:lnTo>
                  <a:lnTo>
                    <a:pt x="222" y="50"/>
                  </a:lnTo>
                  <a:lnTo>
                    <a:pt x="222" y="51"/>
                  </a:lnTo>
                  <a:lnTo>
                    <a:pt x="222" y="52"/>
                  </a:lnTo>
                  <a:lnTo>
                    <a:pt x="222" y="55"/>
                  </a:lnTo>
                  <a:lnTo>
                    <a:pt x="221" y="56"/>
                  </a:lnTo>
                  <a:lnTo>
                    <a:pt x="221" y="57"/>
                  </a:lnTo>
                  <a:lnTo>
                    <a:pt x="222" y="57"/>
                  </a:lnTo>
                  <a:lnTo>
                    <a:pt x="222" y="58"/>
                  </a:lnTo>
                  <a:lnTo>
                    <a:pt x="222" y="58"/>
                  </a:lnTo>
                  <a:lnTo>
                    <a:pt x="223" y="59"/>
                  </a:lnTo>
                  <a:lnTo>
                    <a:pt x="224" y="59"/>
                  </a:lnTo>
                  <a:lnTo>
                    <a:pt x="224" y="60"/>
                  </a:lnTo>
                  <a:lnTo>
                    <a:pt x="225" y="60"/>
                  </a:lnTo>
                  <a:lnTo>
                    <a:pt x="226" y="60"/>
                  </a:lnTo>
                  <a:lnTo>
                    <a:pt x="228" y="60"/>
                  </a:lnTo>
                  <a:lnTo>
                    <a:pt x="231" y="61"/>
                  </a:lnTo>
                  <a:lnTo>
                    <a:pt x="233" y="61"/>
                  </a:lnTo>
                  <a:lnTo>
                    <a:pt x="235" y="62"/>
                  </a:lnTo>
                  <a:lnTo>
                    <a:pt x="238" y="62"/>
                  </a:lnTo>
                  <a:lnTo>
                    <a:pt x="240" y="63"/>
                  </a:lnTo>
                  <a:lnTo>
                    <a:pt x="241" y="64"/>
                  </a:lnTo>
                  <a:lnTo>
                    <a:pt x="242" y="65"/>
                  </a:lnTo>
                  <a:lnTo>
                    <a:pt x="245" y="66"/>
                  </a:lnTo>
                  <a:lnTo>
                    <a:pt x="246" y="67"/>
                  </a:lnTo>
                  <a:lnTo>
                    <a:pt x="246" y="67"/>
                  </a:lnTo>
                  <a:lnTo>
                    <a:pt x="247" y="67"/>
                  </a:lnTo>
                  <a:lnTo>
                    <a:pt x="247" y="67"/>
                  </a:lnTo>
                  <a:lnTo>
                    <a:pt x="248" y="67"/>
                  </a:lnTo>
                  <a:lnTo>
                    <a:pt x="248" y="67"/>
                  </a:lnTo>
                  <a:lnTo>
                    <a:pt x="249" y="67"/>
                  </a:lnTo>
                  <a:lnTo>
                    <a:pt x="250" y="67"/>
                  </a:lnTo>
                  <a:lnTo>
                    <a:pt x="250" y="66"/>
                  </a:lnTo>
                  <a:lnTo>
                    <a:pt x="251" y="65"/>
                  </a:lnTo>
                  <a:lnTo>
                    <a:pt x="252" y="62"/>
                  </a:lnTo>
                  <a:lnTo>
                    <a:pt x="253" y="61"/>
                  </a:lnTo>
                  <a:lnTo>
                    <a:pt x="255" y="59"/>
                  </a:lnTo>
                  <a:lnTo>
                    <a:pt x="257" y="58"/>
                  </a:lnTo>
                  <a:lnTo>
                    <a:pt x="259" y="56"/>
                  </a:lnTo>
                  <a:lnTo>
                    <a:pt x="263" y="52"/>
                  </a:lnTo>
                  <a:lnTo>
                    <a:pt x="265" y="50"/>
                  </a:lnTo>
                  <a:lnTo>
                    <a:pt x="268" y="48"/>
                  </a:lnTo>
                  <a:lnTo>
                    <a:pt x="269" y="48"/>
                  </a:lnTo>
                  <a:lnTo>
                    <a:pt x="270" y="47"/>
                  </a:lnTo>
                  <a:lnTo>
                    <a:pt x="272" y="47"/>
                  </a:lnTo>
                  <a:lnTo>
                    <a:pt x="277" y="45"/>
                  </a:lnTo>
                  <a:lnTo>
                    <a:pt x="278" y="45"/>
                  </a:lnTo>
                  <a:lnTo>
                    <a:pt x="280" y="44"/>
                  </a:lnTo>
                  <a:lnTo>
                    <a:pt x="281" y="43"/>
                  </a:lnTo>
                  <a:lnTo>
                    <a:pt x="283" y="43"/>
                  </a:lnTo>
                  <a:lnTo>
                    <a:pt x="283" y="42"/>
                  </a:lnTo>
                  <a:lnTo>
                    <a:pt x="284" y="42"/>
                  </a:lnTo>
                  <a:lnTo>
                    <a:pt x="284" y="41"/>
                  </a:lnTo>
                  <a:lnTo>
                    <a:pt x="285" y="40"/>
                  </a:lnTo>
                  <a:lnTo>
                    <a:pt x="285" y="39"/>
                  </a:lnTo>
                  <a:lnTo>
                    <a:pt x="285" y="38"/>
                  </a:lnTo>
                  <a:lnTo>
                    <a:pt x="284" y="37"/>
                  </a:lnTo>
                  <a:lnTo>
                    <a:pt x="284" y="34"/>
                  </a:lnTo>
                  <a:lnTo>
                    <a:pt x="283" y="31"/>
                  </a:lnTo>
                  <a:lnTo>
                    <a:pt x="282" y="29"/>
                  </a:lnTo>
                  <a:lnTo>
                    <a:pt x="282" y="28"/>
                  </a:lnTo>
                  <a:lnTo>
                    <a:pt x="282" y="27"/>
                  </a:lnTo>
                  <a:lnTo>
                    <a:pt x="282" y="25"/>
                  </a:lnTo>
                  <a:lnTo>
                    <a:pt x="282" y="24"/>
                  </a:lnTo>
                  <a:lnTo>
                    <a:pt x="283" y="20"/>
                  </a:lnTo>
                  <a:lnTo>
                    <a:pt x="284" y="19"/>
                  </a:lnTo>
                  <a:lnTo>
                    <a:pt x="284" y="17"/>
                  </a:lnTo>
                  <a:lnTo>
                    <a:pt x="284" y="15"/>
                  </a:lnTo>
                  <a:lnTo>
                    <a:pt x="284" y="14"/>
                  </a:lnTo>
                  <a:lnTo>
                    <a:pt x="284" y="14"/>
                  </a:lnTo>
                  <a:lnTo>
                    <a:pt x="285" y="13"/>
                  </a:lnTo>
                  <a:lnTo>
                    <a:pt x="285" y="12"/>
                  </a:lnTo>
                  <a:lnTo>
                    <a:pt x="286" y="11"/>
                  </a:lnTo>
                  <a:lnTo>
                    <a:pt x="288" y="10"/>
                  </a:lnTo>
                  <a:lnTo>
                    <a:pt x="288" y="9"/>
                  </a:lnTo>
                  <a:lnTo>
                    <a:pt x="289" y="8"/>
                  </a:lnTo>
                  <a:lnTo>
                    <a:pt x="290" y="7"/>
                  </a:lnTo>
                  <a:lnTo>
                    <a:pt x="291" y="6"/>
                  </a:lnTo>
                  <a:lnTo>
                    <a:pt x="291" y="5"/>
                  </a:lnTo>
                  <a:lnTo>
                    <a:pt x="292" y="4"/>
                  </a:lnTo>
                  <a:lnTo>
                    <a:pt x="295" y="2"/>
                  </a:lnTo>
                  <a:lnTo>
                    <a:pt x="297" y="0"/>
                  </a:lnTo>
                  <a:lnTo>
                    <a:pt x="298" y="0"/>
                  </a:lnTo>
                  <a:lnTo>
                    <a:pt x="299" y="0"/>
                  </a:lnTo>
                  <a:lnTo>
                    <a:pt x="299" y="0"/>
                  </a:lnTo>
                  <a:lnTo>
                    <a:pt x="300" y="0"/>
                  </a:lnTo>
                  <a:lnTo>
                    <a:pt x="301" y="0"/>
                  </a:lnTo>
                  <a:lnTo>
                    <a:pt x="302" y="0"/>
                  </a:lnTo>
                  <a:lnTo>
                    <a:pt x="303" y="1"/>
                  </a:lnTo>
                  <a:lnTo>
                    <a:pt x="306" y="3"/>
                  </a:lnTo>
                  <a:lnTo>
                    <a:pt x="307" y="4"/>
                  </a:lnTo>
                  <a:lnTo>
                    <a:pt x="310" y="5"/>
                  </a:lnTo>
                  <a:lnTo>
                    <a:pt x="315" y="8"/>
                  </a:lnTo>
                  <a:lnTo>
                    <a:pt x="317" y="8"/>
                  </a:lnTo>
                  <a:lnTo>
                    <a:pt x="318" y="9"/>
                  </a:lnTo>
                  <a:lnTo>
                    <a:pt x="319" y="10"/>
                  </a:lnTo>
                  <a:lnTo>
                    <a:pt x="320" y="11"/>
                  </a:lnTo>
                  <a:lnTo>
                    <a:pt x="325" y="15"/>
                  </a:lnTo>
                  <a:lnTo>
                    <a:pt x="327" y="17"/>
                  </a:lnTo>
                  <a:lnTo>
                    <a:pt x="329" y="18"/>
                  </a:lnTo>
                  <a:lnTo>
                    <a:pt x="330" y="19"/>
                  </a:lnTo>
                  <a:lnTo>
                    <a:pt x="331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1"/>
                  </a:lnTo>
                  <a:lnTo>
                    <a:pt x="334" y="21"/>
                  </a:lnTo>
                  <a:lnTo>
                    <a:pt x="335" y="20"/>
                  </a:lnTo>
                  <a:lnTo>
                    <a:pt x="336" y="20"/>
                  </a:lnTo>
                  <a:lnTo>
                    <a:pt x="338" y="19"/>
                  </a:lnTo>
                  <a:lnTo>
                    <a:pt x="339" y="18"/>
                  </a:lnTo>
                  <a:lnTo>
                    <a:pt x="340" y="18"/>
                  </a:lnTo>
                  <a:lnTo>
                    <a:pt x="342" y="17"/>
                  </a:lnTo>
                  <a:lnTo>
                    <a:pt x="342" y="17"/>
                  </a:lnTo>
                  <a:lnTo>
                    <a:pt x="343" y="17"/>
                  </a:lnTo>
                  <a:lnTo>
                    <a:pt x="343" y="17"/>
                  </a:lnTo>
                  <a:lnTo>
                    <a:pt x="344" y="18"/>
                  </a:lnTo>
                  <a:lnTo>
                    <a:pt x="344" y="18"/>
                  </a:lnTo>
                  <a:lnTo>
                    <a:pt x="345" y="18"/>
                  </a:lnTo>
                  <a:lnTo>
                    <a:pt x="345" y="19"/>
                  </a:lnTo>
                  <a:lnTo>
                    <a:pt x="346" y="21"/>
                  </a:lnTo>
                  <a:lnTo>
                    <a:pt x="347" y="23"/>
                  </a:lnTo>
                  <a:lnTo>
                    <a:pt x="348" y="25"/>
                  </a:lnTo>
                  <a:lnTo>
                    <a:pt x="349" y="27"/>
                  </a:lnTo>
                  <a:lnTo>
                    <a:pt x="351" y="31"/>
                  </a:lnTo>
                  <a:lnTo>
                    <a:pt x="353" y="35"/>
                  </a:lnTo>
                  <a:lnTo>
                    <a:pt x="354" y="37"/>
                  </a:lnTo>
                  <a:lnTo>
                    <a:pt x="355" y="38"/>
                  </a:lnTo>
                  <a:lnTo>
                    <a:pt x="356" y="39"/>
                  </a:lnTo>
                  <a:lnTo>
                    <a:pt x="356" y="40"/>
                  </a:lnTo>
                  <a:lnTo>
                    <a:pt x="358" y="41"/>
                  </a:lnTo>
                  <a:lnTo>
                    <a:pt x="359" y="42"/>
                  </a:lnTo>
                  <a:lnTo>
                    <a:pt x="360" y="42"/>
                  </a:lnTo>
                  <a:lnTo>
                    <a:pt x="361" y="43"/>
                  </a:lnTo>
                  <a:lnTo>
                    <a:pt x="362" y="43"/>
                  </a:lnTo>
                  <a:lnTo>
                    <a:pt x="363" y="43"/>
                  </a:lnTo>
                  <a:lnTo>
                    <a:pt x="364" y="43"/>
                  </a:lnTo>
                  <a:lnTo>
                    <a:pt x="365" y="43"/>
                  </a:lnTo>
                  <a:lnTo>
                    <a:pt x="366" y="43"/>
                  </a:lnTo>
                  <a:lnTo>
                    <a:pt x="367" y="43"/>
                  </a:lnTo>
                  <a:lnTo>
                    <a:pt x="368" y="43"/>
                  </a:lnTo>
                  <a:lnTo>
                    <a:pt x="368" y="43"/>
                  </a:lnTo>
                  <a:lnTo>
                    <a:pt x="369" y="42"/>
                  </a:lnTo>
                  <a:lnTo>
                    <a:pt x="370" y="42"/>
                  </a:lnTo>
                  <a:lnTo>
                    <a:pt x="370" y="42"/>
                  </a:lnTo>
                  <a:lnTo>
                    <a:pt x="370" y="43"/>
                  </a:lnTo>
                  <a:lnTo>
                    <a:pt x="371" y="49"/>
                  </a:lnTo>
                  <a:lnTo>
                    <a:pt x="371" y="50"/>
                  </a:lnTo>
                  <a:lnTo>
                    <a:pt x="371" y="52"/>
                  </a:lnTo>
                  <a:lnTo>
                    <a:pt x="371" y="53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5"/>
                  </a:lnTo>
                  <a:lnTo>
                    <a:pt x="370" y="56"/>
                  </a:lnTo>
                  <a:lnTo>
                    <a:pt x="370" y="57"/>
                  </a:lnTo>
                  <a:lnTo>
                    <a:pt x="369" y="58"/>
                  </a:lnTo>
                  <a:lnTo>
                    <a:pt x="368" y="58"/>
                  </a:lnTo>
                  <a:lnTo>
                    <a:pt x="367" y="59"/>
                  </a:lnTo>
                  <a:lnTo>
                    <a:pt x="365" y="59"/>
                  </a:lnTo>
                  <a:lnTo>
                    <a:pt x="364" y="60"/>
                  </a:lnTo>
                  <a:lnTo>
                    <a:pt x="363" y="60"/>
                  </a:lnTo>
                  <a:lnTo>
                    <a:pt x="362" y="61"/>
                  </a:lnTo>
                  <a:lnTo>
                    <a:pt x="362" y="62"/>
                  </a:lnTo>
                  <a:lnTo>
                    <a:pt x="361" y="62"/>
                  </a:lnTo>
                  <a:lnTo>
                    <a:pt x="361" y="62"/>
                  </a:lnTo>
                  <a:lnTo>
                    <a:pt x="361" y="63"/>
                  </a:lnTo>
                  <a:lnTo>
                    <a:pt x="361" y="64"/>
                  </a:lnTo>
                  <a:lnTo>
                    <a:pt x="361" y="64"/>
                  </a:lnTo>
                  <a:lnTo>
                    <a:pt x="361" y="65"/>
                  </a:lnTo>
                  <a:lnTo>
                    <a:pt x="361" y="66"/>
                  </a:lnTo>
                  <a:lnTo>
                    <a:pt x="362" y="67"/>
                  </a:lnTo>
                  <a:lnTo>
                    <a:pt x="365" y="71"/>
                  </a:lnTo>
                  <a:lnTo>
                    <a:pt x="365" y="72"/>
                  </a:lnTo>
                  <a:lnTo>
                    <a:pt x="366" y="74"/>
                  </a:lnTo>
                  <a:lnTo>
                    <a:pt x="366" y="75"/>
                  </a:lnTo>
                  <a:lnTo>
                    <a:pt x="367" y="77"/>
                  </a:lnTo>
                  <a:lnTo>
                    <a:pt x="367" y="78"/>
                  </a:lnTo>
                  <a:lnTo>
                    <a:pt x="367" y="79"/>
                  </a:lnTo>
                  <a:lnTo>
                    <a:pt x="368" y="82"/>
                  </a:lnTo>
                  <a:lnTo>
                    <a:pt x="368" y="84"/>
                  </a:lnTo>
                  <a:lnTo>
                    <a:pt x="368" y="85"/>
                  </a:lnTo>
                  <a:lnTo>
                    <a:pt x="367" y="89"/>
                  </a:lnTo>
                  <a:lnTo>
                    <a:pt x="367" y="91"/>
                  </a:lnTo>
                  <a:lnTo>
                    <a:pt x="367" y="92"/>
                  </a:lnTo>
                  <a:lnTo>
                    <a:pt x="367" y="96"/>
                  </a:lnTo>
                  <a:lnTo>
                    <a:pt x="367" y="97"/>
                  </a:lnTo>
                  <a:lnTo>
                    <a:pt x="367" y="100"/>
                  </a:lnTo>
                  <a:lnTo>
                    <a:pt x="366" y="102"/>
                  </a:lnTo>
                  <a:lnTo>
                    <a:pt x="366" y="103"/>
                  </a:lnTo>
                  <a:lnTo>
                    <a:pt x="365" y="105"/>
                  </a:lnTo>
                  <a:lnTo>
                    <a:pt x="365" y="107"/>
                  </a:lnTo>
                  <a:lnTo>
                    <a:pt x="363" y="112"/>
                  </a:lnTo>
                  <a:lnTo>
                    <a:pt x="361" y="116"/>
                  </a:lnTo>
                  <a:lnTo>
                    <a:pt x="360" y="120"/>
                  </a:lnTo>
                  <a:lnTo>
                    <a:pt x="360" y="121"/>
                  </a:lnTo>
                  <a:lnTo>
                    <a:pt x="359" y="122"/>
                  </a:lnTo>
                  <a:lnTo>
                    <a:pt x="359" y="123"/>
                  </a:lnTo>
                  <a:lnTo>
                    <a:pt x="359" y="124"/>
                  </a:lnTo>
                  <a:lnTo>
                    <a:pt x="360" y="125"/>
                  </a:lnTo>
                  <a:lnTo>
                    <a:pt x="360" y="126"/>
                  </a:lnTo>
                  <a:lnTo>
                    <a:pt x="360" y="126"/>
                  </a:lnTo>
                  <a:lnTo>
                    <a:pt x="360" y="127"/>
                  </a:lnTo>
                  <a:lnTo>
                    <a:pt x="359" y="132"/>
                  </a:lnTo>
                  <a:lnTo>
                    <a:pt x="358" y="136"/>
                  </a:lnTo>
                  <a:lnTo>
                    <a:pt x="357" y="138"/>
                  </a:lnTo>
                  <a:lnTo>
                    <a:pt x="356" y="140"/>
                  </a:lnTo>
                  <a:lnTo>
                    <a:pt x="355" y="144"/>
                  </a:lnTo>
                  <a:lnTo>
                    <a:pt x="355" y="145"/>
                  </a:lnTo>
                  <a:lnTo>
                    <a:pt x="354" y="147"/>
                  </a:lnTo>
                  <a:lnTo>
                    <a:pt x="354" y="149"/>
                  </a:lnTo>
                  <a:lnTo>
                    <a:pt x="354" y="150"/>
                  </a:lnTo>
                  <a:lnTo>
                    <a:pt x="354" y="151"/>
                  </a:lnTo>
                  <a:lnTo>
                    <a:pt x="355" y="153"/>
                  </a:lnTo>
                  <a:lnTo>
                    <a:pt x="355" y="153"/>
                  </a:lnTo>
                  <a:lnTo>
                    <a:pt x="355" y="154"/>
                  </a:lnTo>
                  <a:lnTo>
                    <a:pt x="356" y="156"/>
                  </a:lnTo>
                  <a:lnTo>
                    <a:pt x="357" y="157"/>
                  </a:lnTo>
                  <a:lnTo>
                    <a:pt x="358" y="158"/>
                  </a:lnTo>
                  <a:lnTo>
                    <a:pt x="360" y="160"/>
                  </a:lnTo>
                  <a:lnTo>
                    <a:pt x="363" y="162"/>
                  </a:lnTo>
                  <a:lnTo>
                    <a:pt x="364" y="163"/>
                  </a:lnTo>
                  <a:lnTo>
                    <a:pt x="365" y="164"/>
                  </a:lnTo>
                  <a:lnTo>
                    <a:pt x="365" y="165"/>
                  </a:lnTo>
                  <a:lnTo>
                    <a:pt x="366" y="166"/>
                  </a:lnTo>
                  <a:lnTo>
                    <a:pt x="367" y="168"/>
                  </a:lnTo>
                  <a:lnTo>
                    <a:pt x="368" y="169"/>
                  </a:lnTo>
                  <a:lnTo>
                    <a:pt x="368" y="169"/>
                  </a:lnTo>
                  <a:lnTo>
                    <a:pt x="368" y="170"/>
                  </a:lnTo>
                  <a:lnTo>
                    <a:pt x="368" y="170"/>
                  </a:lnTo>
                  <a:lnTo>
                    <a:pt x="367" y="171"/>
                  </a:lnTo>
                  <a:lnTo>
                    <a:pt x="367" y="172"/>
                  </a:lnTo>
                  <a:lnTo>
                    <a:pt x="365" y="174"/>
                  </a:lnTo>
                  <a:lnTo>
                    <a:pt x="364" y="176"/>
                  </a:lnTo>
                  <a:lnTo>
                    <a:pt x="363" y="178"/>
                  </a:lnTo>
                  <a:lnTo>
                    <a:pt x="362" y="179"/>
                  </a:lnTo>
                  <a:lnTo>
                    <a:pt x="361" y="180"/>
                  </a:lnTo>
                  <a:lnTo>
                    <a:pt x="361" y="181"/>
                  </a:lnTo>
                  <a:lnTo>
                    <a:pt x="361" y="182"/>
                  </a:lnTo>
                  <a:lnTo>
                    <a:pt x="361" y="183"/>
                  </a:lnTo>
                  <a:lnTo>
                    <a:pt x="361" y="184"/>
                  </a:lnTo>
                  <a:lnTo>
                    <a:pt x="361" y="185"/>
                  </a:lnTo>
                  <a:lnTo>
                    <a:pt x="362" y="186"/>
                  </a:lnTo>
                  <a:lnTo>
                    <a:pt x="362" y="187"/>
                  </a:lnTo>
                  <a:lnTo>
                    <a:pt x="363" y="189"/>
                  </a:lnTo>
                  <a:lnTo>
                    <a:pt x="366" y="193"/>
                  </a:lnTo>
                  <a:lnTo>
                    <a:pt x="369" y="197"/>
                  </a:lnTo>
                  <a:lnTo>
                    <a:pt x="369" y="198"/>
                  </a:lnTo>
                  <a:lnTo>
                    <a:pt x="370" y="199"/>
                  </a:lnTo>
                  <a:lnTo>
                    <a:pt x="375" y="204"/>
                  </a:lnTo>
                  <a:lnTo>
                    <a:pt x="376" y="205"/>
                  </a:lnTo>
                  <a:lnTo>
                    <a:pt x="379" y="208"/>
                  </a:lnTo>
                  <a:lnTo>
                    <a:pt x="381" y="210"/>
                  </a:lnTo>
                  <a:lnTo>
                    <a:pt x="384" y="213"/>
                  </a:lnTo>
                  <a:lnTo>
                    <a:pt x="387" y="215"/>
                  </a:lnTo>
                  <a:lnTo>
                    <a:pt x="389" y="217"/>
                  </a:lnTo>
                  <a:lnTo>
                    <a:pt x="390" y="217"/>
                  </a:lnTo>
                  <a:lnTo>
                    <a:pt x="390" y="217"/>
                  </a:lnTo>
                  <a:lnTo>
                    <a:pt x="392" y="218"/>
                  </a:lnTo>
                  <a:lnTo>
                    <a:pt x="393" y="218"/>
                  </a:lnTo>
                  <a:lnTo>
                    <a:pt x="394" y="218"/>
                  </a:lnTo>
                  <a:lnTo>
                    <a:pt x="395" y="218"/>
                  </a:lnTo>
                  <a:lnTo>
                    <a:pt x="396" y="217"/>
                  </a:lnTo>
                  <a:lnTo>
                    <a:pt x="398" y="217"/>
                  </a:lnTo>
                  <a:lnTo>
                    <a:pt x="403" y="214"/>
                  </a:lnTo>
                  <a:lnTo>
                    <a:pt x="405" y="213"/>
                  </a:lnTo>
                  <a:lnTo>
                    <a:pt x="407" y="213"/>
                  </a:lnTo>
                  <a:lnTo>
                    <a:pt x="408" y="212"/>
                  </a:lnTo>
                  <a:lnTo>
                    <a:pt x="410" y="212"/>
                  </a:lnTo>
                  <a:lnTo>
                    <a:pt x="411" y="212"/>
                  </a:lnTo>
                  <a:lnTo>
                    <a:pt x="412" y="212"/>
                  </a:lnTo>
                  <a:lnTo>
                    <a:pt x="413" y="212"/>
                  </a:lnTo>
                  <a:lnTo>
                    <a:pt x="414" y="212"/>
                  </a:lnTo>
                  <a:lnTo>
                    <a:pt x="415" y="213"/>
                  </a:lnTo>
                  <a:lnTo>
                    <a:pt x="416" y="213"/>
                  </a:lnTo>
                  <a:lnTo>
                    <a:pt x="417" y="214"/>
                  </a:lnTo>
                  <a:lnTo>
                    <a:pt x="420" y="217"/>
                  </a:lnTo>
                  <a:lnTo>
                    <a:pt x="422" y="218"/>
                  </a:lnTo>
                  <a:lnTo>
                    <a:pt x="424" y="220"/>
                  </a:lnTo>
                  <a:lnTo>
                    <a:pt x="426" y="221"/>
                  </a:lnTo>
                  <a:lnTo>
                    <a:pt x="428" y="221"/>
                  </a:lnTo>
                  <a:lnTo>
                    <a:pt x="429" y="222"/>
                  </a:lnTo>
                  <a:lnTo>
                    <a:pt x="434" y="224"/>
                  </a:lnTo>
                  <a:lnTo>
                    <a:pt x="436" y="224"/>
                  </a:lnTo>
                  <a:lnTo>
                    <a:pt x="438" y="225"/>
                  </a:lnTo>
                  <a:lnTo>
                    <a:pt x="439" y="226"/>
                  </a:lnTo>
                  <a:lnTo>
                    <a:pt x="440" y="226"/>
                  </a:lnTo>
                  <a:lnTo>
                    <a:pt x="440" y="227"/>
                  </a:lnTo>
                  <a:lnTo>
                    <a:pt x="441" y="227"/>
                  </a:lnTo>
                  <a:lnTo>
                    <a:pt x="441" y="228"/>
                  </a:lnTo>
                  <a:lnTo>
                    <a:pt x="442" y="229"/>
                  </a:lnTo>
                  <a:lnTo>
                    <a:pt x="442" y="230"/>
                  </a:lnTo>
                  <a:lnTo>
                    <a:pt x="442" y="230"/>
                  </a:lnTo>
                  <a:lnTo>
                    <a:pt x="442" y="231"/>
                  </a:lnTo>
                  <a:lnTo>
                    <a:pt x="441" y="233"/>
                  </a:lnTo>
                  <a:lnTo>
                    <a:pt x="441" y="234"/>
                  </a:lnTo>
                  <a:lnTo>
                    <a:pt x="441" y="234"/>
                  </a:lnTo>
                  <a:lnTo>
                    <a:pt x="440" y="235"/>
                  </a:lnTo>
                  <a:lnTo>
                    <a:pt x="440" y="236"/>
                  </a:lnTo>
                  <a:lnTo>
                    <a:pt x="439" y="236"/>
                  </a:lnTo>
                  <a:lnTo>
                    <a:pt x="438" y="237"/>
                  </a:lnTo>
                  <a:lnTo>
                    <a:pt x="437" y="238"/>
                  </a:lnTo>
                  <a:lnTo>
                    <a:pt x="436" y="238"/>
                  </a:lnTo>
                  <a:lnTo>
                    <a:pt x="436" y="238"/>
                  </a:lnTo>
                  <a:lnTo>
                    <a:pt x="436" y="239"/>
                  </a:lnTo>
                  <a:lnTo>
                    <a:pt x="436" y="239"/>
                  </a:lnTo>
                  <a:lnTo>
                    <a:pt x="437" y="239"/>
                  </a:lnTo>
                  <a:lnTo>
                    <a:pt x="438" y="240"/>
                  </a:lnTo>
                  <a:lnTo>
                    <a:pt x="439" y="240"/>
                  </a:lnTo>
                  <a:lnTo>
                    <a:pt x="440" y="241"/>
                  </a:lnTo>
                  <a:lnTo>
                    <a:pt x="441" y="241"/>
                  </a:lnTo>
                  <a:lnTo>
                    <a:pt x="442" y="241"/>
                  </a:lnTo>
                  <a:lnTo>
                    <a:pt x="446" y="242"/>
                  </a:lnTo>
                  <a:lnTo>
                    <a:pt x="448" y="242"/>
                  </a:lnTo>
                  <a:lnTo>
                    <a:pt x="449" y="242"/>
                  </a:lnTo>
                  <a:lnTo>
                    <a:pt x="450" y="243"/>
                  </a:lnTo>
                  <a:lnTo>
                    <a:pt x="450" y="243"/>
                  </a:lnTo>
                  <a:lnTo>
                    <a:pt x="451" y="243"/>
                  </a:lnTo>
                  <a:lnTo>
                    <a:pt x="452" y="244"/>
                  </a:lnTo>
                  <a:lnTo>
                    <a:pt x="453" y="245"/>
                  </a:lnTo>
                  <a:lnTo>
                    <a:pt x="455" y="246"/>
                  </a:lnTo>
                  <a:lnTo>
                    <a:pt x="456" y="248"/>
                  </a:lnTo>
                  <a:lnTo>
                    <a:pt x="459" y="252"/>
                  </a:lnTo>
                  <a:lnTo>
                    <a:pt x="460" y="252"/>
                  </a:lnTo>
                  <a:lnTo>
                    <a:pt x="461" y="253"/>
                  </a:lnTo>
                  <a:lnTo>
                    <a:pt x="462" y="254"/>
                  </a:lnTo>
                  <a:lnTo>
                    <a:pt x="463" y="254"/>
                  </a:lnTo>
                  <a:lnTo>
                    <a:pt x="463" y="255"/>
                  </a:lnTo>
                  <a:lnTo>
                    <a:pt x="464" y="255"/>
                  </a:lnTo>
                  <a:lnTo>
                    <a:pt x="466" y="256"/>
                  </a:lnTo>
                  <a:lnTo>
                    <a:pt x="468" y="256"/>
                  </a:lnTo>
                  <a:lnTo>
                    <a:pt x="469" y="256"/>
                  </a:lnTo>
                  <a:lnTo>
                    <a:pt x="471" y="256"/>
                  </a:lnTo>
                  <a:lnTo>
                    <a:pt x="472" y="256"/>
                  </a:lnTo>
                  <a:lnTo>
                    <a:pt x="474" y="255"/>
                  </a:lnTo>
                  <a:lnTo>
                    <a:pt x="475" y="254"/>
                  </a:lnTo>
                  <a:lnTo>
                    <a:pt x="479" y="252"/>
                  </a:lnTo>
                  <a:lnTo>
                    <a:pt x="481" y="252"/>
                  </a:lnTo>
                  <a:lnTo>
                    <a:pt x="482" y="251"/>
                  </a:lnTo>
                  <a:lnTo>
                    <a:pt x="482" y="251"/>
                  </a:lnTo>
                  <a:lnTo>
                    <a:pt x="483" y="251"/>
                  </a:lnTo>
                  <a:lnTo>
                    <a:pt x="484" y="251"/>
                  </a:lnTo>
                  <a:lnTo>
                    <a:pt x="485" y="251"/>
                  </a:lnTo>
                  <a:lnTo>
                    <a:pt x="486" y="252"/>
                  </a:lnTo>
                  <a:lnTo>
                    <a:pt x="493" y="253"/>
                  </a:lnTo>
                  <a:lnTo>
                    <a:pt x="498" y="255"/>
                  </a:lnTo>
                  <a:lnTo>
                    <a:pt x="501" y="256"/>
                  </a:lnTo>
                  <a:lnTo>
                    <a:pt x="503" y="257"/>
                  </a:lnTo>
                  <a:lnTo>
                    <a:pt x="505" y="258"/>
                  </a:lnTo>
                  <a:lnTo>
                    <a:pt x="506" y="259"/>
                  </a:lnTo>
                  <a:lnTo>
                    <a:pt x="507" y="259"/>
                  </a:lnTo>
                  <a:lnTo>
                    <a:pt x="508" y="261"/>
                  </a:lnTo>
                  <a:lnTo>
                    <a:pt x="509" y="262"/>
                  </a:lnTo>
                  <a:lnTo>
                    <a:pt x="510" y="262"/>
                  </a:lnTo>
                  <a:lnTo>
                    <a:pt x="511" y="263"/>
                  </a:lnTo>
                  <a:lnTo>
                    <a:pt x="511" y="263"/>
                  </a:lnTo>
                  <a:lnTo>
                    <a:pt x="512" y="263"/>
                  </a:lnTo>
                  <a:lnTo>
                    <a:pt x="517" y="262"/>
                  </a:lnTo>
                  <a:lnTo>
                    <a:pt x="519" y="262"/>
                  </a:lnTo>
                  <a:lnTo>
                    <a:pt x="523" y="261"/>
                  </a:lnTo>
                  <a:lnTo>
                    <a:pt x="525" y="260"/>
                  </a:lnTo>
                  <a:lnTo>
                    <a:pt x="526" y="260"/>
                  </a:lnTo>
                  <a:lnTo>
                    <a:pt x="530" y="260"/>
                  </a:lnTo>
                  <a:lnTo>
                    <a:pt x="534" y="259"/>
                  </a:lnTo>
                  <a:lnTo>
                    <a:pt x="535" y="259"/>
                  </a:lnTo>
                  <a:lnTo>
                    <a:pt x="537" y="259"/>
                  </a:lnTo>
                  <a:lnTo>
                    <a:pt x="539" y="259"/>
                  </a:lnTo>
                  <a:lnTo>
                    <a:pt x="540" y="259"/>
                  </a:lnTo>
                  <a:lnTo>
                    <a:pt x="541" y="260"/>
                  </a:lnTo>
                  <a:lnTo>
                    <a:pt x="542" y="260"/>
                  </a:lnTo>
                  <a:lnTo>
                    <a:pt x="543" y="260"/>
                  </a:lnTo>
                  <a:lnTo>
                    <a:pt x="544" y="261"/>
                  </a:lnTo>
                  <a:lnTo>
                    <a:pt x="544" y="262"/>
                  </a:lnTo>
                  <a:lnTo>
                    <a:pt x="545" y="263"/>
                  </a:lnTo>
                  <a:lnTo>
                    <a:pt x="546" y="264"/>
                  </a:lnTo>
                  <a:lnTo>
                    <a:pt x="546" y="265"/>
                  </a:lnTo>
                  <a:lnTo>
                    <a:pt x="547" y="266"/>
                  </a:lnTo>
                  <a:lnTo>
                    <a:pt x="547" y="269"/>
                  </a:lnTo>
                  <a:lnTo>
                    <a:pt x="548" y="271"/>
                  </a:lnTo>
                  <a:lnTo>
                    <a:pt x="548" y="272"/>
                  </a:lnTo>
                  <a:lnTo>
                    <a:pt x="548" y="274"/>
                  </a:lnTo>
                  <a:lnTo>
                    <a:pt x="548" y="275"/>
                  </a:lnTo>
                  <a:lnTo>
                    <a:pt x="548" y="276"/>
                  </a:lnTo>
                  <a:lnTo>
                    <a:pt x="548" y="279"/>
                  </a:lnTo>
                  <a:lnTo>
                    <a:pt x="547" y="283"/>
                  </a:lnTo>
                  <a:lnTo>
                    <a:pt x="547" y="286"/>
                  </a:lnTo>
                  <a:lnTo>
                    <a:pt x="547" y="288"/>
                  </a:lnTo>
                  <a:lnTo>
                    <a:pt x="547" y="290"/>
                  </a:lnTo>
                  <a:lnTo>
                    <a:pt x="547" y="291"/>
                  </a:lnTo>
                  <a:lnTo>
                    <a:pt x="548" y="293"/>
                  </a:lnTo>
                  <a:lnTo>
                    <a:pt x="549" y="295"/>
                  </a:lnTo>
                  <a:lnTo>
                    <a:pt x="550" y="297"/>
                  </a:lnTo>
                  <a:lnTo>
                    <a:pt x="550" y="298"/>
                  </a:lnTo>
                  <a:lnTo>
                    <a:pt x="551" y="299"/>
                  </a:lnTo>
                  <a:lnTo>
                    <a:pt x="552" y="300"/>
                  </a:lnTo>
                  <a:lnTo>
                    <a:pt x="555" y="302"/>
                  </a:lnTo>
                  <a:lnTo>
                    <a:pt x="556" y="304"/>
                  </a:lnTo>
                  <a:lnTo>
                    <a:pt x="560" y="306"/>
                  </a:lnTo>
                  <a:lnTo>
                    <a:pt x="564" y="310"/>
                  </a:lnTo>
                  <a:lnTo>
                    <a:pt x="565" y="311"/>
                  </a:lnTo>
                  <a:lnTo>
                    <a:pt x="567" y="312"/>
                  </a:lnTo>
                  <a:lnTo>
                    <a:pt x="569" y="314"/>
                  </a:lnTo>
                  <a:lnTo>
                    <a:pt x="576" y="318"/>
                  </a:lnTo>
                  <a:lnTo>
                    <a:pt x="579" y="320"/>
                  </a:lnTo>
                  <a:lnTo>
                    <a:pt x="580" y="320"/>
                  </a:lnTo>
                  <a:lnTo>
                    <a:pt x="581" y="320"/>
                  </a:lnTo>
                  <a:lnTo>
                    <a:pt x="581" y="320"/>
                  </a:lnTo>
                  <a:lnTo>
                    <a:pt x="582" y="320"/>
                  </a:lnTo>
                  <a:lnTo>
                    <a:pt x="582" y="320"/>
                  </a:lnTo>
                  <a:lnTo>
                    <a:pt x="583" y="320"/>
                  </a:lnTo>
                  <a:lnTo>
                    <a:pt x="585" y="319"/>
                  </a:lnTo>
                  <a:lnTo>
                    <a:pt x="586" y="319"/>
                  </a:lnTo>
                  <a:lnTo>
                    <a:pt x="588" y="318"/>
                  </a:lnTo>
                  <a:lnTo>
                    <a:pt x="589" y="318"/>
                  </a:lnTo>
                  <a:lnTo>
                    <a:pt x="590" y="319"/>
                  </a:lnTo>
                  <a:lnTo>
                    <a:pt x="591" y="319"/>
                  </a:lnTo>
                  <a:lnTo>
                    <a:pt x="592" y="319"/>
                  </a:lnTo>
                  <a:lnTo>
                    <a:pt x="597" y="320"/>
                  </a:lnTo>
                  <a:lnTo>
                    <a:pt x="598" y="321"/>
                  </a:lnTo>
                  <a:lnTo>
                    <a:pt x="600" y="321"/>
                  </a:lnTo>
                  <a:lnTo>
                    <a:pt x="602" y="321"/>
                  </a:lnTo>
                  <a:lnTo>
                    <a:pt x="605" y="321"/>
                  </a:lnTo>
                  <a:lnTo>
                    <a:pt x="609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4" y="320"/>
                  </a:lnTo>
                  <a:lnTo>
                    <a:pt x="616" y="320"/>
                  </a:lnTo>
                  <a:lnTo>
                    <a:pt x="619" y="318"/>
                  </a:lnTo>
                  <a:lnTo>
                    <a:pt x="621" y="318"/>
                  </a:lnTo>
                  <a:lnTo>
                    <a:pt x="623" y="317"/>
                  </a:lnTo>
                  <a:lnTo>
                    <a:pt x="627" y="317"/>
                  </a:lnTo>
                  <a:lnTo>
                    <a:pt x="627" y="317"/>
                  </a:lnTo>
                  <a:lnTo>
                    <a:pt x="629" y="316"/>
                  </a:lnTo>
                  <a:lnTo>
                    <a:pt x="631" y="315"/>
                  </a:lnTo>
                  <a:lnTo>
                    <a:pt x="631" y="315"/>
                  </a:lnTo>
                  <a:lnTo>
                    <a:pt x="632" y="315"/>
                  </a:lnTo>
                  <a:lnTo>
                    <a:pt x="633" y="315"/>
                  </a:lnTo>
                  <a:lnTo>
                    <a:pt x="634" y="315"/>
                  </a:lnTo>
                  <a:lnTo>
                    <a:pt x="634" y="315"/>
                  </a:lnTo>
                  <a:lnTo>
                    <a:pt x="635" y="315"/>
                  </a:lnTo>
                  <a:lnTo>
                    <a:pt x="636" y="315"/>
                  </a:lnTo>
                  <a:lnTo>
                    <a:pt x="637" y="316"/>
                  </a:lnTo>
                  <a:lnTo>
                    <a:pt x="638" y="316"/>
                  </a:lnTo>
                  <a:lnTo>
                    <a:pt x="639" y="317"/>
                  </a:lnTo>
                  <a:lnTo>
                    <a:pt x="640" y="318"/>
                  </a:lnTo>
                  <a:lnTo>
                    <a:pt x="641" y="318"/>
                  </a:lnTo>
                  <a:lnTo>
                    <a:pt x="641" y="319"/>
                  </a:lnTo>
                  <a:lnTo>
                    <a:pt x="641" y="320"/>
                  </a:lnTo>
                  <a:lnTo>
                    <a:pt x="642" y="321"/>
                  </a:lnTo>
                  <a:lnTo>
                    <a:pt x="642" y="322"/>
                  </a:lnTo>
                  <a:lnTo>
                    <a:pt x="642" y="322"/>
                  </a:lnTo>
                  <a:lnTo>
                    <a:pt x="641" y="323"/>
                  </a:lnTo>
                  <a:lnTo>
                    <a:pt x="641" y="324"/>
                  </a:lnTo>
                  <a:lnTo>
                    <a:pt x="641" y="325"/>
                  </a:lnTo>
                  <a:lnTo>
                    <a:pt x="641" y="326"/>
                  </a:lnTo>
                  <a:lnTo>
                    <a:pt x="641" y="327"/>
                  </a:lnTo>
                  <a:lnTo>
                    <a:pt x="642" y="327"/>
                  </a:lnTo>
                  <a:lnTo>
                    <a:pt x="642" y="328"/>
                  </a:lnTo>
                  <a:lnTo>
                    <a:pt x="643" y="329"/>
                  </a:lnTo>
                  <a:lnTo>
                    <a:pt x="644" y="330"/>
                  </a:lnTo>
                  <a:lnTo>
                    <a:pt x="646" y="331"/>
                  </a:lnTo>
                  <a:lnTo>
                    <a:pt x="648" y="333"/>
                  </a:lnTo>
                  <a:lnTo>
                    <a:pt x="650" y="333"/>
                  </a:lnTo>
                  <a:lnTo>
                    <a:pt x="650" y="334"/>
                  </a:lnTo>
                  <a:lnTo>
                    <a:pt x="651" y="335"/>
                  </a:lnTo>
                  <a:lnTo>
                    <a:pt x="654" y="339"/>
                  </a:lnTo>
                  <a:lnTo>
                    <a:pt x="655" y="340"/>
                  </a:lnTo>
                  <a:lnTo>
                    <a:pt x="655" y="341"/>
                  </a:lnTo>
                  <a:lnTo>
                    <a:pt x="656" y="342"/>
                  </a:lnTo>
                  <a:lnTo>
                    <a:pt x="656" y="343"/>
                  </a:lnTo>
                  <a:lnTo>
                    <a:pt x="656" y="344"/>
                  </a:lnTo>
                  <a:lnTo>
                    <a:pt x="655" y="345"/>
                  </a:lnTo>
                  <a:lnTo>
                    <a:pt x="655" y="347"/>
                  </a:lnTo>
                  <a:lnTo>
                    <a:pt x="654" y="349"/>
                  </a:lnTo>
                  <a:lnTo>
                    <a:pt x="654" y="349"/>
                  </a:lnTo>
                  <a:lnTo>
                    <a:pt x="653" y="350"/>
                  </a:lnTo>
                  <a:lnTo>
                    <a:pt x="652" y="350"/>
                  </a:lnTo>
                  <a:lnTo>
                    <a:pt x="652" y="351"/>
                  </a:lnTo>
                  <a:lnTo>
                    <a:pt x="650" y="351"/>
                  </a:lnTo>
                  <a:lnTo>
                    <a:pt x="649" y="352"/>
                  </a:lnTo>
                  <a:lnTo>
                    <a:pt x="646" y="353"/>
                  </a:lnTo>
                  <a:lnTo>
                    <a:pt x="643" y="353"/>
                  </a:lnTo>
                  <a:lnTo>
                    <a:pt x="642" y="354"/>
                  </a:lnTo>
                  <a:lnTo>
                    <a:pt x="641" y="354"/>
                  </a:lnTo>
                  <a:lnTo>
                    <a:pt x="640" y="354"/>
                  </a:lnTo>
                  <a:lnTo>
                    <a:pt x="640" y="355"/>
                  </a:lnTo>
                  <a:lnTo>
                    <a:pt x="639" y="355"/>
                  </a:lnTo>
                  <a:lnTo>
                    <a:pt x="638" y="356"/>
                  </a:lnTo>
                  <a:lnTo>
                    <a:pt x="637" y="359"/>
                  </a:lnTo>
                  <a:lnTo>
                    <a:pt x="636" y="361"/>
                  </a:lnTo>
                  <a:lnTo>
                    <a:pt x="635" y="362"/>
                  </a:lnTo>
                  <a:lnTo>
                    <a:pt x="634" y="364"/>
                  </a:lnTo>
                  <a:lnTo>
                    <a:pt x="634" y="365"/>
                  </a:lnTo>
                  <a:lnTo>
                    <a:pt x="633" y="368"/>
                  </a:lnTo>
                  <a:lnTo>
                    <a:pt x="633" y="369"/>
                  </a:lnTo>
                  <a:lnTo>
                    <a:pt x="633" y="370"/>
                  </a:lnTo>
                  <a:lnTo>
                    <a:pt x="632" y="371"/>
                  </a:lnTo>
                  <a:lnTo>
                    <a:pt x="631" y="372"/>
                  </a:lnTo>
                  <a:lnTo>
                    <a:pt x="629" y="376"/>
                  </a:lnTo>
                  <a:lnTo>
                    <a:pt x="629" y="377"/>
                  </a:lnTo>
                  <a:lnTo>
                    <a:pt x="628" y="378"/>
                  </a:lnTo>
                  <a:lnTo>
                    <a:pt x="627" y="382"/>
                  </a:lnTo>
                  <a:lnTo>
                    <a:pt x="626" y="383"/>
                  </a:lnTo>
                  <a:lnTo>
                    <a:pt x="626" y="384"/>
                  </a:lnTo>
                  <a:lnTo>
                    <a:pt x="625" y="385"/>
                  </a:lnTo>
                  <a:lnTo>
                    <a:pt x="624" y="386"/>
                  </a:lnTo>
                  <a:lnTo>
                    <a:pt x="621" y="390"/>
                  </a:lnTo>
                  <a:lnTo>
                    <a:pt x="619" y="392"/>
                  </a:lnTo>
                  <a:lnTo>
                    <a:pt x="618" y="392"/>
                  </a:lnTo>
                  <a:lnTo>
                    <a:pt x="616" y="395"/>
                  </a:lnTo>
                  <a:lnTo>
                    <a:pt x="615" y="397"/>
                  </a:lnTo>
                  <a:lnTo>
                    <a:pt x="614" y="398"/>
                  </a:lnTo>
                  <a:lnTo>
                    <a:pt x="613" y="400"/>
                  </a:lnTo>
                  <a:lnTo>
                    <a:pt x="613" y="400"/>
                  </a:lnTo>
                  <a:lnTo>
                    <a:pt x="613" y="401"/>
                  </a:lnTo>
                  <a:lnTo>
                    <a:pt x="613" y="402"/>
                  </a:lnTo>
                  <a:lnTo>
                    <a:pt x="613" y="402"/>
                  </a:lnTo>
                  <a:lnTo>
                    <a:pt x="613" y="403"/>
                  </a:lnTo>
                  <a:lnTo>
                    <a:pt x="613" y="404"/>
                  </a:lnTo>
                  <a:lnTo>
                    <a:pt x="613" y="404"/>
                  </a:lnTo>
                  <a:lnTo>
                    <a:pt x="614" y="404"/>
                  </a:lnTo>
                  <a:lnTo>
                    <a:pt x="615" y="405"/>
                  </a:lnTo>
                  <a:lnTo>
                    <a:pt x="615" y="405"/>
                  </a:lnTo>
                  <a:lnTo>
                    <a:pt x="618" y="405"/>
                  </a:lnTo>
                  <a:lnTo>
                    <a:pt x="619" y="405"/>
                  </a:lnTo>
                  <a:lnTo>
                    <a:pt x="620" y="405"/>
                  </a:lnTo>
                  <a:lnTo>
                    <a:pt x="621" y="406"/>
                  </a:lnTo>
                  <a:lnTo>
                    <a:pt x="622" y="406"/>
                  </a:lnTo>
                  <a:lnTo>
                    <a:pt x="622" y="406"/>
                  </a:lnTo>
                  <a:lnTo>
                    <a:pt x="623" y="407"/>
                  </a:lnTo>
                  <a:lnTo>
                    <a:pt x="624" y="408"/>
                  </a:lnTo>
                  <a:lnTo>
                    <a:pt x="625" y="409"/>
                  </a:lnTo>
                  <a:lnTo>
                    <a:pt x="626" y="412"/>
                  </a:lnTo>
                  <a:lnTo>
                    <a:pt x="627" y="413"/>
                  </a:lnTo>
                  <a:lnTo>
                    <a:pt x="628" y="414"/>
                  </a:lnTo>
                  <a:lnTo>
                    <a:pt x="629" y="415"/>
                  </a:lnTo>
                  <a:lnTo>
                    <a:pt x="630" y="416"/>
                  </a:lnTo>
                  <a:lnTo>
                    <a:pt x="632" y="417"/>
                  </a:lnTo>
                  <a:lnTo>
                    <a:pt x="634" y="418"/>
                  </a:lnTo>
                  <a:lnTo>
                    <a:pt x="637" y="419"/>
                  </a:lnTo>
                  <a:lnTo>
                    <a:pt x="639" y="421"/>
                  </a:lnTo>
                  <a:lnTo>
                    <a:pt x="641" y="421"/>
                  </a:lnTo>
                  <a:lnTo>
                    <a:pt x="642" y="422"/>
                  </a:lnTo>
                  <a:lnTo>
                    <a:pt x="645" y="424"/>
                  </a:lnTo>
                  <a:lnTo>
                    <a:pt x="646" y="425"/>
                  </a:lnTo>
                  <a:lnTo>
                    <a:pt x="647" y="426"/>
                  </a:lnTo>
                  <a:lnTo>
                    <a:pt x="647" y="427"/>
                  </a:lnTo>
                  <a:lnTo>
                    <a:pt x="648" y="428"/>
                  </a:lnTo>
                  <a:lnTo>
                    <a:pt x="649" y="429"/>
                  </a:lnTo>
                  <a:lnTo>
                    <a:pt x="649" y="430"/>
                  </a:lnTo>
                  <a:lnTo>
                    <a:pt x="651" y="433"/>
                  </a:lnTo>
                  <a:lnTo>
                    <a:pt x="651" y="434"/>
                  </a:lnTo>
                  <a:lnTo>
                    <a:pt x="652" y="435"/>
                  </a:lnTo>
                  <a:lnTo>
                    <a:pt x="652" y="435"/>
                  </a:lnTo>
                  <a:lnTo>
                    <a:pt x="652" y="436"/>
                  </a:lnTo>
                  <a:lnTo>
                    <a:pt x="650" y="438"/>
                  </a:lnTo>
                  <a:lnTo>
                    <a:pt x="649" y="439"/>
                  </a:lnTo>
                  <a:lnTo>
                    <a:pt x="649" y="439"/>
                  </a:lnTo>
                  <a:lnTo>
                    <a:pt x="648" y="439"/>
                  </a:lnTo>
                  <a:lnTo>
                    <a:pt x="648" y="440"/>
                  </a:lnTo>
                  <a:lnTo>
                    <a:pt x="646" y="440"/>
                  </a:lnTo>
                  <a:lnTo>
                    <a:pt x="646" y="440"/>
                  </a:lnTo>
                  <a:lnTo>
                    <a:pt x="645" y="440"/>
                  </a:lnTo>
                  <a:lnTo>
                    <a:pt x="645" y="441"/>
                  </a:lnTo>
                  <a:lnTo>
                    <a:pt x="645" y="442"/>
                  </a:lnTo>
                  <a:lnTo>
                    <a:pt x="645" y="442"/>
                  </a:lnTo>
                  <a:lnTo>
                    <a:pt x="644" y="444"/>
                  </a:lnTo>
                  <a:lnTo>
                    <a:pt x="644" y="445"/>
                  </a:lnTo>
                  <a:lnTo>
                    <a:pt x="643" y="446"/>
                  </a:lnTo>
                  <a:lnTo>
                    <a:pt x="642" y="446"/>
                  </a:lnTo>
                  <a:lnTo>
                    <a:pt x="642" y="447"/>
                  </a:lnTo>
                  <a:lnTo>
                    <a:pt x="642" y="447"/>
                  </a:lnTo>
                  <a:lnTo>
                    <a:pt x="642" y="447"/>
                  </a:lnTo>
                  <a:lnTo>
                    <a:pt x="643" y="448"/>
                  </a:lnTo>
                  <a:lnTo>
                    <a:pt x="643" y="448"/>
                  </a:lnTo>
                  <a:lnTo>
                    <a:pt x="643" y="448"/>
                  </a:lnTo>
                  <a:lnTo>
                    <a:pt x="643" y="449"/>
                  </a:lnTo>
                  <a:lnTo>
                    <a:pt x="642" y="449"/>
                  </a:lnTo>
                  <a:lnTo>
                    <a:pt x="640" y="450"/>
                  </a:lnTo>
                  <a:lnTo>
                    <a:pt x="640" y="451"/>
                  </a:lnTo>
                  <a:lnTo>
                    <a:pt x="639" y="451"/>
                  </a:lnTo>
                  <a:lnTo>
                    <a:pt x="638" y="451"/>
                  </a:lnTo>
                  <a:lnTo>
                    <a:pt x="638" y="452"/>
                  </a:lnTo>
                  <a:lnTo>
                    <a:pt x="637" y="452"/>
                  </a:lnTo>
                  <a:lnTo>
                    <a:pt x="637" y="453"/>
                  </a:lnTo>
                  <a:lnTo>
                    <a:pt x="635" y="458"/>
                  </a:lnTo>
                  <a:lnTo>
                    <a:pt x="634" y="460"/>
                  </a:lnTo>
                  <a:lnTo>
                    <a:pt x="633" y="461"/>
                  </a:lnTo>
                  <a:lnTo>
                    <a:pt x="633" y="461"/>
                  </a:lnTo>
                  <a:lnTo>
                    <a:pt x="632" y="461"/>
                  </a:lnTo>
                  <a:lnTo>
                    <a:pt x="631" y="460"/>
                  </a:lnTo>
                  <a:lnTo>
                    <a:pt x="629" y="459"/>
                  </a:lnTo>
                  <a:lnTo>
                    <a:pt x="627" y="458"/>
                  </a:lnTo>
                  <a:lnTo>
                    <a:pt x="625" y="456"/>
                  </a:lnTo>
                  <a:lnTo>
                    <a:pt x="623" y="454"/>
                  </a:lnTo>
                  <a:lnTo>
                    <a:pt x="621" y="452"/>
                  </a:lnTo>
                  <a:lnTo>
                    <a:pt x="619" y="450"/>
                  </a:lnTo>
                  <a:lnTo>
                    <a:pt x="615" y="445"/>
                  </a:lnTo>
                  <a:lnTo>
                    <a:pt x="613" y="443"/>
                  </a:lnTo>
                  <a:lnTo>
                    <a:pt x="612" y="442"/>
                  </a:lnTo>
                  <a:lnTo>
                    <a:pt x="611" y="441"/>
                  </a:lnTo>
                  <a:lnTo>
                    <a:pt x="609" y="439"/>
                  </a:lnTo>
                  <a:lnTo>
                    <a:pt x="607" y="438"/>
                  </a:lnTo>
                  <a:lnTo>
                    <a:pt x="606" y="437"/>
                  </a:lnTo>
                  <a:lnTo>
                    <a:pt x="604" y="437"/>
                  </a:lnTo>
                  <a:lnTo>
                    <a:pt x="603" y="436"/>
                  </a:lnTo>
                  <a:lnTo>
                    <a:pt x="601" y="436"/>
                  </a:lnTo>
                  <a:lnTo>
                    <a:pt x="599" y="435"/>
                  </a:lnTo>
                  <a:lnTo>
                    <a:pt x="596" y="435"/>
                  </a:lnTo>
                  <a:lnTo>
                    <a:pt x="595" y="434"/>
                  </a:lnTo>
                  <a:lnTo>
                    <a:pt x="589" y="433"/>
                  </a:lnTo>
                  <a:lnTo>
                    <a:pt x="587" y="432"/>
                  </a:lnTo>
                  <a:lnTo>
                    <a:pt x="585" y="432"/>
                  </a:lnTo>
                  <a:lnTo>
                    <a:pt x="584" y="432"/>
                  </a:lnTo>
                  <a:lnTo>
                    <a:pt x="582" y="431"/>
                  </a:lnTo>
                  <a:lnTo>
                    <a:pt x="581" y="430"/>
                  </a:lnTo>
                  <a:lnTo>
                    <a:pt x="579" y="429"/>
                  </a:lnTo>
                  <a:lnTo>
                    <a:pt x="576" y="428"/>
                  </a:lnTo>
                  <a:lnTo>
                    <a:pt x="570" y="424"/>
                  </a:lnTo>
                  <a:lnTo>
                    <a:pt x="565" y="420"/>
                  </a:lnTo>
                  <a:lnTo>
                    <a:pt x="563" y="418"/>
                  </a:lnTo>
                  <a:lnTo>
                    <a:pt x="561" y="417"/>
                  </a:lnTo>
                  <a:lnTo>
                    <a:pt x="558" y="416"/>
                  </a:lnTo>
                  <a:lnTo>
                    <a:pt x="556" y="415"/>
                  </a:lnTo>
                  <a:lnTo>
                    <a:pt x="553" y="414"/>
                  </a:lnTo>
                  <a:lnTo>
                    <a:pt x="552" y="414"/>
                  </a:lnTo>
                  <a:lnTo>
                    <a:pt x="550" y="413"/>
                  </a:lnTo>
                  <a:lnTo>
                    <a:pt x="548" y="413"/>
                  </a:lnTo>
                  <a:lnTo>
                    <a:pt x="546" y="413"/>
                  </a:lnTo>
                  <a:lnTo>
                    <a:pt x="543" y="413"/>
                  </a:lnTo>
                  <a:lnTo>
                    <a:pt x="539" y="414"/>
                  </a:lnTo>
                  <a:lnTo>
                    <a:pt x="538" y="414"/>
                  </a:lnTo>
                  <a:lnTo>
                    <a:pt x="536" y="414"/>
                  </a:lnTo>
                  <a:lnTo>
                    <a:pt x="534" y="413"/>
                  </a:lnTo>
                  <a:lnTo>
                    <a:pt x="532" y="413"/>
                  </a:lnTo>
                  <a:lnTo>
                    <a:pt x="531" y="413"/>
                  </a:lnTo>
                  <a:lnTo>
                    <a:pt x="530" y="412"/>
                  </a:lnTo>
                  <a:lnTo>
                    <a:pt x="528" y="412"/>
                  </a:lnTo>
                  <a:lnTo>
                    <a:pt x="525" y="410"/>
                  </a:lnTo>
                  <a:lnTo>
                    <a:pt x="524" y="410"/>
                  </a:lnTo>
                  <a:lnTo>
                    <a:pt x="523" y="410"/>
                  </a:lnTo>
                  <a:lnTo>
                    <a:pt x="523" y="410"/>
                  </a:lnTo>
                  <a:lnTo>
                    <a:pt x="522" y="410"/>
                  </a:lnTo>
                  <a:lnTo>
                    <a:pt x="522" y="410"/>
                  </a:lnTo>
                  <a:lnTo>
                    <a:pt x="521" y="410"/>
                  </a:lnTo>
                  <a:lnTo>
                    <a:pt x="521" y="410"/>
                  </a:lnTo>
                  <a:lnTo>
                    <a:pt x="520" y="411"/>
                  </a:lnTo>
                  <a:lnTo>
                    <a:pt x="520" y="412"/>
                  </a:lnTo>
                  <a:lnTo>
                    <a:pt x="520" y="413"/>
                  </a:lnTo>
                  <a:lnTo>
                    <a:pt x="518" y="417"/>
                  </a:lnTo>
                  <a:lnTo>
                    <a:pt x="518" y="419"/>
                  </a:lnTo>
                  <a:lnTo>
                    <a:pt x="516" y="421"/>
                  </a:lnTo>
                  <a:lnTo>
                    <a:pt x="515" y="425"/>
                  </a:lnTo>
                  <a:lnTo>
                    <a:pt x="514" y="426"/>
                  </a:lnTo>
                  <a:lnTo>
                    <a:pt x="513" y="427"/>
                  </a:lnTo>
                  <a:lnTo>
                    <a:pt x="512" y="428"/>
                  </a:lnTo>
                  <a:lnTo>
                    <a:pt x="511" y="428"/>
                  </a:lnTo>
                  <a:lnTo>
                    <a:pt x="510" y="429"/>
                  </a:lnTo>
                  <a:lnTo>
                    <a:pt x="510" y="429"/>
                  </a:lnTo>
                  <a:lnTo>
                    <a:pt x="508" y="429"/>
                  </a:lnTo>
                  <a:lnTo>
                    <a:pt x="507" y="429"/>
                  </a:lnTo>
                  <a:lnTo>
                    <a:pt x="503" y="430"/>
                  </a:lnTo>
                  <a:lnTo>
                    <a:pt x="499" y="430"/>
                  </a:lnTo>
                  <a:lnTo>
                    <a:pt x="497" y="430"/>
                  </a:lnTo>
                  <a:lnTo>
                    <a:pt x="495" y="430"/>
                  </a:lnTo>
                  <a:lnTo>
                    <a:pt x="493" y="431"/>
                  </a:lnTo>
                  <a:lnTo>
                    <a:pt x="490" y="432"/>
                  </a:lnTo>
                  <a:lnTo>
                    <a:pt x="488" y="433"/>
                  </a:lnTo>
                  <a:lnTo>
                    <a:pt x="483" y="435"/>
                  </a:lnTo>
                  <a:lnTo>
                    <a:pt x="481" y="436"/>
                  </a:lnTo>
                  <a:lnTo>
                    <a:pt x="480" y="436"/>
                  </a:lnTo>
                  <a:lnTo>
                    <a:pt x="479" y="436"/>
                  </a:lnTo>
                  <a:lnTo>
                    <a:pt x="478" y="437"/>
                  </a:lnTo>
                  <a:lnTo>
                    <a:pt x="475" y="437"/>
                  </a:lnTo>
                  <a:lnTo>
                    <a:pt x="473" y="437"/>
                  </a:lnTo>
                  <a:lnTo>
                    <a:pt x="473" y="437"/>
                  </a:lnTo>
                  <a:lnTo>
                    <a:pt x="472" y="437"/>
                  </a:lnTo>
                  <a:lnTo>
                    <a:pt x="471" y="436"/>
                  </a:lnTo>
                  <a:lnTo>
                    <a:pt x="471" y="436"/>
                  </a:lnTo>
                  <a:lnTo>
                    <a:pt x="470" y="436"/>
                  </a:lnTo>
                  <a:lnTo>
                    <a:pt x="470" y="436"/>
                  </a:lnTo>
                  <a:lnTo>
                    <a:pt x="470" y="435"/>
                  </a:lnTo>
                  <a:lnTo>
                    <a:pt x="470" y="435"/>
                  </a:lnTo>
                  <a:lnTo>
                    <a:pt x="470" y="434"/>
                  </a:lnTo>
                  <a:lnTo>
                    <a:pt x="469" y="433"/>
                  </a:lnTo>
                  <a:lnTo>
                    <a:pt x="469" y="432"/>
                  </a:lnTo>
                  <a:lnTo>
                    <a:pt x="470" y="427"/>
                  </a:lnTo>
                  <a:lnTo>
                    <a:pt x="470" y="426"/>
                  </a:lnTo>
                  <a:lnTo>
                    <a:pt x="470" y="425"/>
                  </a:lnTo>
                  <a:lnTo>
                    <a:pt x="469" y="424"/>
                  </a:lnTo>
                  <a:lnTo>
                    <a:pt x="469" y="422"/>
                  </a:lnTo>
                  <a:lnTo>
                    <a:pt x="468" y="419"/>
                  </a:lnTo>
                  <a:lnTo>
                    <a:pt x="468" y="418"/>
                  </a:lnTo>
                  <a:lnTo>
                    <a:pt x="467" y="414"/>
                  </a:lnTo>
                  <a:lnTo>
                    <a:pt x="466" y="411"/>
                  </a:lnTo>
                  <a:lnTo>
                    <a:pt x="465" y="410"/>
                  </a:lnTo>
                  <a:lnTo>
                    <a:pt x="465" y="409"/>
                  </a:lnTo>
                  <a:lnTo>
                    <a:pt x="464" y="409"/>
                  </a:lnTo>
                  <a:lnTo>
                    <a:pt x="463" y="408"/>
                  </a:lnTo>
                  <a:lnTo>
                    <a:pt x="463" y="407"/>
                  </a:lnTo>
                  <a:lnTo>
                    <a:pt x="462" y="406"/>
                  </a:lnTo>
                  <a:lnTo>
                    <a:pt x="460" y="405"/>
                  </a:lnTo>
                  <a:lnTo>
                    <a:pt x="459" y="404"/>
                  </a:lnTo>
                  <a:lnTo>
                    <a:pt x="457" y="404"/>
                  </a:lnTo>
                  <a:lnTo>
                    <a:pt x="455" y="404"/>
                  </a:lnTo>
                  <a:lnTo>
                    <a:pt x="453" y="403"/>
                  </a:lnTo>
                  <a:lnTo>
                    <a:pt x="450" y="403"/>
                  </a:lnTo>
                  <a:lnTo>
                    <a:pt x="448" y="403"/>
                  </a:lnTo>
                  <a:lnTo>
                    <a:pt x="444" y="403"/>
                  </a:lnTo>
                  <a:lnTo>
                    <a:pt x="442" y="403"/>
                  </a:lnTo>
                  <a:lnTo>
                    <a:pt x="440" y="403"/>
                  </a:lnTo>
                  <a:lnTo>
                    <a:pt x="438" y="402"/>
                  </a:lnTo>
                  <a:lnTo>
                    <a:pt x="436" y="402"/>
                  </a:lnTo>
                  <a:lnTo>
                    <a:pt x="435" y="402"/>
                  </a:lnTo>
                  <a:lnTo>
                    <a:pt x="433" y="401"/>
                  </a:lnTo>
                  <a:lnTo>
                    <a:pt x="432" y="401"/>
                  </a:lnTo>
                  <a:lnTo>
                    <a:pt x="431" y="400"/>
                  </a:lnTo>
                  <a:lnTo>
                    <a:pt x="430" y="399"/>
                  </a:lnTo>
                  <a:lnTo>
                    <a:pt x="429" y="398"/>
                  </a:lnTo>
                  <a:lnTo>
                    <a:pt x="426" y="396"/>
                  </a:lnTo>
                  <a:lnTo>
                    <a:pt x="425" y="395"/>
                  </a:lnTo>
                  <a:lnTo>
                    <a:pt x="424" y="395"/>
                  </a:lnTo>
                  <a:lnTo>
                    <a:pt x="424" y="394"/>
                  </a:lnTo>
                  <a:lnTo>
                    <a:pt x="423" y="394"/>
                  </a:lnTo>
                  <a:lnTo>
                    <a:pt x="422" y="393"/>
                  </a:lnTo>
                  <a:lnTo>
                    <a:pt x="421" y="393"/>
                  </a:lnTo>
                  <a:lnTo>
                    <a:pt x="416" y="392"/>
                  </a:lnTo>
                  <a:lnTo>
                    <a:pt x="411" y="391"/>
                  </a:lnTo>
                  <a:lnTo>
                    <a:pt x="410" y="391"/>
                  </a:lnTo>
                  <a:lnTo>
                    <a:pt x="409" y="391"/>
                  </a:lnTo>
                  <a:lnTo>
                    <a:pt x="408" y="391"/>
                  </a:lnTo>
                  <a:lnTo>
                    <a:pt x="406" y="391"/>
                  </a:lnTo>
                  <a:lnTo>
                    <a:pt x="405" y="392"/>
                  </a:lnTo>
                  <a:lnTo>
                    <a:pt x="403" y="392"/>
                  </a:lnTo>
                  <a:lnTo>
                    <a:pt x="401" y="393"/>
                  </a:lnTo>
                  <a:lnTo>
                    <a:pt x="400" y="394"/>
                  </a:lnTo>
                  <a:lnTo>
                    <a:pt x="399" y="395"/>
                  </a:lnTo>
                  <a:lnTo>
                    <a:pt x="399" y="395"/>
                  </a:lnTo>
                  <a:lnTo>
                    <a:pt x="398" y="396"/>
                  </a:lnTo>
                  <a:lnTo>
                    <a:pt x="398" y="396"/>
                  </a:lnTo>
                  <a:lnTo>
                    <a:pt x="398" y="397"/>
                  </a:lnTo>
                  <a:lnTo>
                    <a:pt x="397" y="400"/>
                  </a:lnTo>
                  <a:lnTo>
                    <a:pt x="397" y="402"/>
                  </a:lnTo>
                  <a:lnTo>
                    <a:pt x="396" y="403"/>
                  </a:lnTo>
                  <a:lnTo>
                    <a:pt x="396" y="405"/>
                  </a:lnTo>
                  <a:lnTo>
                    <a:pt x="395" y="407"/>
                  </a:lnTo>
                  <a:lnTo>
                    <a:pt x="393" y="410"/>
                  </a:lnTo>
                  <a:lnTo>
                    <a:pt x="392" y="412"/>
                  </a:lnTo>
                  <a:lnTo>
                    <a:pt x="392" y="413"/>
                  </a:lnTo>
                  <a:lnTo>
                    <a:pt x="391" y="415"/>
                  </a:lnTo>
                  <a:lnTo>
                    <a:pt x="391" y="417"/>
                  </a:lnTo>
                  <a:lnTo>
                    <a:pt x="390" y="418"/>
                  </a:lnTo>
                  <a:lnTo>
                    <a:pt x="390" y="420"/>
                  </a:lnTo>
                  <a:lnTo>
                    <a:pt x="390" y="421"/>
                  </a:lnTo>
                  <a:lnTo>
                    <a:pt x="390" y="423"/>
                  </a:lnTo>
                  <a:lnTo>
                    <a:pt x="390" y="426"/>
                  </a:lnTo>
                  <a:lnTo>
                    <a:pt x="390" y="429"/>
                  </a:lnTo>
                  <a:lnTo>
                    <a:pt x="390" y="432"/>
                  </a:lnTo>
                  <a:lnTo>
                    <a:pt x="391" y="436"/>
                  </a:lnTo>
                  <a:lnTo>
                    <a:pt x="391" y="442"/>
                  </a:lnTo>
                  <a:lnTo>
                    <a:pt x="392" y="447"/>
                  </a:lnTo>
                  <a:lnTo>
                    <a:pt x="392" y="449"/>
                  </a:lnTo>
                  <a:lnTo>
                    <a:pt x="394" y="457"/>
                  </a:lnTo>
                  <a:lnTo>
                    <a:pt x="394" y="459"/>
                  </a:lnTo>
                  <a:lnTo>
                    <a:pt x="394" y="461"/>
                  </a:lnTo>
                  <a:lnTo>
                    <a:pt x="394" y="463"/>
                  </a:lnTo>
                  <a:lnTo>
                    <a:pt x="394" y="465"/>
                  </a:lnTo>
                  <a:lnTo>
                    <a:pt x="394" y="467"/>
                  </a:lnTo>
                  <a:lnTo>
                    <a:pt x="394" y="469"/>
                  </a:lnTo>
                  <a:lnTo>
                    <a:pt x="393" y="472"/>
                  </a:lnTo>
                  <a:lnTo>
                    <a:pt x="391" y="481"/>
                  </a:lnTo>
                  <a:lnTo>
                    <a:pt x="391" y="482"/>
                  </a:lnTo>
                  <a:lnTo>
                    <a:pt x="390" y="485"/>
                  </a:lnTo>
                  <a:lnTo>
                    <a:pt x="390" y="486"/>
                  </a:lnTo>
                  <a:lnTo>
                    <a:pt x="389" y="489"/>
                  </a:lnTo>
                  <a:lnTo>
                    <a:pt x="389" y="491"/>
                  </a:lnTo>
                  <a:lnTo>
                    <a:pt x="389" y="493"/>
                  </a:lnTo>
                  <a:lnTo>
                    <a:pt x="389" y="496"/>
                  </a:lnTo>
                  <a:lnTo>
                    <a:pt x="389" y="501"/>
                  </a:lnTo>
                  <a:lnTo>
                    <a:pt x="389" y="502"/>
                  </a:lnTo>
                  <a:lnTo>
                    <a:pt x="389" y="503"/>
                  </a:lnTo>
                  <a:lnTo>
                    <a:pt x="389" y="504"/>
                  </a:lnTo>
                  <a:lnTo>
                    <a:pt x="388" y="505"/>
                  </a:lnTo>
                  <a:lnTo>
                    <a:pt x="387" y="508"/>
                  </a:lnTo>
                  <a:lnTo>
                    <a:pt x="386" y="511"/>
                  </a:lnTo>
                  <a:lnTo>
                    <a:pt x="384" y="517"/>
                  </a:lnTo>
                  <a:lnTo>
                    <a:pt x="383" y="522"/>
                  </a:lnTo>
                  <a:lnTo>
                    <a:pt x="382" y="524"/>
                  </a:lnTo>
                  <a:lnTo>
                    <a:pt x="382" y="526"/>
                  </a:lnTo>
                  <a:lnTo>
                    <a:pt x="382" y="528"/>
                  </a:lnTo>
                  <a:lnTo>
                    <a:pt x="381" y="531"/>
                  </a:lnTo>
                  <a:lnTo>
                    <a:pt x="381" y="533"/>
                  </a:lnTo>
                  <a:lnTo>
                    <a:pt x="381" y="535"/>
                  </a:lnTo>
                  <a:lnTo>
                    <a:pt x="381" y="536"/>
                  </a:lnTo>
                  <a:lnTo>
                    <a:pt x="382" y="538"/>
                  </a:lnTo>
                  <a:lnTo>
                    <a:pt x="382" y="539"/>
                  </a:lnTo>
                  <a:lnTo>
                    <a:pt x="382" y="540"/>
                  </a:lnTo>
                  <a:lnTo>
                    <a:pt x="383" y="541"/>
                  </a:lnTo>
                  <a:lnTo>
                    <a:pt x="385" y="544"/>
                  </a:lnTo>
                  <a:lnTo>
                    <a:pt x="386" y="545"/>
                  </a:lnTo>
                  <a:lnTo>
                    <a:pt x="386" y="546"/>
                  </a:lnTo>
                  <a:lnTo>
                    <a:pt x="387" y="547"/>
                  </a:lnTo>
                  <a:lnTo>
                    <a:pt x="387" y="548"/>
                  </a:lnTo>
                  <a:lnTo>
                    <a:pt x="387" y="550"/>
                  </a:lnTo>
                  <a:lnTo>
                    <a:pt x="387" y="551"/>
                  </a:lnTo>
                  <a:lnTo>
                    <a:pt x="386" y="552"/>
                  </a:lnTo>
                  <a:lnTo>
                    <a:pt x="386" y="553"/>
                  </a:lnTo>
                  <a:lnTo>
                    <a:pt x="385" y="554"/>
                  </a:lnTo>
                  <a:lnTo>
                    <a:pt x="384" y="555"/>
                  </a:lnTo>
                  <a:lnTo>
                    <a:pt x="382" y="556"/>
                  </a:lnTo>
                  <a:lnTo>
                    <a:pt x="381" y="557"/>
                  </a:lnTo>
                  <a:lnTo>
                    <a:pt x="380" y="557"/>
                  </a:lnTo>
                  <a:lnTo>
                    <a:pt x="379" y="557"/>
                  </a:lnTo>
                  <a:lnTo>
                    <a:pt x="377" y="557"/>
                  </a:lnTo>
                  <a:lnTo>
                    <a:pt x="374" y="557"/>
                  </a:lnTo>
                  <a:lnTo>
                    <a:pt x="372" y="556"/>
                  </a:lnTo>
                  <a:lnTo>
                    <a:pt x="365" y="555"/>
                  </a:lnTo>
                  <a:lnTo>
                    <a:pt x="361" y="553"/>
                  </a:lnTo>
                  <a:lnTo>
                    <a:pt x="359" y="553"/>
                  </a:lnTo>
                  <a:lnTo>
                    <a:pt x="357" y="552"/>
                  </a:lnTo>
                  <a:lnTo>
                    <a:pt x="352" y="550"/>
                  </a:lnTo>
                  <a:lnTo>
                    <a:pt x="351" y="550"/>
                  </a:lnTo>
                  <a:lnTo>
                    <a:pt x="348" y="548"/>
                  </a:lnTo>
                  <a:lnTo>
                    <a:pt x="347" y="548"/>
                  </a:lnTo>
                  <a:lnTo>
                    <a:pt x="345" y="547"/>
                  </a:lnTo>
                  <a:lnTo>
                    <a:pt x="343" y="547"/>
                  </a:lnTo>
                  <a:lnTo>
                    <a:pt x="337" y="546"/>
                  </a:lnTo>
                  <a:lnTo>
                    <a:pt x="333" y="545"/>
                  </a:lnTo>
                  <a:lnTo>
                    <a:pt x="331" y="545"/>
                  </a:lnTo>
                  <a:lnTo>
                    <a:pt x="330" y="545"/>
                  </a:lnTo>
                  <a:lnTo>
                    <a:pt x="328" y="545"/>
                  </a:lnTo>
                  <a:lnTo>
                    <a:pt x="327" y="545"/>
                  </a:lnTo>
                  <a:lnTo>
                    <a:pt x="325" y="545"/>
                  </a:lnTo>
                  <a:lnTo>
                    <a:pt x="324" y="545"/>
                  </a:lnTo>
                  <a:lnTo>
                    <a:pt x="323" y="546"/>
                  </a:lnTo>
                  <a:lnTo>
                    <a:pt x="322" y="546"/>
                  </a:lnTo>
                  <a:lnTo>
                    <a:pt x="321" y="546"/>
                  </a:lnTo>
                  <a:lnTo>
                    <a:pt x="321" y="547"/>
                  </a:lnTo>
                  <a:lnTo>
                    <a:pt x="320" y="548"/>
                  </a:lnTo>
                  <a:lnTo>
                    <a:pt x="319" y="548"/>
                  </a:lnTo>
                  <a:lnTo>
                    <a:pt x="318" y="549"/>
                  </a:lnTo>
                  <a:lnTo>
                    <a:pt x="318" y="551"/>
                  </a:lnTo>
                  <a:lnTo>
                    <a:pt x="317" y="552"/>
                  </a:lnTo>
                  <a:lnTo>
                    <a:pt x="317" y="553"/>
                  </a:lnTo>
                  <a:lnTo>
                    <a:pt x="316" y="558"/>
                  </a:lnTo>
                  <a:lnTo>
                    <a:pt x="315" y="565"/>
                  </a:lnTo>
                  <a:lnTo>
                    <a:pt x="314" y="567"/>
                  </a:lnTo>
                  <a:lnTo>
                    <a:pt x="314" y="571"/>
                  </a:lnTo>
                  <a:lnTo>
                    <a:pt x="313" y="573"/>
                  </a:lnTo>
                  <a:lnTo>
                    <a:pt x="313" y="574"/>
                  </a:lnTo>
                  <a:lnTo>
                    <a:pt x="312" y="575"/>
                  </a:lnTo>
                  <a:lnTo>
                    <a:pt x="312" y="576"/>
                  </a:lnTo>
                  <a:lnTo>
                    <a:pt x="311" y="578"/>
                  </a:lnTo>
                  <a:lnTo>
                    <a:pt x="309" y="580"/>
                  </a:lnTo>
                  <a:lnTo>
                    <a:pt x="307" y="582"/>
                  </a:lnTo>
                  <a:lnTo>
                    <a:pt x="305" y="585"/>
                  </a:lnTo>
                  <a:lnTo>
                    <a:pt x="304" y="586"/>
                  </a:lnTo>
                  <a:lnTo>
                    <a:pt x="302" y="588"/>
                  </a:lnTo>
                  <a:lnTo>
                    <a:pt x="301" y="589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Freeform 231">
              <a:extLst>
                <a:ext uri="{FF2B5EF4-FFF2-40B4-BE49-F238E27FC236}">
                  <a16:creationId xmlns:a16="http://schemas.microsoft.com/office/drawing/2014/main" id="{E7C47DF5-DADC-4C1E-B96A-2C51B33C1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75782" y="2825419"/>
              <a:ext cx="541113" cy="671551"/>
            </a:xfrm>
            <a:custGeom>
              <a:avLst/>
              <a:gdLst>
                <a:gd name="T0" fmla="*/ 510 w 531"/>
                <a:gd name="T1" fmla="*/ 580 h 659"/>
                <a:gd name="T2" fmla="*/ 507 w 531"/>
                <a:gd name="T3" fmla="*/ 614 h 659"/>
                <a:gd name="T4" fmla="*/ 500 w 531"/>
                <a:gd name="T5" fmla="*/ 640 h 659"/>
                <a:gd name="T6" fmla="*/ 489 w 531"/>
                <a:gd name="T7" fmla="*/ 642 h 659"/>
                <a:gd name="T8" fmla="*/ 476 w 531"/>
                <a:gd name="T9" fmla="*/ 630 h 659"/>
                <a:gd name="T10" fmla="*/ 461 w 531"/>
                <a:gd name="T11" fmla="*/ 618 h 659"/>
                <a:gd name="T12" fmla="*/ 441 w 531"/>
                <a:gd name="T13" fmla="*/ 625 h 659"/>
                <a:gd name="T14" fmla="*/ 415 w 531"/>
                <a:gd name="T15" fmla="*/ 618 h 659"/>
                <a:gd name="T16" fmla="*/ 398 w 531"/>
                <a:gd name="T17" fmla="*/ 603 h 659"/>
                <a:gd name="T18" fmla="*/ 391 w 531"/>
                <a:gd name="T19" fmla="*/ 613 h 659"/>
                <a:gd name="T20" fmla="*/ 382 w 531"/>
                <a:gd name="T21" fmla="*/ 634 h 659"/>
                <a:gd name="T22" fmla="*/ 366 w 531"/>
                <a:gd name="T23" fmla="*/ 639 h 659"/>
                <a:gd name="T24" fmla="*/ 356 w 531"/>
                <a:gd name="T25" fmla="*/ 650 h 659"/>
                <a:gd name="T26" fmla="*/ 340 w 531"/>
                <a:gd name="T27" fmla="*/ 659 h 659"/>
                <a:gd name="T28" fmla="*/ 307 w 531"/>
                <a:gd name="T29" fmla="*/ 644 h 659"/>
                <a:gd name="T30" fmla="*/ 266 w 531"/>
                <a:gd name="T31" fmla="*/ 636 h 659"/>
                <a:gd name="T32" fmla="*/ 238 w 531"/>
                <a:gd name="T33" fmla="*/ 634 h 659"/>
                <a:gd name="T34" fmla="*/ 216 w 531"/>
                <a:gd name="T35" fmla="*/ 622 h 659"/>
                <a:gd name="T36" fmla="*/ 206 w 531"/>
                <a:gd name="T37" fmla="*/ 608 h 659"/>
                <a:gd name="T38" fmla="*/ 207 w 531"/>
                <a:gd name="T39" fmla="*/ 598 h 659"/>
                <a:gd name="T40" fmla="*/ 219 w 531"/>
                <a:gd name="T41" fmla="*/ 587 h 659"/>
                <a:gd name="T42" fmla="*/ 205 w 531"/>
                <a:gd name="T43" fmla="*/ 570 h 659"/>
                <a:gd name="T44" fmla="*/ 184 w 531"/>
                <a:gd name="T45" fmla="*/ 556 h 659"/>
                <a:gd name="T46" fmla="*/ 156 w 531"/>
                <a:gd name="T47" fmla="*/ 533 h 659"/>
                <a:gd name="T48" fmla="*/ 125 w 531"/>
                <a:gd name="T49" fmla="*/ 516 h 659"/>
                <a:gd name="T50" fmla="*/ 113 w 531"/>
                <a:gd name="T51" fmla="*/ 501 h 659"/>
                <a:gd name="T52" fmla="*/ 103 w 531"/>
                <a:gd name="T53" fmla="*/ 478 h 659"/>
                <a:gd name="T54" fmla="*/ 88 w 531"/>
                <a:gd name="T55" fmla="*/ 454 h 659"/>
                <a:gd name="T56" fmla="*/ 72 w 531"/>
                <a:gd name="T57" fmla="*/ 444 h 659"/>
                <a:gd name="T58" fmla="*/ 51 w 531"/>
                <a:gd name="T59" fmla="*/ 435 h 659"/>
                <a:gd name="T60" fmla="*/ 34 w 531"/>
                <a:gd name="T61" fmla="*/ 402 h 659"/>
                <a:gd name="T62" fmla="*/ 21 w 531"/>
                <a:gd name="T63" fmla="*/ 393 h 659"/>
                <a:gd name="T64" fmla="*/ 6 w 531"/>
                <a:gd name="T65" fmla="*/ 386 h 659"/>
                <a:gd name="T66" fmla="*/ 0 w 531"/>
                <a:gd name="T67" fmla="*/ 368 h 659"/>
                <a:gd name="T68" fmla="*/ 9 w 531"/>
                <a:gd name="T69" fmla="*/ 340 h 659"/>
                <a:gd name="T70" fmla="*/ 23 w 531"/>
                <a:gd name="T71" fmla="*/ 330 h 659"/>
                <a:gd name="T72" fmla="*/ 25 w 531"/>
                <a:gd name="T73" fmla="*/ 310 h 659"/>
                <a:gd name="T74" fmla="*/ 24 w 531"/>
                <a:gd name="T75" fmla="*/ 283 h 659"/>
                <a:gd name="T76" fmla="*/ 37 w 531"/>
                <a:gd name="T77" fmla="*/ 272 h 659"/>
                <a:gd name="T78" fmla="*/ 55 w 531"/>
                <a:gd name="T79" fmla="*/ 263 h 659"/>
                <a:gd name="T80" fmla="*/ 70 w 531"/>
                <a:gd name="T81" fmla="*/ 245 h 659"/>
                <a:gd name="T82" fmla="*/ 76 w 531"/>
                <a:gd name="T83" fmla="*/ 231 h 659"/>
                <a:gd name="T84" fmla="*/ 69 w 531"/>
                <a:gd name="T85" fmla="*/ 215 h 659"/>
                <a:gd name="T86" fmla="*/ 80 w 531"/>
                <a:gd name="T87" fmla="*/ 204 h 659"/>
                <a:gd name="T88" fmla="*/ 77 w 531"/>
                <a:gd name="T89" fmla="*/ 194 h 659"/>
                <a:gd name="T90" fmla="*/ 75 w 531"/>
                <a:gd name="T91" fmla="*/ 186 h 659"/>
                <a:gd name="T92" fmla="*/ 84 w 531"/>
                <a:gd name="T93" fmla="*/ 178 h 659"/>
                <a:gd name="T94" fmla="*/ 86 w 531"/>
                <a:gd name="T95" fmla="*/ 163 h 659"/>
                <a:gd name="T96" fmla="*/ 104 w 531"/>
                <a:gd name="T97" fmla="*/ 141 h 659"/>
                <a:gd name="T98" fmla="*/ 108 w 531"/>
                <a:gd name="T99" fmla="*/ 123 h 659"/>
                <a:gd name="T100" fmla="*/ 101 w 531"/>
                <a:gd name="T101" fmla="*/ 94 h 659"/>
                <a:gd name="T102" fmla="*/ 105 w 531"/>
                <a:gd name="T103" fmla="*/ 74 h 659"/>
                <a:gd name="T104" fmla="*/ 100 w 531"/>
                <a:gd name="T105" fmla="*/ 50 h 659"/>
                <a:gd name="T106" fmla="*/ 100 w 531"/>
                <a:gd name="T107" fmla="*/ 33 h 659"/>
                <a:gd name="T108" fmla="*/ 109 w 531"/>
                <a:gd name="T109" fmla="*/ 30 h 659"/>
                <a:gd name="T110" fmla="*/ 132 w 531"/>
                <a:gd name="T111" fmla="*/ 29 h 659"/>
                <a:gd name="T112" fmla="*/ 146 w 531"/>
                <a:gd name="T113" fmla="*/ 26 h 659"/>
                <a:gd name="T114" fmla="*/ 159 w 531"/>
                <a:gd name="T115" fmla="*/ 34 h 659"/>
                <a:gd name="T116" fmla="*/ 175 w 531"/>
                <a:gd name="T117" fmla="*/ 35 h 659"/>
                <a:gd name="T118" fmla="*/ 194 w 531"/>
                <a:gd name="T119" fmla="*/ 28 h 659"/>
                <a:gd name="T120" fmla="*/ 206 w 531"/>
                <a:gd name="T121" fmla="*/ 18 h 659"/>
                <a:gd name="T122" fmla="*/ 225 w 531"/>
                <a:gd name="T123" fmla="*/ 2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1" h="659">
                  <a:moveTo>
                    <a:pt x="531" y="558"/>
                  </a:moveTo>
                  <a:lnTo>
                    <a:pt x="529" y="559"/>
                  </a:lnTo>
                  <a:lnTo>
                    <a:pt x="525" y="562"/>
                  </a:lnTo>
                  <a:lnTo>
                    <a:pt x="520" y="566"/>
                  </a:lnTo>
                  <a:lnTo>
                    <a:pt x="518" y="567"/>
                  </a:lnTo>
                  <a:lnTo>
                    <a:pt x="517" y="569"/>
                  </a:lnTo>
                  <a:lnTo>
                    <a:pt x="516" y="570"/>
                  </a:lnTo>
                  <a:lnTo>
                    <a:pt x="515" y="571"/>
                  </a:lnTo>
                  <a:lnTo>
                    <a:pt x="514" y="573"/>
                  </a:lnTo>
                  <a:lnTo>
                    <a:pt x="512" y="575"/>
                  </a:lnTo>
                  <a:lnTo>
                    <a:pt x="511" y="578"/>
                  </a:lnTo>
                  <a:lnTo>
                    <a:pt x="510" y="580"/>
                  </a:lnTo>
                  <a:lnTo>
                    <a:pt x="509" y="583"/>
                  </a:lnTo>
                  <a:lnTo>
                    <a:pt x="508" y="587"/>
                  </a:lnTo>
                  <a:lnTo>
                    <a:pt x="507" y="589"/>
                  </a:lnTo>
                  <a:lnTo>
                    <a:pt x="507" y="591"/>
                  </a:lnTo>
                  <a:lnTo>
                    <a:pt x="507" y="593"/>
                  </a:lnTo>
                  <a:lnTo>
                    <a:pt x="506" y="595"/>
                  </a:lnTo>
                  <a:lnTo>
                    <a:pt x="506" y="596"/>
                  </a:lnTo>
                  <a:lnTo>
                    <a:pt x="506" y="598"/>
                  </a:lnTo>
                  <a:lnTo>
                    <a:pt x="507" y="606"/>
                  </a:lnTo>
                  <a:lnTo>
                    <a:pt x="507" y="609"/>
                  </a:lnTo>
                  <a:lnTo>
                    <a:pt x="507" y="611"/>
                  </a:lnTo>
                  <a:lnTo>
                    <a:pt x="507" y="614"/>
                  </a:lnTo>
                  <a:lnTo>
                    <a:pt x="506" y="621"/>
                  </a:lnTo>
                  <a:lnTo>
                    <a:pt x="506" y="626"/>
                  </a:lnTo>
                  <a:lnTo>
                    <a:pt x="506" y="627"/>
                  </a:lnTo>
                  <a:lnTo>
                    <a:pt x="506" y="629"/>
                  </a:lnTo>
                  <a:lnTo>
                    <a:pt x="505" y="630"/>
                  </a:lnTo>
                  <a:lnTo>
                    <a:pt x="505" y="632"/>
                  </a:lnTo>
                  <a:lnTo>
                    <a:pt x="504" y="633"/>
                  </a:lnTo>
                  <a:lnTo>
                    <a:pt x="504" y="635"/>
                  </a:lnTo>
                  <a:lnTo>
                    <a:pt x="503" y="636"/>
                  </a:lnTo>
                  <a:lnTo>
                    <a:pt x="502" y="637"/>
                  </a:lnTo>
                  <a:lnTo>
                    <a:pt x="501" y="639"/>
                  </a:lnTo>
                  <a:lnTo>
                    <a:pt x="500" y="640"/>
                  </a:lnTo>
                  <a:lnTo>
                    <a:pt x="500" y="640"/>
                  </a:lnTo>
                  <a:lnTo>
                    <a:pt x="499" y="641"/>
                  </a:lnTo>
                  <a:lnTo>
                    <a:pt x="498" y="641"/>
                  </a:lnTo>
                  <a:lnTo>
                    <a:pt x="498" y="641"/>
                  </a:lnTo>
                  <a:lnTo>
                    <a:pt x="497" y="642"/>
                  </a:lnTo>
                  <a:lnTo>
                    <a:pt x="496" y="642"/>
                  </a:lnTo>
                  <a:lnTo>
                    <a:pt x="495" y="642"/>
                  </a:lnTo>
                  <a:lnTo>
                    <a:pt x="494" y="642"/>
                  </a:lnTo>
                  <a:lnTo>
                    <a:pt x="492" y="643"/>
                  </a:lnTo>
                  <a:lnTo>
                    <a:pt x="491" y="643"/>
                  </a:lnTo>
                  <a:lnTo>
                    <a:pt x="490" y="642"/>
                  </a:lnTo>
                  <a:lnTo>
                    <a:pt x="489" y="642"/>
                  </a:lnTo>
                  <a:lnTo>
                    <a:pt x="488" y="642"/>
                  </a:lnTo>
                  <a:lnTo>
                    <a:pt x="487" y="642"/>
                  </a:lnTo>
                  <a:lnTo>
                    <a:pt x="486" y="641"/>
                  </a:lnTo>
                  <a:lnTo>
                    <a:pt x="486" y="641"/>
                  </a:lnTo>
                  <a:lnTo>
                    <a:pt x="485" y="640"/>
                  </a:lnTo>
                  <a:lnTo>
                    <a:pt x="484" y="639"/>
                  </a:lnTo>
                  <a:lnTo>
                    <a:pt x="483" y="639"/>
                  </a:lnTo>
                  <a:lnTo>
                    <a:pt x="482" y="637"/>
                  </a:lnTo>
                  <a:lnTo>
                    <a:pt x="479" y="633"/>
                  </a:lnTo>
                  <a:lnTo>
                    <a:pt x="478" y="632"/>
                  </a:lnTo>
                  <a:lnTo>
                    <a:pt x="477" y="631"/>
                  </a:lnTo>
                  <a:lnTo>
                    <a:pt x="476" y="630"/>
                  </a:lnTo>
                  <a:lnTo>
                    <a:pt x="474" y="629"/>
                  </a:lnTo>
                  <a:lnTo>
                    <a:pt x="473" y="629"/>
                  </a:lnTo>
                  <a:lnTo>
                    <a:pt x="471" y="628"/>
                  </a:lnTo>
                  <a:lnTo>
                    <a:pt x="470" y="627"/>
                  </a:lnTo>
                  <a:lnTo>
                    <a:pt x="469" y="627"/>
                  </a:lnTo>
                  <a:lnTo>
                    <a:pt x="468" y="626"/>
                  </a:lnTo>
                  <a:lnTo>
                    <a:pt x="467" y="625"/>
                  </a:lnTo>
                  <a:lnTo>
                    <a:pt x="466" y="624"/>
                  </a:lnTo>
                  <a:lnTo>
                    <a:pt x="466" y="623"/>
                  </a:lnTo>
                  <a:lnTo>
                    <a:pt x="463" y="620"/>
                  </a:lnTo>
                  <a:lnTo>
                    <a:pt x="462" y="619"/>
                  </a:lnTo>
                  <a:lnTo>
                    <a:pt x="461" y="618"/>
                  </a:lnTo>
                  <a:lnTo>
                    <a:pt x="461" y="617"/>
                  </a:lnTo>
                  <a:lnTo>
                    <a:pt x="460" y="617"/>
                  </a:lnTo>
                  <a:lnTo>
                    <a:pt x="459" y="617"/>
                  </a:lnTo>
                  <a:lnTo>
                    <a:pt x="458" y="616"/>
                  </a:lnTo>
                  <a:lnTo>
                    <a:pt x="457" y="617"/>
                  </a:lnTo>
                  <a:lnTo>
                    <a:pt x="456" y="617"/>
                  </a:lnTo>
                  <a:lnTo>
                    <a:pt x="455" y="617"/>
                  </a:lnTo>
                  <a:lnTo>
                    <a:pt x="454" y="618"/>
                  </a:lnTo>
                  <a:lnTo>
                    <a:pt x="445" y="623"/>
                  </a:lnTo>
                  <a:lnTo>
                    <a:pt x="444" y="624"/>
                  </a:lnTo>
                  <a:lnTo>
                    <a:pt x="442" y="625"/>
                  </a:lnTo>
                  <a:lnTo>
                    <a:pt x="441" y="625"/>
                  </a:lnTo>
                  <a:lnTo>
                    <a:pt x="440" y="626"/>
                  </a:lnTo>
                  <a:lnTo>
                    <a:pt x="439" y="626"/>
                  </a:lnTo>
                  <a:lnTo>
                    <a:pt x="438" y="626"/>
                  </a:lnTo>
                  <a:lnTo>
                    <a:pt x="437" y="626"/>
                  </a:lnTo>
                  <a:lnTo>
                    <a:pt x="436" y="626"/>
                  </a:lnTo>
                  <a:lnTo>
                    <a:pt x="435" y="626"/>
                  </a:lnTo>
                  <a:lnTo>
                    <a:pt x="434" y="625"/>
                  </a:lnTo>
                  <a:lnTo>
                    <a:pt x="430" y="624"/>
                  </a:lnTo>
                  <a:lnTo>
                    <a:pt x="424" y="622"/>
                  </a:lnTo>
                  <a:lnTo>
                    <a:pt x="422" y="621"/>
                  </a:lnTo>
                  <a:lnTo>
                    <a:pt x="417" y="619"/>
                  </a:lnTo>
                  <a:lnTo>
                    <a:pt x="415" y="618"/>
                  </a:lnTo>
                  <a:lnTo>
                    <a:pt x="414" y="617"/>
                  </a:lnTo>
                  <a:lnTo>
                    <a:pt x="413" y="617"/>
                  </a:lnTo>
                  <a:lnTo>
                    <a:pt x="412" y="616"/>
                  </a:lnTo>
                  <a:lnTo>
                    <a:pt x="411" y="615"/>
                  </a:lnTo>
                  <a:lnTo>
                    <a:pt x="409" y="612"/>
                  </a:lnTo>
                  <a:lnTo>
                    <a:pt x="407" y="611"/>
                  </a:lnTo>
                  <a:lnTo>
                    <a:pt x="403" y="607"/>
                  </a:lnTo>
                  <a:lnTo>
                    <a:pt x="401" y="605"/>
                  </a:lnTo>
                  <a:lnTo>
                    <a:pt x="400" y="604"/>
                  </a:lnTo>
                  <a:lnTo>
                    <a:pt x="399" y="603"/>
                  </a:lnTo>
                  <a:lnTo>
                    <a:pt x="398" y="603"/>
                  </a:lnTo>
                  <a:lnTo>
                    <a:pt x="398" y="603"/>
                  </a:lnTo>
                  <a:lnTo>
                    <a:pt x="396" y="603"/>
                  </a:lnTo>
                  <a:lnTo>
                    <a:pt x="396" y="603"/>
                  </a:lnTo>
                  <a:lnTo>
                    <a:pt x="395" y="603"/>
                  </a:lnTo>
                  <a:lnTo>
                    <a:pt x="394" y="604"/>
                  </a:lnTo>
                  <a:lnTo>
                    <a:pt x="393" y="604"/>
                  </a:lnTo>
                  <a:lnTo>
                    <a:pt x="393" y="605"/>
                  </a:lnTo>
                  <a:lnTo>
                    <a:pt x="392" y="605"/>
                  </a:lnTo>
                  <a:lnTo>
                    <a:pt x="392" y="606"/>
                  </a:lnTo>
                  <a:lnTo>
                    <a:pt x="391" y="606"/>
                  </a:lnTo>
                  <a:lnTo>
                    <a:pt x="391" y="607"/>
                  </a:lnTo>
                  <a:lnTo>
                    <a:pt x="391" y="608"/>
                  </a:lnTo>
                  <a:lnTo>
                    <a:pt x="391" y="613"/>
                  </a:lnTo>
                  <a:lnTo>
                    <a:pt x="390" y="615"/>
                  </a:lnTo>
                  <a:lnTo>
                    <a:pt x="390" y="617"/>
                  </a:lnTo>
                  <a:lnTo>
                    <a:pt x="389" y="620"/>
                  </a:lnTo>
                  <a:lnTo>
                    <a:pt x="388" y="624"/>
                  </a:lnTo>
                  <a:lnTo>
                    <a:pt x="388" y="625"/>
                  </a:lnTo>
                  <a:lnTo>
                    <a:pt x="387" y="627"/>
                  </a:lnTo>
                  <a:lnTo>
                    <a:pt x="387" y="628"/>
                  </a:lnTo>
                  <a:lnTo>
                    <a:pt x="386" y="630"/>
                  </a:lnTo>
                  <a:lnTo>
                    <a:pt x="385" y="631"/>
                  </a:lnTo>
                  <a:lnTo>
                    <a:pt x="384" y="632"/>
                  </a:lnTo>
                  <a:lnTo>
                    <a:pt x="383" y="633"/>
                  </a:lnTo>
                  <a:lnTo>
                    <a:pt x="382" y="634"/>
                  </a:lnTo>
                  <a:lnTo>
                    <a:pt x="381" y="635"/>
                  </a:lnTo>
                  <a:lnTo>
                    <a:pt x="381" y="636"/>
                  </a:lnTo>
                  <a:lnTo>
                    <a:pt x="380" y="636"/>
                  </a:lnTo>
                  <a:lnTo>
                    <a:pt x="379" y="636"/>
                  </a:lnTo>
                  <a:lnTo>
                    <a:pt x="378" y="637"/>
                  </a:lnTo>
                  <a:lnTo>
                    <a:pt x="377" y="637"/>
                  </a:lnTo>
                  <a:lnTo>
                    <a:pt x="372" y="637"/>
                  </a:lnTo>
                  <a:lnTo>
                    <a:pt x="370" y="638"/>
                  </a:lnTo>
                  <a:lnTo>
                    <a:pt x="368" y="638"/>
                  </a:lnTo>
                  <a:lnTo>
                    <a:pt x="367" y="638"/>
                  </a:lnTo>
                  <a:lnTo>
                    <a:pt x="367" y="639"/>
                  </a:lnTo>
                  <a:lnTo>
                    <a:pt x="366" y="639"/>
                  </a:lnTo>
                  <a:lnTo>
                    <a:pt x="365" y="640"/>
                  </a:lnTo>
                  <a:lnTo>
                    <a:pt x="365" y="640"/>
                  </a:lnTo>
                  <a:lnTo>
                    <a:pt x="364" y="642"/>
                  </a:lnTo>
                  <a:lnTo>
                    <a:pt x="363" y="644"/>
                  </a:lnTo>
                  <a:lnTo>
                    <a:pt x="362" y="646"/>
                  </a:lnTo>
                  <a:lnTo>
                    <a:pt x="362" y="646"/>
                  </a:lnTo>
                  <a:lnTo>
                    <a:pt x="362" y="647"/>
                  </a:lnTo>
                  <a:lnTo>
                    <a:pt x="361" y="648"/>
                  </a:lnTo>
                  <a:lnTo>
                    <a:pt x="360" y="648"/>
                  </a:lnTo>
                  <a:lnTo>
                    <a:pt x="359" y="649"/>
                  </a:lnTo>
                  <a:lnTo>
                    <a:pt x="358" y="649"/>
                  </a:lnTo>
                  <a:lnTo>
                    <a:pt x="356" y="650"/>
                  </a:lnTo>
                  <a:lnTo>
                    <a:pt x="354" y="651"/>
                  </a:lnTo>
                  <a:lnTo>
                    <a:pt x="353" y="651"/>
                  </a:lnTo>
                  <a:lnTo>
                    <a:pt x="352" y="651"/>
                  </a:lnTo>
                  <a:lnTo>
                    <a:pt x="351" y="652"/>
                  </a:lnTo>
                  <a:lnTo>
                    <a:pt x="350" y="653"/>
                  </a:lnTo>
                  <a:lnTo>
                    <a:pt x="349" y="653"/>
                  </a:lnTo>
                  <a:lnTo>
                    <a:pt x="346" y="656"/>
                  </a:lnTo>
                  <a:lnTo>
                    <a:pt x="345" y="657"/>
                  </a:lnTo>
                  <a:lnTo>
                    <a:pt x="344" y="658"/>
                  </a:lnTo>
                  <a:lnTo>
                    <a:pt x="343" y="659"/>
                  </a:lnTo>
                  <a:lnTo>
                    <a:pt x="342" y="659"/>
                  </a:lnTo>
                  <a:lnTo>
                    <a:pt x="340" y="659"/>
                  </a:lnTo>
                  <a:lnTo>
                    <a:pt x="339" y="659"/>
                  </a:lnTo>
                  <a:lnTo>
                    <a:pt x="339" y="659"/>
                  </a:lnTo>
                  <a:lnTo>
                    <a:pt x="338" y="659"/>
                  </a:lnTo>
                  <a:lnTo>
                    <a:pt x="337" y="658"/>
                  </a:lnTo>
                  <a:lnTo>
                    <a:pt x="333" y="657"/>
                  </a:lnTo>
                  <a:lnTo>
                    <a:pt x="328" y="654"/>
                  </a:lnTo>
                  <a:lnTo>
                    <a:pt x="324" y="652"/>
                  </a:lnTo>
                  <a:lnTo>
                    <a:pt x="313" y="647"/>
                  </a:lnTo>
                  <a:lnTo>
                    <a:pt x="311" y="646"/>
                  </a:lnTo>
                  <a:lnTo>
                    <a:pt x="309" y="645"/>
                  </a:lnTo>
                  <a:lnTo>
                    <a:pt x="308" y="645"/>
                  </a:lnTo>
                  <a:lnTo>
                    <a:pt x="307" y="644"/>
                  </a:lnTo>
                  <a:lnTo>
                    <a:pt x="302" y="644"/>
                  </a:lnTo>
                  <a:lnTo>
                    <a:pt x="299" y="643"/>
                  </a:lnTo>
                  <a:lnTo>
                    <a:pt x="297" y="643"/>
                  </a:lnTo>
                  <a:lnTo>
                    <a:pt x="291" y="640"/>
                  </a:lnTo>
                  <a:lnTo>
                    <a:pt x="284" y="638"/>
                  </a:lnTo>
                  <a:lnTo>
                    <a:pt x="280" y="637"/>
                  </a:lnTo>
                  <a:lnTo>
                    <a:pt x="279" y="637"/>
                  </a:lnTo>
                  <a:lnTo>
                    <a:pt x="277" y="636"/>
                  </a:lnTo>
                  <a:lnTo>
                    <a:pt x="274" y="636"/>
                  </a:lnTo>
                  <a:lnTo>
                    <a:pt x="269" y="636"/>
                  </a:lnTo>
                  <a:lnTo>
                    <a:pt x="268" y="636"/>
                  </a:lnTo>
                  <a:lnTo>
                    <a:pt x="266" y="636"/>
                  </a:lnTo>
                  <a:lnTo>
                    <a:pt x="260" y="635"/>
                  </a:lnTo>
                  <a:lnTo>
                    <a:pt x="258" y="634"/>
                  </a:lnTo>
                  <a:lnTo>
                    <a:pt x="254" y="634"/>
                  </a:lnTo>
                  <a:lnTo>
                    <a:pt x="253" y="634"/>
                  </a:lnTo>
                  <a:lnTo>
                    <a:pt x="251" y="634"/>
                  </a:lnTo>
                  <a:lnTo>
                    <a:pt x="246" y="635"/>
                  </a:lnTo>
                  <a:lnTo>
                    <a:pt x="244" y="635"/>
                  </a:lnTo>
                  <a:lnTo>
                    <a:pt x="242" y="635"/>
                  </a:lnTo>
                  <a:lnTo>
                    <a:pt x="241" y="635"/>
                  </a:lnTo>
                  <a:lnTo>
                    <a:pt x="240" y="635"/>
                  </a:lnTo>
                  <a:lnTo>
                    <a:pt x="239" y="635"/>
                  </a:lnTo>
                  <a:lnTo>
                    <a:pt x="238" y="634"/>
                  </a:lnTo>
                  <a:lnTo>
                    <a:pt x="235" y="633"/>
                  </a:lnTo>
                  <a:lnTo>
                    <a:pt x="234" y="632"/>
                  </a:lnTo>
                  <a:lnTo>
                    <a:pt x="231" y="632"/>
                  </a:lnTo>
                  <a:lnTo>
                    <a:pt x="227" y="631"/>
                  </a:lnTo>
                  <a:lnTo>
                    <a:pt x="226" y="630"/>
                  </a:lnTo>
                  <a:lnTo>
                    <a:pt x="225" y="630"/>
                  </a:lnTo>
                  <a:lnTo>
                    <a:pt x="224" y="630"/>
                  </a:lnTo>
                  <a:lnTo>
                    <a:pt x="222" y="628"/>
                  </a:lnTo>
                  <a:lnTo>
                    <a:pt x="219" y="625"/>
                  </a:lnTo>
                  <a:lnTo>
                    <a:pt x="218" y="624"/>
                  </a:lnTo>
                  <a:lnTo>
                    <a:pt x="217" y="624"/>
                  </a:lnTo>
                  <a:lnTo>
                    <a:pt x="216" y="622"/>
                  </a:lnTo>
                  <a:lnTo>
                    <a:pt x="215" y="621"/>
                  </a:lnTo>
                  <a:lnTo>
                    <a:pt x="215" y="620"/>
                  </a:lnTo>
                  <a:lnTo>
                    <a:pt x="214" y="619"/>
                  </a:lnTo>
                  <a:lnTo>
                    <a:pt x="213" y="616"/>
                  </a:lnTo>
                  <a:lnTo>
                    <a:pt x="212" y="615"/>
                  </a:lnTo>
                  <a:lnTo>
                    <a:pt x="212" y="614"/>
                  </a:lnTo>
                  <a:lnTo>
                    <a:pt x="211" y="614"/>
                  </a:lnTo>
                  <a:lnTo>
                    <a:pt x="211" y="613"/>
                  </a:lnTo>
                  <a:lnTo>
                    <a:pt x="209" y="611"/>
                  </a:lnTo>
                  <a:lnTo>
                    <a:pt x="208" y="610"/>
                  </a:lnTo>
                  <a:lnTo>
                    <a:pt x="207" y="609"/>
                  </a:lnTo>
                  <a:lnTo>
                    <a:pt x="206" y="608"/>
                  </a:lnTo>
                  <a:lnTo>
                    <a:pt x="205" y="607"/>
                  </a:lnTo>
                  <a:lnTo>
                    <a:pt x="205" y="606"/>
                  </a:lnTo>
                  <a:lnTo>
                    <a:pt x="204" y="605"/>
                  </a:lnTo>
                  <a:lnTo>
                    <a:pt x="204" y="604"/>
                  </a:lnTo>
                  <a:lnTo>
                    <a:pt x="204" y="603"/>
                  </a:lnTo>
                  <a:lnTo>
                    <a:pt x="204" y="603"/>
                  </a:lnTo>
                  <a:lnTo>
                    <a:pt x="205" y="602"/>
                  </a:lnTo>
                  <a:lnTo>
                    <a:pt x="205" y="601"/>
                  </a:lnTo>
                  <a:lnTo>
                    <a:pt x="205" y="600"/>
                  </a:lnTo>
                  <a:lnTo>
                    <a:pt x="206" y="599"/>
                  </a:lnTo>
                  <a:lnTo>
                    <a:pt x="207" y="599"/>
                  </a:lnTo>
                  <a:lnTo>
                    <a:pt x="207" y="598"/>
                  </a:lnTo>
                  <a:lnTo>
                    <a:pt x="209" y="597"/>
                  </a:lnTo>
                  <a:lnTo>
                    <a:pt x="210" y="596"/>
                  </a:lnTo>
                  <a:lnTo>
                    <a:pt x="211" y="595"/>
                  </a:lnTo>
                  <a:lnTo>
                    <a:pt x="215" y="594"/>
                  </a:lnTo>
                  <a:lnTo>
                    <a:pt x="216" y="593"/>
                  </a:lnTo>
                  <a:lnTo>
                    <a:pt x="216" y="593"/>
                  </a:lnTo>
                  <a:lnTo>
                    <a:pt x="217" y="592"/>
                  </a:lnTo>
                  <a:lnTo>
                    <a:pt x="217" y="591"/>
                  </a:lnTo>
                  <a:lnTo>
                    <a:pt x="218" y="591"/>
                  </a:lnTo>
                  <a:lnTo>
                    <a:pt x="218" y="590"/>
                  </a:lnTo>
                  <a:lnTo>
                    <a:pt x="219" y="589"/>
                  </a:lnTo>
                  <a:lnTo>
                    <a:pt x="219" y="587"/>
                  </a:lnTo>
                  <a:lnTo>
                    <a:pt x="219" y="586"/>
                  </a:lnTo>
                  <a:lnTo>
                    <a:pt x="219" y="585"/>
                  </a:lnTo>
                  <a:lnTo>
                    <a:pt x="218" y="584"/>
                  </a:lnTo>
                  <a:lnTo>
                    <a:pt x="218" y="583"/>
                  </a:lnTo>
                  <a:lnTo>
                    <a:pt x="217" y="583"/>
                  </a:lnTo>
                  <a:lnTo>
                    <a:pt x="217" y="582"/>
                  </a:lnTo>
                  <a:lnTo>
                    <a:pt x="216" y="581"/>
                  </a:lnTo>
                  <a:lnTo>
                    <a:pt x="212" y="578"/>
                  </a:lnTo>
                  <a:lnTo>
                    <a:pt x="210" y="577"/>
                  </a:lnTo>
                  <a:lnTo>
                    <a:pt x="209" y="576"/>
                  </a:lnTo>
                  <a:lnTo>
                    <a:pt x="208" y="574"/>
                  </a:lnTo>
                  <a:lnTo>
                    <a:pt x="205" y="570"/>
                  </a:lnTo>
                  <a:lnTo>
                    <a:pt x="203" y="568"/>
                  </a:lnTo>
                  <a:lnTo>
                    <a:pt x="201" y="566"/>
                  </a:lnTo>
                  <a:lnTo>
                    <a:pt x="200" y="564"/>
                  </a:lnTo>
                  <a:lnTo>
                    <a:pt x="198" y="563"/>
                  </a:lnTo>
                  <a:lnTo>
                    <a:pt x="197" y="562"/>
                  </a:lnTo>
                  <a:lnTo>
                    <a:pt x="196" y="561"/>
                  </a:lnTo>
                  <a:lnTo>
                    <a:pt x="195" y="560"/>
                  </a:lnTo>
                  <a:lnTo>
                    <a:pt x="194" y="560"/>
                  </a:lnTo>
                  <a:lnTo>
                    <a:pt x="193" y="559"/>
                  </a:lnTo>
                  <a:lnTo>
                    <a:pt x="190" y="558"/>
                  </a:lnTo>
                  <a:lnTo>
                    <a:pt x="186" y="557"/>
                  </a:lnTo>
                  <a:lnTo>
                    <a:pt x="184" y="556"/>
                  </a:lnTo>
                  <a:lnTo>
                    <a:pt x="182" y="555"/>
                  </a:lnTo>
                  <a:lnTo>
                    <a:pt x="180" y="554"/>
                  </a:lnTo>
                  <a:lnTo>
                    <a:pt x="178" y="553"/>
                  </a:lnTo>
                  <a:lnTo>
                    <a:pt x="177" y="553"/>
                  </a:lnTo>
                  <a:lnTo>
                    <a:pt x="172" y="549"/>
                  </a:lnTo>
                  <a:lnTo>
                    <a:pt x="171" y="548"/>
                  </a:lnTo>
                  <a:lnTo>
                    <a:pt x="170" y="547"/>
                  </a:lnTo>
                  <a:lnTo>
                    <a:pt x="168" y="546"/>
                  </a:lnTo>
                  <a:lnTo>
                    <a:pt x="167" y="544"/>
                  </a:lnTo>
                  <a:lnTo>
                    <a:pt x="165" y="542"/>
                  </a:lnTo>
                  <a:lnTo>
                    <a:pt x="159" y="535"/>
                  </a:lnTo>
                  <a:lnTo>
                    <a:pt x="156" y="533"/>
                  </a:lnTo>
                  <a:lnTo>
                    <a:pt x="154" y="531"/>
                  </a:lnTo>
                  <a:lnTo>
                    <a:pt x="152" y="529"/>
                  </a:lnTo>
                  <a:lnTo>
                    <a:pt x="150" y="528"/>
                  </a:lnTo>
                  <a:lnTo>
                    <a:pt x="148" y="526"/>
                  </a:lnTo>
                  <a:lnTo>
                    <a:pt x="146" y="524"/>
                  </a:lnTo>
                  <a:lnTo>
                    <a:pt x="144" y="523"/>
                  </a:lnTo>
                  <a:lnTo>
                    <a:pt x="142" y="522"/>
                  </a:lnTo>
                  <a:lnTo>
                    <a:pt x="140" y="521"/>
                  </a:lnTo>
                  <a:lnTo>
                    <a:pt x="138" y="520"/>
                  </a:lnTo>
                  <a:lnTo>
                    <a:pt x="136" y="519"/>
                  </a:lnTo>
                  <a:lnTo>
                    <a:pt x="134" y="518"/>
                  </a:lnTo>
                  <a:lnTo>
                    <a:pt x="125" y="516"/>
                  </a:lnTo>
                  <a:lnTo>
                    <a:pt x="123" y="515"/>
                  </a:lnTo>
                  <a:lnTo>
                    <a:pt x="121" y="514"/>
                  </a:lnTo>
                  <a:lnTo>
                    <a:pt x="120" y="514"/>
                  </a:lnTo>
                  <a:lnTo>
                    <a:pt x="118" y="513"/>
                  </a:lnTo>
                  <a:lnTo>
                    <a:pt x="117" y="512"/>
                  </a:lnTo>
                  <a:lnTo>
                    <a:pt x="117" y="512"/>
                  </a:lnTo>
                  <a:lnTo>
                    <a:pt x="116" y="511"/>
                  </a:lnTo>
                  <a:lnTo>
                    <a:pt x="115" y="510"/>
                  </a:lnTo>
                  <a:lnTo>
                    <a:pt x="115" y="508"/>
                  </a:lnTo>
                  <a:lnTo>
                    <a:pt x="114" y="506"/>
                  </a:lnTo>
                  <a:lnTo>
                    <a:pt x="114" y="505"/>
                  </a:lnTo>
                  <a:lnTo>
                    <a:pt x="113" y="501"/>
                  </a:lnTo>
                  <a:lnTo>
                    <a:pt x="113" y="499"/>
                  </a:lnTo>
                  <a:lnTo>
                    <a:pt x="113" y="498"/>
                  </a:lnTo>
                  <a:lnTo>
                    <a:pt x="112" y="496"/>
                  </a:lnTo>
                  <a:lnTo>
                    <a:pt x="111" y="493"/>
                  </a:lnTo>
                  <a:lnTo>
                    <a:pt x="108" y="487"/>
                  </a:lnTo>
                  <a:lnTo>
                    <a:pt x="107" y="485"/>
                  </a:lnTo>
                  <a:lnTo>
                    <a:pt x="107" y="483"/>
                  </a:lnTo>
                  <a:lnTo>
                    <a:pt x="105" y="481"/>
                  </a:lnTo>
                  <a:lnTo>
                    <a:pt x="105" y="480"/>
                  </a:lnTo>
                  <a:lnTo>
                    <a:pt x="104" y="480"/>
                  </a:lnTo>
                  <a:lnTo>
                    <a:pt x="103" y="479"/>
                  </a:lnTo>
                  <a:lnTo>
                    <a:pt x="103" y="478"/>
                  </a:lnTo>
                  <a:lnTo>
                    <a:pt x="99" y="476"/>
                  </a:lnTo>
                  <a:lnTo>
                    <a:pt x="98" y="475"/>
                  </a:lnTo>
                  <a:lnTo>
                    <a:pt x="97" y="474"/>
                  </a:lnTo>
                  <a:lnTo>
                    <a:pt x="97" y="473"/>
                  </a:lnTo>
                  <a:lnTo>
                    <a:pt x="96" y="473"/>
                  </a:lnTo>
                  <a:lnTo>
                    <a:pt x="95" y="472"/>
                  </a:lnTo>
                  <a:lnTo>
                    <a:pt x="95" y="470"/>
                  </a:lnTo>
                  <a:lnTo>
                    <a:pt x="94" y="469"/>
                  </a:lnTo>
                  <a:lnTo>
                    <a:pt x="93" y="467"/>
                  </a:lnTo>
                  <a:lnTo>
                    <a:pt x="92" y="465"/>
                  </a:lnTo>
                  <a:lnTo>
                    <a:pt x="90" y="459"/>
                  </a:lnTo>
                  <a:lnTo>
                    <a:pt x="88" y="454"/>
                  </a:lnTo>
                  <a:lnTo>
                    <a:pt x="87" y="451"/>
                  </a:lnTo>
                  <a:lnTo>
                    <a:pt x="86" y="449"/>
                  </a:lnTo>
                  <a:lnTo>
                    <a:pt x="85" y="448"/>
                  </a:lnTo>
                  <a:lnTo>
                    <a:pt x="84" y="446"/>
                  </a:lnTo>
                  <a:lnTo>
                    <a:pt x="83" y="445"/>
                  </a:lnTo>
                  <a:lnTo>
                    <a:pt x="82" y="444"/>
                  </a:lnTo>
                  <a:lnTo>
                    <a:pt x="82" y="444"/>
                  </a:lnTo>
                  <a:lnTo>
                    <a:pt x="81" y="444"/>
                  </a:lnTo>
                  <a:lnTo>
                    <a:pt x="80" y="443"/>
                  </a:lnTo>
                  <a:lnTo>
                    <a:pt x="79" y="443"/>
                  </a:lnTo>
                  <a:lnTo>
                    <a:pt x="75" y="444"/>
                  </a:lnTo>
                  <a:lnTo>
                    <a:pt x="72" y="444"/>
                  </a:lnTo>
                  <a:lnTo>
                    <a:pt x="70" y="444"/>
                  </a:lnTo>
                  <a:lnTo>
                    <a:pt x="66" y="444"/>
                  </a:lnTo>
                  <a:lnTo>
                    <a:pt x="65" y="444"/>
                  </a:lnTo>
                  <a:lnTo>
                    <a:pt x="63" y="444"/>
                  </a:lnTo>
                  <a:lnTo>
                    <a:pt x="61" y="443"/>
                  </a:lnTo>
                  <a:lnTo>
                    <a:pt x="60" y="443"/>
                  </a:lnTo>
                  <a:lnTo>
                    <a:pt x="58" y="442"/>
                  </a:lnTo>
                  <a:lnTo>
                    <a:pt x="58" y="442"/>
                  </a:lnTo>
                  <a:lnTo>
                    <a:pt x="57" y="441"/>
                  </a:lnTo>
                  <a:lnTo>
                    <a:pt x="56" y="440"/>
                  </a:lnTo>
                  <a:lnTo>
                    <a:pt x="55" y="439"/>
                  </a:lnTo>
                  <a:lnTo>
                    <a:pt x="51" y="435"/>
                  </a:lnTo>
                  <a:lnTo>
                    <a:pt x="50" y="434"/>
                  </a:lnTo>
                  <a:lnTo>
                    <a:pt x="49" y="432"/>
                  </a:lnTo>
                  <a:lnTo>
                    <a:pt x="47" y="430"/>
                  </a:lnTo>
                  <a:lnTo>
                    <a:pt x="46" y="427"/>
                  </a:lnTo>
                  <a:lnTo>
                    <a:pt x="43" y="422"/>
                  </a:lnTo>
                  <a:lnTo>
                    <a:pt x="42" y="419"/>
                  </a:lnTo>
                  <a:lnTo>
                    <a:pt x="40" y="413"/>
                  </a:lnTo>
                  <a:lnTo>
                    <a:pt x="37" y="408"/>
                  </a:lnTo>
                  <a:lnTo>
                    <a:pt x="36" y="404"/>
                  </a:lnTo>
                  <a:lnTo>
                    <a:pt x="35" y="403"/>
                  </a:lnTo>
                  <a:lnTo>
                    <a:pt x="35" y="402"/>
                  </a:lnTo>
                  <a:lnTo>
                    <a:pt x="34" y="402"/>
                  </a:lnTo>
                  <a:lnTo>
                    <a:pt x="34" y="402"/>
                  </a:lnTo>
                  <a:lnTo>
                    <a:pt x="34" y="401"/>
                  </a:lnTo>
                  <a:lnTo>
                    <a:pt x="33" y="401"/>
                  </a:lnTo>
                  <a:lnTo>
                    <a:pt x="32" y="401"/>
                  </a:lnTo>
                  <a:lnTo>
                    <a:pt x="29" y="401"/>
                  </a:lnTo>
                  <a:lnTo>
                    <a:pt x="28" y="401"/>
                  </a:lnTo>
                  <a:lnTo>
                    <a:pt x="27" y="401"/>
                  </a:lnTo>
                  <a:lnTo>
                    <a:pt x="26" y="400"/>
                  </a:lnTo>
                  <a:lnTo>
                    <a:pt x="25" y="399"/>
                  </a:lnTo>
                  <a:lnTo>
                    <a:pt x="24" y="398"/>
                  </a:lnTo>
                  <a:lnTo>
                    <a:pt x="23" y="396"/>
                  </a:lnTo>
                  <a:lnTo>
                    <a:pt x="21" y="393"/>
                  </a:lnTo>
                  <a:lnTo>
                    <a:pt x="20" y="392"/>
                  </a:lnTo>
                  <a:lnTo>
                    <a:pt x="19" y="391"/>
                  </a:lnTo>
                  <a:lnTo>
                    <a:pt x="18" y="390"/>
                  </a:lnTo>
                  <a:lnTo>
                    <a:pt x="17" y="389"/>
                  </a:lnTo>
                  <a:lnTo>
                    <a:pt x="16" y="388"/>
                  </a:lnTo>
                  <a:lnTo>
                    <a:pt x="15" y="388"/>
                  </a:lnTo>
                  <a:lnTo>
                    <a:pt x="14" y="387"/>
                  </a:lnTo>
                  <a:lnTo>
                    <a:pt x="13" y="387"/>
                  </a:lnTo>
                  <a:lnTo>
                    <a:pt x="12" y="387"/>
                  </a:lnTo>
                  <a:lnTo>
                    <a:pt x="10" y="386"/>
                  </a:lnTo>
                  <a:lnTo>
                    <a:pt x="8" y="386"/>
                  </a:lnTo>
                  <a:lnTo>
                    <a:pt x="6" y="386"/>
                  </a:lnTo>
                  <a:lnTo>
                    <a:pt x="5" y="386"/>
                  </a:lnTo>
                  <a:lnTo>
                    <a:pt x="4" y="386"/>
                  </a:lnTo>
                  <a:lnTo>
                    <a:pt x="4" y="386"/>
                  </a:lnTo>
                  <a:lnTo>
                    <a:pt x="4" y="384"/>
                  </a:lnTo>
                  <a:lnTo>
                    <a:pt x="2" y="379"/>
                  </a:lnTo>
                  <a:lnTo>
                    <a:pt x="1" y="378"/>
                  </a:lnTo>
                  <a:lnTo>
                    <a:pt x="1" y="376"/>
                  </a:lnTo>
                  <a:lnTo>
                    <a:pt x="1" y="375"/>
                  </a:lnTo>
                  <a:lnTo>
                    <a:pt x="1" y="374"/>
                  </a:lnTo>
                  <a:lnTo>
                    <a:pt x="0" y="372"/>
                  </a:lnTo>
                  <a:lnTo>
                    <a:pt x="0" y="370"/>
                  </a:lnTo>
                  <a:lnTo>
                    <a:pt x="0" y="368"/>
                  </a:lnTo>
                  <a:lnTo>
                    <a:pt x="0" y="366"/>
                  </a:lnTo>
                  <a:lnTo>
                    <a:pt x="1" y="364"/>
                  </a:lnTo>
                  <a:lnTo>
                    <a:pt x="1" y="362"/>
                  </a:lnTo>
                  <a:lnTo>
                    <a:pt x="2" y="358"/>
                  </a:lnTo>
                  <a:lnTo>
                    <a:pt x="2" y="356"/>
                  </a:lnTo>
                  <a:lnTo>
                    <a:pt x="3" y="353"/>
                  </a:lnTo>
                  <a:lnTo>
                    <a:pt x="3" y="352"/>
                  </a:lnTo>
                  <a:lnTo>
                    <a:pt x="4" y="350"/>
                  </a:lnTo>
                  <a:lnTo>
                    <a:pt x="5" y="348"/>
                  </a:lnTo>
                  <a:lnTo>
                    <a:pt x="6" y="345"/>
                  </a:lnTo>
                  <a:lnTo>
                    <a:pt x="8" y="342"/>
                  </a:lnTo>
                  <a:lnTo>
                    <a:pt x="9" y="340"/>
                  </a:lnTo>
                  <a:lnTo>
                    <a:pt x="10" y="339"/>
                  </a:lnTo>
                  <a:lnTo>
                    <a:pt x="11" y="338"/>
                  </a:lnTo>
                  <a:lnTo>
                    <a:pt x="12" y="337"/>
                  </a:lnTo>
                  <a:lnTo>
                    <a:pt x="13" y="336"/>
                  </a:lnTo>
                  <a:lnTo>
                    <a:pt x="14" y="336"/>
                  </a:lnTo>
                  <a:lnTo>
                    <a:pt x="15" y="335"/>
                  </a:lnTo>
                  <a:lnTo>
                    <a:pt x="16" y="335"/>
                  </a:lnTo>
                  <a:lnTo>
                    <a:pt x="19" y="333"/>
                  </a:lnTo>
                  <a:lnTo>
                    <a:pt x="20" y="333"/>
                  </a:lnTo>
                  <a:lnTo>
                    <a:pt x="21" y="332"/>
                  </a:lnTo>
                  <a:lnTo>
                    <a:pt x="23" y="331"/>
                  </a:lnTo>
                  <a:lnTo>
                    <a:pt x="23" y="330"/>
                  </a:lnTo>
                  <a:lnTo>
                    <a:pt x="24" y="329"/>
                  </a:lnTo>
                  <a:lnTo>
                    <a:pt x="25" y="328"/>
                  </a:lnTo>
                  <a:lnTo>
                    <a:pt x="25" y="328"/>
                  </a:lnTo>
                  <a:lnTo>
                    <a:pt x="26" y="327"/>
                  </a:lnTo>
                  <a:lnTo>
                    <a:pt x="26" y="326"/>
                  </a:lnTo>
                  <a:lnTo>
                    <a:pt x="26" y="325"/>
                  </a:lnTo>
                  <a:lnTo>
                    <a:pt x="27" y="324"/>
                  </a:lnTo>
                  <a:lnTo>
                    <a:pt x="27" y="322"/>
                  </a:lnTo>
                  <a:lnTo>
                    <a:pt x="27" y="320"/>
                  </a:lnTo>
                  <a:lnTo>
                    <a:pt x="27" y="318"/>
                  </a:lnTo>
                  <a:lnTo>
                    <a:pt x="27" y="316"/>
                  </a:lnTo>
                  <a:lnTo>
                    <a:pt x="25" y="310"/>
                  </a:lnTo>
                  <a:lnTo>
                    <a:pt x="25" y="309"/>
                  </a:lnTo>
                  <a:lnTo>
                    <a:pt x="24" y="307"/>
                  </a:lnTo>
                  <a:lnTo>
                    <a:pt x="23" y="303"/>
                  </a:lnTo>
                  <a:lnTo>
                    <a:pt x="22" y="302"/>
                  </a:lnTo>
                  <a:lnTo>
                    <a:pt x="22" y="300"/>
                  </a:lnTo>
                  <a:lnTo>
                    <a:pt x="22" y="299"/>
                  </a:lnTo>
                  <a:lnTo>
                    <a:pt x="22" y="298"/>
                  </a:lnTo>
                  <a:lnTo>
                    <a:pt x="22" y="296"/>
                  </a:lnTo>
                  <a:lnTo>
                    <a:pt x="23" y="293"/>
                  </a:lnTo>
                  <a:lnTo>
                    <a:pt x="23" y="291"/>
                  </a:lnTo>
                  <a:lnTo>
                    <a:pt x="24" y="289"/>
                  </a:lnTo>
                  <a:lnTo>
                    <a:pt x="24" y="283"/>
                  </a:lnTo>
                  <a:lnTo>
                    <a:pt x="24" y="281"/>
                  </a:lnTo>
                  <a:lnTo>
                    <a:pt x="25" y="278"/>
                  </a:lnTo>
                  <a:lnTo>
                    <a:pt x="26" y="273"/>
                  </a:lnTo>
                  <a:lnTo>
                    <a:pt x="26" y="272"/>
                  </a:lnTo>
                  <a:lnTo>
                    <a:pt x="26" y="271"/>
                  </a:lnTo>
                  <a:lnTo>
                    <a:pt x="27" y="271"/>
                  </a:lnTo>
                  <a:lnTo>
                    <a:pt x="27" y="271"/>
                  </a:lnTo>
                  <a:lnTo>
                    <a:pt x="28" y="271"/>
                  </a:lnTo>
                  <a:lnTo>
                    <a:pt x="29" y="271"/>
                  </a:lnTo>
                  <a:lnTo>
                    <a:pt x="30" y="271"/>
                  </a:lnTo>
                  <a:lnTo>
                    <a:pt x="35" y="272"/>
                  </a:lnTo>
                  <a:lnTo>
                    <a:pt x="37" y="272"/>
                  </a:lnTo>
                  <a:lnTo>
                    <a:pt x="38" y="272"/>
                  </a:lnTo>
                  <a:lnTo>
                    <a:pt x="39" y="272"/>
                  </a:lnTo>
                  <a:lnTo>
                    <a:pt x="40" y="272"/>
                  </a:lnTo>
                  <a:lnTo>
                    <a:pt x="41" y="272"/>
                  </a:lnTo>
                  <a:lnTo>
                    <a:pt x="42" y="271"/>
                  </a:lnTo>
                  <a:lnTo>
                    <a:pt x="44" y="271"/>
                  </a:lnTo>
                  <a:lnTo>
                    <a:pt x="45" y="270"/>
                  </a:lnTo>
                  <a:lnTo>
                    <a:pt x="46" y="270"/>
                  </a:lnTo>
                  <a:lnTo>
                    <a:pt x="48" y="269"/>
                  </a:lnTo>
                  <a:lnTo>
                    <a:pt x="50" y="267"/>
                  </a:lnTo>
                  <a:lnTo>
                    <a:pt x="54" y="264"/>
                  </a:lnTo>
                  <a:lnTo>
                    <a:pt x="55" y="263"/>
                  </a:lnTo>
                  <a:lnTo>
                    <a:pt x="57" y="262"/>
                  </a:lnTo>
                  <a:lnTo>
                    <a:pt x="59" y="261"/>
                  </a:lnTo>
                  <a:lnTo>
                    <a:pt x="63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7" y="253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70" y="245"/>
                  </a:lnTo>
                  <a:lnTo>
                    <a:pt x="71" y="244"/>
                  </a:lnTo>
                  <a:lnTo>
                    <a:pt x="72" y="242"/>
                  </a:lnTo>
                  <a:lnTo>
                    <a:pt x="73" y="241"/>
                  </a:lnTo>
                  <a:lnTo>
                    <a:pt x="75" y="239"/>
                  </a:lnTo>
                  <a:lnTo>
                    <a:pt x="75" y="238"/>
                  </a:lnTo>
                  <a:lnTo>
                    <a:pt x="76" y="238"/>
                  </a:lnTo>
                  <a:lnTo>
                    <a:pt x="76" y="237"/>
                  </a:lnTo>
                  <a:lnTo>
                    <a:pt x="76" y="236"/>
                  </a:lnTo>
                  <a:lnTo>
                    <a:pt x="76" y="235"/>
                  </a:lnTo>
                  <a:lnTo>
                    <a:pt x="76" y="234"/>
                  </a:lnTo>
                  <a:lnTo>
                    <a:pt x="76" y="233"/>
                  </a:lnTo>
                  <a:lnTo>
                    <a:pt x="76" y="231"/>
                  </a:lnTo>
                  <a:lnTo>
                    <a:pt x="75" y="230"/>
                  </a:lnTo>
                  <a:lnTo>
                    <a:pt x="75" y="229"/>
                  </a:lnTo>
                  <a:lnTo>
                    <a:pt x="74" y="228"/>
                  </a:lnTo>
                  <a:lnTo>
                    <a:pt x="72" y="225"/>
                  </a:lnTo>
                  <a:lnTo>
                    <a:pt x="71" y="224"/>
                  </a:lnTo>
                  <a:lnTo>
                    <a:pt x="70" y="222"/>
                  </a:lnTo>
                  <a:lnTo>
                    <a:pt x="69" y="220"/>
                  </a:lnTo>
                  <a:lnTo>
                    <a:pt x="69" y="219"/>
                  </a:lnTo>
                  <a:lnTo>
                    <a:pt x="69" y="218"/>
                  </a:lnTo>
                  <a:lnTo>
                    <a:pt x="69" y="217"/>
                  </a:lnTo>
                  <a:lnTo>
                    <a:pt x="69" y="216"/>
                  </a:lnTo>
                  <a:lnTo>
                    <a:pt x="69" y="215"/>
                  </a:lnTo>
                  <a:lnTo>
                    <a:pt x="70" y="214"/>
                  </a:lnTo>
                  <a:lnTo>
                    <a:pt x="70" y="213"/>
                  </a:lnTo>
                  <a:lnTo>
                    <a:pt x="71" y="212"/>
                  </a:lnTo>
                  <a:lnTo>
                    <a:pt x="72" y="211"/>
                  </a:lnTo>
                  <a:lnTo>
                    <a:pt x="74" y="210"/>
                  </a:lnTo>
                  <a:lnTo>
                    <a:pt x="75" y="207"/>
                  </a:lnTo>
                  <a:lnTo>
                    <a:pt x="76" y="207"/>
                  </a:lnTo>
                  <a:lnTo>
                    <a:pt x="77" y="206"/>
                  </a:lnTo>
                  <a:lnTo>
                    <a:pt x="79" y="205"/>
                  </a:lnTo>
                  <a:lnTo>
                    <a:pt x="79" y="205"/>
                  </a:lnTo>
                  <a:lnTo>
                    <a:pt x="80" y="205"/>
                  </a:lnTo>
                  <a:lnTo>
                    <a:pt x="80" y="204"/>
                  </a:lnTo>
                  <a:lnTo>
                    <a:pt x="81" y="204"/>
                  </a:lnTo>
                  <a:lnTo>
                    <a:pt x="81" y="203"/>
                  </a:lnTo>
                  <a:lnTo>
                    <a:pt x="82" y="201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2" y="199"/>
                  </a:lnTo>
                  <a:lnTo>
                    <a:pt x="82" y="199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79" y="196"/>
                  </a:lnTo>
                  <a:lnTo>
                    <a:pt x="78" y="195"/>
                  </a:lnTo>
                  <a:lnTo>
                    <a:pt x="77" y="194"/>
                  </a:lnTo>
                  <a:lnTo>
                    <a:pt x="76" y="194"/>
                  </a:lnTo>
                  <a:lnTo>
                    <a:pt x="76" y="193"/>
                  </a:lnTo>
                  <a:lnTo>
                    <a:pt x="76" y="192"/>
                  </a:lnTo>
                  <a:lnTo>
                    <a:pt x="75" y="191"/>
                  </a:lnTo>
                  <a:lnTo>
                    <a:pt x="75" y="190"/>
                  </a:lnTo>
                  <a:lnTo>
                    <a:pt x="75" y="190"/>
                  </a:lnTo>
                  <a:lnTo>
                    <a:pt x="75" y="189"/>
                  </a:lnTo>
                  <a:lnTo>
                    <a:pt x="75" y="188"/>
                  </a:lnTo>
                  <a:lnTo>
                    <a:pt x="75" y="187"/>
                  </a:lnTo>
                  <a:lnTo>
                    <a:pt x="75" y="187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6" y="185"/>
                  </a:lnTo>
                  <a:lnTo>
                    <a:pt x="76" y="185"/>
                  </a:lnTo>
                  <a:lnTo>
                    <a:pt x="77" y="185"/>
                  </a:lnTo>
                  <a:lnTo>
                    <a:pt x="80" y="183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82" y="181"/>
                  </a:lnTo>
                  <a:lnTo>
                    <a:pt x="82" y="181"/>
                  </a:lnTo>
                  <a:lnTo>
                    <a:pt x="83" y="180"/>
                  </a:lnTo>
                  <a:lnTo>
                    <a:pt x="83" y="179"/>
                  </a:lnTo>
                  <a:lnTo>
                    <a:pt x="83" y="178"/>
                  </a:lnTo>
                  <a:lnTo>
                    <a:pt x="84" y="178"/>
                  </a:lnTo>
                  <a:lnTo>
                    <a:pt x="84" y="177"/>
                  </a:lnTo>
                  <a:lnTo>
                    <a:pt x="84" y="176"/>
                  </a:lnTo>
                  <a:lnTo>
                    <a:pt x="84" y="175"/>
                  </a:lnTo>
                  <a:lnTo>
                    <a:pt x="83" y="173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3" y="169"/>
                  </a:lnTo>
                  <a:lnTo>
                    <a:pt x="84" y="168"/>
                  </a:lnTo>
                  <a:lnTo>
                    <a:pt x="84" y="166"/>
                  </a:lnTo>
                  <a:lnTo>
                    <a:pt x="84" y="165"/>
                  </a:lnTo>
                  <a:lnTo>
                    <a:pt x="85" y="164"/>
                  </a:lnTo>
                  <a:lnTo>
                    <a:pt x="86" y="163"/>
                  </a:lnTo>
                  <a:lnTo>
                    <a:pt x="88" y="161"/>
                  </a:lnTo>
                  <a:lnTo>
                    <a:pt x="89" y="160"/>
                  </a:lnTo>
                  <a:lnTo>
                    <a:pt x="91" y="158"/>
                  </a:lnTo>
                  <a:lnTo>
                    <a:pt x="94" y="156"/>
                  </a:lnTo>
                  <a:lnTo>
                    <a:pt x="98" y="153"/>
                  </a:lnTo>
                  <a:lnTo>
                    <a:pt x="99" y="152"/>
                  </a:lnTo>
                  <a:lnTo>
                    <a:pt x="100" y="152"/>
                  </a:lnTo>
                  <a:lnTo>
                    <a:pt x="100" y="150"/>
                  </a:lnTo>
                  <a:lnTo>
                    <a:pt x="101" y="149"/>
                  </a:lnTo>
                  <a:lnTo>
                    <a:pt x="102" y="147"/>
                  </a:lnTo>
                  <a:lnTo>
                    <a:pt x="103" y="143"/>
                  </a:lnTo>
                  <a:lnTo>
                    <a:pt x="104" y="141"/>
                  </a:lnTo>
                  <a:lnTo>
                    <a:pt x="105" y="139"/>
                  </a:lnTo>
                  <a:lnTo>
                    <a:pt x="107" y="136"/>
                  </a:lnTo>
                  <a:lnTo>
                    <a:pt x="108" y="135"/>
                  </a:lnTo>
                  <a:lnTo>
                    <a:pt x="108" y="134"/>
                  </a:lnTo>
                  <a:lnTo>
                    <a:pt x="109" y="132"/>
                  </a:lnTo>
                  <a:lnTo>
                    <a:pt x="109" y="129"/>
                  </a:lnTo>
                  <a:lnTo>
                    <a:pt x="110" y="128"/>
                  </a:lnTo>
                  <a:lnTo>
                    <a:pt x="110" y="127"/>
                  </a:lnTo>
                  <a:lnTo>
                    <a:pt x="110" y="125"/>
                  </a:lnTo>
                  <a:lnTo>
                    <a:pt x="109" y="124"/>
                  </a:lnTo>
                  <a:lnTo>
                    <a:pt x="109" y="123"/>
                  </a:lnTo>
                  <a:lnTo>
                    <a:pt x="108" y="123"/>
                  </a:lnTo>
                  <a:lnTo>
                    <a:pt x="106" y="120"/>
                  </a:lnTo>
                  <a:lnTo>
                    <a:pt x="105" y="119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1" y="111"/>
                  </a:lnTo>
                  <a:lnTo>
                    <a:pt x="101" y="109"/>
                  </a:lnTo>
                  <a:lnTo>
                    <a:pt x="100" y="106"/>
                  </a:lnTo>
                  <a:lnTo>
                    <a:pt x="100" y="104"/>
                  </a:lnTo>
                  <a:lnTo>
                    <a:pt x="100" y="102"/>
                  </a:lnTo>
                  <a:lnTo>
                    <a:pt x="100" y="100"/>
                  </a:lnTo>
                  <a:lnTo>
                    <a:pt x="101" y="96"/>
                  </a:lnTo>
                  <a:lnTo>
                    <a:pt x="101" y="94"/>
                  </a:lnTo>
                  <a:lnTo>
                    <a:pt x="101" y="93"/>
                  </a:lnTo>
                  <a:lnTo>
                    <a:pt x="102" y="91"/>
                  </a:lnTo>
                  <a:lnTo>
                    <a:pt x="103" y="89"/>
                  </a:lnTo>
                  <a:lnTo>
                    <a:pt x="104" y="88"/>
                  </a:lnTo>
                  <a:lnTo>
                    <a:pt x="107" y="83"/>
                  </a:lnTo>
                  <a:lnTo>
                    <a:pt x="108" y="82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7" y="80"/>
                  </a:lnTo>
                  <a:lnTo>
                    <a:pt x="107" y="78"/>
                  </a:lnTo>
                  <a:lnTo>
                    <a:pt x="106" y="77"/>
                  </a:lnTo>
                  <a:lnTo>
                    <a:pt x="105" y="74"/>
                  </a:lnTo>
                  <a:lnTo>
                    <a:pt x="104" y="71"/>
                  </a:lnTo>
                  <a:lnTo>
                    <a:pt x="103" y="69"/>
                  </a:lnTo>
                  <a:lnTo>
                    <a:pt x="103" y="68"/>
                  </a:lnTo>
                  <a:lnTo>
                    <a:pt x="102" y="65"/>
                  </a:lnTo>
                  <a:lnTo>
                    <a:pt x="102" y="63"/>
                  </a:lnTo>
                  <a:lnTo>
                    <a:pt x="102" y="57"/>
                  </a:lnTo>
                  <a:lnTo>
                    <a:pt x="101" y="56"/>
                  </a:lnTo>
                  <a:lnTo>
                    <a:pt x="101" y="54"/>
                  </a:lnTo>
                  <a:lnTo>
                    <a:pt x="101" y="52"/>
                  </a:lnTo>
                  <a:lnTo>
                    <a:pt x="100" y="51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98" y="48"/>
                  </a:lnTo>
                  <a:lnTo>
                    <a:pt x="97" y="47"/>
                  </a:lnTo>
                  <a:lnTo>
                    <a:pt x="97" y="46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4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1"/>
                  </a:lnTo>
                  <a:lnTo>
                    <a:pt x="99" y="35"/>
                  </a:lnTo>
                  <a:lnTo>
                    <a:pt x="99" y="34"/>
                  </a:lnTo>
                  <a:lnTo>
                    <a:pt x="100" y="33"/>
                  </a:lnTo>
                  <a:lnTo>
                    <a:pt x="100" y="32"/>
                  </a:lnTo>
                  <a:lnTo>
                    <a:pt x="101" y="31"/>
                  </a:lnTo>
                  <a:lnTo>
                    <a:pt x="101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3" y="30"/>
                  </a:lnTo>
                  <a:lnTo>
                    <a:pt x="103" y="30"/>
                  </a:lnTo>
                  <a:lnTo>
                    <a:pt x="104" y="30"/>
                  </a:lnTo>
                  <a:lnTo>
                    <a:pt x="104" y="31"/>
                  </a:lnTo>
                  <a:lnTo>
                    <a:pt x="106" y="31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13" y="29"/>
                  </a:lnTo>
                  <a:lnTo>
                    <a:pt x="119" y="27"/>
                  </a:lnTo>
                  <a:lnTo>
                    <a:pt x="121" y="26"/>
                  </a:lnTo>
                  <a:lnTo>
                    <a:pt x="124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6" y="25"/>
                  </a:lnTo>
                  <a:lnTo>
                    <a:pt x="127" y="25"/>
                  </a:lnTo>
                  <a:lnTo>
                    <a:pt x="127" y="25"/>
                  </a:lnTo>
                  <a:lnTo>
                    <a:pt x="128" y="25"/>
                  </a:lnTo>
                  <a:lnTo>
                    <a:pt x="129" y="26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4" y="30"/>
                  </a:lnTo>
                  <a:lnTo>
                    <a:pt x="135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7" y="29"/>
                  </a:lnTo>
                  <a:lnTo>
                    <a:pt x="138" y="29"/>
                  </a:lnTo>
                  <a:lnTo>
                    <a:pt x="140" y="29"/>
                  </a:lnTo>
                  <a:lnTo>
                    <a:pt x="143" y="27"/>
                  </a:lnTo>
                  <a:lnTo>
                    <a:pt x="144" y="26"/>
                  </a:lnTo>
                  <a:lnTo>
                    <a:pt x="146" y="26"/>
                  </a:lnTo>
                  <a:lnTo>
                    <a:pt x="147" y="26"/>
                  </a:lnTo>
                  <a:lnTo>
                    <a:pt x="148" y="26"/>
                  </a:lnTo>
                  <a:lnTo>
                    <a:pt x="148" y="26"/>
                  </a:lnTo>
                  <a:lnTo>
                    <a:pt x="149" y="27"/>
                  </a:lnTo>
                  <a:lnTo>
                    <a:pt x="150" y="27"/>
                  </a:lnTo>
                  <a:lnTo>
                    <a:pt x="153" y="30"/>
                  </a:lnTo>
                  <a:lnTo>
                    <a:pt x="154" y="30"/>
                  </a:lnTo>
                  <a:lnTo>
                    <a:pt x="156" y="31"/>
                  </a:lnTo>
                  <a:lnTo>
                    <a:pt x="157" y="32"/>
                  </a:lnTo>
                  <a:lnTo>
                    <a:pt x="158" y="32"/>
                  </a:lnTo>
                  <a:lnTo>
                    <a:pt x="159" y="33"/>
                  </a:lnTo>
                  <a:lnTo>
                    <a:pt x="159" y="34"/>
                  </a:lnTo>
                  <a:lnTo>
                    <a:pt x="160" y="34"/>
                  </a:lnTo>
                  <a:lnTo>
                    <a:pt x="161" y="34"/>
                  </a:lnTo>
                  <a:lnTo>
                    <a:pt x="163" y="35"/>
                  </a:lnTo>
                  <a:lnTo>
                    <a:pt x="164" y="36"/>
                  </a:lnTo>
                  <a:lnTo>
                    <a:pt x="166" y="36"/>
                  </a:lnTo>
                  <a:lnTo>
                    <a:pt x="167" y="37"/>
                  </a:lnTo>
                  <a:lnTo>
                    <a:pt x="168" y="37"/>
                  </a:lnTo>
                  <a:lnTo>
                    <a:pt x="170" y="37"/>
                  </a:lnTo>
                  <a:lnTo>
                    <a:pt x="171" y="37"/>
                  </a:lnTo>
                  <a:lnTo>
                    <a:pt x="172" y="36"/>
                  </a:lnTo>
                  <a:lnTo>
                    <a:pt x="174" y="36"/>
                  </a:lnTo>
                  <a:lnTo>
                    <a:pt x="175" y="35"/>
                  </a:lnTo>
                  <a:lnTo>
                    <a:pt x="176" y="35"/>
                  </a:lnTo>
                  <a:lnTo>
                    <a:pt x="178" y="33"/>
                  </a:lnTo>
                  <a:lnTo>
                    <a:pt x="179" y="33"/>
                  </a:lnTo>
                  <a:lnTo>
                    <a:pt x="180" y="32"/>
                  </a:lnTo>
                  <a:lnTo>
                    <a:pt x="182" y="32"/>
                  </a:lnTo>
                  <a:lnTo>
                    <a:pt x="183" y="31"/>
                  </a:lnTo>
                  <a:lnTo>
                    <a:pt x="188" y="31"/>
                  </a:lnTo>
                  <a:lnTo>
                    <a:pt x="189" y="31"/>
                  </a:lnTo>
                  <a:lnTo>
                    <a:pt x="190" y="30"/>
                  </a:lnTo>
                  <a:lnTo>
                    <a:pt x="191" y="30"/>
                  </a:lnTo>
                  <a:lnTo>
                    <a:pt x="192" y="29"/>
                  </a:lnTo>
                  <a:lnTo>
                    <a:pt x="194" y="28"/>
                  </a:lnTo>
                  <a:lnTo>
                    <a:pt x="196" y="27"/>
                  </a:lnTo>
                  <a:lnTo>
                    <a:pt x="197" y="26"/>
                  </a:lnTo>
                  <a:lnTo>
                    <a:pt x="198" y="26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02" y="24"/>
                  </a:lnTo>
                  <a:lnTo>
                    <a:pt x="203" y="24"/>
                  </a:lnTo>
                  <a:lnTo>
                    <a:pt x="204" y="22"/>
                  </a:lnTo>
                  <a:lnTo>
                    <a:pt x="205" y="20"/>
                  </a:lnTo>
                  <a:lnTo>
                    <a:pt x="205" y="19"/>
                  </a:lnTo>
                  <a:lnTo>
                    <a:pt x="206" y="18"/>
                  </a:lnTo>
                  <a:lnTo>
                    <a:pt x="207" y="15"/>
                  </a:lnTo>
                  <a:lnTo>
                    <a:pt x="208" y="12"/>
                  </a:lnTo>
                  <a:lnTo>
                    <a:pt x="209" y="11"/>
                  </a:lnTo>
                  <a:lnTo>
                    <a:pt x="209" y="10"/>
                  </a:lnTo>
                  <a:lnTo>
                    <a:pt x="210" y="9"/>
                  </a:lnTo>
                  <a:lnTo>
                    <a:pt x="210" y="9"/>
                  </a:lnTo>
                  <a:lnTo>
                    <a:pt x="211" y="8"/>
                  </a:lnTo>
                  <a:lnTo>
                    <a:pt x="213" y="7"/>
                  </a:lnTo>
                  <a:lnTo>
                    <a:pt x="218" y="5"/>
                  </a:lnTo>
                  <a:lnTo>
                    <a:pt x="221" y="3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7" y="1"/>
                  </a:lnTo>
                  <a:lnTo>
                    <a:pt x="230" y="0"/>
                  </a:lnTo>
                  <a:lnTo>
                    <a:pt x="230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Freeform 233">
              <a:extLst>
                <a:ext uri="{FF2B5EF4-FFF2-40B4-BE49-F238E27FC236}">
                  <a16:creationId xmlns:a16="http://schemas.microsoft.com/office/drawing/2014/main" id="{672BC317-282C-4A0A-9E24-80E4CD0E9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07021" y="2458563"/>
              <a:ext cx="604294" cy="774475"/>
            </a:xfrm>
            <a:custGeom>
              <a:avLst/>
              <a:gdLst>
                <a:gd name="T0" fmla="*/ 389 w 593"/>
                <a:gd name="T1" fmla="*/ 6 h 760"/>
                <a:gd name="T2" fmla="*/ 403 w 593"/>
                <a:gd name="T3" fmla="*/ 16 h 760"/>
                <a:gd name="T4" fmla="*/ 421 w 593"/>
                <a:gd name="T5" fmla="*/ 15 h 760"/>
                <a:gd name="T6" fmla="*/ 416 w 593"/>
                <a:gd name="T7" fmla="*/ 40 h 760"/>
                <a:gd name="T8" fmla="*/ 428 w 593"/>
                <a:gd name="T9" fmla="*/ 47 h 760"/>
                <a:gd name="T10" fmla="*/ 461 w 593"/>
                <a:gd name="T11" fmla="*/ 45 h 760"/>
                <a:gd name="T12" fmla="*/ 461 w 593"/>
                <a:gd name="T13" fmla="*/ 53 h 760"/>
                <a:gd name="T14" fmla="*/ 487 w 593"/>
                <a:gd name="T15" fmla="*/ 72 h 760"/>
                <a:gd name="T16" fmla="*/ 518 w 593"/>
                <a:gd name="T17" fmla="*/ 72 h 760"/>
                <a:gd name="T18" fmla="*/ 550 w 593"/>
                <a:gd name="T19" fmla="*/ 94 h 760"/>
                <a:gd name="T20" fmla="*/ 561 w 593"/>
                <a:gd name="T21" fmla="*/ 108 h 760"/>
                <a:gd name="T22" fmla="*/ 591 w 593"/>
                <a:gd name="T23" fmla="*/ 132 h 760"/>
                <a:gd name="T24" fmla="*/ 585 w 593"/>
                <a:gd name="T25" fmla="*/ 165 h 760"/>
                <a:gd name="T26" fmla="*/ 578 w 593"/>
                <a:gd name="T27" fmla="*/ 205 h 760"/>
                <a:gd name="T28" fmla="*/ 580 w 593"/>
                <a:gd name="T29" fmla="*/ 228 h 760"/>
                <a:gd name="T30" fmla="*/ 567 w 593"/>
                <a:gd name="T31" fmla="*/ 250 h 760"/>
                <a:gd name="T32" fmla="*/ 549 w 593"/>
                <a:gd name="T33" fmla="*/ 249 h 760"/>
                <a:gd name="T34" fmla="*/ 526 w 593"/>
                <a:gd name="T35" fmla="*/ 271 h 760"/>
                <a:gd name="T36" fmla="*/ 540 w 593"/>
                <a:gd name="T37" fmla="*/ 279 h 760"/>
                <a:gd name="T38" fmla="*/ 534 w 593"/>
                <a:gd name="T39" fmla="*/ 289 h 760"/>
                <a:gd name="T40" fmla="*/ 538 w 593"/>
                <a:gd name="T41" fmla="*/ 303 h 760"/>
                <a:gd name="T42" fmla="*/ 538 w 593"/>
                <a:gd name="T43" fmla="*/ 311 h 760"/>
                <a:gd name="T44" fmla="*/ 550 w 593"/>
                <a:gd name="T45" fmla="*/ 318 h 760"/>
                <a:gd name="T46" fmla="*/ 553 w 593"/>
                <a:gd name="T47" fmla="*/ 347 h 760"/>
                <a:gd name="T48" fmla="*/ 561 w 593"/>
                <a:gd name="T49" fmla="*/ 373 h 760"/>
                <a:gd name="T50" fmla="*/ 559 w 593"/>
                <a:gd name="T51" fmla="*/ 395 h 760"/>
                <a:gd name="T52" fmla="*/ 562 w 593"/>
                <a:gd name="T53" fmla="*/ 423 h 760"/>
                <a:gd name="T54" fmla="*/ 561 w 593"/>
                <a:gd name="T55" fmla="*/ 454 h 760"/>
                <a:gd name="T56" fmla="*/ 570 w 593"/>
                <a:gd name="T57" fmla="*/ 488 h 760"/>
                <a:gd name="T58" fmla="*/ 549 w 593"/>
                <a:gd name="T59" fmla="*/ 520 h 760"/>
                <a:gd name="T60" fmla="*/ 543 w 593"/>
                <a:gd name="T61" fmla="*/ 540 h 760"/>
                <a:gd name="T62" fmla="*/ 535 w 593"/>
                <a:gd name="T63" fmla="*/ 551 h 760"/>
                <a:gd name="T64" fmla="*/ 540 w 593"/>
                <a:gd name="T65" fmla="*/ 565 h 760"/>
                <a:gd name="T66" fmla="*/ 530 w 593"/>
                <a:gd name="T67" fmla="*/ 582 h 760"/>
                <a:gd name="T68" fmla="*/ 531 w 593"/>
                <a:gd name="T69" fmla="*/ 604 h 760"/>
                <a:gd name="T70" fmla="*/ 506 w 593"/>
                <a:gd name="T71" fmla="*/ 630 h 760"/>
                <a:gd name="T72" fmla="*/ 486 w 593"/>
                <a:gd name="T73" fmla="*/ 633 h 760"/>
                <a:gd name="T74" fmla="*/ 487 w 593"/>
                <a:gd name="T75" fmla="*/ 678 h 760"/>
                <a:gd name="T76" fmla="*/ 474 w 593"/>
                <a:gd name="T77" fmla="*/ 696 h 760"/>
                <a:gd name="T78" fmla="*/ 460 w 593"/>
                <a:gd name="T79" fmla="*/ 728 h 760"/>
                <a:gd name="T80" fmla="*/ 456 w 593"/>
                <a:gd name="T81" fmla="*/ 745 h 760"/>
                <a:gd name="T82" fmla="*/ 440 w 593"/>
                <a:gd name="T83" fmla="*/ 760 h 760"/>
                <a:gd name="T84" fmla="*/ 404 w 593"/>
                <a:gd name="T85" fmla="*/ 732 h 760"/>
                <a:gd name="T86" fmla="*/ 394 w 593"/>
                <a:gd name="T87" fmla="*/ 687 h 760"/>
                <a:gd name="T88" fmla="*/ 352 w 593"/>
                <a:gd name="T89" fmla="*/ 647 h 760"/>
                <a:gd name="T90" fmla="*/ 314 w 593"/>
                <a:gd name="T91" fmla="*/ 637 h 760"/>
                <a:gd name="T92" fmla="*/ 299 w 593"/>
                <a:gd name="T93" fmla="*/ 606 h 760"/>
                <a:gd name="T94" fmla="*/ 266 w 593"/>
                <a:gd name="T95" fmla="*/ 562 h 760"/>
                <a:gd name="T96" fmla="*/ 244 w 593"/>
                <a:gd name="T97" fmla="*/ 530 h 760"/>
                <a:gd name="T98" fmla="*/ 216 w 593"/>
                <a:gd name="T99" fmla="*/ 498 h 760"/>
                <a:gd name="T100" fmla="*/ 183 w 593"/>
                <a:gd name="T101" fmla="*/ 495 h 760"/>
                <a:gd name="T102" fmla="*/ 151 w 593"/>
                <a:gd name="T103" fmla="*/ 492 h 760"/>
                <a:gd name="T104" fmla="*/ 129 w 593"/>
                <a:gd name="T105" fmla="*/ 461 h 760"/>
                <a:gd name="T106" fmla="*/ 93 w 593"/>
                <a:gd name="T107" fmla="*/ 431 h 760"/>
                <a:gd name="T108" fmla="*/ 82 w 593"/>
                <a:gd name="T109" fmla="*/ 399 h 760"/>
                <a:gd name="T110" fmla="*/ 70 w 593"/>
                <a:gd name="T111" fmla="*/ 366 h 760"/>
                <a:gd name="T112" fmla="*/ 55 w 593"/>
                <a:gd name="T113" fmla="*/ 332 h 760"/>
                <a:gd name="T114" fmla="*/ 39 w 593"/>
                <a:gd name="T115" fmla="*/ 304 h 760"/>
                <a:gd name="T116" fmla="*/ 37 w 593"/>
                <a:gd name="T117" fmla="*/ 272 h 760"/>
                <a:gd name="T118" fmla="*/ 4 w 593"/>
                <a:gd name="T119" fmla="*/ 25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3" h="760">
                  <a:moveTo>
                    <a:pt x="383" y="0"/>
                  </a:moveTo>
                  <a:lnTo>
                    <a:pt x="383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3" y="3"/>
                  </a:lnTo>
                  <a:lnTo>
                    <a:pt x="383" y="4"/>
                  </a:lnTo>
                  <a:lnTo>
                    <a:pt x="383" y="5"/>
                  </a:lnTo>
                  <a:lnTo>
                    <a:pt x="384" y="7"/>
                  </a:lnTo>
                  <a:lnTo>
                    <a:pt x="384" y="7"/>
                  </a:lnTo>
                  <a:lnTo>
                    <a:pt x="385" y="8"/>
                  </a:lnTo>
                  <a:lnTo>
                    <a:pt x="385" y="8"/>
                  </a:lnTo>
                  <a:lnTo>
                    <a:pt x="386" y="8"/>
                  </a:lnTo>
                  <a:lnTo>
                    <a:pt x="387" y="8"/>
                  </a:lnTo>
                  <a:lnTo>
                    <a:pt x="387" y="8"/>
                  </a:lnTo>
                  <a:lnTo>
                    <a:pt x="388" y="8"/>
                  </a:lnTo>
                  <a:lnTo>
                    <a:pt x="388" y="7"/>
                  </a:lnTo>
                  <a:lnTo>
                    <a:pt x="389" y="6"/>
                  </a:lnTo>
                  <a:lnTo>
                    <a:pt x="391" y="4"/>
                  </a:lnTo>
                  <a:lnTo>
                    <a:pt x="392" y="3"/>
                  </a:lnTo>
                  <a:lnTo>
                    <a:pt x="392" y="3"/>
                  </a:lnTo>
                  <a:lnTo>
                    <a:pt x="393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6" y="2"/>
                  </a:lnTo>
                  <a:lnTo>
                    <a:pt x="396" y="4"/>
                  </a:lnTo>
                  <a:lnTo>
                    <a:pt x="398" y="6"/>
                  </a:lnTo>
                  <a:lnTo>
                    <a:pt x="400" y="8"/>
                  </a:lnTo>
                  <a:lnTo>
                    <a:pt x="401" y="10"/>
                  </a:lnTo>
                  <a:lnTo>
                    <a:pt x="401" y="11"/>
                  </a:lnTo>
                  <a:lnTo>
                    <a:pt x="402" y="14"/>
                  </a:lnTo>
                  <a:lnTo>
                    <a:pt x="403" y="15"/>
                  </a:lnTo>
                  <a:lnTo>
                    <a:pt x="403" y="15"/>
                  </a:lnTo>
                  <a:lnTo>
                    <a:pt x="403" y="16"/>
                  </a:lnTo>
                  <a:lnTo>
                    <a:pt x="404" y="16"/>
                  </a:lnTo>
                  <a:lnTo>
                    <a:pt x="405" y="16"/>
                  </a:lnTo>
                  <a:lnTo>
                    <a:pt x="405" y="16"/>
                  </a:lnTo>
                  <a:lnTo>
                    <a:pt x="406" y="16"/>
                  </a:lnTo>
                  <a:lnTo>
                    <a:pt x="407" y="16"/>
                  </a:lnTo>
                  <a:lnTo>
                    <a:pt x="410" y="15"/>
                  </a:lnTo>
                  <a:lnTo>
                    <a:pt x="411" y="15"/>
                  </a:lnTo>
                  <a:lnTo>
                    <a:pt x="412" y="15"/>
                  </a:lnTo>
                  <a:lnTo>
                    <a:pt x="414" y="14"/>
                  </a:lnTo>
                  <a:lnTo>
                    <a:pt x="415" y="13"/>
                  </a:lnTo>
                  <a:lnTo>
                    <a:pt x="416" y="12"/>
                  </a:lnTo>
                  <a:lnTo>
                    <a:pt x="417" y="11"/>
                  </a:lnTo>
                  <a:lnTo>
                    <a:pt x="418" y="10"/>
                  </a:lnTo>
                  <a:lnTo>
                    <a:pt x="418" y="11"/>
                  </a:lnTo>
                  <a:lnTo>
                    <a:pt x="418" y="12"/>
                  </a:lnTo>
                  <a:lnTo>
                    <a:pt x="420" y="14"/>
                  </a:lnTo>
                  <a:lnTo>
                    <a:pt x="421" y="15"/>
                  </a:lnTo>
                  <a:lnTo>
                    <a:pt x="422" y="17"/>
                  </a:lnTo>
                  <a:lnTo>
                    <a:pt x="423" y="19"/>
                  </a:lnTo>
                  <a:lnTo>
                    <a:pt x="423" y="20"/>
                  </a:lnTo>
                  <a:lnTo>
                    <a:pt x="424" y="21"/>
                  </a:lnTo>
                  <a:lnTo>
                    <a:pt x="424" y="22"/>
                  </a:lnTo>
                  <a:lnTo>
                    <a:pt x="424" y="24"/>
                  </a:lnTo>
                  <a:lnTo>
                    <a:pt x="424" y="25"/>
                  </a:lnTo>
                  <a:lnTo>
                    <a:pt x="424" y="25"/>
                  </a:lnTo>
                  <a:lnTo>
                    <a:pt x="424" y="26"/>
                  </a:lnTo>
                  <a:lnTo>
                    <a:pt x="423" y="27"/>
                  </a:lnTo>
                  <a:lnTo>
                    <a:pt x="423" y="28"/>
                  </a:lnTo>
                  <a:lnTo>
                    <a:pt x="421" y="31"/>
                  </a:lnTo>
                  <a:lnTo>
                    <a:pt x="419" y="33"/>
                  </a:lnTo>
                  <a:lnTo>
                    <a:pt x="418" y="34"/>
                  </a:lnTo>
                  <a:lnTo>
                    <a:pt x="417" y="38"/>
                  </a:lnTo>
                  <a:lnTo>
                    <a:pt x="416" y="39"/>
                  </a:lnTo>
                  <a:lnTo>
                    <a:pt x="416" y="40"/>
                  </a:lnTo>
                  <a:lnTo>
                    <a:pt x="415" y="41"/>
                  </a:lnTo>
                  <a:lnTo>
                    <a:pt x="415" y="42"/>
                  </a:lnTo>
                  <a:lnTo>
                    <a:pt x="415" y="43"/>
                  </a:lnTo>
                  <a:lnTo>
                    <a:pt x="415" y="43"/>
                  </a:lnTo>
                  <a:lnTo>
                    <a:pt x="415" y="44"/>
                  </a:lnTo>
                  <a:lnTo>
                    <a:pt x="416" y="45"/>
                  </a:lnTo>
                  <a:lnTo>
                    <a:pt x="416" y="45"/>
                  </a:lnTo>
                  <a:lnTo>
                    <a:pt x="417" y="45"/>
                  </a:lnTo>
                  <a:lnTo>
                    <a:pt x="417" y="46"/>
                  </a:lnTo>
                  <a:lnTo>
                    <a:pt x="418" y="46"/>
                  </a:lnTo>
                  <a:lnTo>
                    <a:pt x="419" y="46"/>
                  </a:lnTo>
                  <a:lnTo>
                    <a:pt x="423" y="47"/>
                  </a:lnTo>
                  <a:lnTo>
                    <a:pt x="424" y="47"/>
                  </a:lnTo>
                  <a:lnTo>
                    <a:pt x="425" y="48"/>
                  </a:lnTo>
                  <a:lnTo>
                    <a:pt x="426" y="47"/>
                  </a:lnTo>
                  <a:lnTo>
                    <a:pt x="427" y="47"/>
                  </a:lnTo>
                  <a:lnTo>
                    <a:pt x="428" y="47"/>
                  </a:lnTo>
                  <a:lnTo>
                    <a:pt x="430" y="46"/>
                  </a:lnTo>
                  <a:lnTo>
                    <a:pt x="433" y="45"/>
                  </a:lnTo>
                  <a:lnTo>
                    <a:pt x="435" y="44"/>
                  </a:lnTo>
                  <a:lnTo>
                    <a:pt x="436" y="44"/>
                  </a:lnTo>
                  <a:lnTo>
                    <a:pt x="437" y="44"/>
                  </a:lnTo>
                  <a:lnTo>
                    <a:pt x="440" y="44"/>
                  </a:lnTo>
                  <a:lnTo>
                    <a:pt x="442" y="44"/>
                  </a:lnTo>
                  <a:lnTo>
                    <a:pt x="443" y="44"/>
                  </a:lnTo>
                  <a:lnTo>
                    <a:pt x="446" y="44"/>
                  </a:lnTo>
                  <a:lnTo>
                    <a:pt x="449" y="45"/>
                  </a:lnTo>
                  <a:lnTo>
                    <a:pt x="451" y="45"/>
                  </a:lnTo>
                  <a:lnTo>
                    <a:pt x="452" y="45"/>
                  </a:lnTo>
                  <a:lnTo>
                    <a:pt x="453" y="45"/>
                  </a:lnTo>
                  <a:lnTo>
                    <a:pt x="457" y="44"/>
                  </a:lnTo>
                  <a:lnTo>
                    <a:pt x="459" y="44"/>
                  </a:lnTo>
                  <a:lnTo>
                    <a:pt x="460" y="44"/>
                  </a:lnTo>
                  <a:lnTo>
                    <a:pt x="461" y="45"/>
                  </a:lnTo>
                  <a:lnTo>
                    <a:pt x="462" y="45"/>
                  </a:lnTo>
                  <a:lnTo>
                    <a:pt x="463" y="45"/>
                  </a:lnTo>
                  <a:lnTo>
                    <a:pt x="465" y="46"/>
                  </a:lnTo>
                  <a:lnTo>
                    <a:pt x="466" y="47"/>
                  </a:lnTo>
                  <a:lnTo>
                    <a:pt x="467" y="47"/>
                  </a:lnTo>
                  <a:lnTo>
                    <a:pt x="467" y="48"/>
                  </a:lnTo>
                  <a:lnTo>
                    <a:pt x="467" y="48"/>
                  </a:lnTo>
                  <a:lnTo>
                    <a:pt x="467" y="48"/>
                  </a:lnTo>
                  <a:lnTo>
                    <a:pt x="467" y="49"/>
                  </a:lnTo>
                  <a:lnTo>
                    <a:pt x="467" y="49"/>
                  </a:lnTo>
                  <a:lnTo>
                    <a:pt x="464" y="50"/>
                  </a:lnTo>
                  <a:lnTo>
                    <a:pt x="463" y="51"/>
                  </a:lnTo>
                  <a:lnTo>
                    <a:pt x="462" y="51"/>
                  </a:lnTo>
                  <a:lnTo>
                    <a:pt x="462" y="52"/>
                  </a:lnTo>
                  <a:lnTo>
                    <a:pt x="461" y="52"/>
                  </a:lnTo>
                  <a:lnTo>
                    <a:pt x="461" y="53"/>
                  </a:lnTo>
                  <a:lnTo>
                    <a:pt x="461" y="53"/>
                  </a:lnTo>
                  <a:lnTo>
                    <a:pt x="461" y="54"/>
                  </a:lnTo>
                  <a:lnTo>
                    <a:pt x="461" y="54"/>
                  </a:lnTo>
                  <a:lnTo>
                    <a:pt x="461" y="54"/>
                  </a:lnTo>
                  <a:lnTo>
                    <a:pt x="462" y="55"/>
                  </a:lnTo>
                  <a:lnTo>
                    <a:pt x="462" y="55"/>
                  </a:lnTo>
                  <a:lnTo>
                    <a:pt x="462" y="56"/>
                  </a:lnTo>
                  <a:lnTo>
                    <a:pt x="464" y="57"/>
                  </a:lnTo>
                  <a:lnTo>
                    <a:pt x="465" y="58"/>
                  </a:lnTo>
                  <a:lnTo>
                    <a:pt x="466" y="59"/>
                  </a:lnTo>
                  <a:lnTo>
                    <a:pt x="467" y="60"/>
                  </a:lnTo>
                  <a:lnTo>
                    <a:pt x="472" y="62"/>
                  </a:lnTo>
                  <a:lnTo>
                    <a:pt x="475" y="64"/>
                  </a:lnTo>
                  <a:lnTo>
                    <a:pt x="477" y="65"/>
                  </a:lnTo>
                  <a:lnTo>
                    <a:pt x="482" y="69"/>
                  </a:lnTo>
                  <a:lnTo>
                    <a:pt x="484" y="70"/>
                  </a:lnTo>
                  <a:lnTo>
                    <a:pt x="485" y="71"/>
                  </a:lnTo>
                  <a:lnTo>
                    <a:pt x="487" y="72"/>
                  </a:lnTo>
                  <a:lnTo>
                    <a:pt x="488" y="72"/>
                  </a:lnTo>
                  <a:lnTo>
                    <a:pt x="490" y="73"/>
                  </a:lnTo>
                  <a:lnTo>
                    <a:pt x="491" y="73"/>
                  </a:lnTo>
                  <a:lnTo>
                    <a:pt x="493" y="74"/>
                  </a:lnTo>
                  <a:lnTo>
                    <a:pt x="495" y="74"/>
                  </a:lnTo>
                  <a:lnTo>
                    <a:pt x="497" y="74"/>
                  </a:lnTo>
                  <a:lnTo>
                    <a:pt x="499" y="74"/>
                  </a:lnTo>
                  <a:lnTo>
                    <a:pt x="501" y="74"/>
                  </a:lnTo>
                  <a:lnTo>
                    <a:pt x="502" y="74"/>
                  </a:lnTo>
                  <a:lnTo>
                    <a:pt x="504" y="74"/>
                  </a:lnTo>
                  <a:lnTo>
                    <a:pt x="506" y="73"/>
                  </a:lnTo>
                  <a:lnTo>
                    <a:pt x="507" y="73"/>
                  </a:lnTo>
                  <a:lnTo>
                    <a:pt x="512" y="72"/>
                  </a:lnTo>
                  <a:lnTo>
                    <a:pt x="514" y="72"/>
                  </a:lnTo>
                  <a:lnTo>
                    <a:pt x="515" y="71"/>
                  </a:lnTo>
                  <a:lnTo>
                    <a:pt x="517" y="71"/>
                  </a:lnTo>
                  <a:lnTo>
                    <a:pt x="518" y="72"/>
                  </a:lnTo>
                  <a:lnTo>
                    <a:pt x="520" y="72"/>
                  </a:lnTo>
                  <a:lnTo>
                    <a:pt x="521" y="72"/>
                  </a:lnTo>
                  <a:lnTo>
                    <a:pt x="522" y="73"/>
                  </a:lnTo>
                  <a:lnTo>
                    <a:pt x="523" y="74"/>
                  </a:lnTo>
                  <a:lnTo>
                    <a:pt x="524" y="74"/>
                  </a:lnTo>
                  <a:lnTo>
                    <a:pt x="525" y="75"/>
                  </a:lnTo>
                  <a:lnTo>
                    <a:pt x="526" y="77"/>
                  </a:lnTo>
                  <a:lnTo>
                    <a:pt x="530" y="81"/>
                  </a:lnTo>
                  <a:lnTo>
                    <a:pt x="532" y="83"/>
                  </a:lnTo>
                  <a:lnTo>
                    <a:pt x="533" y="84"/>
                  </a:lnTo>
                  <a:lnTo>
                    <a:pt x="536" y="87"/>
                  </a:lnTo>
                  <a:lnTo>
                    <a:pt x="540" y="91"/>
                  </a:lnTo>
                  <a:lnTo>
                    <a:pt x="541" y="92"/>
                  </a:lnTo>
                  <a:lnTo>
                    <a:pt x="542" y="92"/>
                  </a:lnTo>
                  <a:lnTo>
                    <a:pt x="544" y="93"/>
                  </a:lnTo>
                  <a:lnTo>
                    <a:pt x="545" y="93"/>
                  </a:lnTo>
                  <a:lnTo>
                    <a:pt x="550" y="94"/>
                  </a:lnTo>
                  <a:lnTo>
                    <a:pt x="551" y="94"/>
                  </a:lnTo>
                  <a:lnTo>
                    <a:pt x="552" y="95"/>
                  </a:lnTo>
                  <a:lnTo>
                    <a:pt x="554" y="95"/>
                  </a:lnTo>
                  <a:lnTo>
                    <a:pt x="555" y="96"/>
                  </a:lnTo>
                  <a:lnTo>
                    <a:pt x="556" y="97"/>
                  </a:lnTo>
                  <a:lnTo>
                    <a:pt x="557" y="97"/>
                  </a:lnTo>
                  <a:lnTo>
                    <a:pt x="558" y="98"/>
                  </a:lnTo>
                  <a:lnTo>
                    <a:pt x="558" y="99"/>
                  </a:lnTo>
                  <a:lnTo>
                    <a:pt x="559" y="99"/>
                  </a:lnTo>
                  <a:lnTo>
                    <a:pt x="559" y="100"/>
                  </a:lnTo>
                  <a:lnTo>
                    <a:pt x="559" y="101"/>
                  </a:lnTo>
                  <a:lnTo>
                    <a:pt x="559" y="102"/>
                  </a:lnTo>
                  <a:lnTo>
                    <a:pt x="560" y="106"/>
                  </a:lnTo>
                  <a:lnTo>
                    <a:pt x="560" y="107"/>
                  </a:lnTo>
                  <a:lnTo>
                    <a:pt x="561" y="107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2" y="108"/>
                  </a:lnTo>
                  <a:lnTo>
                    <a:pt x="562" y="109"/>
                  </a:lnTo>
                  <a:lnTo>
                    <a:pt x="563" y="109"/>
                  </a:lnTo>
                  <a:lnTo>
                    <a:pt x="567" y="110"/>
                  </a:lnTo>
                  <a:lnTo>
                    <a:pt x="571" y="111"/>
                  </a:lnTo>
                  <a:lnTo>
                    <a:pt x="574" y="112"/>
                  </a:lnTo>
                  <a:lnTo>
                    <a:pt x="576" y="113"/>
                  </a:lnTo>
                  <a:lnTo>
                    <a:pt x="579" y="114"/>
                  </a:lnTo>
                  <a:lnTo>
                    <a:pt x="588" y="119"/>
                  </a:lnTo>
                  <a:lnTo>
                    <a:pt x="589" y="120"/>
                  </a:lnTo>
                  <a:lnTo>
                    <a:pt x="590" y="120"/>
                  </a:lnTo>
                  <a:lnTo>
                    <a:pt x="590" y="121"/>
                  </a:lnTo>
                  <a:lnTo>
                    <a:pt x="591" y="121"/>
                  </a:lnTo>
                  <a:lnTo>
                    <a:pt x="591" y="122"/>
                  </a:lnTo>
                  <a:lnTo>
                    <a:pt x="591" y="123"/>
                  </a:lnTo>
                  <a:lnTo>
                    <a:pt x="591" y="130"/>
                  </a:lnTo>
                  <a:lnTo>
                    <a:pt x="591" y="132"/>
                  </a:lnTo>
                  <a:lnTo>
                    <a:pt x="592" y="137"/>
                  </a:lnTo>
                  <a:lnTo>
                    <a:pt x="592" y="143"/>
                  </a:lnTo>
                  <a:lnTo>
                    <a:pt x="593" y="145"/>
                  </a:lnTo>
                  <a:lnTo>
                    <a:pt x="593" y="150"/>
                  </a:lnTo>
                  <a:lnTo>
                    <a:pt x="593" y="152"/>
                  </a:lnTo>
                  <a:lnTo>
                    <a:pt x="593" y="153"/>
                  </a:lnTo>
                  <a:lnTo>
                    <a:pt x="593" y="154"/>
                  </a:lnTo>
                  <a:lnTo>
                    <a:pt x="592" y="155"/>
                  </a:lnTo>
                  <a:lnTo>
                    <a:pt x="592" y="156"/>
                  </a:lnTo>
                  <a:lnTo>
                    <a:pt x="592" y="157"/>
                  </a:lnTo>
                  <a:lnTo>
                    <a:pt x="591" y="158"/>
                  </a:lnTo>
                  <a:lnTo>
                    <a:pt x="588" y="160"/>
                  </a:lnTo>
                  <a:lnTo>
                    <a:pt x="588" y="160"/>
                  </a:lnTo>
                  <a:lnTo>
                    <a:pt x="587" y="161"/>
                  </a:lnTo>
                  <a:lnTo>
                    <a:pt x="586" y="162"/>
                  </a:lnTo>
                  <a:lnTo>
                    <a:pt x="586" y="163"/>
                  </a:lnTo>
                  <a:lnTo>
                    <a:pt x="585" y="165"/>
                  </a:lnTo>
                  <a:lnTo>
                    <a:pt x="584" y="168"/>
                  </a:lnTo>
                  <a:lnTo>
                    <a:pt x="583" y="172"/>
                  </a:lnTo>
                  <a:lnTo>
                    <a:pt x="582" y="174"/>
                  </a:lnTo>
                  <a:lnTo>
                    <a:pt x="582" y="176"/>
                  </a:lnTo>
                  <a:lnTo>
                    <a:pt x="581" y="182"/>
                  </a:lnTo>
                  <a:lnTo>
                    <a:pt x="581" y="183"/>
                  </a:lnTo>
                  <a:lnTo>
                    <a:pt x="581" y="186"/>
                  </a:lnTo>
                  <a:lnTo>
                    <a:pt x="582" y="189"/>
                  </a:lnTo>
                  <a:lnTo>
                    <a:pt x="582" y="191"/>
                  </a:lnTo>
                  <a:lnTo>
                    <a:pt x="582" y="192"/>
                  </a:lnTo>
                  <a:lnTo>
                    <a:pt x="581" y="194"/>
                  </a:lnTo>
                  <a:lnTo>
                    <a:pt x="581" y="195"/>
                  </a:lnTo>
                  <a:lnTo>
                    <a:pt x="581" y="197"/>
                  </a:lnTo>
                  <a:lnTo>
                    <a:pt x="580" y="199"/>
                  </a:lnTo>
                  <a:lnTo>
                    <a:pt x="579" y="203"/>
                  </a:lnTo>
                  <a:lnTo>
                    <a:pt x="578" y="204"/>
                  </a:lnTo>
                  <a:lnTo>
                    <a:pt x="578" y="205"/>
                  </a:lnTo>
                  <a:lnTo>
                    <a:pt x="578" y="206"/>
                  </a:lnTo>
                  <a:lnTo>
                    <a:pt x="578" y="207"/>
                  </a:lnTo>
                  <a:lnTo>
                    <a:pt x="578" y="209"/>
                  </a:lnTo>
                  <a:lnTo>
                    <a:pt x="578" y="213"/>
                  </a:lnTo>
                  <a:lnTo>
                    <a:pt x="578" y="215"/>
                  </a:lnTo>
                  <a:lnTo>
                    <a:pt x="578" y="216"/>
                  </a:lnTo>
                  <a:lnTo>
                    <a:pt x="577" y="218"/>
                  </a:lnTo>
                  <a:lnTo>
                    <a:pt x="577" y="219"/>
                  </a:lnTo>
                  <a:lnTo>
                    <a:pt x="577" y="221"/>
                  </a:lnTo>
                  <a:lnTo>
                    <a:pt x="576" y="223"/>
                  </a:lnTo>
                  <a:lnTo>
                    <a:pt x="576" y="224"/>
                  </a:lnTo>
                  <a:lnTo>
                    <a:pt x="576" y="225"/>
                  </a:lnTo>
                  <a:lnTo>
                    <a:pt x="576" y="226"/>
                  </a:lnTo>
                  <a:lnTo>
                    <a:pt x="577" y="226"/>
                  </a:lnTo>
                  <a:lnTo>
                    <a:pt x="577" y="227"/>
                  </a:lnTo>
                  <a:lnTo>
                    <a:pt x="579" y="228"/>
                  </a:lnTo>
                  <a:lnTo>
                    <a:pt x="580" y="228"/>
                  </a:lnTo>
                  <a:lnTo>
                    <a:pt x="581" y="229"/>
                  </a:lnTo>
                  <a:lnTo>
                    <a:pt x="582" y="230"/>
                  </a:lnTo>
                  <a:lnTo>
                    <a:pt x="582" y="231"/>
                  </a:lnTo>
                  <a:lnTo>
                    <a:pt x="582" y="232"/>
                  </a:lnTo>
                  <a:lnTo>
                    <a:pt x="582" y="233"/>
                  </a:lnTo>
                  <a:lnTo>
                    <a:pt x="582" y="233"/>
                  </a:lnTo>
                  <a:lnTo>
                    <a:pt x="582" y="234"/>
                  </a:lnTo>
                  <a:lnTo>
                    <a:pt x="581" y="235"/>
                  </a:lnTo>
                  <a:lnTo>
                    <a:pt x="581" y="236"/>
                  </a:lnTo>
                  <a:lnTo>
                    <a:pt x="580" y="236"/>
                  </a:lnTo>
                  <a:lnTo>
                    <a:pt x="578" y="238"/>
                  </a:lnTo>
                  <a:lnTo>
                    <a:pt x="574" y="241"/>
                  </a:lnTo>
                  <a:lnTo>
                    <a:pt x="573" y="243"/>
                  </a:lnTo>
                  <a:lnTo>
                    <a:pt x="571" y="244"/>
                  </a:lnTo>
                  <a:lnTo>
                    <a:pt x="570" y="245"/>
                  </a:lnTo>
                  <a:lnTo>
                    <a:pt x="568" y="249"/>
                  </a:lnTo>
                  <a:lnTo>
                    <a:pt x="567" y="250"/>
                  </a:lnTo>
                  <a:lnTo>
                    <a:pt x="566" y="251"/>
                  </a:lnTo>
                  <a:lnTo>
                    <a:pt x="565" y="251"/>
                  </a:lnTo>
                  <a:lnTo>
                    <a:pt x="565" y="252"/>
                  </a:lnTo>
                  <a:lnTo>
                    <a:pt x="564" y="252"/>
                  </a:lnTo>
                  <a:lnTo>
                    <a:pt x="563" y="252"/>
                  </a:lnTo>
                  <a:lnTo>
                    <a:pt x="562" y="252"/>
                  </a:lnTo>
                  <a:lnTo>
                    <a:pt x="562" y="252"/>
                  </a:lnTo>
                  <a:lnTo>
                    <a:pt x="561" y="252"/>
                  </a:lnTo>
                  <a:lnTo>
                    <a:pt x="560" y="252"/>
                  </a:lnTo>
                  <a:lnTo>
                    <a:pt x="559" y="251"/>
                  </a:lnTo>
                  <a:lnTo>
                    <a:pt x="555" y="249"/>
                  </a:lnTo>
                  <a:lnTo>
                    <a:pt x="554" y="249"/>
                  </a:lnTo>
                  <a:lnTo>
                    <a:pt x="554" y="248"/>
                  </a:lnTo>
                  <a:lnTo>
                    <a:pt x="553" y="248"/>
                  </a:lnTo>
                  <a:lnTo>
                    <a:pt x="552" y="248"/>
                  </a:lnTo>
                  <a:lnTo>
                    <a:pt x="550" y="248"/>
                  </a:lnTo>
                  <a:lnTo>
                    <a:pt x="549" y="249"/>
                  </a:lnTo>
                  <a:lnTo>
                    <a:pt x="548" y="249"/>
                  </a:lnTo>
                  <a:lnTo>
                    <a:pt x="547" y="250"/>
                  </a:lnTo>
                  <a:lnTo>
                    <a:pt x="545" y="251"/>
                  </a:lnTo>
                  <a:lnTo>
                    <a:pt x="543" y="251"/>
                  </a:lnTo>
                  <a:lnTo>
                    <a:pt x="542" y="252"/>
                  </a:lnTo>
                  <a:lnTo>
                    <a:pt x="540" y="254"/>
                  </a:lnTo>
                  <a:lnTo>
                    <a:pt x="539" y="254"/>
                  </a:lnTo>
                  <a:lnTo>
                    <a:pt x="538" y="256"/>
                  </a:lnTo>
                  <a:lnTo>
                    <a:pt x="537" y="257"/>
                  </a:lnTo>
                  <a:lnTo>
                    <a:pt x="535" y="258"/>
                  </a:lnTo>
                  <a:lnTo>
                    <a:pt x="534" y="259"/>
                  </a:lnTo>
                  <a:lnTo>
                    <a:pt x="533" y="261"/>
                  </a:lnTo>
                  <a:lnTo>
                    <a:pt x="529" y="266"/>
                  </a:lnTo>
                  <a:lnTo>
                    <a:pt x="528" y="268"/>
                  </a:lnTo>
                  <a:lnTo>
                    <a:pt x="527" y="269"/>
                  </a:lnTo>
                  <a:lnTo>
                    <a:pt x="527" y="270"/>
                  </a:lnTo>
                  <a:lnTo>
                    <a:pt x="526" y="271"/>
                  </a:lnTo>
                  <a:lnTo>
                    <a:pt x="526" y="273"/>
                  </a:lnTo>
                  <a:lnTo>
                    <a:pt x="526" y="274"/>
                  </a:lnTo>
                  <a:lnTo>
                    <a:pt x="526" y="275"/>
                  </a:lnTo>
                  <a:lnTo>
                    <a:pt x="526" y="276"/>
                  </a:lnTo>
                  <a:lnTo>
                    <a:pt x="526" y="277"/>
                  </a:lnTo>
                  <a:lnTo>
                    <a:pt x="527" y="278"/>
                  </a:lnTo>
                  <a:lnTo>
                    <a:pt x="527" y="278"/>
                  </a:lnTo>
                  <a:lnTo>
                    <a:pt x="528" y="279"/>
                  </a:lnTo>
                  <a:lnTo>
                    <a:pt x="528" y="279"/>
                  </a:lnTo>
                  <a:lnTo>
                    <a:pt x="529" y="279"/>
                  </a:lnTo>
                  <a:lnTo>
                    <a:pt x="530" y="279"/>
                  </a:lnTo>
                  <a:lnTo>
                    <a:pt x="531" y="279"/>
                  </a:lnTo>
                  <a:lnTo>
                    <a:pt x="533" y="279"/>
                  </a:lnTo>
                  <a:lnTo>
                    <a:pt x="535" y="279"/>
                  </a:lnTo>
                  <a:lnTo>
                    <a:pt x="537" y="279"/>
                  </a:lnTo>
                  <a:lnTo>
                    <a:pt x="538" y="279"/>
                  </a:lnTo>
                  <a:lnTo>
                    <a:pt x="540" y="279"/>
                  </a:lnTo>
                  <a:lnTo>
                    <a:pt x="541" y="279"/>
                  </a:lnTo>
                  <a:lnTo>
                    <a:pt x="542" y="280"/>
                  </a:lnTo>
                  <a:lnTo>
                    <a:pt x="542" y="280"/>
                  </a:lnTo>
                  <a:lnTo>
                    <a:pt x="543" y="281"/>
                  </a:lnTo>
                  <a:lnTo>
                    <a:pt x="543" y="281"/>
                  </a:lnTo>
                  <a:lnTo>
                    <a:pt x="543" y="282"/>
                  </a:lnTo>
                  <a:lnTo>
                    <a:pt x="544" y="282"/>
                  </a:lnTo>
                  <a:lnTo>
                    <a:pt x="543" y="283"/>
                  </a:lnTo>
                  <a:lnTo>
                    <a:pt x="543" y="283"/>
                  </a:lnTo>
                  <a:lnTo>
                    <a:pt x="542" y="284"/>
                  </a:lnTo>
                  <a:lnTo>
                    <a:pt x="542" y="284"/>
                  </a:lnTo>
                  <a:lnTo>
                    <a:pt x="540" y="285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34" y="288"/>
                  </a:lnTo>
                  <a:lnTo>
                    <a:pt x="534" y="289"/>
                  </a:lnTo>
                  <a:lnTo>
                    <a:pt x="534" y="289"/>
                  </a:lnTo>
                  <a:lnTo>
                    <a:pt x="534" y="290"/>
                  </a:lnTo>
                  <a:lnTo>
                    <a:pt x="534" y="291"/>
                  </a:lnTo>
                  <a:lnTo>
                    <a:pt x="534" y="292"/>
                  </a:lnTo>
                  <a:lnTo>
                    <a:pt x="534" y="292"/>
                  </a:lnTo>
                  <a:lnTo>
                    <a:pt x="535" y="293"/>
                  </a:lnTo>
                  <a:lnTo>
                    <a:pt x="535" y="294"/>
                  </a:lnTo>
                  <a:lnTo>
                    <a:pt x="537" y="296"/>
                  </a:lnTo>
                  <a:lnTo>
                    <a:pt x="538" y="297"/>
                  </a:lnTo>
                  <a:lnTo>
                    <a:pt x="538" y="298"/>
                  </a:lnTo>
                  <a:lnTo>
                    <a:pt x="539" y="299"/>
                  </a:lnTo>
                  <a:lnTo>
                    <a:pt x="539" y="300"/>
                  </a:lnTo>
                  <a:lnTo>
                    <a:pt x="540" y="301"/>
                  </a:lnTo>
                  <a:lnTo>
                    <a:pt x="540" y="301"/>
                  </a:lnTo>
                  <a:lnTo>
                    <a:pt x="539" y="302"/>
                  </a:lnTo>
                  <a:lnTo>
                    <a:pt x="539" y="302"/>
                  </a:lnTo>
                  <a:lnTo>
                    <a:pt x="539" y="303"/>
                  </a:lnTo>
                  <a:lnTo>
                    <a:pt x="538" y="303"/>
                  </a:lnTo>
                  <a:lnTo>
                    <a:pt x="537" y="304"/>
                  </a:lnTo>
                  <a:lnTo>
                    <a:pt x="536" y="304"/>
                  </a:lnTo>
                  <a:lnTo>
                    <a:pt x="535" y="304"/>
                  </a:lnTo>
                  <a:lnTo>
                    <a:pt x="533" y="304"/>
                  </a:lnTo>
                  <a:lnTo>
                    <a:pt x="532" y="305"/>
                  </a:lnTo>
                  <a:lnTo>
                    <a:pt x="531" y="305"/>
                  </a:lnTo>
                  <a:lnTo>
                    <a:pt x="531" y="305"/>
                  </a:lnTo>
                  <a:lnTo>
                    <a:pt x="531" y="305"/>
                  </a:lnTo>
                  <a:lnTo>
                    <a:pt x="531" y="305"/>
                  </a:lnTo>
                  <a:lnTo>
                    <a:pt x="531" y="306"/>
                  </a:lnTo>
                  <a:lnTo>
                    <a:pt x="532" y="306"/>
                  </a:lnTo>
                  <a:lnTo>
                    <a:pt x="533" y="307"/>
                  </a:lnTo>
                  <a:lnTo>
                    <a:pt x="535" y="308"/>
                  </a:lnTo>
                  <a:lnTo>
                    <a:pt x="536" y="309"/>
                  </a:lnTo>
                  <a:lnTo>
                    <a:pt x="537" y="310"/>
                  </a:lnTo>
                  <a:lnTo>
                    <a:pt x="537" y="310"/>
                  </a:lnTo>
                  <a:lnTo>
                    <a:pt x="538" y="311"/>
                  </a:lnTo>
                  <a:lnTo>
                    <a:pt x="538" y="312"/>
                  </a:lnTo>
                  <a:lnTo>
                    <a:pt x="538" y="313"/>
                  </a:lnTo>
                  <a:lnTo>
                    <a:pt x="537" y="314"/>
                  </a:lnTo>
                  <a:lnTo>
                    <a:pt x="537" y="314"/>
                  </a:lnTo>
                  <a:lnTo>
                    <a:pt x="537" y="315"/>
                  </a:lnTo>
                  <a:lnTo>
                    <a:pt x="537" y="315"/>
                  </a:lnTo>
                  <a:lnTo>
                    <a:pt x="538" y="315"/>
                  </a:lnTo>
                  <a:lnTo>
                    <a:pt x="538" y="316"/>
                  </a:lnTo>
                  <a:lnTo>
                    <a:pt x="539" y="316"/>
                  </a:lnTo>
                  <a:lnTo>
                    <a:pt x="539" y="316"/>
                  </a:lnTo>
                  <a:lnTo>
                    <a:pt x="540" y="316"/>
                  </a:lnTo>
                  <a:lnTo>
                    <a:pt x="541" y="316"/>
                  </a:lnTo>
                  <a:lnTo>
                    <a:pt x="544" y="316"/>
                  </a:lnTo>
                  <a:lnTo>
                    <a:pt x="546" y="316"/>
                  </a:lnTo>
                  <a:lnTo>
                    <a:pt x="547" y="317"/>
                  </a:lnTo>
                  <a:lnTo>
                    <a:pt x="549" y="317"/>
                  </a:lnTo>
                  <a:lnTo>
                    <a:pt x="550" y="318"/>
                  </a:lnTo>
                  <a:lnTo>
                    <a:pt x="552" y="318"/>
                  </a:lnTo>
                  <a:lnTo>
                    <a:pt x="553" y="319"/>
                  </a:lnTo>
                  <a:lnTo>
                    <a:pt x="554" y="320"/>
                  </a:lnTo>
                  <a:lnTo>
                    <a:pt x="554" y="320"/>
                  </a:lnTo>
                  <a:lnTo>
                    <a:pt x="555" y="321"/>
                  </a:lnTo>
                  <a:lnTo>
                    <a:pt x="555" y="322"/>
                  </a:lnTo>
                  <a:lnTo>
                    <a:pt x="556" y="322"/>
                  </a:lnTo>
                  <a:lnTo>
                    <a:pt x="556" y="324"/>
                  </a:lnTo>
                  <a:lnTo>
                    <a:pt x="556" y="326"/>
                  </a:lnTo>
                  <a:lnTo>
                    <a:pt x="556" y="329"/>
                  </a:lnTo>
                  <a:lnTo>
                    <a:pt x="556" y="331"/>
                  </a:lnTo>
                  <a:lnTo>
                    <a:pt x="556" y="334"/>
                  </a:lnTo>
                  <a:lnTo>
                    <a:pt x="556" y="335"/>
                  </a:lnTo>
                  <a:lnTo>
                    <a:pt x="555" y="337"/>
                  </a:lnTo>
                  <a:lnTo>
                    <a:pt x="554" y="343"/>
                  </a:lnTo>
                  <a:lnTo>
                    <a:pt x="554" y="345"/>
                  </a:lnTo>
                  <a:lnTo>
                    <a:pt x="553" y="347"/>
                  </a:lnTo>
                  <a:lnTo>
                    <a:pt x="553" y="352"/>
                  </a:lnTo>
                  <a:lnTo>
                    <a:pt x="553" y="356"/>
                  </a:lnTo>
                  <a:lnTo>
                    <a:pt x="553" y="357"/>
                  </a:lnTo>
                  <a:lnTo>
                    <a:pt x="553" y="363"/>
                  </a:lnTo>
                  <a:lnTo>
                    <a:pt x="553" y="364"/>
                  </a:lnTo>
                  <a:lnTo>
                    <a:pt x="553" y="365"/>
                  </a:lnTo>
                  <a:lnTo>
                    <a:pt x="553" y="365"/>
                  </a:lnTo>
                  <a:lnTo>
                    <a:pt x="553" y="366"/>
                  </a:lnTo>
                  <a:lnTo>
                    <a:pt x="554" y="366"/>
                  </a:lnTo>
                  <a:lnTo>
                    <a:pt x="554" y="367"/>
                  </a:lnTo>
                  <a:lnTo>
                    <a:pt x="556" y="368"/>
                  </a:lnTo>
                  <a:lnTo>
                    <a:pt x="557" y="368"/>
                  </a:lnTo>
                  <a:lnTo>
                    <a:pt x="558" y="369"/>
                  </a:lnTo>
                  <a:lnTo>
                    <a:pt x="559" y="370"/>
                  </a:lnTo>
                  <a:lnTo>
                    <a:pt x="560" y="371"/>
                  </a:lnTo>
                  <a:lnTo>
                    <a:pt x="561" y="372"/>
                  </a:lnTo>
                  <a:lnTo>
                    <a:pt x="561" y="373"/>
                  </a:lnTo>
                  <a:lnTo>
                    <a:pt x="562" y="375"/>
                  </a:lnTo>
                  <a:lnTo>
                    <a:pt x="562" y="377"/>
                  </a:lnTo>
                  <a:lnTo>
                    <a:pt x="563" y="379"/>
                  </a:lnTo>
                  <a:lnTo>
                    <a:pt x="563" y="380"/>
                  </a:lnTo>
                  <a:lnTo>
                    <a:pt x="563" y="382"/>
                  </a:lnTo>
                  <a:lnTo>
                    <a:pt x="563" y="384"/>
                  </a:lnTo>
                  <a:lnTo>
                    <a:pt x="563" y="386"/>
                  </a:lnTo>
                  <a:lnTo>
                    <a:pt x="563" y="388"/>
                  </a:lnTo>
                  <a:lnTo>
                    <a:pt x="563" y="390"/>
                  </a:lnTo>
                  <a:lnTo>
                    <a:pt x="562" y="390"/>
                  </a:lnTo>
                  <a:lnTo>
                    <a:pt x="562" y="390"/>
                  </a:lnTo>
                  <a:lnTo>
                    <a:pt x="561" y="390"/>
                  </a:lnTo>
                  <a:lnTo>
                    <a:pt x="561" y="391"/>
                  </a:lnTo>
                  <a:lnTo>
                    <a:pt x="560" y="392"/>
                  </a:lnTo>
                  <a:lnTo>
                    <a:pt x="560" y="393"/>
                  </a:lnTo>
                  <a:lnTo>
                    <a:pt x="559" y="394"/>
                  </a:lnTo>
                  <a:lnTo>
                    <a:pt x="559" y="395"/>
                  </a:lnTo>
                  <a:lnTo>
                    <a:pt x="557" y="401"/>
                  </a:lnTo>
                  <a:lnTo>
                    <a:pt x="557" y="403"/>
                  </a:lnTo>
                  <a:lnTo>
                    <a:pt x="557" y="403"/>
                  </a:lnTo>
                  <a:lnTo>
                    <a:pt x="557" y="404"/>
                  </a:lnTo>
                  <a:lnTo>
                    <a:pt x="557" y="405"/>
                  </a:lnTo>
                  <a:lnTo>
                    <a:pt x="557" y="405"/>
                  </a:lnTo>
                  <a:lnTo>
                    <a:pt x="557" y="406"/>
                  </a:lnTo>
                  <a:lnTo>
                    <a:pt x="557" y="407"/>
                  </a:lnTo>
                  <a:lnTo>
                    <a:pt x="558" y="408"/>
                  </a:lnTo>
                  <a:lnTo>
                    <a:pt x="560" y="410"/>
                  </a:lnTo>
                  <a:lnTo>
                    <a:pt x="560" y="410"/>
                  </a:lnTo>
                  <a:lnTo>
                    <a:pt x="560" y="411"/>
                  </a:lnTo>
                  <a:lnTo>
                    <a:pt x="561" y="412"/>
                  </a:lnTo>
                  <a:lnTo>
                    <a:pt x="561" y="414"/>
                  </a:lnTo>
                  <a:lnTo>
                    <a:pt x="561" y="416"/>
                  </a:lnTo>
                  <a:lnTo>
                    <a:pt x="562" y="417"/>
                  </a:lnTo>
                  <a:lnTo>
                    <a:pt x="562" y="423"/>
                  </a:lnTo>
                  <a:lnTo>
                    <a:pt x="562" y="425"/>
                  </a:lnTo>
                  <a:lnTo>
                    <a:pt x="563" y="428"/>
                  </a:lnTo>
                  <a:lnTo>
                    <a:pt x="563" y="429"/>
                  </a:lnTo>
                  <a:lnTo>
                    <a:pt x="564" y="431"/>
                  </a:lnTo>
                  <a:lnTo>
                    <a:pt x="565" y="434"/>
                  </a:lnTo>
                  <a:lnTo>
                    <a:pt x="566" y="437"/>
                  </a:lnTo>
                  <a:lnTo>
                    <a:pt x="567" y="438"/>
                  </a:lnTo>
                  <a:lnTo>
                    <a:pt x="567" y="440"/>
                  </a:lnTo>
                  <a:lnTo>
                    <a:pt x="568" y="441"/>
                  </a:lnTo>
                  <a:lnTo>
                    <a:pt x="568" y="441"/>
                  </a:lnTo>
                  <a:lnTo>
                    <a:pt x="568" y="442"/>
                  </a:lnTo>
                  <a:lnTo>
                    <a:pt x="567" y="443"/>
                  </a:lnTo>
                  <a:lnTo>
                    <a:pt x="564" y="448"/>
                  </a:lnTo>
                  <a:lnTo>
                    <a:pt x="563" y="449"/>
                  </a:lnTo>
                  <a:lnTo>
                    <a:pt x="562" y="451"/>
                  </a:lnTo>
                  <a:lnTo>
                    <a:pt x="561" y="453"/>
                  </a:lnTo>
                  <a:lnTo>
                    <a:pt x="561" y="454"/>
                  </a:lnTo>
                  <a:lnTo>
                    <a:pt x="561" y="456"/>
                  </a:lnTo>
                  <a:lnTo>
                    <a:pt x="560" y="460"/>
                  </a:lnTo>
                  <a:lnTo>
                    <a:pt x="560" y="462"/>
                  </a:lnTo>
                  <a:lnTo>
                    <a:pt x="560" y="464"/>
                  </a:lnTo>
                  <a:lnTo>
                    <a:pt x="560" y="466"/>
                  </a:lnTo>
                  <a:lnTo>
                    <a:pt x="561" y="469"/>
                  </a:lnTo>
                  <a:lnTo>
                    <a:pt x="561" y="471"/>
                  </a:lnTo>
                  <a:lnTo>
                    <a:pt x="562" y="473"/>
                  </a:lnTo>
                  <a:lnTo>
                    <a:pt x="564" y="477"/>
                  </a:lnTo>
                  <a:lnTo>
                    <a:pt x="565" y="479"/>
                  </a:lnTo>
                  <a:lnTo>
                    <a:pt x="566" y="480"/>
                  </a:lnTo>
                  <a:lnTo>
                    <a:pt x="568" y="483"/>
                  </a:lnTo>
                  <a:lnTo>
                    <a:pt x="569" y="483"/>
                  </a:lnTo>
                  <a:lnTo>
                    <a:pt x="569" y="484"/>
                  </a:lnTo>
                  <a:lnTo>
                    <a:pt x="570" y="485"/>
                  </a:lnTo>
                  <a:lnTo>
                    <a:pt x="570" y="487"/>
                  </a:lnTo>
                  <a:lnTo>
                    <a:pt x="570" y="488"/>
                  </a:lnTo>
                  <a:lnTo>
                    <a:pt x="569" y="489"/>
                  </a:lnTo>
                  <a:lnTo>
                    <a:pt x="569" y="492"/>
                  </a:lnTo>
                  <a:lnTo>
                    <a:pt x="568" y="494"/>
                  </a:lnTo>
                  <a:lnTo>
                    <a:pt x="568" y="495"/>
                  </a:lnTo>
                  <a:lnTo>
                    <a:pt x="567" y="496"/>
                  </a:lnTo>
                  <a:lnTo>
                    <a:pt x="565" y="499"/>
                  </a:lnTo>
                  <a:lnTo>
                    <a:pt x="564" y="501"/>
                  </a:lnTo>
                  <a:lnTo>
                    <a:pt x="563" y="503"/>
                  </a:lnTo>
                  <a:lnTo>
                    <a:pt x="562" y="507"/>
                  </a:lnTo>
                  <a:lnTo>
                    <a:pt x="561" y="509"/>
                  </a:lnTo>
                  <a:lnTo>
                    <a:pt x="560" y="510"/>
                  </a:lnTo>
                  <a:lnTo>
                    <a:pt x="560" y="512"/>
                  </a:lnTo>
                  <a:lnTo>
                    <a:pt x="559" y="512"/>
                  </a:lnTo>
                  <a:lnTo>
                    <a:pt x="558" y="513"/>
                  </a:lnTo>
                  <a:lnTo>
                    <a:pt x="554" y="516"/>
                  </a:lnTo>
                  <a:lnTo>
                    <a:pt x="551" y="518"/>
                  </a:lnTo>
                  <a:lnTo>
                    <a:pt x="549" y="520"/>
                  </a:lnTo>
                  <a:lnTo>
                    <a:pt x="548" y="521"/>
                  </a:lnTo>
                  <a:lnTo>
                    <a:pt x="546" y="523"/>
                  </a:lnTo>
                  <a:lnTo>
                    <a:pt x="545" y="524"/>
                  </a:lnTo>
                  <a:lnTo>
                    <a:pt x="544" y="525"/>
                  </a:lnTo>
                  <a:lnTo>
                    <a:pt x="544" y="526"/>
                  </a:lnTo>
                  <a:lnTo>
                    <a:pt x="544" y="528"/>
                  </a:lnTo>
                  <a:lnTo>
                    <a:pt x="543" y="529"/>
                  </a:lnTo>
                  <a:lnTo>
                    <a:pt x="543" y="530"/>
                  </a:lnTo>
                  <a:lnTo>
                    <a:pt x="543" y="531"/>
                  </a:lnTo>
                  <a:lnTo>
                    <a:pt x="543" y="533"/>
                  </a:lnTo>
                  <a:lnTo>
                    <a:pt x="544" y="535"/>
                  </a:lnTo>
                  <a:lnTo>
                    <a:pt x="544" y="536"/>
                  </a:lnTo>
                  <a:lnTo>
                    <a:pt x="544" y="537"/>
                  </a:lnTo>
                  <a:lnTo>
                    <a:pt x="544" y="538"/>
                  </a:lnTo>
                  <a:lnTo>
                    <a:pt x="543" y="538"/>
                  </a:lnTo>
                  <a:lnTo>
                    <a:pt x="543" y="539"/>
                  </a:lnTo>
                  <a:lnTo>
                    <a:pt x="543" y="540"/>
                  </a:lnTo>
                  <a:lnTo>
                    <a:pt x="542" y="541"/>
                  </a:lnTo>
                  <a:lnTo>
                    <a:pt x="542" y="541"/>
                  </a:lnTo>
                  <a:lnTo>
                    <a:pt x="541" y="542"/>
                  </a:lnTo>
                  <a:lnTo>
                    <a:pt x="541" y="542"/>
                  </a:lnTo>
                  <a:lnTo>
                    <a:pt x="540" y="543"/>
                  </a:lnTo>
                  <a:lnTo>
                    <a:pt x="537" y="545"/>
                  </a:lnTo>
                  <a:lnTo>
                    <a:pt x="536" y="545"/>
                  </a:lnTo>
                  <a:lnTo>
                    <a:pt x="536" y="545"/>
                  </a:lnTo>
                  <a:lnTo>
                    <a:pt x="535" y="546"/>
                  </a:lnTo>
                  <a:lnTo>
                    <a:pt x="535" y="546"/>
                  </a:lnTo>
                  <a:lnTo>
                    <a:pt x="535" y="547"/>
                  </a:lnTo>
                  <a:lnTo>
                    <a:pt x="535" y="547"/>
                  </a:lnTo>
                  <a:lnTo>
                    <a:pt x="535" y="548"/>
                  </a:lnTo>
                  <a:lnTo>
                    <a:pt x="535" y="549"/>
                  </a:lnTo>
                  <a:lnTo>
                    <a:pt x="535" y="550"/>
                  </a:lnTo>
                  <a:lnTo>
                    <a:pt x="535" y="550"/>
                  </a:lnTo>
                  <a:lnTo>
                    <a:pt x="535" y="551"/>
                  </a:lnTo>
                  <a:lnTo>
                    <a:pt x="536" y="552"/>
                  </a:lnTo>
                  <a:lnTo>
                    <a:pt x="536" y="553"/>
                  </a:lnTo>
                  <a:lnTo>
                    <a:pt x="536" y="554"/>
                  </a:lnTo>
                  <a:lnTo>
                    <a:pt x="537" y="554"/>
                  </a:lnTo>
                  <a:lnTo>
                    <a:pt x="538" y="555"/>
                  </a:lnTo>
                  <a:lnTo>
                    <a:pt x="539" y="556"/>
                  </a:lnTo>
                  <a:lnTo>
                    <a:pt x="541" y="558"/>
                  </a:lnTo>
                  <a:lnTo>
                    <a:pt x="541" y="558"/>
                  </a:lnTo>
                  <a:lnTo>
                    <a:pt x="542" y="559"/>
                  </a:lnTo>
                  <a:lnTo>
                    <a:pt x="542" y="559"/>
                  </a:lnTo>
                  <a:lnTo>
                    <a:pt x="542" y="560"/>
                  </a:lnTo>
                  <a:lnTo>
                    <a:pt x="542" y="560"/>
                  </a:lnTo>
                  <a:lnTo>
                    <a:pt x="542" y="561"/>
                  </a:lnTo>
                  <a:lnTo>
                    <a:pt x="541" y="563"/>
                  </a:lnTo>
                  <a:lnTo>
                    <a:pt x="541" y="564"/>
                  </a:lnTo>
                  <a:lnTo>
                    <a:pt x="540" y="564"/>
                  </a:lnTo>
                  <a:lnTo>
                    <a:pt x="540" y="565"/>
                  </a:lnTo>
                  <a:lnTo>
                    <a:pt x="539" y="565"/>
                  </a:lnTo>
                  <a:lnTo>
                    <a:pt x="539" y="565"/>
                  </a:lnTo>
                  <a:lnTo>
                    <a:pt x="537" y="566"/>
                  </a:lnTo>
                  <a:lnTo>
                    <a:pt x="536" y="567"/>
                  </a:lnTo>
                  <a:lnTo>
                    <a:pt x="535" y="567"/>
                  </a:lnTo>
                  <a:lnTo>
                    <a:pt x="534" y="570"/>
                  </a:lnTo>
                  <a:lnTo>
                    <a:pt x="532" y="571"/>
                  </a:lnTo>
                  <a:lnTo>
                    <a:pt x="531" y="572"/>
                  </a:lnTo>
                  <a:lnTo>
                    <a:pt x="530" y="573"/>
                  </a:lnTo>
                  <a:lnTo>
                    <a:pt x="530" y="574"/>
                  </a:lnTo>
                  <a:lnTo>
                    <a:pt x="529" y="575"/>
                  </a:lnTo>
                  <a:lnTo>
                    <a:pt x="529" y="576"/>
                  </a:lnTo>
                  <a:lnTo>
                    <a:pt x="529" y="577"/>
                  </a:lnTo>
                  <a:lnTo>
                    <a:pt x="529" y="578"/>
                  </a:lnTo>
                  <a:lnTo>
                    <a:pt x="529" y="579"/>
                  </a:lnTo>
                  <a:lnTo>
                    <a:pt x="529" y="580"/>
                  </a:lnTo>
                  <a:lnTo>
                    <a:pt x="530" y="582"/>
                  </a:lnTo>
                  <a:lnTo>
                    <a:pt x="531" y="584"/>
                  </a:lnTo>
                  <a:lnTo>
                    <a:pt x="532" y="585"/>
                  </a:lnTo>
                  <a:lnTo>
                    <a:pt x="534" y="588"/>
                  </a:lnTo>
                  <a:lnTo>
                    <a:pt x="535" y="589"/>
                  </a:lnTo>
                  <a:lnTo>
                    <a:pt x="535" y="590"/>
                  </a:lnTo>
                  <a:lnTo>
                    <a:pt x="536" y="591"/>
                  </a:lnTo>
                  <a:lnTo>
                    <a:pt x="536" y="593"/>
                  </a:lnTo>
                  <a:lnTo>
                    <a:pt x="536" y="594"/>
                  </a:lnTo>
                  <a:lnTo>
                    <a:pt x="536" y="595"/>
                  </a:lnTo>
                  <a:lnTo>
                    <a:pt x="536" y="596"/>
                  </a:lnTo>
                  <a:lnTo>
                    <a:pt x="536" y="597"/>
                  </a:lnTo>
                  <a:lnTo>
                    <a:pt x="536" y="598"/>
                  </a:lnTo>
                  <a:lnTo>
                    <a:pt x="535" y="598"/>
                  </a:lnTo>
                  <a:lnTo>
                    <a:pt x="535" y="599"/>
                  </a:lnTo>
                  <a:lnTo>
                    <a:pt x="533" y="601"/>
                  </a:lnTo>
                  <a:lnTo>
                    <a:pt x="532" y="602"/>
                  </a:lnTo>
                  <a:lnTo>
                    <a:pt x="531" y="604"/>
                  </a:lnTo>
                  <a:lnTo>
                    <a:pt x="530" y="605"/>
                  </a:lnTo>
                  <a:lnTo>
                    <a:pt x="529" y="606"/>
                  </a:lnTo>
                  <a:lnTo>
                    <a:pt x="529" y="608"/>
                  </a:lnTo>
                  <a:lnTo>
                    <a:pt x="527" y="613"/>
                  </a:lnTo>
                  <a:lnTo>
                    <a:pt x="526" y="617"/>
                  </a:lnTo>
                  <a:lnTo>
                    <a:pt x="526" y="617"/>
                  </a:lnTo>
                  <a:lnTo>
                    <a:pt x="525" y="618"/>
                  </a:lnTo>
                  <a:lnTo>
                    <a:pt x="525" y="619"/>
                  </a:lnTo>
                  <a:lnTo>
                    <a:pt x="524" y="619"/>
                  </a:lnTo>
                  <a:lnTo>
                    <a:pt x="523" y="619"/>
                  </a:lnTo>
                  <a:lnTo>
                    <a:pt x="519" y="621"/>
                  </a:lnTo>
                  <a:lnTo>
                    <a:pt x="517" y="622"/>
                  </a:lnTo>
                  <a:lnTo>
                    <a:pt x="515" y="623"/>
                  </a:lnTo>
                  <a:lnTo>
                    <a:pt x="514" y="624"/>
                  </a:lnTo>
                  <a:lnTo>
                    <a:pt x="510" y="627"/>
                  </a:lnTo>
                  <a:lnTo>
                    <a:pt x="508" y="629"/>
                  </a:lnTo>
                  <a:lnTo>
                    <a:pt x="506" y="630"/>
                  </a:lnTo>
                  <a:lnTo>
                    <a:pt x="505" y="630"/>
                  </a:lnTo>
                  <a:lnTo>
                    <a:pt x="504" y="631"/>
                  </a:lnTo>
                  <a:lnTo>
                    <a:pt x="502" y="631"/>
                  </a:lnTo>
                  <a:lnTo>
                    <a:pt x="501" y="632"/>
                  </a:lnTo>
                  <a:lnTo>
                    <a:pt x="500" y="632"/>
                  </a:lnTo>
                  <a:lnTo>
                    <a:pt x="499" y="632"/>
                  </a:lnTo>
                  <a:lnTo>
                    <a:pt x="498" y="632"/>
                  </a:lnTo>
                  <a:lnTo>
                    <a:pt x="497" y="632"/>
                  </a:lnTo>
                  <a:lnTo>
                    <a:pt x="495" y="632"/>
                  </a:lnTo>
                  <a:lnTo>
                    <a:pt x="490" y="631"/>
                  </a:lnTo>
                  <a:lnTo>
                    <a:pt x="489" y="631"/>
                  </a:lnTo>
                  <a:lnTo>
                    <a:pt x="488" y="631"/>
                  </a:lnTo>
                  <a:lnTo>
                    <a:pt x="487" y="631"/>
                  </a:lnTo>
                  <a:lnTo>
                    <a:pt x="487" y="631"/>
                  </a:lnTo>
                  <a:lnTo>
                    <a:pt x="486" y="631"/>
                  </a:lnTo>
                  <a:lnTo>
                    <a:pt x="486" y="632"/>
                  </a:lnTo>
                  <a:lnTo>
                    <a:pt x="486" y="633"/>
                  </a:lnTo>
                  <a:lnTo>
                    <a:pt x="485" y="638"/>
                  </a:lnTo>
                  <a:lnTo>
                    <a:pt x="484" y="641"/>
                  </a:lnTo>
                  <a:lnTo>
                    <a:pt x="484" y="643"/>
                  </a:lnTo>
                  <a:lnTo>
                    <a:pt x="484" y="649"/>
                  </a:lnTo>
                  <a:lnTo>
                    <a:pt x="483" y="651"/>
                  </a:lnTo>
                  <a:lnTo>
                    <a:pt x="483" y="653"/>
                  </a:lnTo>
                  <a:lnTo>
                    <a:pt x="482" y="656"/>
                  </a:lnTo>
                  <a:lnTo>
                    <a:pt x="482" y="658"/>
                  </a:lnTo>
                  <a:lnTo>
                    <a:pt x="482" y="659"/>
                  </a:lnTo>
                  <a:lnTo>
                    <a:pt x="482" y="660"/>
                  </a:lnTo>
                  <a:lnTo>
                    <a:pt x="482" y="662"/>
                  </a:lnTo>
                  <a:lnTo>
                    <a:pt x="483" y="663"/>
                  </a:lnTo>
                  <a:lnTo>
                    <a:pt x="484" y="667"/>
                  </a:lnTo>
                  <a:lnTo>
                    <a:pt x="485" y="669"/>
                  </a:lnTo>
                  <a:lnTo>
                    <a:pt x="485" y="670"/>
                  </a:lnTo>
                  <a:lnTo>
                    <a:pt x="487" y="676"/>
                  </a:lnTo>
                  <a:lnTo>
                    <a:pt x="487" y="678"/>
                  </a:lnTo>
                  <a:lnTo>
                    <a:pt x="487" y="680"/>
                  </a:lnTo>
                  <a:lnTo>
                    <a:pt x="487" y="682"/>
                  </a:lnTo>
                  <a:lnTo>
                    <a:pt x="487" y="684"/>
                  </a:lnTo>
                  <a:lnTo>
                    <a:pt x="486" y="685"/>
                  </a:lnTo>
                  <a:lnTo>
                    <a:pt x="486" y="686"/>
                  </a:lnTo>
                  <a:lnTo>
                    <a:pt x="486" y="687"/>
                  </a:lnTo>
                  <a:lnTo>
                    <a:pt x="485" y="688"/>
                  </a:lnTo>
                  <a:lnTo>
                    <a:pt x="485" y="688"/>
                  </a:lnTo>
                  <a:lnTo>
                    <a:pt x="484" y="689"/>
                  </a:lnTo>
                  <a:lnTo>
                    <a:pt x="483" y="690"/>
                  </a:lnTo>
                  <a:lnTo>
                    <a:pt x="483" y="691"/>
                  </a:lnTo>
                  <a:lnTo>
                    <a:pt x="481" y="692"/>
                  </a:lnTo>
                  <a:lnTo>
                    <a:pt x="480" y="693"/>
                  </a:lnTo>
                  <a:lnTo>
                    <a:pt x="479" y="693"/>
                  </a:lnTo>
                  <a:lnTo>
                    <a:pt x="476" y="695"/>
                  </a:lnTo>
                  <a:lnTo>
                    <a:pt x="475" y="695"/>
                  </a:lnTo>
                  <a:lnTo>
                    <a:pt x="474" y="696"/>
                  </a:lnTo>
                  <a:lnTo>
                    <a:pt x="473" y="696"/>
                  </a:lnTo>
                  <a:lnTo>
                    <a:pt x="472" y="697"/>
                  </a:lnTo>
                  <a:lnTo>
                    <a:pt x="471" y="698"/>
                  </a:lnTo>
                  <a:lnTo>
                    <a:pt x="470" y="699"/>
                  </a:lnTo>
                  <a:lnTo>
                    <a:pt x="469" y="700"/>
                  </a:lnTo>
                  <a:lnTo>
                    <a:pt x="468" y="702"/>
                  </a:lnTo>
                  <a:lnTo>
                    <a:pt x="466" y="705"/>
                  </a:lnTo>
                  <a:lnTo>
                    <a:pt x="465" y="708"/>
                  </a:lnTo>
                  <a:lnTo>
                    <a:pt x="464" y="710"/>
                  </a:lnTo>
                  <a:lnTo>
                    <a:pt x="463" y="712"/>
                  </a:lnTo>
                  <a:lnTo>
                    <a:pt x="463" y="713"/>
                  </a:lnTo>
                  <a:lnTo>
                    <a:pt x="462" y="716"/>
                  </a:lnTo>
                  <a:lnTo>
                    <a:pt x="462" y="718"/>
                  </a:lnTo>
                  <a:lnTo>
                    <a:pt x="461" y="722"/>
                  </a:lnTo>
                  <a:lnTo>
                    <a:pt x="461" y="724"/>
                  </a:lnTo>
                  <a:lnTo>
                    <a:pt x="460" y="726"/>
                  </a:lnTo>
                  <a:lnTo>
                    <a:pt x="460" y="728"/>
                  </a:lnTo>
                  <a:lnTo>
                    <a:pt x="460" y="730"/>
                  </a:lnTo>
                  <a:lnTo>
                    <a:pt x="460" y="732"/>
                  </a:lnTo>
                  <a:lnTo>
                    <a:pt x="461" y="734"/>
                  </a:lnTo>
                  <a:lnTo>
                    <a:pt x="461" y="735"/>
                  </a:lnTo>
                  <a:lnTo>
                    <a:pt x="461" y="736"/>
                  </a:lnTo>
                  <a:lnTo>
                    <a:pt x="461" y="738"/>
                  </a:lnTo>
                  <a:lnTo>
                    <a:pt x="462" y="739"/>
                  </a:lnTo>
                  <a:lnTo>
                    <a:pt x="464" y="744"/>
                  </a:lnTo>
                  <a:lnTo>
                    <a:pt x="464" y="746"/>
                  </a:lnTo>
                  <a:lnTo>
                    <a:pt x="464" y="746"/>
                  </a:lnTo>
                  <a:lnTo>
                    <a:pt x="463" y="746"/>
                  </a:lnTo>
                  <a:lnTo>
                    <a:pt x="462" y="745"/>
                  </a:lnTo>
                  <a:lnTo>
                    <a:pt x="461" y="745"/>
                  </a:lnTo>
                  <a:lnTo>
                    <a:pt x="460" y="745"/>
                  </a:lnTo>
                  <a:lnTo>
                    <a:pt x="459" y="745"/>
                  </a:lnTo>
                  <a:lnTo>
                    <a:pt x="457" y="745"/>
                  </a:lnTo>
                  <a:lnTo>
                    <a:pt x="456" y="745"/>
                  </a:lnTo>
                  <a:lnTo>
                    <a:pt x="454" y="746"/>
                  </a:lnTo>
                  <a:lnTo>
                    <a:pt x="453" y="747"/>
                  </a:lnTo>
                  <a:lnTo>
                    <a:pt x="451" y="747"/>
                  </a:lnTo>
                  <a:lnTo>
                    <a:pt x="450" y="748"/>
                  </a:lnTo>
                  <a:lnTo>
                    <a:pt x="449" y="749"/>
                  </a:lnTo>
                  <a:lnTo>
                    <a:pt x="448" y="750"/>
                  </a:lnTo>
                  <a:lnTo>
                    <a:pt x="447" y="751"/>
                  </a:lnTo>
                  <a:lnTo>
                    <a:pt x="447" y="752"/>
                  </a:lnTo>
                  <a:lnTo>
                    <a:pt x="446" y="753"/>
                  </a:lnTo>
                  <a:lnTo>
                    <a:pt x="444" y="757"/>
                  </a:lnTo>
                  <a:lnTo>
                    <a:pt x="443" y="758"/>
                  </a:lnTo>
                  <a:lnTo>
                    <a:pt x="443" y="758"/>
                  </a:lnTo>
                  <a:lnTo>
                    <a:pt x="443" y="759"/>
                  </a:lnTo>
                  <a:lnTo>
                    <a:pt x="442" y="759"/>
                  </a:lnTo>
                  <a:lnTo>
                    <a:pt x="442" y="759"/>
                  </a:lnTo>
                  <a:lnTo>
                    <a:pt x="441" y="759"/>
                  </a:lnTo>
                  <a:lnTo>
                    <a:pt x="440" y="760"/>
                  </a:lnTo>
                  <a:lnTo>
                    <a:pt x="439" y="759"/>
                  </a:lnTo>
                  <a:lnTo>
                    <a:pt x="438" y="759"/>
                  </a:lnTo>
                  <a:lnTo>
                    <a:pt x="437" y="759"/>
                  </a:lnTo>
                  <a:lnTo>
                    <a:pt x="436" y="758"/>
                  </a:lnTo>
                  <a:lnTo>
                    <a:pt x="434" y="757"/>
                  </a:lnTo>
                  <a:lnTo>
                    <a:pt x="430" y="755"/>
                  </a:lnTo>
                  <a:lnTo>
                    <a:pt x="428" y="753"/>
                  </a:lnTo>
                  <a:lnTo>
                    <a:pt x="424" y="750"/>
                  </a:lnTo>
                  <a:lnTo>
                    <a:pt x="418" y="746"/>
                  </a:lnTo>
                  <a:lnTo>
                    <a:pt x="415" y="744"/>
                  </a:lnTo>
                  <a:lnTo>
                    <a:pt x="412" y="742"/>
                  </a:lnTo>
                  <a:lnTo>
                    <a:pt x="411" y="741"/>
                  </a:lnTo>
                  <a:lnTo>
                    <a:pt x="409" y="739"/>
                  </a:lnTo>
                  <a:lnTo>
                    <a:pt x="407" y="737"/>
                  </a:lnTo>
                  <a:lnTo>
                    <a:pt x="406" y="735"/>
                  </a:lnTo>
                  <a:lnTo>
                    <a:pt x="405" y="734"/>
                  </a:lnTo>
                  <a:lnTo>
                    <a:pt x="404" y="732"/>
                  </a:lnTo>
                  <a:lnTo>
                    <a:pt x="404" y="731"/>
                  </a:lnTo>
                  <a:lnTo>
                    <a:pt x="403" y="730"/>
                  </a:lnTo>
                  <a:lnTo>
                    <a:pt x="403" y="728"/>
                  </a:lnTo>
                  <a:lnTo>
                    <a:pt x="402" y="726"/>
                  </a:lnTo>
                  <a:lnTo>
                    <a:pt x="402" y="720"/>
                  </a:lnTo>
                  <a:lnTo>
                    <a:pt x="401" y="714"/>
                  </a:lnTo>
                  <a:lnTo>
                    <a:pt x="401" y="709"/>
                  </a:lnTo>
                  <a:lnTo>
                    <a:pt x="401" y="707"/>
                  </a:lnTo>
                  <a:lnTo>
                    <a:pt x="400" y="704"/>
                  </a:lnTo>
                  <a:lnTo>
                    <a:pt x="400" y="702"/>
                  </a:lnTo>
                  <a:lnTo>
                    <a:pt x="399" y="699"/>
                  </a:lnTo>
                  <a:lnTo>
                    <a:pt x="398" y="694"/>
                  </a:lnTo>
                  <a:lnTo>
                    <a:pt x="397" y="692"/>
                  </a:lnTo>
                  <a:lnTo>
                    <a:pt x="396" y="691"/>
                  </a:lnTo>
                  <a:lnTo>
                    <a:pt x="396" y="690"/>
                  </a:lnTo>
                  <a:lnTo>
                    <a:pt x="395" y="689"/>
                  </a:lnTo>
                  <a:lnTo>
                    <a:pt x="394" y="687"/>
                  </a:lnTo>
                  <a:lnTo>
                    <a:pt x="391" y="683"/>
                  </a:lnTo>
                  <a:lnTo>
                    <a:pt x="387" y="679"/>
                  </a:lnTo>
                  <a:lnTo>
                    <a:pt x="383" y="674"/>
                  </a:lnTo>
                  <a:lnTo>
                    <a:pt x="376" y="666"/>
                  </a:lnTo>
                  <a:lnTo>
                    <a:pt x="375" y="665"/>
                  </a:lnTo>
                  <a:lnTo>
                    <a:pt x="373" y="663"/>
                  </a:lnTo>
                  <a:lnTo>
                    <a:pt x="372" y="661"/>
                  </a:lnTo>
                  <a:lnTo>
                    <a:pt x="370" y="660"/>
                  </a:lnTo>
                  <a:lnTo>
                    <a:pt x="368" y="657"/>
                  </a:lnTo>
                  <a:lnTo>
                    <a:pt x="366" y="656"/>
                  </a:lnTo>
                  <a:lnTo>
                    <a:pt x="364" y="655"/>
                  </a:lnTo>
                  <a:lnTo>
                    <a:pt x="362" y="653"/>
                  </a:lnTo>
                  <a:lnTo>
                    <a:pt x="360" y="651"/>
                  </a:lnTo>
                  <a:lnTo>
                    <a:pt x="358" y="650"/>
                  </a:lnTo>
                  <a:lnTo>
                    <a:pt x="356" y="649"/>
                  </a:lnTo>
                  <a:lnTo>
                    <a:pt x="353" y="647"/>
                  </a:lnTo>
                  <a:lnTo>
                    <a:pt x="352" y="647"/>
                  </a:lnTo>
                  <a:lnTo>
                    <a:pt x="351" y="646"/>
                  </a:lnTo>
                  <a:lnTo>
                    <a:pt x="348" y="646"/>
                  </a:lnTo>
                  <a:lnTo>
                    <a:pt x="346" y="646"/>
                  </a:lnTo>
                  <a:lnTo>
                    <a:pt x="344" y="645"/>
                  </a:lnTo>
                  <a:lnTo>
                    <a:pt x="341" y="645"/>
                  </a:lnTo>
                  <a:lnTo>
                    <a:pt x="335" y="645"/>
                  </a:lnTo>
                  <a:lnTo>
                    <a:pt x="332" y="645"/>
                  </a:lnTo>
                  <a:lnTo>
                    <a:pt x="331" y="645"/>
                  </a:lnTo>
                  <a:lnTo>
                    <a:pt x="329" y="645"/>
                  </a:lnTo>
                  <a:lnTo>
                    <a:pt x="328" y="644"/>
                  </a:lnTo>
                  <a:lnTo>
                    <a:pt x="326" y="644"/>
                  </a:lnTo>
                  <a:lnTo>
                    <a:pt x="324" y="643"/>
                  </a:lnTo>
                  <a:lnTo>
                    <a:pt x="322" y="642"/>
                  </a:lnTo>
                  <a:lnTo>
                    <a:pt x="320" y="641"/>
                  </a:lnTo>
                  <a:lnTo>
                    <a:pt x="318" y="640"/>
                  </a:lnTo>
                  <a:lnTo>
                    <a:pt x="316" y="639"/>
                  </a:lnTo>
                  <a:lnTo>
                    <a:pt x="314" y="637"/>
                  </a:lnTo>
                  <a:lnTo>
                    <a:pt x="312" y="636"/>
                  </a:lnTo>
                  <a:lnTo>
                    <a:pt x="311" y="634"/>
                  </a:lnTo>
                  <a:lnTo>
                    <a:pt x="309" y="633"/>
                  </a:lnTo>
                  <a:lnTo>
                    <a:pt x="308" y="631"/>
                  </a:lnTo>
                  <a:lnTo>
                    <a:pt x="308" y="630"/>
                  </a:lnTo>
                  <a:lnTo>
                    <a:pt x="307" y="629"/>
                  </a:lnTo>
                  <a:lnTo>
                    <a:pt x="306" y="627"/>
                  </a:lnTo>
                  <a:lnTo>
                    <a:pt x="306" y="625"/>
                  </a:lnTo>
                  <a:lnTo>
                    <a:pt x="305" y="623"/>
                  </a:lnTo>
                  <a:lnTo>
                    <a:pt x="304" y="617"/>
                  </a:lnTo>
                  <a:lnTo>
                    <a:pt x="303" y="615"/>
                  </a:lnTo>
                  <a:lnTo>
                    <a:pt x="303" y="613"/>
                  </a:lnTo>
                  <a:lnTo>
                    <a:pt x="302" y="612"/>
                  </a:lnTo>
                  <a:lnTo>
                    <a:pt x="301" y="610"/>
                  </a:lnTo>
                  <a:lnTo>
                    <a:pt x="301" y="609"/>
                  </a:lnTo>
                  <a:lnTo>
                    <a:pt x="300" y="608"/>
                  </a:lnTo>
                  <a:lnTo>
                    <a:pt x="299" y="606"/>
                  </a:lnTo>
                  <a:lnTo>
                    <a:pt x="296" y="603"/>
                  </a:lnTo>
                  <a:lnTo>
                    <a:pt x="291" y="597"/>
                  </a:lnTo>
                  <a:lnTo>
                    <a:pt x="284" y="590"/>
                  </a:lnTo>
                  <a:lnTo>
                    <a:pt x="283" y="589"/>
                  </a:lnTo>
                  <a:lnTo>
                    <a:pt x="282" y="588"/>
                  </a:lnTo>
                  <a:lnTo>
                    <a:pt x="281" y="587"/>
                  </a:lnTo>
                  <a:lnTo>
                    <a:pt x="280" y="585"/>
                  </a:lnTo>
                  <a:lnTo>
                    <a:pt x="280" y="584"/>
                  </a:lnTo>
                  <a:lnTo>
                    <a:pt x="278" y="580"/>
                  </a:lnTo>
                  <a:lnTo>
                    <a:pt x="277" y="578"/>
                  </a:lnTo>
                  <a:lnTo>
                    <a:pt x="275" y="576"/>
                  </a:lnTo>
                  <a:lnTo>
                    <a:pt x="272" y="572"/>
                  </a:lnTo>
                  <a:lnTo>
                    <a:pt x="271" y="571"/>
                  </a:lnTo>
                  <a:lnTo>
                    <a:pt x="270" y="569"/>
                  </a:lnTo>
                  <a:lnTo>
                    <a:pt x="267" y="564"/>
                  </a:lnTo>
                  <a:lnTo>
                    <a:pt x="267" y="563"/>
                  </a:lnTo>
                  <a:lnTo>
                    <a:pt x="266" y="562"/>
                  </a:lnTo>
                  <a:lnTo>
                    <a:pt x="265" y="561"/>
                  </a:lnTo>
                  <a:lnTo>
                    <a:pt x="264" y="560"/>
                  </a:lnTo>
                  <a:lnTo>
                    <a:pt x="260" y="556"/>
                  </a:lnTo>
                  <a:lnTo>
                    <a:pt x="258" y="555"/>
                  </a:lnTo>
                  <a:lnTo>
                    <a:pt x="257" y="553"/>
                  </a:lnTo>
                  <a:lnTo>
                    <a:pt x="255" y="551"/>
                  </a:lnTo>
                  <a:lnTo>
                    <a:pt x="254" y="549"/>
                  </a:lnTo>
                  <a:lnTo>
                    <a:pt x="253" y="548"/>
                  </a:lnTo>
                  <a:lnTo>
                    <a:pt x="249" y="545"/>
                  </a:lnTo>
                  <a:lnTo>
                    <a:pt x="248" y="544"/>
                  </a:lnTo>
                  <a:lnTo>
                    <a:pt x="248" y="543"/>
                  </a:lnTo>
                  <a:lnTo>
                    <a:pt x="247" y="542"/>
                  </a:lnTo>
                  <a:lnTo>
                    <a:pt x="246" y="541"/>
                  </a:lnTo>
                  <a:lnTo>
                    <a:pt x="246" y="539"/>
                  </a:lnTo>
                  <a:lnTo>
                    <a:pt x="245" y="538"/>
                  </a:lnTo>
                  <a:lnTo>
                    <a:pt x="245" y="536"/>
                  </a:lnTo>
                  <a:lnTo>
                    <a:pt x="244" y="530"/>
                  </a:lnTo>
                  <a:lnTo>
                    <a:pt x="243" y="528"/>
                  </a:lnTo>
                  <a:lnTo>
                    <a:pt x="243" y="527"/>
                  </a:lnTo>
                  <a:lnTo>
                    <a:pt x="243" y="525"/>
                  </a:lnTo>
                  <a:lnTo>
                    <a:pt x="242" y="524"/>
                  </a:lnTo>
                  <a:lnTo>
                    <a:pt x="242" y="523"/>
                  </a:lnTo>
                  <a:lnTo>
                    <a:pt x="241" y="522"/>
                  </a:lnTo>
                  <a:lnTo>
                    <a:pt x="240" y="521"/>
                  </a:lnTo>
                  <a:lnTo>
                    <a:pt x="237" y="517"/>
                  </a:lnTo>
                  <a:lnTo>
                    <a:pt x="233" y="514"/>
                  </a:lnTo>
                  <a:lnTo>
                    <a:pt x="229" y="509"/>
                  </a:lnTo>
                  <a:lnTo>
                    <a:pt x="226" y="506"/>
                  </a:lnTo>
                  <a:lnTo>
                    <a:pt x="224" y="504"/>
                  </a:lnTo>
                  <a:lnTo>
                    <a:pt x="222" y="503"/>
                  </a:lnTo>
                  <a:lnTo>
                    <a:pt x="221" y="501"/>
                  </a:lnTo>
                  <a:lnTo>
                    <a:pt x="219" y="500"/>
                  </a:lnTo>
                  <a:lnTo>
                    <a:pt x="218" y="499"/>
                  </a:lnTo>
                  <a:lnTo>
                    <a:pt x="216" y="498"/>
                  </a:lnTo>
                  <a:lnTo>
                    <a:pt x="214" y="497"/>
                  </a:lnTo>
                  <a:lnTo>
                    <a:pt x="212" y="496"/>
                  </a:lnTo>
                  <a:lnTo>
                    <a:pt x="210" y="495"/>
                  </a:lnTo>
                  <a:lnTo>
                    <a:pt x="209" y="495"/>
                  </a:lnTo>
                  <a:lnTo>
                    <a:pt x="205" y="493"/>
                  </a:lnTo>
                  <a:lnTo>
                    <a:pt x="202" y="493"/>
                  </a:lnTo>
                  <a:lnTo>
                    <a:pt x="194" y="491"/>
                  </a:lnTo>
                  <a:lnTo>
                    <a:pt x="192" y="491"/>
                  </a:lnTo>
                  <a:lnTo>
                    <a:pt x="189" y="490"/>
                  </a:lnTo>
                  <a:lnTo>
                    <a:pt x="188" y="491"/>
                  </a:lnTo>
                  <a:lnTo>
                    <a:pt x="187" y="491"/>
                  </a:lnTo>
                  <a:lnTo>
                    <a:pt x="187" y="491"/>
                  </a:lnTo>
                  <a:lnTo>
                    <a:pt x="186" y="491"/>
                  </a:lnTo>
                  <a:lnTo>
                    <a:pt x="185" y="492"/>
                  </a:lnTo>
                  <a:lnTo>
                    <a:pt x="184" y="492"/>
                  </a:lnTo>
                  <a:lnTo>
                    <a:pt x="184" y="493"/>
                  </a:lnTo>
                  <a:lnTo>
                    <a:pt x="183" y="495"/>
                  </a:lnTo>
                  <a:lnTo>
                    <a:pt x="182" y="496"/>
                  </a:lnTo>
                  <a:lnTo>
                    <a:pt x="182" y="496"/>
                  </a:lnTo>
                  <a:lnTo>
                    <a:pt x="181" y="497"/>
                  </a:lnTo>
                  <a:lnTo>
                    <a:pt x="180" y="497"/>
                  </a:lnTo>
                  <a:lnTo>
                    <a:pt x="180" y="497"/>
                  </a:lnTo>
                  <a:lnTo>
                    <a:pt x="179" y="497"/>
                  </a:lnTo>
                  <a:lnTo>
                    <a:pt x="177" y="497"/>
                  </a:lnTo>
                  <a:lnTo>
                    <a:pt x="175" y="497"/>
                  </a:lnTo>
                  <a:lnTo>
                    <a:pt x="172" y="496"/>
                  </a:lnTo>
                  <a:lnTo>
                    <a:pt x="168" y="495"/>
                  </a:lnTo>
                  <a:lnTo>
                    <a:pt x="167" y="495"/>
                  </a:lnTo>
                  <a:lnTo>
                    <a:pt x="165" y="494"/>
                  </a:lnTo>
                  <a:lnTo>
                    <a:pt x="160" y="494"/>
                  </a:lnTo>
                  <a:lnTo>
                    <a:pt x="157" y="494"/>
                  </a:lnTo>
                  <a:lnTo>
                    <a:pt x="155" y="493"/>
                  </a:lnTo>
                  <a:lnTo>
                    <a:pt x="153" y="493"/>
                  </a:lnTo>
                  <a:lnTo>
                    <a:pt x="151" y="492"/>
                  </a:lnTo>
                  <a:lnTo>
                    <a:pt x="149" y="492"/>
                  </a:lnTo>
                  <a:lnTo>
                    <a:pt x="147" y="491"/>
                  </a:lnTo>
                  <a:lnTo>
                    <a:pt x="145" y="490"/>
                  </a:lnTo>
                  <a:lnTo>
                    <a:pt x="144" y="489"/>
                  </a:lnTo>
                  <a:lnTo>
                    <a:pt x="143" y="489"/>
                  </a:lnTo>
                  <a:lnTo>
                    <a:pt x="142" y="488"/>
                  </a:lnTo>
                  <a:lnTo>
                    <a:pt x="141" y="487"/>
                  </a:lnTo>
                  <a:lnTo>
                    <a:pt x="140" y="485"/>
                  </a:lnTo>
                  <a:lnTo>
                    <a:pt x="140" y="485"/>
                  </a:lnTo>
                  <a:lnTo>
                    <a:pt x="137" y="481"/>
                  </a:lnTo>
                  <a:lnTo>
                    <a:pt x="135" y="476"/>
                  </a:lnTo>
                  <a:lnTo>
                    <a:pt x="133" y="473"/>
                  </a:lnTo>
                  <a:lnTo>
                    <a:pt x="133" y="471"/>
                  </a:lnTo>
                  <a:lnTo>
                    <a:pt x="132" y="470"/>
                  </a:lnTo>
                  <a:lnTo>
                    <a:pt x="131" y="465"/>
                  </a:lnTo>
                  <a:lnTo>
                    <a:pt x="130" y="463"/>
                  </a:lnTo>
                  <a:lnTo>
                    <a:pt x="129" y="461"/>
                  </a:lnTo>
                  <a:lnTo>
                    <a:pt x="128" y="460"/>
                  </a:lnTo>
                  <a:lnTo>
                    <a:pt x="127" y="458"/>
                  </a:lnTo>
                  <a:lnTo>
                    <a:pt x="126" y="456"/>
                  </a:lnTo>
                  <a:lnTo>
                    <a:pt x="125" y="455"/>
                  </a:lnTo>
                  <a:lnTo>
                    <a:pt x="124" y="453"/>
                  </a:lnTo>
                  <a:lnTo>
                    <a:pt x="121" y="450"/>
                  </a:lnTo>
                  <a:lnTo>
                    <a:pt x="119" y="448"/>
                  </a:lnTo>
                  <a:lnTo>
                    <a:pt x="112" y="442"/>
                  </a:lnTo>
                  <a:lnTo>
                    <a:pt x="110" y="441"/>
                  </a:lnTo>
                  <a:lnTo>
                    <a:pt x="108" y="440"/>
                  </a:lnTo>
                  <a:lnTo>
                    <a:pt x="106" y="439"/>
                  </a:lnTo>
                  <a:lnTo>
                    <a:pt x="104" y="438"/>
                  </a:lnTo>
                  <a:lnTo>
                    <a:pt x="99" y="435"/>
                  </a:lnTo>
                  <a:lnTo>
                    <a:pt x="97" y="435"/>
                  </a:lnTo>
                  <a:lnTo>
                    <a:pt x="96" y="434"/>
                  </a:lnTo>
                  <a:lnTo>
                    <a:pt x="94" y="433"/>
                  </a:lnTo>
                  <a:lnTo>
                    <a:pt x="93" y="431"/>
                  </a:lnTo>
                  <a:lnTo>
                    <a:pt x="92" y="430"/>
                  </a:lnTo>
                  <a:lnTo>
                    <a:pt x="91" y="429"/>
                  </a:lnTo>
                  <a:lnTo>
                    <a:pt x="90" y="429"/>
                  </a:lnTo>
                  <a:lnTo>
                    <a:pt x="90" y="428"/>
                  </a:lnTo>
                  <a:lnTo>
                    <a:pt x="89" y="427"/>
                  </a:lnTo>
                  <a:lnTo>
                    <a:pt x="89" y="426"/>
                  </a:lnTo>
                  <a:lnTo>
                    <a:pt x="89" y="425"/>
                  </a:lnTo>
                  <a:lnTo>
                    <a:pt x="88" y="422"/>
                  </a:lnTo>
                  <a:lnTo>
                    <a:pt x="87" y="418"/>
                  </a:lnTo>
                  <a:lnTo>
                    <a:pt x="86" y="415"/>
                  </a:lnTo>
                  <a:lnTo>
                    <a:pt x="85" y="411"/>
                  </a:lnTo>
                  <a:lnTo>
                    <a:pt x="83" y="406"/>
                  </a:lnTo>
                  <a:lnTo>
                    <a:pt x="82" y="405"/>
                  </a:lnTo>
                  <a:lnTo>
                    <a:pt x="82" y="403"/>
                  </a:lnTo>
                  <a:lnTo>
                    <a:pt x="82" y="402"/>
                  </a:lnTo>
                  <a:lnTo>
                    <a:pt x="82" y="400"/>
                  </a:lnTo>
                  <a:lnTo>
                    <a:pt x="82" y="399"/>
                  </a:lnTo>
                  <a:lnTo>
                    <a:pt x="83" y="396"/>
                  </a:lnTo>
                  <a:lnTo>
                    <a:pt x="83" y="393"/>
                  </a:lnTo>
                  <a:lnTo>
                    <a:pt x="83" y="391"/>
                  </a:lnTo>
                  <a:lnTo>
                    <a:pt x="83" y="387"/>
                  </a:lnTo>
                  <a:lnTo>
                    <a:pt x="83" y="382"/>
                  </a:lnTo>
                  <a:lnTo>
                    <a:pt x="83" y="380"/>
                  </a:lnTo>
                  <a:lnTo>
                    <a:pt x="83" y="378"/>
                  </a:lnTo>
                  <a:lnTo>
                    <a:pt x="83" y="376"/>
                  </a:lnTo>
                  <a:lnTo>
                    <a:pt x="82" y="374"/>
                  </a:lnTo>
                  <a:lnTo>
                    <a:pt x="82" y="373"/>
                  </a:lnTo>
                  <a:lnTo>
                    <a:pt x="81" y="372"/>
                  </a:lnTo>
                  <a:lnTo>
                    <a:pt x="80" y="371"/>
                  </a:lnTo>
                  <a:lnTo>
                    <a:pt x="79" y="370"/>
                  </a:lnTo>
                  <a:lnTo>
                    <a:pt x="78" y="369"/>
                  </a:lnTo>
                  <a:lnTo>
                    <a:pt x="75" y="368"/>
                  </a:lnTo>
                  <a:lnTo>
                    <a:pt x="73" y="367"/>
                  </a:lnTo>
                  <a:lnTo>
                    <a:pt x="70" y="366"/>
                  </a:lnTo>
                  <a:lnTo>
                    <a:pt x="69" y="365"/>
                  </a:lnTo>
                  <a:lnTo>
                    <a:pt x="68" y="365"/>
                  </a:lnTo>
                  <a:lnTo>
                    <a:pt x="66" y="364"/>
                  </a:lnTo>
                  <a:lnTo>
                    <a:pt x="65" y="363"/>
                  </a:lnTo>
                  <a:lnTo>
                    <a:pt x="65" y="362"/>
                  </a:lnTo>
                  <a:lnTo>
                    <a:pt x="64" y="361"/>
                  </a:lnTo>
                  <a:lnTo>
                    <a:pt x="63" y="359"/>
                  </a:lnTo>
                  <a:lnTo>
                    <a:pt x="61" y="356"/>
                  </a:lnTo>
                  <a:lnTo>
                    <a:pt x="60" y="354"/>
                  </a:lnTo>
                  <a:lnTo>
                    <a:pt x="59" y="352"/>
                  </a:lnTo>
                  <a:lnTo>
                    <a:pt x="58" y="350"/>
                  </a:lnTo>
                  <a:lnTo>
                    <a:pt x="57" y="348"/>
                  </a:lnTo>
                  <a:lnTo>
                    <a:pt x="57" y="346"/>
                  </a:lnTo>
                  <a:lnTo>
                    <a:pt x="56" y="344"/>
                  </a:lnTo>
                  <a:lnTo>
                    <a:pt x="56" y="342"/>
                  </a:lnTo>
                  <a:lnTo>
                    <a:pt x="55" y="340"/>
                  </a:lnTo>
                  <a:lnTo>
                    <a:pt x="55" y="332"/>
                  </a:lnTo>
                  <a:lnTo>
                    <a:pt x="54" y="330"/>
                  </a:lnTo>
                  <a:lnTo>
                    <a:pt x="54" y="328"/>
                  </a:lnTo>
                  <a:lnTo>
                    <a:pt x="53" y="326"/>
                  </a:lnTo>
                  <a:lnTo>
                    <a:pt x="51" y="319"/>
                  </a:lnTo>
                  <a:lnTo>
                    <a:pt x="51" y="317"/>
                  </a:lnTo>
                  <a:lnTo>
                    <a:pt x="50" y="315"/>
                  </a:lnTo>
                  <a:lnTo>
                    <a:pt x="49" y="313"/>
                  </a:lnTo>
                  <a:lnTo>
                    <a:pt x="48" y="312"/>
                  </a:lnTo>
                  <a:lnTo>
                    <a:pt x="47" y="310"/>
                  </a:lnTo>
                  <a:lnTo>
                    <a:pt x="46" y="310"/>
                  </a:lnTo>
                  <a:lnTo>
                    <a:pt x="45" y="309"/>
                  </a:lnTo>
                  <a:lnTo>
                    <a:pt x="45" y="308"/>
                  </a:lnTo>
                  <a:lnTo>
                    <a:pt x="41" y="307"/>
                  </a:lnTo>
                  <a:lnTo>
                    <a:pt x="41" y="306"/>
                  </a:lnTo>
                  <a:lnTo>
                    <a:pt x="40" y="306"/>
                  </a:lnTo>
                  <a:lnTo>
                    <a:pt x="39" y="305"/>
                  </a:lnTo>
                  <a:lnTo>
                    <a:pt x="39" y="304"/>
                  </a:lnTo>
                  <a:lnTo>
                    <a:pt x="37" y="302"/>
                  </a:lnTo>
                  <a:lnTo>
                    <a:pt x="36" y="301"/>
                  </a:lnTo>
                  <a:lnTo>
                    <a:pt x="36" y="300"/>
                  </a:lnTo>
                  <a:lnTo>
                    <a:pt x="36" y="298"/>
                  </a:lnTo>
                  <a:lnTo>
                    <a:pt x="36" y="295"/>
                  </a:lnTo>
                  <a:lnTo>
                    <a:pt x="35" y="294"/>
                  </a:lnTo>
                  <a:lnTo>
                    <a:pt x="35" y="292"/>
                  </a:lnTo>
                  <a:lnTo>
                    <a:pt x="35" y="291"/>
                  </a:lnTo>
                  <a:lnTo>
                    <a:pt x="35" y="290"/>
                  </a:lnTo>
                  <a:lnTo>
                    <a:pt x="35" y="288"/>
                  </a:lnTo>
                  <a:lnTo>
                    <a:pt x="36" y="285"/>
                  </a:lnTo>
                  <a:lnTo>
                    <a:pt x="36" y="282"/>
                  </a:lnTo>
                  <a:lnTo>
                    <a:pt x="37" y="278"/>
                  </a:lnTo>
                  <a:lnTo>
                    <a:pt x="37" y="277"/>
                  </a:lnTo>
                  <a:lnTo>
                    <a:pt x="37" y="276"/>
                  </a:lnTo>
                  <a:lnTo>
                    <a:pt x="37" y="274"/>
                  </a:lnTo>
                  <a:lnTo>
                    <a:pt x="37" y="272"/>
                  </a:lnTo>
                  <a:lnTo>
                    <a:pt x="36" y="271"/>
                  </a:lnTo>
                  <a:lnTo>
                    <a:pt x="35" y="269"/>
                  </a:lnTo>
                  <a:lnTo>
                    <a:pt x="35" y="268"/>
                  </a:lnTo>
                  <a:lnTo>
                    <a:pt x="34" y="267"/>
                  </a:lnTo>
                  <a:lnTo>
                    <a:pt x="33" y="266"/>
                  </a:lnTo>
                  <a:lnTo>
                    <a:pt x="32" y="265"/>
                  </a:lnTo>
                  <a:lnTo>
                    <a:pt x="31" y="265"/>
                  </a:lnTo>
                  <a:lnTo>
                    <a:pt x="30" y="264"/>
                  </a:lnTo>
                  <a:lnTo>
                    <a:pt x="25" y="262"/>
                  </a:lnTo>
                  <a:lnTo>
                    <a:pt x="23" y="261"/>
                  </a:lnTo>
                  <a:lnTo>
                    <a:pt x="22" y="261"/>
                  </a:lnTo>
                  <a:lnTo>
                    <a:pt x="18" y="258"/>
                  </a:lnTo>
                  <a:lnTo>
                    <a:pt x="11" y="254"/>
                  </a:lnTo>
                  <a:lnTo>
                    <a:pt x="8" y="252"/>
                  </a:lnTo>
                  <a:lnTo>
                    <a:pt x="7" y="252"/>
                  </a:lnTo>
                  <a:lnTo>
                    <a:pt x="5" y="251"/>
                  </a:lnTo>
                  <a:lnTo>
                    <a:pt x="4" y="250"/>
                  </a:lnTo>
                  <a:lnTo>
                    <a:pt x="3" y="249"/>
                  </a:lnTo>
                  <a:lnTo>
                    <a:pt x="2" y="248"/>
                  </a:lnTo>
                  <a:lnTo>
                    <a:pt x="1" y="247"/>
                  </a:lnTo>
                  <a:lnTo>
                    <a:pt x="0" y="245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Freeform 234">
              <a:extLst>
                <a:ext uri="{FF2B5EF4-FFF2-40B4-BE49-F238E27FC236}">
                  <a16:creationId xmlns:a16="http://schemas.microsoft.com/office/drawing/2014/main" id="{60BCE7BF-5744-4DD8-9E5B-B0D02A1D5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4793" y="2458563"/>
              <a:ext cx="402523" cy="249666"/>
            </a:xfrm>
            <a:custGeom>
              <a:avLst/>
              <a:gdLst>
                <a:gd name="T0" fmla="*/ 3 w 395"/>
                <a:gd name="T1" fmla="*/ 231 h 245"/>
                <a:gd name="T2" fmla="*/ 0 w 395"/>
                <a:gd name="T3" fmla="*/ 221 h 245"/>
                <a:gd name="T4" fmla="*/ 2 w 395"/>
                <a:gd name="T5" fmla="*/ 214 h 245"/>
                <a:gd name="T6" fmla="*/ 8 w 395"/>
                <a:gd name="T7" fmla="*/ 208 h 245"/>
                <a:gd name="T8" fmla="*/ 23 w 395"/>
                <a:gd name="T9" fmla="*/ 199 h 245"/>
                <a:gd name="T10" fmla="*/ 27 w 395"/>
                <a:gd name="T11" fmla="*/ 194 h 245"/>
                <a:gd name="T12" fmla="*/ 32 w 395"/>
                <a:gd name="T13" fmla="*/ 171 h 245"/>
                <a:gd name="T14" fmla="*/ 36 w 395"/>
                <a:gd name="T15" fmla="*/ 164 h 245"/>
                <a:gd name="T16" fmla="*/ 43 w 395"/>
                <a:gd name="T17" fmla="*/ 154 h 245"/>
                <a:gd name="T18" fmla="*/ 52 w 395"/>
                <a:gd name="T19" fmla="*/ 139 h 245"/>
                <a:gd name="T20" fmla="*/ 62 w 395"/>
                <a:gd name="T21" fmla="*/ 124 h 245"/>
                <a:gd name="T22" fmla="*/ 73 w 395"/>
                <a:gd name="T23" fmla="*/ 123 h 245"/>
                <a:gd name="T24" fmla="*/ 84 w 395"/>
                <a:gd name="T25" fmla="*/ 125 h 245"/>
                <a:gd name="T26" fmla="*/ 91 w 395"/>
                <a:gd name="T27" fmla="*/ 121 h 245"/>
                <a:gd name="T28" fmla="*/ 99 w 395"/>
                <a:gd name="T29" fmla="*/ 117 h 245"/>
                <a:gd name="T30" fmla="*/ 107 w 395"/>
                <a:gd name="T31" fmla="*/ 118 h 245"/>
                <a:gd name="T32" fmla="*/ 113 w 395"/>
                <a:gd name="T33" fmla="*/ 123 h 245"/>
                <a:gd name="T34" fmla="*/ 117 w 395"/>
                <a:gd name="T35" fmla="*/ 127 h 245"/>
                <a:gd name="T36" fmla="*/ 119 w 395"/>
                <a:gd name="T37" fmla="*/ 127 h 245"/>
                <a:gd name="T38" fmla="*/ 122 w 395"/>
                <a:gd name="T39" fmla="*/ 121 h 245"/>
                <a:gd name="T40" fmla="*/ 129 w 395"/>
                <a:gd name="T41" fmla="*/ 117 h 245"/>
                <a:gd name="T42" fmla="*/ 133 w 395"/>
                <a:gd name="T43" fmla="*/ 112 h 245"/>
                <a:gd name="T44" fmla="*/ 142 w 395"/>
                <a:gd name="T45" fmla="*/ 109 h 245"/>
                <a:gd name="T46" fmla="*/ 155 w 395"/>
                <a:gd name="T47" fmla="*/ 106 h 245"/>
                <a:gd name="T48" fmla="*/ 166 w 395"/>
                <a:gd name="T49" fmla="*/ 103 h 245"/>
                <a:gd name="T50" fmla="*/ 173 w 395"/>
                <a:gd name="T51" fmla="*/ 103 h 245"/>
                <a:gd name="T52" fmla="*/ 186 w 395"/>
                <a:gd name="T53" fmla="*/ 107 h 245"/>
                <a:gd name="T54" fmla="*/ 196 w 395"/>
                <a:gd name="T55" fmla="*/ 110 h 245"/>
                <a:gd name="T56" fmla="*/ 206 w 395"/>
                <a:gd name="T57" fmla="*/ 110 h 245"/>
                <a:gd name="T58" fmla="*/ 213 w 395"/>
                <a:gd name="T59" fmla="*/ 110 h 245"/>
                <a:gd name="T60" fmla="*/ 222 w 395"/>
                <a:gd name="T61" fmla="*/ 113 h 245"/>
                <a:gd name="T62" fmla="*/ 230 w 395"/>
                <a:gd name="T63" fmla="*/ 110 h 245"/>
                <a:gd name="T64" fmla="*/ 238 w 395"/>
                <a:gd name="T65" fmla="*/ 103 h 245"/>
                <a:gd name="T66" fmla="*/ 241 w 395"/>
                <a:gd name="T67" fmla="*/ 92 h 245"/>
                <a:gd name="T68" fmla="*/ 241 w 395"/>
                <a:gd name="T69" fmla="*/ 84 h 245"/>
                <a:gd name="T70" fmla="*/ 245 w 395"/>
                <a:gd name="T71" fmla="*/ 80 h 245"/>
                <a:gd name="T72" fmla="*/ 257 w 395"/>
                <a:gd name="T73" fmla="*/ 74 h 245"/>
                <a:gd name="T74" fmla="*/ 271 w 395"/>
                <a:gd name="T75" fmla="*/ 66 h 245"/>
                <a:gd name="T76" fmla="*/ 283 w 395"/>
                <a:gd name="T77" fmla="*/ 58 h 245"/>
                <a:gd name="T78" fmla="*/ 293 w 395"/>
                <a:gd name="T79" fmla="*/ 48 h 245"/>
                <a:gd name="T80" fmla="*/ 298 w 395"/>
                <a:gd name="T81" fmla="*/ 46 h 245"/>
                <a:gd name="T82" fmla="*/ 308 w 395"/>
                <a:gd name="T83" fmla="*/ 48 h 245"/>
                <a:gd name="T84" fmla="*/ 323 w 395"/>
                <a:gd name="T85" fmla="*/ 51 h 245"/>
                <a:gd name="T86" fmla="*/ 330 w 395"/>
                <a:gd name="T87" fmla="*/ 55 h 245"/>
                <a:gd name="T88" fmla="*/ 341 w 395"/>
                <a:gd name="T89" fmla="*/ 63 h 245"/>
                <a:gd name="T90" fmla="*/ 347 w 395"/>
                <a:gd name="T91" fmla="*/ 66 h 245"/>
                <a:gd name="T92" fmla="*/ 351 w 395"/>
                <a:gd name="T93" fmla="*/ 65 h 245"/>
                <a:gd name="T94" fmla="*/ 354 w 395"/>
                <a:gd name="T95" fmla="*/ 60 h 245"/>
                <a:gd name="T96" fmla="*/ 357 w 395"/>
                <a:gd name="T97" fmla="*/ 44 h 245"/>
                <a:gd name="T98" fmla="*/ 357 w 395"/>
                <a:gd name="T99" fmla="*/ 38 h 245"/>
                <a:gd name="T100" fmla="*/ 361 w 395"/>
                <a:gd name="T101" fmla="*/ 35 h 245"/>
                <a:gd name="T102" fmla="*/ 372 w 395"/>
                <a:gd name="T103" fmla="*/ 31 h 245"/>
                <a:gd name="T104" fmla="*/ 379 w 395"/>
                <a:gd name="T105" fmla="*/ 27 h 245"/>
                <a:gd name="T106" fmla="*/ 381 w 395"/>
                <a:gd name="T107" fmla="*/ 22 h 245"/>
                <a:gd name="T108" fmla="*/ 380 w 395"/>
                <a:gd name="T109" fmla="*/ 19 h 245"/>
                <a:gd name="T110" fmla="*/ 378 w 395"/>
                <a:gd name="T111" fmla="*/ 14 h 245"/>
                <a:gd name="T112" fmla="*/ 380 w 395"/>
                <a:gd name="T113" fmla="*/ 6 h 245"/>
                <a:gd name="T114" fmla="*/ 384 w 395"/>
                <a:gd name="T115" fmla="*/ 3 h 245"/>
                <a:gd name="T116" fmla="*/ 387 w 395"/>
                <a:gd name="T117" fmla="*/ 2 h 245"/>
                <a:gd name="T118" fmla="*/ 393 w 395"/>
                <a:gd name="T119" fmla="*/ 1 h 245"/>
                <a:gd name="T120" fmla="*/ 395 w 395"/>
                <a:gd name="T12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5" h="245">
                  <a:moveTo>
                    <a:pt x="12" y="245"/>
                  </a:moveTo>
                  <a:lnTo>
                    <a:pt x="11" y="244"/>
                  </a:lnTo>
                  <a:lnTo>
                    <a:pt x="9" y="241"/>
                  </a:lnTo>
                  <a:lnTo>
                    <a:pt x="6" y="236"/>
                  </a:lnTo>
                  <a:lnTo>
                    <a:pt x="3" y="231"/>
                  </a:lnTo>
                  <a:lnTo>
                    <a:pt x="2" y="229"/>
                  </a:lnTo>
                  <a:lnTo>
                    <a:pt x="1" y="227"/>
                  </a:lnTo>
                  <a:lnTo>
                    <a:pt x="1" y="225"/>
                  </a:lnTo>
                  <a:lnTo>
                    <a:pt x="0" y="223"/>
                  </a:lnTo>
                  <a:lnTo>
                    <a:pt x="0" y="221"/>
                  </a:lnTo>
                  <a:lnTo>
                    <a:pt x="0" y="219"/>
                  </a:lnTo>
                  <a:lnTo>
                    <a:pt x="0" y="218"/>
                  </a:lnTo>
                  <a:lnTo>
                    <a:pt x="1" y="217"/>
                  </a:lnTo>
                  <a:lnTo>
                    <a:pt x="1" y="215"/>
                  </a:lnTo>
                  <a:lnTo>
                    <a:pt x="2" y="214"/>
                  </a:lnTo>
                  <a:lnTo>
                    <a:pt x="3" y="213"/>
                  </a:lnTo>
                  <a:lnTo>
                    <a:pt x="4" y="212"/>
                  </a:lnTo>
                  <a:lnTo>
                    <a:pt x="4" y="211"/>
                  </a:lnTo>
                  <a:lnTo>
                    <a:pt x="6" y="210"/>
                  </a:lnTo>
                  <a:lnTo>
                    <a:pt x="8" y="208"/>
                  </a:lnTo>
                  <a:lnTo>
                    <a:pt x="11" y="206"/>
                  </a:lnTo>
                  <a:lnTo>
                    <a:pt x="19" y="202"/>
                  </a:lnTo>
                  <a:lnTo>
                    <a:pt x="20" y="201"/>
                  </a:lnTo>
                  <a:lnTo>
                    <a:pt x="22" y="200"/>
                  </a:lnTo>
                  <a:lnTo>
                    <a:pt x="23" y="199"/>
                  </a:lnTo>
                  <a:lnTo>
                    <a:pt x="24" y="198"/>
                  </a:lnTo>
                  <a:lnTo>
                    <a:pt x="25" y="197"/>
                  </a:lnTo>
                  <a:lnTo>
                    <a:pt x="26" y="196"/>
                  </a:lnTo>
                  <a:lnTo>
                    <a:pt x="26" y="195"/>
                  </a:lnTo>
                  <a:lnTo>
                    <a:pt x="27" y="194"/>
                  </a:lnTo>
                  <a:lnTo>
                    <a:pt x="27" y="192"/>
                  </a:lnTo>
                  <a:lnTo>
                    <a:pt x="28" y="188"/>
                  </a:lnTo>
                  <a:lnTo>
                    <a:pt x="28" y="183"/>
                  </a:lnTo>
                  <a:lnTo>
                    <a:pt x="29" y="180"/>
                  </a:lnTo>
                  <a:lnTo>
                    <a:pt x="32" y="171"/>
                  </a:lnTo>
                  <a:lnTo>
                    <a:pt x="32" y="169"/>
                  </a:lnTo>
                  <a:lnTo>
                    <a:pt x="33" y="168"/>
                  </a:lnTo>
                  <a:lnTo>
                    <a:pt x="34" y="166"/>
                  </a:lnTo>
                  <a:lnTo>
                    <a:pt x="35" y="165"/>
                  </a:lnTo>
                  <a:lnTo>
                    <a:pt x="36" y="164"/>
                  </a:lnTo>
                  <a:lnTo>
                    <a:pt x="38" y="162"/>
                  </a:lnTo>
                  <a:lnTo>
                    <a:pt x="39" y="161"/>
                  </a:lnTo>
                  <a:lnTo>
                    <a:pt x="40" y="160"/>
                  </a:lnTo>
                  <a:lnTo>
                    <a:pt x="41" y="158"/>
                  </a:lnTo>
                  <a:lnTo>
                    <a:pt x="43" y="154"/>
                  </a:lnTo>
                  <a:lnTo>
                    <a:pt x="44" y="153"/>
                  </a:lnTo>
                  <a:lnTo>
                    <a:pt x="46" y="149"/>
                  </a:lnTo>
                  <a:lnTo>
                    <a:pt x="47" y="147"/>
                  </a:lnTo>
                  <a:lnTo>
                    <a:pt x="48" y="145"/>
                  </a:lnTo>
                  <a:lnTo>
                    <a:pt x="52" y="139"/>
                  </a:lnTo>
                  <a:lnTo>
                    <a:pt x="54" y="135"/>
                  </a:lnTo>
                  <a:lnTo>
                    <a:pt x="55" y="134"/>
                  </a:lnTo>
                  <a:lnTo>
                    <a:pt x="57" y="131"/>
                  </a:lnTo>
                  <a:lnTo>
                    <a:pt x="58" y="129"/>
                  </a:lnTo>
                  <a:lnTo>
                    <a:pt x="62" y="124"/>
                  </a:lnTo>
                  <a:lnTo>
                    <a:pt x="63" y="123"/>
                  </a:lnTo>
                  <a:lnTo>
                    <a:pt x="64" y="121"/>
                  </a:lnTo>
                  <a:lnTo>
                    <a:pt x="64" y="121"/>
                  </a:lnTo>
                  <a:lnTo>
                    <a:pt x="67" y="121"/>
                  </a:lnTo>
                  <a:lnTo>
                    <a:pt x="73" y="123"/>
                  </a:lnTo>
                  <a:lnTo>
                    <a:pt x="79" y="125"/>
                  </a:lnTo>
                  <a:lnTo>
                    <a:pt x="81" y="125"/>
                  </a:lnTo>
                  <a:lnTo>
                    <a:pt x="82" y="125"/>
                  </a:lnTo>
                  <a:lnTo>
                    <a:pt x="83" y="125"/>
                  </a:lnTo>
                  <a:lnTo>
                    <a:pt x="84" y="125"/>
                  </a:lnTo>
                  <a:lnTo>
                    <a:pt x="85" y="125"/>
                  </a:lnTo>
                  <a:lnTo>
                    <a:pt x="86" y="124"/>
                  </a:lnTo>
                  <a:lnTo>
                    <a:pt x="88" y="124"/>
                  </a:lnTo>
                  <a:lnTo>
                    <a:pt x="89" y="123"/>
                  </a:lnTo>
                  <a:lnTo>
                    <a:pt x="91" y="121"/>
                  </a:lnTo>
                  <a:lnTo>
                    <a:pt x="92" y="120"/>
                  </a:lnTo>
                  <a:lnTo>
                    <a:pt x="94" y="119"/>
                  </a:lnTo>
                  <a:lnTo>
                    <a:pt x="96" y="118"/>
                  </a:lnTo>
                  <a:lnTo>
                    <a:pt x="98" y="118"/>
                  </a:lnTo>
                  <a:lnTo>
                    <a:pt x="99" y="117"/>
                  </a:lnTo>
                  <a:lnTo>
                    <a:pt x="101" y="117"/>
                  </a:lnTo>
                  <a:lnTo>
                    <a:pt x="103" y="117"/>
                  </a:lnTo>
                  <a:lnTo>
                    <a:pt x="104" y="117"/>
                  </a:lnTo>
                  <a:lnTo>
                    <a:pt x="105" y="118"/>
                  </a:lnTo>
                  <a:lnTo>
                    <a:pt x="107" y="118"/>
                  </a:lnTo>
                  <a:lnTo>
                    <a:pt x="108" y="119"/>
                  </a:lnTo>
                  <a:lnTo>
                    <a:pt x="110" y="120"/>
                  </a:lnTo>
                  <a:lnTo>
                    <a:pt x="111" y="121"/>
                  </a:lnTo>
                  <a:lnTo>
                    <a:pt x="112" y="122"/>
                  </a:lnTo>
                  <a:lnTo>
                    <a:pt x="113" y="123"/>
                  </a:lnTo>
                  <a:lnTo>
                    <a:pt x="115" y="126"/>
                  </a:lnTo>
                  <a:lnTo>
                    <a:pt x="116" y="127"/>
                  </a:lnTo>
                  <a:lnTo>
                    <a:pt x="116" y="127"/>
                  </a:lnTo>
                  <a:lnTo>
                    <a:pt x="117" y="127"/>
                  </a:lnTo>
                  <a:lnTo>
                    <a:pt x="117" y="127"/>
                  </a:lnTo>
                  <a:lnTo>
                    <a:pt x="118" y="127"/>
                  </a:lnTo>
                  <a:lnTo>
                    <a:pt x="118" y="127"/>
                  </a:lnTo>
                  <a:lnTo>
                    <a:pt x="118" y="127"/>
                  </a:lnTo>
                  <a:lnTo>
                    <a:pt x="119" y="127"/>
                  </a:lnTo>
                  <a:lnTo>
                    <a:pt x="119" y="127"/>
                  </a:lnTo>
                  <a:lnTo>
                    <a:pt x="119" y="126"/>
                  </a:lnTo>
                  <a:lnTo>
                    <a:pt x="120" y="124"/>
                  </a:lnTo>
                  <a:lnTo>
                    <a:pt x="120" y="123"/>
                  </a:lnTo>
                  <a:lnTo>
                    <a:pt x="121" y="122"/>
                  </a:lnTo>
                  <a:lnTo>
                    <a:pt x="122" y="121"/>
                  </a:lnTo>
                  <a:lnTo>
                    <a:pt x="123" y="121"/>
                  </a:lnTo>
                  <a:lnTo>
                    <a:pt x="124" y="120"/>
                  </a:lnTo>
                  <a:lnTo>
                    <a:pt x="125" y="119"/>
                  </a:lnTo>
                  <a:lnTo>
                    <a:pt x="128" y="117"/>
                  </a:lnTo>
                  <a:lnTo>
                    <a:pt x="129" y="117"/>
                  </a:lnTo>
                  <a:lnTo>
                    <a:pt x="130" y="116"/>
                  </a:lnTo>
                  <a:lnTo>
                    <a:pt x="131" y="115"/>
                  </a:lnTo>
                  <a:lnTo>
                    <a:pt x="132" y="113"/>
                  </a:lnTo>
                  <a:lnTo>
                    <a:pt x="133" y="113"/>
                  </a:lnTo>
                  <a:lnTo>
                    <a:pt x="133" y="112"/>
                  </a:lnTo>
                  <a:lnTo>
                    <a:pt x="134" y="112"/>
                  </a:lnTo>
                  <a:lnTo>
                    <a:pt x="136" y="111"/>
                  </a:lnTo>
                  <a:lnTo>
                    <a:pt x="139" y="110"/>
                  </a:lnTo>
                  <a:lnTo>
                    <a:pt x="141" y="110"/>
                  </a:lnTo>
                  <a:lnTo>
                    <a:pt x="142" y="109"/>
                  </a:lnTo>
                  <a:lnTo>
                    <a:pt x="146" y="108"/>
                  </a:lnTo>
                  <a:lnTo>
                    <a:pt x="147" y="107"/>
                  </a:lnTo>
                  <a:lnTo>
                    <a:pt x="149" y="107"/>
                  </a:lnTo>
                  <a:lnTo>
                    <a:pt x="154" y="106"/>
                  </a:lnTo>
                  <a:lnTo>
                    <a:pt x="155" y="106"/>
                  </a:lnTo>
                  <a:lnTo>
                    <a:pt x="158" y="106"/>
                  </a:lnTo>
                  <a:lnTo>
                    <a:pt x="159" y="106"/>
                  </a:lnTo>
                  <a:lnTo>
                    <a:pt x="161" y="105"/>
                  </a:lnTo>
                  <a:lnTo>
                    <a:pt x="165" y="104"/>
                  </a:lnTo>
                  <a:lnTo>
                    <a:pt x="166" y="103"/>
                  </a:lnTo>
                  <a:lnTo>
                    <a:pt x="167" y="103"/>
                  </a:lnTo>
                  <a:lnTo>
                    <a:pt x="168" y="103"/>
                  </a:lnTo>
                  <a:lnTo>
                    <a:pt x="170" y="103"/>
                  </a:lnTo>
                  <a:lnTo>
                    <a:pt x="171" y="103"/>
                  </a:lnTo>
                  <a:lnTo>
                    <a:pt x="173" y="103"/>
                  </a:lnTo>
                  <a:lnTo>
                    <a:pt x="174" y="104"/>
                  </a:lnTo>
                  <a:lnTo>
                    <a:pt x="176" y="104"/>
                  </a:lnTo>
                  <a:lnTo>
                    <a:pt x="178" y="105"/>
                  </a:lnTo>
                  <a:lnTo>
                    <a:pt x="180" y="106"/>
                  </a:lnTo>
                  <a:lnTo>
                    <a:pt x="186" y="107"/>
                  </a:lnTo>
                  <a:lnTo>
                    <a:pt x="188" y="108"/>
                  </a:lnTo>
                  <a:lnTo>
                    <a:pt x="192" y="110"/>
                  </a:lnTo>
                  <a:lnTo>
                    <a:pt x="193" y="110"/>
                  </a:lnTo>
                  <a:lnTo>
                    <a:pt x="195" y="110"/>
                  </a:lnTo>
                  <a:lnTo>
                    <a:pt x="196" y="110"/>
                  </a:lnTo>
                  <a:lnTo>
                    <a:pt x="197" y="110"/>
                  </a:lnTo>
                  <a:lnTo>
                    <a:pt x="200" y="110"/>
                  </a:lnTo>
                  <a:lnTo>
                    <a:pt x="201" y="110"/>
                  </a:lnTo>
                  <a:lnTo>
                    <a:pt x="203" y="110"/>
                  </a:lnTo>
                  <a:lnTo>
                    <a:pt x="206" y="110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10" y="109"/>
                  </a:lnTo>
                  <a:lnTo>
                    <a:pt x="212" y="110"/>
                  </a:lnTo>
                  <a:lnTo>
                    <a:pt x="213" y="110"/>
                  </a:lnTo>
                  <a:lnTo>
                    <a:pt x="215" y="110"/>
                  </a:lnTo>
                  <a:lnTo>
                    <a:pt x="219" y="112"/>
                  </a:lnTo>
                  <a:lnTo>
                    <a:pt x="220" y="112"/>
                  </a:lnTo>
                  <a:lnTo>
                    <a:pt x="221" y="112"/>
                  </a:lnTo>
                  <a:lnTo>
                    <a:pt x="222" y="113"/>
                  </a:lnTo>
                  <a:lnTo>
                    <a:pt x="223" y="112"/>
                  </a:lnTo>
                  <a:lnTo>
                    <a:pt x="225" y="112"/>
                  </a:lnTo>
                  <a:lnTo>
                    <a:pt x="226" y="112"/>
                  </a:lnTo>
                  <a:lnTo>
                    <a:pt x="228" y="111"/>
                  </a:lnTo>
                  <a:lnTo>
                    <a:pt x="230" y="110"/>
                  </a:lnTo>
                  <a:lnTo>
                    <a:pt x="231" y="109"/>
                  </a:lnTo>
                  <a:lnTo>
                    <a:pt x="233" y="108"/>
                  </a:lnTo>
                  <a:lnTo>
                    <a:pt x="235" y="106"/>
                  </a:lnTo>
                  <a:lnTo>
                    <a:pt x="236" y="104"/>
                  </a:lnTo>
                  <a:lnTo>
                    <a:pt x="238" y="103"/>
                  </a:lnTo>
                  <a:lnTo>
                    <a:pt x="238" y="101"/>
                  </a:lnTo>
                  <a:lnTo>
                    <a:pt x="239" y="101"/>
                  </a:lnTo>
                  <a:lnTo>
                    <a:pt x="239" y="100"/>
                  </a:lnTo>
                  <a:lnTo>
                    <a:pt x="241" y="93"/>
                  </a:lnTo>
                  <a:lnTo>
                    <a:pt x="241" y="92"/>
                  </a:lnTo>
                  <a:lnTo>
                    <a:pt x="241" y="91"/>
                  </a:lnTo>
                  <a:lnTo>
                    <a:pt x="241" y="86"/>
                  </a:lnTo>
                  <a:lnTo>
                    <a:pt x="241" y="85"/>
                  </a:lnTo>
                  <a:lnTo>
                    <a:pt x="241" y="85"/>
                  </a:lnTo>
                  <a:lnTo>
                    <a:pt x="241" y="84"/>
                  </a:lnTo>
                  <a:lnTo>
                    <a:pt x="242" y="83"/>
                  </a:lnTo>
                  <a:lnTo>
                    <a:pt x="242" y="82"/>
                  </a:lnTo>
                  <a:lnTo>
                    <a:pt x="243" y="82"/>
                  </a:lnTo>
                  <a:lnTo>
                    <a:pt x="244" y="81"/>
                  </a:lnTo>
                  <a:lnTo>
                    <a:pt x="245" y="80"/>
                  </a:lnTo>
                  <a:lnTo>
                    <a:pt x="246" y="80"/>
                  </a:lnTo>
                  <a:lnTo>
                    <a:pt x="249" y="78"/>
                  </a:lnTo>
                  <a:lnTo>
                    <a:pt x="254" y="76"/>
                  </a:lnTo>
                  <a:lnTo>
                    <a:pt x="255" y="76"/>
                  </a:lnTo>
                  <a:lnTo>
                    <a:pt x="257" y="74"/>
                  </a:lnTo>
                  <a:lnTo>
                    <a:pt x="258" y="73"/>
                  </a:lnTo>
                  <a:lnTo>
                    <a:pt x="260" y="72"/>
                  </a:lnTo>
                  <a:lnTo>
                    <a:pt x="263" y="71"/>
                  </a:lnTo>
                  <a:lnTo>
                    <a:pt x="264" y="70"/>
                  </a:lnTo>
                  <a:lnTo>
                    <a:pt x="271" y="66"/>
                  </a:lnTo>
                  <a:lnTo>
                    <a:pt x="274" y="64"/>
                  </a:lnTo>
                  <a:lnTo>
                    <a:pt x="276" y="62"/>
                  </a:lnTo>
                  <a:lnTo>
                    <a:pt x="279" y="60"/>
                  </a:lnTo>
                  <a:lnTo>
                    <a:pt x="282" y="58"/>
                  </a:lnTo>
                  <a:lnTo>
                    <a:pt x="283" y="58"/>
                  </a:lnTo>
                  <a:lnTo>
                    <a:pt x="285" y="56"/>
                  </a:lnTo>
                  <a:lnTo>
                    <a:pt x="288" y="54"/>
                  </a:lnTo>
                  <a:lnTo>
                    <a:pt x="291" y="51"/>
                  </a:lnTo>
                  <a:lnTo>
                    <a:pt x="293" y="49"/>
                  </a:lnTo>
                  <a:lnTo>
                    <a:pt x="293" y="48"/>
                  </a:lnTo>
                  <a:lnTo>
                    <a:pt x="294" y="48"/>
                  </a:lnTo>
                  <a:lnTo>
                    <a:pt x="295" y="47"/>
                  </a:lnTo>
                  <a:lnTo>
                    <a:pt x="296" y="47"/>
                  </a:lnTo>
                  <a:lnTo>
                    <a:pt x="297" y="46"/>
                  </a:lnTo>
                  <a:lnTo>
                    <a:pt x="298" y="46"/>
                  </a:lnTo>
                  <a:lnTo>
                    <a:pt x="298" y="46"/>
                  </a:lnTo>
                  <a:lnTo>
                    <a:pt x="299" y="46"/>
                  </a:lnTo>
                  <a:lnTo>
                    <a:pt x="303" y="47"/>
                  </a:lnTo>
                  <a:lnTo>
                    <a:pt x="306" y="48"/>
                  </a:lnTo>
                  <a:lnTo>
                    <a:pt x="308" y="48"/>
                  </a:lnTo>
                  <a:lnTo>
                    <a:pt x="312" y="49"/>
                  </a:lnTo>
                  <a:lnTo>
                    <a:pt x="317" y="49"/>
                  </a:lnTo>
                  <a:lnTo>
                    <a:pt x="318" y="49"/>
                  </a:lnTo>
                  <a:lnTo>
                    <a:pt x="320" y="50"/>
                  </a:lnTo>
                  <a:lnTo>
                    <a:pt x="323" y="51"/>
                  </a:lnTo>
                  <a:lnTo>
                    <a:pt x="324" y="51"/>
                  </a:lnTo>
                  <a:lnTo>
                    <a:pt x="325" y="51"/>
                  </a:lnTo>
                  <a:lnTo>
                    <a:pt x="326" y="52"/>
                  </a:lnTo>
                  <a:lnTo>
                    <a:pt x="328" y="54"/>
                  </a:lnTo>
                  <a:lnTo>
                    <a:pt x="330" y="55"/>
                  </a:lnTo>
                  <a:lnTo>
                    <a:pt x="333" y="57"/>
                  </a:lnTo>
                  <a:lnTo>
                    <a:pt x="333" y="58"/>
                  </a:lnTo>
                  <a:lnTo>
                    <a:pt x="335" y="59"/>
                  </a:lnTo>
                  <a:lnTo>
                    <a:pt x="339" y="62"/>
                  </a:lnTo>
                  <a:lnTo>
                    <a:pt x="341" y="63"/>
                  </a:lnTo>
                  <a:lnTo>
                    <a:pt x="343" y="64"/>
                  </a:lnTo>
                  <a:lnTo>
                    <a:pt x="344" y="65"/>
                  </a:lnTo>
                  <a:lnTo>
                    <a:pt x="345" y="65"/>
                  </a:lnTo>
                  <a:lnTo>
                    <a:pt x="346" y="66"/>
                  </a:lnTo>
                  <a:lnTo>
                    <a:pt x="347" y="66"/>
                  </a:lnTo>
                  <a:lnTo>
                    <a:pt x="348" y="66"/>
                  </a:lnTo>
                  <a:lnTo>
                    <a:pt x="349" y="66"/>
                  </a:lnTo>
                  <a:lnTo>
                    <a:pt x="350" y="66"/>
                  </a:lnTo>
                  <a:lnTo>
                    <a:pt x="351" y="66"/>
                  </a:lnTo>
                  <a:lnTo>
                    <a:pt x="351" y="65"/>
                  </a:lnTo>
                  <a:lnTo>
                    <a:pt x="352" y="65"/>
                  </a:lnTo>
                  <a:lnTo>
                    <a:pt x="353" y="64"/>
                  </a:lnTo>
                  <a:lnTo>
                    <a:pt x="353" y="63"/>
                  </a:lnTo>
                  <a:lnTo>
                    <a:pt x="354" y="62"/>
                  </a:lnTo>
                  <a:lnTo>
                    <a:pt x="354" y="60"/>
                  </a:lnTo>
                  <a:lnTo>
                    <a:pt x="356" y="52"/>
                  </a:lnTo>
                  <a:lnTo>
                    <a:pt x="357" y="50"/>
                  </a:lnTo>
                  <a:lnTo>
                    <a:pt x="357" y="49"/>
                  </a:lnTo>
                  <a:lnTo>
                    <a:pt x="357" y="47"/>
                  </a:lnTo>
                  <a:lnTo>
                    <a:pt x="357" y="44"/>
                  </a:lnTo>
                  <a:lnTo>
                    <a:pt x="357" y="43"/>
                  </a:lnTo>
                  <a:lnTo>
                    <a:pt x="356" y="41"/>
                  </a:lnTo>
                  <a:lnTo>
                    <a:pt x="356" y="40"/>
                  </a:lnTo>
                  <a:lnTo>
                    <a:pt x="357" y="39"/>
                  </a:lnTo>
                  <a:lnTo>
                    <a:pt x="357" y="38"/>
                  </a:lnTo>
                  <a:lnTo>
                    <a:pt x="357" y="37"/>
                  </a:lnTo>
                  <a:lnTo>
                    <a:pt x="358" y="37"/>
                  </a:lnTo>
                  <a:lnTo>
                    <a:pt x="358" y="36"/>
                  </a:lnTo>
                  <a:lnTo>
                    <a:pt x="359" y="36"/>
                  </a:lnTo>
                  <a:lnTo>
                    <a:pt x="361" y="35"/>
                  </a:lnTo>
                  <a:lnTo>
                    <a:pt x="363" y="35"/>
                  </a:lnTo>
                  <a:lnTo>
                    <a:pt x="364" y="35"/>
                  </a:lnTo>
                  <a:lnTo>
                    <a:pt x="366" y="34"/>
                  </a:lnTo>
                  <a:lnTo>
                    <a:pt x="371" y="32"/>
                  </a:lnTo>
                  <a:lnTo>
                    <a:pt x="372" y="31"/>
                  </a:lnTo>
                  <a:lnTo>
                    <a:pt x="373" y="31"/>
                  </a:lnTo>
                  <a:lnTo>
                    <a:pt x="375" y="29"/>
                  </a:lnTo>
                  <a:lnTo>
                    <a:pt x="377" y="28"/>
                  </a:lnTo>
                  <a:lnTo>
                    <a:pt x="378" y="28"/>
                  </a:lnTo>
                  <a:lnTo>
                    <a:pt x="379" y="27"/>
                  </a:lnTo>
                  <a:lnTo>
                    <a:pt x="379" y="26"/>
                  </a:lnTo>
                  <a:lnTo>
                    <a:pt x="380" y="25"/>
                  </a:lnTo>
                  <a:lnTo>
                    <a:pt x="380" y="25"/>
                  </a:lnTo>
                  <a:lnTo>
                    <a:pt x="381" y="24"/>
                  </a:lnTo>
                  <a:lnTo>
                    <a:pt x="381" y="22"/>
                  </a:lnTo>
                  <a:lnTo>
                    <a:pt x="381" y="22"/>
                  </a:lnTo>
                  <a:lnTo>
                    <a:pt x="381" y="21"/>
                  </a:lnTo>
                  <a:lnTo>
                    <a:pt x="381" y="20"/>
                  </a:lnTo>
                  <a:lnTo>
                    <a:pt x="380" y="20"/>
                  </a:lnTo>
                  <a:lnTo>
                    <a:pt x="380" y="19"/>
                  </a:lnTo>
                  <a:lnTo>
                    <a:pt x="378" y="17"/>
                  </a:lnTo>
                  <a:lnTo>
                    <a:pt x="378" y="16"/>
                  </a:lnTo>
                  <a:lnTo>
                    <a:pt x="378" y="16"/>
                  </a:lnTo>
                  <a:lnTo>
                    <a:pt x="378" y="15"/>
                  </a:lnTo>
                  <a:lnTo>
                    <a:pt x="378" y="14"/>
                  </a:lnTo>
                  <a:lnTo>
                    <a:pt x="378" y="13"/>
                  </a:lnTo>
                  <a:lnTo>
                    <a:pt x="378" y="12"/>
                  </a:lnTo>
                  <a:lnTo>
                    <a:pt x="378" y="10"/>
                  </a:lnTo>
                  <a:lnTo>
                    <a:pt x="379" y="8"/>
                  </a:lnTo>
                  <a:lnTo>
                    <a:pt x="380" y="6"/>
                  </a:lnTo>
                  <a:lnTo>
                    <a:pt x="381" y="5"/>
                  </a:lnTo>
                  <a:lnTo>
                    <a:pt x="381" y="4"/>
                  </a:lnTo>
                  <a:lnTo>
                    <a:pt x="382" y="4"/>
                  </a:lnTo>
                  <a:lnTo>
                    <a:pt x="383" y="3"/>
                  </a:lnTo>
                  <a:lnTo>
                    <a:pt x="384" y="3"/>
                  </a:lnTo>
                  <a:lnTo>
                    <a:pt x="385" y="3"/>
                  </a:lnTo>
                  <a:lnTo>
                    <a:pt x="386" y="2"/>
                  </a:lnTo>
                  <a:lnTo>
                    <a:pt x="386" y="2"/>
                  </a:lnTo>
                  <a:lnTo>
                    <a:pt x="387" y="2"/>
                  </a:lnTo>
                  <a:lnTo>
                    <a:pt x="387" y="2"/>
                  </a:lnTo>
                  <a:lnTo>
                    <a:pt x="387" y="2"/>
                  </a:lnTo>
                  <a:lnTo>
                    <a:pt x="388" y="2"/>
                  </a:lnTo>
                  <a:lnTo>
                    <a:pt x="390" y="2"/>
                  </a:lnTo>
                  <a:lnTo>
                    <a:pt x="393" y="2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4" y="1"/>
                  </a:lnTo>
                  <a:lnTo>
                    <a:pt x="394" y="0"/>
                  </a:lnTo>
                  <a:lnTo>
                    <a:pt x="394" y="0"/>
                  </a:lnTo>
                  <a:lnTo>
                    <a:pt x="395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Freeform 235">
              <a:extLst>
                <a:ext uri="{FF2B5EF4-FFF2-40B4-BE49-F238E27FC236}">
                  <a16:creationId xmlns:a16="http://schemas.microsoft.com/office/drawing/2014/main" id="{219817BD-3AD1-432A-BDCB-7711BB113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75564" y="2215011"/>
              <a:ext cx="511561" cy="372971"/>
            </a:xfrm>
            <a:custGeom>
              <a:avLst/>
              <a:gdLst>
                <a:gd name="T0" fmla="*/ 347 w 502"/>
                <a:gd name="T1" fmla="*/ 27 h 366"/>
                <a:gd name="T2" fmla="*/ 372 w 502"/>
                <a:gd name="T3" fmla="*/ 45 h 366"/>
                <a:gd name="T4" fmla="*/ 410 w 502"/>
                <a:gd name="T5" fmla="*/ 52 h 366"/>
                <a:gd name="T6" fmla="*/ 422 w 502"/>
                <a:gd name="T7" fmla="*/ 69 h 366"/>
                <a:gd name="T8" fmla="*/ 433 w 502"/>
                <a:gd name="T9" fmla="*/ 73 h 366"/>
                <a:gd name="T10" fmla="*/ 466 w 502"/>
                <a:gd name="T11" fmla="*/ 73 h 366"/>
                <a:gd name="T12" fmla="*/ 477 w 502"/>
                <a:gd name="T13" fmla="*/ 90 h 366"/>
                <a:gd name="T14" fmla="*/ 472 w 502"/>
                <a:gd name="T15" fmla="*/ 121 h 366"/>
                <a:gd name="T16" fmla="*/ 474 w 502"/>
                <a:gd name="T17" fmla="*/ 148 h 366"/>
                <a:gd name="T18" fmla="*/ 482 w 502"/>
                <a:gd name="T19" fmla="*/ 168 h 366"/>
                <a:gd name="T20" fmla="*/ 494 w 502"/>
                <a:gd name="T21" fmla="*/ 199 h 366"/>
                <a:gd name="T22" fmla="*/ 492 w 502"/>
                <a:gd name="T23" fmla="*/ 213 h 366"/>
                <a:gd name="T24" fmla="*/ 477 w 502"/>
                <a:gd name="T25" fmla="*/ 216 h 366"/>
                <a:gd name="T26" fmla="*/ 489 w 502"/>
                <a:gd name="T27" fmla="*/ 225 h 366"/>
                <a:gd name="T28" fmla="*/ 500 w 502"/>
                <a:gd name="T29" fmla="*/ 242 h 366"/>
                <a:gd name="T30" fmla="*/ 497 w 502"/>
                <a:gd name="T31" fmla="*/ 259 h 366"/>
                <a:gd name="T32" fmla="*/ 488 w 502"/>
                <a:gd name="T33" fmla="*/ 271 h 366"/>
                <a:gd name="T34" fmla="*/ 474 w 502"/>
                <a:gd name="T35" fmla="*/ 286 h 366"/>
                <a:gd name="T36" fmla="*/ 463 w 502"/>
                <a:gd name="T37" fmla="*/ 305 h 366"/>
                <a:gd name="T38" fmla="*/ 437 w 502"/>
                <a:gd name="T39" fmla="*/ 289 h 366"/>
                <a:gd name="T40" fmla="*/ 410 w 502"/>
                <a:gd name="T41" fmla="*/ 288 h 366"/>
                <a:gd name="T42" fmla="*/ 372 w 502"/>
                <a:gd name="T43" fmla="*/ 315 h 366"/>
                <a:gd name="T44" fmla="*/ 358 w 502"/>
                <a:gd name="T45" fmla="*/ 332 h 366"/>
                <a:gd name="T46" fmla="*/ 338 w 502"/>
                <a:gd name="T47" fmla="*/ 351 h 366"/>
                <a:gd name="T48" fmla="*/ 312 w 502"/>
                <a:gd name="T49" fmla="*/ 349 h 366"/>
                <a:gd name="T50" fmla="*/ 282 w 502"/>
                <a:gd name="T51" fmla="*/ 343 h 366"/>
                <a:gd name="T52" fmla="*/ 250 w 502"/>
                <a:gd name="T53" fmla="*/ 352 h 366"/>
                <a:gd name="T54" fmla="*/ 236 w 502"/>
                <a:gd name="T55" fmla="*/ 366 h 366"/>
                <a:gd name="T56" fmla="*/ 222 w 502"/>
                <a:gd name="T57" fmla="*/ 357 h 366"/>
                <a:gd name="T58" fmla="*/ 200 w 502"/>
                <a:gd name="T59" fmla="*/ 364 h 366"/>
                <a:gd name="T60" fmla="*/ 175 w 502"/>
                <a:gd name="T61" fmla="*/ 351 h 366"/>
                <a:gd name="T62" fmla="*/ 152 w 502"/>
                <a:gd name="T63" fmla="*/ 331 h 366"/>
                <a:gd name="T64" fmla="*/ 156 w 502"/>
                <a:gd name="T65" fmla="*/ 312 h 366"/>
                <a:gd name="T66" fmla="*/ 135 w 502"/>
                <a:gd name="T67" fmla="*/ 302 h 366"/>
                <a:gd name="T68" fmla="*/ 113 w 502"/>
                <a:gd name="T69" fmla="*/ 285 h 366"/>
                <a:gd name="T70" fmla="*/ 87 w 502"/>
                <a:gd name="T71" fmla="*/ 265 h 366"/>
                <a:gd name="T72" fmla="*/ 65 w 502"/>
                <a:gd name="T73" fmla="*/ 252 h 366"/>
                <a:gd name="T74" fmla="*/ 56 w 502"/>
                <a:gd name="T75" fmla="*/ 231 h 366"/>
                <a:gd name="T76" fmla="*/ 39 w 502"/>
                <a:gd name="T77" fmla="*/ 214 h 366"/>
                <a:gd name="T78" fmla="*/ 43 w 502"/>
                <a:gd name="T79" fmla="*/ 178 h 366"/>
                <a:gd name="T80" fmla="*/ 26 w 502"/>
                <a:gd name="T81" fmla="*/ 150 h 366"/>
                <a:gd name="T82" fmla="*/ 4 w 502"/>
                <a:gd name="T83" fmla="*/ 133 h 366"/>
                <a:gd name="T84" fmla="*/ 3 w 502"/>
                <a:gd name="T85" fmla="*/ 119 h 366"/>
                <a:gd name="T86" fmla="*/ 13 w 502"/>
                <a:gd name="T87" fmla="*/ 103 h 366"/>
                <a:gd name="T88" fmla="*/ 6 w 502"/>
                <a:gd name="T89" fmla="*/ 82 h 366"/>
                <a:gd name="T90" fmla="*/ 34 w 502"/>
                <a:gd name="T91" fmla="*/ 83 h 366"/>
                <a:gd name="T92" fmla="*/ 46 w 502"/>
                <a:gd name="T93" fmla="*/ 110 h 366"/>
                <a:gd name="T94" fmla="*/ 66 w 502"/>
                <a:gd name="T95" fmla="*/ 123 h 366"/>
                <a:gd name="T96" fmla="*/ 63 w 502"/>
                <a:gd name="T97" fmla="*/ 134 h 366"/>
                <a:gd name="T98" fmla="*/ 76 w 502"/>
                <a:gd name="T99" fmla="*/ 159 h 366"/>
                <a:gd name="T100" fmla="*/ 83 w 502"/>
                <a:gd name="T101" fmla="*/ 179 h 366"/>
                <a:gd name="T102" fmla="*/ 95 w 502"/>
                <a:gd name="T103" fmla="*/ 172 h 366"/>
                <a:gd name="T104" fmla="*/ 98 w 502"/>
                <a:gd name="T105" fmla="*/ 140 h 366"/>
                <a:gd name="T106" fmla="*/ 106 w 502"/>
                <a:gd name="T107" fmla="*/ 128 h 366"/>
                <a:gd name="T108" fmla="*/ 126 w 502"/>
                <a:gd name="T109" fmla="*/ 98 h 366"/>
                <a:gd name="T110" fmla="*/ 142 w 502"/>
                <a:gd name="T111" fmla="*/ 79 h 366"/>
                <a:gd name="T112" fmla="*/ 164 w 502"/>
                <a:gd name="T113" fmla="*/ 62 h 366"/>
                <a:gd name="T114" fmla="*/ 182 w 502"/>
                <a:gd name="T115" fmla="*/ 38 h 366"/>
                <a:gd name="T116" fmla="*/ 242 w 502"/>
                <a:gd name="T117" fmla="*/ 30 h 366"/>
                <a:gd name="T118" fmla="*/ 270 w 502"/>
                <a:gd name="T119" fmla="*/ 20 h 366"/>
                <a:gd name="T120" fmla="*/ 295 w 502"/>
                <a:gd name="T121" fmla="*/ 11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2" h="366">
                  <a:moveTo>
                    <a:pt x="308" y="1"/>
                  </a:moveTo>
                  <a:lnTo>
                    <a:pt x="310" y="2"/>
                  </a:lnTo>
                  <a:lnTo>
                    <a:pt x="312" y="4"/>
                  </a:lnTo>
                  <a:lnTo>
                    <a:pt x="314" y="5"/>
                  </a:lnTo>
                  <a:lnTo>
                    <a:pt x="320" y="10"/>
                  </a:lnTo>
                  <a:lnTo>
                    <a:pt x="327" y="14"/>
                  </a:lnTo>
                  <a:lnTo>
                    <a:pt x="331" y="17"/>
                  </a:lnTo>
                  <a:lnTo>
                    <a:pt x="333" y="18"/>
                  </a:lnTo>
                  <a:lnTo>
                    <a:pt x="337" y="21"/>
                  </a:lnTo>
                  <a:lnTo>
                    <a:pt x="339" y="23"/>
                  </a:lnTo>
                  <a:lnTo>
                    <a:pt x="340" y="24"/>
                  </a:lnTo>
                  <a:lnTo>
                    <a:pt x="341" y="25"/>
                  </a:lnTo>
                  <a:lnTo>
                    <a:pt x="344" y="26"/>
                  </a:lnTo>
                  <a:lnTo>
                    <a:pt x="345" y="26"/>
                  </a:lnTo>
                  <a:lnTo>
                    <a:pt x="347" y="27"/>
                  </a:lnTo>
                  <a:lnTo>
                    <a:pt x="349" y="29"/>
                  </a:lnTo>
                  <a:lnTo>
                    <a:pt x="352" y="32"/>
                  </a:lnTo>
                  <a:lnTo>
                    <a:pt x="354" y="33"/>
                  </a:lnTo>
                  <a:lnTo>
                    <a:pt x="356" y="36"/>
                  </a:lnTo>
                  <a:lnTo>
                    <a:pt x="357" y="37"/>
                  </a:lnTo>
                  <a:lnTo>
                    <a:pt x="357" y="37"/>
                  </a:lnTo>
                  <a:lnTo>
                    <a:pt x="358" y="38"/>
                  </a:lnTo>
                  <a:lnTo>
                    <a:pt x="358" y="38"/>
                  </a:lnTo>
                  <a:lnTo>
                    <a:pt x="359" y="38"/>
                  </a:lnTo>
                  <a:lnTo>
                    <a:pt x="359" y="38"/>
                  </a:lnTo>
                  <a:lnTo>
                    <a:pt x="364" y="41"/>
                  </a:lnTo>
                  <a:lnTo>
                    <a:pt x="366" y="43"/>
                  </a:lnTo>
                  <a:lnTo>
                    <a:pt x="368" y="43"/>
                  </a:lnTo>
                  <a:lnTo>
                    <a:pt x="369" y="44"/>
                  </a:lnTo>
                  <a:lnTo>
                    <a:pt x="372" y="45"/>
                  </a:lnTo>
                  <a:lnTo>
                    <a:pt x="376" y="46"/>
                  </a:lnTo>
                  <a:lnTo>
                    <a:pt x="379" y="46"/>
                  </a:lnTo>
                  <a:lnTo>
                    <a:pt x="381" y="46"/>
                  </a:lnTo>
                  <a:lnTo>
                    <a:pt x="386" y="47"/>
                  </a:lnTo>
                  <a:lnTo>
                    <a:pt x="388" y="47"/>
                  </a:lnTo>
                  <a:lnTo>
                    <a:pt x="389" y="47"/>
                  </a:lnTo>
                  <a:lnTo>
                    <a:pt x="394" y="49"/>
                  </a:lnTo>
                  <a:lnTo>
                    <a:pt x="397" y="49"/>
                  </a:lnTo>
                  <a:lnTo>
                    <a:pt x="399" y="50"/>
                  </a:lnTo>
                  <a:lnTo>
                    <a:pt x="402" y="50"/>
                  </a:lnTo>
                  <a:lnTo>
                    <a:pt x="404" y="50"/>
                  </a:lnTo>
                  <a:lnTo>
                    <a:pt x="406" y="51"/>
                  </a:lnTo>
                  <a:lnTo>
                    <a:pt x="408" y="51"/>
                  </a:lnTo>
                  <a:lnTo>
                    <a:pt x="409" y="51"/>
                  </a:lnTo>
                  <a:lnTo>
                    <a:pt x="410" y="52"/>
                  </a:lnTo>
                  <a:lnTo>
                    <a:pt x="412" y="53"/>
                  </a:lnTo>
                  <a:lnTo>
                    <a:pt x="416" y="55"/>
                  </a:lnTo>
                  <a:lnTo>
                    <a:pt x="418" y="56"/>
                  </a:lnTo>
                  <a:lnTo>
                    <a:pt x="419" y="56"/>
                  </a:lnTo>
                  <a:lnTo>
                    <a:pt x="419" y="57"/>
                  </a:lnTo>
                  <a:lnTo>
                    <a:pt x="420" y="58"/>
                  </a:lnTo>
                  <a:lnTo>
                    <a:pt x="420" y="58"/>
                  </a:lnTo>
                  <a:lnTo>
                    <a:pt x="421" y="59"/>
                  </a:lnTo>
                  <a:lnTo>
                    <a:pt x="421" y="60"/>
                  </a:lnTo>
                  <a:lnTo>
                    <a:pt x="421" y="61"/>
                  </a:lnTo>
                  <a:lnTo>
                    <a:pt x="422" y="62"/>
                  </a:lnTo>
                  <a:lnTo>
                    <a:pt x="422" y="63"/>
                  </a:lnTo>
                  <a:lnTo>
                    <a:pt x="422" y="66"/>
                  </a:lnTo>
                  <a:lnTo>
                    <a:pt x="422" y="68"/>
                  </a:lnTo>
                  <a:lnTo>
                    <a:pt x="422" y="69"/>
                  </a:lnTo>
                  <a:lnTo>
                    <a:pt x="422" y="70"/>
                  </a:lnTo>
                  <a:lnTo>
                    <a:pt x="422" y="70"/>
                  </a:lnTo>
                  <a:lnTo>
                    <a:pt x="423" y="71"/>
                  </a:lnTo>
                  <a:lnTo>
                    <a:pt x="423" y="71"/>
                  </a:lnTo>
                  <a:lnTo>
                    <a:pt x="424" y="72"/>
                  </a:lnTo>
                  <a:lnTo>
                    <a:pt x="424" y="72"/>
                  </a:lnTo>
                  <a:lnTo>
                    <a:pt x="425" y="72"/>
                  </a:lnTo>
                  <a:lnTo>
                    <a:pt x="426" y="73"/>
                  </a:lnTo>
                  <a:lnTo>
                    <a:pt x="427" y="73"/>
                  </a:lnTo>
                  <a:lnTo>
                    <a:pt x="427" y="73"/>
                  </a:lnTo>
                  <a:lnTo>
                    <a:pt x="428" y="74"/>
                  </a:lnTo>
                  <a:lnTo>
                    <a:pt x="429" y="74"/>
                  </a:lnTo>
                  <a:lnTo>
                    <a:pt x="429" y="73"/>
                  </a:lnTo>
                  <a:lnTo>
                    <a:pt x="430" y="73"/>
                  </a:lnTo>
                  <a:lnTo>
                    <a:pt x="433" y="73"/>
                  </a:lnTo>
                  <a:lnTo>
                    <a:pt x="435" y="72"/>
                  </a:lnTo>
                  <a:lnTo>
                    <a:pt x="436" y="72"/>
                  </a:lnTo>
                  <a:lnTo>
                    <a:pt x="437" y="72"/>
                  </a:lnTo>
                  <a:lnTo>
                    <a:pt x="439" y="72"/>
                  </a:lnTo>
                  <a:lnTo>
                    <a:pt x="441" y="72"/>
                  </a:lnTo>
                  <a:lnTo>
                    <a:pt x="446" y="73"/>
                  </a:lnTo>
                  <a:lnTo>
                    <a:pt x="449" y="73"/>
                  </a:lnTo>
                  <a:lnTo>
                    <a:pt x="451" y="73"/>
                  </a:lnTo>
                  <a:lnTo>
                    <a:pt x="456" y="73"/>
                  </a:lnTo>
                  <a:lnTo>
                    <a:pt x="457" y="73"/>
                  </a:lnTo>
                  <a:lnTo>
                    <a:pt x="458" y="73"/>
                  </a:lnTo>
                  <a:lnTo>
                    <a:pt x="464" y="73"/>
                  </a:lnTo>
                  <a:lnTo>
                    <a:pt x="465" y="72"/>
                  </a:lnTo>
                  <a:lnTo>
                    <a:pt x="466" y="73"/>
                  </a:lnTo>
                  <a:lnTo>
                    <a:pt x="466" y="73"/>
                  </a:lnTo>
                  <a:lnTo>
                    <a:pt x="467" y="73"/>
                  </a:lnTo>
                  <a:lnTo>
                    <a:pt x="468" y="73"/>
                  </a:lnTo>
                  <a:lnTo>
                    <a:pt x="469" y="74"/>
                  </a:lnTo>
                  <a:lnTo>
                    <a:pt x="470" y="75"/>
                  </a:lnTo>
                  <a:lnTo>
                    <a:pt x="471" y="75"/>
                  </a:lnTo>
                  <a:lnTo>
                    <a:pt x="472" y="76"/>
                  </a:lnTo>
                  <a:lnTo>
                    <a:pt x="472" y="77"/>
                  </a:lnTo>
                  <a:lnTo>
                    <a:pt x="473" y="79"/>
                  </a:lnTo>
                  <a:lnTo>
                    <a:pt x="474" y="80"/>
                  </a:lnTo>
                  <a:lnTo>
                    <a:pt x="475" y="82"/>
                  </a:lnTo>
                  <a:lnTo>
                    <a:pt x="476" y="84"/>
                  </a:lnTo>
                  <a:lnTo>
                    <a:pt x="476" y="85"/>
                  </a:lnTo>
                  <a:lnTo>
                    <a:pt x="476" y="87"/>
                  </a:lnTo>
                  <a:lnTo>
                    <a:pt x="476" y="88"/>
                  </a:lnTo>
                  <a:lnTo>
                    <a:pt x="477" y="90"/>
                  </a:lnTo>
                  <a:lnTo>
                    <a:pt x="477" y="91"/>
                  </a:lnTo>
                  <a:lnTo>
                    <a:pt x="476" y="93"/>
                  </a:lnTo>
                  <a:lnTo>
                    <a:pt x="476" y="95"/>
                  </a:lnTo>
                  <a:lnTo>
                    <a:pt x="475" y="99"/>
                  </a:lnTo>
                  <a:lnTo>
                    <a:pt x="475" y="100"/>
                  </a:lnTo>
                  <a:lnTo>
                    <a:pt x="474" y="101"/>
                  </a:lnTo>
                  <a:lnTo>
                    <a:pt x="474" y="102"/>
                  </a:lnTo>
                  <a:lnTo>
                    <a:pt x="474" y="103"/>
                  </a:lnTo>
                  <a:lnTo>
                    <a:pt x="474" y="108"/>
                  </a:lnTo>
                  <a:lnTo>
                    <a:pt x="474" y="109"/>
                  </a:lnTo>
                  <a:lnTo>
                    <a:pt x="474" y="110"/>
                  </a:lnTo>
                  <a:lnTo>
                    <a:pt x="474" y="111"/>
                  </a:lnTo>
                  <a:lnTo>
                    <a:pt x="473" y="114"/>
                  </a:lnTo>
                  <a:lnTo>
                    <a:pt x="472" y="119"/>
                  </a:lnTo>
                  <a:lnTo>
                    <a:pt x="472" y="121"/>
                  </a:lnTo>
                  <a:lnTo>
                    <a:pt x="471" y="123"/>
                  </a:lnTo>
                  <a:lnTo>
                    <a:pt x="471" y="124"/>
                  </a:lnTo>
                  <a:lnTo>
                    <a:pt x="472" y="125"/>
                  </a:lnTo>
                  <a:lnTo>
                    <a:pt x="472" y="126"/>
                  </a:lnTo>
                  <a:lnTo>
                    <a:pt x="473" y="129"/>
                  </a:lnTo>
                  <a:lnTo>
                    <a:pt x="474" y="131"/>
                  </a:lnTo>
                  <a:lnTo>
                    <a:pt x="475" y="135"/>
                  </a:lnTo>
                  <a:lnTo>
                    <a:pt x="475" y="137"/>
                  </a:lnTo>
                  <a:lnTo>
                    <a:pt x="475" y="139"/>
                  </a:lnTo>
                  <a:lnTo>
                    <a:pt x="475" y="141"/>
                  </a:lnTo>
                  <a:lnTo>
                    <a:pt x="475" y="142"/>
                  </a:lnTo>
                  <a:lnTo>
                    <a:pt x="474" y="145"/>
                  </a:lnTo>
                  <a:lnTo>
                    <a:pt x="474" y="146"/>
                  </a:lnTo>
                  <a:lnTo>
                    <a:pt x="474" y="147"/>
                  </a:lnTo>
                  <a:lnTo>
                    <a:pt x="474" y="148"/>
                  </a:lnTo>
                  <a:lnTo>
                    <a:pt x="474" y="149"/>
                  </a:lnTo>
                  <a:lnTo>
                    <a:pt x="475" y="150"/>
                  </a:lnTo>
                  <a:lnTo>
                    <a:pt x="475" y="151"/>
                  </a:lnTo>
                  <a:lnTo>
                    <a:pt x="476" y="151"/>
                  </a:lnTo>
                  <a:lnTo>
                    <a:pt x="477" y="152"/>
                  </a:lnTo>
                  <a:lnTo>
                    <a:pt x="479" y="154"/>
                  </a:lnTo>
                  <a:lnTo>
                    <a:pt x="480" y="155"/>
                  </a:lnTo>
                  <a:lnTo>
                    <a:pt x="480" y="156"/>
                  </a:lnTo>
                  <a:lnTo>
                    <a:pt x="481" y="157"/>
                  </a:lnTo>
                  <a:lnTo>
                    <a:pt x="481" y="158"/>
                  </a:lnTo>
                  <a:lnTo>
                    <a:pt x="481" y="161"/>
                  </a:lnTo>
                  <a:lnTo>
                    <a:pt x="481" y="162"/>
                  </a:lnTo>
                  <a:lnTo>
                    <a:pt x="481" y="166"/>
                  </a:lnTo>
                  <a:lnTo>
                    <a:pt x="481" y="167"/>
                  </a:lnTo>
                  <a:lnTo>
                    <a:pt x="482" y="168"/>
                  </a:lnTo>
                  <a:lnTo>
                    <a:pt x="482" y="169"/>
                  </a:lnTo>
                  <a:lnTo>
                    <a:pt x="483" y="169"/>
                  </a:lnTo>
                  <a:lnTo>
                    <a:pt x="485" y="173"/>
                  </a:lnTo>
                  <a:lnTo>
                    <a:pt x="486" y="175"/>
                  </a:lnTo>
                  <a:lnTo>
                    <a:pt x="488" y="178"/>
                  </a:lnTo>
                  <a:lnTo>
                    <a:pt x="489" y="180"/>
                  </a:lnTo>
                  <a:lnTo>
                    <a:pt x="491" y="185"/>
                  </a:lnTo>
                  <a:lnTo>
                    <a:pt x="492" y="188"/>
                  </a:lnTo>
                  <a:lnTo>
                    <a:pt x="493" y="190"/>
                  </a:lnTo>
                  <a:lnTo>
                    <a:pt x="494" y="194"/>
                  </a:lnTo>
                  <a:lnTo>
                    <a:pt x="494" y="196"/>
                  </a:lnTo>
                  <a:lnTo>
                    <a:pt x="494" y="197"/>
                  </a:lnTo>
                  <a:lnTo>
                    <a:pt x="494" y="198"/>
                  </a:lnTo>
                  <a:lnTo>
                    <a:pt x="494" y="199"/>
                  </a:lnTo>
                  <a:lnTo>
                    <a:pt x="494" y="199"/>
                  </a:lnTo>
                  <a:lnTo>
                    <a:pt x="494" y="200"/>
                  </a:lnTo>
                  <a:lnTo>
                    <a:pt x="494" y="201"/>
                  </a:lnTo>
                  <a:lnTo>
                    <a:pt x="493" y="202"/>
                  </a:lnTo>
                  <a:lnTo>
                    <a:pt x="492" y="204"/>
                  </a:lnTo>
                  <a:lnTo>
                    <a:pt x="492" y="204"/>
                  </a:lnTo>
                  <a:lnTo>
                    <a:pt x="492" y="205"/>
                  </a:lnTo>
                  <a:lnTo>
                    <a:pt x="492" y="206"/>
                  </a:lnTo>
                  <a:lnTo>
                    <a:pt x="492" y="207"/>
                  </a:lnTo>
                  <a:lnTo>
                    <a:pt x="493" y="209"/>
                  </a:lnTo>
                  <a:lnTo>
                    <a:pt x="493" y="211"/>
                  </a:lnTo>
                  <a:lnTo>
                    <a:pt x="493" y="212"/>
                  </a:lnTo>
                  <a:lnTo>
                    <a:pt x="493" y="212"/>
                  </a:lnTo>
                  <a:lnTo>
                    <a:pt x="493" y="213"/>
                  </a:lnTo>
                  <a:lnTo>
                    <a:pt x="492" y="213"/>
                  </a:lnTo>
                  <a:lnTo>
                    <a:pt x="492" y="213"/>
                  </a:lnTo>
                  <a:lnTo>
                    <a:pt x="492" y="214"/>
                  </a:lnTo>
                  <a:lnTo>
                    <a:pt x="491" y="214"/>
                  </a:lnTo>
                  <a:lnTo>
                    <a:pt x="491" y="214"/>
                  </a:lnTo>
                  <a:lnTo>
                    <a:pt x="490" y="214"/>
                  </a:lnTo>
                  <a:lnTo>
                    <a:pt x="487" y="213"/>
                  </a:lnTo>
                  <a:lnTo>
                    <a:pt x="484" y="213"/>
                  </a:lnTo>
                  <a:lnTo>
                    <a:pt x="483" y="213"/>
                  </a:lnTo>
                  <a:lnTo>
                    <a:pt x="482" y="213"/>
                  </a:lnTo>
                  <a:lnTo>
                    <a:pt x="481" y="213"/>
                  </a:lnTo>
                  <a:lnTo>
                    <a:pt x="480" y="214"/>
                  </a:lnTo>
                  <a:lnTo>
                    <a:pt x="479" y="214"/>
                  </a:lnTo>
                  <a:lnTo>
                    <a:pt x="478" y="214"/>
                  </a:lnTo>
                  <a:lnTo>
                    <a:pt x="478" y="215"/>
                  </a:lnTo>
                  <a:lnTo>
                    <a:pt x="477" y="215"/>
                  </a:lnTo>
                  <a:lnTo>
                    <a:pt x="477" y="216"/>
                  </a:lnTo>
                  <a:lnTo>
                    <a:pt x="476" y="217"/>
                  </a:lnTo>
                  <a:lnTo>
                    <a:pt x="476" y="218"/>
                  </a:lnTo>
                  <a:lnTo>
                    <a:pt x="476" y="219"/>
                  </a:lnTo>
                  <a:lnTo>
                    <a:pt x="476" y="219"/>
                  </a:lnTo>
                  <a:lnTo>
                    <a:pt x="476" y="219"/>
                  </a:lnTo>
                  <a:lnTo>
                    <a:pt x="476" y="220"/>
                  </a:lnTo>
                  <a:lnTo>
                    <a:pt x="477" y="220"/>
                  </a:lnTo>
                  <a:lnTo>
                    <a:pt x="478" y="221"/>
                  </a:lnTo>
                  <a:lnTo>
                    <a:pt x="479" y="222"/>
                  </a:lnTo>
                  <a:lnTo>
                    <a:pt x="480" y="222"/>
                  </a:lnTo>
                  <a:lnTo>
                    <a:pt x="481" y="223"/>
                  </a:lnTo>
                  <a:lnTo>
                    <a:pt x="486" y="224"/>
                  </a:lnTo>
                  <a:lnTo>
                    <a:pt x="487" y="224"/>
                  </a:lnTo>
                  <a:lnTo>
                    <a:pt x="488" y="224"/>
                  </a:lnTo>
                  <a:lnTo>
                    <a:pt x="489" y="225"/>
                  </a:lnTo>
                  <a:lnTo>
                    <a:pt x="491" y="226"/>
                  </a:lnTo>
                  <a:lnTo>
                    <a:pt x="492" y="226"/>
                  </a:lnTo>
                  <a:lnTo>
                    <a:pt x="493" y="227"/>
                  </a:lnTo>
                  <a:lnTo>
                    <a:pt x="494" y="228"/>
                  </a:lnTo>
                  <a:lnTo>
                    <a:pt x="495" y="229"/>
                  </a:lnTo>
                  <a:lnTo>
                    <a:pt x="498" y="233"/>
                  </a:lnTo>
                  <a:lnTo>
                    <a:pt x="499" y="235"/>
                  </a:lnTo>
                  <a:lnTo>
                    <a:pt x="500" y="236"/>
                  </a:lnTo>
                  <a:lnTo>
                    <a:pt x="500" y="237"/>
                  </a:lnTo>
                  <a:lnTo>
                    <a:pt x="501" y="239"/>
                  </a:lnTo>
                  <a:lnTo>
                    <a:pt x="502" y="241"/>
                  </a:lnTo>
                  <a:lnTo>
                    <a:pt x="502" y="241"/>
                  </a:lnTo>
                  <a:lnTo>
                    <a:pt x="502" y="242"/>
                  </a:lnTo>
                  <a:lnTo>
                    <a:pt x="501" y="242"/>
                  </a:lnTo>
                  <a:lnTo>
                    <a:pt x="500" y="242"/>
                  </a:lnTo>
                  <a:lnTo>
                    <a:pt x="499" y="243"/>
                  </a:lnTo>
                  <a:lnTo>
                    <a:pt x="498" y="243"/>
                  </a:lnTo>
                  <a:lnTo>
                    <a:pt x="498" y="244"/>
                  </a:lnTo>
                  <a:lnTo>
                    <a:pt x="497" y="245"/>
                  </a:lnTo>
                  <a:lnTo>
                    <a:pt x="496" y="247"/>
                  </a:lnTo>
                  <a:lnTo>
                    <a:pt x="495" y="249"/>
                  </a:lnTo>
                  <a:lnTo>
                    <a:pt x="495" y="251"/>
                  </a:lnTo>
                  <a:lnTo>
                    <a:pt x="495" y="252"/>
                  </a:lnTo>
                  <a:lnTo>
                    <a:pt x="495" y="253"/>
                  </a:lnTo>
                  <a:lnTo>
                    <a:pt x="495" y="254"/>
                  </a:lnTo>
                  <a:lnTo>
                    <a:pt x="495" y="255"/>
                  </a:lnTo>
                  <a:lnTo>
                    <a:pt x="495" y="255"/>
                  </a:lnTo>
                  <a:lnTo>
                    <a:pt x="495" y="256"/>
                  </a:lnTo>
                  <a:lnTo>
                    <a:pt x="497" y="258"/>
                  </a:lnTo>
                  <a:lnTo>
                    <a:pt x="497" y="259"/>
                  </a:lnTo>
                  <a:lnTo>
                    <a:pt x="498" y="259"/>
                  </a:lnTo>
                  <a:lnTo>
                    <a:pt x="498" y="260"/>
                  </a:lnTo>
                  <a:lnTo>
                    <a:pt x="498" y="261"/>
                  </a:lnTo>
                  <a:lnTo>
                    <a:pt x="498" y="261"/>
                  </a:lnTo>
                  <a:lnTo>
                    <a:pt x="498" y="263"/>
                  </a:lnTo>
                  <a:lnTo>
                    <a:pt x="497" y="264"/>
                  </a:lnTo>
                  <a:lnTo>
                    <a:pt x="497" y="264"/>
                  </a:lnTo>
                  <a:lnTo>
                    <a:pt x="496" y="265"/>
                  </a:lnTo>
                  <a:lnTo>
                    <a:pt x="496" y="266"/>
                  </a:lnTo>
                  <a:lnTo>
                    <a:pt x="495" y="267"/>
                  </a:lnTo>
                  <a:lnTo>
                    <a:pt x="494" y="267"/>
                  </a:lnTo>
                  <a:lnTo>
                    <a:pt x="492" y="268"/>
                  </a:lnTo>
                  <a:lnTo>
                    <a:pt x="490" y="270"/>
                  </a:lnTo>
                  <a:lnTo>
                    <a:pt x="489" y="270"/>
                  </a:lnTo>
                  <a:lnTo>
                    <a:pt x="488" y="271"/>
                  </a:lnTo>
                  <a:lnTo>
                    <a:pt x="483" y="273"/>
                  </a:lnTo>
                  <a:lnTo>
                    <a:pt x="481" y="274"/>
                  </a:lnTo>
                  <a:lnTo>
                    <a:pt x="480" y="274"/>
                  </a:lnTo>
                  <a:lnTo>
                    <a:pt x="478" y="274"/>
                  </a:lnTo>
                  <a:lnTo>
                    <a:pt x="476" y="275"/>
                  </a:lnTo>
                  <a:lnTo>
                    <a:pt x="475" y="275"/>
                  </a:lnTo>
                  <a:lnTo>
                    <a:pt x="475" y="276"/>
                  </a:lnTo>
                  <a:lnTo>
                    <a:pt x="474" y="276"/>
                  </a:lnTo>
                  <a:lnTo>
                    <a:pt x="474" y="277"/>
                  </a:lnTo>
                  <a:lnTo>
                    <a:pt x="474" y="278"/>
                  </a:lnTo>
                  <a:lnTo>
                    <a:pt x="473" y="279"/>
                  </a:lnTo>
                  <a:lnTo>
                    <a:pt x="473" y="280"/>
                  </a:lnTo>
                  <a:lnTo>
                    <a:pt x="474" y="282"/>
                  </a:lnTo>
                  <a:lnTo>
                    <a:pt x="474" y="283"/>
                  </a:lnTo>
                  <a:lnTo>
                    <a:pt x="474" y="286"/>
                  </a:lnTo>
                  <a:lnTo>
                    <a:pt x="474" y="288"/>
                  </a:lnTo>
                  <a:lnTo>
                    <a:pt x="474" y="289"/>
                  </a:lnTo>
                  <a:lnTo>
                    <a:pt x="473" y="291"/>
                  </a:lnTo>
                  <a:lnTo>
                    <a:pt x="471" y="299"/>
                  </a:lnTo>
                  <a:lnTo>
                    <a:pt x="471" y="301"/>
                  </a:lnTo>
                  <a:lnTo>
                    <a:pt x="470" y="302"/>
                  </a:lnTo>
                  <a:lnTo>
                    <a:pt x="470" y="303"/>
                  </a:lnTo>
                  <a:lnTo>
                    <a:pt x="469" y="304"/>
                  </a:lnTo>
                  <a:lnTo>
                    <a:pt x="468" y="304"/>
                  </a:lnTo>
                  <a:lnTo>
                    <a:pt x="468" y="305"/>
                  </a:lnTo>
                  <a:lnTo>
                    <a:pt x="467" y="305"/>
                  </a:lnTo>
                  <a:lnTo>
                    <a:pt x="466" y="305"/>
                  </a:lnTo>
                  <a:lnTo>
                    <a:pt x="465" y="305"/>
                  </a:lnTo>
                  <a:lnTo>
                    <a:pt x="464" y="305"/>
                  </a:lnTo>
                  <a:lnTo>
                    <a:pt x="463" y="305"/>
                  </a:lnTo>
                  <a:lnTo>
                    <a:pt x="462" y="304"/>
                  </a:lnTo>
                  <a:lnTo>
                    <a:pt x="461" y="304"/>
                  </a:lnTo>
                  <a:lnTo>
                    <a:pt x="460" y="303"/>
                  </a:lnTo>
                  <a:lnTo>
                    <a:pt x="458" y="302"/>
                  </a:lnTo>
                  <a:lnTo>
                    <a:pt x="456" y="301"/>
                  </a:lnTo>
                  <a:lnTo>
                    <a:pt x="452" y="298"/>
                  </a:lnTo>
                  <a:lnTo>
                    <a:pt x="450" y="297"/>
                  </a:lnTo>
                  <a:lnTo>
                    <a:pt x="450" y="296"/>
                  </a:lnTo>
                  <a:lnTo>
                    <a:pt x="447" y="294"/>
                  </a:lnTo>
                  <a:lnTo>
                    <a:pt x="445" y="293"/>
                  </a:lnTo>
                  <a:lnTo>
                    <a:pt x="443" y="291"/>
                  </a:lnTo>
                  <a:lnTo>
                    <a:pt x="442" y="290"/>
                  </a:lnTo>
                  <a:lnTo>
                    <a:pt x="441" y="290"/>
                  </a:lnTo>
                  <a:lnTo>
                    <a:pt x="440" y="290"/>
                  </a:lnTo>
                  <a:lnTo>
                    <a:pt x="437" y="289"/>
                  </a:lnTo>
                  <a:lnTo>
                    <a:pt x="435" y="288"/>
                  </a:lnTo>
                  <a:lnTo>
                    <a:pt x="434" y="288"/>
                  </a:lnTo>
                  <a:lnTo>
                    <a:pt x="429" y="288"/>
                  </a:lnTo>
                  <a:lnTo>
                    <a:pt x="425" y="287"/>
                  </a:lnTo>
                  <a:lnTo>
                    <a:pt x="423" y="287"/>
                  </a:lnTo>
                  <a:lnTo>
                    <a:pt x="420" y="286"/>
                  </a:lnTo>
                  <a:lnTo>
                    <a:pt x="416" y="285"/>
                  </a:lnTo>
                  <a:lnTo>
                    <a:pt x="415" y="285"/>
                  </a:lnTo>
                  <a:lnTo>
                    <a:pt x="415" y="285"/>
                  </a:lnTo>
                  <a:lnTo>
                    <a:pt x="414" y="285"/>
                  </a:lnTo>
                  <a:lnTo>
                    <a:pt x="413" y="286"/>
                  </a:lnTo>
                  <a:lnTo>
                    <a:pt x="412" y="286"/>
                  </a:lnTo>
                  <a:lnTo>
                    <a:pt x="411" y="287"/>
                  </a:lnTo>
                  <a:lnTo>
                    <a:pt x="410" y="287"/>
                  </a:lnTo>
                  <a:lnTo>
                    <a:pt x="410" y="288"/>
                  </a:lnTo>
                  <a:lnTo>
                    <a:pt x="408" y="290"/>
                  </a:lnTo>
                  <a:lnTo>
                    <a:pt x="405" y="293"/>
                  </a:lnTo>
                  <a:lnTo>
                    <a:pt x="402" y="295"/>
                  </a:lnTo>
                  <a:lnTo>
                    <a:pt x="400" y="297"/>
                  </a:lnTo>
                  <a:lnTo>
                    <a:pt x="399" y="297"/>
                  </a:lnTo>
                  <a:lnTo>
                    <a:pt x="396" y="299"/>
                  </a:lnTo>
                  <a:lnTo>
                    <a:pt x="393" y="301"/>
                  </a:lnTo>
                  <a:lnTo>
                    <a:pt x="391" y="303"/>
                  </a:lnTo>
                  <a:lnTo>
                    <a:pt x="388" y="305"/>
                  </a:lnTo>
                  <a:lnTo>
                    <a:pt x="381" y="309"/>
                  </a:lnTo>
                  <a:lnTo>
                    <a:pt x="380" y="310"/>
                  </a:lnTo>
                  <a:lnTo>
                    <a:pt x="377" y="311"/>
                  </a:lnTo>
                  <a:lnTo>
                    <a:pt x="375" y="312"/>
                  </a:lnTo>
                  <a:lnTo>
                    <a:pt x="374" y="313"/>
                  </a:lnTo>
                  <a:lnTo>
                    <a:pt x="372" y="315"/>
                  </a:lnTo>
                  <a:lnTo>
                    <a:pt x="371" y="315"/>
                  </a:lnTo>
                  <a:lnTo>
                    <a:pt x="366" y="317"/>
                  </a:lnTo>
                  <a:lnTo>
                    <a:pt x="363" y="319"/>
                  </a:lnTo>
                  <a:lnTo>
                    <a:pt x="362" y="319"/>
                  </a:lnTo>
                  <a:lnTo>
                    <a:pt x="361" y="320"/>
                  </a:lnTo>
                  <a:lnTo>
                    <a:pt x="360" y="321"/>
                  </a:lnTo>
                  <a:lnTo>
                    <a:pt x="359" y="321"/>
                  </a:lnTo>
                  <a:lnTo>
                    <a:pt x="359" y="322"/>
                  </a:lnTo>
                  <a:lnTo>
                    <a:pt x="358" y="323"/>
                  </a:lnTo>
                  <a:lnTo>
                    <a:pt x="358" y="324"/>
                  </a:lnTo>
                  <a:lnTo>
                    <a:pt x="358" y="324"/>
                  </a:lnTo>
                  <a:lnTo>
                    <a:pt x="358" y="325"/>
                  </a:lnTo>
                  <a:lnTo>
                    <a:pt x="358" y="330"/>
                  </a:lnTo>
                  <a:lnTo>
                    <a:pt x="358" y="331"/>
                  </a:lnTo>
                  <a:lnTo>
                    <a:pt x="358" y="332"/>
                  </a:lnTo>
                  <a:lnTo>
                    <a:pt x="356" y="339"/>
                  </a:lnTo>
                  <a:lnTo>
                    <a:pt x="356" y="340"/>
                  </a:lnTo>
                  <a:lnTo>
                    <a:pt x="355" y="340"/>
                  </a:lnTo>
                  <a:lnTo>
                    <a:pt x="355" y="342"/>
                  </a:lnTo>
                  <a:lnTo>
                    <a:pt x="353" y="343"/>
                  </a:lnTo>
                  <a:lnTo>
                    <a:pt x="352" y="345"/>
                  </a:lnTo>
                  <a:lnTo>
                    <a:pt x="350" y="347"/>
                  </a:lnTo>
                  <a:lnTo>
                    <a:pt x="348" y="348"/>
                  </a:lnTo>
                  <a:lnTo>
                    <a:pt x="347" y="349"/>
                  </a:lnTo>
                  <a:lnTo>
                    <a:pt x="345" y="350"/>
                  </a:lnTo>
                  <a:lnTo>
                    <a:pt x="343" y="351"/>
                  </a:lnTo>
                  <a:lnTo>
                    <a:pt x="342" y="351"/>
                  </a:lnTo>
                  <a:lnTo>
                    <a:pt x="340" y="351"/>
                  </a:lnTo>
                  <a:lnTo>
                    <a:pt x="339" y="352"/>
                  </a:lnTo>
                  <a:lnTo>
                    <a:pt x="338" y="351"/>
                  </a:lnTo>
                  <a:lnTo>
                    <a:pt x="337" y="351"/>
                  </a:lnTo>
                  <a:lnTo>
                    <a:pt x="336" y="351"/>
                  </a:lnTo>
                  <a:lnTo>
                    <a:pt x="332" y="349"/>
                  </a:lnTo>
                  <a:lnTo>
                    <a:pt x="330" y="349"/>
                  </a:lnTo>
                  <a:lnTo>
                    <a:pt x="329" y="349"/>
                  </a:lnTo>
                  <a:lnTo>
                    <a:pt x="327" y="348"/>
                  </a:lnTo>
                  <a:lnTo>
                    <a:pt x="326" y="348"/>
                  </a:lnTo>
                  <a:lnTo>
                    <a:pt x="325" y="349"/>
                  </a:lnTo>
                  <a:lnTo>
                    <a:pt x="323" y="349"/>
                  </a:lnTo>
                  <a:lnTo>
                    <a:pt x="320" y="349"/>
                  </a:lnTo>
                  <a:lnTo>
                    <a:pt x="318" y="349"/>
                  </a:lnTo>
                  <a:lnTo>
                    <a:pt x="317" y="349"/>
                  </a:lnTo>
                  <a:lnTo>
                    <a:pt x="314" y="349"/>
                  </a:lnTo>
                  <a:lnTo>
                    <a:pt x="313" y="349"/>
                  </a:lnTo>
                  <a:lnTo>
                    <a:pt x="312" y="349"/>
                  </a:lnTo>
                  <a:lnTo>
                    <a:pt x="310" y="349"/>
                  </a:lnTo>
                  <a:lnTo>
                    <a:pt x="309" y="349"/>
                  </a:lnTo>
                  <a:lnTo>
                    <a:pt x="305" y="347"/>
                  </a:lnTo>
                  <a:lnTo>
                    <a:pt x="303" y="346"/>
                  </a:lnTo>
                  <a:lnTo>
                    <a:pt x="297" y="345"/>
                  </a:lnTo>
                  <a:lnTo>
                    <a:pt x="295" y="344"/>
                  </a:lnTo>
                  <a:lnTo>
                    <a:pt x="293" y="343"/>
                  </a:lnTo>
                  <a:lnTo>
                    <a:pt x="291" y="343"/>
                  </a:lnTo>
                  <a:lnTo>
                    <a:pt x="290" y="342"/>
                  </a:lnTo>
                  <a:lnTo>
                    <a:pt x="288" y="342"/>
                  </a:lnTo>
                  <a:lnTo>
                    <a:pt x="287" y="342"/>
                  </a:lnTo>
                  <a:lnTo>
                    <a:pt x="285" y="342"/>
                  </a:lnTo>
                  <a:lnTo>
                    <a:pt x="284" y="342"/>
                  </a:lnTo>
                  <a:lnTo>
                    <a:pt x="283" y="342"/>
                  </a:lnTo>
                  <a:lnTo>
                    <a:pt x="282" y="343"/>
                  </a:lnTo>
                  <a:lnTo>
                    <a:pt x="278" y="344"/>
                  </a:lnTo>
                  <a:lnTo>
                    <a:pt x="276" y="345"/>
                  </a:lnTo>
                  <a:lnTo>
                    <a:pt x="275" y="345"/>
                  </a:lnTo>
                  <a:lnTo>
                    <a:pt x="272" y="345"/>
                  </a:lnTo>
                  <a:lnTo>
                    <a:pt x="271" y="345"/>
                  </a:lnTo>
                  <a:lnTo>
                    <a:pt x="266" y="346"/>
                  </a:lnTo>
                  <a:lnTo>
                    <a:pt x="264" y="346"/>
                  </a:lnTo>
                  <a:lnTo>
                    <a:pt x="263" y="347"/>
                  </a:lnTo>
                  <a:lnTo>
                    <a:pt x="259" y="348"/>
                  </a:lnTo>
                  <a:lnTo>
                    <a:pt x="258" y="349"/>
                  </a:lnTo>
                  <a:lnTo>
                    <a:pt x="256" y="349"/>
                  </a:lnTo>
                  <a:lnTo>
                    <a:pt x="253" y="350"/>
                  </a:lnTo>
                  <a:lnTo>
                    <a:pt x="251" y="351"/>
                  </a:lnTo>
                  <a:lnTo>
                    <a:pt x="250" y="351"/>
                  </a:lnTo>
                  <a:lnTo>
                    <a:pt x="250" y="352"/>
                  </a:lnTo>
                  <a:lnTo>
                    <a:pt x="249" y="352"/>
                  </a:lnTo>
                  <a:lnTo>
                    <a:pt x="248" y="354"/>
                  </a:lnTo>
                  <a:lnTo>
                    <a:pt x="247" y="355"/>
                  </a:lnTo>
                  <a:lnTo>
                    <a:pt x="246" y="356"/>
                  </a:lnTo>
                  <a:lnTo>
                    <a:pt x="245" y="356"/>
                  </a:lnTo>
                  <a:lnTo>
                    <a:pt x="242" y="358"/>
                  </a:lnTo>
                  <a:lnTo>
                    <a:pt x="241" y="359"/>
                  </a:lnTo>
                  <a:lnTo>
                    <a:pt x="240" y="360"/>
                  </a:lnTo>
                  <a:lnTo>
                    <a:pt x="239" y="360"/>
                  </a:lnTo>
                  <a:lnTo>
                    <a:pt x="238" y="361"/>
                  </a:lnTo>
                  <a:lnTo>
                    <a:pt x="237" y="362"/>
                  </a:lnTo>
                  <a:lnTo>
                    <a:pt x="237" y="363"/>
                  </a:lnTo>
                  <a:lnTo>
                    <a:pt x="236" y="365"/>
                  </a:lnTo>
                  <a:lnTo>
                    <a:pt x="236" y="366"/>
                  </a:lnTo>
                  <a:lnTo>
                    <a:pt x="236" y="366"/>
                  </a:lnTo>
                  <a:lnTo>
                    <a:pt x="235" y="366"/>
                  </a:lnTo>
                  <a:lnTo>
                    <a:pt x="235" y="366"/>
                  </a:lnTo>
                  <a:lnTo>
                    <a:pt x="235" y="366"/>
                  </a:lnTo>
                  <a:lnTo>
                    <a:pt x="234" y="366"/>
                  </a:lnTo>
                  <a:lnTo>
                    <a:pt x="234" y="366"/>
                  </a:lnTo>
                  <a:lnTo>
                    <a:pt x="233" y="366"/>
                  </a:lnTo>
                  <a:lnTo>
                    <a:pt x="233" y="366"/>
                  </a:lnTo>
                  <a:lnTo>
                    <a:pt x="232" y="365"/>
                  </a:lnTo>
                  <a:lnTo>
                    <a:pt x="230" y="362"/>
                  </a:lnTo>
                  <a:lnTo>
                    <a:pt x="229" y="361"/>
                  </a:lnTo>
                  <a:lnTo>
                    <a:pt x="228" y="360"/>
                  </a:lnTo>
                  <a:lnTo>
                    <a:pt x="227" y="359"/>
                  </a:lnTo>
                  <a:lnTo>
                    <a:pt x="225" y="358"/>
                  </a:lnTo>
                  <a:lnTo>
                    <a:pt x="224" y="357"/>
                  </a:lnTo>
                  <a:lnTo>
                    <a:pt x="222" y="357"/>
                  </a:lnTo>
                  <a:lnTo>
                    <a:pt x="221" y="356"/>
                  </a:lnTo>
                  <a:lnTo>
                    <a:pt x="220" y="356"/>
                  </a:lnTo>
                  <a:lnTo>
                    <a:pt x="218" y="356"/>
                  </a:lnTo>
                  <a:lnTo>
                    <a:pt x="216" y="356"/>
                  </a:lnTo>
                  <a:lnTo>
                    <a:pt x="215" y="357"/>
                  </a:lnTo>
                  <a:lnTo>
                    <a:pt x="213" y="357"/>
                  </a:lnTo>
                  <a:lnTo>
                    <a:pt x="211" y="358"/>
                  </a:lnTo>
                  <a:lnTo>
                    <a:pt x="209" y="359"/>
                  </a:lnTo>
                  <a:lnTo>
                    <a:pt x="208" y="360"/>
                  </a:lnTo>
                  <a:lnTo>
                    <a:pt x="206" y="362"/>
                  </a:lnTo>
                  <a:lnTo>
                    <a:pt x="205" y="363"/>
                  </a:lnTo>
                  <a:lnTo>
                    <a:pt x="203" y="363"/>
                  </a:lnTo>
                  <a:lnTo>
                    <a:pt x="202" y="364"/>
                  </a:lnTo>
                  <a:lnTo>
                    <a:pt x="201" y="364"/>
                  </a:lnTo>
                  <a:lnTo>
                    <a:pt x="200" y="364"/>
                  </a:lnTo>
                  <a:lnTo>
                    <a:pt x="199" y="364"/>
                  </a:lnTo>
                  <a:lnTo>
                    <a:pt x="198" y="364"/>
                  </a:lnTo>
                  <a:lnTo>
                    <a:pt x="196" y="364"/>
                  </a:lnTo>
                  <a:lnTo>
                    <a:pt x="190" y="362"/>
                  </a:lnTo>
                  <a:lnTo>
                    <a:pt x="184" y="360"/>
                  </a:lnTo>
                  <a:lnTo>
                    <a:pt x="181" y="360"/>
                  </a:lnTo>
                  <a:lnTo>
                    <a:pt x="182" y="359"/>
                  </a:lnTo>
                  <a:lnTo>
                    <a:pt x="182" y="358"/>
                  </a:lnTo>
                  <a:lnTo>
                    <a:pt x="181" y="357"/>
                  </a:lnTo>
                  <a:lnTo>
                    <a:pt x="180" y="356"/>
                  </a:lnTo>
                  <a:lnTo>
                    <a:pt x="180" y="355"/>
                  </a:lnTo>
                  <a:lnTo>
                    <a:pt x="179" y="354"/>
                  </a:lnTo>
                  <a:lnTo>
                    <a:pt x="178" y="352"/>
                  </a:lnTo>
                  <a:lnTo>
                    <a:pt x="176" y="351"/>
                  </a:lnTo>
                  <a:lnTo>
                    <a:pt x="175" y="351"/>
                  </a:lnTo>
                  <a:lnTo>
                    <a:pt x="174" y="349"/>
                  </a:lnTo>
                  <a:lnTo>
                    <a:pt x="171" y="348"/>
                  </a:lnTo>
                  <a:lnTo>
                    <a:pt x="169" y="346"/>
                  </a:lnTo>
                  <a:lnTo>
                    <a:pt x="161" y="342"/>
                  </a:lnTo>
                  <a:lnTo>
                    <a:pt x="159" y="341"/>
                  </a:lnTo>
                  <a:lnTo>
                    <a:pt x="156" y="339"/>
                  </a:lnTo>
                  <a:lnTo>
                    <a:pt x="155" y="338"/>
                  </a:lnTo>
                  <a:lnTo>
                    <a:pt x="154" y="337"/>
                  </a:lnTo>
                  <a:lnTo>
                    <a:pt x="154" y="336"/>
                  </a:lnTo>
                  <a:lnTo>
                    <a:pt x="153" y="336"/>
                  </a:lnTo>
                  <a:lnTo>
                    <a:pt x="153" y="334"/>
                  </a:lnTo>
                  <a:lnTo>
                    <a:pt x="152" y="333"/>
                  </a:lnTo>
                  <a:lnTo>
                    <a:pt x="152" y="333"/>
                  </a:lnTo>
                  <a:lnTo>
                    <a:pt x="152" y="331"/>
                  </a:lnTo>
                  <a:lnTo>
                    <a:pt x="152" y="331"/>
                  </a:lnTo>
                  <a:lnTo>
                    <a:pt x="152" y="330"/>
                  </a:lnTo>
                  <a:lnTo>
                    <a:pt x="153" y="328"/>
                  </a:lnTo>
                  <a:lnTo>
                    <a:pt x="153" y="327"/>
                  </a:lnTo>
                  <a:lnTo>
                    <a:pt x="154" y="326"/>
                  </a:lnTo>
                  <a:lnTo>
                    <a:pt x="156" y="323"/>
                  </a:lnTo>
                  <a:lnTo>
                    <a:pt x="156" y="321"/>
                  </a:lnTo>
                  <a:lnTo>
                    <a:pt x="157" y="320"/>
                  </a:lnTo>
                  <a:lnTo>
                    <a:pt x="157" y="319"/>
                  </a:lnTo>
                  <a:lnTo>
                    <a:pt x="157" y="317"/>
                  </a:lnTo>
                  <a:lnTo>
                    <a:pt x="157" y="316"/>
                  </a:lnTo>
                  <a:lnTo>
                    <a:pt x="157" y="315"/>
                  </a:lnTo>
                  <a:lnTo>
                    <a:pt x="157" y="314"/>
                  </a:lnTo>
                  <a:lnTo>
                    <a:pt x="157" y="314"/>
                  </a:lnTo>
                  <a:lnTo>
                    <a:pt x="157" y="313"/>
                  </a:lnTo>
                  <a:lnTo>
                    <a:pt x="156" y="312"/>
                  </a:lnTo>
                  <a:lnTo>
                    <a:pt x="156" y="311"/>
                  </a:lnTo>
                  <a:lnTo>
                    <a:pt x="155" y="310"/>
                  </a:lnTo>
                  <a:lnTo>
                    <a:pt x="154" y="309"/>
                  </a:lnTo>
                  <a:lnTo>
                    <a:pt x="152" y="307"/>
                  </a:lnTo>
                  <a:lnTo>
                    <a:pt x="150" y="305"/>
                  </a:lnTo>
                  <a:lnTo>
                    <a:pt x="148" y="304"/>
                  </a:lnTo>
                  <a:lnTo>
                    <a:pt x="147" y="304"/>
                  </a:lnTo>
                  <a:lnTo>
                    <a:pt x="147" y="304"/>
                  </a:lnTo>
                  <a:lnTo>
                    <a:pt x="145" y="303"/>
                  </a:lnTo>
                  <a:lnTo>
                    <a:pt x="144" y="303"/>
                  </a:lnTo>
                  <a:lnTo>
                    <a:pt x="142" y="303"/>
                  </a:lnTo>
                  <a:lnTo>
                    <a:pt x="139" y="303"/>
                  </a:lnTo>
                  <a:lnTo>
                    <a:pt x="137" y="303"/>
                  </a:lnTo>
                  <a:lnTo>
                    <a:pt x="136" y="302"/>
                  </a:lnTo>
                  <a:lnTo>
                    <a:pt x="135" y="302"/>
                  </a:lnTo>
                  <a:lnTo>
                    <a:pt x="135" y="301"/>
                  </a:lnTo>
                  <a:lnTo>
                    <a:pt x="134" y="301"/>
                  </a:lnTo>
                  <a:lnTo>
                    <a:pt x="134" y="300"/>
                  </a:lnTo>
                  <a:lnTo>
                    <a:pt x="132" y="298"/>
                  </a:lnTo>
                  <a:lnTo>
                    <a:pt x="132" y="297"/>
                  </a:lnTo>
                  <a:lnTo>
                    <a:pt x="131" y="297"/>
                  </a:lnTo>
                  <a:lnTo>
                    <a:pt x="130" y="296"/>
                  </a:lnTo>
                  <a:lnTo>
                    <a:pt x="127" y="294"/>
                  </a:lnTo>
                  <a:lnTo>
                    <a:pt x="123" y="291"/>
                  </a:lnTo>
                  <a:lnTo>
                    <a:pt x="121" y="290"/>
                  </a:lnTo>
                  <a:lnTo>
                    <a:pt x="119" y="288"/>
                  </a:lnTo>
                  <a:lnTo>
                    <a:pt x="118" y="288"/>
                  </a:lnTo>
                  <a:lnTo>
                    <a:pt x="117" y="287"/>
                  </a:lnTo>
                  <a:lnTo>
                    <a:pt x="115" y="286"/>
                  </a:lnTo>
                  <a:lnTo>
                    <a:pt x="113" y="285"/>
                  </a:lnTo>
                  <a:lnTo>
                    <a:pt x="112" y="284"/>
                  </a:lnTo>
                  <a:lnTo>
                    <a:pt x="108" y="282"/>
                  </a:lnTo>
                  <a:lnTo>
                    <a:pt x="107" y="281"/>
                  </a:lnTo>
                  <a:lnTo>
                    <a:pt x="104" y="279"/>
                  </a:lnTo>
                  <a:lnTo>
                    <a:pt x="99" y="274"/>
                  </a:lnTo>
                  <a:lnTo>
                    <a:pt x="98" y="273"/>
                  </a:lnTo>
                  <a:lnTo>
                    <a:pt x="97" y="272"/>
                  </a:lnTo>
                  <a:lnTo>
                    <a:pt x="96" y="272"/>
                  </a:lnTo>
                  <a:lnTo>
                    <a:pt x="95" y="271"/>
                  </a:lnTo>
                  <a:lnTo>
                    <a:pt x="92" y="270"/>
                  </a:lnTo>
                  <a:lnTo>
                    <a:pt x="91" y="270"/>
                  </a:lnTo>
                  <a:lnTo>
                    <a:pt x="91" y="269"/>
                  </a:lnTo>
                  <a:lnTo>
                    <a:pt x="90" y="268"/>
                  </a:lnTo>
                  <a:lnTo>
                    <a:pt x="88" y="267"/>
                  </a:lnTo>
                  <a:lnTo>
                    <a:pt x="87" y="265"/>
                  </a:lnTo>
                  <a:lnTo>
                    <a:pt x="85" y="263"/>
                  </a:lnTo>
                  <a:lnTo>
                    <a:pt x="84" y="262"/>
                  </a:lnTo>
                  <a:lnTo>
                    <a:pt x="83" y="261"/>
                  </a:lnTo>
                  <a:lnTo>
                    <a:pt x="82" y="260"/>
                  </a:lnTo>
                  <a:lnTo>
                    <a:pt x="80" y="259"/>
                  </a:lnTo>
                  <a:lnTo>
                    <a:pt x="78" y="258"/>
                  </a:lnTo>
                  <a:lnTo>
                    <a:pt x="76" y="257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5" y="247"/>
                  </a:lnTo>
                  <a:lnTo>
                    <a:pt x="65" y="245"/>
                  </a:lnTo>
                  <a:lnTo>
                    <a:pt x="65" y="244"/>
                  </a:lnTo>
                  <a:lnTo>
                    <a:pt x="65" y="243"/>
                  </a:lnTo>
                  <a:lnTo>
                    <a:pt x="64" y="242"/>
                  </a:lnTo>
                  <a:lnTo>
                    <a:pt x="63" y="240"/>
                  </a:lnTo>
                  <a:lnTo>
                    <a:pt x="62" y="238"/>
                  </a:lnTo>
                  <a:lnTo>
                    <a:pt x="60" y="235"/>
                  </a:lnTo>
                  <a:lnTo>
                    <a:pt x="59" y="234"/>
                  </a:lnTo>
                  <a:lnTo>
                    <a:pt x="58" y="233"/>
                  </a:lnTo>
                  <a:lnTo>
                    <a:pt x="57" y="232"/>
                  </a:lnTo>
                  <a:lnTo>
                    <a:pt x="56" y="231"/>
                  </a:lnTo>
                  <a:lnTo>
                    <a:pt x="55" y="231"/>
                  </a:lnTo>
                  <a:lnTo>
                    <a:pt x="52" y="230"/>
                  </a:lnTo>
                  <a:lnTo>
                    <a:pt x="51" y="229"/>
                  </a:lnTo>
                  <a:lnTo>
                    <a:pt x="50" y="228"/>
                  </a:lnTo>
                  <a:lnTo>
                    <a:pt x="48" y="227"/>
                  </a:lnTo>
                  <a:lnTo>
                    <a:pt x="45" y="225"/>
                  </a:lnTo>
                  <a:lnTo>
                    <a:pt x="44" y="224"/>
                  </a:lnTo>
                  <a:lnTo>
                    <a:pt x="43" y="223"/>
                  </a:lnTo>
                  <a:lnTo>
                    <a:pt x="43" y="223"/>
                  </a:lnTo>
                  <a:lnTo>
                    <a:pt x="42" y="222"/>
                  </a:lnTo>
                  <a:lnTo>
                    <a:pt x="41" y="221"/>
                  </a:lnTo>
                  <a:lnTo>
                    <a:pt x="40" y="219"/>
                  </a:lnTo>
                  <a:lnTo>
                    <a:pt x="40" y="218"/>
                  </a:lnTo>
                  <a:lnTo>
                    <a:pt x="39" y="216"/>
                  </a:lnTo>
                  <a:lnTo>
                    <a:pt x="39" y="214"/>
                  </a:lnTo>
                  <a:lnTo>
                    <a:pt x="38" y="212"/>
                  </a:lnTo>
                  <a:lnTo>
                    <a:pt x="38" y="210"/>
                  </a:lnTo>
                  <a:lnTo>
                    <a:pt x="38" y="207"/>
                  </a:lnTo>
                  <a:lnTo>
                    <a:pt x="38" y="205"/>
                  </a:lnTo>
                  <a:lnTo>
                    <a:pt x="38" y="202"/>
                  </a:lnTo>
                  <a:lnTo>
                    <a:pt x="39" y="201"/>
                  </a:lnTo>
                  <a:lnTo>
                    <a:pt x="39" y="200"/>
                  </a:lnTo>
                  <a:lnTo>
                    <a:pt x="41" y="193"/>
                  </a:lnTo>
                  <a:lnTo>
                    <a:pt x="42" y="188"/>
                  </a:lnTo>
                  <a:lnTo>
                    <a:pt x="43" y="187"/>
                  </a:lnTo>
                  <a:lnTo>
                    <a:pt x="43" y="185"/>
                  </a:lnTo>
                  <a:lnTo>
                    <a:pt x="43" y="184"/>
                  </a:lnTo>
                  <a:lnTo>
                    <a:pt x="43" y="182"/>
                  </a:lnTo>
                  <a:lnTo>
                    <a:pt x="43" y="180"/>
                  </a:lnTo>
                  <a:lnTo>
                    <a:pt x="43" y="178"/>
                  </a:lnTo>
                  <a:lnTo>
                    <a:pt x="42" y="176"/>
                  </a:lnTo>
                  <a:lnTo>
                    <a:pt x="41" y="173"/>
                  </a:lnTo>
                  <a:lnTo>
                    <a:pt x="41" y="171"/>
                  </a:lnTo>
                  <a:lnTo>
                    <a:pt x="40" y="170"/>
                  </a:lnTo>
                  <a:lnTo>
                    <a:pt x="38" y="166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6" y="162"/>
                  </a:lnTo>
                  <a:lnTo>
                    <a:pt x="35" y="160"/>
                  </a:lnTo>
                  <a:lnTo>
                    <a:pt x="33" y="158"/>
                  </a:lnTo>
                  <a:lnTo>
                    <a:pt x="31" y="156"/>
                  </a:lnTo>
                  <a:lnTo>
                    <a:pt x="30" y="154"/>
                  </a:lnTo>
                  <a:lnTo>
                    <a:pt x="27" y="152"/>
                  </a:lnTo>
                  <a:lnTo>
                    <a:pt x="26" y="151"/>
                  </a:lnTo>
                  <a:lnTo>
                    <a:pt x="26" y="150"/>
                  </a:lnTo>
                  <a:lnTo>
                    <a:pt x="24" y="146"/>
                  </a:lnTo>
                  <a:lnTo>
                    <a:pt x="23" y="145"/>
                  </a:lnTo>
                  <a:lnTo>
                    <a:pt x="21" y="143"/>
                  </a:lnTo>
                  <a:lnTo>
                    <a:pt x="19" y="141"/>
                  </a:lnTo>
                  <a:lnTo>
                    <a:pt x="19" y="140"/>
                  </a:lnTo>
                  <a:lnTo>
                    <a:pt x="18" y="140"/>
                  </a:lnTo>
                  <a:lnTo>
                    <a:pt x="16" y="139"/>
                  </a:lnTo>
                  <a:lnTo>
                    <a:pt x="13" y="138"/>
                  </a:lnTo>
                  <a:lnTo>
                    <a:pt x="11" y="138"/>
                  </a:lnTo>
                  <a:lnTo>
                    <a:pt x="10" y="137"/>
                  </a:lnTo>
                  <a:lnTo>
                    <a:pt x="9" y="136"/>
                  </a:lnTo>
                  <a:lnTo>
                    <a:pt x="7" y="136"/>
                  </a:lnTo>
                  <a:lnTo>
                    <a:pt x="6" y="135"/>
                  </a:lnTo>
                  <a:lnTo>
                    <a:pt x="5" y="134"/>
                  </a:lnTo>
                  <a:lnTo>
                    <a:pt x="4" y="133"/>
                  </a:lnTo>
                  <a:lnTo>
                    <a:pt x="3" y="132"/>
                  </a:lnTo>
                  <a:lnTo>
                    <a:pt x="2" y="131"/>
                  </a:lnTo>
                  <a:lnTo>
                    <a:pt x="1" y="130"/>
                  </a:lnTo>
                  <a:lnTo>
                    <a:pt x="1" y="129"/>
                  </a:lnTo>
                  <a:lnTo>
                    <a:pt x="0" y="128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0" y="126"/>
                  </a:lnTo>
                  <a:lnTo>
                    <a:pt x="0" y="125"/>
                  </a:lnTo>
                  <a:lnTo>
                    <a:pt x="0" y="124"/>
                  </a:lnTo>
                  <a:lnTo>
                    <a:pt x="0" y="123"/>
                  </a:lnTo>
                  <a:lnTo>
                    <a:pt x="1" y="122"/>
                  </a:lnTo>
                  <a:lnTo>
                    <a:pt x="1" y="121"/>
                  </a:lnTo>
                  <a:lnTo>
                    <a:pt x="2" y="121"/>
                  </a:lnTo>
                  <a:lnTo>
                    <a:pt x="3" y="119"/>
                  </a:lnTo>
                  <a:lnTo>
                    <a:pt x="4" y="118"/>
                  </a:lnTo>
                  <a:lnTo>
                    <a:pt x="6" y="117"/>
                  </a:lnTo>
                  <a:lnTo>
                    <a:pt x="8" y="115"/>
                  </a:lnTo>
                  <a:lnTo>
                    <a:pt x="9" y="114"/>
                  </a:lnTo>
                  <a:lnTo>
                    <a:pt x="10" y="113"/>
                  </a:lnTo>
                  <a:lnTo>
                    <a:pt x="11" y="112"/>
                  </a:lnTo>
                  <a:lnTo>
                    <a:pt x="12" y="111"/>
                  </a:lnTo>
                  <a:lnTo>
                    <a:pt x="13" y="110"/>
                  </a:lnTo>
                  <a:lnTo>
                    <a:pt x="13" y="109"/>
                  </a:lnTo>
                  <a:lnTo>
                    <a:pt x="13" y="108"/>
                  </a:lnTo>
                  <a:lnTo>
                    <a:pt x="13" y="107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3" y="105"/>
                  </a:lnTo>
                  <a:lnTo>
                    <a:pt x="13" y="103"/>
                  </a:lnTo>
                  <a:lnTo>
                    <a:pt x="12" y="100"/>
                  </a:lnTo>
                  <a:lnTo>
                    <a:pt x="11" y="98"/>
                  </a:lnTo>
                  <a:lnTo>
                    <a:pt x="11" y="96"/>
                  </a:lnTo>
                  <a:lnTo>
                    <a:pt x="10" y="92"/>
                  </a:lnTo>
                  <a:lnTo>
                    <a:pt x="10" y="91"/>
                  </a:lnTo>
                  <a:lnTo>
                    <a:pt x="9" y="89"/>
                  </a:lnTo>
                  <a:lnTo>
                    <a:pt x="8" y="88"/>
                  </a:lnTo>
                  <a:lnTo>
                    <a:pt x="8" y="87"/>
                  </a:lnTo>
                  <a:lnTo>
                    <a:pt x="6" y="85"/>
                  </a:lnTo>
                  <a:lnTo>
                    <a:pt x="6" y="84"/>
                  </a:lnTo>
                  <a:lnTo>
                    <a:pt x="5" y="84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6" y="83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9" y="82"/>
                  </a:lnTo>
                  <a:lnTo>
                    <a:pt x="11" y="82"/>
                  </a:lnTo>
                  <a:lnTo>
                    <a:pt x="12" y="82"/>
                  </a:lnTo>
                  <a:lnTo>
                    <a:pt x="17" y="81"/>
                  </a:lnTo>
                  <a:lnTo>
                    <a:pt x="20" y="81"/>
                  </a:lnTo>
                  <a:lnTo>
                    <a:pt x="23" y="81"/>
                  </a:lnTo>
                  <a:lnTo>
                    <a:pt x="26" y="81"/>
                  </a:lnTo>
                  <a:lnTo>
                    <a:pt x="28" y="81"/>
                  </a:lnTo>
                  <a:lnTo>
                    <a:pt x="30" y="82"/>
                  </a:lnTo>
                  <a:lnTo>
                    <a:pt x="31" y="82"/>
                  </a:lnTo>
                  <a:lnTo>
                    <a:pt x="33" y="83"/>
                  </a:lnTo>
                  <a:lnTo>
                    <a:pt x="34" y="83"/>
                  </a:lnTo>
                  <a:lnTo>
                    <a:pt x="35" y="84"/>
                  </a:lnTo>
                  <a:lnTo>
                    <a:pt x="36" y="85"/>
                  </a:lnTo>
                  <a:lnTo>
                    <a:pt x="37" y="86"/>
                  </a:lnTo>
                  <a:lnTo>
                    <a:pt x="38" y="87"/>
                  </a:lnTo>
                  <a:lnTo>
                    <a:pt x="39" y="89"/>
                  </a:lnTo>
                  <a:lnTo>
                    <a:pt x="40" y="91"/>
                  </a:lnTo>
                  <a:lnTo>
                    <a:pt x="41" y="92"/>
                  </a:lnTo>
                  <a:lnTo>
                    <a:pt x="41" y="93"/>
                  </a:lnTo>
                  <a:lnTo>
                    <a:pt x="42" y="94"/>
                  </a:lnTo>
                  <a:lnTo>
                    <a:pt x="42" y="99"/>
                  </a:lnTo>
                  <a:lnTo>
                    <a:pt x="43" y="101"/>
                  </a:lnTo>
                  <a:lnTo>
                    <a:pt x="44" y="106"/>
                  </a:lnTo>
                  <a:lnTo>
                    <a:pt x="45" y="107"/>
                  </a:lnTo>
                  <a:lnTo>
                    <a:pt x="45" y="109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7" y="112"/>
                  </a:lnTo>
                  <a:lnTo>
                    <a:pt x="48" y="113"/>
                  </a:lnTo>
                  <a:lnTo>
                    <a:pt x="49" y="113"/>
                  </a:lnTo>
                  <a:lnTo>
                    <a:pt x="51" y="114"/>
                  </a:lnTo>
                  <a:lnTo>
                    <a:pt x="52" y="115"/>
                  </a:lnTo>
                  <a:lnTo>
                    <a:pt x="53" y="115"/>
                  </a:lnTo>
                  <a:lnTo>
                    <a:pt x="60" y="118"/>
                  </a:lnTo>
                  <a:lnTo>
                    <a:pt x="61" y="118"/>
                  </a:lnTo>
                  <a:lnTo>
                    <a:pt x="62" y="119"/>
                  </a:lnTo>
                  <a:lnTo>
                    <a:pt x="64" y="119"/>
                  </a:lnTo>
                  <a:lnTo>
                    <a:pt x="64" y="120"/>
                  </a:lnTo>
                  <a:lnTo>
                    <a:pt x="65" y="121"/>
                  </a:lnTo>
                  <a:lnTo>
                    <a:pt x="66" y="122"/>
                  </a:lnTo>
                  <a:lnTo>
                    <a:pt x="66" y="123"/>
                  </a:lnTo>
                  <a:lnTo>
                    <a:pt x="66" y="124"/>
                  </a:lnTo>
                  <a:lnTo>
                    <a:pt x="66" y="125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7"/>
                  </a:lnTo>
                  <a:lnTo>
                    <a:pt x="65" y="127"/>
                  </a:lnTo>
                  <a:lnTo>
                    <a:pt x="64" y="128"/>
                  </a:lnTo>
                  <a:lnTo>
                    <a:pt x="63" y="128"/>
                  </a:lnTo>
                  <a:lnTo>
                    <a:pt x="63" y="129"/>
                  </a:lnTo>
                  <a:lnTo>
                    <a:pt x="63" y="130"/>
                  </a:lnTo>
                  <a:lnTo>
                    <a:pt x="62" y="130"/>
                  </a:lnTo>
                  <a:lnTo>
                    <a:pt x="62" y="131"/>
                  </a:lnTo>
                  <a:lnTo>
                    <a:pt x="62" y="132"/>
                  </a:lnTo>
                  <a:lnTo>
                    <a:pt x="63" y="133"/>
                  </a:lnTo>
                  <a:lnTo>
                    <a:pt x="63" y="134"/>
                  </a:lnTo>
                  <a:lnTo>
                    <a:pt x="64" y="136"/>
                  </a:lnTo>
                  <a:lnTo>
                    <a:pt x="65" y="137"/>
                  </a:lnTo>
                  <a:lnTo>
                    <a:pt x="67" y="138"/>
                  </a:lnTo>
                  <a:lnTo>
                    <a:pt x="68" y="140"/>
                  </a:lnTo>
                  <a:lnTo>
                    <a:pt x="72" y="143"/>
                  </a:lnTo>
                  <a:lnTo>
                    <a:pt x="73" y="144"/>
                  </a:lnTo>
                  <a:lnTo>
                    <a:pt x="74" y="145"/>
                  </a:lnTo>
                  <a:lnTo>
                    <a:pt x="75" y="146"/>
                  </a:lnTo>
                  <a:lnTo>
                    <a:pt x="76" y="149"/>
                  </a:lnTo>
                  <a:lnTo>
                    <a:pt x="77" y="150"/>
                  </a:lnTo>
                  <a:lnTo>
                    <a:pt x="77" y="150"/>
                  </a:lnTo>
                  <a:lnTo>
                    <a:pt x="77" y="151"/>
                  </a:lnTo>
                  <a:lnTo>
                    <a:pt x="77" y="152"/>
                  </a:lnTo>
                  <a:lnTo>
                    <a:pt x="76" y="155"/>
                  </a:lnTo>
                  <a:lnTo>
                    <a:pt x="76" y="159"/>
                  </a:lnTo>
                  <a:lnTo>
                    <a:pt x="76" y="161"/>
                  </a:lnTo>
                  <a:lnTo>
                    <a:pt x="75" y="164"/>
                  </a:lnTo>
                  <a:lnTo>
                    <a:pt x="75" y="165"/>
                  </a:lnTo>
                  <a:lnTo>
                    <a:pt x="75" y="166"/>
                  </a:lnTo>
                  <a:lnTo>
                    <a:pt x="75" y="167"/>
                  </a:lnTo>
                  <a:lnTo>
                    <a:pt x="75" y="167"/>
                  </a:lnTo>
                  <a:lnTo>
                    <a:pt x="76" y="169"/>
                  </a:lnTo>
                  <a:lnTo>
                    <a:pt x="76" y="171"/>
                  </a:lnTo>
                  <a:lnTo>
                    <a:pt x="77" y="173"/>
                  </a:lnTo>
                  <a:lnTo>
                    <a:pt x="79" y="175"/>
                  </a:lnTo>
                  <a:lnTo>
                    <a:pt x="80" y="177"/>
                  </a:lnTo>
                  <a:lnTo>
                    <a:pt x="81" y="177"/>
                  </a:lnTo>
                  <a:lnTo>
                    <a:pt x="81" y="178"/>
                  </a:lnTo>
                  <a:lnTo>
                    <a:pt x="82" y="178"/>
                  </a:lnTo>
                  <a:lnTo>
                    <a:pt x="83" y="179"/>
                  </a:lnTo>
                  <a:lnTo>
                    <a:pt x="84" y="179"/>
                  </a:lnTo>
                  <a:lnTo>
                    <a:pt x="85" y="180"/>
                  </a:lnTo>
                  <a:lnTo>
                    <a:pt x="87" y="180"/>
                  </a:lnTo>
                  <a:lnTo>
                    <a:pt x="88" y="181"/>
                  </a:lnTo>
                  <a:lnTo>
                    <a:pt x="89" y="181"/>
                  </a:lnTo>
                  <a:lnTo>
                    <a:pt x="90" y="181"/>
                  </a:lnTo>
                  <a:lnTo>
                    <a:pt x="91" y="181"/>
                  </a:lnTo>
                  <a:lnTo>
                    <a:pt x="92" y="181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4" y="179"/>
                  </a:lnTo>
                  <a:lnTo>
                    <a:pt x="94" y="178"/>
                  </a:lnTo>
                  <a:lnTo>
                    <a:pt x="95" y="175"/>
                  </a:lnTo>
                  <a:lnTo>
                    <a:pt x="95" y="172"/>
                  </a:lnTo>
                  <a:lnTo>
                    <a:pt x="96" y="170"/>
                  </a:lnTo>
                  <a:lnTo>
                    <a:pt x="96" y="169"/>
                  </a:lnTo>
                  <a:lnTo>
                    <a:pt x="96" y="167"/>
                  </a:lnTo>
                  <a:lnTo>
                    <a:pt x="95" y="165"/>
                  </a:lnTo>
                  <a:lnTo>
                    <a:pt x="95" y="162"/>
                  </a:lnTo>
                  <a:lnTo>
                    <a:pt x="95" y="161"/>
                  </a:lnTo>
                  <a:lnTo>
                    <a:pt x="95" y="159"/>
                  </a:lnTo>
                  <a:lnTo>
                    <a:pt x="95" y="157"/>
                  </a:lnTo>
                  <a:lnTo>
                    <a:pt x="95" y="154"/>
                  </a:lnTo>
                  <a:lnTo>
                    <a:pt x="96" y="150"/>
                  </a:lnTo>
                  <a:lnTo>
                    <a:pt x="96" y="146"/>
                  </a:lnTo>
                  <a:lnTo>
                    <a:pt x="97" y="144"/>
                  </a:lnTo>
                  <a:lnTo>
                    <a:pt x="97" y="142"/>
                  </a:lnTo>
                  <a:lnTo>
                    <a:pt x="97" y="141"/>
                  </a:lnTo>
                  <a:lnTo>
                    <a:pt x="98" y="140"/>
                  </a:lnTo>
                  <a:lnTo>
                    <a:pt x="98" y="140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100" y="138"/>
                  </a:lnTo>
                  <a:lnTo>
                    <a:pt x="102" y="138"/>
                  </a:lnTo>
                  <a:lnTo>
                    <a:pt x="103" y="137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5" y="136"/>
                  </a:lnTo>
                  <a:lnTo>
                    <a:pt x="105" y="135"/>
                  </a:lnTo>
                  <a:lnTo>
                    <a:pt x="105" y="134"/>
                  </a:lnTo>
                  <a:lnTo>
                    <a:pt x="106" y="133"/>
                  </a:lnTo>
                  <a:lnTo>
                    <a:pt x="106" y="132"/>
                  </a:lnTo>
                  <a:lnTo>
                    <a:pt x="106" y="129"/>
                  </a:lnTo>
                  <a:lnTo>
                    <a:pt x="106" y="128"/>
                  </a:lnTo>
                  <a:lnTo>
                    <a:pt x="107" y="126"/>
                  </a:lnTo>
                  <a:lnTo>
                    <a:pt x="107" y="124"/>
                  </a:lnTo>
                  <a:lnTo>
                    <a:pt x="108" y="122"/>
                  </a:lnTo>
                  <a:lnTo>
                    <a:pt x="109" y="120"/>
                  </a:lnTo>
                  <a:lnTo>
                    <a:pt x="110" y="117"/>
                  </a:lnTo>
                  <a:lnTo>
                    <a:pt x="111" y="115"/>
                  </a:lnTo>
                  <a:lnTo>
                    <a:pt x="112" y="114"/>
                  </a:lnTo>
                  <a:lnTo>
                    <a:pt x="113" y="113"/>
                  </a:lnTo>
                  <a:lnTo>
                    <a:pt x="115" y="110"/>
                  </a:lnTo>
                  <a:lnTo>
                    <a:pt x="117" y="108"/>
                  </a:lnTo>
                  <a:lnTo>
                    <a:pt x="121" y="104"/>
                  </a:lnTo>
                  <a:lnTo>
                    <a:pt x="123" y="103"/>
                  </a:lnTo>
                  <a:lnTo>
                    <a:pt x="124" y="102"/>
                  </a:lnTo>
                  <a:lnTo>
                    <a:pt x="125" y="100"/>
                  </a:lnTo>
                  <a:lnTo>
                    <a:pt x="126" y="98"/>
                  </a:lnTo>
                  <a:lnTo>
                    <a:pt x="126" y="96"/>
                  </a:lnTo>
                  <a:lnTo>
                    <a:pt x="128" y="92"/>
                  </a:lnTo>
                  <a:lnTo>
                    <a:pt x="129" y="90"/>
                  </a:lnTo>
                  <a:lnTo>
                    <a:pt x="129" y="89"/>
                  </a:lnTo>
                  <a:lnTo>
                    <a:pt x="130" y="88"/>
                  </a:lnTo>
                  <a:lnTo>
                    <a:pt x="130" y="87"/>
                  </a:lnTo>
                  <a:lnTo>
                    <a:pt x="131" y="86"/>
                  </a:lnTo>
                  <a:lnTo>
                    <a:pt x="132" y="86"/>
                  </a:lnTo>
                  <a:lnTo>
                    <a:pt x="133" y="85"/>
                  </a:lnTo>
                  <a:lnTo>
                    <a:pt x="134" y="84"/>
                  </a:lnTo>
                  <a:lnTo>
                    <a:pt x="138" y="82"/>
                  </a:lnTo>
                  <a:lnTo>
                    <a:pt x="139" y="81"/>
                  </a:lnTo>
                  <a:lnTo>
                    <a:pt x="140" y="81"/>
                  </a:lnTo>
                  <a:lnTo>
                    <a:pt x="141" y="80"/>
                  </a:lnTo>
                  <a:lnTo>
                    <a:pt x="142" y="79"/>
                  </a:lnTo>
                  <a:lnTo>
                    <a:pt x="145" y="75"/>
                  </a:lnTo>
                  <a:lnTo>
                    <a:pt x="147" y="74"/>
                  </a:lnTo>
                  <a:lnTo>
                    <a:pt x="149" y="72"/>
                  </a:lnTo>
                  <a:lnTo>
                    <a:pt x="151" y="71"/>
                  </a:lnTo>
                  <a:lnTo>
                    <a:pt x="153" y="69"/>
                  </a:lnTo>
                  <a:lnTo>
                    <a:pt x="155" y="68"/>
                  </a:lnTo>
                  <a:lnTo>
                    <a:pt x="157" y="67"/>
                  </a:lnTo>
                  <a:lnTo>
                    <a:pt x="160" y="67"/>
                  </a:lnTo>
                  <a:lnTo>
                    <a:pt x="161" y="66"/>
                  </a:lnTo>
                  <a:lnTo>
                    <a:pt x="162" y="66"/>
                  </a:lnTo>
                  <a:lnTo>
                    <a:pt x="162" y="65"/>
                  </a:lnTo>
                  <a:lnTo>
                    <a:pt x="163" y="64"/>
                  </a:lnTo>
                  <a:lnTo>
                    <a:pt x="163" y="64"/>
                  </a:lnTo>
                  <a:lnTo>
                    <a:pt x="164" y="63"/>
                  </a:lnTo>
                  <a:lnTo>
                    <a:pt x="164" y="62"/>
                  </a:lnTo>
                  <a:lnTo>
                    <a:pt x="165" y="60"/>
                  </a:lnTo>
                  <a:lnTo>
                    <a:pt x="166" y="56"/>
                  </a:lnTo>
                  <a:lnTo>
                    <a:pt x="167" y="54"/>
                  </a:lnTo>
                  <a:lnTo>
                    <a:pt x="167" y="53"/>
                  </a:lnTo>
                  <a:lnTo>
                    <a:pt x="168" y="50"/>
                  </a:lnTo>
                  <a:lnTo>
                    <a:pt x="170" y="48"/>
                  </a:lnTo>
                  <a:lnTo>
                    <a:pt x="172" y="45"/>
                  </a:lnTo>
                  <a:lnTo>
                    <a:pt x="173" y="44"/>
                  </a:lnTo>
                  <a:lnTo>
                    <a:pt x="174" y="43"/>
                  </a:lnTo>
                  <a:lnTo>
                    <a:pt x="175" y="42"/>
                  </a:lnTo>
                  <a:lnTo>
                    <a:pt x="176" y="41"/>
                  </a:lnTo>
                  <a:lnTo>
                    <a:pt x="178" y="40"/>
                  </a:lnTo>
                  <a:lnTo>
                    <a:pt x="178" y="39"/>
                  </a:lnTo>
                  <a:lnTo>
                    <a:pt x="179" y="39"/>
                  </a:lnTo>
                  <a:lnTo>
                    <a:pt x="182" y="38"/>
                  </a:lnTo>
                  <a:lnTo>
                    <a:pt x="185" y="37"/>
                  </a:lnTo>
                  <a:lnTo>
                    <a:pt x="189" y="36"/>
                  </a:lnTo>
                  <a:lnTo>
                    <a:pt x="195" y="35"/>
                  </a:lnTo>
                  <a:lnTo>
                    <a:pt x="198" y="34"/>
                  </a:lnTo>
                  <a:lnTo>
                    <a:pt x="205" y="32"/>
                  </a:lnTo>
                  <a:lnTo>
                    <a:pt x="213" y="31"/>
                  </a:lnTo>
                  <a:lnTo>
                    <a:pt x="218" y="29"/>
                  </a:lnTo>
                  <a:lnTo>
                    <a:pt x="220" y="29"/>
                  </a:lnTo>
                  <a:lnTo>
                    <a:pt x="221" y="29"/>
                  </a:lnTo>
                  <a:lnTo>
                    <a:pt x="223" y="28"/>
                  </a:lnTo>
                  <a:lnTo>
                    <a:pt x="225" y="28"/>
                  </a:lnTo>
                  <a:lnTo>
                    <a:pt x="228" y="28"/>
                  </a:lnTo>
                  <a:lnTo>
                    <a:pt x="233" y="29"/>
                  </a:lnTo>
                  <a:lnTo>
                    <a:pt x="240" y="29"/>
                  </a:lnTo>
                  <a:lnTo>
                    <a:pt x="242" y="30"/>
                  </a:lnTo>
                  <a:lnTo>
                    <a:pt x="244" y="30"/>
                  </a:lnTo>
                  <a:lnTo>
                    <a:pt x="245" y="31"/>
                  </a:lnTo>
                  <a:lnTo>
                    <a:pt x="247" y="31"/>
                  </a:lnTo>
                  <a:lnTo>
                    <a:pt x="251" y="33"/>
                  </a:lnTo>
                  <a:lnTo>
                    <a:pt x="253" y="34"/>
                  </a:lnTo>
                  <a:lnTo>
                    <a:pt x="254" y="34"/>
                  </a:lnTo>
                  <a:lnTo>
                    <a:pt x="255" y="35"/>
                  </a:lnTo>
                  <a:lnTo>
                    <a:pt x="255" y="35"/>
                  </a:lnTo>
                  <a:lnTo>
                    <a:pt x="256" y="34"/>
                  </a:lnTo>
                  <a:lnTo>
                    <a:pt x="257" y="34"/>
                  </a:lnTo>
                  <a:lnTo>
                    <a:pt x="258" y="34"/>
                  </a:lnTo>
                  <a:lnTo>
                    <a:pt x="258" y="33"/>
                  </a:lnTo>
                  <a:lnTo>
                    <a:pt x="259" y="33"/>
                  </a:lnTo>
                  <a:lnTo>
                    <a:pt x="269" y="21"/>
                  </a:lnTo>
                  <a:lnTo>
                    <a:pt x="270" y="20"/>
                  </a:lnTo>
                  <a:lnTo>
                    <a:pt x="272" y="19"/>
                  </a:lnTo>
                  <a:lnTo>
                    <a:pt x="273" y="18"/>
                  </a:lnTo>
                  <a:lnTo>
                    <a:pt x="274" y="17"/>
                  </a:lnTo>
                  <a:lnTo>
                    <a:pt x="277" y="15"/>
                  </a:lnTo>
                  <a:lnTo>
                    <a:pt x="279" y="14"/>
                  </a:lnTo>
                  <a:lnTo>
                    <a:pt x="282" y="13"/>
                  </a:lnTo>
                  <a:lnTo>
                    <a:pt x="285" y="12"/>
                  </a:lnTo>
                  <a:lnTo>
                    <a:pt x="288" y="11"/>
                  </a:lnTo>
                  <a:lnTo>
                    <a:pt x="289" y="10"/>
                  </a:lnTo>
                  <a:lnTo>
                    <a:pt x="291" y="10"/>
                  </a:lnTo>
                  <a:lnTo>
                    <a:pt x="292" y="10"/>
                  </a:lnTo>
                  <a:lnTo>
                    <a:pt x="293" y="10"/>
                  </a:lnTo>
                  <a:lnTo>
                    <a:pt x="294" y="10"/>
                  </a:lnTo>
                  <a:lnTo>
                    <a:pt x="294" y="10"/>
                  </a:lnTo>
                  <a:lnTo>
                    <a:pt x="295" y="11"/>
                  </a:lnTo>
                  <a:lnTo>
                    <a:pt x="298" y="12"/>
                  </a:lnTo>
                  <a:lnTo>
                    <a:pt x="299" y="12"/>
                  </a:lnTo>
                  <a:lnTo>
                    <a:pt x="300" y="12"/>
                  </a:lnTo>
                  <a:lnTo>
                    <a:pt x="300" y="12"/>
                  </a:lnTo>
                  <a:lnTo>
                    <a:pt x="301" y="12"/>
                  </a:lnTo>
                  <a:lnTo>
                    <a:pt x="301" y="12"/>
                  </a:lnTo>
                  <a:lnTo>
                    <a:pt x="301" y="12"/>
                  </a:lnTo>
                  <a:lnTo>
                    <a:pt x="302" y="11"/>
                  </a:lnTo>
                  <a:lnTo>
                    <a:pt x="302" y="10"/>
                  </a:lnTo>
                  <a:lnTo>
                    <a:pt x="303" y="10"/>
                  </a:lnTo>
                  <a:lnTo>
                    <a:pt x="305" y="4"/>
                  </a:lnTo>
                  <a:lnTo>
                    <a:pt x="307" y="1"/>
                  </a:lnTo>
                  <a:lnTo>
                    <a:pt x="307" y="0"/>
                  </a:lnTo>
                  <a:lnTo>
                    <a:pt x="308" y="1"/>
                  </a:lnTo>
                  <a:close/>
                </a:path>
              </a:pathLst>
            </a:custGeom>
            <a:solidFill>
              <a:srgbClr val="CCCCCC"/>
            </a:solidFill>
            <a:ln w="98425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Freeform 237">
              <a:extLst>
                <a:ext uri="{FF2B5EF4-FFF2-40B4-BE49-F238E27FC236}">
                  <a16:creationId xmlns:a16="http://schemas.microsoft.com/office/drawing/2014/main" id="{5AEBE556-8D82-4782-A98F-D93343A69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0383" y="1829811"/>
              <a:ext cx="728618" cy="645056"/>
            </a:xfrm>
            <a:custGeom>
              <a:avLst/>
              <a:gdLst>
                <a:gd name="T0" fmla="*/ 607 w 715"/>
                <a:gd name="T1" fmla="*/ 17 h 633"/>
                <a:gd name="T2" fmla="*/ 637 w 715"/>
                <a:gd name="T3" fmla="*/ 16 h 633"/>
                <a:gd name="T4" fmla="*/ 653 w 715"/>
                <a:gd name="T5" fmla="*/ 11 h 633"/>
                <a:gd name="T6" fmla="*/ 669 w 715"/>
                <a:gd name="T7" fmla="*/ 30 h 633"/>
                <a:gd name="T8" fmla="*/ 692 w 715"/>
                <a:gd name="T9" fmla="*/ 50 h 633"/>
                <a:gd name="T10" fmla="*/ 682 w 715"/>
                <a:gd name="T11" fmla="*/ 86 h 633"/>
                <a:gd name="T12" fmla="*/ 707 w 715"/>
                <a:gd name="T13" fmla="*/ 86 h 633"/>
                <a:gd name="T14" fmla="*/ 712 w 715"/>
                <a:gd name="T15" fmla="*/ 104 h 633"/>
                <a:gd name="T16" fmla="*/ 686 w 715"/>
                <a:gd name="T17" fmla="*/ 144 h 633"/>
                <a:gd name="T18" fmla="*/ 673 w 715"/>
                <a:gd name="T19" fmla="*/ 168 h 633"/>
                <a:gd name="T20" fmla="*/ 643 w 715"/>
                <a:gd name="T21" fmla="*/ 160 h 633"/>
                <a:gd name="T22" fmla="*/ 633 w 715"/>
                <a:gd name="T23" fmla="*/ 174 h 633"/>
                <a:gd name="T24" fmla="*/ 620 w 715"/>
                <a:gd name="T25" fmla="*/ 200 h 633"/>
                <a:gd name="T26" fmla="*/ 604 w 715"/>
                <a:gd name="T27" fmla="*/ 221 h 633"/>
                <a:gd name="T28" fmla="*/ 590 w 715"/>
                <a:gd name="T29" fmla="*/ 251 h 633"/>
                <a:gd name="T30" fmla="*/ 596 w 715"/>
                <a:gd name="T31" fmla="*/ 280 h 633"/>
                <a:gd name="T32" fmla="*/ 619 w 715"/>
                <a:gd name="T33" fmla="*/ 328 h 633"/>
                <a:gd name="T34" fmla="*/ 645 w 715"/>
                <a:gd name="T35" fmla="*/ 360 h 633"/>
                <a:gd name="T36" fmla="*/ 637 w 715"/>
                <a:gd name="T37" fmla="*/ 368 h 633"/>
                <a:gd name="T38" fmla="*/ 637 w 715"/>
                <a:gd name="T39" fmla="*/ 394 h 633"/>
                <a:gd name="T40" fmla="*/ 616 w 715"/>
                <a:gd name="T41" fmla="*/ 412 h 633"/>
                <a:gd name="T42" fmla="*/ 597 w 715"/>
                <a:gd name="T43" fmla="*/ 411 h 633"/>
                <a:gd name="T44" fmla="*/ 598 w 715"/>
                <a:gd name="T45" fmla="*/ 437 h 633"/>
                <a:gd name="T46" fmla="*/ 589 w 715"/>
                <a:gd name="T47" fmla="*/ 461 h 633"/>
                <a:gd name="T48" fmla="*/ 549 w 715"/>
                <a:gd name="T49" fmla="*/ 469 h 633"/>
                <a:gd name="T50" fmla="*/ 518 w 715"/>
                <a:gd name="T51" fmla="*/ 468 h 633"/>
                <a:gd name="T52" fmla="*/ 459 w 715"/>
                <a:gd name="T53" fmla="*/ 465 h 633"/>
                <a:gd name="T54" fmla="*/ 435 w 715"/>
                <a:gd name="T55" fmla="*/ 474 h 633"/>
                <a:gd name="T56" fmla="*/ 427 w 715"/>
                <a:gd name="T57" fmla="*/ 491 h 633"/>
                <a:gd name="T58" fmla="*/ 409 w 715"/>
                <a:gd name="T59" fmla="*/ 508 h 633"/>
                <a:gd name="T60" fmla="*/ 380 w 715"/>
                <a:gd name="T61" fmla="*/ 526 h 633"/>
                <a:gd name="T62" fmla="*/ 363 w 715"/>
                <a:gd name="T63" fmla="*/ 519 h 633"/>
                <a:gd name="T64" fmla="*/ 339 w 715"/>
                <a:gd name="T65" fmla="*/ 535 h 633"/>
                <a:gd name="T66" fmla="*/ 305 w 715"/>
                <a:gd name="T67" fmla="*/ 539 h 633"/>
                <a:gd name="T68" fmla="*/ 280 w 715"/>
                <a:gd name="T69" fmla="*/ 552 h 633"/>
                <a:gd name="T70" fmla="*/ 249 w 715"/>
                <a:gd name="T71" fmla="*/ 563 h 633"/>
                <a:gd name="T72" fmla="*/ 225 w 715"/>
                <a:gd name="T73" fmla="*/ 584 h 633"/>
                <a:gd name="T74" fmla="*/ 217 w 715"/>
                <a:gd name="T75" fmla="*/ 603 h 633"/>
                <a:gd name="T76" fmla="*/ 200 w 715"/>
                <a:gd name="T77" fmla="*/ 617 h 633"/>
                <a:gd name="T78" fmla="*/ 183 w 715"/>
                <a:gd name="T79" fmla="*/ 632 h 633"/>
                <a:gd name="T80" fmla="*/ 167 w 715"/>
                <a:gd name="T81" fmla="*/ 619 h 633"/>
                <a:gd name="T82" fmla="*/ 155 w 715"/>
                <a:gd name="T83" fmla="*/ 624 h 633"/>
                <a:gd name="T84" fmla="*/ 146 w 715"/>
                <a:gd name="T85" fmla="*/ 619 h 633"/>
                <a:gd name="T86" fmla="*/ 131 w 715"/>
                <a:gd name="T87" fmla="*/ 603 h 633"/>
                <a:gd name="T88" fmla="*/ 120 w 715"/>
                <a:gd name="T89" fmla="*/ 593 h 633"/>
                <a:gd name="T90" fmla="*/ 135 w 715"/>
                <a:gd name="T91" fmla="*/ 590 h 633"/>
                <a:gd name="T92" fmla="*/ 135 w 715"/>
                <a:gd name="T93" fmla="*/ 568 h 633"/>
                <a:gd name="T94" fmla="*/ 122 w 715"/>
                <a:gd name="T95" fmla="*/ 533 h 633"/>
                <a:gd name="T96" fmla="*/ 115 w 715"/>
                <a:gd name="T97" fmla="*/ 507 h 633"/>
                <a:gd name="T98" fmla="*/ 118 w 715"/>
                <a:gd name="T99" fmla="*/ 473 h 633"/>
                <a:gd name="T100" fmla="*/ 109 w 715"/>
                <a:gd name="T101" fmla="*/ 451 h 633"/>
                <a:gd name="T102" fmla="*/ 72 w 715"/>
                <a:gd name="T103" fmla="*/ 451 h 633"/>
                <a:gd name="T104" fmla="*/ 64 w 715"/>
                <a:gd name="T105" fmla="*/ 441 h 633"/>
                <a:gd name="T106" fmla="*/ 44 w 715"/>
                <a:gd name="T107" fmla="*/ 428 h 633"/>
                <a:gd name="T108" fmla="*/ 0 w 715"/>
                <a:gd name="T109" fmla="*/ 415 h 633"/>
                <a:gd name="T110" fmla="*/ 30 w 715"/>
                <a:gd name="T111" fmla="*/ 388 h 633"/>
                <a:gd name="T112" fmla="*/ 39 w 715"/>
                <a:gd name="T113" fmla="*/ 352 h 633"/>
                <a:gd name="T114" fmla="*/ 73 w 715"/>
                <a:gd name="T115" fmla="*/ 349 h 633"/>
                <a:gd name="T116" fmla="*/ 101 w 715"/>
                <a:gd name="T117" fmla="*/ 352 h 633"/>
                <a:gd name="T118" fmla="*/ 120 w 715"/>
                <a:gd name="T119" fmla="*/ 318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15" h="633">
                  <a:moveTo>
                    <a:pt x="573" y="0"/>
                  </a:moveTo>
                  <a:lnTo>
                    <a:pt x="574" y="0"/>
                  </a:lnTo>
                  <a:lnTo>
                    <a:pt x="575" y="1"/>
                  </a:lnTo>
                  <a:lnTo>
                    <a:pt x="577" y="2"/>
                  </a:lnTo>
                  <a:lnTo>
                    <a:pt x="582" y="5"/>
                  </a:lnTo>
                  <a:lnTo>
                    <a:pt x="584" y="6"/>
                  </a:lnTo>
                  <a:lnTo>
                    <a:pt x="586" y="7"/>
                  </a:lnTo>
                  <a:lnTo>
                    <a:pt x="587" y="7"/>
                  </a:lnTo>
                  <a:lnTo>
                    <a:pt x="589" y="8"/>
                  </a:lnTo>
                  <a:lnTo>
                    <a:pt x="594" y="9"/>
                  </a:lnTo>
                  <a:lnTo>
                    <a:pt x="596" y="10"/>
                  </a:lnTo>
                  <a:lnTo>
                    <a:pt x="597" y="10"/>
                  </a:lnTo>
                  <a:lnTo>
                    <a:pt x="599" y="11"/>
                  </a:lnTo>
                  <a:lnTo>
                    <a:pt x="601" y="12"/>
                  </a:lnTo>
                  <a:lnTo>
                    <a:pt x="603" y="13"/>
                  </a:lnTo>
                  <a:lnTo>
                    <a:pt x="604" y="14"/>
                  </a:lnTo>
                  <a:lnTo>
                    <a:pt x="607" y="17"/>
                  </a:lnTo>
                  <a:lnTo>
                    <a:pt x="608" y="18"/>
                  </a:lnTo>
                  <a:lnTo>
                    <a:pt x="610" y="19"/>
                  </a:lnTo>
                  <a:lnTo>
                    <a:pt x="611" y="20"/>
                  </a:lnTo>
                  <a:lnTo>
                    <a:pt x="613" y="20"/>
                  </a:lnTo>
                  <a:lnTo>
                    <a:pt x="615" y="21"/>
                  </a:lnTo>
                  <a:lnTo>
                    <a:pt x="616" y="21"/>
                  </a:lnTo>
                  <a:lnTo>
                    <a:pt x="618" y="21"/>
                  </a:lnTo>
                  <a:lnTo>
                    <a:pt x="619" y="21"/>
                  </a:lnTo>
                  <a:lnTo>
                    <a:pt x="620" y="21"/>
                  </a:lnTo>
                  <a:lnTo>
                    <a:pt x="622" y="21"/>
                  </a:lnTo>
                  <a:lnTo>
                    <a:pt x="623" y="20"/>
                  </a:lnTo>
                  <a:lnTo>
                    <a:pt x="625" y="20"/>
                  </a:lnTo>
                  <a:lnTo>
                    <a:pt x="630" y="18"/>
                  </a:lnTo>
                  <a:lnTo>
                    <a:pt x="631" y="17"/>
                  </a:lnTo>
                  <a:lnTo>
                    <a:pt x="633" y="17"/>
                  </a:lnTo>
                  <a:lnTo>
                    <a:pt x="635" y="16"/>
                  </a:lnTo>
                  <a:lnTo>
                    <a:pt x="637" y="16"/>
                  </a:lnTo>
                  <a:lnTo>
                    <a:pt x="639" y="16"/>
                  </a:lnTo>
                  <a:lnTo>
                    <a:pt x="640" y="17"/>
                  </a:lnTo>
                  <a:lnTo>
                    <a:pt x="643" y="17"/>
                  </a:lnTo>
                  <a:lnTo>
                    <a:pt x="644" y="17"/>
                  </a:lnTo>
                  <a:lnTo>
                    <a:pt x="646" y="17"/>
                  </a:lnTo>
                  <a:lnTo>
                    <a:pt x="647" y="17"/>
                  </a:lnTo>
                  <a:lnTo>
                    <a:pt x="647" y="17"/>
                  </a:lnTo>
                  <a:lnTo>
                    <a:pt x="648" y="17"/>
                  </a:lnTo>
                  <a:lnTo>
                    <a:pt x="649" y="16"/>
                  </a:lnTo>
                  <a:lnTo>
                    <a:pt x="649" y="16"/>
                  </a:lnTo>
                  <a:lnTo>
                    <a:pt x="650" y="15"/>
                  </a:lnTo>
                  <a:lnTo>
                    <a:pt x="651" y="12"/>
                  </a:lnTo>
                  <a:lnTo>
                    <a:pt x="652" y="12"/>
                  </a:lnTo>
                  <a:lnTo>
                    <a:pt x="652" y="11"/>
                  </a:lnTo>
                  <a:lnTo>
                    <a:pt x="653" y="11"/>
                  </a:lnTo>
                  <a:lnTo>
                    <a:pt x="653" y="11"/>
                  </a:lnTo>
                  <a:lnTo>
                    <a:pt x="653" y="11"/>
                  </a:lnTo>
                  <a:lnTo>
                    <a:pt x="654" y="11"/>
                  </a:lnTo>
                  <a:lnTo>
                    <a:pt x="654" y="12"/>
                  </a:lnTo>
                  <a:lnTo>
                    <a:pt x="654" y="12"/>
                  </a:lnTo>
                  <a:lnTo>
                    <a:pt x="655" y="12"/>
                  </a:lnTo>
                  <a:lnTo>
                    <a:pt x="655" y="13"/>
                  </a:lnTo>
                  <a:lnTo>
                    <a:pt x="655" y="16"/>
                  </a:lnTo>
                  <a:lnTo>
                    <a:pt x="656" y="17"/>
                  </a:lnTo>
                  <a:lnTo>
                    <a:pt x="656" y="18"/>
                  </a:lnTo>
                  <a:lnTo>
                    <a:pt x="656" y="19"/>
                  </a:lnTo>
                  <a:lnTo>
                    <a:pt x="657" y="20"/>
                  </a:lnTo>
                  <a:lnTo>
                    <a:pt x="658" y="21"/>
                  </a:lnTo>
                  <a:lnTo>
                    <a:pt x="658" y="21"/>
                  </a:lnTo>
                  <a:lnTo>
                    <a:pt x="659" y="22"/>
                  </a:lnTo>
                  <a:lnTo>
                    <a:pt x="661" y="23"/>
                  </a:lnTo>
                  <a:lnTo>
                    <a:pt x="665" y="26"/>
                  </a:lnTo>
                  <a:lnTo>
                    <a:pt x="666" y="28"/>
                  </a:lnTo>
                  <a:lnTo>
                    <a:pt x="669" y="30"/>
                  </a:lnTo>
                  <a:lnTo>
                    <a:pt x="670" y="31"/>
                  </a:lnTo>
                  <a:lnTo>
                    <a:pt x="671" y="31"/>
                  </a:lnTo>
                  <a:lnTo>
                    <a:pt x="672" y="32"/>
                  </a:lnTo>
                  <a:lnTo>
                    <a:pt x="674" y="32"/>
                  </a:lnTo>
                  <a:lnTo>
                    <a:pt x="678" y="33"/>
                  </a:lnTo>
                  <a:lnTo>
                    <a:pt x="679" y="33"/>
                  </a:lnTo>
                  <a:lnTo>
                    <a:pt x="680" y="34"/>
                  </a:lnTo>
                  <a:lnTo>
                    <a:pt x="681" y="34"/>
                  </a:lnTo>
                  <a:lnTo>
                    <a:pt x="682" y="35"/>
                  </a:lnTo>
                  <a:lnTo>
                    <a:pt x="684" y="36"/>
                  </a:lnTo>
                  <a:lnTo>
                    <a:pt x="685" y="38"/>
                  </a:lnTo>
                  <a:lnTo>
                    <a:pt x="687" y="40"/>
                  </a:lnTo>
                  <a:lnTo>
                    <a:pt x="689" y="42"/>
                  </a:lnTo>
                  <a:lnTo>
                    <a:pt x="690" y="45"/>
                  </a:lnTo>
                  <a:lnTo>
                    <a:pt x="691" y="46"/>
                  </a:lnTo>
                  <a:lnTo>
                    <a:pt x="692" y="48"/>
                  </a:lnTo>
                  <a:lnTo>
                    <a:pt x="692" y="50"/>
                  </a:lnTo>
                  <a:lnTo>
                    <a:pt x="693" y="52"/>
                  </a:lnTo>
                  <a:lnTo>
                    <a:pt x="693" y="54"/>
                  </a:lnTo>
                  <a:lnTo>
                    <a:pt x="692" y="56"/>
                  </a:lnTo>
                  <a:lnTo>
                    <a:pt x="692" y="58"/>
                  </a:lnTo>
                  <a:lnTo>
                    <a:pt x="691" y="61"/>
                  </a:lnTo>
                  <a:lnTo>
                    <a:pt x="691" y="64"/>
                  </a:lnTo>
                  <a:lnTo>
                    <a:pt x="689" y="67"/>
                  </a:lnTo>
                  <a:lnTo>
                    <a:pt x="688" y="71"/>
                  </a:lnTo>
                  <a:lnTo>
                    <a:pt x="686" y="74"/>
                  </a:lnTo>
                  <a:lnTo>
                    <a:pt x="684" y="78"/>
                  </a:lnTo>
                  <a:lnTo>
                    <a:pt x="684" y="79"/>
                  </a:lnTo>
                  <a:lnTo>
                    <a:pt x="683" y="81"/>
                  </a:lnTo>
                  <a:lnTo>
                    <a:pt x="683" y="82"/>
                  </a:lnTo>
                  <a:lnTo>
                    <a:pt x="682" y="83"/>
                  </a:lnTo>
                  <a:lnTo>
                    <a:pt x="682" y="84"/>
                  </a:lnTo>
                  <a:lnTo>
                    <a:pt x="682" y="85"/>
                  </a:lnTo>
                  <a:lnTo>
                    <a:pt x="682" y="86"/>
                  </a:lnTo>
                  <a:lnTo>
                    <a:pt x="682" y="86"/>
                  </a:lnTo>
                  <a:lnTo>
                    <a:pt x="683" y="87"/>
                  </a:lnTo>
                  <a:lnTo>
                    <a:pt x="683" y="87"/>
                  </a:lnTo>
                  <a:lnTo>
                    <a:pt x="683" y="88"/>
                  </a:lnTo>
                  <a:lnTo>
                    <a:pt x="684" y="89"/>
                  </a:lnTo>
                  <a:lnTo>
                    <a:pt x="685" y="89"/>
                  </a:lnTo>
                  <a:lnTo>
                    <a:pt x="686" y="90"/>
                  </a:lnTo>
                  <a:lnTo>
                    <a:pt x="686" y="90"/>
                  </a:lnTo>
                  <a:lnTo>
                    <a:pt x="687" y="90"/>
                  </a:lnTo>
                  <a:lnTo>
                    <a:pt x="688" y="90"/>
                  </a:lnTo>
                  <a:lnTo>
                    <a:pt x="689" y="90"/>
                  </a:lnTo>
                  <a:lnTo>
                    <a:pt x="691" y="90"/>
                  </a:lnTo>
                  <a:lnTo>
                    <a:pt x="693" y="90"/>
                  </a:lnTo>
                  <a:lnTo>
                    <a:pt x="696" y="89"/>
                  </a:lnTo>
                  <a:lnTo>
                    <a:pt x="702" y="87"/>
                  </a:lnTo>
                  <a:lnTo>
                    <a:pt x="705" y="86"/>
                  </a:lnTo>
                  <a:lnTo>
                    <a:pt x="707" y="86"/>
                  </a:lnTo>
                  <a:lnTo>
                    <a:pt x="708" y="86"/>
                  </a:lnTo>
                  <a:lnTo>
                    <a:pt x="709" y="86"/>
                  </a:lnTo>
                  <a:lnTo>
                    <a:pt x="710" y="86"/>
                  </a:lnTo>
                  <a:lnTo>
                    <a:pt x="711" y="86"/>
                  </a:lnTo>
                  <a:lnTo>
                    <a:pt x="712" y="86"/>
                  </a:lnTo>
                  <a:lnTo>
                    <a:pt x="713" y="86"/>
                  </a:lnTo>
                  <a:lnTo>
                    <a:pt x="713" y="87"/>
                  </a:lnTo>
                  <a:lnTo>
                    <a:pt x="714" y="88"/>
                  </a:lnTo>
                  <a:lnTo>
                    <a:pt x="714" y="88"/>
                  </a:lnTo>
                  <a:lnTo>
                    <a:pt x="715" y="89"/>
                  </a:lnTo>
                  <a:lnTo>
                    <a:pt x="715" y="90"/>
                  </a:lnTo>
                  <a:lnTo>
                    <a:pt x="715" y="92"/>
                  </a:lnTo>
                  <a:lnTo>
                    <a:pt x="715" y="94"/>
                  </a:lnTo>
                  <a:lnTo>
                    <a:pt x="715" y="96"/>
                  </a:lnTo>
                  <a:lnTo>
                    <a:pt x="714" y="98"/>
                  </a:lnTo>
                  <a:lnTo>
                    <a:pt x="714" y="100"/>
                  </a:lnTo>
                  <a:lnTo>
                    <a:pt x="712" y="104"/>
                  </a:lnTo>
                  <a:lnTo>
                    <a:pt x="711" y="107"/>
                  </a:lnTo>
                  <a:lnTo>
                    <a:pt x="706" y="120"/>
                  </a:lnTo>
                  <a:lnTo>
                    <a:pt x="703" y="128"/>
                  </a:lnTo>
                  <a:lnTo>
                    <a:pt x="702" y="130"/>
                  </a:lnTo>
                  <a:lnTo>
                    <a:pt x="702" y="130"/>
                  </a:lnTo>
                  <a:lnTo>
                    <a:pt x="702" y="130"/>
                  </a:lnTo>
                  <a:lnTo>
                    <a:pt x="702" y="131"/>
                  </a:lnTo>
                  <a:lnTo>
                    <a:pt x="702" y="131"/>
                  </a:lnTo>
                  <a:lnTo>
                    <a:pt x="701" y="132"/>
                  </a:lnTo>
                  <a:lnTo>
                    <a:pt x="701" y="133"/>
                  </a:lnTo>
                  <a:lnTo>
                    <a:pt x="699" y="134"/>
                  </a:lnTo>
                  <a:lnTo>
                    <a:pt x="697" y="136"/>
                  </a:lnTo>
                  <a:lnTo>
                    <a:pt x="696" y="137"/>
                  </a:lnTo>
                  <a:lnTo>
                    <a:pt x="693" y="139"/>
                  </a:lnTo>
                  <a:lnTo>
                    <a:pt x="692" y="140"/>
                  </a:lnTo>
                  <a:lnTo>
                    <a:pt x="688" y="143"/>
                  </a:lnTo>
                  <a:lnTo>
                    <a:pt x="686" y="144"/>
                  </a:lnTo>
                  <a:lnTo>
                    <a:pt x="685" y="145"/>
                  </a:lnTo>
                  <a:lnTo>
                    <a:pt x="684" y="145"/>
                  </a:lnTo>
                  <a:lnTo>
                    <a:pt x="683" y="146"/>
                  </a:lnTo>
                  <a:lnTo>
                    <a:pt x="683" y="147"/>
                  </a:lnTo>
                  <a:lnTo>
                    <a:pt x="682" y="148"/>
                  </a:lnTo>
                  <a:lnTo>
                    <a:pt x="682" y="149"/>
                  </a:lnTo>
                  <a:lnTo>
                    <a:pt x="681" y="152"/>
                  </a:lnTo>
                  <a:lnTo>
                    <a:pt x="680" y="154"/>
                  </a:lnTo>
                  <a:lnTo>
                    <a:pt x="678" y="161"/>
                  </a:lnTo>
                  <a:lnTo>
                    <a:pt x="677" y="163"/>
                  </a:lnTo>
                  <a:lnTo>
                    <a:pt x="677" y="164"/>
                  </a:lnTo>
                  <a:lnTo>
                    <a:pt x="676" y="165"/>
                  </a:lnTo>
                  <a:lnTo>
                    <a:pt x="676" y="166"/>
                  </a:lnTo>
                  <a:lnTo>
                    <a:pt x="675" y="167"/>
                  </a:lnTo>
                  <a:lnTo>
                    <a:pt x="674" y="167"/>
                  </a:lnTo>
                  <a:lnTo>
                    <a:pt x="673" y="168"/>
                  </a:lnTo>
                  <a:lnTo>
                    <a:pt x="673" y="168"/>
                  </a:lnTo>
                  <a:lnTo>
                    <a:pt x="672" y="169"/>
                  </a:lnTo>
                  <a:lnTo>
                    <a:pt x="671" y="169"/>
                  </a:lnTo>
                  <a:lnTo>
                    <a:pt x="670" y="169"/>
                  </a:lnTo>
                  <a:lnTo>
                    <a:pt x="669" y="169"/>
                  </a:lnTo>
                  <a:lnTo>
                    <a:pt x="668" y="170"/>
                  </a:lnTo>
                  <a:lnTo>
                    <a:pt x="667" y="169"/>
                  </a:lnTo>
                  <a:lnTo>
                    <a:pt x="665" y="169"/>
                  </a:lnTo>
                  <a:lnTo>
                    <a:pt x="664" y="169"/>
                  </a:lnTo>
                  <a:lnTo>
                    <a:pt x="662" y="169"/>
                  </a:lnTo>
                  <a:lnTo>
                    <a:pt x="660" y="168"/>
                  </a:lnTo>
                  <a:lnTo>
                    <a:pt x="658" y="167"/>
                  </a:lnTo>
                  <a:lnTo>
                    <a:pt x="657" y="166"/>
                  </a:lnTo>
                  <a:lnTo>
                    <a:pt x="653" y="164"/>
                  </a:lnTo>
                  <a:lnTo>
                    <a:pt x="650" y="162"/>
                  </a:lnTo>
                  <a:lnTo>
                    <a:pt x="649" y="162"/>
                  </a:lnTo>
                  <a:lnTo>
                    <a:pt x="646" y="161"/>
                  </a:lnTo>
                  <a:lnTo>
                    <a:pt x="643" y="160"/>
                  </a:lnTo>
                  <a:lnTo>
                    <a:pt x="642" y="159"/>
                  </a:lnTo>
                  <a:lnTo>
                    <a:pt x="641" y="159"/>
                  </a:lnTo>
                  <a:lnTo>
                    <a:pt x="640" y="159"/>
                  </a:lnTo>
                  <a:lnTo>
                    <a:pt x="639" y="159"/>
                  </a:lnTo>
                  <a:lnTo>
                    <a:pt x="638" y="159"/>
                  </a:lnTo>
                  <a:lnTo>
                    <a:pt x="635" y="160"/>
                  </a:lnTo>
                  <a:lnTo>
                    <a:pt x="634" y="160"/>
                  </a:lnTo>
                  <a:lnTo>
                    <a:pt x="633" y="161"/>
                  </a:lnTo>
                  <a:lnTo>
                    <a:pt x="633" y="161"/>
                  </a:lnTo>
                  <a:lnTo>
                    <a:pt x="632" y="161"/>
                  </a:lnTo>
                  <a:lnTo>
                    <a:pt x="632" y="162"/>
                  </a:lnTo>
                  <a:lnTo>
                    <a:pt x="632" y="163"/>
                  </a:lnTo>
                  <a:lnTo>
                    <a:pt x="632" y="163"/>
                  </a:lnTo>
                  <a:lnTo>
                    <a:pt x="632" y="165"/>
                  </a:lnTo>
                  <a:lnTo>
                    <a:pt x="632" y="170"/>
                  </a:lnTo>
                  <a:lnTo>
                    <a:pt x="633" y="172"/>
                  </a:lnTo>
                  <a:lnTo>
                    <a:pt x="633" y="174"/>
                  </a:lnTo>
                  <a:lnTo>
                    <a:pt x="633" y="175"/>
                  </a:lnTo>
                  <a:lnTo>
                    <a:pt x="632" y="179"/>
                  </a:lnTo>
                  <a:lnTo>
                    <a:pt x="632" y="180"/>
                  </a:lnTo>
                  <a:lnTo>
                    <a:pt x="631" y="181"/>
                  </a:lnTo>
                  <a:lnTo>
                    <a:pt x="631" y="182"/>
                  </a:lnTo>
                  <a:lnTo>
                    <a:pt x="630" y="183"/>
                  </a:lnTo>
                  <a:lnTo>
                    <a:pt x="629" y="184"/>
                  </a:lnTo>
                  <a:lnTo>
                    <a:pt x="627" y="187"/>
                  </a:lnTo>
                  <a:lnTo>
                    <a:pt x="626" y="188"/>
                  </a:lnTo>
                  <a:lnTo>
                    <a:pt x="625" y="189"/>
                  </a:lnTo>
                  <a:lnTo>
                    <a:pt x="624" y="190"/>
                  </a:lnTo>
                  <a:lnTo>
                    <a:pt x="624" y="191"/>
                  </a:lnTo>
                  <a:lnTo>
                    <a:pt x="623" y="193"/>
                  </a:lnTo>
                  <a:lnTo>
                    <a:pt x="622" y="194"/>
                  </a:lnTo>
                  <a:lnTo>
                    <a:pt x="622" y="196"/>
                  </a:lnTo>
                  <a:lnTo>
                    <a:pt x="621" y="198"/>
                  </a:lnTo>
                  <a:lnTo>
                    <a:pt x="620" y="200"/>
                  </a:lnTo>
                  <a:lnTo>
                    <a:pt x="620" y="202"/>
                  </a:lnTo>
                  <a:lnTo>
                    <a:pt x="620" y="203"/>
                  </a:lnTo>
                  <a:lnTo>
                    <a:pt x="620" y="204"/>
                  </a:lnTo>
                  <a:lnTo>
                    <a:pt x="620" y="207"/>
                  </a:lnTo>
                  <a:lnTo>
                    <a:pt x="620" y="208"/>
                  </a:lnTo>
                  <a:lnTo>
                    <a:pt x="619" y="208"/>
                  </a:lnTo>
                  <a:lnTo>
                    <a:pt x="619" y="209"/>
                  </a:lnTo>
                  <a:lnTo>
                    <a:pt x="618" y="209"/>
                  </a:lnTo>
                  <a:lnTo>
                    <a:pt x="618" y="210"/>
                  </a:lnTo>
                  <a:lnTo>
                    <a:pt x="618" y="210"/>
                  </a:lnTo>
                  <a:lnTo>
                    <a:pt x="616" y="211"/>
                  </a:lnTo>
                  <a:lnTo>
                    <a:pt x="615" y="211"/>
                  </a:lnTo>
                  <a:lnTo>
                    <a:pt x="614" y="212"/>
                  </a:lnTo>
                  <a:lnTo>
                    <a:pt x="611" y="215"/>
                  </a:lnTo>
                  <a:lnTo>
                    <a:pt x="606" y="219"/>
                  </a:lnTo>
                  <a:lnTo>
                    <a:pt x="605" y="220"/>
                  </a:lnTo>
                  <a:lnTo>
                    <a:pt x="604" y="221"/>
                  </a:lnTo>
                  <a:lnTo>
                    <a:pt x="603" y="222"/>
                  </a:lnTo>
                  <a:lnTo>
                    <a:pt x="602" y="223"/>
                  </a:lnTo>
                  <a:lnTo>
                    <a:pt x="601" y="224"/>
                  </a:lnTo>
                  <a:lnTo>
                    <a:pt x="601" y="225"/>
                  </a:lnTo>
                  <a:lnTo>
                    <a:pt x="600" y="227"/>
                  </a:lnTo>
                  <a:lnTo>
                    <a:pt x="599" y="229"/>
                  </a:lnTo>
                  <a:lnTo>
                    <a:pt x="599" y="231"/>
                  </a:lnTo>
                  <a:lnTo>
                    <a:pt x="598" y="232"/>
                  </a:lnTo>
                  <a:lnTo>
                    <a:pt x="598" y="237"/>
                  </a:lnTo>
                  <a:lnTo>
                    <a:pt x="597" y="238"/>
                  </a:lnTo>
                  <a:lnTo>
                    <a:pt x="597" y="239"/>
                  </a:lnTo>
                  <a:lnTo>
                    <a:pt x="597" y="241"/>
                  </a:lnTo>
                  <a:lnTo>
                    <a:pt x="596" y="242"/>
                  </a:lnTo>
                  <a:lnTo>
                    <a:pt x="592" y="247"/>
                  </a:lnTo>
                  <a:lnTo>
                    <a:pt x="591" y="249"/>
                  </a:lnTo>
                  <a:lnTo>
                    <a:pt x="591" y="250"/>
                  </a:lnTo>
                  <a:lnTo>
                    <a:pt x="590" y="251"/>
                  </a:lnTo>
                  <a:lnTo>
                    <a:pt x="590" y="252"/>
                  </a:lnTo>
                  <a:lnTo>
                    <a:pt x="590" y="253"/>
                  </a:lnTo>
                  <a:lnTo>
                    <a:pt x="589" y="255"/>
                  </a:lnTo>
                  <a:lnTo>
                    <a:pt x="589" y="256"/>
                  </a:lnTo>
                  <a:lnTo>
                    <a:pt x="589" y="257"/>
                  </a:lnTo>
                  <a:lnTo>
                    <a:pt x="589" y="258"/>
                  </a:lnTo>
                  <a:lnTo>
                    <a:pt x="590" y="259"/>
                  </a:lnTo>
                  <a:lnTo>
                    <a:pt x="590" y="260"/>
                  </a:lnTo>
                  <a:lnTo>
                    <a:pt x="591" y="263"/>
                  </a:lnTo>
                  <a:lnTo>
                    <a:pt x="592" y="263"/>
                  </a:lnTo>
                  <a:lnTo>
                    <a:pt x="593" y="265"/>
                  </a:lnTo>
                  <a:lnTo>
                    <a:pt x="594" y="269"/>
                  </a:lnTo>
                  <a:lnTo>
                    <a:pt x="594" y="271"/>
                  </a:lnTo>
                  <a:lnTo>
                    <a:pt x="595" y="273"/>
                  </a:lnTo>
                  <a:lnTo>
                    <a:pt x="595" y="277"/>
                  </a:lnTo>
                  <a:lnTo>
                    <a:pt x="596" y="279"/>
                  </a:lnTo>
                  <a:lnTo>
                    <a:pt x="596" y="280"/>
                  </a:lnTo>
                  <a:lnTo>
                    <a:pt x="597" y="283"/>
                  </a:lnTo>
                  <a:lnTo>
                    <a:pt x="598" y="285"/>
                  </a:lnTo>
                  <a:lnTo>
                    <a:pt x="601" y="290"/>
                  </a:lnTo>
                  <a:lnTo>
                    <a:pt x="603" y="296"/>
                  </a:lnTo>
                  <a:lnTo>
                    <a:pt x="604" y="298"/>
                  </a:lnTo>
                  <a:lnTo>
                    <a:pt x="605" y="300"/>
                  </a:lnTo>
                  <a:lnTo>
                    <a:pt x="607" y="302"/>
                  </a:lnTo>
                  <a:lnTo>
                    <a:pt x="608" y="304"/>
                  </a:lnTo>
                  <a:lnTo>
                    <a:pt x="610" y="306"/>
                  </a:lnTo>
                  <a:lnTo>
                    <a:pt x="610" y="307"/>
                  </a:lnTo>
                  <a:lnTo>
                    <a:pt x="612" y="310"/>
                  </a:lnTo>
                  <a:lnTo>
                    <a:pt x="613" y="313"/>
                  </a:lnTo>
                  <a:lnTo>
                    <a:pt x="614" y="315"/>
                  </a:lnTo>
                  <a:lnTo>
                    <a:pt x="615" y="317"/>
                  </a:lnTo>
                  <a:lnTo>
                    <a:pt x="618" y="325"/>
                  </a:lnTo>
                  <a:lnTo>
                    <a:pt x="619" y="327"/>
                  </a:lnTo>
                  <a:lnTo>
                    <a:pt x="619" y="328"/>
                  </a:lnTo>
                  <a:lnTo>
                    <a:pt x="623" y="335"/>
                  </a:lnTo>
                  <a:lnTo>
                    <a:pt x="626" y="340"/>
                  </a:lnTo>
                  <a:lnTo>
                    <a:pt x="627" y="341"/>
                  </a:lnTo>
                  <a:lnTo>
                    <a:pt x="627" y="342"/>
                  </a:lnTo>
                  <a:lnTo>
                    <a:pt x="628" y="344"/>
                  </a:lnTo>
                  <a:lnTo>
                    <a:pt x="629" y="344"/>
                  </a:lnTo>
                  <a:lnTo>
                    <a:pt x="631" y="345"/>
                  </a:lnTo>
                  <a:lnTo>
                    <a:pt x="634" y="347"/>
                  </a:lnTo>
                  <a:lnTo>
                    <a:pt x="636" y="348"/>
                  </a:lnTo>
                  <a:lnTo>
                    <a:pt x="638" y="350"/>
                  </a:lnTo>
                  <a:lnTo>
                    <a:pt x="639" y="351"/>
                  </a:lnTo>
                  <a:lnTo>
                    <a:pt x="640" y="352"/>
                  </a:lnTo>
                  <a:lnTo>
                    <a:pt x="641" y="354"/>
                  </a:lnTo>
                  <a:lnTo>
                    <a:pt x="642" y="355"/>
                  </a:lnTo>
                  <a:lnTo>
                    <a:pt x="643" y="356"/>
                  </a:lnTo>
                  <a:lnTo>
                    <a:pt x="644" y="358"/>
                  </a:lnTo>
                  <a:lnTo>
                    <a:pt x="645" y="360"/>
                  </a:lnTo>
                  <a:lnTo>
                    <a:pt x="645" y="360"/>
                  </a:lnTo>
                  <a:lnTo>
                    <a:pt x="645" y="361"/>
                  </a:lnTo>
                  <a:lnTo>
                    <a:pt x="645" y="361"/>
                  </a:lnTo>
                  <a:lnTo>
                    <a:pt x="645" y="361"/>
                  </a:lnTo>
                  <a:lnTo>
                    <a:pt x="645" y="361"/>
                  </a:lnTo>
                  <a:lnTo>
                    <a:pt x="644" y="360"/>
                  </a:lnTo>
                  <a:lnTo>
                    <a:pt x="643" y="361"/>
                  </a:lnTo>
                  <a:lnTo>
                    <a:pt x="643" y="361"/>
                  </a:lnTo>
                  <a:lnTo>
                    <a:pt x="642" y="361"/>
                  </a:lnTo>
                  <a:lnTo>
                    <a:pt x="641" y="362"/>
                  </a:lnTo>
                  <a:lnTo>
                    <a:pt x="641" y="362"/>
                  </a:lnTo>
                  <a:lnTo>
                    <a:pt x="640" y="363"/>
                  </a:lnTo>
                  <a:lnTo>
                    <a:pt x="639" y="364"/>
                  </a:lnTo>
                  <a:lnTo>
                    <a:pt x="638" y="365"/>
                  </a:lnTo>
                  <a:lnTo>
                    <a:pt x="637" y="366"/>
                  </a:lnTo>
                  <a:lnTo>
                    <a:pt x="637" y="367"/>
                  </a:lnTo>
                  <a:lnTo>
                    <a:pt x="637" y="368"/>
                  </a:lnTo>
                  <a:lnTo>
                    <a:pt x="637" y="369"/>
                  </a:lnTo>
                  <a:lnTo>
                    <a:pt x="636" y="370"/>
                  </a:lnTo>
                  <a:lnTo>
                    <a:pt x="636" y="371"/>
                  </a:lnTo>
                  <a:lnTo>
                    <a:pt x="636" y="372"/>
                  </a:lnTo>
                  <a:lnTo>
                    <a:pt x="637" y="374"/>
                  </a:lnTo>
                  <a:lnTo>
                    <a:pt x="638" y="378"/>
                  </a:lnTo>
                  <a:lnTo>
                    <a:pt x="638" y="381"/>
                  </a:lnTo>
                  <a:lnTo>
                    <a:pt x="638" y="383"/>
                  </a:lnTo>
                  <a:lnTo>
                    <a:pt x="639" y="387"/>
                  </a:lnTo>
                  <a:lnTo>
                    <a:pt x="639" y="388"/>
                  </a:lnTo>
                  <a:lnTo>
                    <a:pt x="639" y="389"/>
                  </a:lnTo>
                  <a:lnTo>
                    <a:pt x="638" y="390"/>
                  </a:lnTo>
                  <a:lnTo>
                    <a:pt x="638" y="391"/>
                  </a:lnTo>
                  <a:lnTo>
                    <a:pt x="638" y="392"/>
                  </a:lnTo>
                  <a:lnTo>
                    <a:pt x="637" y="393"/>
                  </a:lnTo>
                  <a:lnTo>
                    <a:pt x="637" y="394"/>
                  </a:lnTo>
                  <a:lnTo>
                    <a:pt x="637" y="394"/>
                  </a:lnTo>
                  <a:lnTo>
                    <a:pt x="636" y="395"/>
                  </a:lnTo>
                  <a:lnTo>
                    <a:pt x="636" y="395"/>
                  </a:lnTo>
                  <a:lnTo>
                    <a:pt x="635" y="395"/>
                  </a:lnTo>
                  <a:lnTo>
                    <a:pt x="634" y="396"/>
                  </a:lnTo>
                  <a:lnTo>
                    <a:pt x="631" y="397"/>
                  </a:lnTo>
                  <a:lnTo>
                    <a:pt x="627" y="398"/>
                  </a:lnTo>
                  <a:lnTo>
                    <a:pt x="623" y="399"/>
                  </a:lnTo>
                  <a:lnTo>
                    <a:pt x="622" y="399"/>
                  </a:lnTo>
                  <a:lnTo>
                    <a:pt x="621" y="400"/>
                  </a:lnTo>
                  <a:lnTo>
                    <a:pt x="621" y="400"/>
                  </a:lnTo>
                  <a:lnTo>
                    <a:pt x="620" y="401"/>
                  </a:lnTo>
                  <a:lnTo>
                    <a:pt x="618" y="405"/>
                  </a:lnTo>
                  <a:lnTo>
                    <a:pt x="616" y="409"/>
                  </a:lnTo>
                  <a:lnTo>
                    <a:pt x="616" y="409"/>
                  </a:lnTo>
                  <a:lnTo>
                    <a:pt x="616" y="411"/>
                  </a:lnTo>
                  <a:lnTo>
                    <a:pt x="616" y="412"/>
                  </a:lnTo>
                  <a:lnTo>
                    <a:pt x="616" y="412"/>
                  </a:lnTo>
                  <a:lnTo>
                    <a:pt x="615" y="412"/>
                  </a:lnTo>
                  <a:lnTo>
                    <a:pt x="615" y="413"/>
                  </a:lnTo>
                  <a:lnTo>
                    <a:pt x="615" y="413"/>
                  </a:lnTo>
                  <a:lnTo>
                    <a:pt x="614" y="413"/>
                  </a:lnTo>
                  <a:lnTo>
                    <a:pt x="613" y="413"/>
                  </a:lnTo>
                  <a:lnTo>
                    <a:pt x="612" y="413"/>
                  </a:lnTo>
                  <a:lnTo>
                    <a:pt x="610" y="413"/>
                  </a:lnTo>
                  <a:lnTo>
                    <a:pt x="609" y="412"/>
                  </a:lnTo>
                  <a:lnTo>
                    <a:pt x="607" y="412"/>
                  </a:lnTo>
                  <a:lnTo>
                    <a:pt x="602" y="410"/>
                  </a:lnTo>
                  <a:lnTo>
                    <a:pt x="601" y="410"/>
                  </a:lnTo>
                  <a:lnTo>
                    <a:pt x="600" y="410"/>
                  </a:lnTo>
                  <a:lnTo>
                    <a:pt x="600" y="410"/>
                  </a:lnTo>
                  <a:lnTo>
                    <a:pt x="599" y="410"/>
                  </a:lnTo>
                  <a:lnTo>
                    <a:pt x="598" y="410"/>
                  </a:lnTo>
                  <a:lnTo>
                    <a:pt x="598" y="410"/>
                  </a:lnTo>
                  <a:lnTo>
                    <a:pt x="597" y="411"/>
                  </a:lnTo>
                  <a:lnTo>
                    <a:pt x="596" y="411"/>
                  </a:lnTo>
                  <a:lnTo>
                    <a:pt x="596" y="411"/>
                  </a:lnTo>
                  <a:lnTo>
                    <a:pt x="596" y="412"/>
                  </a:lnTo>
                  <a:lnTo>
                    <a:pt x="596" y="412"/>
                  </a:lnTo>
                  <a:lnTo>
                    <a:pt x="596" y="413"/>
                  </a:lnTo>
                  <a:lnTo>
                    <a:pt x="596" y="417"/>
                  </a:lnTo>
                  <a:lnTo>
                    <a:pt x="596" y="420"/>
                  </a:lnTo>
                  <a:lnTo>
                    <a:pt x="596" y="421"/>
                  </a:lnTo>
                  <a:lnTo>
                    <a:pt x="596" y="422"/>
                  </a:lnTo>
                  <a:lnTo>
                    <a:pt x="596" y="424"/>
                  </a:lnTo>
                  <a:lnTo>
                    <a:pt x="596" y="426"/>
                  </a:lnTo>
                  <a:lnTo>
                    <a:pt x="596" y="427"/>
                  </a:lnTo>
                  <a:lnTo>
                    <a:pt x="597" y="428"/>
                  </a:lnTo>
                  <a:lnTo>
                    <a:pt x="598" y="432"/>
                  </a:lnTo>
                  <a:lnTo>
                    <a:pt x="598" y="434"/>
                  </a:lnTo>
                  <a:lnTo>
                    <a:pt x="598" y="435"/>
                  </a:lnTo>
                  <a:lnTo>
                    <a:pt x="598" y="437"/>
                  </a:lnTo>
                  <a:lnTo>
                    <a:pt x="598" y="439"/>
                  </a:lnTo>
                  <a:lnTo>
                    <a:pt x="598" y="440"/>
                  </a:lnTo>
                  <a:lnTo>
                    <a:pt x="598" y="442"/>
                  </a:lnTo>
                  <a:lnTo>
                    <a:pt x="598" y="443"/>
                  </a:lnTo>
                  <a:lnTo>
                    <a:pt x="597" y="447"/>
                  </a:lnTo>
                  <a:lnTo>
                    <a:pt x="596" y="453"/>
                  </a:lnTo>
                  <a:lnTo>
                    <a:pt x="596" y="454"/>
                  </a:lnTo>
                  <a:lnTo>
                    <a:pt x="596" y="455"/>
                  </a:lnTo>
                  <a:lnTo>
                    <a:pt x="595" y="456"/>
                  </a:lnTo>
                  <a:lnTo>
                    <a:pt x="594" y="458"/>
                  </a:lnTo>
                  <a:lnTo>
                    <a:pt x="594" y="458"/>
                  </a:lnTo>
                  <a:lnTo>
                    <a:pt x="593" y="459"/>
                  </a:lnTo>
                  <a:lnTo>
                    <a:pt x="593" y="459"/>
                  </a:lnTo>
                  <a:lnTo>
                    <a:pt x="592" y="460"/>
                  </a:lnTo>
                  <a:lnTo>
                    <a:pt x="591" y="460"/>
                  </a:lnTo>
                  <a:lnTo>
                    <a:pt x="590" y="460"/>
                  </a:lnTo>
                  <a:lnTo>
                    <a:pt x="589" y="461"/>
                  </a:lnTo>
                  <a:lnTo>
                    <a:pt x="588" y="461"/>
                  </a:lnTo>
                  <a:lnTo>
                    <a:pt x="587" y="460"/>
                  </a:lnTo>
                  <a:lnTo>
                    <a:pt x="583" y="460"/>
                  </a:lnTo>
                  <a:lnTo>
                    <a:pt x="581" y="459"/>
                  </a:lnTo>
                  <a:lnTo>
                    <a:pt x="580" y="459"/>
                  </a:lnTo>
                  <a:lnTo>
                    <a:pt x="578" y="459"/>
                  </a:lnTo>
                  <a:lnTo>
                    <a:pt x="572" y="460"/>
                  </a:lnTo>
                  <a:lnTo>
                    <a:pt x="569" y="460"/>
                  </a:lnTo>
                  <a:lnTo>
                    <a:pt x="560" y="462"/>
                  </a:lnTo>
                  <a:lnTo>
                    <a:pt x="558" y="462"/>
                  </a:lnTo>
                  <a:lnTo>
                    <a:pt x="557" y="462"/>
                  </a:lnTo>
                  <a:lnTo>
                    <a:pt x="556" y="463"/>
                  </a:lnTo>
                  <a:lnTo>
                    <a:pt x="555" y="463"/>
                  </a:lnTo>
                  <a:lnTo>
                    <a:pt x="554" y="464"/>
                  </a:lnTo>
                  <a:lnTo>
                    <a:pt x="553" y="465"/>
                  </a:lnTo>
                  <a:lnTo>
                    <a:pt x="550" y="468"/>
                  </a:lnTo>
                  <a:lnTo>
                    <a:pt x="549" y="469"/>
                  </a:lnTo>
                  <a:lnTo>
                    <a:pt x="548" y="470"/>
                  </a:lnTo>
                  <a:lnTo>
                    <a:pt x="546" y="471"/>
                  </a:lnTo>
                  <a:lnTo>
                    <a:pt x="546" y="471"/>
                  </a:lnTo>
                  <a:lnTo>
                    <a:pt x="545" y="472"/>
                  </a:lnTo>
                  <a:lnTo>
                    <a:pt x="544" y="472"/>
                  </a:lnTo>
                  <a:lnTo>
                    <a:pt x="543" y="472"/>
                  </a:lnTo>
                  <a:lnTo>
                    <a:pt x="542" y="472"/>
                  </a:lnTo>
                  <a:lnTo>
                    <a:pt x="540" y="472"/>
                  </a:lnTo>
                  <a:lnTo>
                    <a:pt x="538" y="471"/>
                  </a:lnTo>
                  <a:lnTo>
                    <a:pt x="533" y="470"/>
                  </a:lnTo>
                  <a:lnTo>
                    <a:pt x="528" y="470"/>
                  </a:lnTo>
                  <a:lnTo>
                    <a:pt x="526" y="469"/>
                  </a:lnTo>
                  <a:lnTo>
                    <a:pt x="522" y="468"/>
                  </a:lnTo>
                  <a:lnTo>
                    <a:pt x="521" y="468"/>
                  </a:lnTo>
                  <a:lnTo>
                    <a:pt x="520" y="468"/>
                  </a:lnTo>
                  <a:lnTo>
                    <a:pt x="519" y="468"/>
                  </a:lnTo>
                  <a:lnTo>
                    <a:pt x="518" y="468"/>
                  </a:lnTo>
                  <a:lnTo>
                    <a:pt x="517" y="469"/>
                  </a:lnTo>
                  <a:lnTo>
                    <a:pt x="515" y="470"/>
                  </a:lnTo>
                  <a:lnTo>
                    <a:pt x="513" y="470"/>
                  </a:lnTo>
                  <a:lnTo>
                    <a:pt x="510" y="471"/>
                  </a:lnTo>
                  <a:lnTo>
                    <a:pt x="507" y="472"/>
                  </a:lnTo>
                  <a:lnTo>
                    <a:pt x="504" y="472"/>
                  </a:lnTo>
                  <a:lnTo>
                    <a:pt x="501" y="472"/>
                  </a:lnTo>
                  <a:lnTo>
                    <a:pt x="498" y="472"/>
                  </a:lnTo>
                  <a:lnTo>
                    <a:pt x="494" y="472"/>
                  </a:lnTo>
                  <a:lnTo>
                    <a:pt x="491" y="472"/>
                  </a:lnTo>
                  <a:lnTo>
                    <a:pt x="482" y="471"/>
                  </a:lnTo>
                  <a:lnTo>
                    <a:pt x="479" y="470"/>
                  </a:lnTo>
                  <a:lnTo>
                    <a:pt x="477" y="470"/>
                  </a:lnTo>
                  <a:lnTo>
                    <a:pt x="473" y="469"/>
                  </a:lnTo>
                  <a:lnTo>
                    <a:pt x="467" y="467"/>
                  </a:lnTo>
                  <a:lnTo>
                    <a:pt x="462" y="466"/>
                  </a:lnTo>
                  <a:lnTo>
                    <a:pt x="459" y="465"/>
                  </a:lnTo>
                  <a:lnTo>
                    <a:pt x="457" y="465"/>
                  </a:lnTo>
                  <a:lnTo>
                    <a:pt x="450" y="464"/>
                  </a:lnTo>
                  <a:lnTo>
                    <a:pt x="448" y="464"/>
                  </a:lnTo>
                  <a:lnTo>
                    <a:pt x="447" y="464"/>
                  </a:lnTo>
                  <a:lnTo>
                    <a:pt x="446" y="465"/>
                  </a:lnTo>
                  <a:lnTo>
                    <a:pt x="445" y="465"/>
                  </a:lnTo>
                  <a:lnTo>
                    <a:pt x="444" y="465"/>
                  </a:lnTo>
                  <a:lnTo>
                    <a:pt x="442" y="466"/>
                  </a:lnTo>
                  <a:lnTo>
                    <a:pt x="441" y="467"/>
                  </a:lnTo>
                  <a:lnTo>
                    <a:pt x="440" y="467"/>
                  </a:lnTo>
                  <a:lnTo>
                    <a:pt x="439" y="468"/>
                  </a:lnTo>
                  <a:lnTo>
                    <a:pt x="438" y="469"/>
                  </a:lnTo>
                  <a:lnTo>
                    <a:pt x="437" y="470"/>
                  </a:lnTo>
                  <a:lnTo>
                    <a:pt x="436" y="472"/>
                  </a:lnTo>
                  <a:lnTo>
                    <a:pt x="436" y="473"/>
                  </a:lnTo>
                  <a:lnTo>
                    <a:pt x="436" y="473"/>
                  </a:lnTo>
                  <a:lnTo>
                    <a:pt x="435" y="474"/>
                  </a:lnTo>
                  <a:lnTo>
                    <a:pt x="435" y="475"/>
                  </a:lnTo>
                  <a:lnTo>
                    <a:pt x="435" y="476"/>
                  </a:lnTo>
                  <a:lnTo>
                    <a:pt x="435" y="478"/>
                  </a:lnTo>
                  <a:lnTo>
                    <a:pt x="435" y="481"/>
                  </a:lnTo>
                  <a:lnTo>
                    <a:pt x="435" y="482"/>
                  </a:lnTo>
                  <a:lnTo>
                    <a:pt x="435" y="484"/>
                  </a:lnTo>
                  <a:lnTo>
                    <a:pt x="435" y="486"/>
                  </a:lnTo>
                  <a:lnTo>
                    <a:pt x="435" y="487"/>
                  </a:lnTo>
                  <a:lnTo>
                    <a:pt x="435" y="488"/>
                  </a:lnTo>
                  <a:lnTo>
                    <a:pt x="434" y="488"/>
                  </a:lnTo>
                  <a:lnTo>
                    <a:pt x="434" y="489"/>
                  </a:lnTo>
                  <a:lnTo>
                    <a:pt x="433" y="489"/>
                  </a:lnTo>
                  <a:lnTo>
                    <a:pt x="433" y="490"/>
                  </a:lnTo>
                  <a:lnTo>
                    <a:pt x="432" y="490"/>
                  </a:lnTo>
                  <a:lnTo>
                    <a:pt x="431" y="490"/>
                  </a:lnTo>
                  <a:lnTo>
                    <a:pt x="429" y="491"/>
                  </a:lnTo>
                  <a:lnTo>
                    <a:pt x="427" y="491"/>
                  </a:lnTo>
                  <a:lnTo>
                    <a:pt x="425" y="491"/>
                  </a:lnTo>
                  <a:lnTo>
                    <a:pt x="424" y="491"/>
                  </a:lnTo>
                  <a:lnTo>
                    <a:pt x="423" y="491"/>
                  </a:lnTo>
                  <a:lnTo>
                    <a:pt x="422" y="492"/>
                  </a:lnTo>
                  <a:lnTo>
                    <a:pt x="422" y="493"/>
                  </a:lnTo>
                  <a:lnTo>
                    <a:pt x="422" y="493"/>
                  </a:lnTo>
                  <a:lnTo>
                    <a:pt x="421" y="495"/>
                  </a:lnTo>
                  <a:lnTo>
                    <a:pt x="421" y="496"/>
                  </a:lnTo>
                  <a:lnTo>
                    <a:pt x="420" y="498"/>
                  </a:lnTo>
                  <a:lnTo>
                    <a:pt x="419" y="499"/>
                  </a:lnTo>
                  <a:lnTo>
                    <a:pt x="418" y="500"/>
                  </a:lnTo>
                  <a:lnTo>
                    <a:pt x="417" y="501"/>
                  </a:lnTo>
                  <a:lnTo>
                    <a:pt x="415" y="503"/>
                  </a:lnTo>
                  <a:lnTo>
                    <a:pt x="414" y="505"/>
                  </a:lnTo>
                  <a:lnTo>
                    <a:pt x="413" y="505"/>
                  </a:lnTo>
                  <a:lnTo>
                    <a:pt x="411" y="506"/>
                  </a:lnTo>
                  <a:lnTo>
                    <a:pt x="409" y="508"/>
                  </a:lnTo>
                  <a:lnTo>
                    <a:pt x="407" y="508"/>
                  </a:lnTo>
                  <a:lnTo>
                    <a:pt x="406" y="509"/>
                  </a:lnTo>
                  <a:lnTo>
                    <a:pt x="405" y="509"/>
                  </a:lnTo>
                  <a:lnTo>
                    <a:pt x="400" y="511"/>
                  </a:lnTo>
                  <a:lnTo>
                    <a:pt x="399" y="511"/>
                  </a:lnTo>
                  <a:lnTo>
                    <a:pt x="397" y="512"/>
                  </a:lnTo>
                  <a:lnTo>
                    <a:pt x="395" y="512"/>
                  </a:lnTo>
                  <a:lnTo>
                    <a:pt x="394" y="513"/>
                  </a:lnTo>
                  <a:lnTo>
                    <a:pt x="393" y="514"/>
                  </a:lnTo>
                  <a:lnTo>
                    <a:pt x="392" y="514"/>
                  </a:lnTo>
                  <a:lnTo>
                    <a:pt x="390" y="516"/>
                  </a:lnTo>
                  <a:lnTo>
                    <a:pt x="389" y="517"/>
                  </a:lnTo>
                  <a:lnTo>
                    <a:pt x="388" y="517"/>
                  </a:lnTo>
                  <a:lnTo>
                    <a:pt x="386" y="520"/>
                  </a:lnTo>
                  <a:lnTo>
                    <a:pt x="383" y="523"/>
                  </a:lnTo>
                  <a:lnTo>
                    <a:pt x="382" y="525"/>
                  </a:lnTo>
                  <a:lnTo>
                    <a:pt x="380" y="526"/>
                  </a:lnTo>
                  <a:lnTo>
                    <a:pt x="380" y="526"/>
                  </a:lnTo>
                  <a:lnTo>
                    <a:pt x="379" y="527"/>
                  </a:lnTo>
                  <a:lnTo>
                    <a:pt x="378" y="527"/>
                  </a:lnTo>
                  <a:lnTo>
                    <a:pt x="378" y="527"/>
                  </a:lnTo>
                  <a:lnTo>
                    <a:pt x="376" y="528"/>
                  </a:lnTo>
                  <a:lnTo>
                    <a:pt x="376" y="528"/>
                  </a:lnTo>
                  <a:lnTo>
                    <a:pt x="375" y="527"/>
                  </a:lnTo>
                  <a:lnTo>
                    <a:pt x="374" y="527"/>
                  </a:lnTo>
                  <a:lnTo>
                    <a:pt x="374" y="527"/>
                  </a:lnTo>
                  <a:lnTo>
                    <a:pt x="373" y="527"/>
                  </a:lnTo>
                  <a:lnTo>
                    <a:pt x="372" y="526"/>
                  </a:lnTo>
                  <a:lnTo>
                    <a:pt x="371" y="525"/>
                  </a:lnTo>
                  <a:lnTo>
                    <a:pt x="368" y="522"/>
                  </a:lnTo>
                  <a:lnTo>
                    <a:pt x="367" y="521"/>
                  </a:lnTo>
                  <a:lnTo>
                    <a:pt x="366" y="521"/>
                  </a:lnTo>
                  <a:lnTo>
                    <a:pt x="365" y="520"/>
                  </a:lnTo>
                  <a:lnTo>
                    <a:pt x="363" y="519"/>
                  </a:lnTo>
                  <a:lnTo>
                    <a:pt x="362" y="519"/>
                  </a:lnTo>
                  <a:lnTo>
                    <a:pt x="361" y="519"/>
                  </a:lnTo>
                  <a:lnTo>
                    <a:pt x="360" y="519"/>
                  </a:lnTo>
                  <a:lnTo>
                    <a:pt x="359" y="520"/>
                  </a:lnTo>
                  <a:lnTo>
                    <a:pt x="357" y="521"/>
                  </a:lnTo>
                  <a:lnTo>
                    <a:pt x="356" y="522"/>
                  </a:lnTo>
                  <a:lnTo>
                    <a:pt x="355" y="523"/>
                  </a:lnTo>
                  <a:lnTo>
                    <a:pt x="353" y="524"/>
                  </a:lnTo>
                  <a:lnTo>
                    <a:pt x="349" y="529"/>
                  </a:lnTo>
                  <a:lnTo>
                    <a:pt x="347" y="530"/>
                  </a:lnTo>
                  <a:lnTo>
                    <a:pt x="346" y="531"/>
                  </a:lnTo>
                  <a:lnTo>
                    <a:pt x="344" y="533"/>
                  </a:lnTo>
                  <a:lnTo>
                    <a:pt x="343" y="533"/>
                  </a:lnTo>
                  <a:lnTo>
                    <a:pt x="342" y="534"/>
                  </a:lnTo>
                  <a:lnTo>
                    <a:pt x="342" y="534"/>
                  </a:lnTo>
                  <a:lnTo>
                    <a:pt x="340" y="534"/>
                  </a:lnTo>
                  <a:lnTo>
                    <a:pt x="339" y="535"/>
                  </a:lnTo>
                  <a:lnTo>
                    <a:pt x="338" y="536"/>
                  </a:lnTo>
                  <a:lnTo>
                    <a:pt x="335" y="538"/>
                  </a:lnTo>
                  <a:lnTo>
                    <a:pt x="334" y="539"/>
                  </a:lnTo>
                  <a:lnTo>
                    <a:pt x="332" y="539"/>
                  </a:lnTo>
                  <a:lnTo>
                    <a:pt x="331" y="540"/>
                  </a:lnTo>
                  <a:lnTo>
                    <a:pt x="329" y="540"/>
                  </a:lnTo>
                  <a:lnTo>
                    <a:pt x="328" y="541"/>
                  </a:lnTo>
                  <a:lnTo>
                    <a:pt x="326" y="541"/>
                  </a:lnTo>
                  <a:lnTo>
                    <a:pt x="324" y="541"/>
                  </a:lnTo>
                  <a:lnTo>
                    <a:pt x="317" y="541"/>
                  </a:lnTo>
                  <a:lnTo>
                    <a:pt x="315" y="541"/>
                  </a:lnTo>
                  <a:lnTo>
                    <a:pt x="313" y="541"/>
                  </a:lnTo>
                  <a:lnTo>
                    <a:pt x="312" y="541"/>
                  </a:lnTo>
                  <a:lnTo>
                    <a:pt x="310" y="541"/>
                  </a:lnTo>
                  <a:lnTo>
                    <a:pt x="308" y="540"/>
                  </a:lnTo>
                  <a:lnTo>
                    <a:pt x="306" y="540"/>
                  </a:lnTo>
                  <a:lnTo>
                    <a:pt x="305" y="539"/>
                  </a:lnTo>
                  <a:lnTo>
                    <a:pt x="304" y="539"/>
                  </a:lnTo>
                  <a:lnTo>
                    <a:pt x="303" y="538"/>
                  </a:lnTo>
                  <a:lnTo>
                    <a:pt x="301" y="537"/>
                  </a:lnTo>
                  <a:lnTo>
                    <a:pt x="301" y="537"/>
                  </a:lnTo>
                  <a:lnTo>
                    <a:pt x="300" y="537"/>
                  </a:lnTo>
                  <a:lnTo>
                    <a:pt x="300" y="537"/>
                  </a:lnTo>
                  <a:lnTo>
                    <a:pt x="299" y="537"/>
                  </a:lnTo>
                  <a:lnTo>
                    <a:pt x="299" y="537"/>
                  </a:lnTo>
                  <a:lnTo>
                    <a:pt x="298" y="537"/>
                  </a:lnTo>
                  <a:lnTo>
                    <a:pt x="297" y="538"/>
                  </a:lnTo>
                  <a:lnTo>
                    <a:pt x="296" y="539"/>
                  </a:lnTo>
                  <a:lnTo>
                    <a:pt x="294" y="540"/>
                  </a:lnTo>
                  <a:lnTo>
                    <a:pt x="288" y="545"/>
                  </a:lnTo>
                  <a:lnTo>
                    <a:pt x="285" y="548"/>
                  </a:lnTo>
                  <a:lnTo>
                    <a:pt x="282" y="551"/>
                  </a:lnTo>
                  <a:lnTo>
                    <a:pt x="281" y="551"/>
                  </a:lnTo>
                  <a:lnTo>
                    <a:pt x="280" y="552"/>
                  </a:lnTo>
                  <a:lnTo>
                    <a:pt x="279" y="554"/>
                  </a:lnTo>
                  <a:lnTo>
                    <a:pt x="277" y="556"/>
                  </a:lnTo>
                  <a:lnTo>
                    <a:pt x="276" y="557"/>
                  </a:lnTo>
                  <a:lnTo>
                    <a:pt x="274" y="558"/>
                  </a:lnTo>
                  <a:lnTo>
                    <a:pt x="273" y="559"/>
                  </a:lnTo>
                  <a:lnTo>
                    <a:pt x="272" y="560"/>
                  </a:lnTo>
                  <a:lnTo>
                    <a:pt x="270" y="561"/>
                  </a:lnTo>
                  <a:lnTo>
                    <a:pt x="267" y="562"/>
                  </a:lnTo>
                  <a:lnTo>
                    <a:pt x="265" y="562"/>
                  </a:lnTo>
                  <a:lnTo>
                    <a:pt x="263" y="563"/>
                  </a:lnTo>
                  <a:lnTo>
                    <a:pt x="261" y="563"/>
                  </a:lnTo>
                  <a:lnTo>
                    <a:pt x="259" y="563"/>
                  </a:lnTo>
                  <a:lnTo>
                    <a:pt x="257" y="563"/>
                  </a:lnTo>
                  <a:lnTo>
                    <a:pt x="254" y="563"/>
                  </a:lnTo>
                  <a:lnTo>
                    <a:pt x="252" y="563"/>
                  </a:lnTo>
                  <a:lnTo>
                    <a:pt x="251" y="563"/>
                  </a:lnTo>
                  <a:lnTo>
                    <a:pt x="249" y="563"/>
                  </a:lnTo>
                  <a:lnTo>
                    <a:pt x="247" y="564"/>
                  </a:lnTo>
                  <a:lnTo>
                    <a:pt x="246" y="564"/>
                  </a:lnTo>
                  <a:lnTo>
                    <a:pt x="244" y="565"/>
                  </a:lnTo>
                  <a:lnTo>
                    <a:pt x="243" y="566"/>
                  </a:lnTo>
                  <a:lnTo>
                    <a:pt x="240" y="568"/>
                  </a:lnTo>
                  <a:lnTo>
                    <a:pt x="238" y="570"/>
                  </a:lnTo>
                  <a:lnTo>
                    <a:pt x="237" y="571"/>
                  </a:lnTo>
                  <a:lnTo>
                    <a:pt x="234" y="573"/>
                  </a:lnTo>
                  <a:lnTo>
                    <a:pt x="233" y="574"/>
                  </a:lnTo>
                  <a:lnTo>
                    <a:pt x="231" y="576"/>
                  </a:lnTo>
                  <a:lnTo>
                    <a:pt x="228" y="578"/>
                  </a:lnTo>
                  <a:lnTo>
                    <a:pt x="227" y="579"/>
                  </a:lnTo>
                  <a:lnTo>
                    <a:pt x="226" y="580"/>
                  </a:lnTo>
                  <a:lnTo>
                    <a:pt x="226" y="580"/>
                  </a:lnTo>
                  <a:lnTo>
                    <a:pt x="225" y="581"/>
                  </a:lnTo>
                  <a:lnTo>
                    <a:pt x="225" y="583"/>
                  </a:lnTo>
                  <a:lnTo>
                    <a:pt x="225" y="584"/>
                  </a:lnTo>
                  <a:lnTo>
                    <a:pt x="224" y="587"/>
                  </a:lnTo>
                  <a:lnTo>
                    <a:pt x="224" y="589"/>
                  </a:lnTo>
                  <a:lnTo>
                    <a:pt x="224" y="590"/>
                  </a:lnTo>
                  <a:lnTo>
                    <a:pt x="223" y="592"/>
                  </a:lnTo>
                  <a:lnTo>
                    <a:pt x="223" y="593"/>
                  </a:lnTo>
                  <a:lnTo>
                    <a:pt x="223" y="594"/>
                  </a:lnTo>
                  <a:lnTo>
                    <a:pt x="223" y="596"/>
                  </a:lnTo>
                  <a:lnTo>
                    <a:pt x="223" y="597"/>
                  </a:lnTo>
                  <a:lnTo>
                    <a:pt x="222" y="599"/>
                  </a:lnTo>
                  <a:lnTo>
                    <a:pt x="222" y="600"/>
                  </a:lnTo>
                  <a:lnTo>
                    <a:pt x="222" y="600"/>
                  </a:lnTo>
                  <a:lnTo>
                    <a:pt x="222" y="600"/>
                  </a:lnTo>
                  <a:lnTo>
                    <a:pt x="221" y="601"/>
                  </a:lnTo>
                  <a:lnTo>
                    <a:pt x="221" y="601"/>
                  </a:lnTo>
                  <a:lnTo>
                    <a:pt x="220" y="602"/>
                  </a:lnTo>
                  <a:lnTo>
                    <a:pt x="218" y="603"/>
                  </a:lnTo>
                  <a:lnTo>
                    <a:pt x="217" y="603"/>
                  </a:lnTo>
                  <a:lnTo>
                    <a:pt x="217" y="604"/>
                  </a:lnTo>
                  <a:lnTo>
                    <a:pt x="216" y="604"/>
                  </a:lnTo>
                  <a:lnTo>
                    <a:pt x="216" y="605"/>
                  </a:lnTo>
                  <a:lnTo>
                    <a:pt x="214" y="609"/>
                  </a:lnTo>
                  <a:lnTo>
                    <a:pt x="214" y="610"/>
                  </a:lnTo>
                  <a:lnTo>
                    <a:pt x="213" y="611"/>
                  </a:lnTo>
                  <a:lnTo>
                    <a:pt x="211" y="613"/>
                  </a:lnTo>
                  <a:lnTo>
                    <a:pt x="211" y="614"/>
                  </a:lnTo>
                  <a:lnTo>
                    <a:pt x="210" y="614"/>
                  </a:lnTo>
                  <a:lnTo>
                    <a:pt x="210" y="615"/>
                  </a:lnTo>
                  <a:lnTo>
                    <a:pt x="209" y="615"/>
                  </a:lnTo>
                  <a:lnTo>
                    <a:pt x="208" y="615"/>
                  </a:lnTo>
                  <a:lnTo>
                    <a:pt x="207" y="616"/>
                  </a:lnTo>
                  <a:lnTo>
                    <a:pt x="206" y="616"/>
                  </a:lnTo>
                  <a:lnTo>
                    <a:pt x="203" y="616"/>
                  </a:lnTo>
                  <a:lnTo>
                    <a:pt x="201" y="616"/>
                  </a:lnTo>
                  <a:lnTo>
                    <a:pt x="200" y="617"/>
                  </a:lnTo>
                  <a:lnTo>
                    <a:pt x="199" y="617"/>
                  </a:lnTo>
                  <a:lnTo>
                    <a:pt x="198" y="617"/>
                  </a:lnTo>
                  <a:lnTo>
                    <a:pt x="197" y="618"/>
                  </a:lnTo>
                  <a:lnTo>
                    <a:pt x="195" y="619"/>
                  </a:lnTo>
                  <a:lnTo>
                    <a:pt x="194" y="620"/>
                  </a:lnTo>
                  <a:lnTo>
                    <a:pt x="192" y="622"/>
                  </a:lnTo>
                  <a:lnTo>
                    <a:pt x="190" y="623"/>
                  </a:lnTo>
                  <a:lnTo>
                    <a:pt x="190" y="624"/>
                  </a:lnTo>
                  <a:lnTo>
                    <a:pt x="189" y="625"/>
                  </a:lnTo>
                  <a:lnTo>
                    <a:pt x="189" y="626"/>
                  </a:lnTo>
                  <a:lnTo>
                    <a:pt x="188" y="627"/>
                  </a:lnTo>
                  <a:lnTo>
                    <a:pt x="189" y="627"/>
                  </a:lnTo>
                  <a:lnTo>
                    <a:pt x="188" y="628"/>
                  </a:lnTo>
                  <a:lnTo>
                    <a:pt x="187" y="629"/>
                  </a:lnTo>
                  <a:lnTo>
                    <a:pt x="186" y="630"/>
                  </a:lnTo>
                  <a:lnTo>
                    <a:pt x="185" y="631"/>
                  </a:lnTo>
                  <a:lnTo>
                    <a:pt x="183" y="632"/>
                  </a:lnTo>
                  <a:lnTo>
                    <a:pt x="182" y="632"/>
                  </a:lnTo>
                  <a:lnTo>
                    <a:pt x="181" y="632"/>
                  </a:lnTo>
                  <a:lnTo>
                    <a:pt x="178" y="633"/>
                  </a:lnTo>
                  <a:lnTo>
                    <a:pt x="177" y="633"/>
                  </a:lnTo>
                  <a:lnTo>
                    <a:pt x="176" y="633"/>
                  </a:lnTo>
                  <a:lnTo>
                    <a:pt x="176" y="633"/>
                  </a:lnTo>
                  <a:lnTo>
                    <a:pt x="175" y="633"/>
                  </a:lnTo>
                  <a:lnTo>
                    <a:pt x="174" y="633"/>
                  </a:lnTo>
                  <a:lnTo>
                    <a:pt x="174" y="632"/>
                  </a:lnTo>
                  <a:lnTo>
                    <a:pt x="174" y="632"/>
                  </a:lnTo>
                  <a:lnTo>
                    <a:pt x="173" y="631"/>
                  </a:lnTo>
                  <a:lnTo>
                    <a:pt x="172" y="628"/>
                  </a:lnTo>
                  <a:lnTo>
                    <a:pt x="172" y="627"/>
                  </a:lnTo>
                  <a:lnTo>
                    <a:pt x="171" y="625"/>
                  </a:lnTo>
                  <a:lnTo>
                    <a:pt x="169" y="623"/>
                  </a:lnTo>
                  <a:lnTo>
                    <a:pt x="167" y="621"/>
                  </a:lnTo>
                  <a:lnTo>
                    <a:pt x="167" y="619"/>
                  </a:lnTo>
                  <a:lnTo>
                    <a:pt x="166" y="619"/>
                  </a:lnTo>
                  <a:lnTo>
                    <a:pt x="166" y="619"/>
                  </a:lnTo>
                  <a:lnTo>
                    <a:pt x="165" y="619"/>
                  </a:lnTo>
                  <a:lnTo>
                    <a:pt x="164" y="619"/>
                  </a:lnTo>
                  <a:lnTo>
                    <a:pt x="163" y="620"/>
                  </a:lnTo>
                  <a:lnTo>
                    <a:pt x="163" y="620"/>
                  </a:lnTo>
                  <a:lnTo>
                    <a:pt x="162" y="621"/>
                  </a:lnTo>
                  <a:lnTo>
                    <a:pt x="160" y="623"/>
                  </a:lnTo>
                  <a:lnTo>
                    <a:pt x="159" y="624"/>
                  </a:lnTo>
                  <a:lnTo>
                    <a:pt x="159" y="625"/>
                  </a:lnTo>
                  <a:lnTo>
                    <a:pt x="158" y="625"/>
                  </a:lnTo>
                  <a:lnTo>
                    <a:pt x="158" y="625"/>
                  </a:lnTo>
                  <a:lnTo>
                    <a:pt x="157" y="625"/>
                  </a:lnTo>
                  <a:lnTo>
                    <a:pt x="156" y="625"/>
                  </a:lnTo>
                  <a:lnTo>
                    <a:pt x="156" y="625"/>
                  </a:lnTo>
                  <a:lnTo>
                    <a:pt x="155" y="624"/>
                  </a:lnTo>
                  <a:lnTo>
                    <a:pt x="155" y="624"/>
                  </a:lnTo>
                  <a:lnTo>
                    <a:pt x="154" y="622"/>
                  </a:lnTo>
                  <a:lnTo>
                    <a:pt x="154" y="621"/>
                  </a:lnTo>
                  <a:lnTo>
                    <a:pt x="154" y="620"/>
                  </a:lnTo>
                  <a:lnTo>
                    <a:pt x="154" y="618"/>
                  </a:lnTo>
                  <a:lnTo>
                    <a:pt x="154" y="618"/>
                  </a:lnTo>
                  <a:lnTo>
                    <a:pt x="154" y="618"/>
                  </a:lnTo>
                  <a:lnTo>
                    <a:pt x="154" y="617"/>
                  </a:lnTo>
                  <a:lnTo>
                    <a:pt x="153" y="617"/>
                  </a:lnTo>
                  <a:lnTo>
                    <a:pt x="153" y="617"/>
                  </a:lnTo>
                  <a:lnTo>
                    <a:pt x="153" y="618"/>
                  </a:lnTo>
                  <a:lnTo>
                    <a:pt x="153" y="618"/>
                  </a:lnTo>
                  <a:lnTo>
                    <a:pt x="152" y="618"/>
                  </a:lnTo>
                  <a:lnTo>
                    <a:pt x="152" y="619"/>
                  </a:lnTo>
                  <a:lnTo>
                    <a:pt x="149" y="619"/>
                  </a:lnTo>
                  <a:lnTo>
                    <a:pt x="147" y="619"/>
                  </a:lnTo>
                  <a:lnTo>
                    <a:pt x="146" y="619"/>
                  </a:lnTo>
                  <a:lnTo>
                    <a:pt x="146" y="619"/>
                  </a:lnTo>
                  <a:lnTo>
                    <a:pt x="146" y="619"/>
                  </a:lnTo>
                  <a:lnTo>
                    <a:pt x="145" y="619"/>
                  </a:lnTo>
                  <a:lnTo>
                    <a:pt x="145" y="619"/>
                  </a:lnTo>
                  <a:lnTo>
                    <a:pt x="144" y="620"/>
                  </a:lnTo>
                  <a:lnTo>
                    <a:pt x="144" y="619"/>
                  </a:lnTo>
                  <a:lnTo>
                    <a:pt x="144" y="619"/>
                  </a:lnTo>
                  <a:lnTo>
                    <a:pt x="143" y="617"/>
                  </a:lnTo>
                  <a:lnTo>
                    <a:pt x="142" y="615"/>
                  </a:lnTo>
                  <a:lnTo>
                    <a:pt x="142" y="614"/>
                  </a:lnTo>
                  <a:lnTo>
                    <a:pt x="141" y="613"/>
                  </a:lnTo>
                  <a:lnTo>
                    <a:pt x="140" y="611"/>
                  </a:lnTo>
                  <a:lnTo>
                    <a:pt x="137" y="607"/>
                  </a:lnTo>
                  <a:lnTo>
                    <a:pt x="136" y="606"/>
                  </a:lnTo>
                  <a:lnTo>
                    <a:pt x="135" y="605"/>
                  </a:lnTo>
                  <a:lnTo>
                    <a:pt x="134" y="604"/>
                  </a:lnTo>
                  <a:lnTo>
                    <a:pt x="133" y="604"/>
                  </a:lnTo>
                  <a:lnTo>
                    <a:pt x="131" y="603"/>
                  </a:lnTo>
                  <a:lnTo>
                    <a:pt x="130" y="602"/>
                  </a:lnTo>
                  <a:lnTo>
                    <a:pt x="129" y="602"/>
                  </a:lnTo>
                  <a:lnTo>
                    <a:pt x="128" y="602"/>
                  </a:lnTo>
                  <a:lnTo>
                    <a:pt x="123" y="601"/>
                  </a:lnTo>
                  <a:lnTo>
                    <a:pt x="122" y="600"/>
                  </a:lnTo>
                  <a:lnTo>
                    <a:pt x="121" y="600"/>
                  </a:lnTo>
                  <a:lnTo>
                    <a:pt x="120" y="599"/>
                  </a:lnTo>
                  <a:lnTo>
                    <a:pt x="119" y="598"/>
                  </a:lnTo>
                  <a:lnTo>
                    <a:pt x="118" y="598"/>
                  </a:lnTo>
                  <a:lnTo>
                    <a:pt x="118" y="597"/>
                  </a:lnTo>
                  <a:lnTo>
                    <a:pt x="118" y="597"/>
                  </a:lnTo>
                  <a:lnTo>
                    <a:pt x="118" y="597"/>
                  </a:lnTo>
                  <a:lnTo>
                    <a:pt x="118" y="596"/>
                  </a:lnTo>
                  <a:lnTo>
                    <a:pt x="118" y="595"/>
                  </a:lnTo>
                  <a:lnTo>
                    <a:pt x="119" y="594"/>
                  </a:lnTo>
                  <a:lnTo>
                    <a:pt x="119" y="593"/>
                  </a:lnTo>
                  <a:lnTo>
                    <a:pt x="120" y="593"/>
                  </a:lnTo>
                  <a:lnTo>
                    <a:pt x="120" y="592"/>
                  </a:lnTo>
                  <a:lnTo>
                    <a:pt x="121" y="592"/>
                  </a:lnTo>
                  <a:lnTo>
                    <a:pt x="122" y="592"/>
                  </a:lnTo>
                  <a:lnTo>
                    <a:pt x="123" y="591"/>
                  </a:lnTo>
                  <a:lnTo>
                    <a:pt x="124" y="591"/>
                  </a:lnTo>
                  <a:lnTo>
                    <a:pt x="125" y="591"/>
                  </a:lnTo>
                  <a:lnTo>
                    <a:pt x="126" y="591"/>
                  </a:lnTo>
                  <a:lnTo>
                    <a:pt x="129" y="591"/>
                  </a:lnTo>
                  <a:lnTo>
                    <a:pt x="132" y="592"/>
                  </a:lnTo>
                  <a:lnTo>
                    <a:pt x="133" y="592"/>
                  </a:lnTo>
                  <a:lnTo>
                    <a:pt x="133" y="592"/>
                  </a:lnTo>
                  <a:lnTo>
                    <a:pt x="134" y="592"/>
                  </a:lnTo>
                  <a:lnTo>
                    <a:pt x="134" y="591"/>
                  </a:lnTo>
                  <a:lnTo>
                    <a:pt x="134" y="591"/>
                  </a:lnTo>
                  <a:lnTo>
                    <a:pt x="135" y="591"/>
                  </a:lnTo>
                  <a:lnTo>
                    <a:pt x="135" y="590"/>
                  </a:lnTo>
                  <a:lnTo>
                    <a:pt x="135" y="590"/>
                  </a:lnTo>
                  <a:lnTo>
                    <a:pt x="135" y="589"/>
                  </a:lnTo>
                  <a:lnTo>
                    <a:pt x="135" y="587"/>
                  </a:lnTo>
                  <a:lnTo>
                    <a:pt x="134" y="585"/>
                  </a:lnTo>
                  <a:lnTo>
                    <a:pt x="134" y="584"/>
                  </a:lnTo>
                  <a:lnTo>
                    <a:pt x="134" y="583"/>
                  </a:lnTo>
                  <a:lnTo>
                    <a:pt x="134" y="582"/>
                  </a:lnTo>
                  <a:lnTo>
                    <a:pt x="134" y="582"/>
                  </a:lnTo>
                  <a:lnTo>
                    <a:pt x="135" y="580"/>
                  </a:lnTo>
                  <a:lnTo>
                    <a:pt x="136" y="579"/>
                  </a:lnTo>
                  <a:lnTo>
                    <a:pt x="136" y="578"/>
                  </a:lnTo>
                  <a:lnTo>
                    <a:pt x="136" y="577"/>
                  </a:lnTo>
                  <a:lnTo>
                    <a:pt x="136" y="577"/>
                  </a:lnTo>
                  <a:lnTo>
                    <a:pt x="136" y="576"/>
                  </a:lnTo>
                  <a:lnTo>
                    <a:pt x="136" y="575"/>
                  </a:lnTo>
                  <a:lnTo>
                    <a:pt x="136" y="574"/>
                  </a:lnTo>
                  <a:lnTo>
                    <a:pt x="136" y="572"/>
                  </a:lnTo>
                  <a:lnTo>
                    <a:pt x="135" y="568"/>
                  </a:lnTo>
                  <a:lnTo>
                    <a:pt x="134" y="566"/>
                  </a:lnTo>
                  <a:lnTo>
                    <a:pt x="133" y="563"/>
                  </a:lnTo>
                  <a:lnTo>
                    <a:pt x="131" y="558"/>
                  </a:lnTo>
                  <a:lnTo>
                    <a:pt x="130" y="556"/>
                  </a:lnTo>
                  <a:lnTo>
                    <a:pt x="128" y="553"/>
                  </a:lnTo>
                  <a:lnTo>
                    <a:pt x="127" y="551"/>
                  </a:lnTo>
                  <a:lnTo>
                    <a:pt x="125" y="547"/>
                  </a:lnTo>
                  <a:lnTo>
                    <a:pt x="124" y="547"/>
                  </a:lnTo>
                  <a:lnTo>
                    <a:pt x="124" y="546"/>
                  </a:lnTo>
                  <a:lnTo>
                    <a:pt x="123" y="545"/>
                  </a:lnTo>
                  <a:lnTo>
                    <a:pt x="123" y="544"/>
                  </a:lnTo>
                  <a:lnTo>
                    <a:pt x="123" y="540"/>
                  </a:lnTo>
                  <a:lnTo>
                    <a:pt x="123" y="539"/>
                  </a:lnTo>
                  <a:lnTo>
                    <a:pt x="123" y="536"/>
                  </a:lnTo>
                  <a:lnTo>
                    <a:pt x="123" y="535"/>
                  </a:lnTo>
                  <a:lnTo>
                    <a:pt x="122" y="534"/>
                  </a:lnTo>
                  <a:lnTo>
                    <a:pt x="122" y="533"/>
                  </a:lnTo>
                  <a:lnTo>
                    <a:pt x="121" y="532"/>
                  </a:lnTo>
                  <a:lnTo>
                    <a:pt x="119" y="530"/>
                  </a:lnTo>
                  <a:lnTo>
                    <a:pt x="118" y="529"/>
                  </a:lnTo>
                  <a:lnTo>
                    <a:pt x="117" y="529"/>
                  </a:lnTo>
                  <a:lnTo>
                    <a:pt x="117" y="528"/>
                  </a:lnTo>
                  <a:lnTo>
                    <a:pt x="116" y="527"/>
                  </a:lnTo>
                  <a:lnTo>
                    <a:pt x="116" y="526"/>
                  </a:lnTo>
                  <a:lnTo>
                    <a:pt x="116" y="525"/>
                  </a:lnTo>
                  <a:lnTo>
                    <a:pt x="116" y="524"/>
                  </a:lnTo>
                  <a:lnTo>
                    <a:pt x="116" y="523"/>
                  </a:lnTo>
                  <a:lnTo>
                    <a:pt x="117" y="520"/>
                  </a:lnTo>
                  <a:lnTo>
                    <a:pt x="117" y="519"/>
                  </a:lnTo>
                  <a:lnTo>
                    <a:pt x="117" y="517"/>
                  </a:lnTo>
                  <a:lnTo>
                    <a:pt x="117" y="515"/>
                  </a:lnTo>
                  <a:lnTo>
                    <a:pt x="117" y="513"/>
                  </a:lnTo>
                  <a:lnTo>
                    <a:pt x="116" y="509"/>
                  </a:lnTo>
                  <a:lnTo>
                    <a:pt x="115" y="507"/>
                  </a:lnTo>
                  <a:lnTo>
                    <a:pt x="114" y="504"/>
                  </a:lnTo>
                  <a:lnTo>
                    <a:pt x="114" y="503"/>
                  </a:lnTo>
                  <a:lnTo>
                    <a:pt x="113" y="502"/>
                  </a:lnTo>
                  <a:lnTo>
                    <a:pt x="113" y="501"/>
                  </a:lnTo>
                  <a:lnTo>
                    <a:pt x="114" y="499"/>
                  </a:lnTo>
                  <a:lnTo>
                    <a:pt x="114" y="497"/>
                  </a:lnTo>
                  <a:lnTo>
                    <a:pt x="115" y="492"/>
                  </a:lnTo>
                  <a:lnTo>
                    <a:pt x="116" y="489"/>
                  </a:lnTo>
                  <a:lnTo>
                    <a:pt x="116" y="488"/>
                  </a:lnTo>
                  <a:lnTo>
                    <a:pt x="116" y="487"/>
                  </a:lnTo>
                  <a:lnTo>
                    <a:pt x="116" y="486"/>
                  </a:lnTo>
                  <a:lnTo>
                    <a:pt x="116" y="481"/>
                  </a:lnTo>
                  <a:lnTo>
                    <a:pt x="116" y="480"/>
                  </a:lnTo>
                  <a:lnTo>
                    <a:pt x="116" y="479"/>
                  </a:lnTo>
                  <a:lnTo>
                    <a:pt x="117" y="478"/>
                  </a:lnTo>
                  <a:lnTo>
                    <a:pt x="117" y="477"/>
                  </a:lnTo>
                  <a:lnTo>
                    <a:pt x="118" y="473"/>
                  </a:lnTo>
                  <a:lnTo>
                    <a:pt x="118" y="471"/>
                  </a:lnTo>
                  <a:lnTo>
                    <a:pt x="119" y="469"/>
                  </a:lnTo>
                  <a:lnTo>
                    <a:pt x="119" y="468"/>
                  </a:lnTo>
                  <a:lnTo>
                    <a:pt x="118" y="466"/>
                  </a:lnTo>
                  <a:lnTo>
                    <a:pt x="118" y="465"/>
                  </a:lnTo>
                  <a:lnTo>
                    <a:pt x="118" y="463"/>
                  </a:lnTo>
                  <a:lnTo>
                    <a:pt x="118" y="462"/>
                  </a:lnTo>
                  <a:lnTo>
                    <a:pt x="117" y="460"/>
                  </a:lnTo>
                  <a:lnTo>
                    <a:pt x="116" y="458"/>
                  </a:lnTo>
                  <a:lnTo>
                    <a:pt x="115" y="457"/>
                  </a:lnTo>
                  <a:lnTo>
                    <a:pt x="114" y="455"/>
                  </a:lnTo>
                  <a:lnTo>
                    <a:pt x="114" y="454"/>
                  </a:lnTo>
                  <a:lnTo>
                    <a:pt x="113" y="453"/>
                  </a:lnTo>
                  <a:lnTo>
                    <a:pt x="112" y="453"/>
                  </a:lnTo>
                  <a:lnTo>
                    <a:pt x="111" y="452"/>
                  </a:lnTo>
                  <a:lnTo>
                    <a:pt x="110" y="451"/>
                  </a:lnTo>
                  <a:lnTo>
                    <a:pt x="109" y="451"/>
                  </a:lnTo>
                  <a:lnTo>
                    <a:pt x="108" y="451"/>
                  </a:lnTo>
                  <a:lnTo>
                    <a:pt x="108" y="451"/>
                  </a:lnTo>
                  <a:lnTo>
                    <a:pt x="107" y="450"/>
                  </a:lnTo>
                  <a:lnTo>
                    <a:pt x="106" y="451"/>
                  </a:lnTo>
                  <a:lnTo>
                    <a:pt x="100" y="451"/>
                  </a:lnTo>
                  <a:lnTo>
                    <a:pt x="99" y="451"/>
                  </a:lnTo>
                  <a:lnTo>
                    <a:pt x="98" y="451"/>
                  </a:lnTo>
                  <a:lnTo>
                    <a:pt x="93" y="451"/>
                  </a:lnTo>
                  <a:lnTo>
                    <a:pt x="91" y="451"/>
                  </a:lnTo>
                  <a:lnTo>
                    <a:pt x="88" y="451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78" y="450"/>
                  </a:lnTo>
                  <a:lnTo>
                    <a:pt x="77" y="450"/>
                  </a:lnTo>
                  <a:lnTo>
                    <a:pt x="75" y="451"/>
                  </a:lnTo>
                  <a:lnTo>
                    <a:pt x="72" y="451"/>
                  </a:lnTo>
                  <a:lnTo>
                    <a:pt x="71" y="451"/>
                  </a:lnTo>
                  <a:lnTo>
                    <a:pt x="71" y="452"/>
                  </a:lnTo>
                  <a:lnTo>
                    <a:pt x="70" y="452"/>
                  </a:lnTo>
                  <a:lnTo>
                    <a:pt x="69" y="451"/>
                  </a:lnTo>
                  <a:lnTo>
                    <a:pt x="69" y="451"/>
                  </a:lnTo>
                  <a:lnTo>
                    <a:pt x="68" y="451"/>
                  </a:lnTo>
                  <a:lnTo>
                    <a:pt x="67" y="450"/>
                  </a:lnTo>
                  <a:lnTo>
                    <a:pt x="66" y="450"/>
                  </a:lnTo>
                  <a:lnTo>
                    <a:pt x="66" y="450"/>
                  </a:lnTo>
                  <a:lnTo>
                    <a:pt x="65" y="449"/>
                  </a:lnTo>
                  <a:lnTo>
                    <a:pt x="65" y="449"/>
                  </a:lnTo>
                  <a:lnTo>
                    <a:pt x="64" y="448"/>
                  </a:lnTo>
                  <a:lnTo>
                    <a:pt x="64" y="448"/>
                  </a:lnTo>
                  <a:lnTo>
                    <a:pt x="64" y="447"/>
                  </a:lnTo>
                  <a:lnTo>
                    <a:pt x="64" y="446"/>
                  </a:lnTo>
                  <a:lnTo>
                    <a:pt x="64" y="444"/>
                  </a:lnTo>
                  <a:lnTo>
                    <a:pt x="64" y="441"/>
                  </a:lnTo>
                  <a:lnTo>
                    <a:pt x="64" y="440"/>
                  </a:lnTo>
                  <a:lnTo>
                    <a:pt x="63" y="439"/>
                  </a:lnTo>
                  <a:lnTo>
                    <a:pt x="63" y="438"/>
                  </a:lnTo>
                  <a:lnTo>
                    <a:pt x="63" y="437"/>
                  </a:lnTo>
                  <a:lnTo>
                    <a:pt x="62" y="436"/>
                  </a:lnTo>
                  <a:lnTo>
                    <a:pt x="62" y="436"/>
                  </a:lnTo>
                  <a:lnTo>
                    <a:pt x="61" y="435"/>
                  </a:lnTo>
                  <a:lnTo>
                    <a:pt x="61" y="434"/>
                  </a:lnTo>
                  <a:lnTo>
                    <a:pt x="60" y="434"/>
                  </a:lnTo>
                  <a:lnTo>
                    <a:pt x="58" y="433"/>
                  </a:lnTo>
                  <a:lnTo>
                    <a:pt x="54" y="431"/>
                  </a:lnTo>
                  <a:lnTo>
                    <a:pt x="52" y="430"/>
                  </a:lnTo>
                  <a:lnTo>
                    <a:pt x="51" y="429"/>
                  </a:lnTo>
                  <a:lnTo>
                    <a:pt x="50" y="429"/>
                  </a:lnTo>
                  <a:lnTo>
                    <a:pt x="48" y="429"/>
                  </a:lnTo>
                  <a:lnTo>
                    <a:pt x="46" y="428"/>
                  </a:lnTo>
                  <a:lnTo>
                    <a:pt x="44" y="428"/>
                  </a:lnTo>
                  <a:lnTo>
                    <a:pt x="41" y="428"/>
                  </a:lnTo>
                  <a:lnTo>
                    <a:pt x="39" y="427"/>
                  </a:lnTo>
                  <a:lnTo>
                    <a:pt x="36" y="427"/>
                  </a:lnTo>
                  <a:lnTo>
                    <a:pt x="31" y="425"/>
                  </a:lnTo>
                  <a:lnTo>
                    <a:pt x="30" y="425"/>
                  </a:lnTo>
                  <a:lnTo>
                    <a:pt x="28" y="425"/>
                  </a:lnTo>
                  <a:lnTo>
                    <a:pt x="23" y="424"/>
                  </a:lnTo>
                  <a:lnTo>
                    <a:pt x="21" y="424"/>
                  </a:lnTo>
                  <a:lnTo>
                    <a:pt x="18" y="424"/>
                  </a:lnTo>
                  <a:lnTo>
                    <a:pt x="14" y="423"/>
                  </a:lnTo>
                  <a:lnTo>
                    <a:pt x="11" y="422"/>
                  </a:lnTo>
                  <a:lnTo>
                    <a:pt x="10" y="421"/>
                  </a:lnTo>
                  <a:lnTo>
                    <a:pt x="8" y="421"/>
                  </a:lnTo>
                  <a:lnTo>
                    <a:pt x="6" y="419"/>
                  </a:lnTo>
                  <a:lnTo>
                    <a:pt x="1" y="416"/>
                  </a:lnTo>
                  <a:lnTo>
                    <a:pt x="1" y="416"/>
                  </a:lnTo>
                  <a:lnTo>
                    <a:pt x="0" y="415"/>
                  </a:lnTo>
                  <a:lnTo>
                    <a:pt x="0" y="415"/>
                  </a:lnTo>
                  <a:lnTo>
                    <a:pt x="1" y="415"/>
                  </a:lnTo>
                  <a:lnTo>
                    <a:pt x="1" y="414"/>
                  </a:lnTo>
                  <a:lnTo>
                    <a:pt x="1" y="414"/>
                  </a:lnTo>
                  <a:lnTo>
                    <a:pt x="2" y="413"/>
                  </a:lnTo>
                  <a:lnTo>
                    <a:pt x="3" y="412"/>
                  </a:lnTo>
                  <a:lnTo>
                    <a:pt x="4" y="412"/>
                  </a:lnTo>
                  <a:lnTo>
                    <a:pt x="9" y="409"/>
                  </a:lnTo>
                  <a:lnTo>
                    <a:pt x="12" y="407"/>
                  </a:lnTo>
                  <a:lnTo>
                    <a:pt x="15" y="405"/>
                  </a:lnTo>
                  <a:lnTo>
                    <a:pt x="16" y="404"/>
                  </a:lnTo>
                  <a:lnTo>
                    <a:pt x="17" y="403"/>
                  </a:lnTo>
                  <a:lnTo>
                    <a:pt x="19" y="401"/>
                  </a:lnTo>
                  <a:lnTo>
                    <a:pt x="26" y="394"/>
                  </a:lnTo>
                  <a:lnTo>
                    <a:pt x="27" y="392"/>
                  </a:lnTo>
                  <a:lnTo>
                    <a:pt x="29" y="390"/>
                  </a:lnTo>
                  <a:lnTo>
                    <a:pt x="30" y="388"/>
                  </a:lnTo>
                  <a:lnTo>
                    <a:pt x="30" y="387"/>
                  </a:lnTo>
                  <a:lnTo>
                    <a:pt x="31" y="385"/>
                  </a:lnTo>
                  <a:lnTo>
                    <a:pt x="31" y="384"/>
                  </a:lnTo>
                  <a:lnTo>
                    <a:pt x="32" y="381"/>
                  </a:lnTo>
                  <a:lnTo>
                    <a:pt x="32" y="374"/>
                  </a:lnTo>
                  <a:lnTo>
                    <a:pt x="33" y="370"/>
                  </a:lnTo>
                  <a:lnTo>
                    <a:pt x="33" y="366"/>
                  </a:lnTo>
                  <a:lnTo>
                    <a:pt x="34" y="364"/>
                  </a:lnTo>
                  <a:lnTo>
                    <a:pt x="34" y="362"/>
                  </a:lnTo>
                  <a:lnTo>
                    <a:pt x="35" y="360"/>
                  </a:lnTo>
                  <a:lnTo>
                    <a:pt x="35" y="359"/>
                  </a:lnTo>
                  <a:lnTo>
                    <a:pt x="36" y="357"/>
                  </a:lnTo>
                  <a:lnTo>
                    <a:pt x="37" y="356"/>
                  </a:lnTo>
                  <a:lnTo>
                    <a:pt x="37" y="354"/>
                  </a:lnTo>
                  <a:lnTo>
                    <a:pt x="38" y="354"/>
                  </a:lnTo>
                  <a:lnTo>
                    <a:pt x="39" y="353"/>
                  </a:lnTo>
                  <a:lnTo>
                    <a:pt x="39" y="352"/>
                  </a:lnTo>
                  <a:lnTo>
                    <a:pt x="40" y="351"/>
                  </a:lnTo>
                  <a:lnTo>
                    <a:pt x="41" y="351"/>
                  </a:lnTo>
                  <a:lnTo>
                    <a:pt x="42" y="351"/>
                  </a:lnTo>
                  <a:lnTo>
                    <a:pt x="43" y="351"/>
                  </a:lnTo>
                  <a:lnTo>
                    <a:pt x="44" y="351"/>
                  </a:lnTo>
                  <a:lnTo>
                    <a:pt x="45" y="351"/>
                  </a:lnTo>
                  <a:lnTo>
                    <a:pt x="50" y="352"/>
                  </a:lnTo>
                  <a:lnTo>
                    <a:pt x="51" y="352"/>
                  </a:lnTo>
                  <a:lnTo>
                    <a:pt x="53" y="352"/>
                  </a:lnTo>
                  <a:lnTo>
                    <a:pt x="55" y="352"/>
                  </a:lnTo>
                  <a:lnTo>
                    <a:pt x="56" y="353"/>
                  </a:lnTo>
                  <a:lnTo>
                    <a:pt x="58" y="352"/>
                  </a:lnTo>
                  <a:lnTo>
                    <a:pt x="60" y="352"/>
                  </a:lnTo>
                  <a:lnTo>
                    <a:pt x="63" y="352"/>
                  </a:lnTo>
                  <a:lnTo>
                    <a:pt x="65" y="351"/>
                  </a:lnTo>
                  <a:lnTo>
                    <a:pt x="68" y="351"/>
                  </a:lnTo>
                  <a:lnTo>
                    <a:pt x="73" y="349"/>
                  </a:lnTo>
                  <a:lnTo>
                    <a:pt x="74" y="348"/>
                  </a:lnTo>
                  <a:lnTo>
                    <a:pt x="76" y="348"/>
                  </a:lnTo>
                  <a:lnTo>
                    <a:pt x="77" y="348"/>
                  </a:lnTo>
                  <a:lnTo>
                    <a:pt x="78" y="348"/>
                  </a:lnTo>
                  <a:lnTo>
                    <a:pt x="79" y="348"/>
                  </a:lnTo>
                  <a:lnTo>
                    <a:pt x="80" y="348"/>
                  </a:lnTo>
                  <a:lnTo>
                    <a:pt x="81" y="348"/>
                  </a:lnTo>
                  <a:lnTo>
                    <a:pt x="84" y="350"/>
                  </a:lnTo>
                  <a:lnTo>
                    <a:pt x="85" y="350"/>
                  </a:lnTo>
                  <a:lnTo>
                    <a:pt x="86" y="350"/>
                  </a:lnTo>
                  <a:lnTo>
                    <a:pt x="91" y="351"/>
                  </a:lnTo>
                  <a:lnTo>
                    <a:pt x="95" y="352"/>
                  </a:lnTo>
                  <a:lnTo>
                    <a:pt x="97" y="352"/>
                  </a:lnTo>
                  <a:lnTo>
                    <a:pt x="98" y="352"/>
                  </a:lnTo>
                  <a:lnTo>
                    <a:pt x="99" y="352"/>
                  </a:lnTo>
                  <a:lnTo>
                    <a:pt x="100" y="352"/>
                  </a:lnTo>
                  <a:lnTo>
                    <a:pt x="101" y="352"/>
                  </a:lnTo>
                  <a:lnTo>
                    <a:pt x="102" y="351"/>
                  </a:lnTo>
                  <a:lnTo>
                    <a:pt x="103" y="351"/>
                  </a:lnTo>
                  <a:lnTo>
                    <a:pt x="104" y="351"/>
                  </a:lnTo>
                  <a:lnTo>
                    <a:pt x="104" y="350"/>
                  </a:lnTo>
                  <a:lnTo>
                    <a:pt x="105" y="350"/>
                  </a:lnTo>
                  <a:lnTo>
                    <a:pt x="106" y="349"/>
                  </a:lnTo>
                  <a:lnTo>
                    <a:pt x="107" y="348"/>
                  </a:lnTo>
                  <a:lnTo>
                    <a:pt x="110" y="343"/>
                  </a:lnTo>
                  <a:lnTo>
                    <a:pt x="111" y="341"/>
                  </a:lnTo>
                  <a:lnTo>
                    <a:pt x="111" y="340"/>
                  </a:lnTo>
                  <a:lnTo>
                    <a:pt x="115" y="333"/>
                  </a:lnTo>
                  <a:lnTo>
                    <a:pt x="116" y="331"/>
                  </a:lnTo>
                  <a:lnTo>
                    <a:pt x="117" y="329"/>
                  </a:lnTo>
                  <a:lnTo>
                    <a:pt x="118" y="325"/>
                  </a:lnTo>
                  <a:lnTo>
                    <a:pt x="119" y="324"/>
                  </a:lnTo>
                  <a:lnTo>
                    <a:pt x="119" y="321"/>
                  </a:lnTo>
                  <a:lnTo>
                    <a:pt x="120" y="318"/>
                  </a:lnTo>
                  <a:lnTo>
                    <a:pt x="120" y="316"/>
                  </a:lnTo>
                  <a:lnTo>
                    <a:pt x="120" y="315"/>
                  </a:lnTo>
                  <a:lnTo>
                    <a:pt x="121" y="313"/>
                  </a:lnTo>
                  <a:lnTo>
                    <a:pt x="123" y="307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Freeform 238">
              <a:extLst>
                <a:ext uri="{FF2B5EF4-FFF2-40B4-BE49-F238E27FC236}">
                  <a16:creationId xmlns:a16="http://schemas.microsoft.com/office/drawing/2014/main" id="{C11AC15E-37C8-4A24-AD9B-224189EEA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65725" y="1829811"/>
              <a:ext cx="496275" cy="312847"/>
            </a:xfrm>
            <a:custGeom>
              <a:avLst/>
              <a:gdLst>
                <a:gd name="T0" fmla="*/ 5 w 487"/>
                <a:gd name="T1" fmla="*/ 300 h 307"/>
                <a:gd name="T2" fmla="*/ 12 w 487"/>
                <a:gd name="T3" fmla="*/ 297 h 307"/>
                <a:gd name="T4" fmla="*/ 22 w 487"/>
                <a:gd name="T5" fmla="*/ 302 h 307"/>
                <a:gd name="T6" fmla="*/ 30 w 487"/>
                <a:gd name="T7" fmla="*/ 304 h 307"/>
                <a:gd name="T8" fmla="*/ 35 w 487"/>
                <a:gd name="T9" fmla="*/ 301 h 307"/>
                <a:gd name="T10" fmla="*/ 41 w 487"/>
                <a:gd name="T11" fmla="*/ 289 h 307"/>
                <a:gd name="T12" fmla="*/ 55 w 487"/>
                <a:gd name="T13" fmla="*/ 278 h 307"/>
                <a:gd name="T14" fmla="*/ 60 w 487"/>
                <a:gd name="T15" fmla="*/ 265 h 307"/>
                <a:gd name="T16" fmla="*/ 63 w 487"/>
                <a:gd name="T17" fmla="*/ 263 h 307"/>
                <a:gd name="T18" fmla="*/ 71 w 487"/>
                <a:gd name="T19" fmla="*/ 269 h 307"/>
                <a:gd name="T20" fmla="*/ 82 w 487"/>
                <a:gd name="T21" fmla="*/ 283 h 307"/>
                <a:gd name="T22" fmla="*/ 93 w 487"/>
                <a:gd name="T23" fmla="*/ 288 h 307"/>
                <a:gd name="T24" fmla="*/ 99 w 487"/>
                <a:gd name="T25" fmla="*/ 286 h 307"/>
                <a:gd name="T26" fmla="*/ 118 w 487"/>
                <a:gd name="T27" fmla="*/ 268 h 307"/>
                <a:gd name="T28" fmla="*/ 121 w 487"/>
                <a:gd name="T29" fmla="*/ 259 h 307"/>
                <a:gd name="T30" fmla="*/ 127 w 487"/>
                <a:gd name="T31" fmla="*/ 247 h 307"/>
                <a:gd name="T32" fmla="*/ 128 w 487"/>
                <a:gd name="T33" fmla="*/ 238 h 307"/>
                <a:gd name="T34" fmla="*/ 128 w 487"/>
                <a:gd name="T35" fmla="*/ 226 h 307"/>
                <a:gd name="T36" fmla="*/ 134 w 487"/>
                <a:gd name="T37" fmla="*/ 221 h 307"/>
                <a:gd name="T38" fmla="*/ 153 w 487"/>
                <a:gd name="T39" fmla="*/ 220 h 307"/>
                <a:gd name="T40" fmla="*/ 166 w 487"/>
                <a:gd name="T41" fmla="*/ 215 h 307"/>
                <a:gd name="T42" fmla="*/ 178 w 487"/>
                <a:gd name="T43" fmla="*/ 210 h 307"/>
                <a:gd name="T44" fmla="*/ 190 w 487"/>
                <a:gd name="T45" fmla="*/ 214 h 307"/>
                <a:gd name="T46" fmla="*/ 198 w 487"/>
                <a:gd name="T47" fmla="*/ 215 h 307"/>
                <a:gd name="T48" fmla="*/ 208 w 487"/>
                <a:gd name="T49" fmla="*/ 210 h 307"/>
                <a:gd name="T50" fmla="*/ 229 w 487"/>
                <a:gd name="T51" fmla="*/ 208 h 307"/>
                <a:gd name="T52" fmla="*/ 246 w 487"/>
                <a:gd name="T53" fmla="*/ 212 h 307"/>
                <a:gd name="T54" fmla="*/ 260 w 487"/>
                <a:gd name="T55" fmla="*/ 211 h 307"/>
                <a:gd name="T56" fmla="*/ 272 w 487"/>
                <a:gd name="T57" fmla="*/ 204 h 307"/>
                <a:gd name="T58" fmla="*/ 277 w 487"/>
                <a:gd name="T59" fmla="*/ 198 h 307"/>
                <a:gd name="T60" fmla="*/ 278 w 487"/>
                <a:gd name="T61" fmla="*/ 183 h 307"/>
                <a:gd name="T62" fmla="*/ 281 w 487"/>
                <a:gd name="T63" fmla="*/ 175 h 307"/>
                <a:gd name="T64" fmla="*/ 290 w 487"/>
                <a:gd name="T65" fmla="*/ 171 h 307"/>
                <a:gd name="T66" fmla="*/ 304 w 487"/>
                <a:gd name="T67" fmla="*/ 162 h 307"/>
                <a:gd name="T68" fmla="*/ 317 w 487"/>
                <a:gd name="T69" fmla="*/ 156 h 307"/>
                <a:gd name="T70" fmla="*/ 333 w 487"/>
                <a:gd name="T71" fmla="*/ 160 h 307"/>
                <a:gd name="T72" fmla="*/ 349 w 487"/>
                <a:gd name="T73" fmla="*/ 158 h 307"/>
                <a:gd name="T74" fmla="*/ 366 w 487"/>
                <a:gd name="T75" fmla="*/ 148 h 307"/>
                <a:gd name="T76" fmla="*/ 405 w 487"/>
                <a:gd name="T77" fmla="*/ 132 h 307"/>
                <a:gd name="T78" fmla="*/ 416 w 487"/>
                <a:gd name="T79" fmla="*/ 123 h 307"/>
                <a:gd name="T80" fmla="*/ 425 w 487"/>
                <a:gd name="T81" fmla="*/ 111 h 307"/>
                <a:gd name="T82" fmla="*/ 436 w 487"/>
                <a:gd name="T83" fmla="*/ 108 h 307"/>
                <a:gd name="T84" fmla="*/ 450 w 487"/>
                <a:gd name="T85" fmla="*/ 109 h 307"/>
                <a:gd name="T86" fmla="*/ 468 w 487"/>
                <a:gd name="T87" fmla="*/ 105 h 307"/>
                <a:gd name="T88" fmla="*/ 480 w 487"/>
                <a:gd name="T89" fmla="*/ 101 h 307"/>
                <a:gd name="T90" fmla="*/ 486 w 487"/>
                <a:gd name="T91" fmla="*/ 89 h 307"/>
                <a:gd name="T92" fmla="*/ 487 w 487"/>
                <a:gd name="T93" fmla="*/ 81 h 307"/>
                <a:gd name="T94" fmla="*/ 481 w 487"/>
                <a:gd name="T95" fmla="*/ 77 h 307"/>
                <a:gd name="T96" fmla="*/ 458 w 487"/>
                <a:gd name="T97" fmla="*/ 67 h 307"/>
                <a:gd name="T98" fmla="*/ 454 w 487"/>
                <a:gd name="T99" fmla="*/ 61 h 307"/>
                <a:gd name="T100" fmla="*/ 454 w 487"/>
                <a:gd name="T101" fmla="*/ 56 h 307"/>
                <a:gd name="T102" fmla="*/ 455 w 487"/>
                <a:gd name="T103" fmla="*/ 50 h 307"/>
                <a:gd name="T104" fmla="*/ 445 w 487"/>
                <a:gd name="T105" fmla="*/ 48 h 307"/>
                <a:gd name="T106" fmla="*/ 436 w 487"/>
                <a:gd name="T107" fmla="*/ 45 h 307"/>
                <a:gd name="T108" fmla="*/ 433 w 487"/>
                <a:gd name="T109" fmla="*/ 38 h 307"/>
                <a:gd name="T110" fmla="*/ 437 w 487"/>
                <a:gd name="T111" fmla="*/ 26 h 307"/>
                <a:gd name="T112" fmla="*/ 441 w 487"/>
                <a:gd name="T113" fmla="*/ 12 h 307"/>
                <a:gd name="T114" fmla="*/ 450 w 487"/>
                <a:gd name="T115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7" h="307">
                  <a:moveTo>
                    <a:pt x="0" y="307"/>
                  </a:moveTo>
                  <a:lnTo>
                    <a:pt x="1" y="305"/>
                  </a:lnTo>
                  <a:lnTo>
                    <a:pt x="2" y="304"/>
                  </a:lnTo>
                  <a:lnTo>
                    <a:pt x="2" y="303"/>
                  </a:lnTo>
                  <a:lnTo>
                    <a:pt x="3" y="302"/>
                  </a:lnTo>
                  <a:lnTo>
                    <a:pt x="4" y="301"/>
                  </a:lnTo>
                  <a:lnTo>
                    <a:pt x="5" y="300"/>
                  </a:lnTo>
                  <a:lnTo>
                    <a:pt x="6" y="299"/>
                  </a:lnTo>
                  <a:lnTo>
                    <a:pt x="7" y="299"/>
                  </a:lnTo>
                  <a:lnTo>
                    <a:pt x="8" y="298"/>
                  </a:lnTo>
                  <a:lnTo>
                    <a:pt x="9" y="298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2" y="297"/>
                  </a:lnTo>
                  <a:lnTo>
                    <a:pt x="13" y="297"/>
                  </a:lnTo>
                  <a:lnTo>
                    <a:pt x="14" y="298"/>
                  </a:lnTo>
                  <a:lnTo>
                    <a:pt x="16" y="298"/>
                  </a:lnTo>
                  <a:lnTo>
                    <a:pt x="17" y="299"/>
                  </a:lnTo>
                  <a:lnTo>
                    <a:pt x="18" y="299"/>
                  </a:lnTo>
                  <a:lnTo>
                    <a:pt x="19" y="300"/>
                  </a:lnTo>
                  <a:lnTo>
                    <a:pt x="22" y="302"/>
                  </a:lnTo>
                  <a:lnTo>
                    <a:pt x="23" y="303"/>
                  </a:lnTo>
                  <a:lnTo>
                    <a:pt x="25" y="303"/>
                  </a:lnTo>
                  <a:lnTo>
                    <a:pt x="26" y="304"/>
                  </a:lnTo>
                  <a:lnTo>
                    <a:pt x="27" y="304"/>
                  </a:lnTo>
                  <a:lnTo>
                    <a:pt x="28" y="304"/>
                  </a:lnTo>
                  <a:lnTo>
                    <a:pt x="29" y="304"/>
                  </a:lnTo>
                  <a:lnTo>
                    <a:pt x="30" y="304"/>
                  </a:lnTo>
                  <a:lnTo>
                    <a:pt x="31" y="303"/>
                  </a:lnTo>
                  <a:lnTo>
                    <a:pt x="32" y="303"/>
                  </a:lnTo>
                  <a:lnTo>
                    <a:pt x="33" y="303"/>
                  </a:lnTo>
                  <a:lnTo>
                    <a:pt x="33" y="302"/>
                  </a:lnTo>
                  <a:lnTo>
                    <a:pt x="34" y="302"/>
                  </a:lnTo>
                  <a:lnTo>
                    <a:pt x="35" y="301"/>
                  </a:lnTo>
                  <a:lnTo>
                    <a:pt x="35" y="301"/>
                  </a:lnTo>
                  <a:lnTo>
                    <a:pt x="36" y="300"/>
                  </a:lnTo>
                  <a:lnTo>
                    <a:pt x="36" y="298"/>
                  </a:lnTo>
                  <a:lnTo>
                    <a:pt x="38" y="294"/>
                  </a:lnTo>
                  <a:lnTo>
                    <a:pt x="39" y="292"/>
                  </a:lnTo>
                  <a:lnTo>
                    <a:pt x="40" y="290"/>
                  </a:lnTo>
                  <a:lnTo>
                    <a:pt x="40" y="289"/>
                  </a:lnTo>
                  <a:lnTo>
                    <a:pt x="41" y="289"/>
                  </a:lnTo>
                  <a:lnTo>
                    <a:pt x="42" y="287"/>
                  </a:lnTo>
                  <a:lnTo>
                    <a:pt x="45" y="285"/>
                  </a:lnTo>
                  <a:lnTo>
                    <a:pt x="47" y="284"/>
                  </a:lnTo>
                  <a:lnTo>
                    <a:pt x="50" y="281"/>
                  </a:lnTo>
                  <a:lnTo>
                    <a:pt x="53" y="279"/>
                  </a:lnTo>
                  <a:lnTo>
                    <a:pt x="54" y="278"/>
                  </a:lnTo>
                  <a:lnTo>
                    <a:pt x="55" y="278"/>
                  </a:lnTo>
                  <a:lnTo>
                    <a:pt x="55" y="277"/>
                  </a:lnTo>
                  <a:lnTo>
                    <a:pt x="56" y="276"/>
                  </a:lnTo>
                  <a:lnTo>
                    <a:pt x="57" y="274"/>
                  </a:lnTo>
                  <a:lnTo>
                    <a:pt x="58" y="272"/>
                  </a:lnTo>
                  <a:lnTo>
                    <a:pt x="59" y="270"/>
                  </a:lnTo>
                  <a:lnTo>
                    <a:pt x="60" y="266"/>
                  </a:lnTo>
                  <a:lnTo>
                    <a:pt x="60" y="265"/>
                  </a:lnTo>
                  <a:lnTo>
                    <a:pt x="61" y="264"/>
                  </a:lnTo>
                  <a:lnTo>
                    <a:pt x="61" y="264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4" y="263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9" y="267"/>
                  </a:lnTo>
                  <a:lnTo>
                    <a:pt x="71" y="269"/>
                  </a:lnTo>
                  <a:lnTo>
                    <a:pt x="72" y="271"/>
                  </a:lnTo>
                  <a:lnTo>
                    <a:pt x="75" y="276"/>
                  </a:lnTo>
                  <a:lnTo>
                    <a:pt x="76" y="278"/>
                  </a:lnTo>
                  <a:lnTo>
                    <a:pt x="77" y="279"/>
                  </a:lnTo>
                  <a:lnTo>
                    <a:pt x="78" y="281"/>
                  </a:lnTo>
                  <a:lnTo>
                    <a:pt x="80" y="282"/>
                  </a:lnTo>
                  <a:lnTo>
                    <a:pt x="82" y="283"/>
                  </a:lnTo>
                  <a:lnTo>
                    <a:pt x="84" y="285"/>
                  </a:lnTo>
                  <a:lnTo>
                    <a:pt x="85" y="285"/>
                  </a:lnTo>
                  <a:lnTo>
                    <a:pt x="86" y="286"/>
                  </a:lnTo>
                  <a:lnTo>
                    <a:pt x="89" y="287"/>
                  </a:lnTo>
                  <a:lnTo>
                    <a:pt x="91" y="288"/>
                  </a:lnTo>
                  <a:lnTo>
                    <a:pt x="92" y="288"/>
                  </a:lnTo>
                  <a:lnTo>
                    <a:pt x="93" y="288"/>
                  </a:lnTo>
                  <a:lnTo>
                    <a:pt x="94" y="288"/>
                  </a:lnTo>
                  <a:lnTo>
                    <a:pt x="95" y="288"/>
                  </a:lnTo>
                  <a:lnTo>
                    <a:pt x="96" y="288"/>
                  </a:lnTo>
                  <a:lnTo>
                    <a:pt x="96" y="288"/>
                  </a:lnTo>
                  <a:lnTo>
                    <a:pt x="97" y="287"/>
                  </a:lnTo>
                  <a:lnTo>
                    <a:pt x="98" y="287"/>
                  </a:lnTo>
                  <a:lnTo>
                    <a:pt x="99" y="286"/>
                  </a:lnTo>
                  <a:lnTo>
                    <a:pt x="100" y="286"/>
                  </a:lnTo>
                  <a:lnTo>
                    <a:pt x="102" y="285"/>
                  </a:lnTo>
                  <a:lnTo>
                    <a:pt x="104" y="283"/>
                  </a:lnTo>
                  <a:lnTo>
                    <a:pt x="108" y="278"/>
                  </a:lnTo>
                  <a:lnTo>
                    <a:pt x="112" y="274"/>
                  </a:lnTo>
                  <a:lnTo>
                    <a:pt x="117" y="269"/>
                  </a:lnTo>
                  <a:lnTo>
                    <a:pt x="118" y="268"/>
                  </a:lnTo>
                  <a:lnTo>
                    <a:pt x="119" y="267"/>
                  </a:lnTo>
                  <a:lnTo>
                    <a:pt x="119" y="266"/>
                  </a:lnTo>
                  <a:lnTo>
                    <a:pt x="120" y="265"/>
                  </a:lnTo>
                  <a:lnTo>
                    <a:pt x="120" y="263"/>
                  </a:lnTo>
                  <a:lnTo>
                    <a:pt x="121" y="262"/>
                  </a:lnTo>
                  <a:lnTo>
                    <a:pt x="121" y="260"/>
                  </a:lnTo>
                  <a:lnTo>
                    <a:pt x="121" y="259"/>
                  </a:lnTo>
                  <a:lnTo>
                    <a:pt x="121" y="258"/>
                  </a:lnTo>
                  <a:lnTo>
                    <a:pt x="121" y="257"/>
                  </a:lnTo>
                  <a:lnTo>
                    <a:pt x="122" y="255"/>
                  </a:lnTo>
                  <a:lnTo>
                    <a:pt x="123" y="253"/>
                  </a:lnTo>
                  <a:lnTo>
                    <a:pt x="124" y="251"/>
                  </a:lnTo>
                  <a:lnTo>
                    <a:pt x="126" y="248"/>
                  </a:lnTo>
                  <a:lnTo>
                    <a:pt x="127" y="247"/>
                  </a:lnTo>
                  <a:lnTo>
                    <a:pt x="127" y="246"/>
                  </a:lnTo>
                  <a:lnTo>
                    <a:pt x="127" y="245"/>
                  </a:lnTo>
                  <a:lnTo>
                    <a:pt x="128" y="244"/>
                  </a:lnTo>
                  <a:lnTo>
                    <a:pt x="128" y="243"/>
                  </a:lnTo>
                  <a:lnTo>
                    <a:pt x="128" y="242"/>
                  </a:lnTo>
                  <a:lnTo>
                    <a:pt x="128" y="241"/>
                  </a:lnTo>
                  <a:lnTo>
                    <a:pt x="128" y="238"/>
                  </a:lnTo>
                  <a:lnTo>
                    <a:pt x="128" y="236"/>
                  </a:lnTo>
                  <a:lnTo>
                    <a:pt x="127" y="232"/>
                  </a:lnTo>
                  <a:lnTo>
                    <a:pt x="127" y="230"/>
                  </a:lnTo>
                  <a:lnTo>
                    <a:pt x="127" y="229"/>
                  </a:lnTo>
                  <a:lnTo>
                    <a:pt x="127" y="227"/>
                  </a:lnTo>
                  <a:lnTo>
                    <a:pt x="128" y="227"/>
                  </a:lnTo>
                  <a:lnTo>
                    <a:pt x="128" y="226"/>
                  </a:lnTo>
                  <a:lnTo>
                    <a:pt x="129" y="225"/>
                  </a:lnTo>
                  <a:lnTo>
                    <a:pt x="129" y="224"/>
                  </a:lnTo>
                  <a:lnTo>
                    <a:pt x="130" y="224"/>
                  </a:lnTo>
                  <a:lnTo>
                    <a:pt x="131" y="223"/>
                  </a:lnTo>
                  <a:lnTo>
                    <a:pt x="132" y="222"/>
                  </a:lnTo>
                  <a:lnTo>
                    <a:pt x="133" y="222"/>
                  </a:lnTo>
                  <a:lnTo>
                    <a:pt x="134" y="221"/>
                  </a:lnTo>
                  <a:lnTo>
                    <a:pt x="136" y="221"/>
                  </a:lnTo>
                  <a:lnTo>
                    <a:pt x="137" y="220"/>
                  </a:lnTo>
                  <a:lnTo>
                    <a:pt x="139" y="220"/>
                  </a:lnTo>
                  <a:lnTo>
                    <a:pt x="140" y="220"/>
                  </a:lnTo>
                  <a:lnTo>
                    <a:pt x="143" y="220"/>
                  </a:lnTo>
                  <a:lnTo>
                    <a:pt x="150" y="220"/>
                  </a:lnTo>
                  <a:lnTo>
                    <a:pt x="153" y="220"/>
                  </a:lnTo>
                  <a:lnTo>
                    <a:pt x="155" y="219"/>
                  </a:lnTo>
                  <a:lnTo>
                    <a:pt x="158" y="219"/>
                  </a:lnTo>
                  <a:lnTo>
                    <a:pt x="160" y="218"/>
                  </a:lnTo>
                  <a:lnTo>
                    <a:pt x="161" y="218"/>
                  </a:lnTo>
                  <a:lnTo>
                    <a:pt x="162" y="217"/>
                  </a:lnTo>
                  <a:lnTo>
                    <a:pt x="164" y="216"/>
                  </a:lnTo>
                  <a:lnTo>
                    <a:pt x="166" y="215"/>
                  </a:lnTo>
                  <a:lnTo>
                    <a:pt x="168" y="214"/>
                  </a:lnTo>
                  <a:lnTo>
                    <a:pt x="170" y="212"/>
                  </a:lnTo>
                  <a:lnTo>
                    <a:pt x="172" y="212"/>
                  </a:lnTo>
                  <a:lnTo>
                    <a:pt x="173" y="211"/>
                  </a:lnTo>
                  <a:lnTo>
                    <a:pt x="175" y="211"/>
                  </a:lnTo>
                  <a:lnTo>
                    <a:pt x="176" y="210"/>
                  </a:lnTo>
                  <a:lnTo>
                    <a:pt x="178" y="210"/>
                  </a:lnTo>
                  <a:lnTo>
                    <a:pt x="179" y="210"/>
                  </a:lnTo>
                  <a:lnTo>
                    <a:pt x="180" y="210"/>
                  </a:lnTo>
                  <a:lnTo>
                    <a:pt x="182" y="210"/>
                  </a:lnTo>
                  <a:lnTo>
                    <a:pt x="183" y="211"/>
                  </a:lnTo>
                  <a:lnTo>
                    <a:pt x="184" y="211"/>
                  </a:lnTo>
                  <a:lnTo>
                    <a:pt x="185" y="211"/>
                  </a:lnTo>
                  <a:lnTo>
                    <a:pt x="190" y="214"/>
                  </a:lnTo>
                  <a:lnTo>
                    <a:pt x="192" y="214"/>
                  </a:lnTo>
                  <a:lnTo>
                    <a:pt x="193" y="215"/>
                  </a:lnTo>
                  <a:lnTo>
                    <a:pt x="194" y="215"/>
                  </a:lnTo>
                  <a:lnTo>
                    <a:pt x="195" y="215"/>
                  </a:lnTo>
                  <a:lnTo>
                    <a:pt x="196" y="215"/>
                  </a:lnTo>
                  <a:lnTo>
                    <a:pt x="197" y="215"/>
                  </a:lnTo>
                  <a:lnTo>
                    <a:pt x="198" y="215"/>
                  </a:lnTo>
                  <a:lnTo>
                    <a:pt x="198" y="215"/>
                  </a:lnTo>
                  <a:lnTo>
                    <a:pt x="199" y="215"/>
                  </a:lnTo>
                  <a:lnTo>
                    <a:pt x="200" y="214"/>
                  </a:lnTo>
                  <a:lnTo>
                    <a:pt x="202" y="213"/>
                  </a:lnTo>
                  <a:lnTo>
                    <a:pt x="205" y="212"/>
                  </a:lnTo>
                  <a:lnTo>
                    <a:pt x="207" y="211"/>
                  </a:lnTo>
                  <a:lnTo>
                    <a:pt x="208" y="210"/>
                  </a:lnTo>
                  <a:lnTo>
                    <a:pt x="210" y="210"/>
                  </a:lnTo>
                  <a:lnTo>
                    <a:pt x="215" y="210"/>
                  </a:lnTo>
                  <a:lnTo>
                    <a:pt x="221" y="208"/>
                  </a:lnTo>
                  <a:lnTo>
                    <a:pt x="222" y="208"/>
                  </a:lnTo>
                  <a:lnTo>
                    <a:pt x="224" y="208"/>
                  </a:lnTo>
                  <a:lnTo>
                    <a:pt x="227" y="208"/>
                  </a:lnTo>
                  <a:lnTo>
                    <a:pt x="229" y="208"/>
                  </a:lnTo>
                  <a:lnTo>
                    <a:pt x="232" y="208"/>
                  </a:lnTo>
                  <a:lnTo>
                    <a:pt x="234" y="208"/>
                  </a:lnTo>
                  <a:lnTo>
                    <a:pt x="237" y="209"/>
                  </a:lnTo>
                  <a:lnTo>
                    <a:pt x="239" y="209"/>
                  </a:lnTo>
                  <a:lnTo>
                    <a:pt x="241" y="210"/>
                  </a:lnTo>
                  <a:lnTo>
                    <a:pt x="245" y="211"/>
                  </a:lnTo>
                  <a:lnTo>
                    <a:pt x="246" y="212"/>
                  </a:lnTo>
                  <a:lnTo>
                    <a:pt x="248" y="212"/>
                  </a:lnTo>
                  <a:lnTo>
                    <a:pt x="250" y="212"/>
                  </a:lnTo>
                  <a:lnTo>
                    <a:pt x="252" y="212"/>
                  </a:lnTo>
                  <a:lnTo>
                    <a:pt x="254" y="212"/>
                  </a:lnTo>
                  <a:lnTo>
                    <a:pt x="256" y="212"/>
                  </a:lnTo>
                  <a:lnTo>
                    <a:pt x="258" y="212"/>
                  </a:lnTo>
                  <a:lnTo>
                    <a:pt x="260" y="211"/>
                  </a:lnTo>
                  <a:lnTo>
                    <a:pt x="261" y="210"/>
                  </a:lnTo>
                  <a:lnTo>
                    <a:pt x="262" y="209"/>
                  </a:lnTo>
                  <a:lnTo>
                    <a:pt x="265" y="207"/>
                  </a:lnTo>
                  <a:lnTo>
                    <a:pt x="266" y="206"/>
                  </a:lnTo>
                  <a:lnTo>
                    <a:pt x="268" y="205"/>
                  </a:lnTo>
                  <a:lnTo>
                    <a:pt x="271" y="204"/>
                  </a:lnTo>
                  <a:lnTo>
                    <a:pt x="272" y="204"/>
                  </a:lnTo>
                  <a:lnTo>
                    <a:pt x="273" y="203"/>
                  </a:lnTo>
                  <a:lnTo>
                    <a:pt x="274" y="202"/>
                  </a:lnTo>
                  <a:lnTo>
                    <a:pt x="275" y="202"/>
                  </a:lnTo>
                  <a:lnTo>
                    <a:pt x="276" y="201"/>
                  </a:lnTo>
                  <a:lnTo>
                    <a:pt x="276" y="200"/>
                  </a:lnTo>
                  <a:lnTo>
                    <a:pt x="277" y="199"/>
                  </a:lnTo>
                  <a:lnTo>
                    <a:pt x="277" y="198"/>
                  </a:lnTo>
                  <a:lnTo>
                    <a:pt x="277" y="197"/>
                  </a:lnTo>
                  <a:lnTo>
                    <a:pt x="278" y="195"/>
                  </a:lnTo>
                  <a:lnTo>
                    <a:pt x="278" y="193"/>
                  </a:lnTo>
                  <a:lnTo>
                    <a:pt x="277" y="189"/>
                  </a:lnTo>
                  <a:lnTo>
                    <a:pt x="277" y="187"/>
                  </a:lnTo>
                  <a:lnTo>
                    <a:pt x="277" y="185"/>
                  </a:lnTo>
                  <a:lnTo>
                    <a:pt x="278" y="183"/>
                  </a:lnTo>
                  <a:lnTo>
                    <a:pt x="278" y="182"/>
                  </a:lnTo>
                  <a:lnTo>
                    <a:pt x="278" y="180"/>
                  </a:lnTo>
                  <a:lnTo>
                    <a:pt x="279" y="179"/>
                  </a:lnTo>
                  <a:lnTo>
                    <a:pt x="279" y="178"/>
                  </a:lnTo>
                  <a:lnTo>
                    <a:pt x="280" y="176"/>
                  </a:lnTo>
                  <a:lnTo>
                    <a:pt x="280" y="175"/>
                  </a:lnTo>
                  <a:lnTo>
                    <a:pt x="281" y="175"/>
                  </a:lnTo>
                  <a:lnTo>
                    <a:pt x="282" y="174"/>
                  </a:lnTo>
                  <a:lnTo>
                    <a:pt x="282" y="173"/>
                  </a:lnTo>
                  <a:lnTo>
                    <a:pt x="283" y="173"/>
                  </a:lnTo>
                  <a:lnTo>
                    <a:pt x="284" y="173"/>
                  </a:lnTo>
                  <a:lnTo>
                    <a:pt x="284" y="172"/>
                  </a:lnTo>
                  <a:lnTo>
                    <a:pt x="286" y="172"/>
                  </a:lnTo>
                  <a:lnTo>
                    <a:pt x="290" y="171"/>
                  </a:lnTo>
                  <a:lnTo>
                    <a:pt x="292" y="171"/>
                  </a:lnTo>
                  <a:lnTo>
                    <a:pt x="294" y="170"/>
                  </a:lnTo>
                  <a:lnTo>
                    <a:pt x="296" y="169"/>
                  </a:lnTo>
                  <a:lnTo>
                    <a:pt x="298" y="168"/>
                  </a:lnTo>
                  <a:lnTo>
                    <a:pt x="300" y="166"/>
                  </a:lnTo>
                  <a:lnTo>
                    <a:pt x="302" y="165"/>
                  </a:lnTo>
                  <a:lnTo>
                    <a:pt x="304" y="162"/>
                  </a:lnTo>
                  <a:lnTo>
                    <a:pt x="306" y="161"/>
                  </a:lnTo>
                  <a:lnTo>
                    <a:pt x="307" y="160"/>
                  </a:lnTo>
                  <a:lnTo>
                    <a:pt x="309" y="159"/>
                  </a:lnTo>
                  <a:lnTo>
                    <a:pt x="312" y="158"/>
                  </a:lnTo>
                  <a:lnTo>
                    <a:pt x="314" y="157"/>
                  </a:lnTo>
                  <a:lnTo>
                    <a:pt x="316" y="156"/>
                  </a:lnTo>
                  <a:lnTo>
                    <a:pt x="317" y="156"/>
                  </a:lnTo>
                  <a:lnTo>
                    <a:pt x="318" y="156"/>
                  </a:lnTo>
                  <a:lnTo>
                    <a:pt x="319" y="156"/>
                  </a:lnTo>
                  <a:lnTo>
                    <a:pt x="321" y="157"/>
                  </a:lnTo>
                  <a:lnTo>
                    <a:pt x="322" y="157"/>
                  </a:lnTo>
                  <a:lnTo>
                    <a:pt x="326" y="158"/>
                  </a:lnTo>
                  <a:lnTo>
                    <a:pt x="330" y="159"/>
                  </a:lnTo>
                  <a:lnTo>
                    <a:pt x="333" y="160"/>
                  </a:lnTo>
                  <a:lnTo>
                    <a:pt x="335" y="160"/>
                  </a:lnTo>
                  <a:lnTo>
                    <a:pt x="336" y="160"/>
                  </a:lnTo>
                  <a:lnTo>
                    <a:pt x="337" y="160"/>
                  </a:lnTo>
                  <a:lnTo>
                    <a:pt x="342" y="159"/>
                  </a:lnTo>
                  <a:lnTo>
                    <a:pt x="346" y="159"/>
                  </a:lnTo>
                  <a:lnTo>
                    <a:pt x="347" y="158"/>
                  </a:lnTo>
                  <a:lnTo>
                    <a:pt x="349" y="158"/>
                  </a:lnTo>
                  <a:lnTo>
                    <a:pt x="351" y="157"/>
                  </a:lnTo>
                  <a:lnTo>
                    <a:pt x="352" y="156"/>
                  </a:lnTo>
                  <a:lnTo>
                    <a:pt x="354" y="155"/>
                  </a:lnTo>
                  <a:lnTo>
                    <a:pt x="358" y="152"/>
                  </a:lnTo>
                  <a:lnTo>
                    <a:pt x="360" y="151"/>
                  </a:lnTo>
                  <a:lnTo>
                    <a:pt x="362" y="150"/>
                  </a:lnTo>
                  <a:lnTo>
                    <a:pt x="366" y="148"/>
                  </a:lnTo>
                  <a:lnTo>
                    <a:pt x="377" y="143"/>
                  </a:lnTo>
                  <a:lnTo>
                    <a:pt x="384" y="140"/>
                  </a:lnTo>
                  <a:lnTo>
                    <a:pt x="388" y="138"/>
                  </a:lnTo>
                  <a:lnTo>
                    <a:pt x="391" y="137"/>
                  </a:lnTo>
                  <a:lnTo>
                    <a:pt x="398" y="134"/>
                  </a:lnTo>
                  <a:lnTo>
                    <a:pt x="401" y="133"/>
                  </a:lnTo>
                  <a:lnTo>
                    <a:pt x="405" y="132"/>
                  </a:lnTo>
                  <a:lnTo>
                    <a:pt x="406" y="131"/>
                  </a:lnTo>
                  <a:lnTo>
                    <a:pt x="407" y="130"/>
                  </a:lnTo>
                  <a:lnTo>
                    <a:pt x="410" y="129"/>
                  </a:lnTo>
                  <a:lnTo>
                    <a:pt x="412" y="127"/>
                  </a:lnTo>
                  <a:lnTo>
                    <a:pt x="414" y="126"/>
                  </a:lnTo>
                  <a:lnTo>
                    <a:pt x="415" y="124"/>
                  </a:lnTo>
                  <a:lnTo>
                    <a:pt x="416" y="123"/>
                  </a:lnTo>
                  <a:lnTo>
                    <a:pt x="417" y="121"/>
                  </a:lnTo>
                  <a:lnTo>
                    <a:pt x="418" y="119"/>
                  </a:lnTo>
                  <a:lnTo>
                    <a:pt x="421" y="115"/>
                  </a:lnTo>
                  <a:lnTo>
                    <a:pt x="422" y="114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5" y="111"/>
                  </a:lnTo>
                  <a:lnTo>
                    <a:pt x="426" y="110"/>
                  </a:lnTo>
                  <a:lnTo>
                    <a:pt x="427" y="109"/>
                  </a:lnTo>
                  <a:lnTo>
                    <a:pt x="430" y="109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5" y="108"/>
                  </a:lnTo>
                  <a:lnTo>
                    <a:pt x="436" y="108"/>
                  </a:lnTo>
                  <a:lnTo>
                    <a:pt x="438" y="108"/>
                  </a:lnTo>
                  <a:lnTo>
                    <a:pt x="440" y="108"/>
                  </a:lnTo>
                  <a:lnTo>
                    <a:pt x="444" y="109"/>
                  </a:lnTo>
                  <a:lnTo>
                    <a:pt x="445" y="109"/>
                  </a:lnTo>
                  <a:lnTo>
                    <a:pt x="447" y="109"/>
                  </a:lnTo>
                  <a:lnTo>
                    <a:pt x="449" y="109"/>
                  </a:lnTo>
                  <a:lnTo>
                    <a:pt x="450" y="109"/>
                  </a:lnTo>
                  <a:lnTo>
                    <a:pt x="452" y="109"/>
                  </a:lnTo>
                  <a:lnTo>
                    <a:pt x="454" y="109"/>
                  </a:lnTo>
                  <a:lnTo>
                    <a:pt x="458" y="108"/>
                  </a:lnTo>
                  <a:lnTo>
                    <a:pt x="460" y="108"/>
                  </a:lnTo>
                  <a:lnTo>
                    <a:pt x="462" y="107"/>
                  </a:lnTo>
                  <a:lnTo>
                    <a:pt x="465" y="106"/>
                  </a:lnTo>
                  <a:lnTo>
                    <a:pt x="468" y="105"/>
                  </a:lnTo>
                  <a:lnTo>
                    <a:pt x="469" y="104"/>
                  </a:lnTo>
                  <a:lnTo>
                    <a:pt x="471" y="104"/>
                  </a:lnTo>
                  <a:lnTo>
                    <a:pt x="476" y="103"/>
                  </a:lnTo>
                  <a:lnTo>
                    <a:pt x="477" y="102"/>
                  </a:lnTo>
                  <a:lnTo>
                    <a:pt x="479" y="102"/>
                  </a:lnTo>
                  <a:lnTo>
                    <a:pt x="480" y="101"/>
                  </a:lnTo>
                  <a:lnTo>
                    <a:pt x="480" y="101"/>
                  </a:lnTo>
                  <a:lnTo>
                    <a:pt x="481" y="100"/>
                  </a:lnTo>
                  <a:lnTo>
                    <a:pt x="482" y="100"/>
                  </a:lnTo>
                  <a:lnTo>
                    <a:pt x="483" y="98"/>
                  </a:lnTo>
                  <a:lnTo>
                    <a:pt x="483" y="97"/>
                  </a:lnTo>
                  <a:lnTo>
                    <a:pt x="484" y="96"/>
                  </a:lnTo>
                  <a:lnTo>
                    <a:pt x="485" y="93"/>
                  </a:lnTo>
                  <a:lnTo>
                    <a:pt x="486" y="89"/>
                  </a:lnTo>
                  <a:lnTo>
                    <a:pt x="487" y="87"/>
                  </a:lnTo>
                  <a:lnTo>
                    <a:pt x="487" y="86"/>
                  </a:lnTo>
                  <a:lnTo>
                    <a:pt x="487" y="85"/>
                  </a:lnTo>
                  <a:lnTo>
                    <a:pt x="487" y="84"/>
                  </a:lnTo>
                  <a:lnTo>
                    <a:pt x="487" y="83"/>
                  </a:lnTo>
                  <a:lnTo>
                    <a:pt x="487" y="82"/>
                  </a:lnTo>
                  <a:lnTo>
                    <a:pt x="487" y="81"/>
                  </a:lnTo>
                  <a:lnTo>
                    <a:pt x="486" y="81"/>
                  </a:lnTo>
                  <a:lnTo>
                    <a:pt x="486" y="80"/>
                  </a:lnTo>
                  <a:lnTo>
                    <a:pt x="485" y="79"/>
                  </a:lnTo>
                  <a:lnTo>
                    <a:pt x="484" y="78"/>
                  </a:lnTo>
                  <a:lnTo>
                    <a:pt x="483" y="78"/>
                  </a:lnTo>
                  <a:lnTo>
                    <a:pt x="482" y="77"/>
                  </a:lnTo>
                  <a:lnTo>
                    <a:pt x="481" y="77"/>
                  </a:lnTo>
                  <a:lnTo>
                    <a:pt x="478" y="75"/>
                  </a:lnTo>
                  <a:lnTo>
                    <a:pt x="472" y="73"/>
                  </a:lnTo>
                  <a:lnTo>
                    <a:pt x="468" y="72"/>
                  </a:lnTo>
                  <a:lnTo>
                    <a:pt x="462" y="69"/>
                  </a:lnTo>
                  <a:lnTo>
                    <a:pt x="460" y="69"/>
                  </a:lnTo>
                  <a:lnTo>
                    <a:pt x="459" y="68"/>
                  </a:lnTo>
                  <a:lnTo>
                    <a:pt x="458" y="67"/>
                  </a:lnTo>
                  <a:lnTo>
                    <a:pt x="457" y="67"/>
                  </a:lnTo>
                  <a:lnTo>
                    <a:pt x="456" y="66"/>
                  </a:lnTo>
                  <a:lnTo>
                    <a:pt x="456" y="65"/>
                  </a:lnTo>
                  <a:lnTo>
                    <a:pt x="455" y="65"/>
                  </a:lnTo>
                  <a:lnTo>
                    <a:pt x="455" y="64"/>
                  </a:lnTo>
                  <a:lnTo>
                    <a:pt x="454" y="63"/>
                  </a:lnTo>
                  <a:lnTo>
                    <a:pt x="454" y="61"/>
                  </a:lnTo>
                  <a:lnTo>
                    <a:pt x="453" y="60"/>
                  </a:lnTo>
                  <a:lnTo>
                    <a:pt x="453" y="60"/>
                  </a:lnTo>
                  <a:lnTo>
                    <a:pt x="453" y="59"/>
                  </a:lnTo>
                  <a:lnTo>
                    <a:pt x="453" y="58"/>
                  </a:lnTo>
                  <a:lnTo>
                    <a:pt x="453" y="58"/>
                  </a:lnTo>
                  <a:lnTo>
                    <a:pt x="453" y="57"/>
                  </a:lnTo>
                  <a:lnTo>
                    <a:pt x="454" y="56"/>
                  </a:lnTo>
                  <a:lnTo>
                    <a:pt x="455" y="54"/>
                  </a:lnTo>
                  <a:lnTo>
                    <a:pt x="455" y="53"/>
                  </a:lnTo>
                  <a:lnTo>
                    <a:pt x="456" y="52"/>
                  </a:lnTo>
                  <a:lnTo>
                    <a:pt x="456" y="52"/>
                  </a:lnTo>
                  <a:lnTo>
                    <a:pt x="456" y="51"/>
                  </a:lnTo>
                  <a:lnTo>
                    <a:pt x="455" y="50"/>
                  </a:lnTo>
                  <a:lnTo>
                    <a:pt x="455" y="50"/>
                  </a:lnTo>
                  <a:lnTo>
                    <a:pt x="454" y="49"/>
                  </a:lnTo>
                  <a:lnTo>
                    <a:pt x="454" y="49"/>
                  </a:lnTo>
                  <a:lnTo>
                    <a:pt x="453" y="49"/>
                  </a:lnTo>
                  <a:lnTo>
                    <a:pt x="452" y="49"/>
                  </a:lnTo>
                  <a:lnTo>
                    <a:pt x="451" y="48"/>
                  </a:lnTo>
                  <a:lnTo>
                    <a:pt x="447" y="49"/>
                  </a:lnTo>
                  <a:lnTo>
                    <a:pt x="445" y="48"/>
                  </a:lnTo>
                  <a:lnTo>
                    <a:pt x="442" y="48"/>
                  </a:lnTo>
                  <a:lnTo>
                    <a:pt x="441" y="48"/>
                  </a:lnTo>
                  <a:lnTo>
                    <a:pt x="441" y="48"/>
                  </a:lnTo>
                  <a:lnTo>
                    <a:pt x="439" y="47"/>
                  </a:lnTo>
                  <a:lnTo>
                    <a:pt x="438" y="46"/>
                  </a:lnTo>
                  <a:lnTo>
                    <a:pt x="437" y="46"/>
                  </a:lnTo>
                  <a:lnTo>
                    <a:pt x="436" y="45"/>
                  </a:lnTo>
                  <a:lnTo>
                    <a:pt x="435" y="44"/>
                  </a:lnTo>
                  <a:lnTo>
                    <a:pt x="434" y="43"/>
                  </a:lnTo>
                  <a:lnTo>
                    <a:pt x="434" y="42"/>
                  </a:lnTo>
                  <a:lnTo>
                    <a:pt x="433" y="41"/>
                  </a:lnTo>
                  <a:lnTo>
                    <a:pt x="433" y="41"/>
                  </a:lnTo>
                  <a:lnTo>
                    <a:pt x="433" y="40"/>
                  </a:lnTo>
                  <a:lnTo>
                    <a:pt x="433" y="38"/>
                  </a:lnTo>
                  <a:lnTo>
                    <a:pt x="433" y="35"/>
                  </a:lnTo>
                  <a:lnTo>
                    <a:pt x="433" y="34"/>
                  </a:lnTo>
                  <a:lnTo>
                    <a:pt x="434" y="33"/>
                  </a:lnTo>
                  <a:lnTo>
                    <a:pt x="434" y="32"/>
                  </a:lnTo>
                  <a:lnTo>
                    <a:pt x="434" y="31"/>
                  </a:lnTo>
                  <a:lnTo>
                    <a:pt x="436" y="27"/>
                  </a:lnTo>
                  <a:lnTo>
                    <a:pt x="437" y="26"/>
                  </a:lnTo>
                  <a:lnTo>
                    <a:pt x="438" y="24"/>
                  </a:lnTo>
                  <a:lnTo>
                    <a:pt x="438" y="22"/>
                  </a:lnTo>
                  <a:lnTo>
                    <a:pt x="439" y="21"/>
                  </a:lnTo>
                  <a:lnTo>
                    <a:pt x="439" y="19"/>
                  </a:lnTo>
                  <a:lnTo>
                    <a:pt x="440" y="18"/>
                  </a:lnTo>
                  <a:lnTo>
                    <a:pt x="441" y="13"/>
                  </a:lnTo>
                  <a:lnTo>
                    <a:pt x="441" y="12"/>
                  </a:lnTo>
                  <a:lnTo>
                    <a:pt x="441" y="11"/>
                  </a:lnTo>
                  <a:lnTo>
                    <a:pt x="442" y="10"/>
                  </a:lnTo>
                  <a:lnTo>
                    <a:pt x="442" y="10"/>
                  </a:lnTo>
                  <a:lnTo>
                    <a:pt x="443" y="8"/>
                  </a:lnTo>
                  <a:lnTo>
                    <a:pt x="448" y="2"/>
                  </a:lnTo>
                  <a:lnTo>
                    <a:pt x="449" y="1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50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Freeform 239">
              <a:extLst>
                <a:ext uri="{FF2B5EF4-FFF2-40B4-BE49-F238E27FC236}">
                  <a16:creationId xmlns:a16="http://schemas.microsoft.com/office/drawing/2014/main" id="{DC6EBC1C-827B-459D-90E2-422B517F4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0601" y="1852230"/>
              <a:ext cx="542132" cy="364818"/>
            </a:xfrm>
            <a:custGeom>
              <a:avLst/>
              <a:gdLst>
                <a:gd name="T0" fmla="*/ 298 w 532"/>
                <a:gd name="T1" fmla="*/ 4 h 358"/>
                <a:gd name="T2" fmla="*/ 315 w 532"/>
                <a:gd name="T3" fmla="*/ 17 h 358"/>
                <a:gd name="T4" fmla="*/ 328 w 532"/>
                <a:gd name="T5" fmla="*/ 17 h 358"/>
                <a:gd name="T6" fmla="*/ 340 w 532"/>
                <a:gd name="T7" fmla="*/ 8 h 358"/>
                <a:gd name="T8" fmla="*/ 350 w 532"/>
                <a:gd name="T9" fmla="*/ 24 h 358"/>
                <a:gd name="T10" fmla="*/ 369 w 532"/>
                <a:gd name="T11" fmla="*/ 20 h 358"/>
                <a:gd name="T12" fmla="*/ 388 w 532"/>
                <a:gd name="T13" fmla="*/ 46 h 358"/>
                <a:gd name="T14" fmla="*/ 385 w 532"/>
                <a:gd name="T15" fmla="*/ 79 h 358"/>
                <a:gd name="T16" fmla="*/ 403 w 532"/>
                <a:gd name="T17" fmla="*/ 106 h 358"/>
                <a:gd name="T18" fmla="*/ 425 w 532"/>
                <a:gd name="T19" fmla="*/ 134 h 358"/>
                <a:gd name="T20" fmla="*/ 432 w 532"/>
                <a:gd name="T21" fmla="*/ 158 h 358"/>
                <a:gd name="T22" fmla="*/ 451 w 532"/>
                <a:gd name="T23" fmla="*/ 144 h 358"/>
                <a:gd name="T24" fmla="*/ 485 w 532"/>
                <a:gd name="T25" fmla="*/ 155 h 358"/>
                <a:gd name="T26" fmla="*/ 497 w 532"/>
                <a:gd name="T27" fmla="*/ 169 h 358"/>
                <a:gd name="T28" fmla="*/ 506 w 532"/>
                <a:gd name="T29" fmla="*/ 210 h 358"/>
                <a:gd name="T30" fmla="*/ 511 w 532"/>
                <a:gd name="T31" fmla="*/ 252 h 358"/>
                <a:gd name="T32" fmla="*/ 514 w 532"/>
                <a:gd name="T33" fmla="*/ 284 h 358"/>
                <a:gd name="T34" fmla="*/ 531 w 532"/>
                <a:gd name="T35" fmla="*/ 319 h 358"/>
                <a:gd name="T36" fmla="*/ 520 w 532"/>
                <a:gd name="T37" fmla="*/ 330 h 358"/>
                <a:gd name="T38" fmla="*/ 495 w 532"/>
                <a:gd name="T39" fmla="*/ 331 h 358"/>
                <a:gd name="T40" fmla="*/ 476 w 532"/>
                <a:gd name="T41" fmla="*/ 316 h 358"/>
                <a:gd name="T42" fmla="*/ 457 w 532"/>
                <a:gd name="T43" fmla="*/ 330 h 358"/>
                <a:gd name="T44" fmla="*/ 454 w 532"/>
                <a:gd name="T45" fmla="*/ 349 h 358"/>
                <a:gd name="T46" fmla="*/ 436 w 532"/>
                <a:gd name="T47" fmla="*/ 352 h 358"/>
                <a:gd name="T48" fmla="*/ 425 w 532"/>
                <a:gd name="T49" fmla="*/ 342 h 358"/>
                <a:gd name="T50" fmla="*/ 399 w 532"/>
                <a:gd name="T51" fmla="*/ 332 h 358"/>
                <a:gd name="T52" fmla="*/ 379 w 532"/>
                <a:gd name="T53" fmla="*/ 332 h 358"/>
                <a:gd name="T54" fmla="*/ 359 w 532"/>
                <a:gd name="T55" fmla="*/ 343 h 358"/>
                <a:gd name="T56" fmla="*/ 324 w 532"/>
                <a:gd name="T57" fmla="*/ 324 h 358"/>
                <a:gd name="T58" fmla="*/ 305 w 532"/>
                <a:gd name="T59" fmla="*/ 305 h 358"/>
                <a:gd name="T60" fmla="*/ 274 w 532"/>
                <a:gd name="T61" fmla="*/ 279 h 358"/>
                <a:gd name="T62" fmla="*/ 256 w 532"/>
                <a:gd name="T63" fmla="*/ 279 h 358"/>
                <a:gd name="T64" fmla="*/ 239 w 532"/>
                <a:gd name="T65" fmla="*/ 267 h 358"/>
                <a:gd name="T66" fmla="*/ 230 w 532"/>
                <a:gd name="T67" fmla="*/ 284 h 358"/>
                <a:gd name="T68" fmla="*/ 211 w 532"/>
                <a:gd name="T69" fmla="*/ 299 h 358"/>
                <a:gd name="T70" fmla="*/ 200 w 532"/>
                <a:gd name="T71" fmla="*/ 313 h 358"/>
                <a:gd name="T72" fmla="*/ 172 w 532"/>
                <a:gd name="T73" fmla="*/ 309 h 358"/>
                <a:gd name="T74" fmla="*/ 163 w 532"/>
                <a:gd name="T75" fmla="*/ 330 h 358"/>
                <a:gd name="T76" fmla="*/ 139 w 532"/>
                <a:gd name="T77" fmla="*/ 353 h 358"/>
                <a:gd name="T78" fmla="*/ 106 w 532"/>
                <a:gd name="T79" fmla="*/ 358 h 358"/>
                <a:gd name="T80" fmla="*/ 95 w 532"/>
                <a:gd name="T81" fmla="*/ 343 h 358"/>
                <a:gd name="T82" fmla="*/ 82 w 532"/>
                <a:gd name="T83" fmla="*/ 341 h 358"/>
                <a:gd name="T84" fmla="*/ 62 w 532"/>
                <a:gd name="T85" fmla="*/ 341 h 358"/>
                <a:gd name="T86" fmla="*/ 54 w 532"/>
                <a:gd name="T87" fmla="*/ 334 h 358"/>
                <a:gd name="T88" fmla="*/ 30 w 532"/>
                <a:gd name="T89" fmla="*/ 306 h 358"/>
                <a:gd name="T90" fmla="*/ 9 w 532"/>
                <a:gd name="T91" fmla="*/ 263 h 358"/>
                <a:gd name="T92" fmla="*/ 0 w 532"/>
                <a:gd name="T93" fmla="*/ 234 h 358"/>
                <a:gd name="T94" fmla="*/ 10 w 532"/>
                <a:gd name="T95" fmla="*/ 207 h 358"/>
                <a:gd name="T96" fmla="*/ 29 w 532"/>
                <a:gd name="T97" fmla="*/ 187 h 358"/>
                <a:gd name="T98" fmla="*/ 36 w 532"/>
                <a:gd name="T99" fmla="*/ 167 h 358"/>
                <a:gd name="T100" fmla="*/ 43 w 532"/>
                <a:gd name="T101" fmla="*/ 141 h 358"/>
                <a:gd name="T102" fmla="*/ 61 w 532"/>
                <a:gd name="T103" fmla="*/ 140 h 358"/>
                <a:gd name="T104" fmla="*/ 84 w 532"/>
                <a:gd name="T105" fmla="*/ 146 h 358"/>
                <a:gd name="T106" fmla="*/ 96 w 532"/>
                <a:gd name="T107" fmla="*/ 123 h 358"/>
                <a:gd name="T108" fmla="*/ 128 w 532"/>
                <a:gd name="T109" fmla="*/ 114 h 358"/>
                <a:gd name="T110" fmla="*/ 164 w 532"/>
                <a:gd name="T111" fmla="*/ 130 h 358"/>
                <a:gd name="T112" fmla="*/ 189 w 532"/>
                <a:gd name="T113" fmla="*/ 125 h 358"/>
                <a:gd name="T114" fmla="*/ 211 w 532"/>
                <a:gd name="T115" fmla="*/ 100 h 358"/>
                <a:gd name="T116" fmla="*/ 252 w 532"/>
                <a:gd name="T117" fmla="*/ 103 h 358"/>
                <a:gd name="T118" fmla="*/ 269 w 532"/>
                <a:gd name="T119" fmla="*/ 97 h 358"/>
                <a:gd name="T120" fmla="*/ 275 w 532"/>
                <a:gd name="T121" fmla="*/ 56 h 358"/>
                <a:gd name="T122" fmla="*/ 274 w 532"/>
                <a:gd name="T123" fmla="*/ 29 h 358"/>
                <a:gd name="T124" fmla="*/ 262 w 532"/>
                <a:gd name="T125" fmla="*/ 19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2" h="358">
                  <a:moveTo>
                    <a:pt x="280" y="0"/>
                  </a:moveTo>
                  <a:lnTo>
                    <a:pt x="281" y="1"/>
                  </a:lnTo>
                  <a:lnTo>
                    <a:pt x="284" y="3"/>
                  </a:lnTo>
                  <a:lnTo>
                    <a:pt x="285" y="3"/>
                  </a:lnTo>
                  <a:lnTo>
                    <a:pt x="287" y="4"/>
                  </a:lnTo>
                  <a:lnTo>
                    <a:pt x="288" y="5"/>
                  </a:lnTo>
                  <a:lnTo>
                    <a:pt x="289" y="5"/>
                  </a:lnTo>
                  <a:lnTo>
                    <a:pt x="290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6" y="4"/>
                  </a:lnTo>
                  <a:lnTo>
                    <a:pt x="297" y="4"/>
                  </a:lnTo>
                  <a:lnTo>
                    <a:pt x="298" y="4"/>
                  </a:lnTo>
                  <a:lnTo>
                    <a:pt x="299" y="4"/>
                  </a:lnTo>
                  <a:lnTo>
                    <a:pt x="300" y="4"/>
                  </a:lnTo>
                  <a:lnTo>
                    <a:pt x="302" y="5"/>
                  </a:lnTo>
                  <a:lnTo>
                    <a:pt x="308" y="6"/>
                  </a:lnTo>
                  <a:lnTo>
                    <a:pt x="310" y="7"/>
                  </a:lnTo>
                  <a:lnTo>
                    <a:pt x="311" y="8"/>
                  </a:lnTo>
                  <a:lnTo>
                    <a:pt x="312" y="9"/>
                  </a:lnTo>
                  <a:lnTo>
                    <a:pt x="312" y="9"/>
                  </a:lnTo>
                  <a:lnTo>
                    <a:pt x="313" y="10"/>
                  </a:lnTo>
                  <a:lnTo>
                    <a:pt x="313" y="11"/>
                  </a:lnTo>
                  <a:lnTo>
                    <a:pt x="313" y="11"/>
                  </a:lnTo>
                  <a:lnTo>
                    <a:pt x="313" y="14"/>
                  </a:lnTo>
                  <a:lnTo>
                    <a:pt x="314" y="15"/>
                  </a:lnTo>
                  <a:lnTo>
                    <a:pt x="314" y="16"/>
                  </a:lnTo>
                  <a:lnTo>
                    <a:pt x="315" y="17"/>
                  </a:lnTo>
                  <a:lnTo>
                    <a:pt x="315" y="18"/>
                  </a:lnTo>
                  <a:lnTo>
                    <a:pt x="316" y="19"/>
                  </a:lnTo>
                  <a:lnTo>
                    <a:pt x="317" y="19"/>
                  </a:lnTo>
                  <a:lnTo>
                    <a:pt x="319" y="20"/>
                  </a:lnTo>
                  <a:lnTo>
                    <a:pt x="320" y="20"/>
                  </a:lnTo>
                  <a:lnTo>
                    <a:pt x="321" y="20"/>
                  </a:lnTo>
                  <a:lnTo>
                    <a:pt x="322" y="20"/>
                  </a:lnTo>
                  <a:lnTo>
                    <a:pt x="323" y="20"/>
                  </a:lnTo>
                  <a:lnTo>
                    <a:pt x="324" y="20"/>
                  </a:lnTo>
                  <a:lnTo>
                    <a:pt x="325" y="20"/>
                  </a:lnTo>
                  <a:lnTo>
                    <a:pt x="325" y="20"/>
                  </a:lnTo>
                  <a:lnTo>
                    <a:pt x="326" y="19"/>
                  </a:lnTo>
                  <a:lnTo>
                    <a:pt x="327" y="19"/>
                  </a:lnTo>
                  <a:lnTo>
                    <a:pt x="327" y="18"/>
                  </a:lnTo>
                  <a:lnTo>
                    <a:pt x="328" y="17"/>
                  </a:lnTo>
                  <a:lnTo>
                    <a:pt x="329" y="15"/>
                  </a:lnTo>
                  <a:lnTo>
                    <a:pt x="330" y="13"/>
                  </a:lnTo>
                  <a:lnTo>
                    <a:pt x="331" y="11"/>
                  </a:lnTo>
                  <a:lnTo>
                    <a:pt x="332" y="10"/>
                  </a:lnTo>
                  <a:lnTo>
                    <a:pt x="333" y="9"/>
                  </a:lnTo>
                  <a:lnTo>
                    <a:pt x="334" y="9"/>
                  </a:lnTo>
                  <a:lnTo>
                    <a:pt x="335" y="8"/>
                  </a:lnTo>
                  <a:lnTo>
                    <a:pt x="335" y="8"/>
                  </a:lnTo>
                  <a:lnTo>
                    <a:pt x="336" y="8"/>
                  </a:lnTo>
                  <a:lnTo>
                    <a:pt x="336" y="7"/>
                  </a:lnTo>
                  <a:lnTo>
                    <a:pt x="337" y="7"/>
                  </a:lnTo>
                  <a:lnTo>
                    <a:pt x="338" y="7"/>
                  </a:lnTo>
                  <a:lnTo>
                    <a:pt x="339" y="7"/>
                  </a:lnTo>
                  <a:lnTo>
                    <a:pt x="339" y="8"/>
                  </a:lnTo>
                  <a:lnTo>
                    <a:pt x="340" y="8"/>
                  </a:lnTo>
                  <a:lnTo>
                    <a:pt x="340" y="8"/>
                  </a:lnTo>
                  <a:lnTo>
                    <a:pt x="340" y="8"/>
                  </a:lnTo>
                  <a:lnTo>
                    <a:pt x="341" y="9"/>
                  </a:lnTo>
                  <a:lnTo>
                    <a:pt x="342" y="10"/>
                  </a:lnTo>
                  <a:lnTo>
                    <a:pt x="342" y="12"/>
                  </a:lnTo>
                  <a:lnTo>
                    <a:pt x="343" y="13"/>
                  </a:lnTo>
                  <a:lnTo>
                    <a:pt x="344" y="18"/>
                  </a:lnTo>
                  <a:lnTo>
                    <a:pt x="345" y="20"/>
                  </a:lnTo>
                  <a:lnTo>
                    <a:pt x="345" y="21"/>
                  </a:lnTo>
                  <a:lnTo>
                    <a:pt x="346" y="22"/>
                  </a:lnTo>
                  <a:lnTo>
                    <a:pt x="346" y="23"/>
                  </a:lnTo>
                  <a:lnTo>
                    <a:pt x="347" y="23"/>
                  </a:lnTo>
                  <a:lnTo>
                    <a:pt x="348" y="24"/>
                  </a:lnTo>
                  <a:lnTo>
                    <a:pt x="349" y="24"/>
                  </a:lnTo>
                  <a:lnTo>
                    <a:pt x="350" y="24"/>
                  </a:lnTo>
                  <a:lnTo>
                    <a:pt x="351" y="24"/>
                  </a:lnTo>
                  <a:lnTo>
                    <a:pt x="352" y="24"/>
                  </a:lnTo>
                  <a:lnTo>
                    <a:pt x="353" y="23"/>
                  </a:lnTo>
                  <a:lnTo>
                    <a:pt x="356" y="22"/>
                  </a:lnTo>
                  <a:lnTo>
                    <a:pt x="358" y="21"/>
                  </a:lnTo>
                  <a:lnTo>
                    <a:pt x="361" y="20"/>
                  </a:lnTo>
                  <a:lnTo>
                    <a:pt x="362" y="20"/>
                  </a:lnTo>
                  <a:lnTo>
                    <a:pt x="363" y="19"/>
                  </a:lnTo>
                  <a:lnTo>
                    <a:pt x="365" y="19"/>
                  </a:lnTo>
                  <a:lnTo>
                    <a:pt x="366" y="19"/>
                  </a:lnTo>
                  <a:lnTo>
                    <a:pt x="367" y="19"/>
                  </a:lnTo>
                  <a:lnTo>
                    <a:pt x="367" y="19"/>
                  </a:lnTo>
                  <a:lnTo>
                    <a:pt x="368" y="20"/>
                  </a:lnTo>
                  <a:lnTo>
                    <a:pt x="369" y="20"/>
                  </a:lnTo>
                  <a:lnTo>
                    <a:pt x="369" y="20"/>
                  </a:lnTo>
                  <a:lnTo>
                    <a:pt x="370" y="21"/>
                  </a:lnTo>
                  <a:lnTo>
                    <a:pt x="373" y="24"/>
                  </a:lnTo>
                  <a:lnTo>
                    <a:pt x="374" y="25"/>
                  </a:lnTo>
                  <a:lnTo>
                    <a:pt x="376" y="26"/>
                  </a:lnTo>
                  <a:lnTo>
                    <a:pt x="379" y="28"/>
                  </a:lnTo>
                  <a:lnTo>
                    <a:pt x="380" y="29"/>
                  </a:lnTo>
                  <a:lnTo>
                    <a:pt x="382" y="30"/>
                  </a:lnTo>
                  <a:lnTo>
                    <a:pt x="383" y="31"/>
                  </a:lnTo>
                  <a:lnTo>
                    <a:pt x="383" y="33"/>
                  </a:lnTo>
                  <a:lnTo>
                    <a:pt x="384" y="33"/>
                  </a:lnTo>
                  <a:lnTo>
                    <a:pt x="385" y="35"/>
                  </a:lnTo>
                  <a:lnTo>
                    <a:pt x="387" y="41"/>
                  </a:lnTo>
                  <a:lnTo>
                    <a:pt x="388" y="43"/>
                  </a:lnTo>
                  <a:lnTo>
                    <a:pt x="388" y="45"/>
                  </a:lnTo>
                  <a:lnTo>
                    <a:pt x="388" y="46"/>
                  </a:lnTo>
                  <a:lnTo>
                    <a:pt x="388" y="47"/>
                  </a:lnTo>
                  <a:lnTo>
                    <a:pt x="388" y="49"/>
                  </a:lnTo>
                  <a:lnTo>
                    <a:pt x="388" y="50"/>
                  </a:lnTo>
                  <a:lnTo>
                    <a:pt x="388" y="51"/>
                  </a:lnTo>
                  <a:lnTo>
                    <a:pt x="385" y="58"/>
                  </a:lnTo>
                  <a:lnTo>
                    <a:pt x="384" y="60"/>
                  </a:lnTo>
                  <a:lnTo>
                    <a:pt x="384" y="61"/>
                  </a:lnTo>
                  <a:lnTo>
                    <a:pt x="384" y="63"/>
                  </a:lnTo>
                  <a:lnTo>
                    <a:pt x="384" y="65"/>
                  </a:lnTo>
                  <a:lnTo>
                    <a:pt x="383" y="67"/>
                  </a:lnTo>
                  <a:lnTo>
                    <a:pt x="384" y="69"/>
                  </a:lnTo>
                  <a:lnTo>
                    <a:pt x="384" y="72"/>
                  </a:lnTo>
                  <a:lnTo>
                    <a:pt x="384" y="74"/>
                  </a:lnTo>
                  <a:lnTo>
                    <a:pt x="385" y="76"/>
                  </a:lnTo>
                  <a:lnTo>
                    <a:pt x="385" y="79"/>
                  </a:lnTo>
                  <a:lnTo>
                    <a:pt x="386" y="82"/>
                  </a:lnTo>
                  <a:lnTo>
                    <a:pt x="387" y="85"/>
                  </a:lnTo>
                  <a:lnTo>
                    <a:pt x="388" y="87"/>
                  </a:lnTo>
                  <a:lnTo>
                    <a:pt x="389" y="89"/>
                  </a:lnTo>
                  <a:lnTo>
                    <a:pt x="390" y="91"/>
                  </a:lnTo>
                  <a:lnTo>
                    <a:pt x="392" y="94"/>
                  </a:lnTo>
                  <a:lnTo>
                    <a:pt x="393" y="96"/>
                  </a:lnTo>
                  <a:lnTo>
                    <a:pt x="395" y="98"/>
                  </a:lnTo>
                  <a:lnTo>
                    <a:pt x="396" y="100"/>
                  </a:lnTo>
                  <a:lnTo>
                    <a:pt x="398" y="102"/>
                  </a:lnTo>
                  <a:lnTo>
                    <a:pt x="399" y="103"/>
                  </a:lnTo>
                  <a:lnTo>
                    <a:pt x="400" y="104"/>
                  </a:lnTo>
                  <a:lnTo>
                    <a:pt x="401" y="105"/>
                  </a:lnTo>
                  <a:lnTo>
                    <a:pt x="402" y="106"/>
                  </a:lnTo>
                  <a:lnTo>
                    <a:pt x="403" y="106"/>
                  </a:lnTo>
                  <a:lnTo>
                    <a:pt x="405" y="107"/>
                  </a:lnTo>
                  <a:lnTo>
                    <a:pt x="407" y="108"/>
                  </a:lnTo>
                  <a:lnTo>
                    <a:pt x="412" y="110"/>
                  </a:lnTo>
                  <a:lnTo>
                    <a:pt x="413" y="111"/>
                  </a:lnTo>
                  <a:lnTo>
                    <a:pt x="415" y="112"/>
                  </a:lnTo>
                  <a:lnTo>
                    <a:pt x="417" y="113"/>
                  </a:lnTo>
                  <a:lnTo>
                    <a:pt x="418" y="115"/>
                  </a:lnTo>
                  <a:lnTo>
                    <a:pt x="419" y="116"/>
                  </a:lnTo>
                  <a:lnTo>
                    <a:pt x="421" y="118"/>
                  </a:lnTo>
                  <a:lnTo>
                    <a:pt x="422" y="121"/>
                  </a:lnTo>
                  <a:lnTo>
                    <a:pt x="423" y="124"/>
                  </a:lnTo>
                  <a:lnTo>
                    <a:pt x="424" y="126"/>
                  </a:lnTo>
                  <a:lnTo>
                    <a:pt x="425" y="129"/>
                  </a:lnTo>
                  <a:lnTo>
                    <a:pt x="425" y="131"/>
                  </a:lnTo>
                  <a:lnTo>
                    <a:pt x="425" y="134"/>
                  </a:lnTo>
                  <a:lnTo>
                    <a:pt x="425" y="139"/>
                  </a:lnTo>
                  <a:lnTo>
                    <a:pt x="425" y="145"/>
                  </a:lnTo>
                  <a:lnTo>
                    <a:pt x="425" y="146"/>
                  </a:lnTo>
                  <a:lnTo>
                    <a:pt x="426" y="148"/>
                  </a:lnTo>
                  <a:lnTo>
                    <a:pt x="426" y="151"/>
                  </a:lnTo>
                  <a:lnTo>
                    <a:pt x="426" y="153"/>
                  </a:lnTo>
                  <a:lnTo>
                    <a:pt x="427" y="154"/>
                  </a:lnTo>
                  <a:lnTo>
                    <a:pt x="427" y="155"/>
                  </a:lnTo>
                  <a:lnTo>
                    <a:pt x="428" y="156"/>
                  </a:lnTo>
                  <a:lnTo>
                    <a:pt x="428" y="156"/>
                  </a:lnTo>
                  <a:lnTo>
                    <a:pt x="428" y="157"/>
                  </a:lnTo>
                  <a:lnTo>
                    <a:pt x="429" y="157"/>
                  </a:lnTo>
                  <a:lnTo>
                    <a:pt x="430" y="158"/>
                  </a:lnTo>
                  <a:lnTo>
                    <a:pt x="431" y="158"/>
                  </a:lnTo>
                  <a:lnTo>
                    <a:pt x="432" y="158"/>
                  </a:lnTo>
                  <a:lnTo>
                    <a:pt x="432" y="158"/>
                  </a:lnTo>
                  <a:lnTo>
                    <a:pt x="433" y="158"/>
                  </a:lnTo>
                  <a:lnTo>
                    <a:pt x="434" y="158"/>
                  </a:lnTo>
                  <a:lnTo>
                    <a:pt x="435" y="158"/>
                  </a:lnTo>
                  <a:lnTo>
                    <a:pt x="436" y="157"/>
                  </a:lnTo>
                  <a:lnTo>
                    <a:pt x="437" y="156"/>
                  </a:lnTo>
                  <a:lnTo>
                    <a:pt x="438" y="156"/>
                  </a:lnTo>
                  <a:lnTo>
                    <a:pt x="439" y="155"/>
                  </a:lnTo>
                  <a:lnTo>
                    <a:pt x="441" y="153"/>
                  </a:lnTo>
                  <a:lnTo>
                    <a:pt x="445" y="148"/>
                  </a:lnTo>
                  <a:lnTo>
                    <a:pt x="447" y="147"/>
                  </a:lnTo>
                  <a:lnTo>
                    <a:pt x="448" y="146"/>
                  </a:lnTo>
                  <a:lnTo>
                    <a:pt x="449" y="145"/>
                  </a:lnTo>
                  <a:lnTo>
                    <a:pt x="450" y="145"/>
                  </a:lnTo>
                  <a:lnTo>
                    <a:pt x="451" y="144"/>
                  </a:lnTo>
                  <a:lnTo>
                    <a:pt x="452" y="144"/>
                  </a:lnTo>
                  <a:lnTo>
                    <a:pt x="453" y="144"/>
                  </a:lnTo>
                  <a:lnTo>
                    <a:pt x="453" y="144"/>
                  </a:lnTo>
                  <a:lnTo>
                    <a:pt x="454" y="144"/>
                  </a:lnTo>
                  <a:lnTo>
                    <a:pt x="455" y="144"/>
                  </a:lnTo>
                  <a:lnTo>
                    <a:pt x="457" y="144"/>
                  </a:lnTo>
                  <a:lnTo>
                    <a:pt x="459" y="144"/>
                  </a:lnTo>
                  <a:lnTo>
                    <a:pt x="461" y="145"/>
                  </a:lnTo>
                  <a:lnTo>
                    <a:pt x="463" y="146"/>
                  </a:lnTo>
                  <a:lnTo>
                    <a:pt x="466" y="147"/>
                  </a:lnTo>
                  <a:lnTo>
                    <a:pt x="471" y="149"/>
                  </a:lnTo>
                  <a:lnTo>
                    <a:pt x="473" y="151"/>
                  </a:lnTo>
                  <a:lnTo>
                    <a:pt x="477" y="152"/>
                  </a:lnTo>
                  <a:lnTo>
                    <a:pt x="482" y="154"/>
                  </a:lnTo>
                  <a:lnTo>
                    <a:pt x="485" y="155"/>
                  </a:lnTo>
                  <a:lnTo>
                    <a:pt x="487" y="156"/>
                  </a:lnTo>
                  <a:lnTo>
                    <a:pt x="491" y="158"/>
                  </a:lnTo>
                  <a:lnTo>
                    <a:pt x="492" y="159"/>
                  </a:lnTo>
                  <a:lnTo>
                    <a:pt x="493" y="159"/>
                  </a:lnTo>
                  <a:lnTo>
                    <a:pt x="493" y="159"/>
                  </a:lnTo>
                  <a:lnTo>
                    <a:pt x="493" y="159"/>
                  </a:lnTo>
                  <a:lnTo>
                    <a:pt x="494" y="159"/>
                  </a:lnTo>
                  <a:lnTo>
                    <a:pt x="493" y="159"/>
                  </a:lnTo>
                  <a:lnTo>
                    <a:pt x="493" y="160"/>
                  </a:lnTo>
                  <a:lnTo>
                    <a:pt x="494" y="161"/>
                  </a:lnTo>
                  <a:lnTo>
                    <a:pt x="494" y="162"/>
                  </a:lnTo>
                  <a:lnTo>
                    <a:pt x="494" y="163"/>
                  </a:lnTo>
                  <a:lnTo>
                    <a:pt x="495" y="165"/>
                  </a:lnTo>
                  <a:lnTo>
                    <a:pt x="496" y="167"/>
                  </a:lnTo>
                  <a:lnTo>
                    <a:pt x="497" y="169"/>
                  </a:lnTo>
                  <a:lnTo>
                    <a:pt x="498" y="172"/>
                  </a:lnTo>
                  <a:lnTo>
                    <a:pt x="500" y="174"/>
                  </a:lnTo>
                  <a:lnTo>
                    <a:pt x="503" y="179"/>
                  </a:lnTo>
                  <a:lnTo>
                    <a:pt x="505" y="182"/>
                  </a:lnTo>
                  <a:lnTo>
                    <a:pt x="505" y="183"/>
                  </a:lnTo>
                  <a:lnTo>
                    <a:pt x="506" y="185"/>
                  </a:lnTo>
                  <a:lnTo>
                    <a:pt x="506" y="186"/>
                  </a:lnTo>
                  <a:lnTo>
                    <a:pt x="507" y="187"/>
                  </a:lnTo>
                  <a:lnTo>
                    <a:pt x="507" y="189"/>
                  </a:lnTo>
                  <a:lnTo>
                    <a:pt x="507" y="191"/>
                  </a:lnTo>
                  <a:lnTo>
                    <a:pt x="507" y="193"/>
                  </a:lnTo>
                  <a:lnTo>
                    <a:pt x="506" y="199"/>
                  </a:lnTo>
                  <a:lnTo>
                    <a:pt x="506" y="201"/>
                  </a:lnTo>
                  <a:lnTo>
                    <a:pt x="506" y="203"/>
                  </a:lnTo>
                  <a:lnTo>
                    <a:pt x="506" y="210"/>
                  </a:lnTo>
                  <a:lnTo>
                    <a:pt x="506" y="220"/>
                  </a:lnTo>
                  <a:lnTo>
                    <a:pt x="507" y="222"/>
                  </a:lnTo>
                  <a:lnTo>
                    <a:pt x="507" y="224"/>
                  </a:lnTo>
                  <a:lnTo>
                    <a:pt x="507" y="227"/>
                  </a:lnTo>
                  <a:lnTo>
                    <a:pt x="508" y="231"/>
                  </a:lnTo>
                  <a:lnTo>
                    <a:pt x="509" y="234"/>
                  </a:lnTo>
                  <a:lnTo>
                    <a:pt x="510" y="239"/>
                  </a:lnTo>
                  <a:lnTo>
                    <a:pt x="511" y="241"/>
                  </a:lnTo>
                  <a:lnTo>
                    <a:pt x="511" y="242"/>
                  </a:lnTo>
                  <a:lnTo>
                    <a:pt x="511" y="244"/>
                  </a:lnTo>
                  <a:lnTo>
                    <a:pt x="511" y="247"/>
                  </a:lnTo>
                  <a:lnTo>
                    <a:pt x="511" y="249"/>
                  </a:lnTo>
                  <a:lnTo>
                    <a:pt x="511" y="250"/>
                  </a:lnTo>
                  <a:lnTo>
                    <a:pt x="511" y="251"/>
                  </a:lnTo>
                  <a:lnTo>
                    <a:pt x="511" y="252"/>
                  </a:lnTo>
                  <a:lnTo>
                    <a:pt x="512" y="254"/>
                  </a:lnTo>
                  <a:lnTo>
                    <a:pt x="515" y="259"/>
                  </a:lnTo>
                  <a:lnTo>
                    <a:pt x="516" y="263"/>
                  </a:lnTo>
                  <a:lnTo>
                    <a:pt x="517" y="264"/>
                  </a:lnTo>
                  <a:lnTo>
                    <a:pt x="517" y="265"/>
                  </a:lnTo>
                  <a:lnTo>
                    <a:pt x="518" y="266"/>
                  </a:lnTo>
                  <a:lnTo>
                    <a:pt x="518" y="267"/>
                  </a:lnTo>
                  <a:lnTo>
                    <a:pt x="518" y="268"/>
                  </a:lnTo>
                  <a:lnTo>
                    <a:pt x="518" y="269"/>
                  </a:lnTo>
                  <a:lnTo>
                    <a:pt x="517" y="270"/>
                  </a:lnTo>
                  <a:lnTo>
                    <a:pt x="517" y="272"/>
                  </a:lnTo>
                  <a:lnTo>
                    <a:pt x="515" y="277"/>
                  </a:lnTo>
                  <a:lnTo>
                    <a:pt x="514" y="280"/>
                  </a:lnTo>
                  <a:lnTo>
                    <a:pt x="514" y="283"/>
                  </a:lnTo>
                  <a:lnTo>
                    <a:pt x="514" y="284"/>
                  </a:lnTo>
                  <a:lnTo>
                    <a:pt x="514" y="286"/>
                  </a:lnTo>
                  <a:lnTo>
                    <a:pt x="514" y="287"/>
                  </a:lnTo>
                  <a:lnTo>
                    <a:pt x="514" y="288"/>
                  </a:lnTo>
                  <a:lnTo>
                    <a:pt x="514" y="290"/>
                  </a:lnTo>
                  <a:lnTo>
                    <a:pt x="515" y="291"/>
                  </a:lnTo>
                  <a:lnTo>
                    <a:pt x="517" y="295"/>
                  </a:lnTo>
                  <a:lnTo>
                    <a:pt x="518" y="298"/>
                  </a:lnTo>
                  <a:lnTo>
                    <a:pt x="521" y="304"/>
                  </a:lnTo>
                  <a:lnTo>
                    <a:pt x="522" y="305"/>
                  </a:lnTo>
                  <a:lnTo>
                    <a:pt x="524" y="308"/>
                  </a:lnTo>
                  <a:lnTo>
                    <a:pt x="528" y="312"/>
                  </a:lnTo>
                  <a:lnTo>
                    <a:pt x="530" y="316"/>
                  </a:lnTo>
                  <a:lnTo>
                    <a:pt x="531" y="317"/>
                  </a:lnTo>
                  <a:lnTo>
                    <a:pt x="531" y="318"/>
                  </a:lnTo>
                  <a:lnTo>
                    <a:pt x="531" y="319"/>
                  </a:lnTo>
                  <a:lnTo>
                    <a:pt x="532" y="320"/>
                  </a:lnTo>
                  <a:lnTo>
                    <a:pt x="532" y="321"/>
                  </a:lnTo>
                  <a:lnTo>
                    <a:pt x="532" y="322"/>
                  </a:lnTo>
                  <a:lnTo>
                    <a:pt x="532" y="323"/>
                  </a:lnTo>
                  <a:lnTo>
                    <a:pt x="532" y="324"/>
                  </a:lnTo>
                  <a:lnTo>
                    <a:pt x="531" y="325"/>
                  </a:lnTo>
                  <a:lnTo>
                    <a:pt x="531" y="326"/>
                  </a:lnTo>
                  <a:lnTo>
                    <a:pt x="530" y="326"/>
                  </a:lnTo>
                  <a:lnTo>
                    <a:pt x="529" y="327"/>
                  </a:lnTo>
                  <a:lnTo>
                    <a:pt x="528" y="327"/>
                  </a:lnTo>
                  <a:lnTo>
                    <a:pt x="527" y="328"/>
                  </a:lnTo>
                  <a:lnTo>
                    <a:pt x="525" y="329"/>
                  </a:lnTo>
                  <a:lnTo>
                    <a:pt x="523" y="330"/>
                  </a:lnTo>
                  <a:lnTo>
                    <a:pt x="521" y="330"/>
                  </a:lnTo>
                  <a:lnTo>
                    <a:pt x="520" y="330"/>
                  </a:lnTo>
                  <a:lnTo>
                    <a:pt x="518" y="330"/>
                  </a:lnTo>
                  <a:lnTo>
                    <a:pt x="517" y="330"/>
                  </a:lnTo>
                  <a:lnTo>
                    <a:pt x="516" y="330"/>
                  </a:lnTo>
                  <a:lnTo>
                    <a:pt x="515" y="330"/>
                  </a:lnTo>
                  <a:lnTo>
                    <a:pt x="513" y="329"/>
                  </a:lnTo>
                  <a:lnTo>
                    <a:pt x="511" y="328"/>
                  </a:lnTo>
                  <a:lnTo>
                    <a:pt x="509" y="328"/>
                  </a:lnTo>
                  <a:lnTo>
                    <a:pt x="507" y="328"/>
                  </a:lnTo>
                  <a:lnTo>
                    <a:pt x="506" y="328"/>
                  </a:lnTo>
                  <a:lnTo>
                    <a:pt x="505" y="328"/>
                  </a:lnTo>
                  <a:lnTo>
                    <a:pt x="502" y="329"/>
                  </a:lnTo>
                  <a:lnTo>
                    <a:pt x="498" y="330"/>
                  </a:lnTo>
                  <a:lnTo>
                    <a:pt x="497" y="331"/>
                  </a:lnTo>
                  <a:lnTo>
                    <a:pt x="496" y="331"/>
                  </a:lnTo>
                  <a:lnTo>
                    <a:pt x="495" y="331"/>
                  </a:lnTo>
                  <a:lnTo>
                    <a:pt x="494" y="331"/>
                  </a:lnTo>
                  <a:lnTo>
                    <a:pt x="493" y="331"/>
                  </a:lnTo>
                  <a:lnTo>
                    <a:pt x="491" y="330"/>
                  </a:lnTo>
                  <a:lnTo>
                    <a:pt x="490" y="330"/>
                  </a:lnTo>
                  <a:lnTo>
                    <a:pt x="488" y="329"/>
                  </a:lnTo>
                  <a:lnTo>
                    <a:pt x="487" y="328"/>
                  </a:lnTo>
                  <a:lnTo>
                    <a:pt x="485" y="327"/>
                  </a:lnTo>
                  <a:lnTo>
                    <a:pt x="484" y="326"/>
                  </a:lnTo>
                  <a:lnTo>
                    <a:pt x="483" y="325"/>
                  </a:lnTo>
                  <a:lnTo>
                    <a:pt x="482" y="324"/>
                  </a:lnTo>
                  <a:lnTo>
                    <a:pt x="480" y="321"/>
                  </a:lnTo>
                  <a:lnTo>
                    <a:pt x="478" y="318"/>
                  </a:lnTo>
                  <a:lnTo>
                    <a:pt x="477" y="317"/>
                  </a:lnTo>
                  <a:lnTo>
                    <a:pt x="477" y="317"/>
                  </a:lnTo>
                  <a:lnTo>
                    <a:pt x="476" y="316"/>
                  </a:lnTo>
                  <a:lnTo>
                    <a:pt x="475" y="316"/>
                  </a:lnTo>
                  <a:lnTo>
                    <a:pt x="474" y="315"/>
                  </a:lnTo>
                  <a:lnTo>
                    <a:pt x="473" y="315"/>
                  </a:lnTo>
                  <a:lnTo>
                    <a:pt x="473" y="316"/>
                  </a:lnTo>
                  <a:lnTo>
                    <a:pt x="472" y="316"/>
                  </a:lnTo>
                  <a:lnTo>
                    <a:pt x="472" y="316"/>
                  </a:lnTo>
                  <a:lnTo>
                    <a:pt x="471" y="317"/>
                  </a:lnTo>
                  <a:lnTo>
                    <a:pt x="470" y="318"/>
                  </a:lnTo>
                  <a:lnTo>
                    <a:pt x="469" y="319"/>
                  </a:lnTo>
                  <a:lnTo>
                    <a:pt x="466" y="321"/>
                  </a:lnTo>
                  <a:lnTo>
                    <a:pt x="463" y="324"/>
                  </a:lnTo>
                  <a:lnTo>
                    <a:pt x="460" y="327"/>
                  </a:lnTo>
                  <a:lnTo>
                    <a:pt x="459" y="328"/>
                  </a:lnTo>
                  <a:lnTo>
                    <a:pt x="458" y="329"/>
                  </a:lnTo>
                  <a:lnTo>
                    <a:pt x="457" y="330"/>
                  </a:lnTo>
                  <a:lnTo>
                    <a:pt x="457" y="331"/>
                  </a:lnTo>
                  <a:lnTo>
                    <a:pt x="456" y="332"/>
                  </a:lnTo>
                  <a:lnTo>
                    <a:pt x="456" y="333"/>
                  </a:lnTo>
                  <a:lnTo>
                    <a:pt x="456" y="334"/>
                  </a:lnTo>
                  <a:lnTo>
                    <a:pt x="456" y="335"/>
                  </a:lnTo>
                  <a:lnTo>
                    <a:pt x="456" y="337"/>
                  </a:lnTo>
                  <a:lnTo>
                    <a:pt x="457" y="341"/>
                  </a:lnTo>
                  <a:lnTo>
                    <a:pt x="457" y="342"/>
                  </a:lnTo>
                  <a:lnTo>
                    <a:pt x="457" y="343"/>
                  </a:lnTo>
                  <a:lnTo>
                    <a:pt x="457" y="344"/>
                  </a:lnTo>
                  <a:lnTo>
                    <a:pt x="456" y="345"/>
                  </a:lnTo>
                  <a:lnTo>
                    <a:pt x="456" y="347"/>
                  </a:lnTo>
                  <a:lnTo>
                    <a:pt x="455" y="348"/>
                  </a:lnTo>
                  <a:lnTo>
                    <a:pt x="454" y="348"/>
                  </a:lnTo>
                  <a:lnTo>
                    <a:pt x="454" y="349"/>
                  </a:lnTo>
                  <a:lnTo>
                    <a:pt x="451" y="350"/>
                  </a:lnTo>
                  <a:lnTo>
                    <a:pt x="450" y="351"/>
                  </a:lnTo>
                  <a:lnTo>
                    <a:pt x="449" y="352"/>
                  </a:lnTo>
                  <a:lnTo>
                    <a:pt x="448" y="353"/>
                  </a:lnTo>
                  <a:lnTo>
                    <a:pt x="446" y="353"/>
                  </a:lnTo>
                  <a:lnTo>
                    <a:pt x="445" y="354"/>
                  </a:lnTo>
                  <a:lnTo>
                    <a:pt x="443" y="354"/>
                  </a:lnTo>
                  <a:lnTo>
                    <a:pt x="441" y="354"/>
                  </a:lnTo>
                  <a:lnTo>
                    <a:pt x="440" y="354"/>
                  </a:lnTo>
                  <a:lnTo>
                    <a:pt x="439" y="354"/>
                  </a:lnTo>
                  <a:lnTo>
                    <a:pt x="438" y="354"/>
                  </a:lnTo>
                  <a:lnTo>
                    <a:pt x="437" y="354"/>
                  </a:lnTo>
                  <a:lnTo>
                    <a:pt x="437" y="353"/>
                  </a:lnTo>
                  <a:lnTo>
                    <a:pt x="436" y="353"/>
                  </a:lnTo>
                  <a:lnTo>
                    <a:pt x="436" y="352"/>
                  </a:lnTo>
                  <a:lnTo>
                    <a:pt x="435" y="352"/>
                  </a:lnTo>
                  <a:lnTo>
                    <a:pt x="434" y="351"/>
                  </a:lnTo>
                  <a:lnTo>
                    <a:pt x="433" y="350"/>
                  </a:lnTo>
                  <a:lnTo>
                    <a:pt x="433" y="349"/>
                  </a:lnTo>
                  <a:lnTo>
                    <a:pt x="433" y="348"/>
                  </a:lnTo>
                  <a:lnTo>
                    <a:pt x="433" y="347"/>
                  </a:lnTo>
                  <a:lnTo>
                    <a:pt x="432" y="345"/>
                  </a:lnTo>
                  <a:lnTo>
                    <a:pt x="431" y="344"/>
                  </a:lnTo>
                  <a:lnTo>
                    <a:pt x="431" y="343"/>
                  </a:lnTo>
                  <a:lnTo>
                    <a:pt x="430" y="342"/>
                  </a:lnTo>
                  <a:lnTo>
                    <a:pt x="430" y="342"/>
                  </a:lnTo>
                  <a:lnTo>
                    <a:pt x="429" y="342"/>
                  </a:lnTo>
                  <a:lnTo>
                    <a:pt x="429" y="341"/>
                  </a:lnTo>
                  <a:lnTo>
                    <a:pt x="428" y="341"/>
                  </a:lnTo>
                  <a:lnTo>
                    <a:pt x="425" y="342"/>
                  </a:lnTo>
                  <a:lnTo>
                    <a:pt x="424" y="342"/>
                  </a:lnTo>
                  <a:lnTo>
                    <a:pt x="423" y="342"/>
                  </a:lnTo>
                  <a:lnTo>
                    <a:pt x="422" y="341"/>
                  </a:lnTo>
                  <a:lnTo>
                    <a:pt x="420" y="340"/>
                  </a:lnTo>
                  <a:lnTo>
                    <a:pt x="417" y="339"/>
                  </a:lnTo>
                  <a:lnTo>
                    <a:pt x="415" y="338"/>
                  </a:lnTo>
                  <a:lnTo>
                    <a:pt x="412" y="337"/>
                  </a:lnTo>
                  <a:lnTo>
                    <a:pt x="411" y="336"/>
                  </a:lnTo>
                  <a:lnTo>
                    <a:pt x="410" y="336"/>
                  </a:lnTo>
                  <a:lnTo>
                    <a:pt x="409" y="335"/>
                  </a:lnTo>
                  <a:lnTo>
                    <a:pt x="406" y="335"/>
                  </a:lnTo>
                  <a:lnTo>
                    <a:pt x="405" y="334"/>
                  </a:lnTo>
                  <a:lnTo>
                    <a:pt x="403" y="334"/>
                  </a:lnTo>
                  <a:lnTo>
                    <a:pt x="401" y="333"/>
                  </a:lnTo>
                  <a:lnTo>
                    <a:pt x="399" y="332"/>
                  </a:lnTo>
                  <a:lnTo>
                    <a:pt x="395" y="331"/>
                  </a:lnTo>
                  <a:lnTo>
                    <a:pt x="394" y="330"/>
                  </a:lnTo>
                  <a:lnTo>
                    <a:pt x="392" y="330"/>
                  </a:lnTo>
                  <a:lnTo>
                    <a:pt x="390" y="329"/>
                  </a:lnTo>
                  <a:lnTo>
                    <a:pt x="389" y="329"/>
                  </a:lnTo>
                  <a:lnTo>
                    <a:pt x="388" y="329"/>
                  </a:lnTo>
                  <a:lnTo>
                    <a:pt x="387" y="329"/>
                  </a:lnTo>
                  <a:lnTo>
                    <a:pt x="386" y="329"/>
                  </a:lnTo>
                  <a:lnTo>
                    <a:pt x="385" y="329"/>
                  </a:lnTo>
                  <a:lnTo>
                    <a:pt x="384" y="329"/>
                  </a:lnTo>
                  <a:lnTo>
                    <a:pt x="383" y="329"/>
                  </a:lnTo>
                  <a:lnTo>
                    <a:pt x="382" y="330"/>
                  </a:lnTo>
                  <a:lnTo>
                    <a:pt x="381" y="330"/>
                  </a:lnTo>
                  <a:lnTo>
                    <a:pt x="380" y="331"/>
                  </a:lnTo>
                  <a:lnTo>
                    <a:pt x="379" y="332"/>
                  </a:lnTo>
                  <a:lnTo>
                    <a:pt x="378" y="333"/>
                  </a:lnTo>
                  <a:lnTo>
                    <a:pt x="375" y="336"/>
                  </a:lnTo>
                  <a:lnTo>
                    <a:pt x="373" y="339"/>
                  </a:lnTo>
                  <a:lnTo>
                    <a:pt x="371" y="341"/>
                  </a:lnTo>
                  <a:lnTo>
                    <a:pt x="370" y="342"/>
                  </a:lnTo>
                  <a:lnTo>
                    <a:pt x="369" y="343"/>
                  </a:lnTo>
                  <a:lnTo>
                    <a:pt x="369" y="343"/>
                  </a:lnTo>
                  <a:lnTo>
                    <a:pt x="368" y="343"/>
                  </a:lnTo>
                  <a:lnTo>
                    <a:pt x="366" y="344"/>
                  </a:lnTo>
                  <a:lnTo>
                    <a:pt x="365" y="344"/>
                  </a:lnTo>
                  <a:lnTo>
                    <a:pt x="364" y="344"/>
                  </a:lnTo>
                  <a:lnTo>
                    <a:pt x="363" y="344"/>
                  </a:lnTo>
                  <a:lnTo>
                    <a:pt x="362" y="344"/>
                  </a:lnTo>
                  <a:lnTo>
                    <a:pt x="360" y="343"/>
                  </a:lnTo>
                  <a:lnTo>
                    <a:pt x="359" y="343"/>
                  </a:lnTo>
                  <a:lnTo>
                    <a:pt x="356" y="342"/>
                  </a:lnTo>
                  <a:lnTo>
                    <a:pt x="354" y="341"/>
                  </a:lnTo>
                  <a:lnTo>
                    <a:pt x="352" y="340"/>
                  </a:lnTo>
                  <a:lnTo>
                    <a:pt x="350" y="339"/>
                  </a:lnTo>
                  <a:lnTo>
                    <a:pt x="348" y="338"/>
                  </a:lnTo>
                  <a:lnTo>
                    <a:pt x="342" y="335"/>
                  </a:lnTo>
                  <a:lnTo>
                    <a:pt x="340" y="334"/>
                  </a:lnTo>
                  <a:lnTo>
                    <a:pt x="337" y="332"/>
                  </a:lnTo>
                  <a:lnTo>
                    <a:pt x="335" y="331"/>
                  </a:lnTo>
                  <a:lnTo>
                    <a:pt x="334" y="330"/>
                  </a:lnTo>
                  <a:lnTo>
                    <a:pt x="333" y="329"/>
                  </a:lnTo>
                  <a:lnTo>
                    <a:pt x="333" y="328"/>
                  </a:lnTo>
                  <a:lnTo>
                    <a:pt x="331" y="327"/>
                  </a:lnTo>
                  <a:lnTo>
                    <a:pt x="330" y="327"/>
                  </a:lnTo>
                  <a:lnTo>
                    <a:pt x="324" y="324"/>
                  </a:lnTo>
                  <a:lnTo>
                    <a:pt x="321" y="323"/>
                  </a:lnTo>
                  <a:lnTo>
                    <a:pt x="319" y="322"/>
                  </a:lnTo>
                  <a:lnTo>
                    <a:pt x="318" y="321"/>
                  </a:lnTo>
                  <a:lnTo>
                    <a:pt x="317" y="320"/>
                  </a:lnTo>
                  <a:lnTo>
                    <a:pt x="316" y="320"/>
                  </a:lnTo>
                  <a:lnTo>
                    <a:pt x="315" y="318"/>
                  </a:lnTo>
                  <a:lnTo>
                    <a:pt x="314" y="318"/>
                  </a:lnTo>
                  <a:lnTo>
                    <a:pt x="313" y="317"/>
                  </a:lnTo>
                  <a:lnTo>
                    <a:pt x="312" y="315"/>
                  </a:lnTo>
                  <a:lnTo>
                    <a:pt x="310" y="311"/>
                  </a:lnTo>
                  <a:lnTo>
                    <a:pt x="309" y="310"/>
                  </a:lnTo>
                  <a:lnTo>
                    <a:pt x="308" y="308"/>
                  </a:lnTo>
                  <a:lnTo>
                    <a:pt x="307" y="307"/>
                  </a:lnTo>
                  <a:lnTo>
                    <a:pt x="306" y="306"/>
                  </a:lnTo>
                  <a:lnTo>
                    <a:pt x="305" y="305"/>
                  </a:lnTo>
                  <a:lnTo>
                    <a:pt x="302" y="303"/>
                  </a:lnTo>
                  <a:lnTo>
                    <a:pt x="300" y="301"/>
                  </a:lnTo>
                  <a:lnTo>
                    <a:pt x="298" y="300"/>
                  </a:lnTo>
                  <a:lnTo>
                    <a:pt x="297" y="299"/>
                  </a:lnTo>
                  <a:lnTo>
                    <a:pt x="296" y="299"/>
                  </a:lnTo>
                  <a:lnTo>
                    <a:pt x="293" y="298"/>
                  </a:lnTo>
                  <a:lnTo>
                    <a:pt x="292" y="297"/>
                  </a:lnTo>
                  <a:lnTo>
                    <a:pt x="290" y="297"/>
                  </a:lnTo>
                  <a:lnTo>
                    <a:pt x="289" y="296"/>
                  </a:lnTo>
                  <a:lnTo>
                    <a:pt x="289" y="295"/>
                  </a:lnTo>
                  <a:lnTo>
                    <a:pt x="288" y="295"/>
                  </a:lnTo>
                  <a:lnTo>
                    <a:pt x="285" y="292"/>
                  </a:lnTo>
                  <a:lnTo>
                    <a:pt x="279" y="285"/>
                  </a:lnTo>
                  <a:lnTo>
                    <a:pt x="275" y="281"/>
                  </a:lnTo>
                  <a:lnTo>
                    <a:pt x="274" y="279"/>
                  </a:lnTo>
                  <a:lnTo>
                    <a:pt x="273" y="278"/>
                  </a:lnTo>
                  <a:lnTo>
                    <a:pt x="272" y="278"/>
                  </a:lnTo>
                  <a:lnTo>
                    <a:pt x="271" y="277"/>
                  </a:lnTo>
                  <a:lnTo>
                    <a:pt x="270" y="277"/>
                  </a:lnTo>
                  <a:lnTo>
                    <a:pt x="269" y="277"/>
                  </a:lnTo>
                  <a:lnTo>
                    <a:pt x="265" y="276"/>
                  </a:lnTo>
                  <a:lnTo>
                    <a:pt x="264" y="276"/>
                  </a:lnTo>
                  <a:lnTo>
                    <a:pt x="263" y="276"/>
                  </a:lnTo>
                  <a:lnTo>
                    <a:pt x="262" y="276"/>
                  </a:lnTo>
                  <a:lnTo>
                    <a:pt x="261" y="276"/>
                  </a:lnTo>
                  <a:lnTo>
                    <a:pt x="260" y="277"/>
                  </a:lnTo>
                  <a:lnTo>
                    <a:pt x="259" y="278"/>
                  </a:lnTo>
                  <a:lnTo>
                    <a:pt x="257" y="279"/>
                  </a:lnTo>
                  <a:lnTo>
                    <a:pt x="257" y="279"/>
                  </a:lnTo>
                  <a:lnTo>
                    <a:pt x="256" y="279"/>
                  </a:lnTo>
                  <a:lnTo>
                    <a:pt x="255" y="280"/>
                  </a:lnTo>
                  <a:lnTo>
                    <a:pt x="255" y="280"/>
                  </a:lnTo>
                  <a:lnTo>
                    <a:pt x="254" y="280"/>
                  </a:lnTo>
                  <a:lnTo>
                    <a:pt x="253" y="279"/>
                  </a:lnTo>
                  <a:lnTo>
                    <a:pt x="252" y="279"/>
                  </a:lnTo>
                  <a:lnTo>
                    <a:pt x="251" y="278"/>
                  </a:lnTo>
                  <a:lnTo>
                    <a:pt x="251" y="278"/>
                  </a:lnTo>
                  <a:lnTo>
                    <a:pt x="250" y="276"/>
                  </a:lnTo>
                  <a:lnTo>
                    <a:pt x="249" y="275"/>
                  </a:lnTo>
                  <a:lnTo>
                    <a:pt x="248" y="274"/>
                  </a:lnTo>
                  <a:lnTo>
                    <a:pt x="245" y="272"/>
                  </a:lnTo>
                  <a:lnTo>
                    <a:pt x="243" y="271"/>
                  </a:lnTo>
                  <a:lnTo>
                    <a:pt x="242" y="270"/>
                  </a:lnTo>
                  <a:lnTo>
                    <a:pt x="239" y="267"/>
                  </a:lnTo>
                  <a:lnTo>
                    <a:pt x="239" y="267"/>
                  </a:lnTo>
                  <a:lnTo>
                    <a:pt x="238" y="266"/>
                  </a:lnTo>
                  <a:lnTo>
                    <a:pt x="237" y="266"/>
                  </a:lnTo>
                  <a:lnTo>
                    <a:pt x="236" y="265"/>
                  </a:lnTo>
                  <a:lnTo>
                    <a:pt x="236" y="265"/>
                  </a:lnTo>
                  <a:lnTo>
                    <a:pt x="235" y="265"/>
                  </a:lnTo>
                  <a:lnTo>
                    <a:pt x="235" y="266"/>
                  </a:lnTo>
                  <a:lnTo>
                    <a:pt x="235" y="268"/>
                  </a:lnTo>
                  <a:lnTo>
                    <a:pt x="234" y="270"/>
                  </a:lnTo>
                  <a:lnTo>
                    <a:pt x="234" y="271"/>
                  </a:lnTo>
                  <a:lnTo>
                    <a:pt x="233" y="274"/>
                  </a:lnTo>
                  <a:lnTo>
                    <a:pt x="232" y="276"/>
                  </a:lnTo>
                  <a:lnTo>
                    <a:pt x="231" y="278"/>
                  </a:lnTo>
                  <a:lnTo>
                    <a:pt x="231" y="282"/>
                  </a:lnTo>
                  <a:lnTo>
                    <a:pt x="231" y="283"/>
                  </a:lnTo>
                  <a:lnTo>
                    <a:pt x="230" y="284"/>
                  </a:lnTo>
                  <a:lnTo>
                    <a:pt x="230" y="285"/>
                  </a:lnTo>
                  <a:lnTo>
                    <a:pt x="229" y="286"/>
                  </a:lnTo>
                  <a:lnTo>
                    <a:pt x="228" y="287"/>
                  </a:lnTo>
                  <a:lnTo>
                    <a:pt x="228" y="288"/>
                  </a:lnTo>
                  <a:lnTo>
                    <a:pt x="227" y="288"/>
                  </a:lnTo>
                  <a:lnTo>
                    <a:pt x="225" y="289"/>
                  </a:lnTo>
                  <a:lnTo>
                    <a:pt x="220" y="292"/>
                  </a:lnTo>
                  <a:lnTo>
                    <a:pt x="217" y="293"/>
                  </a:lnTo>
                  <a:lnTo>
                    <a:pt x="216" y="294"/>
                  </a:lnTo>
                  <a:lnTo>
                    <a:pt x="214" y="295"/>
                  </a:lnTo>
                  <a:lnTo>
                    <a:pt x="213" y="296"/>
                  </a:lnTo>
                  <a:lnTo>
                    <a:pt x="212" y="297"/>
                  </a:lnTo>
                  <a:lnTo>
                    <a:pt x="212" y="297"/>
                  </a:lnTo>
                  <a:lnTo>
                    <a:pt x="211" y="298"/>
                  </a:lnTo>
                  <a:lnTo>
                    <a:pt x="211" y="299"/>
                  </a:lnTo>
                  <a:lnTo>
                    <a:pt x="211" y="299"/>
                  </a:lnTo>
                  <a:lnTo>
                    <a:pt x="210" y="301"/>
                  </a:lnTo>
                  <a:lnTo>
                    <a:pt x="210" y="304"/>
                  </a:lnTo>
                  <a:lnTo>
                    <a:pt x="209" y="305"/>
                  </a:lnTo>
                  <a:lnTo>
                    <a:pt x="209" y="306"/>
                  </a:lnTo>
                  <a:lnTo>
                    <a:pt x="208" y="307"/>
                  </a:lnTo>
                  <a:lnTo>
                    <a:pt x="208" y="308"/>
                  </a:lnTo>
                  <a:lnTo>
                    <a:pt x="207" y="308"/>
                  </a:lnTo>
                  <a:lnTo>
                    <a:pt x="206" y="309"/>
                  </a:lnTo>
                  <a:lnTo>
                    <a:pt x="205" y="310"/>
                  </a:lnTo>
                  <a:lnTo>
                    <a:pt x="204" y="311"/>
                  </a:lnTo>
                  <a:lnTo>
                    <a:pt x="203" y="312"/>
                  </a:lnTo>
                  <a:lnTo>
                    <a:pt x="202" y="312"/>
                  </a:lnTo>
                  <a:lnTo>
                    <a:pt x="201" y="313"/>
                  </a:lnTo>
                  <a:lnTo>
                    <a:pt x="200" y="313"/>
                  </a:lnTo>
                  <a:lnTo>
                    <a:pt x="199" y="313"/>
                  </a:lnTo>
                  <a:lnTo>
                    <a:pt x="198" y="313"/>
                  </a:lnTo>
                  <a:lnTo>
                    <a:pt x="197" y="313"/>
                  </a:lnTo>
                  <a:lnTo>
                    <a:pt x="197" y="313"/>
                  </a:lnTo>
                  <a:lnTo>
                    <a:pt x="195" y="313"/>
                  </a:lnTo>
                  <a:lnTo>
                    <a:pt x="193" y="312"/>
                  </a:lnTo>
                  <a:lnTo>
                    <a:pt x="188" y="311"/>
                  </a:lnTo>
                  <a:lnTo>
                    <a:pt x="185" y="310"/>
                  </a:lnTo>
                  <a:lnTo>
                    <a:pt x="182" y="309"/>
                  </a:lnTo>
                  <a:lnTo>
                    <a:pt x="179" y="309"/>
                  </a:lnTo>
                  <a:lnTo>
                    <a:pt x="177" y="309"/>
                  </a:lnTo>
                  <a:lnTo>
                    <a:pt x="176" y="309"/>
                  </a:lnTo>
                  <a:lnTo>
                    <a:pt x="174" y="309"/>
                  </a:lnTo>
                  <a:lnTo>
                    <a:pt x="173" y="309"/>
                  </a:lnTo>
                  <a:lnTo>
                    <a:pt x="172" y="309"/>
                  </a:lnTo>
                  <a:lnTo>
                    <a:pt x="171" y="310"/>
                  </a:lnTo>
                  <a:lnTo>
                    <a:pt x="170" y="310"/>
                  </a:lnTo>
                  <a:lnTo>
                    <a:pt x="170" y="311"/>
                  </a:lnTo>
                  <a:lnTo>
                    <a:pt x="169" y="313"/>
                  </a:lnTo>
                  <a:lnTo>
                    <a:pt x="169" y="314"/>
                  </a:lnTo>
                  <a:lnTo>
                    <a:pt x="168" y="315"/>
                  </a:lnTo>
                  <a:lnTo>
                    <a:pt x="168" y="321"/>
                  </a:lnTo>
                  <a:lnTo>
                    <a:pt x="167" y="323"/>
                  </a:lnTo>
                  <a:lnTo>
                    <a:pt x="167" y="325"/>
                  </a:lnTo>
                  <a:lnTo>
                    <a:pt x="167" y="326"/>
                  </a:lnTo>
                  <a:lnTo>
                    <a:pt x="166" y="327"/>
                  </a:lnTo>
                  <a:lnTo>
                    <a:pt x="165" y="328"/>
                  </a:lnTo>
                  <a:lnTo>
                    <a:pt x="165" y="329"/>
                  </a:lnTo>
                  <a:lnTo>
                    <a:pt x="164" y="330"/>
                  </a:lnTo>
                  <a:lnTo>
                    <a:pt x="163" y="330"/>
                  </a:lnTo>
                  <a:lnTo>
                    <a:pt x="160" y="333"/>
                  </a:lnTo>
                  <a:lnTo>
                    <a:pt x="159" y="333"/>
                  </a:lnTo>
                  <a:lnTo>
                    <a:pt x="158" y="334"/>
                  </a:lnTo>
                  <a:lnTo>
                    <a:pt x="157" y="335"/>
                  </a:lnTo>
                  <a:lnTo>
                    <a:pt x="157" y="336"/>
                  </a:lnTo>
                  <a:lnTo>
                    <a:pt x="154" y="339"/>
                  </a:lnTo>
                  <a:lnTo>
                    <a:pt x="153" y="341"/>
                  </a:lnTo>
                  <a:lnTo>
                    <a:pt x="152" y="342"/>
                  </a:lnTo>
                  <a:lnTo>
                    <a:pt x="151" y="343"/>
                  </a:lnTo>
                  <a:lnTo>
                    <a:pt x="149" y="345"/>
                  </a:lnTo>
                  <a:lnTo>
                    <a:pt x="144" y="348"/>
                  </a:lnTo>
                  <a:lnTo>
                    <a:pt x="141" y="351"/>
                  </a:lnTo>
                  <a:lnTo>
                    <a:pt x="140" y="352"/>
                  </a:lnTo>
                  <a:lnTo>
                    <a:pt x="139" y="352"/>
                  </a:lnTo>
                  <a:lnTo>
                    <a:pt x="139" y="353"/>
                  </a:lnTo>
                  <a:lnTo>
                    <a:pt x="137" y="353"/>
                  </a:lnTo>
                  <a:lnTo>
                    <a:pt x="128" y="353"/>
                  </a:lnTo>
                  <a:lnTo>
                    <a:pt x="127" y="354"/>
                  </a:lnTo>
                  <a:lnTo>
                    <a:pt x="124" y="354"/>
                  </a:lnTo>
                  <a:lnTo>
                    <a:pt x="123" y="354"/>
                  </a:lnTo>
                  <a:lnTo>
                    <a:pt x="120" y="354"/>
                  </a:lnTo>
                  <a:lnTo>
                    <a:pt x="118" y="354"/>
                  </a:lnTo>
                  <a:lnTo>
                    <a:pt x="117" y="355"/>
                  </a:lnTo>
                  <a:lnTo>
                    <a:pt x="112" y="356"/>
                  </a:lnTo>
                  <a:lnTo>
                    <a:pt x="111" y="357"/>
                  </a:lnTo>
                  <a:lnTo>
                    <a:pt x="109" y="357"/>
                  </a:lnTo>
                  <a:lnTo>
                    <a:pt x="108" y="358"/>
                  </a:lnTo>
                  <a:lnTo>
                    <a:pt x="107" y="358"/>
                  </a:lnTo>
                  <a:lnTo>
                    <a:pt x="107" y="358"/>
                  </a:lnTo>
                  <a:lnTo>
                    <a:pt x="106" y="358"/>
                  </a:lnTo>
                  <a:lnTo>
                    <a:pt x="105" y="358"/>
                  </a:lnTo>
                  <a:lnTo>
                    <a:pt x="104" y="358"/>
                  </a:lnTo>
                  <a:lnTo>
                    <a:pt x="103" y="357"/>
                  </a:lnTo>
                  <a:lnTo>
                    <a:pt x="102" y="357"/>
                  </a:lnTo>
                  <a:lnTo>
                    <a:pt x="101" y="356"/>
                  </a:lnTo>
                  <a:lnTo>
                    <a:pt x="100" y="356"/>
                  </a:lnTo>
                  <a:lnTo>
                    <a:pt x="99" y="356"/>
                  </a:lnTo>
                  <a:lnTo>
                    <a:pt x="99" y="355"/>
                  </a:lnTo>
                  <a:lnTo>
                    <a:pt x="98" y="354"/>
                  </a:lnTo>
                  <a:lnTo>
                    <a:pt x="98" y="353"/>
                  </a:lnTo>
                  <a:lnTo>
                    <a:pt x="97" y="352"/>
                  </a:lnTo>
                  <a:lnTo>
                    <a:pt x="97" y="351"/>
                  </a:lnTo>
                  <a:lnTo>
                    <a:pt x="96" y="349"/>
                  </a:lnTo>
                  <a:lnTo>
                    <a:pt x="96" y="347"/>
                  </a:lnTo>
                  <a:lnTo>
                    <a:pt x="95" y="343"/>
                  </a:lnTo>
                  <a:lnTo>
                    <a:pt x="95" y="342"/>
                  </a:lnTo>
                  <a:lnTo>
                    <a:pt x="94" y="341"/>
                  </a:lnTo>
                  <a:lnTo>
                    <a:pt x="94" y="340"/>
                  </a:lnTo>
                  <a:lnTo>
                    <a:pt x="93" y="339"/>
                  </a:lnTo>
                  <a:lnTo>
                    <a:pt x="93" y="339"/>
                  </a:lnTo>
                  <a:lnTo>
                    <a:pt x="92" y="338"/>
                  </a:lnTo>
                  <a:lnTo>
                    <a:pt x="91" y="338"/>
                  </a:lnTo>
                  <a:lnTo>
                    <a:pt x="91" y="338"/>
                  </a:lnTo>
                  <a:lnTo>
                    <a:pt x="90" y="338"/>
                  </a:lnTo>
                  <a:lnTo>
                    <a:pt x="89" y="338"/>
                  </a:lnTo>
                  <a:lnTo>
                    <a:pt x="88" y="339"/>
                  </a:lnTo>
                  <a:lnTo>
                    <a:pt x="86" y="339"/>
                  </a:lnTo>
                  <a:lnTo>
                    <a:pt x="85" y="340"/>
                  </a:lnTo>
                  <a:lnTo>
                    <a:pt x="83" y="341"/>
                  </a:lnTo>
                  <a:lnTo>
                    <a:pt x="82" y="341"/>
                  </a:lnTo>
                  <a:lnTo>
                    <a:pt x="81" y="341"/>
                  </a:lnTo>
                  <a:lnTo>
                    <a:pt x="80" y="341"/>
                  </a:lnTo>
                  <a:lnTo>
                    <a:pt x="79" y="341"/>
                  </a:lnTo>
                  <a:lnTo>
                    <a:pt x="79" y="341"/>
                  </a:lnTo>
                  <a:lnTo>
                    <a:pt x="77" y="341"/>
                  </a:lnTo>
                  <a:lnTo>
                    <a:pt x="76" y="341"/>
                  </a:lnTo>
                  <a:lnTo>
                    <a:pt x="73" y="339"/>
                  </a:lnTo>
                  <a:lnTo>
                    <a:pt x="72" y="339"/>
                  </a:lnTo>
                  <a:lnTo>
                    <a:pt x="70" y="338"/>
                  </a:lnTo>
                  <a:lnTo>
                    <a:pt x="69" y="338"/>
                  </a:lnTo>
                  <a:lnTo>
                    <a:pt x="68" y="339"/>
                  </a:lnTo>
                  <a:lnTo>
                    <a:pt x="67" y="339"/>
                  </a:lnTo>
                  <a:lnTo>
                    <a:pt x="66" y="340"/>
                  </a:lnTo>
                  <a:lnTo>
                    <a:pt x="63" y="341"/>
                  </a:lnTo>
                  <a:lnTo>
                    <a:pt x="62" y="341"/>
                  </a:lnTo>
                  <a:lnTo>
                    <a:pt x="61" y="342"/>
                  </a:lnTo>
                  <a:lnTo>
                    <a:pt x="61" y="342"/>
                  </a:lnTo>
                  <a:lnTo>
                    <a:pt x="60" y="342"/>
                  </a:lnTo>
                  <a:lnTo>
                    <a:pt x="59" y="342"/>
                  </a:lnTo>
                  <a:lnTo>
                    <a:pt x="59" y="341"/>
                  </a:lnTo>
                  <a:lnTo>
                    <a:pt x="58" y="341"/>
                  </a:lnTo>
                  <a:lnTo>
                    <a:pt x="57" y="340"/>
                  </a:lnTo>
                  <a:lnTo>
                    <a:pt x="57" y="340"/>
                  </a:lnTo>
                  <a:lnTo>
                    <a:pt x="56" y="339"/>
                  </a:lnTo>
                  <a:lnTo>
                    <a:pt x="56" y="339"/>
                  </a:lnTo>
                  <a:lnTo>
                    <a:pt x="56" y="339"/>
                  </a:lnTo>
                  <a:lnTo>
                    <a:pt x="56" y="338"/>
                  </a:lnTo>
                  <a:lnTo>
                    <a:pt x="56" y="338"/>
                  </a:lnTo>
                  <a:lnTo>
                    <a:pt x="55" y="336"/>
                  </a:lnTo>
                  <a:lnTo>
                    <a:pt x="54" y="334"/>
                  </a:lnTo>
                  <a:lnTo>
                    <a:pt x="53" y="333"/>
                  </a:lnTo>
                  <a:lnTo>
                    <a:pt x="52" y="332"/>
                  </a:lnTo>
                  <a:lnTo>
                    <a:pt x="51" y="330"/>
                  </a:lnTo>
                  <a:lnTo>
                    <a:pt x="50" y="329"/>
                  </a:lnTo>
                  <a:lnTo>
                    <a:pt x="49" y="328"/>
                  </a:lnTo>
                  <a:lnTo>
                    <a:pt x="47" y="326"/>
                  </a:lnTo>
                  <a:lnTo>
                    <a:pt x="45" y="325"/>
                  </a:lnTo>
                  <a:lnTo>
                    <a:pt x="42" y="323"/>
                  </a:lnTo>
                  <a:lnTo>
                    <a:pt x="40" y="322"/>
                  </a:lnTo>
                  <a:lnTo>
                    <a:pt x="39" y="322"/>
                  </a:lnTo>
                  <a:lnTo>
                    <a:pt x="38" y="320"/>
                  </a:lnTo>
                  <a:lnTo>
                    <a:pt x="38" y="319"/>
                  </a:lnTo>
                  <a:lnTo>
                    <a:pt x="37" y="318"/>
                  </a:lnTo>
                  <a:lnTo>
                    <a:pt x="34" y="313"/>
                  </a:lnTo>
                  <a:lnTo>
                    <a:pt x="30" y="306"/>
                  </a:lnTo>
                  <a:lnTo>
                    <a:pt x="30" y="305"/>
                  </a:lnTo>
                  <a:lnTo>
                    <a:pt x="29" y="303"/>
                  </a:lnTo>
                  <a:lnTo>
                    <a:pt x="26" y="295"/>
                  </a:lnTo>
                  <a:lnTo>
                    <a:pt x="25" y="293"/>
                  </a:lnTo>
                  <a:lnTo>
                    <a:pt x="24" y="291"/>
                  </a:lnTo>
                  <a:lnTo>
                    <a:pt x="23" y="288"/>
                  </a:lnTo>
                  <a:lnTo>
                    <a:pt x="21" y="285"/>
                  </a:lnTo>
                  <a:lnTo>
                    <a:pt x="21" y="284"/>
                  </a:lnTo>
                  <a:lnTo>
                    <a:pt x="19" y="282"/>
                  </a:lnTo>
                  <a:lnTo>
                    <a:pt x="18" y="280"/>
                  </a:lnTo>
                  <a:lnTo>
                    <a:pt x="16" y="278"/>
                  </a:lnTo>
                  <a:lnTo>
                    <a:pt x="15" y="276"/>
                  </a:lnTo>
                  <a:lnTo>
                    <a:pt x="14" y="274"/>
                  </a:lnTo>
                  <a:lnTo>
                    <a:pt x="12" y="268"/>
                  </a:lnTo>
                  <a:lnTo>
                    <a:pt x="9" y="263"/>
                  </a:lnTo>
                  <a:lnTo>
                    <a:pt x="8" y="261"/>
                  </a:lnTo>
                  <a:lnTo>
                    <a:pt x="7" y="258"/>
                  </a:lnTo>
                  <a:lnTo>
                    <a:pt x="7" y="257"/>
                  </a:lnTo>
                  <a:lnTo>
                    <a:pt x="6" y="255"/>
                  </a:lnTo>
                  <a:lnTo>
                    <a:pt x="6" y="251"/>
                  </a:lnTo>
                  <a:lnTo>
                    <a:pt x="5" y="249"/>
                  </a:lnTo>
                  <a:lnTo>
                    <a:pt x="5" y="247"/>
                  </a:lnTo>
                  <a:lnTo>
                    <a:pt x="4" y="243"/>
                  </a:lnTo>
                  <a:lnTo>
                    <a:pt x="3" y="241"/>
                  </a:lnTo>
                  <a:lnTo>
                    <a:pt x="2" y="241"/>
                  </a:lnTo>
                  <a:lnTo>
                    <a:pt x="1" y="238"/>
                  </a:lnTo>
                  <a:lnTo>
                    <a:pt x="1" y="237"/>
                  </a:lnTo>
                  <a:lnTo>
                    <a:pt x="0" y="236"/>
                  </a:lnTo>
                  <a:lnTo>
                    <a:pt x="0" y="235"/>
                  </a:lnTo>
                  <a:lnTo>
                    <a:pt x="0" y="234"/>
                  </a:lnTo>
                  <a:lnTo>
                    <a:pt x="0" y="233"/>
                  </a:lnTo>
                  <a:lnTo>
                    <a:pt x="1" y="231"/>
                  </a:lnTo>
                  <a:lnTo>
                    <a:pt x="1" y="230"/>
                  </a:lnTo>
                  <a:lnTo>
                    <a:pt x="1" y="229"/>
                  </a:lnTo>
                  <a:lnTo>
                    <a:pt x="2" y="228"/>
                  </a:lnTo>
                  <a:lnTo>
                    <a:pt x="2" y="227"/>
                  </a:lnTo>
                  <a:lnTo>
                    <a:pt x="3" y="225"/>
                  </a:lnTo>
                  <a:lnTo>
                    <a:pt x="7" y="220"/>
                  </a:lnTo>
                  <a:lnTo>
                    <a:pt x="8" y="219"/>
                  </a:lnTo>
                  <a:lnTo>
                    <a:pt x="8" y="217"/>
                  </a:lnTo>
                  <a:lnTo>
                    <a:pt x="8" y="216"/>
                  </a:lnTo>
                  <a:lnTo>
                    <a:pt x="9" y="215"/>
                  </a:lnTo>
                  <a:lnTo>
                    <a:pt x="9" y="210"/>
                  </a:lnTo>
                  <a:lnTo>
                    <a:pt x="10" y="209"/>
                  </a:lnTo>
                  <a:lnTo>
                    <a:pt x="10" y="207"/>
                  </a:lnTo>
                  <a:lnTo>
                    <a:pt x="11" y="205"/>
                  </a:lnTo>
                  <a:lnTo>
                    <a:pt x="12" y="203"/>
                  </a:lnTo>
                  <a:lnTo>
                    <a:pt x="12" y="202"/>
                  </a:lnTo>
                  <a:lnTo>
                    <a:pt x="13" y="201"/>
                  </a:lnTo>
                  <a:lnTo>
                    <a:pt x="14" y="200"/>
                  </a:lnTo>
                  <a:lnTo>
                    <a:pt x="15" y="199"/>
                  </a:lnTo>
                  <a:lnTo>
                    <a:pt x="16" y="198"/>
                  </a:lnTo>
                  <a:lnTo>
                    <a:pt x="17" y="197"/>
                  </a:lnTo>
                  <a:lnTo>
                    <a:pt x="22" y="193"/>
                  </a:lnTo>
                  <a:lnTo>
                    <a:pt x="25" y="190"/>
                  </a:lnTo>
                  <a:lnTo>
                    <a:pt x="26" y="189"/>
                  </a:lnTo>
                  <a:lnTo>
                    <a:pt x="27" y="189"/>
                  </a:lnTo>
                  <a:lnTo>
                    <a:pt x="29" y="188"/>
                  </a:lnTo>
                  <a:lnTo>
                    <a:pt x="29" y="188"/>
                  </a:lnTo>
                  <a:lnTo>
                    <a:pt x="29" y="187"/>
                  </a:lnTo>
                  <a:lnTo>
                    <a:pt x="30" y="187"/>
                  </a:lnTo>
                  <a:lnTo>
                    <a:pt x="30" y="186"/>
                  </a:lnTo>
                  <a:lnTo>
                    <a:pt x="31" y="186"/>
                  </a:lnTo>
                  <a:lnTo>
                    <a:pt x="31" y="185"/>
                  </a:lnTo>
                  <a:lnTo>
                    <a:pt x="31" y="182"/>
                  </a:lnTo>
                  <a:lnTo>
                    <a:pt x="31" y="181"/>
                  </a:lnTo>
                  <a:lnTo>
                    <a:pt x="31" y="180"/>
                  </a:lnTo>
                  <a:lnTo>
                    <a:pt x="31" y="178"/>
                  </a:lnTo>
                  <a:lnTo>
                    <a:pt x="32" y="176"/>
                  </a:lnTo>
                  <a:lnTo>
                    <a:pt x="33" y="174"/>
                  </a:lnTo>
                  <a:lnTo>
                    <a:pt x="33" y="172"/>
                  </a:lnTo>
                  <a:lnTo>
                    <a:pt x="34" y="171"/>
                  </a:lnTo>
                  <a:lnTo>
                    <a:pt x="35" y="169"/>
                  </a:lnTo>
                  <a:lnTo>
                    <a:pt x="35" y="168"/>
                  </a:lnTo>
                  <a:lnTo>
                    <a:pt x="36" y="167"/>
                  </a:lnTo>
                  <a:lnTo>
                    <a:pt x="37" y="166"/>
                  </a:lnTo>
                  <a:lnTo>
                    <a:pt x="38" y="165"/>
                  </a:lnTo>
                  <a:lnTo>
                    <a:pt x="40" y="162"/>
                  </a:lnTo>
                  <a:lnTo>
                    <a:pt x="41" y="161"/>
                  </a:lnTo>
                  <a:lnTo>
                    <a:pt x="42" y="160"/>
                  </a:lnTo>
                  <a:lnTo>
                    <a:pt x="42" y="159"/>
                  </a:lnTo>
                  <a:lnTo>
                    <a:pt x="43" y="158"/>
                  </a:lnTo>
                  <a:lnTo>
                    <a:pt x="43" y="157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0"/>
                  </a:lnTo>
                  <a:lnTo>
                    <a:pt x="43" y="148"/>
                  </a:lnTo>
                  <a:lnTo>
                    <a:pt x="43" y="143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3" y="140"/>
                  </a:lnTo>
                  <a:lnTo>
                    <a:pt x="43" y="139"/>
                  </a:lnTo>
                  <a:lnTo>
                    <a:pt x="44" y="139"/>
                  </a:lnTo>
                  <a:lnTo>
                    <a:pt x="44" y="139"/>
                  </a:lnTo>
                  <a:lnTo>
                    <a:pt x="45" y="138"/>
                  </a:lnTo>
                  <a:lnTo>
                    <a:pt x="46" y="138"/>
                  </a:lnTo>
                  <a:lnTo>
                    <a:pt x="49" y="137"/>
                  </a:lnTo>
                  <a:lnTo>
                    <a:pt x="50" y="137"/>
                  </a:lnTo>
                  <a:lnTo>
                    <a:pt x="51" y="137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4" y="138"/>
                  </a:lnTo>
                  <a:lnTo>
                    <a:pt x="57" y="139"/>
                  </a:lnTo>
                  <a:lnTo>
                    <a:pt x="60" y="140"/>
                  </a:lnTo>
                  <a:lnTo>
                    <a:pt x="61" y="140"/>
                  </a:lnTo>
                  <a:lnTo>
                    <a:pt x="64" y="142"/>
                  </a:lnTo>
                  <a:lnTo>
                    <a:pt x="68" y="144"/>
                  </a:lnTo>
                  <a:lnTo>
                    <a:pt x="69" y="145"/>
                  </a:lnTo>
                  <a:lnTo>
                    <a:pt x="71" y="146"/>
                  </a:lnTo>
                  <a:lnTo>
                    <a:pt x="73" y="147"/>
                  </a:lnTo>
                  <a:lnTo>
                    <a:pt x="75" y="147"/>
                  </a:lnTo>
                  <a:lnTo>
                    <a:pt x="76" y="147"/>
                  </a:lnTo>
                  <a:lnTo>
                    <a:pt x="78" y="147"/>
                  </a:lnTo>
                  <a:lnTo>
                    <a:pt x="79" y="148"/>
                  </a:lnTo>
                  <a:lnTo>
                    <a:pt x="80" y="147"/>
                  </a:lnTo>
                  <a:lnTo>
                    <a:pt x="81" y="147"/>
                  </a:lnTo>
                  <a:lnTo>
                    <a:pt x="82" y="147"/>
                  </a:lnTo>
                  <a:lnTo>
                    <a:pt x="83" y="147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5" y="145"/>
                  </a:lnTo>
                  <a:lnTo>
                    <a:pt x="86" y="145"/>
                  </a:lnTo>
                  <a:lnTo>
                    <a:pt x="87" y="144"/>
                  </a:lnTo>
                  <a:lnTo>
                    <a:pt x="87" y="143"/>
                  </a:lnTo>
                  <a:lnTo>
                    <a:pt x="88" y="142"/>
                  </a:lnTo>
                  <a:lnTo>
                    <a:pt x="88" y="141"/>
                  </a:lnTo>
                  <a:lnTo>
                    <a:pt x="89" y="139"/>
                  </a:lnTo>
                  <a:lnTo>
                    <a:pt x="91" y="132"/>
                  </a:lnTo>
                  <a:lnTo>
                    <a:pt x="92" y="130"/>
                  </a:lnTo>
                  <a:lnTo>
                    <a:pt x="93" y="127"/>
                  </a:lnTo>
                  <a:lnTo>
                    <a:pt x="93" y="126"/>
                  </a:lnTo>
                  <a:lnTo>
                    <a:pt x="94" y="125"/>
                  </a:lnTo>
                  <a:lnTo>
                    <a:pt x="94" y="124"/>
                  </a:lnTo>
                  <a:lnTo>
                    <a:pt x="95" y="123"/>
                  </a:lnTo>
                  <a:lnTo>
                    <a:pt x="96" y="123"/>
                  </a:lnTo>
                  <a:lnTo>
                    <a:pt x="97" y="122"/>
                  </a:lnTo>
                  <a:lnTo>
                    <a:pt x="99" y="121"/>
                  </a:lnTo>
                  <a:lnTo>
                    <a:pt x="103" y="118"/>
                  </a:lnTo>
                  <a:lnTo>
                    <a:pt x="104" y="117"/>
                  </a:lnTo>
                  <a:lnTo>
                    <a:pt x="107" y="115"/>
                  </a:lnTo>
                  <a:lnTo>
                    <a:pt x="108" y="114"/>
                  </a:lnTo>
                  <a:lnTo>
                    <a:pt x="110" y="112"/>
                  </a:lnTo>
                  <a:lnTo>
                    <a:pt x="112" y="111"/>
                  </a:lnTo>
                  <a:lnTo>
                    <a:pt x="112" y="110"/>
                  </a:lnTo>
                  <a:lnTo>
                    <a:pt x="113" y="109"/>
                  </a:lnTo>
                  <a:lnTo>
                    <a:pt x="113" y="109"/>
                  </a:lnTo>
                  <a:lnTo>
                    <a:pt x="113" y="108"/>
                  </a:lnTo>
                  <a:lnTo>
                    <a:pt x="114" y="109"/>
                  </a:lnTo>
                  <a:lnTo>
                    <a:pt x="121" y="111"/>
                  </a:lnTo>
                  <a:lnTo>
                    <a:pt x="128" y="114"/>
                  </a:lnTo>
                  <a:lnTo>
                    <a:pt x="131" y="115"/>
                  </a:lnTo>
                  <a:lnTo>
                    <a:pt x="134" y="116"/>
                  </a:lnTo>
                  <a:lnTo>
                    <a:pt x="141" y="120"/>
                  </a:lnTo>
                  <a:lnTo>
                    <a:pt x="146" y="121"/>
                  </a:lnTo>
                  <a:lnTo>
                    <a:pt x="148" y="122"/>
                  </a:lnTo>
                  <a:lnTo>
                    <a:pt x="149" y="123"/>
                  </a:lnTo>
                  <a:lnTo>
                    <a:pt x="150" y="124"/>
                  </a:lnTo>
                  <a:lnTo>
                    <a:pt x="152" y="125"/>
                  </a:lnTo>
                  <a:lnTo>
                    <a:pt x="154" y="127"/>
                  </a:lnTo>
                  <a:lnTo>
                    <a:pt x="155" y="128"/>
                  </a:lnTo>
                  <a:lnTo>
                    <a:pt x="156" y="128"/>
                  </a:lnTo>
                  <a:lnTo>
                    <a:pt x="157" y="129"/>
                  </a:lnTo>
                  <a:lnTo>
                    <a:pt x="158" y="129"/>
                  </a:lnTo>
                  <a:lnTo>
                    <a:pt x="160" y="130"/>
                  </a:lnTo>
                  <a:lnTo>
                    <a:pt x="164" y="130"/>
                  </a:lnTo>
                  <a:lnTo>
                    <a:pt x="165" y="130"/>
                  </a:lnTo>
                  <a:lnTo>
                    <a:pt x="172" y="131"/>
                  </a:lnTo>
                  <a:lnTo>
                    <a:pt x="174" y="132"/>
                  </a:lnTo>
                  <a:lnTo>
                    <a:pt x="176" y="132"/>
                  </a:lnTo>
                  <a:lnTo>
                    <a:pt x="178" y="132"/>
                  </a:lnTo>
                  <a:lnTo>
                    <a:pt x="179" y="132"/>
                  </a:lnTo>
                  <a:lnTo>
                    <a:pt x="181" y="132"/>
                  </a:lnTo>
                  <a:lnTo>
                    <a:pt x="182" y="131"/>
                  </a:lnTo>
                  <a:lnTo>
                    <a:pt x="183" y="131"/>
                  </a:lnTo>
                  <a:lnTo>
                    <a:pt x="184" y="130"/>
                  </a:lnTo>
                  <a:lnTo>
                    <a:pt x="185" y="130"/>
                  </a:lnTo>
                  <a:lnTo>
                    <a:pt x="186" y="129"/>
                  </a:lnTo>
                  <a:lnTo>
                    <a:pt x="187" y="128"/>
                  </a:lnTo>
                  <a:lnTo>
                    <a:pt x="188" y="127"/>
                  </a:lnTo>
                  <a:lnTo>
                    <a:pt x="189" y="125"/>
                  </a:lnTo>
                  <a:lnTo>
                    <a:pt x="190" y="123"/>
                  </a:lnTo>
                  <a:lnTo>
                    <a:pt x="192" y="116"/>
                  </a:lnTo>
                  <a:lnTo>
                    <a:pt x="193" y="114"/>
                  </a:lnTo>
                  <a:lnTo>
                    <a:pt x="195" y="111"/>
                  </a:lnTo>
                  <a:lnTo>
                    <a:pt x="197" y="107"/>
                  </a:lnTo>
                  <a:lnTo>
                    <a:pt x="198" y="105"/>
                  </a:lnTo>
                  <a:lnTo>
                    <a:pt x="199" y="104"/>
                  </a:lnTo>
                  <a:lnTo>
                    <a:pt x="200" y="103"/>
                  </a:lnTo>
                  <a:lnTo>
                    <a:pt x="201" y="103"/>
                  </a:lnTo>
                  <a:lnTo>
                    <a:pt x="201" y="102"/>
                  </a:lnTo>
                  <a:lnTo>
                    <a:pt x="202" y="102"/>
                  </a:lnTo>
                  <a:lnTo>
                    <a:pt x="203" y="101"/>
                  </a:lnTo>
                  <a:lnTo>
                    <a:pt x="204" y="101"/>
                  </a:lnTo>
                  <a:lnTo>
                    <a:pt x="205" y="101"/>
                  </a:lnTo>
                  <a:lnTo>
                    <a:pt x="211" y="100"/>
                  </a:lnTo>
                  <a:lnTo>
                    <a:pt x="217" y="98"/>
                  </a:lnTo>
                  <a:lnTo>
                    <a:pt x="219" y="98"/>
                  </a:lnTo>
                  <a:lnTo>
                    <a:pt x="220" y="98"/>
                  </a:lnTo>
                  <a:lnTo>
                    <a:pt x="222" y="98"/>
                  </a:lnTo>
                  <a:lnTo>
                    <a:pt x="226" y="99"/>
                  </a:lnTo>
                  <a:lnTo>
                    <a:pt x="227" y="99"/>
                  </a:lnTo>
                  <a:lnTo>
                    <a:pt x="228" y="99"/>
                  </a:lnTo>
                  <a:lnTo>
                    <a:pt x="232" y="99"/>
                  </a:lnTo>
                  <a:lnTo>
                    <a:pt x="233" y="99"/>
                  </a:lnTo>
                  <a:lnTo>
                    <a:pt x="235" y="99"/>
                  </a:lnTo>
                  <a:lnTo>
                    <a:pt x="237" y="100"/>
                  </a:lnTo>
                  <a:lnTo>
                    <a:pt x="240" y="100"/>
                  </a:lnTo>
                  <a:lnTo>
                    <a:pt x="248" y="103"/>
                  </a:lnTo>
                  <a:lnTo>
                    <a:pt x="250" y="103"/>
                  </a:lnTo>
                  <a:lnTo>
                    <a:pt x="252" y="103"/>
                  </a:lnTo>
                  <a:lnTo>
                    <a:pt x="253" y="103"/>
                  </a:lnTo>
                  <a:lnTo>
                    <a:pt x="255" y="104"/>
                  </a:lnTo>
                  <a:lnTo>
                    <a:pt x="256" y="103"/>
                  </a:lnTo>
                  <a:lnTo>
                    <a:pt x="258" y="103"/>
                  </a:lnTo>
                  <a:lnTo>
                    <a:pt x="259" y="103"/>
                  </a:lnTo>
                  <a:lnTo>
                    <a:pt x="261" y="103"/>
                  </a:lnTo>
                  <a:lnTo>
                    <a:pt x="263" y="102"/>
                  </a:lnTo>
                  <a:lnTo>
                    <a:pt x="264" y="102"/>
                  </a:lnTo>
                  <a:lnTo>
                    <a:pt x="266" y="101"/>
                  </a:lnTo>
                  <a:lnTo>
                    <a:pt x="267" y="100"/>
                  </a:lnTo>
                  <a:lnTo>
                    <a:pt x="267" y="100"/>
                  </a:lnTo>
                  <a:lnTo>
                    <a:pt x="268" y="99"/>
                  </a:lnTo>
                  <a:lnTo>
                    <a:pt x="269" y="98"/>
                  </a:lnTo>
                  <a:lnTo>
                    <a:pt x="269" y="98"/>
                  </a:lnTo>
                  <a:lnTo>
                    <a:pt x="269" y="97"/>
                  </a:lnTo>
                  <a:lnTo>
                    <a:pt x="270" y="96"/>
                  </a:lnTo>
                  <a:lnTo>
                    <a:pt x="270" y="95"/>
                  </a:lnTo>
                  <a:lnTo>
                    <a:pt x="270" y="94"/>
                  </a:lnTo>
                  <a:lnTo>
                    <a:pt x="270" y="93"/>
                  </a:lnTo>
                  <a:lnTo>
                    <a:pt x="271" y="91"/>
                  </a:lnTo>
                  <a:lnTo>
                    <a:pt x="271" y="85"/>
                  </a:lnTo>
                  <a:lnTo>
                    <a:pt x="271" y="78"/>
                  </a:lnTo>
                  <a:lnTo>
                    <a:pt x="271" y="77"/>
                  </a:lnTo>
                  <a:lnTo>
                    <a:pt x="271" y="73"/>
                  </a:lnTo>
                  <a:lnTo>
                    <a:pt x="271" y="70"/>
                  </a:lnTo>
                  <a:lnTo>
                    <a:pt x="270" y="69"/>
                  </a:lnTo>
                  <a:lnTo>
                    <a:pt x="271" y="67"/>
                  </a:lnTo>
                  <a:lnTo>
                    <a:pt x="271" y="65"/>
                  </a:lnTo>
                  <a:lnTo>
                    <a:pt x="271" y="64"/>
                  </a:lnTo>
                  <a:lnTo>
                    <a:pt x="275" y="56"/>
                  </a:lnTo>
                  <a:lnTo>
                    <a:pt x="275" y="54"/>
                  </a:lnTo>
                  <a:lnTo>
                    <a:pt x="276" y="52"/>
                  </a:lnTo>
                  <a:lnTo>
                    <a:pt x="276" y="49"/>
                  </a:lnTo>
                  <a:lnTo>
                    <a:pt x="277" y="46"/>
                  </a:lnTo>
                  <a:lnTo>
                    <a:pt x="277" y="39"/>
                  </a:lnTo>
                  <a:lnTo>
                    <a:pt x="277" y="37"/>
                  </a:lnTo>
                  <a:lnTo>
                    <a:pt x="277" y="36"/>
                  </a:lnTo>
                  <a:lnTo>
                    <a:pt x="277" y="35"/>
                  </a:lnTo>
                  <a:lnTo>
                    <a:pt x="277" y="34"/>
                  </a:lnTo>
                  <a:lnTo>
                    <a:pt x="276" y="33"/>
                  </a:lnTo>
                  <a:lnTo>
                    <a:pt x="276" y="32"/>
                  </a:lnTo>
                  <a:lnTo>
                    <a:pt x="275" y="31"/>
                  </a:lnTo>
                  <a:lnTo>
                    <a:pt x="275" y="30"/>
                  </a:lnTo>
                  <a:lnTo>
                    <a:pt x="274" y="29"/>
                  </a:lnTo>
                  <a:lnTo>
                    <a:pt x="274" y="29"/>
                  </a:lnTo>
                  <a:lnTo>
                    <a:pt x="273" y="28"/>
                  </a:lnTo>
                  <a:lnTo>
                    <a:pt x="272" y="28"/>
                  </a:lnTo>
                  <a:lnTo>
                    <a:pt x="271" y="27"/>
                  </a:lnTo>
                  <a:lnTo>
                    <a:pt x="268" y="26"/>
                  </a:lnTo>
                  <a:lnTo>
                    <a:pt x="267" y="26"/>
                  </a:lnTo>
                  <a:lnTo>
                    <a:pt x="266" y="25"/>
                  </a:lnTo>
                  <a:lnTo>
                    <a:pt x="265" y="25"/>
                  </a:lnTo>
                  <a:lnTo>
                    <a:pt x="264" y="24"/>
                  </a:lnTo>
                  <a:lnTo>
                    <a:pt x="263" y="23"/>
                  </a:lnTo>
                  <a:lnTo>
                    <a:pt x="263" y="22"/>
                  </a:lnTo>
                  <a:lnTo>
                    <a:pt x="262" y="22"/>
                  </a:lnTo>
                  <a:lnTo>
                    <a:pt x="262" y="21"/>
                  </a:lnTo>
                  <a:lnTo>
                    <a:pt x="262" y="20"/>
                  </a:lnTo>
                  <a:lnTo>
                    <a:pt x="262" y="19"/>
                  </a:lnTo>
                  <a:lnTo>
                    <a:pt x="262" y="19"/>
                  </a:lnTo>
                  <a:lnTo>
                    <a:pt x="262" y="18"/>
                  </a:lnTo>
                  <a:lnTo>
                    <a:pt x="263" y="17"/>
                  </a:lnTo>
                  <a:lnTo>
                    <a:pt x="263" y="15"/>
                  </a:lnTo>
                  <a:lnTo>
                    <a:pt x="264" y="14"/>
                  </a:lnTo>
                  <a:lnTo>
                    <a:pt x="265" y="13"/>
                  </a:lnTo>
                  <a:lnTo>
                    <a:pt x="265" y="12"/>
                  </a:lnTo>
                  <a:lnTo>
                    <a:pt x="266" y="11"/>
                  </a:lnTo>
                  <a:lnTo>
                    <a:pt x="268" y="10"/>
                  </a:lnTo>
                  <a:lnTo>
                    <a:pt x="269" y="8"/>
                  </a:lnTo>
                  <a:lnTo>
                    <a:pt x="275" y="4"/>
                  </a:lnTo>
                  <a:lnTo>
                    <a:pt x="278" y="2"/>
                  </a:lnTo>
                  <a:lnTo>
                    <a:pt x="279" y="1"/>
                  </a:lnTo>
                  <a:lnTo>
                    <a:pt x="280" y="0"/>
                  </a:lnTo>
                  <a:lnTo>
                    <a:pt x="280" y="0"/>
                  </a:lnTo>
                  <a:close/>
                </a:path>
              </a:pathLst>
            </a:custGeom>
            <a:solidFill>
              <a:srgbClr val="CCCCCC"/>
            </a:solidFill>
            <a:ln w="98425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Freeform 241">
              <a:extLst>
                <a:ext uri="{FF2B5EF4-FFF2-40B4-BE49-F238E27FC236}">
                  <a16:creationId xmlns:a16="http://schemas.microsoft.com/office/drawing/2014/main" id="{7EDC6B2D-D195-43CB-8D6E-ED0D1166E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5677" y="2014259"/>
              <a:ext cx="629770" cy="488123"/>
            </a:xfrm>
            <a:custGeom>
              <a:avLst/>
              <a:gdLst>
                <a:gd name="T0" fmla="*/ 232 w 618"/>
                <a:gd name="T1" fmla="*/ 17 h 479"/>
                <a:gd name="T2" fmla="*/ 274 w 618"/>
                <a:gd name="T3" fmla="*/ 22 h 479"/>
                <a:gd name="T4" fmla="*/ 299 w 618"/>
                <a:gd name="T5" fmla="*/ 34 h 479"/>
                <a:gd name="T6" fmla="*/ 319 w 618"/>
                <a:gd name="T7" fmla="*/ 67 h 479"/>
                <a:gd name="T8" fmla="*/ 357 w 618"/>
                <a:gd name="T9" fmla="*/ 59 h 479"/>
                <a:gd name="T10" fmla="*/ 373 w 618"/>
                <a:gd name="T11" fmla="*/ 93 h 479"/>
                <a:gd name="T12" fmla="*/ 372 w 618"/>
                <a:gd name="T13" fmla="*/ 111 h 479"/>
                <a:gd name="T14" fmla="*/ 394 w 618"/>
                <a:gd name="T15" fmla="*/ 101 h 479"/>
                <a:gd name="T16" fmla="*/ 422 w 618"/>
                <a:gd name="T17" fmla="*/ 78 h 479"/>
                <a:gd name="T18" fmla="*/ 452 w 618"/>
                <a:gd name="T19" fmla="*/ 93 h 479"/>
                <a:gd name="T20" fmla="*/ 467 w 618"/>
                <a:gd name="T21" fmla="*/ 72 h 479"/>
                <a:gd name="T22" fmla="*/ 495 w 618"/>
                <a:gd name="T23" fmla="*/ 73 h 479"/>
                <a:gd name="T24" fmla="*/ 534 w 618"/>
                <a:gd name="T25" fmla="*/ 99 h 479"/>
                <a:gd name="T26" fmla="*/ 547 w 618"/>
                <a:gd name="T27" fmla="*/ 131 h 479"/>
                <a:gd name="T28" fmla="*/ 530 w 618"/>
                <a:gd name="T29" fmla="*/ 166 h 479"/>
                <a:gd name="T30" fmla="*/ 504 w 618"/>
                <a:gd name="T31" fmla="*/ 179 h 479"/>
                <a:gd name="T32" fmla="*/ 478 w 618"/>
                <a:gd name="T33" fmla="*/ 196 h 479"/>
                <a:gd name="T34" fmla="*/ 464 w 618"/>
                <a:gd name="T35" fmla="*/ 214 h 479"/>
                <a:gd name="T36" fmla="*/ 456 w 618"/>
                <a:gd name="T37" fmla="*/ 225 h 479"/>
                <a:gd name="T38" fmla="*/ 475 w 618"/>
                <a:gd name="T39" fmla="*/ 244 h 479"/>
                <a:gd name="T40" fmla="*/ 494 w 618"/>
                <a:gd name="T41" fmla="*/ 262 h 479"/>
                <a:gd name="T42" fmla="*/ 521 w 618"/>
                <a:gd name="T43" fmla="*/ 262 h 479"/>
                <a:gd name="T44" fmla="*/ 539 w 618"/>
                <a:gd name="T45" fmla="*/ 293 h 479"/>
                <a:gd name="T46" fmla="*/ 575 w 618"/>
                <a:gd name="T47" fmla="*/ 327 h 479"/>
                <a:gd name="T48" fmla="*/ 606 w 618"/>
                <a:gd name="T49" fmla="*/ 363 h 479"/>
                <a:gd name="T50" fmla="*/ 618 w 618"/>
                <a:gd name="T51" fmla="*/ 409 h 479"/>
                <a:gd name="T52" fmla="*/ 591 w 618"/>
                <a:gd name="T53" fmla="*/ 401 h 479"/>
                <a:gd name="T54" fmla="*/ 576 w 618"/>
                <a:gd name="T55" fmla="*/ 404 h 479"/>
                <a:gd name="T56" fmla="*/ 544 w 618"/>
                <a:gd name="T57" fmla="*/ 430 h 479"/>
                <a:gd name="T58" fmla="*/ 520 w 618"/>
                <a:gd name="T59" fmla="*/ 454 h 479"/>
                <a:gd name="T60" fmla="*/ 510 w 618"/>
                <a:gd name="T61" fmla="*/ 470 h 479"/>
                <a:gd name="T62" fmla="*/ 495 w 618"/>
                <a:gd name="T63" fmla="*/ 475 h 479"/>
                <a:gd name="T64" fmla="*/ 466 w 618"/>
                <a:gd name="T65" fmla="*/ 478 h 479"/>
                <a:gd name="T66" fmla="*/ 432 w 618"/>
                <a:gd name="T67" fmla="*/ 464 h 479"/>
                <a:gd name="T68" fmla="*/ 400 w 618"/>
                <a:gd name="T69" fmla="*/ 440 h 479"/>
                <a:gd name="T70" fmla="*/ 377 w 618"/>
                <a:gd name="T71" fmla="*/ 421 h 479"/>
                <a:gd name="T72" fmla="*/ 344 w 618"/>
                <a:gd name="T73" fmla="*/ 401 h 479"/>
                <a:gd name="T74" fmla="*/ 314 w 618"/>
                <a:gd name="T75" fmla="*/ 415 h 479"/>
                <a:gd name="T76" fmla="*/ 294 w 618"/>
                <a:gd name="T77" fmla="*/ 416 h 479"/>
                <a:gd name="T78" fmla="*/ 280 w 618"/>
                <a:gd name="T79" fmla="*/ 396 h 479"/>
                <a:gd name="T80" fmla="*/ 260 w 618"/>
                <a:gd name="T81" fmla="*/ 417 h 479"/>
                <a:gd name="T82" fmla="*/ 228 w 618"/>
                <a:gd name="T83" fmla="*/ 422 h 479"/>
                <a:gd name="T84" fmla="*/ 200 w 618"/>
                <a:gd name="T85" fmla="*/ 420 h 479"/>
                <a:gd name="T86" fmla="*/ 177 w 618"/>
                <a:gd name="T87" fmla="*/ 422 h 479"/>
                <a:gd name="T88" fmla="*/ 157 w 618"/>
                <a:gd name="T89" fmla="*/ 440 h 479"/>
                <a:gd name="T90" fmla="*/ 137 w 618"/>
                <a:gd name="T91" fmla="*/ 440 h 479"/>
                <a:gd name="T92" fmla="*/ 127 w 618"/>
                <a:gd name="T93" fmla="*/ 422 h 479"/>
                <a:gd name="T94" fmla="*/ 106 w 618"/>
                <a:gd name="T95" fmla="*/ 409 h 479"/>
                <a:gd name="T96" fmla="*/ 118 w 618"/>
                <a:gd name="T97" fmla="*/ 382 h 479"/>
                <a:gd name="T98" fmla="*/ 110 w 618"/>
                <a:gd name="T99" fmla="*/ 354 h 479"/>
                <a:gd name="T100" fmla="*/ 105 w 618"/>
                <a:gd name="T101" fmla="*/ 322 h 479"/>
                <a:gd name="T102" fmla="*/ 78 w 618"/>
                <a:gd name="T103" fmla="*/ 323 h 479"/>
                <a:gd name="T104" fmla="*/ 43 w 618"/>
                <a:gd name="T105" fmla="*/ 317 h 479"/>
                <a:gd name="T106" fmla="*/ 32 w 618"/>
                <a:gd name="T107" fmla="*/ 295 h 479"/>
                <a:gd name="T108" fmla="*/ 11 w 618"/>
                <a:gd name="T109" fmla="*/ 285 h 479"/>
                <a:gd name="T110" fmla="*/ 0 w 618"/>
                <a:gd name="T111" fmla="*/ 265 h 479"/>
                <a:gd name="T112" fmla="*/ 15 w 618"/>
                <a:gd name="T113" fmla="*/ 244 h 479"/>
                <a:gd name="T114" fmla="*/ 10 w 618"/>
                <a:gd name="T115" fmla="*/ 215 h 479"/>
                <a:gd name="T116" fmla="*/ 4 w 618"/>
                <a:gd name="T117" fmla="*/ 181 h 479"/>
                <a:gd name="T118" fmla="*/ 33 w 618"/>
                <a:gd name="T119" fmla="*/ 181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18" h="479">
                  <a:moveTo>
                    <a:pt x="180" y="0"/>
                  </a:moveTo>
                  <a:lnTo>
                    <a:pt x="182" y="0"/>
                  </a:lnTo>
                  <a:lnTo>
                    <a:pt x="190" y="1"/>
                  </a:lnTo>
                  <a:lnTo>
                    <a:pt x="194" y="1"/>
                  </a:lnTo>
                  <a:lnTo>
                    <a:pt x="197" y="2"/>
                  </a:lnTo>
                  <a:lnTo>
                    <a:pt x="200" y="3"/>
                  </a:lnTo>
                  <a:lnTo>
                    <a:pt x="203" y="4"/>
                  </a:lnTo>
                  <a:lnTo>
                    <a:pt x="204" y="4"/>
                  </a:lnTo>
                  <a:lnTo>
                    <a:pt x="206" y="5"/>
                  </a:lnTo>
                  <a:lnTo>
                    <a:pt x="207" y="5"/>
                  </a:lnTo>
                  <a:lnTo>
                    <a:pt x="212" y="8"/>
                  </a:lnTo>
                  <a:lnTo>
                    <a:pt x="216" y="10"/>
                  </a:lnTo>
                  <a:lnTo>
                    <a:pt x="219" y="11"/>
                  </a:lnTo>
                  <a:lnTo>
                    <a:pt x="226" y="14"/>
                  </a:lnTo>
                  <a:lnTo>
                    <a:pt x="228" y="15"/>
                  </a:lnTo>
                  <a:lnTo>
                    <a:pt x="230" y="16"/>
                  </a:lnTo>
                  <a:lnTo>
                    <a:pt x="232" y="17"/>
                  </a:lnTo>
                  <a:lnTo>
                    <a:pt x="234" y="18"/>
                  </a:lnTo>
                  <a:lnTo>
                    <a:pt x="235" y="19"/>
                  </a:lnTo>
                  <a:lnTo>
                    <a:pt x="240" y="22"/>
                  </a:lnTo>
                  <a:lnTo>
                    <a:pt x="241" y="23"/>
                  </a:lnTo>
                  <a:lnTo>
                    <a:pt x="242" y="24"/>
                  </a:lnTo>
                  <a:lnTo>
                    <a:pt x="244" y="24"/>
                  </a:lnTo>
                  <a:lnTo>
                    <a:pt x="245" y="25"/>
                  </a:lnTo>
                  <a:lnTo>
                    <a:pt x="247" y="25"/>
                  </a:lnTo>
                  <a:lnTo>
                    <a:pt x="248" y="25"/>
                  </a:lnTo>
                  <a:lnTo>
                    <a:pt x="250" y="26"/>
                  </a:lnTo>
                  <a:lnTo>
                    <a:pt x="251" y="26"/>
                  </a:lnTo>
                  <a:lnTo>
                    <a:pt x="256" y="26"/>
                  </a:lnTo>
                  <a:lnTo>
                    <a:pt x="258" y="26"/>
                  </a:lnTo>
                  <a:lnTo>
                    <a:pt x="260" y="26"/>
                  </a:lnTo>
                  <a:lnTo>
                    <a:pt x="261" y="25"/>
                  </a:lnTo>
                  <a:lnTo>
                    <a:pt x="264" y="25"/>
                  </a:lnTo>
                  <a:lnTo>
                    <a:pt x="274" y="22"/>
                  </a:lnTo>
                  <a:lnTo>
                    <a:pt x="277" y="21"/>
                  </a:lnTo>
                  <a:lnTo>
                    <a:pt x="282" y="19"/>
                  </a:lnTo>
                  <a:lnTo>
                    <a:pt x="284" y="19"/>
                  </a:lnTo>
                  <a:lnTo>
                    <a:pt x="285" y="18"/>
                  </a:lnTo>
                  <a:lnTo>
                    <a:pt x="287" y="18"/>
                  </a:lnTo>
                  <a:lnTo>
                    <a:pt x="288" y="18"/>
                  </a:lnTo>
                  <a:lnTo>
                    <a:pt x="289" y="18"/>
                  </a:lnTo>
                  <a:lnTo>
                    <a:pt x="290" y="19"/>
                  </a:lnTo>
                  <a:lnTo>
                    <a:pt x="291" y="19"/>
                  </a:lnTo>
                  <a:lnTo>
                    <a:pt x="292" y="20"/>
                  </a:lnTo>
                  <a:lnTo>
                    <a:pt x="293" y="20"/>
                  </a:lnTo>
                  <a:lnTo>
                    <a:pt x="294" y="22"/>
                  </a:lnTo>
                  <a:lnTo>
                    <a:pt x="295" y="23"/>
                  </a:lnTo>
                  <a:lnTo>
                    <a:pt x="296" y="25"/>
                  </a:lnTo>
                  <a:lnTo>
                    <a:pt x="297" y="26"/>
                  </a:lnTo>
                  <a:lnTo>
                    <a:pt x="297" y="27"/>
                  </a:lnTo>
                  <a:lnTo>
                    <a:pt x="299" y="34"/>
                  </a:lnTo>
                  <a:lnTo>
                    <a:pt x="300" y="36"/>
                  </a:lnTo>
                  <a:lnTo>
                    <a:pt x="302" y="40"/>
                  </a:lnTo>
                  <a:lnTo>
                    <a:pt x="306" y="48"/>
                  </a:lnTo>
                  <a:lnTo>
                    <a:pt x="308" y="52"/>
                  </a:lnTo>
                  <a:lnTo>
                    <a:pt x="310" y="58"/>
                  </a:lnTo>
                  <a:lnTo>
                    <a:pt x="311" y="60"/>
                  </a:lnTo>
                  <a:lnTo>
                    <a:pt x="312" y="62"/>
                  </a:lnTo>
                  <a:lnTo>
                    <a:pt x="313" y="64"/>
                  </a:lnTo>
                  <a:lnTo>
                    <a:pt x="313" y="64"/>
                  </a:lnTo>
                  <a:lnTo>
                    <a:pt x="314" y="65"/>
                  </a:lnTo>
                  <a:lnTo>
                    <a:pt x="314" y="65"/>
                  </a:lnTo>
                  <a:lnTo>
                    <a:pt x="315" y="66"/>
                  </a:lnTo>
                  <a:lnTo>
                    <a:pt x="316" y="66"/>
                  </a:lnTo>
                  <a:lnTo>
                    <a:pt x="317" y="66"/>
                  </a:lnTo>
                  <a:lnTo>
                    <a:pt x="317" y="67"/>
                  </a:lnTo>
                  <a:lnTo>
                    <a:pt x="318" y="67"/>
                  </a:lnTo>
                  <a:lnTo>
                    <a:pt x="319" y="67"/>
                  </a:lnTo>
                  <a:lnTo>
                    <a:pt x="320" y="67"/>
                  </a:lnTo>
                  <a:lnTo>
                    <a:pt x="321" y="67"/>
                  </a:lnTo>
                  <a:lnTo>
                    <a:pt x="322" y="67"/>
                  </a:lnTo>
                  <a:lnTo>
                    <a:pt x="324" y="66"/>
                  </a:lnTo>
                  <a:lnTo>
                    <a:pt x="327" y="65"/>
                  </a:lnTo>
                  <a:lnTo>
                    <a:pt x="334" y="63"/>
                  </a:lnTo>
                  <a:lnTo>
                    <a:pt x="337" y="62"/>
                  </a:lnTo>
                  <a:lnTo>
                    <a:pt x="341" y="60"/>
                  </a:lnTo>
                  <a:lnTo>
                    <a:pt x="343" y="60"/>
                  </a:lnTo>
                  <a:lnTo>
                    <a:pt x="345" y="59"/>
                  </a:lnTo>
                  <a:lnTo>
                    <a:pt x="347" y="58"/>
                  </a:lnTo>
                  <a:lnTo>
                    <a:pt x="349" y="58"/>
                  </a:lnTo>
                  <a:lnTo>
                    <a:pt x="350" y="58"/>
                  </a:lnTo>
                  <a:lnTo>
                    <a:pt x="352" y="58"/>
                  </a:lnTo>
                  <a:lnTo>
                    <a:pt x="354" y="58"/>
                  </a:lnTo>
                  <a:lnTo>
                    <a:pt x="355" y="58"/>
                  </a:lnTo>
                  <a:lnTo>
                    <a:pt x="357" y="59"/>
                  </a:lnTo>
                  <a:lnTo>
                    <a:pt x="359" y="60"/>
                  </a:lnTo>
                  <a:lnTo>
                    <a:pt x="360" y="61"/>
                  </a:lnTo>
                  <a:lnTo>
                    <a:pt x="362" y="62"/>
                  </a:lnTo>
                  <a:lnTo>
                    <a:pt x="363" y="63"/>
                  </a:lnTo>
                  <a:lnTo>
                    <a:pt x="364" y="64"/>
                  </a:lnTo>
                  <a:lnTo>
                    <a:pt x="364" y="65"/>
                  </a:lnTo>
                  <a:lnTo>
                    <a:pt x="365" y="66"/>
                  </a:lnTo>
                  <a:lnTo>
                    <a:pt x="366" y="68"/>
                  </a:lnTo>
                  <a:lnTo>
                    <a:pt x="367" y="69"/>
                  </a:lnTo>
                  <a:lnTo>
                    <a:pt x="367" y="71"/>
                  </a:lnTo>
                  <a:lnTo>
                    <a:pt x="369" y="74"/>
                  </a:lnTo>
                  <a:lnTo>
                    <a:pt x="369" y="76"/>
                  </a:lnTo>
                  <a:lnTo>
                    <a:pt x="370" y="79"/>
                  </a:lnTo>
                  <a:lnTo>
                    <a:pt x="371" y="82"/>
                  </a:lnTo>
                  <a:lnTo>
                    <a:pt x="371" y="86"/>
                  </a:lnTo>
                  <a:lnTo>
                    <a:pt x="373" y="91"/>
                  </a:lnTo>
                  <a:lnTo>
                    <a:pt x="373" y="93"/>
                  </a:lnTo>
                  <a:lnTo>
                    <a:pt x="373" y="94"/>
                  </a:lnTo>
                  <a:lnTo>
                    <a:pt x="373" y="95"/>
                  </a:lnTo>
                  <a:lnTo>
                    <a:pt x="373" y="96"/>
                  </a:lnTo>
                  <a:lnTo>
                    <a:pt x="373" y="96"/>
                  </a:lnTo>
                  <a:lnTo>
                    <a:pt x="372" y="97"/>
                  </a:lnTo>
                  <a:lnTo>
                    <a:pt x="372" y="98"/>
                  </a:lnTo>
                  <a:lnTo>
                    <a:pt x="370" y="102"/>
                  </a:lnTo>
                  <a:lnTo>
                    <a:pt x="369" y="104"/>
                  </a:lnTo>
                  <a:lnTo>
                    <a:pt x="369" y="105"/>
                  </a:lnTo>
                  <a:lnTo>
                    <a:pt x="369" y="106"/>
                  </a:lnTo>
                  <a:lnTo>
                    <a:pt x="369" y="106"/>
                  </a:lnTo>
                  <a:lnTo>
                    <a:pt x="369" y="107"/>
                  </a:lnTo>
                  <a:lnTo>
                    <a:pt x="369" y="108"/>
                  </a:lnTo>
                  <a:lnTo>
                    <a:pt x="370" y="109"/>
                  </a:lnTo>
                  <a:lnTo>
                    <a:pt x="370" y="110"/>
                  </a:lnTo>
                  <a:lnTo>
                    <a:pt x="371" y="110"/>
                  </a:lnTo>
                  <a:lnTo>
                    <a:pt x="372" y="111"/>
                  </a:lnTo>
                  <a:lnTo>
                    <a:pt x="373" y="111"/>
                  </a:lnTo>
                  <a:lnTo>
                    <a:pt x="375" y="112"/>
                  </a:lnTo>
                  <a:lnTo>
                    <a:pt x="376" y="112"/>
                  </a:lnTo>
                  <a:lnTo>
                    <a:pt x="377" y="113"/>
                  </a:lnTo>
                  <a:lnTo>
                    <a:pt x="379" y="113"/>
                  </a:lnTo>
                  <a:lnTo>
                    <a:pt x="380" y="112"/>
                  </a:lnTo>
                  <a:lnTo>
                    <a:pt x="381" y="112"/>
                  </a:lnTo>
                  <a:lnTo>
                    <a:pt x="383" y="111"/>
                  </a:lnTo>
                  <a:lnTo>
                    <a:pt x="385" y="110"/>
                  </a:lnTo>
                  <a:lnTo>
                    <a:pt x="388" y="107"/>
                  </a:lnTo>
                  <a:lnTo>
                    <a:pt x="389" y="107"/>
                  </a:lnTo>
                  <a:lnTo>
                    <a:pt x="390" y="106"/>
                  </a:lnTo>
                  <a:lnTo>
                    <a:pt x="391" y="105"/>
                  </a:lnTo>
                  <a:lnTo>
                    <a:pt x="391" y="105"/>
                  </a:lnTo>
                  <a:lnTo>
                    <a:pt x="392" y="104"/>
                  </a:lnTo>
                  <a:lnTo>
                    <a:pt x="392" y="103"/>
                  </a:lnTo>
                  <a:lnTo>
                    <a:pt x="394" y="101"/>
                  </a:lnTo>
                  <a:lnTo>
                    <a:pt x="396" y="95"/>
                  </a:lnTo>
                  <a:lnTo>
                    <a:pt x="398" y="92"/>
                  </a:lnTo>
                  <a:lnTo>
                    <a:pt x="399" y="90"/>
                  </a:lnTo>
                  <a:lnTo>
                    <a:pt x="401" y="87"/>
                  </a:lnTo>
                  <a:lnTo>
                    <a:pt x="403" y="85"/>
                  </a:lnTo>
                  <a:lnTo>
                    <a:pt x="405" y="83"/>
                  </a:lnTo>
                  <a:lnTo>
                    <a:pt x="407" y="81"/>
                  </a:lnTo>
                  <a:lnTo>
                    <a:pt x="409" y="80"/>
                  </a:lnTo>
                  <a:lnTo>
                    <a:pt x="410" y="79"/>
                  </a:lnTo>
                  <a:lnTo>
                    <a:pt x="411" y="78"/>
                  </a:lnTo>
                  <a:lnTo>
                    <a:pt x="413" y="77"/>
                  </a:lnTo>
                  <a:lnTo>
                    <a:pt x="414" y="77"/>
                  </a:lnTo>
                  <a:lnTo>
                    <a:pt x="415" y="77"/>
                  </a:lnTo>
                  <a:lnTo>
                    <a:pt x="417" y="77"/>
                  </a:lnTo>
                  <a:lnTo>
                    <a:pt x="419" y="77"/>
                  </a:lnTo>
                  <a:lnTo>
                    <a:pt x="421" y="77"/>
                  </a:lnTo>
                  <a:lnTo>
                    <a:pt x="422" y="78"/>
                  </a:lnTo>
                  <a:lnTo>
                    <a:pt x="424" y="78"/>
                  </a:lnTo>
                  <a:lnTo>
                    <a:pt x="430" y="81"/>
                  </a:lnTo>
                  <a:lnTo>
                    <a:pt x="432" y="82"/>
                  </a:lnTo>
                  <a:lnTo>
                    <a:pt x="433" y="83"/>
                  </a:lnTo>
                  <a:lnTo>
                    <a:pt x="435" y="84"/>
                  </a:lnTo>
                  <a:lnTo>
                    <a:pt x="437" y="86"/>
                  </a:lnTo>
                  <a:lnTo>
                    <a:pt x="439" y="87"/>
                  </a:lnTo>
                  <a:lnTo>
                    <a:pt x="443" y="91"/>
                  </a:lnTo>
                  <a:lnTo>
                    <a:pt x="444" y="91"/>
                  </a:lnTo>
                  <a:lnTo>
                    <a:pt x="445" y="92"/>
                  </a:lnTo>
                  <a:lnTo>
                    <a:pt x="446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9" y="93"/>
                  </a:lnTo>
                  <a:lnTo>
                    <a:pt x="450" y="93"/>
                  </a:lnTo>
                  <a:lnTo>
                    <a:pt x="451" y="93"/>
                  </a:lnTo>
                  <a:lnTo>
                    <a:pt x="452" y="93"/>
                  </a:lnTo>
                  <a:lnTo>
                    <a:pt x="453" y="92"/>
                  </a:lnTo>
                  <a:lnTo>
                    <a:pt x="454" y="92"/>
                  </a:lnTo>
                  <a:lnTo>
                    <a:pt x="455" y="91"/>
                  </a:lnTo>
                  <a:lnTo>
                    <a:pt x="456" y="91"/>
                  </a:lnTo>
                  <a:lnTo>
                    <a:pt x="457" y="90"/>
                  </a:lnTo>
                  <a:lnTo>
                    <a:pt x="458" y="89"/>
                  </a:lnTo>
                  <a:lnTo>
                    <a:pt x="458" y="89"/>
                  </a:lnTo>
                  <a:lnTo>
                    <a:pt x="459" y="88"/>
                  </a:lnTo>
                  <a:lnTo>
                    <a:pt x="459" y="87"/>
                  </a:lnTo>
                  <a:lnTo>
                    <a:pt x="460" y="85"/>
                  </a:lnTo>
                  <a:lnTo>
                    <a:pt x="462" y="81"/>
                  </a:lnTo>
                  <a:lnTo>
                    <a:pt x="463" y="78"/>
                  </a:lnTo>
                  <a:lnTo>
                    <a:pt x="464" y="76"/>
                  </a:lnTo>
                  <a:lnTo>
                    <a:pt x="465" y="75"/>
                  </a:lnTo>
                  <a:lnTo>
                    <a:pt x="466" y="74"/>
                  </a:lnTo>
                  <a:lnTo>
                    <a:pt x="466" y="73"/>
                  </a:lnTo>
                  <a:lnTo>
                    <a:pt x="467" y="72"/>
                  </a:lnTo>
                  <a:lnTo>
                    <a:pt x="468" y="72"/>
                  </a:lnTo>
                  <a:lnTo>
                    <a:pt x="469" y="71"/>
                  </a:lnTo>
                  <a:lnTo>
                    <a:pt x="469" y="71"/>
                  </a:lnTo>
                  <a:lnTo>
                    <a:pt x="470" y="71"/>
                  </a:lnTo>
                  <a:lnTo>
                    <a:pt x="471" y="70"/>
                  </a:lnTo>
                  <a:lnTo>
                    <a:pt x="473" y="70"/>
                  </a:lnTo>
                  <a:lnTo>
                    <a:pt x="474" y="70"/>
                  </a:lnTo>
                  <a:lnTo>
                    <a:pt x="476" y="70"/>
                  </a:lnTo>
                  <a:lnTo>
                    <a:pt x="478" y="70"/>
                  </a:lnTo>
                  <a:lnTo>
                    <a:pt x="480" y="70"/>
                  </a:lnTo>
                  <a:lnTo>
                    <a:pt x="482" y="70"/>
                  </a:lnTo>
                  <a:lnTo>
                    <a:pt x="483" y="71"/>
                  </a:lnTo>
                  <a:lnTo>
                    <a:pt x="488" y="72"/>
                  </a:lnTo>
                  <a:lnTo>
                    <a:pt x="490" y="72"/>
                  </a:lnTo>
                  <a:lnTo>
                    <a:pt x="491" y="72"/>
                  </a:lnTo>
                  <a:lnTo>
                    <a:pt x="493" y="72"/>
                  </a:lnTo>
                  <a:lnTo>
                    <a:pt x="495" y="73"/>
                  </a:lnTo>
                  <a:lnTo>
                    <a:pt x="500" y="73"/>
                  </a:lnTo>
                  <a:lnTo>
                    <a:pt x="502" y="73"/>
                  </a:lnTo>
                  <a:lnTo>
                    <a:pt x="504" y="73"/>
                  </a:lnTo>
                  <a:lnTo>
                    <a:pt x="505" y="73"/>
                  </a:lnTo>
                  <a:lnTo>
                    <a:pt x="507" y="74"/>
                  </a:lnTo>
                  <a:lnTo>
                    <a:pt x="508" y="74"/>
                  </a:lnTo>
                  <a:lnTo>
                    <a:pt x="510" y="75"/>
                  </a:lnTo>
                  <a:lnTo>
                    <a:pt x="511" y="76"/>
                  </a:lnTo>
                  <a:lnTo>
                    <a:pt x="513" y="77"/>
                  </a:lnTo>
                  <a:lnTo>
                    <a:pt x="516" y="80"/>
                  </a:lnTo>
                  <a:lnTo>
                    <a:pt x="519" y="83"/>
                  </a:lnTo>
                  <a:lnTo>
                    <a:pt x="520" y="84"/>
                  </a:lnTo>
                  <a:lnTo>
                    <a:pt x="523" y="86"/>
                  </a:lnTo>
                  <a:lnTo>
                    <a:pt x="526" y="89"/>
                  </a:lnTo>
                  <a:lnTo>
                    <a:pt x="530" y="94"/>
                  </a:lnTo>
                  <a:lnTo>
                    <a:pt x="532" y="97"/>
                  </a:lnTo>
                  <a:lnTo>
                    <a:pt x="534" y="99"/>
                  </a:lnTo>
                  <a:lnTo>
                    <a:pt x="539" y="103"/>
                  </a:lnTo>
                  <a:lnTo>
                    <a:pt x="543" y="107"/>
                  </a:lnTo>
                  <a:lnTo>
                    <a:pt x="545" y="109"/>
                  </a:lnTo>
                  <a:lnTo>
                    <a:pt x="547" y="112"/>
                  </a:lnTo>
                  <a:lnTo>
                    <a:pt x="548" y="114"/>
                  </a:lnTo>
                  <a:lnTo>
                    <a:pt x="550" y="116"/>
                  </a:lnTo>
                  <a:lnTo>
                    <a:pt x="550" y="118"/>
                  </a:lnTo>
                  <a:lnTo>
                    <a:pt x="551" y="120"/>
                  </a:lnTo>
                  <a:lnTo>
                    <a:pt x="551" y="122"/>
                  </a:lnTo>
                  <a:lnTo>
                    <a:pt x="551" y="123"/>
                  </a:lnTo>
                  <a:lnTo>
                    <a:pt x="551" y="123"/>
                  </a:lnTo>
                  <a:lnTo>
                    <a:pt x="551" y="125"/>
                  </a:lnTo>
                  <a:lnTo>
                    <a:pt x="551" y="126"/>
                  </a:lnTo>
                  <a:lnTo>
                    <a:pt x="550" y="127"/>
                  </a:lnTo>
                  <a:lnTo>
                    <a:pt x="550" y="128"/>
                  </a:lnTo>
                  <a:lnTo>
                    <a:pt x="549" y="129"/>
                  </a:lnTo>
                  <a:lnTo>
                    <a:pt x="547" y="131"/>
                  </a:lnTo>
                  <a:lnTo>
                    <a:pt x="544" y="134"/>
                  </a:lnTo>
                  <a:lnTo>
                    <a:pt x="543" y="135"/>
                  </a:lnTo>
                  <a:lnTo>
                    <a:pt x="543" y="136"/>
                  </a:lnTo>
                  <a:lnTo>
                    <a:pt x="542" y="137"/>
                  </a:lnTo>
                  <a:lnTo>
                    <a:pt x="541" y="139"/>
                  </a:lnTo>
                  <a:lnTo>
                    <a:pt x="540" y="143"/>
                  </a:lnTo>
                  <a:lnTo>
                    <a:pt x="539" y="145"/>
                  </a:lnTo>
                  <a:lnTo>
                    <a:pt x="538" y="147"/>
                  </a:lnTo>
                  <a:lnTo>
                    <a:pt x="536" y="150"/>
                  </a:lnTo>
                  <a:lnTo>
                    <a:pt x="536" y="152"/>
                  </a:lnTo>
                  <a:lnTo>
                    <a:pt x="535" y="153"/>
                  </a:lnTo>
                  <a:lnTo>
                    <a:pt x="535" y="157"/>
                  </a:lnTo>
                  <a:lnTo>
                    <a:pt x="534" y="158"/>
                  </a:lnTo>
                  <a:lnTo>
                    <a:pt x="534" y="160"/>
                  </a:lnTo>
                  <a:lnTo>
                    <a:pt x="533" y="162"/>
                  </a:lnTo>
                  <a:lnTo>
                    <a:pt x="532" y="164"/>
                  </a:lnTo>
                  <a:lnTo>
                    <a:pt x="530" y="166"/>
                  </a:lnTo>
                  <a:lnTo>
                    <a:pt x="529" y="167"/>
                  </a:lnTo>
                  <a:lnTo>
                    <a:pt x="524" y="173"/>
                  </a:lnTo>
                  <a:lnTo>
                    <a:pt x="522" y="175"/>
                  </a:lnTo>
                  <a:lnTo>
                    <a:pt x="521" y="176"/>
                  </a:lnTo>
                  <a:lnTo>
                    <a:pt x="520" y="176"/>
                  </a:lnTo>
                  <a:lnTo>
                    <a:pt x="519" y="177"/>
                  </a:lnTo>
                  <a:lnTo>
                    <a:pt x="518" y="178"/>
                  </a:lnTo>
                  <a:lnTo>
                    <a:pt x="517" y="178"/>
                  </a:lnTo>
                  <a:lnTo>
                    <a:pt x="516" y="178"/>
                  </a:lnTo>
                  <a:lnTo>
                    <a:pt x="514" y="179"/>
                  </a:lnTo>
                  <a:lnTo>
                    <a:pt x="513" y="179"/>
                  </a:lnTo>
                  <a:lnTo>
                    <a:pt x="511" y="179"/>
                  </a:lnTo>
                  <a:lnTo>
                    <a:pt x="508" y="178"/>
                  </a:lnTo>
                  <a:lnTo>
                    <a:pt x="506" y="178"/>
                  </a:lnTo>
                  <a:lnTo>
                    <a:pt x="505" y="178"/>
                  </a:lnTo>
                  <a:lnTo>
                    <a:pt x="505" y="178"/>
                  </a:lnTo>
                  <a:lnTo>
                    <a:pt x="504" y="179"/>
                  </a:lnTo>
                  <a:lnTo>
                    <a:pt x="503" y="179"/>
                  </a:lnTo>
                  <a:lnTo>
                    <a:pt x="502" y="179"/>
                  </a:lnTo>
                  <a:lnTo>
                    <a:pt x="501" y="180"/>
                  </a:lnTo>
                  <a:lnTo>
                    <a:pt x="501" y="181"/>
                  </a:lnTo>
                  <a:lnTo>
                    <a:pt x="499" y="183"/>
                  </a:lnTo>
                  <a:lnTo>
                    <a:pt x="495" y="187"/>
                  </a:lnTo>
                  <a:lnTo>
                    <a:pt x="494" y="188"/>
                  </a:lnTo>
                  <a:lnTo>
                    <a:pt x="493" y="189"/>
                  </a:lnTo>
                  <a:lnTo>
                    <a:pt x="491" y="190"/>
                  </a:lnTo>
                  <a:lnTo>
                    <a:pt x="490" y="190"/>
                  </a:lnTo>
                  <a:lnTo>
                    <a:pt x="489" y="191"/>
                  </a:lnTo>
                  <a:lnTo>
                    <a:pt x="486" y="192"/>
                  </a:lnTo>
                  <a:lnTo>
                    <a:pt x="485" y="192"/>
                  </a:lnTo>
                  <a:lnTo>
                    <a:pt x="484" y="192"/>
                  </a:lnTo>
                  <a:lnTo>
                    <a:pt x="482" y="194"/>
                  </a:lnTo>
                  <a:lnTo>
                    <a:pt x="479" y="195"/>
                  </a:lnTo>
                  <a:lnTo>
                    <a:pt x="478" y="196"/>
                  </a:lnTo>
                  <a:lnTo>
                    <a:pt x="477" y="197"/>
                  </a:lnTo>
                  <a:lnTo>
                    <a:pt x="477" y="197"/>
                  </a:lnTo>
                  <a:lnTo>
                    <a:pt x="475" y="199"/>
                  </a:lnTo>
                  <a:lnTo>
                    <a:pt x="474" y="200"/>
                  </a:lnTo>
                  <a:lnTo>
                    <a:pt x="473" y="201"/>
                  </a:lnTo>
                  <a:lnTo>
                    <a:pt x="470" y="203"/>
                  </a:lnTo>
                  <a:lnTo>
                    <a:pt x="470" y="203"/>
                  </a:lnTo>
                  <a:lnTo>
                    <a:pt x="469" y="204"/>
                  </a:lnTo>
                  <a:lnTo>
                    <a:pt x="467" y="206"/>
                  </a:lnTo>
                  <a:lnTo>
                    <a:pt x="466" y="207"/>
                  </a:lnTo>
                  <a:lnTo>
                    <a:pt x="466" y="208"/>
                  </a:lnTo>
                  <a:lnTo>
                    <a:pt x="466" y="209"/>
                  </a:lnTo>
                  <a:lnTo>
                    <a:pt x="466" y="211"/>
                  </a:lnTo>
                  <a:lnTo>
                    <a:pt x="465" y="212"/>
                  </a:lnTo>
                  <a:lnTo>
                    <a:pt x="465" y="213"/>
                  </a:lnTo>
                  <a:lnTo>
                    <a:pt x="465" y="213"/>
                  </a:lnTo>
                  <a:lnTo>
                    <a:pt x="464" y="214"/>
                  </a:lnTo>
                  <a:lnTo>
                    <a:pt x="463" y="214"/>
                  </a:lnTo>
                  <a:lnTo>
                    <a:pt x="463" y="214"/>
                  </a:lnTo>
                  <a:lnTo>
                    <a:pt x="461" y="215"/>
                  </a:lnTo>
                  <a:lnTo>
                    <a:pt x="460" y="215"/>
                  </a:lnTo>
                  <a:lnTo>
                    <a:pt x="460" y="215"/>
                  </a:lnTo>
                  <a:lnTo>
                    <a:pt x="459" y="215"/>
                  </a:lnTo>
                  <a:lnTo>
                    <a:pt x="458" y="216"/>
                  </a:lnTo>
                  <a:lnTo>
                    <a:pt x="458" y="216"/>
                  </a:lnTo>
                  <a:lnTo>
                    <a:pt x="457" y="217"/>
                  </a:lnTo>
                  <a:lnTo>
                    <a:pt x="457" y="218"/>
                  </a:lnTo>
                  <a:lnTo>
                    <a:pt x="456" y="219"/>
                  </a:lnTo>
                  <a:lnTo>
                    <a:pt x="456" y="220"/>
                  </a:lnTo>
                  <a:lnTo>
                    <a:pt x="456" y="221"/>
                  </a:lnTo>
                  <a:lnTo>
                    <a:pt x="456" y="222"/>
                  </a:lnTo>
                  <a:lnTo>
                    <a:pt x="456" y="223"/>
                  </a:lnTo>
                  <a:lnTo>
                    <a:pt x="456" y="224"/>
                  </a:lnTo>
                  <a:lnTo>
                    <a:pt x="456" y="225"/>
                  </a:lnTo>
                  <a:lnTo>
                    <a:pt x="456" y="226"/>
                  </a:lnTo>
                  <a:lnTo>
                    <a:pt x="457" y="228"/>
                  </a:lnTo>
                  <a:lnTo>
                    <a:pt x="459" y="232"/>
                  </a:lnTo>
                  <a:lnTo>
                    <a:pt x="460" y="234"/>
                  </a:lnTo>
                  <a:lnTo>
                    <a:pt x="461" y="236"/>
                  </a:lnTo>
                  <a:lnTo>
                    <a:pt x="462" y="236"/>
                  </a:lnTo>
                  <a:lnTo>
                    <a:pt x="463" y="237"/>
                  </a:lnTo>
                  <a:lnTo>
                    <a:pt x="463" y="237"/>
                  </a:lnTo>
                  <a:lnTo>
                    <a:pt x="464" y="238"/>
                  </a:lnTo>
                  <a:lnTo>
                    <a:pt x="465" y="238"/>
                  </a:lnTo>
                  <a:lnTo>
                    <a:pt x="468" y="239"/>
                  </a:lnTo>
                  <a:lnTo>
                    <a:pt x="469" y="239"/>
                  </a:lnTo>
                  <a:lnTo>
                    <a:pt x="470" y="240"/>
                  </a:lnTo>
                  <a:lnTo>
                    <a:pt x="471" y="241"/>
                  </a:lnTo>
                  <a:lnTo>
                    <a:pt x="473" y="242"/>
                  </a:lnTo>
                  <a:lnTo>
                    <a:pt x="474" y="243"/>
                  </a:lnTo>
                  <a:lnTo>
                    <a:pt x="475" y="244"/>
                  </a:lnTo>
                  <a:lnTo>
                    <a:pt x="477" y="248"/>
                  </a:lnTo>
                  <a:lnTo>
                    <a:pt x="478" y="249"/>
                  </a:lnTo>
                  <a:lnTo>
                    <a:pt x="480" y="251"/>
                  </a:lnTo>
                  <a:lnTo>
                    <a:pt x="481" y="252"/>
                  </a:lnTo>
                  <a:lnTo>
                    <a:pt x="482" y="254"/>
                  </a:lnTo>
                  <a:lnTo>
                    <a:pt x="484" y="257"/>
                  </a:lnTo>
                  <a:lnTo>
                    <a:pt x="485" y="258"/>
                  </a:lnTo>
                  <a:lnTo>
                    <a:pt x="486" y="259"/>
                  </a:lnTo>
                  <a:lnTo>
                    <a:pt x="487" y="260"/>
                  </a:lnTo>
                  <a:lnTo>
                    <a:pt x="488" y="261"/>
                  </a:lnTo>
                  <a:lnTo>
                    <a:pt x="489" y="262"/>
                  </a:lnTo>
                  <a:lnTo>
                    <a:pt x="489" y="262"/>
                  </a:lnTo>
                  <a:lnTo>
                    <a:pt x="490" y="262"/>
                  </a:lnTo>
                  <a:lnTo>
                    <a:pt x="491" y="262"/>
                  </a:lnTo>
                  <a:lnTo>
                    <a:pt x="492" y="262"/>
                  </a:lnTo>
                  <a:lnTo>
                    <a:pt x="493" y="262"/>
                  </a:lnTo>
                  <a:lnTo>
                    <a:pt x="494" y="262"/>
                  </a:lnTo>
                  <a:lnTo>
                    <a:pt x="498" y="260"/>
                  </a:lnTo>
                  <a:lnTo>
                    <a:pt x="499" y="259"/>
                  </a:lnTo>
                  <a:lnTo>
                    <a:pt x="500" y="259"/>
                  </a:lnTo>
                  <a:lnTo>
                    <a:pt x="502" y="259"/>
                  </a:lnTo>
                  <a:lnTo>
                    <a:pt x="503" y="258"/>
                  </a:lnTo>
                  <a:lnTo>
                    <a:pt x="505" y="258"/>
                  </a:lnTo>
                  <a:lnTo>
                    <a:pt x="507" y="258"/>
                  </a:lnTo>
                  <a:lnTo>
                    <a:pt x="509" y="258"/>
                  </a:lnTo>
                  <a:lnTo>
                    <a:pt x="511" y="258"/>
                  </a:lnTo>
                  <a:lnTo>
                    <a:pt x="513" y="258"/>
                  </a:lnTo>
                  <a:lnTo>
                    <a:pt x="515" y="259"/>
                  </a:lnTo>
                  <a:lnTo>
                    <a:pt x="516" y="259"/>
                  </a:lnTo>
                  <a:lnTo>
                    <a:pt x="517" y="260"/>
                  </a:lnTo>
                  <a:lnTo>
                    <a:pt x="519" y="260"/>
                  </a:lnTo>
                  <a:lnTo>
                    <a:pt x="520" y="261"/>
                  </a:lnTo>
                  <a:lnTo>
                    <a:pt x="520" y="261"/>
                  </a:lnTo>
                  <a:lnTo>
                    <a:pt x="521" y="262"/>
                  </a:lnTo>
                  <a:lnTo>
                    <a:pt x="522" y="263"/>
                  </a:lnTo>
                  <a:lnTo>
                    <a:pt x="523" y="265"/>
                  </a:lnTo>
                  <a:lnTo>
                    <a:pt x="524" y="267"/>
                  </a:lnTo>
                  <a:lnTo>
                    <a:pt x="524" y="269"/>
                  </a:lnTo>
                  <a:lnTo>
                    <a:pt x="525" y="274"/>
                  </a:lnTo>
                  <a:lnTo>
                    <a:pt x="526" y="276"/>
                  </a:lnTo>
                  <a:lnTo>
                    <a:pt x="527" y="278"/>
                  </a:lnTo>
                  <a:lnTo>
                    <a:pt x="528" y="280"/>
                  </a:lnTo>
                  <a:lnTo>
                    <a:pt x="529" y="282"/>
                  </a:lnTo>
                  <a:lnTo>
                    <a:pt x="530" y="284"/>
                  </a:lnTo>
                  <a:lnTo>
                    <a:pt x="531" y="286"/>
                  </a:lnTo>
                  <a:lnTo>
                    <a:pt x="532" y="287"/>
                  </a:lnTo>
                  <a:lnTo>
                    <a:pt x="533" y="289"/>
                  </a:lnTo>
                  <a:lnTo>
                    <a:pt x="535" y="290"/>
                  </a:lnTo>
                  <a:lnTo>
                    <a:pt x="536" y="291"/>
                  </a:lnTo>
                  <a:lnTo>
                    <a:pt x="538" y="292"/>
                  </a:lnTo>
                  <a:lnTo>
                    <a:pt x="539" y="293"/>
                  </a:lnTo>
                  <a:lnTo>
                    <a:pt x="541" y="293"/>
                  </a:lnTo>
                  <a:lnTo>
                    <a:pt x="542" y="294"/>
                  </a:lnTo>
                  <a:lnTo>
                    <a:pt x="546" y="294"/>
                  </a:lnTo>
                  <a:lnTo>
                    <a:pt x="548" y="295"/>
                  </a:lnTo>
                  <a:lnTo>
                    <a:pt x="550" y="295"/>
                  </a:lnTo>
                  <a:lnTo>
                    <a:pt x="551" y="296"/>
                  </a:lnTo>
                  <a:lnTo>
                    <a:pt x="553" y="297"/>
                  </a:lnTo>
                  <a:lnTo>
                    <a:pt x="554" y="298"/>
                  </a:lnTo>
                  <a:lnTo>
                    <a:pt x="556" y="299"/>
                  </a:lnTo>
                  <a:lnTo>
                    <a:pt x="557" y="301"/>
                  </a:lnTo>
                  <a:lnTo>
                    <a:pt x="559" y="304"/>
                  </a:lnTo>
                  <a:lnTo>
                    <a:pt x="563" y="308"/>
                  </a:lnTo>
                  <a:lnTo>
                    <a:pt x="565" y="311"/>
                  </a:lnTo>
                  <a:lnTo>
                    <a:pt x="567" y="313"/>
                  </a:lnTo>
                  <a:lnTo>
                    <a:pt x="570" y="318"/>
                  </a:lnTo>
                  <a:lnTo>
                    <a:pt x="573" y="323"/>
                  </a:lnTo>
                  <a:lnTo>
                    <a:pt x="575" y="327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4" y="337"/>
                  </a:lnTo>
                  <a:lnTo>
                    <a:pt x="589" y="343"/>
                  </a:lnTo>
                  <a:lnTo>
                    <a:pt x="591" y="345"/>
                  </a:lnTo>
                  <a:lnTo>
                    <a:pt x="592" y="346"/>
                  </a:lnTo>
                  <a:lnTo>
                    <a:pt x="594" y="347"/>
                  </a:lnTo>
                  <a:lnTo>
                    <a:pt x="598" y="351"/>
                  </a:lnTo>
                  <a:lnTo>
                    <a:pt x="599" y="352"/>
                  </a:lnTo>
                  <a:lnTo>
                    <a:pt x="600" y="353"/>
                  </a:lnTo>
                  <a:lnTo>
                    <a:pt x="601" y="354"/>
                  </a:lnTo>
                  <a:lnTo>
                    <a:pt x="602" y="356"/>
                  </a:lnTo>
                  <a:lnTo>
                    <a:pt x="603" y="357"/>
                  </a:lnTo>
                  <a:lnTo>
                    <a:pt x="604" y="359"/>
                  </a:lnTo>
                  <a:lnTo>
                    <a:pt x="605" y="361"/>
                  </a:lnTo>
                  <a:lnTo>
                    <a:pt x="606" y="363"/>
                  </a:lnTo>
                  <a:lnTo>
                    <a:pt x="607" y="365"/>
                  </a:lnTo>
                  <a:lnTo>
                    <a:pt x="607" y="368"/>
                  </a:lnTo>
                  <a:lnTo>
                    <a:pt x="607" y="370"/>
                  </a:lnTo>
                  <a:lnTo>
                    <a:pt x="608" y="376"/>
                  </a:lnTo>
                  <a:lnTo>
                    <a:pt x="608" y="380"/>
                  </a:lnTo>
                  <a:lnTo>
                    <a:pt x="609" y="383"/>
                  </a:lnTo>
                  <a:lnTo>
                    <a:pt x="609" y="387"/>
                  </a:lnTo>
                  <a:lnTo>
                    <a:pt x="610" y="390"/>
                  </a:lnTo>
                  <a:lnTo>
                    <a:pt x="610" y="392"/>
                  </a:lnTo>
                  <a:lnTo>
                    <a:pt x="611" y="394"/>
                  </a:lnTo>
                  <a:lnTo>
                    <a:pt x="611" y="395"/>
                  </a:lnTo>
                  <a:lnTo>
                    <a:pt x="612" y="397"/>
                  </a:lnTo>
                  <a:lnTo>
                    <a:pt x="613" y="400"/>
                  </a:lnTo>
                  <a:lnTo>
                    <a:pt x="616" y="405"/>
                  </a:lnTo>
                  <a:lnTo>
                    <a:pt x="617" y="406"/>
                  </a:lnTo>
                  <a:lnTo>
                    <a:pt x="617" y="407"/>
                  </a:lnTo>
                  <a:lnTo>
                    <a:pt x="618" y="409"/>
                  </a:lnTo>
                  <a:lnTo>
                    <a:pt x="618" y="410"/>
                  </a:lnTo>
                  <a:lnTo>
                    <a:pt x="618" y="411"/>
                  </a:lnTo>
                  <a:lnTo>
                    <a:pt x="618" y="411"/>
                  </a:lnTo>
                  <a:lnTo>
                    <a:pt x="618" y="411"/>
                  </a:lnTo>
                  <a:lnTo>
                    <a:pt x="618" y="411"/>
                  </a:lnTo>
                  <a:lnTo>
                    <a:pt x="617" y="412"/>
                  </a:lnTo>
                  <a:lnTo>
                    <a:pt x="617" y="412"/>
                  </a:lnTo>
                  <a:lnTo>
                    <a:pt x="616" y="412"/>
                  </a:lnTo>
                  <a:lnTo>
                    <a:pt x="615" y="412"/>
                  </a:lnTo>
                  <a:lnTo>
                    <a:pt x="613" y="411"/>
                  </a:lnTo>
                  <a:lnTo>
                    <a:pt x="611" y="411"/>
                  </a:lnTo>
                  <a:lnTo>
                    <a:pt x="609" y="410"/>
                  </a:lnTo>
                  <a:lnTo>
                    <a:pt x="602" y="407"/>
                  </a:lnTo>
                  <a:lnTo>
                    <a:pt x="599" y="406"/>
                  </a:lnTo>
                  <a:lnTo>
                    <a:pt x="597" y="405"/>
                  </a:lnTo>
                  <a:lnTo>
                    <a:pt x="594" y="403"/>
                  </a:lnTo>
                  <a:lnTo>
                    <a:pt x="591" y="401"/>
                  </a:lnTo>
                  <a:lnTo>
                    <a:pt x="590" y="401"/>
                  </a:lnTo>
                  <a:lnTo>
                    <a:pt x="588" y="400"/>
                  </a:lnTo>
                  <a:lnTo>
                    <a:pt x="587" y="399"/>
                  </a:lnTo>
                  <a:lnTo>
                    <a:pt x="586" y="399"/>
                  </a:lnTo>
                  <a:lnTo>
                    <a:pt x="585" y="398"/>
                  </a:lnTo>
                  <a:lnTo>
                    <a:pt x="584" y="398"/>
                  </a:lnTo>
                  <a:lnTo>
                    <a:pt x="583" y="398"/>
                  </a:lnTo>
                  <a:lnTo>
                    <a:pt x="582" y="398"/>
                  </a:lnTo>
                  <a:lnTo>
                    <a:pt x="581" y="398"/>
                  </a:lnTo>
                  <a:lnTo>
                    <a:pt x="581" y="399"/>
                  </a:lnTo>
                  <a:lnTo>
                    <a:pt x="580" y="399"/>
                  </a:lnTo>
                  <a:lnTo>
                    <a:pt x="579" y="399"/>
                  </a:lnTo>
                  <a:lnTo>
                    <a:pt x="578" y="400"/>
                  </a:lnTo>
                  <a:lnTo>
                    <a:pt x="578" y="401"/>
                  </a:lnTo>
                  <a:lnTo>
                    <a:pt x="577" y="402"/>
                  </a:lnTo>
                  <a:lnTo>
                    <a:pt x="576" y="402"/>
                  </a:lnTo>
                  <a:lnTo>
                    <a:pt x="576" y="404"/>
                  </a:lnTo>
                  <a:lnTo>
                    <a:pt x="573" y="409"/>
                  </a:lnTo>
                  <a:lnTo>
                    <a:pt x="572" y="411"/>
                  </a:lnTo>
                  <a:lnTo>
                    <a:pt x="572" y="412"/>
                  </a:lnTo>
                  <a:lnTo>
                    <a:pt x="571" y="413"/>
                  </a:lnTo>
                  <a:lnTo>
                    <a:pt x="570" y="415"/>
                  </a:lnTo>
                  <a:lnTo>
                    <a:pt x="568" y="416"/>
                  </a:lnTo>
                  <a:lnTo>
                    <a:pt x="567" y="417"/>
                  </a:lnTo>
                  <a:lnTo>
                    <a:pt x="565" y="419"/>
                  </a:lnTo>
                  <a:lnTo>
                    <a:pt x="563" y="420"/>
                  </a:lnTo>
                  <a:lnTo>
                    <a:pt x="561" y="421"/>
                  </a:lnTo>
                  <a:lnTo>
                    <a:pt x="558" y="422"/>
                  </a:lnTo>
                  <a:lnTo>
                    <a:pt x="555" y="424"/>
                  </a:lnTo>
                  <a:lnTo>
                    <a:pt x="554" y="424"/>
                  </a:lnTo>
                  <a:lnTo>
                    <a:pt x="553" y="426"/>
                  </a:lnTo>
                  <a:lnTo>
                    <a:pt x="552" y="426"/>
                  </a:lnTo>
                  <a:lnTo>
                    <a:pt x="548" y="428"/>
                  </a:lnTo>
                  <a:lnTo>
                    <a:pt x="544" y="430"/>
                  </a:lnTo>
                  <a:lnTo>
                    <a:pt x="541" y="431"/>
                  </a:lnTo>
                  <a:lnTo>
                    <a:pt x="540" y="432"/>
                  </a:lnTo>
                  <a:lnTo>
                    <a:pt x="538" y="433"/>
                  </a:lnTo>
                  <a:lnTo>
                    <a:pt x="534" y="436"/>
                  </a:lnTo>
                  <a:lnTo>
                    <a:pt x="532" y="438"/>
                  </a:lnTo>
                  <a:lnTo>
                    <a:pt x="530" y="439"/>
                  </a:lnTo>
                  <a:lnTo>
                    <a:pt x="527" y="441"/>
                  </a:lnTo>
                  <a:lnTo>
                    <a:pt x="525" y="442"/>
                  </a:lnTo>
                  <a:lnTo>
                    <a:pt x="524" y="443"/>
                  </a:lnTo>
                  <a:lnTo>
                    <a:pt x="523" y="444"/>
                  </a:lnTo>
                  <a:lnTo>
                    <a:pt x="522" y="445"/>
                  </a:lnTo>
                  <a:lnTo>
                    <a:pt x="521" y="446"/>
                  </a:lnTo>
                  <a:lnTo>
                    <a:pt x="521" y="447"/>
                  </a:lnTo>
                  <a:lnTo>
                    <a:pt x="520" y="448"/>
                  </a:lnTo>
                  <a:lnTo>
                    <a:pt x="520" y="449"/>
                  </a:lnTo>
                  <a:lnTo>
                    <a:pt x="520" y="450"/>
                  </a:lnTo>
                  <a:lnTo>
                    <a:pt x="520" y="454"/>
                  </a:lnTo>
                  <a:lnTo>
                    <a:pt x="520" y="455"/>
                  </a:lnTo>
                  <a:lnTo>
                    <a:pt x="519" y="456"/>
                  </a:lnTo>
                  <a:lnTo>
                    <a:pt x="519" y="456"/>
                  </a:lnTo>
                  <a:lnTo>
                    <a:pt x="519" y="457"/>
                  </a:lnTo>
                  <a:lnTo>
                    <a:pt x="518" y="458"/>
                  </a:lnTo>
                  <a:lnTo>
                    <a:pt x="517" y="459"/>
                  </a:lnTo>
                  <a:lnTo>
                    <a:pt x="515" y="460"/>
                  </a:lnTo>
                  <a:lnTo>
                    <a:pt x="513" y="462"/>
                  </a:lnTo>
                  <a:lnTo>
                    <a:pt x="512" y="463"/>
                  </a:lnTo>
                  <a:lnTo>
                    <a:pt x="511" y="464"/>
                  </a:lnTo>
                  <a:lnTo>
                    <a:pt x="511" y="464"/>
                  </a:lnTo>
                  <a:lnTo>
                    <a:pt x="510" y="465"/>
                  </a:lnTo>
                  <a:lnTo>
                    <a:pt x="510" y="466"/>
                  </a:lnTo>
                  <a:lnTo>
                    <a:pt x="510" y="467"/>
                  </a:lnTo>
                  <a:lnTo>
                    <a:pt x="510" y="468"/>
                  </a:lnTo>
                  <a:lnTo>
                    <a:pt x="510" y="468"/>
                  </a:lnTo>
                  <a:lnTo>
                    <a:pt x="510" y="470"/>
                  </a:lnTo>
                  <a:lnTo>
                    <a:pt x="511" y="473"/>
                  </a:lnTo>
                  <a:lnTo>
                    <a:pt x="511" y="474"/>
                  </a:lnTo>
                  <a:lnTo>
                    <a:pt x="511" y="475"/>
                  </a:lnTo>
                  <a:lnTo>
                    <a:pt x="511" y="475"/>
                  </a:lnTo>
                  <a:lnTo>
                    <a:pt x="511" y="476"/>
                  </a:lnTo>
                  <a:lnTo>
                    <a:pt x="510" y="477"/>
                  </a:lnTo>
                  <a:lnTo>
                    <a:pt x="510" y="477"/>
                  </a:lnTo>
                  <a:lnTo>
                    <a:pt x="509" y="477"/>
                  </a:lnTo>
                  <a:lnTo>
                    <a:pt x="508" y="477"/>
                  </a:lnTo>
                  <a:lnTo>
                    <a:pt x="507" y="477"/>
                  </a:lnTo>
                  <a:lnTo>
                    <a:pt x="506" y="477"/>
                  </a:lnTo>
                  <a:lnTo>
                    <a:pt x="505" y="477"/>
                  </a:lnTo>
                  <a:lnTo>
                    <a:pt x="503" y="477"/>
                  </a:lnTo>
                  <a:lnTo>
                    <a:pt x="500" y="476"/>
                  </a:lnTo>
                  <a:lnTo>
                    <a:pt x="498" y="476"/>
                  </a:lnTo>
                  <a:lnTo>
                    <a:pt x="496" y="476"/>
                  </a:lnTo>
                  <a:lnTo>
                    <a:pt x="495" y="475"/>
                  </a:lnTo>
                  <a:lnTo>
                    <a:pt x="494" y="476"/>
                  </a:lnTo>
                  <a:lnTo>
                    <a:pt x="491" y="476"/>
                  </a:lnTo>
                  <a:lnTo>
                    <a:pt x="487" y="476"/>
                  </a:lnTo>
                  <a:lnTo>
                    <a:pt x="485" y="477"/>
                  </a:lnTo>
                  <a:lnTo>
                    <a:pt x="483" y="477"/>
                  </a:lnTo>
                  <a:lnTo>
                    <a:pt x="482" y="476"/>
                  </a:lnTo>
                  <a:lnTo>
                    <a:pt x="482" y="476"/>
                  </a:lnTo>
                  <a:lnTo>
                    <a:pt x="481" y="476"/>
                  </a:lnTo>
                  <a:lnTo>
                    <a:pt x="479" y="475"/>
                  </a:lnTo>
                  <a:lnTo>
                    <a:pt x="478" y="475"/>
                  </a:lnTo>
                  <a:lnTo>
                    <a:pt x="477" y="475"/>
                  </a:lnTo>
                  <a:lnTo>
                    <a:pt x="477" y="475"/>
                  </a:lnTo>
                  <a:lnTo>
                    <a:pt x="476" y="475"/>
                  </a:lnTo>
                  <a:lnTo>
                    <a:pt x="473" y="477"/>
                  </a:lnTo>
                  <a:lnTo>
                    <a:pt x="471" y="477"/>
                  </a:lnTo>
                  <a:lnTo>
                    <a:pt x="470" y="477"/>
                  </a:lnTo>
                  <a:lnTo>
                    <a:pt x="466" y="478"/>
                  </a:lnTo>
                  <a:lnTo>
                    <a:pt x="464" y="479"/>
                  </a:lnTo>
                  <a:lnTo>
                    <a:pt x="462" y="479"/>
                  </a:lnTo>
                  <a:lnTo>
                    <a:pt x="460" y="479"/>
                  </a:lnTo>
                  <a:lnTo>
                    <a:pt x="459" y="479"/>
                  </a:lnTo>
                  <a:lnTo>
                    <a:pt x="458" y="479"/>
                  </a:lnTo>
                  <a:lnTo>
                    <a:pt x="457" y="478"/>
                  </a:lnTo>
                  <a:lnTo>
                    <a:pt x="456" y="478"/>
                  </a:lnTo>
                  <a:lnTo>
                    <a:pt x="455" y="477"/>
                  </a:lnTo>
                  <a:lnTo>
                    <a:pt x="453" y="476"/>
                  </a:lnTo>
                  <a:lnTo>
                    <a:pt x="448" y="472"/>
                  </a:lnTo>
                  <a:lnTo>
                    <a:pt x="446" y="470"/>
                  </a:lnTo>
                  <a:lnTo>
                    <a:pt x="445" y="470"/>
                  </a:lnTo>
                  <a:lnTo>
                    <a:pt x="443" y="469"/>
                  </a:lnTo>
                  <a:lnTo>
                    <a:pt x="440" y="467"/>
                  </a:lnTo>
                  <a:lnTo>
                    <a:pt x="437" y="466"/>
                  </a:lnTo>
                  <a:lnTo>
                    <a:pt x="434" y="465"/>
                  </a:lnTo>
                  <a:lnTo>
                    <a:pt x="432" y="464"/>
                  </a:lnTo>
                  <a:lnTo>
                    <a:pt x="431" y="463"/>
                  </a:lnTo>
                  <a:lnTo>
                    <a:pt x="429" y="462"/>
                  </a:lnTo>
                  <a:lnTo>
                    <a:pt x="428" y="461"/>
                  </a:lnTo>
                  <a:lnTo>
                    <a:pt x="424" y="458"/>
                  </a:lnTo>
                  <a:lnTo>
                    <a:pt x="423" y="457"/>
                  </a:lnTo>
                  <a:lnTo>
                    <a:pt x="422" y="456"/>
                  </a:lnTo>
                  <a:lnTo>
                    <a:pt x="420" y="456"/>
                  </a:lnTo>
                  <a:lnTo>
                    <a:pt x="419" y="455"/>
                  </a:lnTo>
                  <a:lnTo>
                    <a:pt x="415" y="453"/>
                  </a:lnTo>
                  <a:lnTo>
                    <a:pt x="412" y="452"/>
                  </a:lnTo>
                  <a:lnTo>
                    <a:pt x="410" y="451"/>
                  </a:lnTo>
                  <a:lnTo>
                    <a:pt x="409" y="450"/>
                  </a:lnTo>
                  <a:lnTo>
                    <a:pt x="407" y="449"/>
                  </a:lnTo>
                  <a:lnTo>
                    <a:pt x="406" y="447"/>
                  </a:lnTo>
                  <a:lnTo>
                    <a:pt x="405" y="446"/>
                  </a:lnTo>
                  <a:lnTo>
                    <a:pt x="402" y="442"/>
                  </a:lnTo>
                  <a:lnTo>
                    <a:pt x="400" y="440"/>
                  </a:lnTo>
                  <a:lnTo>
                    <a:pt x="399" y="439"/>
                  </a:lnTo>
                  <a:lnTo>
                    <a:pt x="398" y="438"/>
                  </a:lnTo>
                  <a:lnTo>
                    <a:pt x="397" y="438"/>
                  </a:lnTo>
                  <a:lnTo>
                    <a:pt x="396" y="437"/>
                  </a:lnTo>
                  <a:lnTo>
                    <a:pt x="394" y="436"/>
                  </a:lnTo>
                  <a:lnTo>
                    <a:pt x="392" y="436"/>
                  </a:lnTo>
                  <a:lnTo>
                    <a:pt x="387" y="434"/>
                  </a:lnTo>
                  <a:lnTo>
                    <a:pt x="385" y="434"/>
                  </a:lnTo>
                  <a:lnTo>
                    <a:pt x="384" y="433"/>
                  </a:lnTo>
                  <a:lnTo>
                    <a:pt x="383" y="432"/>
                  </a:lnTo>
                  <a:lnTo>
                    <a:pt x="382" y="432"/>
                  </a:lnTo>
                  <a:lnTo>
                    <a:pt x="381" y="431"/>
                  </a:lnTo>
                  <a:lnTo>
                    <a:pt x="380" y="430"/>
                  </a:lnTo>
                  <a:lnTo>
                    <a:pt x="380" y="429"/>
                  </a:lnTo>
                  <a:lnTo>
                    <a:pt x="379" y="428"/>
                  </a:lnTo>
                  <a:lnTo>
                    <a:pt x="378" y="425"/>
                  </a:lnTo>
                  <a:lnTo>
                    <a:pt x="377" y="421"/>
                  </a:lnTo>
                  <a:lnTo>
                    <a:pt x="376" y="419"/>
                  </a:lnTo>
                  <a:lnTo>
                    <a:pt x="375" y="417"/>
                  </a:lnTo>
                  <a:lnTo>
                    <a:pt x="375" y="416"/>
                  </a:lnTo>
                  <a:lnTo>
                    <a:pt x="374" y="415"/>
                  </a:lnTo>
                  <a:lnTo>
                    <a:pt x="374" y="415"/>
                  </a:lnTo>
                  <a:lnTo>
                    <a:pt x="373" y="413"/>
                  </a:lnTo>
                  <a:lnTo>
                    <a:pt x="370" y="410"/>
                  </a:lnTo>
                  <a:lnTo>
                    <a:pt x="369" y="409"/>
                  </a:lnTo>
                  <a:lnTo>
                    <a:pt x="368" y="408"/>
                  </a:lnTo>
                  <a:lnTo>
                    <a:pt x="367" y="408"/>
                  </a:lnTo>
                  <a:lnTo>
                    <a:pt x="365" y="407"/>
                  </a:lnTo>
                  <a:lnTo>
                    <a:pt x="363" y="406"/>
                  </a:lnTo>
                  <a:lnTo>
                    <a:pt x="361" y="405"/>
                  </a:lnTo>
                  <a:lnTo>
                    <a:pt x="356" y="404"/>
                  </a:lnTo>
                  <a:lnTo>
                    <a:pt x="351" y="402"/>
                  </a:lnTo>
                  <a:lnTo>
                    <a:pt x="348" y="402"/>
                  </a:lnTo>
                  <a:lnTo>
                    <a:pt x="344" y="401"/>
                  </a:lnTo>
                  <a:lnTo>
                    <a:pt x="343" y="401"/>
                  </a:lnTo>
                  <a:lnTo>
                    <a:pt x="341" y="401"/>
                  </a:lnTo>
                  <a:lnTo>
                    <a:pt x="340" y="401"/>
                  </a:lnTo>
                  <a:lnTo>
                    <a:pt x="339" y="401"/>
                  </a:lnTo>
                  <a:lnTo>
                    <a:pt x="337" y="401"/>
                  </a:lnTo>
                  <a:lnTo>
                    <a:pt x="333" y="403"/>
                  </a:lnTo>
                  <a:lnTo>
                    <a:pt x="331" y="403"/>
                  </a:lnTo>
                  <a:lnTo>
                    <a:pt x="330" y="404"/>
                  </a:lnTo>
                  <a:lnTo>
                    <a:pt x="328" y="405"/>
                  </a:lnTo>
                  <a:lnTo>
                    <a:pt x="327" y="406"/>
                  </a:lnTo>
                  <a:lnTo>
                    <a:pt x="324" y="410"/>
                  </a:lnTo>
                  <a:lnTo>
                    <a:pt x="323" y="410"/>
                  </a:lnTo>
                  <a:lnTo>
                    <a:pt x="322" y="411"/>
                  </a:lnTo>
                  <a:lnTo>
                    <a:pt x="321" y="412"/>
                  </a:lnTo>
                  <a:lnTo>
                    <a:pt x="320" y="412"/>
                  </a:lnTo>
                  <a:lnTo>
                    <a:pt x="316" y="414"/>
                  </a:lnTo>
                  <a:lnTo>
                    <a:pt x="314" y="415"/>
                  </a:lnTo>
                  <a:lnTo>
                    <a:pt x="313" y="416"/>
                  </a:lnTo>
                  <a:lnTo>
                    <a:pt x="310" y="418"/>
                  </a:lnTo>
                  <a:lnTo>
                    <a:pt x="307" y="419"/>
                  </a:lnTo>
                  <a:lnTo>
                    <a:pt x="306" y="420"/>
                  </a:lnTo>
                  <a:lnTo>
                    <a:pt x="305" y="420"/>
                  </a:lnTo>
                  <a:lnTo>
                    <a:pt x="304" y="420"/>
                  </a:lnTo>
                  <a:lnTo>
                    <a:pt x="304" y="421"/>
                  </a:lnTo>
                  <a:lnTo>
                    <a:pt x="303" y="421"/>
                  </a:lnTo>
                  <a:lnTo>
                    <a:pt x="301" y="420"/>
                  </a:lnTo>
                  <a:lnTo>
                    <a:pt x="300" y="420"/>
                  </a:lnTo>
                  <a:lnTo>
                    <a:pt x="299" y="420"/>
                  </a:lnTo>
                  <a:lnTo>
                    <a:pt x="298" y="420"/>
                  </a:lnTo>
                  <a:lnTo>
                    <a:pt x="297" y="419"/>
                  </a:lnTo>
                  <a:lnTo>
                    <a:pt x="296" y="419"/>
                  </a:lnTo>
                  <a:lnTo>
                    <a:pt x="295" y="418"/>
                  </a:lnTo>
                  <a:lnTo>
                    <a:pt x="294" y="417"/>
                  </a:lnTo>
                  <a:lnTo>
                    <a:pt x="294" y="416"/>
                  </a:lnTo>
                  <a:lnTo>
                    <a:pt x="293" y="415"/>
                  </a:lnTo>
                  <a:lnTo>
                    <a:pt x="292" y="414"/>
                  </a:lnTo>
                  <a:lnTo>
                    <a:pt x="291" y="412"/>
                  </a:lnTo>
                  <a:lnTo>
                    <a:pt x="290" y="408"/>
                  </a:lnTo>
                  <a:lnTo>
                    <a:pt x="289" y="406"/>
                  </a:lnTo>
                  <a:lnTo>
                    <a:pt x="288" y="404"/>
                  </a:lnTo>
                  <a:lnTo>
                    <a:pt x="287" y="402"/>
                  </a:lnTo>
                  <a:lnTo>
                    <a:pt x="286" y="400"/>
                  </a:lnTo>
                  <a:lnTo>
                    <a:pt x="285" y="399"/>
                  </a:lnTo>
                  <a:lnTo>
                    <a:pt x="284" y="399"/>
                  </a:lnTo>
                  <a:lnTo>
                    <a:pt x="284" y="398"/>
                  </a:lnTo>
                  <a:lnTo>
                    <a:pt x="283" y="397"/>
                  </a:lnTo>
                  <a:lnTo>
                    <a:pt x="281" y="396"/>
                  </a:lnTo>
                  <a:lnTo>
                    <a:pt x="281" y="396"/>
                  </a:lnTo>
                  <a:lnTo>
                    <a:pt x="281" y="396"/>
                  </a:lnTo>
                  <a:lnTo>
                    <a:pt x="280" y="396"/>
                  </a:lnTo>
                  <a:lnTo>
                    <a:pt x="280" y="396"/>
                  </a:lnTo>
                  <a:lnTo>
                    <a:pt x="277" y="398"/>
                  </a:lnTo>
                  <a:lnTo>
                    <a:pt x="275" y="399"/>
                  </a:lnTo>
                  <a:lnTo>
                    <a:pt x="273" y="400"/>
                  </a:lnTo>
                  <a:lnTo>
                    <a:pt x="271" y="401"/>
                  </a:lnTo>
                  <a:lnTo>
                    <a:pt x="270" y="402"/>
                  </a:lnTo>
                  <a:lnTo>
                    <a:pt x="269" y="404"/>
                  </a:lnTo>
                  <a:lnTo>
                    <a:pt x="268" y="405"/>
                  </a:lnTo>
                  <a:lnTo>
                    <a:pt x="267" y="406"/>
                  </a:lnTo>
                  <a:lnTo>
                    <a:pt x="267" y="406"/>
                  </a:lnTo>
                  <a:lnTo>
                    <a:pt x="266" y="407"/>
                  </a:lnTo>
                  <a:lnTo>
                    <a:pt x="265" y="409"/>
                  </a:lnTo>
                  <a:lnTo>
                    <a:pt x="264" y="413"/>
                  </a:lnTo>
                  <a:lnTo>
                    <a:pt x="263" y="414"/>
                  </a:lnTo>
                  <a:lnTo>
                    <a:pt x="262" y="415"/>
                  </a:lnTo>
                  <a:lnTo>
                    <a:pt x="262" y="416"/>
                  </a:lnTo>
                  <a:lnTo>
                    <a:pt x="261" y="416"/>
                  </a:lnTo>
                  <a:lnTo>
                    <a:pt x="260" y="417"/>
                  </a:lnTo>
                  <a:lnTo>
                    <a:pt x="259" y="418"/>
                  </a:lnTo>
                  <a:lnTo>
                    <a:pt x="258" y="419"/>
                  </a:lnTo>
                  <a:lnTo>
                    <a:pt x="256" y="420"/>
                  </a:lnTo>
                  <a:lnTo>
                    <a:pt x="255" y="420"/>
                  </a:lnTo>
                  <a:lnTo>
                    <a:pt x="251" y="421"/>
                  </a:lnTo>
                  <a:lnTo>
                    <a:pt x="249" y="422"/>
                  </a:lnTo>
                  <a:lnTo>
                    <a:pt x="247" y="423"/>
                  </a:lnTo>
                  <a:lnTo>
                    <a:pt x="244" y="425"/>
                  </a:lnTo>
                  <a:lnTo>
                    <a:pt x="242" y="425"/>
                  </a:lnTo>
                  <a:lnTo>
                    <a:pt x="241" y="425"/>
                  </a:lnTo>
                  <a:lnTo>
                    <a:pt x="240" y="425"/>
                  </a:lnTo>
                  <a:lnTo>
                    <a:pt x="238" y="425"/>
                  </a:lnTo>
                  <a:lnTo>
                    <a:pt x="237" y="425"/>
                  </a:lnTo>
                  <a:lnTo>
                    <a:pt x="236" y="425"/>
                  </a:lnTo>
                  <a:lnTo>
                    <a:pt x="234" y="425"/>
                  </a:lnTo>
                  <a:lnTo>
                    <a:pt x="230" y="423"/>
                  </a:lnTo>
                  <a:lnTo>
                    <a:pt x="228" y="422"/>
                  </a:lnTo>
                  <a:lnTo>
                    <a:pt x="227" y="422"/>
                  </a:lnTo>
                  <a:lnTo>
                    <a:pt x="226" y="422"/>
                  </a:lnTo>
                  <a:lnTo>
                    <a:pt x="225" y="422"/>
                  </a:lnTo>
                  <a:lnTo>
                    <a:pt x="223" y="422"/>
                  </a:lnTo>
                  <a:lnTo>
                    <a:pt x="221" y="422"/>
                  </a:lnTo>
                  <a:lnTo>
                    <a:pt x="219" y="422"/>
                  </a:lnTo>
                  <a:lnTo>
                    <a:pt x="217" y="421"/>
                  </a:lnTo>
                  <a:lnTo>
                    <a:pt x="215" y="421"/>
                  </a:lnTo>
                  <a:lnTo>
                    <a:pt x="213" y="421"/>
                  </a:lnTo>
                  <a:lnTo>
                    <a:pt x="209" y="421"/>
                  </a:lnTo>
                  <a:lnTo>
                    <a:pt x="208" y="421"/>
                  </a:lnTo>
                  <a:lnTo>
                    <a:pt x="206" y="421"/>
                  </a:lnTo>
                  <a:lnTo>
                    <a:pt x="204" y="421"/>
                  </a:lnTo>
                  <a:lnTo>
                    <a:pt x="203" y="421"/>
                  </a:lnTo>
                  <a:lnTo>
                    <a:pt x="202" y="421"/>
                  </a:lnTo>
                  <a:lnTo>
                    <a:pt x="201" y="421"/>
                  </a:lnTo>
                  <a:lnTo>
                    <a:pt x="200" y="420"/>
                  </a:lnTo>
                  <a:lnTo>
                    <a:pt x="198" y="419"/>
                  </a:lnTo>
                  <a:lnTo>
                    <a:pt x="196" y="417"/>
                  </a:lnTo>
                  <a:lnTo>
                    <a:pt x="195" y="417"/>
                  </a:lnTo>
                  <a:lnTo>
                    <a:pt x="195" y="416"/>
                  </a:lnTo>
                  <a:lnTo>
                    <a:pt x="194" y="416"/>
                  </a:lnTo>
                  <a:lnTo>
                    <a:pt x="194" y="416"/>
                  </a:lnTo>
                  <a:lnTo>
                    <a:pt x="193" y="416"/>
                  </a:lnTo>
                  <a:lnTo>
                    <a:pt x="192" y="416"/>
                  </a:lnTo>
                  <a:lnTo>
                    <a:pt x="192" y="416"/>
                  </a:lnTo>
                  <a:lnTo>
                    <a:pt x="191" y="416"/>
                  </a:lnTo>
                  <a:lnTo>
                    <a:pt x="186" y="419"/>
                  </a:lnTo>
                  <a:lnTo>
                    <a:pt x="185" y="419"/>
                  </a:lnTo>
                  <a:lnTo>
                    <a:pt x="184" y="420"/>
                  </a:lnTo>
                  <a:lnTo>
                    <a:pt x="181" y="420"/>
                  </a:lnTo>
                  <a:lnTo>
                    <a:pt x="180" y="421"/>
                  </a:lnTo>
                  <a:lnTo>
                    <a:pt x="178" y="421"/>
                  </a:lnTo>
                  <a:lnTo>
                    <a:pt x="177" y="422"/>
                  </a:lnTo>
                  <a:lnTo>
                    <a:pt x="176" y="423"/>
                  </a:lnTo>
                  <a:lnTo>
                    <a:pt x="175" y="423"/>
                  </a:lnTo>
                  <a:lnTo>
                    <a:pt x="175" y="424"/>
                  </a:lnTo>
                  <a:lnTo>
                    <a:pt x="174" y="425"/>
                  </a:lnTo>
                  <a:lnTo>
                    <a:pt x="173" y="426"/>
                  </a:lnTo>
                  <a:lnTo>
                    <a:pt x="173" y="427"/>
                  </a:lnTo>
                  <a:lnTo>
                    <a:pt x="171" y="430"/>
                  </a:lnTo>
                  <a:lnTo>
                    <a:pt x="171" y="431"/>
                  </a:lnTo>
                  <a:lnTo>
                    <a:pt x="170" y="431"/>
                  </a:lnTo>
                  <a:lnTo>
                    <a:pt x="169" y="432"/>
                  </a:lnTo>
                  <a:lnTo>
                    <a:pt x="167" y="434"/>
                  </a:lnTo>
                  <a:lnTo>
                    <a:pt x="166" y="435"/>
                  </a:lnTo>
                  <a:lnTo>
                    <a:pt x="164" y="436"/>
                  </a:lnTo>
                  <a:lnTo>
                    <a:pt x="162" y="437"/>
                  </a:lnTo>
                  <a:lnTo>
                    <a:pt x="161" y="437"/>
                  </a:lnTo>
                  <a:lnTo>
                    <a:pt x="159" y="439"/>
                  </a:lnTo>
                  <a:lnTo>
                    <a:pt x="157" y="440"/>
                  </a:lnTo>
                  <a:lnTo>
                    <a:pt x="155" y="441"/>
                  </a:lnTo>
                  <a:lnTo>
                    <a:pt x="154" y="442"/>
                  </a:lnTo>
                  <a:lnTo>
                    <a:pt x="153" y="442"/>
                  </a:lnTo>
                  <a:lnTo>
                    <a:pt x="151" y="443"/>
                  </a:lnTo>
                  <a:lnTo>
                    <a:pt x="150" y="443"/>
                  </a:lnTo>
                  <a:lnTo>
                    <a:pt x="148" y="443"/>
                  </a:lnTo>
                  <a:lnTo>
                    <a:pt x="147" y="444"/>
                  </a:lnTo>
                  <a:lnTo>
                    <a:pt x="146" y="444"/>
                  </a:lnTo>
                  <a:lnTo>
                    <a:pt x="145" y="444"/>
                  </a:lnTo>
                  <a:lnTo>
                    <a:pt x="143" y="444"/>
                  </a:lnTo>
                  <a:lnTo>
                    <a:pt x="142" y="443"/>
                  </a:lnTo>
                  <a:lnTo>
                    <a:pt x="141" y="443"/>
                  </a:lnTo>
                  <a:lnTo>
                    <a:pt x="140" y="443"/>
                  </a:lnTo>
                  <a:lnTo>
                    <a:pt x="139" y="442"/>
                  </a:lnTo>
                  <a:lnTo>
                    <a:pt x="138" y="441"/>
                  </a:lnTo>
                  <a:lnTo>
                    <a:pt x="137" y="441"/>
                  </a:lnTo>
                  <a:lnTo>
                    <a:pt x="137" y="440"/>
                  </a:lnTo>
                  <a:lnTo>
                    <a:pt x="136" y="439"/>
                  </a:lnTo>
                  <a:lnTo>
                    <a:pt x="137" y="439"/>
                  </a:lnTo>
                  <a:lnTo>
                    <a:pt x="137" y="437"/>
                  </a:lnTo>
                  <a:lnTo>
                    <a:pt x="137" y="435"/>
                  </a:lnTo>
                  <a:lnTo>
                    <a:pt x="138" y="433"/>
                  </a:lnTo>
                  <a:lnTo>
                    <a:pt x="137" y="433"/>
                  </a:lnTo>
                  <a:lnTo>
                    <a:pt x="137" y="432"/>
                  </a:lnTo>
                  <a:lnTo>
                    <a:pt x="137" y="431"/>
                  </a:lnTo>
                  <a:lnTo>
                    <a:pt x="137" y="430"/>
                  </a:lnTo>
                  <a:lnTo>
                    <a:pt x="136" y="430"/>
                  </a:lnTo>
                  <a:lnTo>
                    <a:pt x="136" y="429"/>
                  </a:lnTo>
                  <a:lnTo>
                    <a:pt x="135" y="428"/>
                  </a:lnTo>
                  <a:lnTo>
                    <a:pt x="135" y="428"/>
                  </a:lnTo>
                  <a:lnTo>
                    <a:pt x="133" y="426"/>
                  </a:lnTo>
                  <a:lnTo>
                    <a:pt x="132" y="425"/>
                  </a:lnTo>
                  <a:lnTo>
                    <a:pt x="128" y="423"/>
                  </a:lnTo>
                  <a:lnTo>
                    <a:pt x="127" y="422"/>
                  </a:lnTo>
                  <a:lnTo>
                    <a:pt x="126" y="422"/>
                  </a:lnTo>
                  <a:lnTo>
                    <a:pt x="125" y="421"/>
                  </a:lnTo>
                  <a:lnTo>
                    <a:pt x="123" y="421"/>
                  </a:lnTo>
                  <a:lnTo>
                    <a:pt x="120" y="421"/>
                  </a:lnTo>
                  <a:lnTo>
                    <a:pt x="118" y="420"/>
                  </a:lnTo>
                  <a:lnTo>
                    <a:pt x="117" y="419"/>
                  </a:lnTo>
                  <a:lnTo>
                    <a:pt x="112" y="418"/>
                  </a:lnTo>
                  <a:lnTo>
                    <a:pt x="107" y="416"/>
                  </a:lnTo>
                  <a:lnTo>
                    <a:pt x="106" y="416"/>
                  </a:lnTo>
                  <a:lnTo>
                    <a:pt x="105" y="415"/>
                  </a:lnTo>
                  <a:lnTo>
                    <a:pt x="105" y="415"/>
                  </a:lnTo>
                  <a:lnTo>
                    <a:pt x="104" y="415"/>
                  </a:lnTo>
                  <a:lnTo>
                    <a:pt x="104" y="414"/>
                  </a:lnTo>
                  <a:lnTo>
                    <a:pt x="104" y="414"/>
                  </a:lnTo>
                  <a:lnTo>
                    <a:pt x="106" y="410"/>
                  </a:lnTo>
                  <a:lnTo>
                    <a:pt x="106" y="409"/>
                  </a:lnTo>
                  <a:lnTo>
                    <a:pt x="106" y="409"/>
                  </a:lnTo>
                  <a:lnTo>
                    <a:pt x="106" y="407"/>
                  </a:lnTo>
                  <a:lnTo>
                    <a:pt x="105" y="405"/>
                  </a:lnTo>
                  <a:lnTo>
                    <a:pt x="105" y="405"/>
                  </a:lnTo>
                  <a:lnTo>
                    <a:pt x="105" y="404"/>
                  </a:lnTo>
                  <a:lnTo>
                    <a:pt x="105" y="403"/>
                  </a:lnTo>
                  <a:lnTo>
                    <a:pt x="106" y="402"/>
                  </a:lnTo>
                  <a:lnTo>
                    <a:pt x="107" y="400"/>
                  </a:lnTo>
                  <a:lnTo>
                    <a:pt x="109" y="398"/>
                  </a:lnTo>
                  <a:lnTo>
                    <a:pt x="111" y="396"/>
                  </a:lnTo>
                  <a:lnTo>
                    <a:pt x="112" y="395"/>
                  </a:lnTo>
                  <a:lnTo>
                    <a:pt x="114" y="392"/>
                  </a:lnTo>
                  <a:lnTo>
                    <a:pt x="115" y="390"/>
                  </a:lnTo>
                  <a:lnTo>
                    <a:pt x="116" y="389"/>
                  </a:lnTo>
                  <a:lnTo>
                    <a:pt x="116" y="387"/>
                  </a:lnTo>
                  <a:lnTo>
                    <a:pt x="117" y="385"/>
                  </a:lnTo>
                  <a:lnTo>
                    <a:pt x="118" y="383"/>
                  </a:lnTo>
                  <a:lnTo>
                    <a:pt x="118" y="382"/>
                  </a:lnTo>
                  <a:lnTo>
                    <a:pt x="118" y="381"/>
                  </a:lnTo>
                  <a:lnTo>
                    <a:pt x="118" y="379"/>
                  </a:lnTo>
                  <a:lnTo>
                    <a:pt x="118" y="378"/>
                  </a:lnTo>
                  <a:lnTo>
                    <a:pt x="118" y="377"/>
                  </a:lnTo>
                  <a:lnTo>
                    <a:pt x="118" y="377"/>
                  </a:lnTo>
                  <a:lnTo>
                    <a:pt x="117" y="374"/>
                  </a:lnTo>
                  <a:lnTo>
                    <a:pt x="117" y="373"/>
                  </a:lnTo>
                  <a:lnTo>
                    <a:pt x="116" y="371"/>
                  </a:lnTo>
                  <a:lnTo>
                    <a:pt x="115" y="369"/>
                  </a:lnTo>
                  <a:lnTo>
                    <a:pt x="113" y="366"/>
                  </a:lnTo>
                  <a:lnTo>
                    <a:pt x="112" y="364"/>
                  </a:lnTo>
                  <a:lnTo>
                    <a:pt x="111" y="362"/>
                  </a:lnTo>
                  <a:lnTo>
                    <a:pt x="111" y="361"/>
                  </a:lnTo>
                  <a:lnTo>
                    <a:pt x="111" y="360"/>
                  </a:lnTo>
                  <a:lnTo>
                    <a:pt x="110" y="358"/>
                  </a:lnTo>
                  <a:lnTo>
                    <a:pt x="110" y="356"/>
                  </a:lnTo>
                  <a:lnTo>
                    <a:pt x="110" y="354"/>
                  </a:lnTo>
                  <a:lnTo>
                    <a:pt x="110" y="351"/>
                  </a:lnTo>
                  <a:lnTo>
                    <a:pt x="110" y="350"/>
                  </a:lnTo>
                  <a:lnTo>
                    <a:pt x="110" y="349"/>
                  </a:lnTo>
                  <a:lnTo>
                    <a:pt x="111" y="345"/>
                  </a:lnTo>
                  <a:lnTo>
                    <a:pt x="111" y="343"/>
                  </a:lnTo>
                  <a:lnTo>
                    <a:pt x="111" y="340"/>
                  </a:lnTo>
                  <a:lnTo>
                    <a:pt x="111" y="336"/>
                  </a:lnTo>
                  <a:lnTo>
                    <a:pt x="111" y="333"/>
                  </a:lnTo>
                  <a:lnTo>
                    <a:pt x="111" y="331"/>
                  </a:lnTo>
                  <a:lnTo>
                    <a:pt x="110" y="330"/>
                  </a:lnTo>
                  <a:lnTo>
                    <a:pt x="110" y="328"/>
                  </a:lnTo>
                  <a:lnTo>
                    <a:pt x="109" y="327"/>
                  </a:lnTo>
                  <a:lnTo>
                    <a:pt x="109" y="326"/>
                  </a:lnTo>
                  <a:lnTo>
                    <a:pt x="108" y="325"/>
                  </a:lnTo>
                  <a:lnTo>
                    <a:pt x="107" y="324"/>
                  </a:lnTo>
                  <a:lnTo>
                    <a:pt x="107" y="323"/>
                  </a:lnTo>
                  <a:lnTo>
                    <a:pt x="105" y="322"/>
                  </a:lnTo>
                  <a:lnTo>
                    <a:pt x="104" y="321"/>
                  </a:lnTo>
                  <a:lnTo>
                    <a:pt x="102" y="319"/>
                  </a:lnTo>
                  <a:lnTo>
                    <a:pt x="101" y="319"/>
                  </a:lnTo>
                  <a:lnTo>
                    <a:pt x="100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8" y="318"/>
                  </a:lnTo>
                  <a:lnTo>
                    <a:pt x="97" y="318"/>
                  </a:lnTo>
                  <a:lnTo>
                    <a:pt x="95" y="318"/>
                  </a:lnTo>
                  <a:lnTo>
                    <a:pt x="94" y="319"/>
                  </a:lnTo>
                  <a:lnTo>
                    <a:pt x="92" y="319"/>
                  </a:lnTo>
                  <a:lnTo>
                    <a:pt x="89" y="321"/>
                  </a:lnTo>
                  <a:lnTo>
                    <a:pt x="84" y="322"/>
                  </a:lnTo>
                  <a:lnTo>
                    <a:pt x="82" y="323"/>
                  </a:lnTo>
                  <a:lnTo>
                    <a:pt x="81" y="323"/>
                  </a:lnTo>
                  <a:lnTo>
                    <a:pt x="79" y="323"/>
                  </a:lnTo>
                  <a:lnTo>
                    <a:pt x="78" y="323"/>
                  </a:lnTo>
                  <a:lnTo>
                    <a:pt x="73" y="322"/>
                  </a:lnTo>
                  <a:lnTo>
                    <a:pt x="70" y="322"/>
                  </a:lnTo>
                  <a:lnTo>
                    <a:pt x="64" y="321"/>
                  </a:lnTo>
                  <a:lnTo>
                    <a:pt x="62" y="321"/>
                  </a:lnTo>
                  <a:lnTo>
                    <a:pt x="61" y="321"/>
                  </a:lnTo>
                  <a:lnTo>
                    <a:pt x="54" y="322"/>
                  </a:lnTo>
                  <a:lnTo>
                    <a:pt x="53" y="322"/>
                  </a:lnTo>
                  <a:lnTo>
                    <a:pt x="52" y="322"/>
                  </a:lnTo>
                  <a:lnTo>
                    <a:pt x="51" y="322"/>
                  </a:lnTo>
                  <a:lnTo>
                    <a:pt x="50" y="322"/>
                  </a:lnTo>
                  <a:lnTo>
                    <a:pt x="49" y="321"/>
                  </a:lnTo>
                  <a:lnTo>
                    <a:pt x="48" y="321"/>
                  </a:lnTo>
                  <a:lnTo>
                    <a:pt x="47" y="320"/>
                  </a:lnTo>
                  <a:lnTo>
                    <a:pt x="46" y="320"/>
                  </a:lnTo>
                  <a:lnTo>
                    <a:pt x="45" y="319"/>
                  </a:lnTo>
                  <a:lnTo>
                    <a:pt x="44" y="318"/>
                  </a:lnTo>
                  <a:lnTo>
                    <a:pt x="43" y="317"/>
                  </a:lnTo>
                  <a:lnTo>
                    <a:pt x="42" y="317"/>
                  </a:lnTo>
                  <a:lnTo>
                    <a:pt x="42" y="316"/>
                  </a:lnTo>
                  <a:lnTo>
                    <a:pt x="42" y="315"/>
                  </a:lnTo>
                  <a:lnTo>
                    <a:pt x="41" y="314"/>
                  </a:lnTo>
                  <a:lnTo>
                    <a:pt x="41" y="313"/>
                  </a:lnTo>
                  <a:lnTo>
                    <a:pt x="40" y="311"/>
                  </a:lnTo>
                  <a:lnTo>
                    <a:pt x="40" y="310"/>
                  </a:lnTo>
                  <a:lnTo>
                    <a:pt x="40" y="308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0" y="303"/>
                  </a:lnTo>
                  <a:lnTo>
                    <a:pt x="39" y="302"/>
                  </a:lnTo>
                  <a:lnTo>
                    <a:pt x="38" y="301"/>
                  </a:lnTo>
                  <a:lnTo>
                    <a:pt x="38" y="300"/>
                  </a:lnTo>
                  <a:lnTo>
                    <a:pt x="36" y="298"/>
                  </a:lnTo>
                  <a:lnTo>
                    <a:pt x="34" y="297"/>
                  </a:lnTo>
                  <a:lnTo>
                    <a:pt x="32" y="295"/>
                  </a:lnTo>
                  <a:lnTo>
                    <a:pt x="31" y="294"/>
                  </a:lnTo>
                  <a:lnTo>
                    <a:pt x="30" y="293"/>
                  </a:lnTo>
                  <a:lnTo>
                    <a:pt x="29" y="291"/>
                  </a:lnTo>
                  <a:lnTo>
                    <a:pt x="28" y="290"/>
                  </a:lnTo>
                  <a:lnTo>
                    <a:pt x="27" y="290"/>
                  </a:lnTo>
                  <a:lnTo>
                    <a:pt x="26" y="289"/>
                  </a:lnTo>
                  <a:lnTo>
                    <a:pt x="25" y="288"/>
                  </a:lnTo>
                  <a:lnTo>
                    <a:pt x="23" y="288"/>
                  </a:lnTo>
                  <a:lnTo>
                    <a:pt x="22" y="287"/>
                  </a:lnTo>
                  <a:lnTo>
                    <a:pt x="21" y="287"/>
                  </a:lnTo>
                  <a:lnTo>
                    <a:pt x="17" y="287"/>
                  </a:lnTo>
                  <a:lnTo>
                    <a:pt x="16" y="287"/>
                  </a:lnTo>
                  <a:lnTo>
                    <a:pt x="15" y="286"/>
                  </a:lnTo>
                  <a:lnTo>
                    <a:pt x="14" y="286"/>
                  </a:lnTo>
                  <a:lnTo>
                    <a:pt x="13" y="286"/>
                  </a:lnTo>
                  <a:lnTo>
                    <a:pt x="12" y="285"/>
                  </a:lnTo>
                  <a:lnTo>
                    <a:pt x="11" y="285"/>
                  </a:lnTo>
                  <a:lnTo>
                    <a:pt x="10" y="284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7" y="282"/>
                  </a:lnTo>
                  <a:lnTo>
                    <a:pt x="6" y="281"/>
                  </a:lnTo>
                  <a:lnTo>
                    <a:pt x="6" y="280"/>
                  </a:lnTo>
                  <a:lnTo>
                    <a:pt x="5" y="279"/>
                  </a:lnTo>
                  <a:lnTo>
                    <a:pt x="5" y="277"/>
                  </a:lnTo>
                  <a:lnTo>
                    <a:pt x="4" y="275"/>
                  </a:lnTo>
                  <a:lnTo>
                    <a:pt x="4" y="274"/>
                  </a:lnTo>
                  <a:lnTo>
                    <a:pt x="3" y="273"/>
                  </a:lnTo>
                  <a:lnTo>
                    <a:pt x="1" y="270"/>
                  </a:lnTo>
                  <a:lnTo>
                    <a:pt x="1" y="269"/>
                  </a:lnTo>
                  <a:lnTo>
                    <a:pt x="0" y="268"/>
                  </a:lnTo>
                  <a:lnTo>
                    <a:pt x="0" y="267"/>
                  </a:lnTo>
                  <a:lnTo>
                    <a:pt x="0" y="266"/>
                  </a:lnTo>
                  <a:lnTo>
                    <a:pt x="0" y="265"/>
                  </a:lnTo>
                  <a:lnTo>
                    <a:pt x="0" y="264"/>
                  </a:lnTo>
                  <a:lnTo>
                    <a:pt x="0" y="263"/>
                  </a:lnTo>
                  <a:lnTo>
                    <a:pt x="1" y="262"/>
                  </a:lnTo>
                  <a:lnTo>
                    <a:pt x="2" y="261"/>
                  </a:lnTo>
                  <a:lnTo>
                    <a:pt x="2" y="260"/>
                  </a:lnTo>
                  <a:lnTo>
                    <a:pt x="3" y="260"/>
                  </a:lnTo>
                  <a:lnTo>
                    <a:pt x="4" y="259"/>
                  </a:lnTo>
                  <a:lnTo>
                    <a:pt x="7" y="258"/>
                  </a:lnTo>
                  <a:lnTo>
                    <a:pt x="8" y="257"/>
                  </a:lnTo>
                  <a:lnTo>
                    <a:pt x="9" y="256"/>
                  </a:lnTo>
                  <a:lnTo>
                    <a:pt x="9" y="256"/>
                  </a:lnTo>
                  <a:lnTo>
                    <a:pt x="10" y="255"/>
                  </a:lnTo>
                  <a:lnTo>
                    <a:pt x="10" y="254"/>
                  </a:lnTo>
                  <a:lnTo>
                    <a:pt x="12" y="250"/>
                  </a:lnTo>
                  <a:lnTo>
                    <a:pt x="12" y="249"/>
                  </a:lnTo>
                  <a:lnTo>
                    <a:pt x="13" y="248"/>
                  </a:lnTo>
                  <a:lnTo>
                    <a:pt x="15" y="244"/>
                  </a:lnTo>
                  <a:lnTo>
                    <a:pt x="16" y="243"/>
                  </a:lnTo>
                  <a:lnTo>
                    <a:pt x="16" y="242"/>
                  </a:lnTo>
                  <a:lnTo>
                    <a:pt x="17" y="240"/>
                  </a:lnTo>
                  <a:lnTo>
                    <a:pt x="17" y="238"/>
                  </a:lnTo>
                  <a:lnTo>
                    <a:pt x="17" y="236"/>
                  </a:lnTo>
                  <a:lnTo>
                    <a:pt x="17" y="234"/>
                  </a:lnTo>
                  <a:lnTo>
                    <a:pt x="17" y="233"/>
                  </a:lnTo>
                  <a:lnTo>
                    <a:pt x="17" y="231"/>
                  </a:lnTo>
                  <a:lnTo>
                    <a:pt x="16" y="225"/>
                  </a:lnTo>
                  <a:lnTo>
                    <a:pt x="15" y="224"/>
                  </a:lnTo>
                  <a:lnTo>
                    <a:pt x="14" y="223"/>
                  </a:lnTo>
                  <a:lnTo>
                    <a:pt x="14" y="221"/>
                  </a:lnTo>
                  <a:lnTo>
                    <a:pt x="13" y="220"/>
                  </a:lnTo>
                  <a:lnTo>
                    <a:pt x="12" y="218"/>
                  </a:lnTo>
                  <a:lnTo>
                    <a:pt x="11" y="217"/>
                  </a:lnTo>
                  <a:lnTo>
                    <a:pt x="10" y="216"/>
                  </a:lnTo>
                  <a:lnTo>
                    <a:pt x="10" y="215"/>
                  </a:lnTo>
                  <a:lnTo>
                    <a:pt x="10" y="213"/>
                  </a:lnTo>
                  <a:lnTo>
                    <a:pt x="10" y="211"/>
                  </a:lnTo>
                  <a:lnTo>
                    <a:pt x="10" y="205"/>
                  </a:lnTo>
                  <a:lnTo>
                    <a:pt x="10" y="202"/>
                  </a:lnTo>
                  <a:lnTo>
                    <a:pt x="10" y="201"/>
                  </a:lnTo>
                  <a:lnTo>
                    <a:pt x="10" y="200"/>
                  </a:lnTo>
                  <a:lnTo>
                    <a:pt x="9" y="199"/>
                  </a:lnTo>
                  <a:lnTo>
                    <a:pt x="8" y="196"/>
                  </a:lnTo>
                  <a:lnTo>
                    <a:pt x="7" y="193"/>
                  </a:lnTo>
                  <a:lnTo>
                    <a:pt x="7" y="191"/>
                  </a:lnTo>
                  <a:lnTo>
                    <a:pt x="6" y="189"/>
                  </a:lnTo>
                  <a:lnTo>
                    <a:pt x="4" y="186"/>
                  </a:lnTo>
                  <a:lnTo>
                    <a:pt x="4" y="185"/>
                  </a:lnTo>
                  <a:lnTo>
                    <a:pt x="3" y="184"/>
                  </a:lnTo>
                  <a:lnTo>
                    <a:pt x="3" y="183"/>
                  </a:lnTo>
                  <a:lnTo>
                    <a:pt x="3" y="182"/>
                  </a:lnTo>
                  <a:lnTo>
                    <a:pt x="4" y="181"/>
                  </a:lnTo>
                  <a:lnTo>
                    <a:pt x="4" y="180"/>
                  </a:lnTo>
                  <a:lnTo>
                    <a:pt x="4" y="179"/>
                  </a:lnTo>
                  <a:lnTo>
                    <a:pt x="5" y="178"/>
                  </a:lnTo>
                  <a:lnTo>
                    <a:pt x="6" y="177"/>
                  </a:lnTo>
                  <a:lnTo>
                    <a:pt x="8" y="175"/>
                  </a:lnTo>
                  <a:lnTo>
                    <a:pt x="11" y="172"/>
                  </a:lnTo>
                  <a:lnTo>
                    <a:pt x="13" y="170"/>
                  </a:lnTo>
                  <a:lnTo>
                    <a:pt x="14" y="169"/>
                  </a:lnTo>
                  <a:lnTo>
                    <a:pt x="14" y="170"/>
                  </a:lnTo>
                  <a:lnTo>
                    <a:pt x="15" y="171"/>
                  </a:lnTo>
                  <a:lnTo>
                    <a:pt x="16" y="172"/>
                  </a:lnTo>
                  <a:lnTo>
                    <a:pt x="18" y="173"/>
                  </a:lnTo>
                  <a:lnTo>
                    <a:pt x="21" y="175"/>
                  </a:lnTo>
                  <a:lnTo>
                    <a:pt x="23" y="176"/>
                  </a:lnTo>
                  <a:lnTo>
                    <a:pt x="29" y="179"/>
                  </a:lnTo>
                  <a:lnTo>
                    <a:pt x="31" y="180"/>
                  </a:lnTo>
                  <a:lnTo>
                    <a:pt x="33" y="181"/>
                  </a:lnTo>
                  <a:lnTo>
                    <a:pt x="35" y="182"/>
                  </a:lnTo>
                  <a:lnTo>
                    <a:pt x="37" y="183"/>
                  </a:lnTo>
                  <a:lnTo>
                    <a:pt x="40" y="184"/>
                  </a:lnTo>
                  <a:lnTo>
                    <a:pt x="41" y="184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Freeform 244">
              <a:extLst>
                <a:ext uri="{FF2B5EF4-FFF2-40B4-BE49-F238E27FC236}">
                  <a16:creationId xmlns:a16="http://schemas.microsoft.com/office/drawing/2014/main" id="{073F2D0F-F497-4096-8EB8-C616A0501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7772" y="2391306"/>
              <a:ext cx="637923" cy="419847"/>
            </a:xfrm>
            <a:custGeom>
              <a:avLst/>
              <a:gdLst>
                <a:gd name="T0" fmla="*/ 185 w 626"/>
                <a:gd name="T1" fmla="*/ 48 h 412"/>
                <a:gd name="T2" fmla="*/ 210 w 626"/>
                <a:gd name="T3" fmla="*/ 42 h 412"/>
                <a:gd name="T4" fmla="*/ 241 w 626"/>
                <a:gd name="T5" fmla="*/ 32 h 412"/>
                <a:gd name="T6" fmla="*/ 269 w 626"/>
                <a:gd name="T7" fmla="*/ 58 h 412"/>
                <a:gd name="T8" fmla="*/ 295 w 626"/>
                <a:gd name="T9" fmla="*/ 76 h 412"/>
                <a:gd name="T10" fmla="*/ 327 w 626"/>
                <a:gd name="T11" fmla="*/ 96 h 412"/>
                <a:gd name="T12" fmla="*/ 361 w 626"/>
                <a:gd name="T13" fmla="*/ 107 h 412"/>
                <a:gd name="T14" fmla="*/ 388 w 626"/>
                <a:gd name="T15" fmla="*/ 106 h 412"/>
                <a:gd name="T16" fmla="*/ 400 w 626"/>
                <a:gd name="T17" fmla="*/ 98 h 412"/>
                <a:gd name="T18" fmla="*/ 410 w 626"/>
                <a:gd name="T19" fmla="*/ 79 h 412"/>
                <a:gd name="T20" fmla="*/ 442 w 626"/>
                <a:gd name="T21" fmla="*/ 56 h 412"/>
                <a:gd name="T22" fmla="*/ 467 w 626"/>
                <a:gd name="T23" fmla="*/ 32 h 412"/>
                <a:gd name="T24" fmla="*/ 487 w 626"/>
                <a:gd name="T25" fmla="*/ 35 h 412"/>
                <a:gd name="T26" fmla="*/ 517 w 626"/>
                <a:gd name="T27" fmla="*/ 47 h 412"/>
                <a:gd name="T28" fmla="*/ 556 w 626"/>
                <a:gd name="T29" fmla="*/ 68 h 412"/>
                <a:gd name="T30" fmla="*/ 580 w 626"/>
                <a:gd name="T31" fmla="*/ 46 h 412"/>
                <a:gd name="T32" fmla="*/ 606 w 626"/>
                <a:gd name="T33" fmla="*/ 8 h 412"/>
                <a:gd name="T34" fmla="*/ 626 w 626"/>
                <a:gd name="T35" fmla="*/ 2 h 412"/>
                <a:gd name="T36" fmla="*/ 609 w 626"/>
                <a:gd name="T37" fmla="*/ 57 h 412"/>
                <a:gd name="T38" fmla="*/ 604 w 626"/>
                <a:gd name="T39" fmla="*/ 87 h 412"/>
                <a:gd name="T40" fmla="*/ 595 w 626"/>
                <a:gd name="T41" fmla="*/ 118 h 412"/>
                <a:gd name="T42" fmla="*/ 571 w 626"/>
                <a:gd name="T43" fmla="*/ 135 h 412"/>
                <a:gd name="T44" fmla="*/ 578 w 626"/>
                <a:gd name="T45" fmla="*/ 172 h 412"/>
                <a:gd name="T46" fmla="*/ 585 w 626"/>
                <a:gd name="T47" fmla="*/ 219 h 412"/>
                <a:gd name="T48" fmla="*/ 584 w 626"/>
                <a:gd name="T49" fmla="*/ 250 h 412"/>
                <a:gd name="T50" fmla="*/ 605 w 626"/>
                <a:gd name="T51" fmla="*/ 285 h 412"/>
                <a:gd name="T52" fmla="*/ 607 w 626"/>
                <a:gd name="T53" fmla="*/ 309 h 412"/>
                <a:gd name="T54" fmla="*/ 625 w 626"/>
                <a:gd name="T55" fmla="*/ 320 h 412"/>
                <a:gd name="T56" fmla="*/ 613 w 626"/>
                <a:gd name="T57" fmla="*/ 357 h 412"/>
                <a:gd name="T58" fmla="*/ 611 w 626"/>
                <a:gd name="T59" fmla="*/ 391 h 412"/>
                <a:gd name="T60" fmla="*/ 586 w 626"/>
                <a:gd name="T61" fmla="*/ 389 h 412"/>
                <a:gd name="T62" fmla="*/ 543 w 626"/>
                <a:gd name="T63" fmla="*/ 380 h 412"/>
                <a:gd name="T64" fmla="*/ 507 w 626"/>
                <a:gd name="T65" fmla="*/ 377 h 412"/>
                <a:gd name="T66" fmla="*/ 493 w 626"/>
                <a:gd name="T67" fmla="*/ 402 h 412"/>
                <a:gd name="T68" fmla="*/ 458 w 626"/>
                <a:gd name="T69" fmla="*/ 401 h 412"/>
                <a:gd name="T70" fmla="*/ 439 w 626"/>
                <a:gd name="T71" fmla="*/ 412 h 412"/>
                <a:gd name="T72" fmla="*/ 409 w 626"/>
                <a:gd name="T73" fmla="*/ 389 h 412"/>
                <a:gd name="T74" fmla="*/ 370 w 626"/>
                <a:gd name="T75" fmla="*/ 362 h 412"/>
                <a:gd name="T76" fmla="*/ 323 w 626"/>
                <a:gd name="T77" fmla="*/ 343 h 412"/>
                <a:gd name="T78" fmla="*/ 296 w 626"/>
                <a:gd name="T79" fmla="*/ 328 h 412"/>
                <a:gd name="T80" fmla="*/ 269 w 626"/>
                <a:gd name="T81" fmla="*/ 314 h 412"/>
                <a:gd name="T82" fmla="*/ 250 w 626"/>
                <a:gd name="T83" fmla="*/ 336 h 412"/>
                <a:gd name="T84" fmla="*/ 224 w 626"/>
                <a:gd name="T85" fmla="*/ 339 h 412"/>
                <a:gd name="T86" fmla="*/ 208 w 626"/>
                <a:gd name="T87" fmla="*/ 313 h 412"/>
                <a:gd name="T88" fmla="*/ 184 w 626"/>
                <a:gd name="T89" fmla="*/ 300 h 412"/>
                <a:gd name="T90" fmla="*/ 170 w 626"/>
                <a:gd name="T91" fmla="*/ 286 h 412"/>
                <a:gd name="T92" fmla="*/ 142 w 626"/>
                <a:gd name="T93" fmla="*/ 272 h 412"/>
                <a:gd name="T94" fmla="*/ 117 w 626"/>
                <a:gd name="T95" fmla="*/ 265 h 412"/>
                <a:gd name="T96" fmla="*/ 88 w 626"/>
                <a:gd name="T97" fmla="*/ 258 h 412"/>
                <a:gd name="T98" fmla="*/ 56 w 626"/>
                <a:gd name="T99" fmla="*/ 209 h 412"/>
                <a:gd name="T100" fmla="*/ 64 w 626"/>
                <a:gd name="T101" fmla="*/ 178 h 412"/>
                <a:gd name="T102" fmla="*/ 48 w 626"/>
                <a:gd name="T103" fmla="*/ 156 h 412"/>
                <a:gd name="T104" fmla="*/ 37 w 626"/>
                <a:gd name="T105" fmla="*/ 139 h 412"/>
                <a:gd name="T106" fmla="*/ 19 w 626"/>
                <a:gd name="T107" fmla="*/ 130 h 412"/>
                <a:gd name="T108" fmla="*/ 0 w 626"/>
                <a:gd name="T109" fmla="*/ 116 h 412"/>
                <a:gd name="T110" fmla="*/ 6 w 626"/>
                <a:gd name="T111" fmla="*/ 106 h 412"/>
                <a:gd name="T112" fmla="*/ 15 w 626"/>
                <a:gd name="T113" fmla="*/ 89 h 412"/>
                <a:gd name="T114" fmla="*/ 15 w 626"/>
                <a:gd name="T115" fmla="*/ 76 h 412"/>
                <a:gd name="T116" fmla="*/ 29 w 626"/>
                <a:gd name="T117" fmla="*/ 72 h 412"/>
                <a:gd name="T118" fmla="*/ 52 w 626"/>
                <a:gd name="T119" fmla="*/ 67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26" h="412">
                  <a:moveTo>
                    <a:pt x="171" y="26"/>
                  </a:moveTo>
                  <a:lnTo>
                    <a:pt x="171" y="26"/>
                  </a:lnTo>
                  <a:lnTo>
                    <a:pt x="173" y="27"/>
                  </a:lnTo>
                  <a:lnTo>
                    <a:pt x="174" y="28"/>
                  </a:lnTo>
                  <a:lnTo>
                    <a:pt x="174" y="29"/>
                  </a:lnTo>
                  <a:lnTo>
                    <a:pt x="175" y="29"/>
                  </a:lnTo>
                  <a:lnTo>
                    <a:pt x="176" y="30"/>
                  </a:lnTo>
                  <a:lnTo>
                    <a:pt x="177" y="32"/>
                  </a:lnTo>
                  <a:lnTo>
                    <a:pt x="178" y="34"/>
                  </a:lnTo>
                  <a:lnTo>
                    <a:pt x="179" y="36"/>
                  </a:lnTo>
                  <a:lnTo>
                    <a:pt x="180" y="38"/>
                  </a:lnTo>
                  <a:lnTo>
                    <a:pt x="181" y="42"/>
                  </a:lnTo>
                  <a:lnTo>
                    <a:pt x="182" y="44"/>
                  </a:lnTo>
                  <a:lnTo>
                    <a:pt x="183" y="45"/>
                  </a:lnTo>
                  <a:lnTo>
                    <a:pt x="184" y="46"/>
                  </a:lnTo>
                  <a:lnTo>
                    <a:pt x="184" y="47"/>
                  </a:lnTo>
                  <a:lnTo>
                    <a:pt x="185" y="48"/>
                  </a:lnTo>
                  <a:lnTo>
                    <a:pt x="186" y="49"/>
                  </a:lnTo>
                  <a:lnTo>
                    <a:pt x="187" y="49"/>
                  </a:lnTo>
                  <a:lnTo>
                    <a:pt x="188" y="50"/>
                  </a:lnTo>
                  <a:lnTo>
                    <a:pt x="189" y="50"/>
                  </a:lnTo>
                  <a:lnTo>
                    <a:pt x="190" y="50"/>
                  </a:lnTo>
                  <a:lnTo>
                    <a:pt x="191" y="50"/>
                  </a:lnTo>
                  <a:lnTo>
                    <a:pt x="193" y="51"/>
                  </a:lnTo>
                  <a:lnTo>
                    <a:pt x="194" y="51"/>
                  </a:lnTo>
                  <a:lnTo>
                    <a:pt x="194" y="50"/>
                  </a:lnTo>
                  <a:lnTo>
                    <a:pt x="195" y="50"/>
                  </a:lnTo>
                  <a:lnTo>
                    <a:pt x="196" y="50"/>
                  </a:lnTo>
                  <a:lnTo>
                    <a:pt x="197" y="49"/>
                  </a:lnTo>
                  <a:lnTo>
                    <a:pt x="200" y="48"/>
                  </a:lnTo>
                  <a:lnTo>
                    <a:pt x="203" y="46"/>
                  </a:lnTo>
                  <a:lnTo>
                    <a:pt x="204" y="45"/>
                  </a:lnTo>
                  <a:lnTo>
                    <a:pt x="206" y="44"/>
                  </a:lnTo>
                  <a:lnTo>
                    <a:pt x="210" y="42"/>
                  </a:lnTo>
                  <a:lnTo>
                    <a:pt x="211" y="42"/>
                  </a:lnTo>
                  <a:lnTo>
                    <a:pt x="212" y="41"/>
                  </a:lnTo>
                  <a:lnTo>
                    <a:pt x="213" y="40"/>
                  </a:lnTo>
                  <a:lnTo>
                    <a:pt x="214" y="40"/>
                  </a:lnTo>
                  <a:lnTo>
                    <a:pt x="217" y="36"/>
                  </a:lnTo>
                  <a:lnTo>
                    <a:pt x="218" y="35"/>
                  </a:lnTo>
                  <a:lnTo>
                    <a:pt x="220" y="34"/>
                  </a:lnTo>
                  <a:lnTo>
                    <a:pt x="221" y="33"/>
                  </a:lnTo>
                  <a:lnTo>
                    <a:pt x="223" y="33"/>
                  </a:lnTo>
                  <a:lnTo>
                    <a:pt x="227" y="31"/>
                  </a:lnTo>
                  <a:lnTo>
                    <a:pt x="229" y="31"/>
                  </a:lnTo>
                  <a:lnTo>
                    <a:pt x="230" y="31"/>
                  </a:lnTo>
                  <a:lnTo>
                    <a:pt x="231" y="31"/>
                  </a:lnTo>
                  <a:lnTo>
                    <a:pt x="233" y="31"/>
                  </a:lnTo>
                  <a:lnTo>
                    <a:pt x="234" y="31"/>
                  </a:lnTo>
                  <a:lnTo>
                    <a:pt x="238" y="32"/>
                  </a:lnTo>
                  <a:lnTo>
                    <a:pt x="241" y="32"/>
                  </a:lnTo>
                  <a:lnTo>
                    <a:pt x="246" y="34"/>
                  </a:lnTo>
                  <a:lnTo>
                    <a:pt x="251" y="35"/>
                  </a:lnTo>
                  <a:lnTo>
                    <a:pt x="253" y="36"/>
                  </a:lnTo>
                  <a:lnTo>
                    <a:pt x="255" y="37"/>
                  </a:lnTo>
                  <a:lnTo>
                    <a:pt x="257" y="38"/>
                  </a:lnTo>
                  <a:lnTo>
                    <a:pt x="258" y="38"/>
                  </a:lnTo>
                  <a:lnTo>
                    <a:pt x="259" y="39"/>
                  </a:lnTo>
                  <a:lnTo>
                    <a:pt x="260" y="40"/>
                  </a:lnTo>
                  <a:lnTo>
                    <a:pt x="263" y="43"/>
                  </a:lnTo>
                  <a:lnTo>
                    <a:pt x="264" y="45"/>
                  </a:lnTo>
                  <a:lnTo>
                    <a:pt x="264" y="45"/>
                  </a:lnTo>
                  <a:lnTo>
                    <a:pt x="265" y="46"/>
                  </a:lnTo>
                  <a:lnTo>
                    <a:pt x="265" y="47"/>
                  </a:lnTo>
                  <a:lnTo>
                    <a:pt x="266" y="49"/>
                  </a:lnTo>
                  <a:lnTo>
                    <a:pt x="267" y="51"/>
                  </a:lnTo>
                  <a:lnTo>
                    <a:pt x="268" y="55"/>
                  </a:lnTo>
                  <a:lnTo>
                    <a:pt x="269" y="58"/>
                  </a:lnTo>
                  <a:lnTo>
                    <a:pt x="270" y="59"/>
                  </a:lnTo>
                  <a:lnTo>
                    <a:pt x="270" y="60"/>
                  </a:lnTo>
                  <a:lnTo>
                    <a:pt x="271" y="61"/>
                  </a:lnTo>
                  <a:lnTo>
                    <a:pt x="272" y="62"/>
                  </a:lnTo>
                  <a:lnTo>
                    <a:pt x="273" y="62"/>
                  </a:lnTo>
                  <a:lnTo>
                    <a:pt x="274" y="63"/>
                  </a:lnTo>
                  <a:lnTo>
                    <a:pt x="275" y="64"/>
                  </a:lnTo>
                  <a:lnTo>
                    <a:pt x="277" y="64"/>
                  </a:lnTo>
                  <a:lnTo>
                    <a:pt x="282" y="66"/>
                  </a:lnTo>
                  <a:lnTo>
                    <a:pt x="284" y="66"/>
                  </a:lnTo>
                  <a:lnTo>
                    <a:pt x="286" y="67"/>
                  </a:lnTo>
                  <a:lnTo>
                    <a:pt x="287" y="68"/>
                  </a:lnTo>
                  <a:lnTo>
                    <a:pt x="288" y="68"/>
                  </a:lnTo>
                  <a:lnTo>
                    <a:pt x="289" y="69"/>
                  </a:lnTo>
                  <a:lnTo>
                    <a:pt x="290" y="70"/>
                  </a:lnTo>
                  <a:lnTo>
                    <a:pt x="292" y="72"/>
                  </a:lnTo>
                  <a:lnTo>
                    <a:pt x="295" y="76"/>
                  </a:lnTo>
                  <a:lnTo>
                    <a:pt x="296" y="77"/>
                  </a:lnTo>
                  <a:lnTo>
                    <a:pt x="297" y="79"/>
                  </a:lnTo>
                  <a:lnTo>
                    <a:pt x="299" y="80"/>
                  </a:lnTo>
                  <a:lnTo>
                    <a:pt x="300" y="81"/>
                  </a:lnTo>
                  <a:lnTo>
                    <a:pt x="302" y="82"/>
                  </a:lnTo>
                  <a:lnTo>
                    <a:pt x="305" y="83"/>
                  </a:lnTo>
                  <a:lnTo>
                    <a:pt x="309" y="85"/>
                  </a:lnTo>
                  <a:lnTo>
                    <a:pt x="310" y="86"/>
                  </a:lnTo>
                  <a:lnTo>
                    <a:pt x="312" y="86"/>
                  </a:lnTo>
                  <a:lnTo>
                    <a:pt x="313" y="87"/>
                  </a:lnTo>
                  <a:lnTo>
                    <a:pt x="314" y="88"/>
                  </a:lnTo>
                  <a:lnTo>
                    <a:pt x="318" y="91"/>
                  </a:lnTo>
                  <a:lnTo>
                    <a:pt x="319" y="92"/>
                  </a:lnTo>
                  <a:lnTo>
                    <a:pt x="321" y="93"/>
                  </a:lnTo>
                  <a:lnTo>
                    <a:pt x="322" y="94"/>
                  </a:lnTo>
                  <a:lnTo>
                    <a:pt x="324" y="95"/>
                  </a:lnTo>
                  <a:lnTo>
                    <a:pt x="327" y="96"/>
                  </a:lnTo>
                  <a:lnTo>
                    <a:pt x="330" y="97"/>
                  </a:lnTo>
                  <a:lnTo>
                    <a:pt x="333" y="99"/>
                  </a:lnTo>
                  <a:lnTo>
                    <a:pt x="335" y="100"/>
                  </a:lnTo>
                  <a:lnTo>
                    <a:pt x="336" y="100"/>
                  </a:lnTo>
                  <a:lnTo>
                    <a:pt x="338" y="102"/>
                  </a:lnTo>
                  <a:lnTo>
                    <a:pt x="343" y="106"/>
                  </a:lnTo>
                  <a:lnTo>
                    <a:pt x="345" y="107"/>
                  </a:lnTo>
                  <a:lnTo>
                    <a:pt x="346" y="108"/>
                  </a:lnTo>
                  <a:lnTo>
                    <a:pt x="347" y="108"/>
                  </a:lnTo>
                  <a:lnTo>
                    <a:pt x="348" y="109"/>
                  </a:lnTo>
                  <a:lnTo>
                    <a:pt x="349" y="109"/>
                  </a:lnTo>
                  <a:lnTo>
                    <a:pt x="350" y="109"/>
                  </a:lnTo>
                  <a:lnTo>
                    <a:pt x="352" y="109"/>
                  </a:lnTo>
                  <a:lnTo>
                    <a:pt x="354" y="109"/>
                  </a:lnTo>
                  <a:lnTo>
                    <a:pt x="356" y="108"/>
                  </a:lnTo>
                  <a:lnTo>
                    <a:pt x="360" y="107"/>
                  </a:lnTo>
                  <a:lnTo>
                    <a:pt x="361" y="107"/>
                  </a:lnTo>
                  <a:lnTo>
                    <a:pt x="363" y="107"/>
                  </a:lnTo>
                  <a:lnTo>
                    <a:pt x="366" y="105"/>
                  </a:lnTo>
                  <a:lnTo>
                    <a:pt x="367" y="105"/>
                  </a:lnTo>
                  <a:lnTo>
                    <a:pt x="367" y="105"/>
                  </a:lnTo>
                  <a:lnTo>
                    <a:pt x="368" y="105"/>
                  </a:lnTo>
                  <a:lnTo>
                    <a:pt x="369" y="105"/>
                  </a:lnTo>
                  <a:lnTo>
                    <a:pt x="371" y="106"/>
                  </a:lnTo>
                  <a:lnTo>
                    <a:pt x="372" y="106"/>
                  </a:lnTo>
                  <a:lnTo>
                    <a:pt x="372" y="106"/>
                  </a:lnTo>
                  <a:lnTo>
                    <a:pt x="373" y="107"/>
                  </a:lnTo>
                  <a:lnTo>
                    <a:pt x="375" y="107"/>
                  </a:lnTo>
                  <a:lnTo>
                    <a:pt x="377" y="106"/>
                  </a:lnTo>
                  <a:lnTo>
                    <a:pt x="381" y="106"/>
                  </a:lnTo>
                  <a:lnTo>
                    <a:pt x="384" y="106"/>
                  </a:lnTo>
                  <a:lnTo>
                    <a:pt x="385" y="105"/>
                  </a:lnTo>
                  <a:lnTo>
                    <a:pt x="386" y="106"/>
                  </a:lnTo>
                  <a:lnTo>
                    <a:pt x="388" y="106"/>
                  </a:lnTo>
                  <a:lnTo>
                    <a:pt x="390" y="106"/>
                  </a:lnTo>
                  <a:lnTo>
                    <a:pt x="393" y="107"/>
                  </a:lnTo>
                  <a:lnTo>
                    <a:pt x="395" y="107"/>
                  </a:lnTo>
                  <a:lnTo>
                    <a:pt x="396" y="107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9" y="107"/>
                  </a:lnTo>
                  <a:lnTo>
                    <a:pt x="400" y="107"/>
                  </a:lnTo>
                  <a:lnTo>
                    <a:pt x="400" y="107"/>
                  </a:lnTo>
                  <a:lnTo>
                    <a:pt x="401" y="106"/>
                  </a:lnTo>
                  <a:lnTo>
                    <a:pt x="401" y="105"/>
                  </a:lnTo>
                  <a:lnTo>
                    <a:pt x="401" y="105"/>
                  </a:lnTo>
                  <a:lnTo>
                    <a:pt x="401" y="104"/>
                  </a:lnTo>
                  <a:lnTo>
                    <a:pt x="401" y="103"/>
                  </a:lnTo>
                  <a:lnTo>
                    <a:pt x="400" y="100"/>
                  </a:lnTo>
                  <a:lnTo>
                    <a:pt x="400" y="98"/>
                  </a:lnTo>
                  <a:lnTo>
                    <a:pt x="400" y="98"/>
                  </a:lnTo>
                  <a:lnTo>
                    <a:pt x="400" y="97"/>
                  </a:lnTo>
                  <a:lnTo>
                    <a:pt x="400" y="96"/>
                  </a:lnTo>
                  <a:lnTo>
                    <a:pt x="400" y="95"/>
                  </a:lnTo>
                  <a:lnTo>
                    <a:pt x="401" y="94"/>
                  </a:lnTo>
                  <a:lnTo>
                    <a:pt x="401" y="94"/>
                  </a:lnTo>
                  <a:lnTo>
                    <a:pt x="402" y="93"/>
                  </a:lnTo>
                  <a:lnTo>
                    <a:pt x="403" y="92"/>
                  </a:lnTo>
                  <a:lnTo>
                    <a:pt x="405" y="90"/>
                  </a:lnTo>
                  <a:lnTo>
                    <a:pt x="407" y="89"/>
                  </a:lnTo>
                  <a:lnTo>
                    <a:pt x="408" y="88"/>
                  </a:lnTo>
                  <a:lnTo>
                    <a:pt x="409" y="87"/>
                  </a:lnTo>
                  <a:lnTo>
                    <a:pt x="409" y="86"/>
                  </a:lnTo>
                  <a:lnTo>
                    <a:pt x="409" y="86"/>
                  </a:lnTo>
                  <a:lnTo>
                    <a:pt x="410" y="85"/>
                  </a:lnTo>
                  <a:lnTo>
                    <a:pt x="410" y="84"/>
                  </a:lnTo>
                  <a:lnTo>
                    <a:pt x="410" y="80"/>
                  </a:lnTo>
                  <a:lnTo>
                    <a:pt x="410" y="79"/>
                  </a:lnTo>
                  <a:lnTo>
                    <a:pt x="410" y="78"/>
                  </a:lnTo>
                  <a:lnTo>
                    <a:pt x="411" y="77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3" y="74"/>
                  </a:lnTo>
                  <a:lnTo>
                    <a:pt x="414" y="73"/>
                  </a:lnTo>
                  <a:lnTo>
                    <a:pt x="415" y="72"/>
                  </a:lnTo>
                  <a:lnTo>
                    <a:pt x="417" y="71"/>
                  </a:lnTo>
                  <a:lnTo>
                    <a:pt x="420" y="69"/>
                  </a:lnTo>
                  <a:lnTo>
                    <a:pt x="422" y="68"/>
                  </a:lnTo>
                  <a:lnTo>
                    <a:pt x="424" y="66"/>
                  </a:lnTo>
                  <a:lnTo>
                    <a:pt x="428" y="63"/>
                  </a:lnTo>
                  <a:lnTo>
                    <a:pt x="430" y="62"/>
                  </a:lnTo>
                  <a:lnTo>
                    <a:pt x="431" y="61"/>
                  </a:lnTo>
                  <a:lnTo>
                    <a:pt x="434" y="60"/>
                  </a:lnTo>
                  <a:lnTo>
                    <a:pt x="438" y="58"/>
                  </a:lnTo>
                  <a:lnTo>
                    <a:pt x="442" y="56"/>
                  </a:lnTo>
                  <a:lnTo>
                    <a:pt x="443" y="56"/>
                  </a:lnTo>
                  <a:lnTo>
                    <a:pt x="444" y="54"/>
                  </a:lnTo>
                  <a:lnTo>
                    <a:pt x="445" y="54"/>
                  </a:lnTo>
                  <a:lnTo>
                    <a:pt x="448" y="52"/>
                  </a:lnTo>
                  <a:lnTo>
                    <a:pt x="451" y="51"/>
                  </a:lnTo>
                  <a:lnTo>
                    <a:pt x="453" y="50"/>
                  </a:lnTo>
                  <a:lnTo>
                    <a:pt x="455" y="49"/>
                  </a:lnTo>
                  <a:lnTo>
                    <a:pt x="457" y="47"/>
                  </a:lnTo>
                  <a:lnTo>
                    <a:pt x="458" y="46"/>
                  </a:lnTo>
                  <a:lnTo>
                    <a:pt x="460" y="45"/>
                  </a:lnTo>
                  <a:lnTo>
                    <a:pt x="461" y="43"/>
                  </a:lnTo>
                  <a:lnTo>
                    <a:pt x="462" y="42"/>
                  </a:lnTo>
                  <a:lnTo>
                    <a:pt x="462" y="41"/>
                  </a:lnTo>
                  <a:lnTo>
                    <a:pt x="463" y="39"/>
                  </a:lnTo>
                  <a:lnTo>
                    <a:pt x="466" y="34"/>
                  </a:lnTo>
                  <a:lnTo>
                    <a:pt x="466" y="32"/>
                  </a:lnTo>
                  <a:lnTo>
                    <a:pt x="467" y="32"/>
                  </a:lnTo>
                  <a:lnTo>
                    <a:pt x="468" y="31"/>
                  </a:lnTo>
                  <a:lnTo>
                    <a:pt x="468" y="30"/>
                  </a:lnTo>
                  <a:lnTo>
                    <a:pt x="469" y="29"/>
                  </a:lnTo>
                  <a:lnTo>
                    <a:pt x="470" y="29"/>
                  </a:lnTo>
                  <a:lnTo>
                    <a:pt x="471" y="29"/>
                  </a:lnTo>
                  <a:lnTo>
                    <a:pt x="471" y="28"/>
                  </a:lnTo>
                  <a:lnTo>
                    <a:pt x="472" y="28"/>
                  </a:lnTo>
                  <a:lnTo>
                    <a:pt x="473" y="28"/>
                  </a:lnTo>
                  <a:lnTo>
                    <a:pt x="474" y="28"/>
                  </a:lnTo>
                  <a:lnTo>
                    <a:pt x="475" y="28"/>
                  </a:lnTo>
                  <a:lnTo>
                    <a:pt x="476" y="29"/>
                  </a:lnTo>
                  <a:lnTo>
                    <a:pt x="477" y="29"/>
                  </a:lnTo>
                  <a:lnTo>
                    <a:pt x="478" y="30"/>
                  </a:lnTo>
                  <a:lnTo>
                    <a:pt x="480" y="31"/>
                  </a:lnTo>
                  <a:lnTo>
                    <a:pt x="481" y="31"/>
                  </a:lnTo>
                  <a:lnTo>
                    <a:pt x="484" y="33"/>
                  </a:lnTo>
                  <a:lnTo>
                    <a:pt x="487" y="35"/>
                  </a:lnTo>
                  <a:lnTo>
                    <a:pt x="489" y="36"/>
                  </a:lnTo>
                  <a:lnTo>
                    <a:pt x="492" y="37"/>
                  </a:lnTo>
                  <a:lnTo>
                    <a:pt x="499" y="40"/>
                  </a:lnTo>
                  <a:lnTo>
                    <a:pt x="501" y="41"/>
                  </a:lnTo>
                  <a:lnTo>
                    <a:pt x="503" y="41"/>
                  </a:lnTo>
                  <a:lnTo>
                    <a:pt x="505" y="42"/>
                  </a:lnTo>
                  <a:lnTo>
                    <a:pt x="506" y="42"/>
                  </a:lnTo>
                  <a:lnTo>
                    <a:pt x="507" y="42"/>
                  </a:lnTo>
                  <a:lnTo>
                    <a:pt x="507" y="42"/>
                  </a:lnTo>
                  <a:lnTo>
                    <a:pt x="508" y="41"/>
                  </a:lnTo>
                  <a:lnTo>
                    <a:pt x="508" y="41"/>
                  </a:lnTo>
                  <a:lnTo>
                    <a:pt x="509" y="41"/>
                  </a:lnTo>
                  <a:lnTo>
                    <a:pt x="510" y="42"/>
                  </a:lnTo>
                  <a:lnTo>
                    <a:pt x="511" y="42"/>
                  </a:lnTo>
                  <a:lnTo>
                    <a:pt x="512" y="43"/>
                  </a:lnTo>
                  <a:lnTo>
                    <a:pt x="515" y="45"/>
                  </a:lnTo>
                  <a:lnTo>
                    <a:pt x="517" y="47"/>
                  </a:lnTo>
                  <a:lnTo>
                    <a:pt x="518" y="48"/>
                  </a:lnTo>
                  <a:lnTo>
                    <a:pt x="520" y="49"/>
                  </a:lnTo>
                  <a:lnTo>
                    <a:pt x="524" y="54"/>
                  </a:lnTo>
                  <a:lnTo>
                    <a:pt x="526" y="55"/>
                  </a:lnTo>
                  <a:lnTo>
                    <a:pt x="528" y="57"/>
                  </a:lnTo>
                  <a:lnTo>
                    <a:pt x="530" y="58"/>
                  </a:lnTo>
                  <a:lnTo>
                    <a:pt x="531" y="59"/>
                  </a:lnTo>
                  <a:lnTo>
                    <a:pt x="532" y="60"/>
                  </a:lnTo>
                  <a:lnTo>
                    <a:pt x="534" y="61"/>
                  </a:lnTo>
                  <a:lnTo>
                    <a:pt x="536" y="62"/>
                  </a:lnTo>
                  <a:lnTo>
                    <a:pt x="538" y="63"/>
                  </a:lnTo>
                  <a:lnTo>
                    <a:pt x="543" y="65"/>
                  </a:lnTo>
                  <a:lnTo>
                    <a:pt x="548" y="66"/>
                  </a:lnTo>
                  <a:lnTo>
                    <a:pt x="552" y="67"/>
                  </a:lnTo>
                  <a:lnTo>
                    <a:pt x="553" y="68"/>
                  </a:lnTo>
                  <a:lnTo>
                    <a:pt x="554" y="68"/>
                  </a:lnTo>
                  <a:lnTo>
                    <a:pt x="556" y="68"/>
                  </a:lnTo>
                  <a:lnTo>
                    <a:pt x="557" y="68"/>
                  </a:lnTo>
                  <a:lnTo>
                    <a:pt x="558" y="68"/>
                  </a:lnTo>
                  <a:lnTo>
                    <a:pt x="559" y="68"/>
                  </a:lnTo>
                  <a:lnTo>
                    <a:pt x="560" y="68"/>
                  </a:lnTo>
                  <a:lnTo>
                    <a:pt x="561" y="67"/>
                  </a:lnTo>
                  <a:lnTo>
                    <a:pt x="562" y="67"/>
                  </a:lnTo>
                  <a:lnTo>
                    <a:pt x="563" y="67"/>
                  </a:lnTo>
                  <a:lnTo>
                    <a:pt x="564" y="66"/>
                  </a:lnTo>
                  <a:lnTo>
                    <a:pt x="566" y="65"/>
                  </a:lnTo>
                  <a:lnTo>
                    <a:pt x="567" y="63"/>
                  </a:lnTo>
                  <a:lnTo>
                    <a:pt x="568" y="62"/>
                  </a:lnTo>
                  <a:lnTo>
                    <a:pt x="570" y="60"/>
                  </a:lnTo>
                  <a:lnTo>
                    <a:pt x="575" y="52"/>
                  </a:lnTo>
                  <a:lnTo>
                    <a:pt x="576" y="50"/>
                  </a:lnTo>
                  <a:lnTo>
                    <a:pt x="578" y="49"/>
                  </a:lnTo>
                  <a:lnTo>
                    <a:pt x="579" y="48"/>
                  </a:lnTo>
                  <a:lnTo>
                    <a:pt x="580" y="46"/>
                  </a:lnTo>
                  <a:lnTo>
                    <a:pt x="585" y="43"/>
                  </a:lnTo>
                  <a:lnTo>
                    <a:pt x="587" y="40"/>
                  </a:lnTo>
                  <a:lnTo>
                    <a:pt x="589" y="38"/>
                  </a:lnTo>
                  <a:lnTo>
                    <a:pt x="591" y="36"/>
                  </a:lnTo>
                  <a:lnTo>
                    <a:pt x="592" y="35"/>
                  </a:lnTo>
                  <a:lnTo>
                    <a:pt x="594" y="32"/>
                  </a:lnTo>
                  <a:lnTo>
                    <a:pt x="595" y="30"/>
                  </a:lnTo>
                  <a:lnTo>
                    <a:pt x="596" y="28"/>
                  </a:lnTo>
                  <a:lnTo>
                    <a:pt x="597" y="26"/>
                  </a:lnTo>
                  <a:lnTo>
                    <a:pt x="598" y="24"/>
                  </a:lnTo>
                  <a:lnTo>
                    <a:pt x="601" y="17"/>
                  </a:lnTo>
                  <a:lnTo>
                    <a:pt x="601" y="16"/>
                  </a:lnTo>
                  <a:lnTo>
                    <a:pt x="602" y="14"/>
                  </a:lnTo>
                  <a:lnTo>
                    <a:pt x="603" y="12"/>
                  </a:lnTo>
                  <a:lnTo>
                    <a:pt x="604" y="11"/>
                  </a:lnTo>
                  <a:lnTo>
                    <a:pt x="605" y="10"/>
                  </a:lnTo>
                  <a:lnTo>
                    <a:pt x="606" y="8"/>
                  </a:lnTo>
                  <a:lnTo>
                    <a:pt x="608" y="7"/>
                  </a:lnTo>
                  <a:lnTo>
                    <a:pt x="609" y="6"/>
                  </a:lnTo>
                  <a:lnTo>
                    <a:pt x="611" y="5"/>
                  </a:lnTo>
                  <a:lnTo>
                    <a:pt x="613" y="4"/>
                  </a:lnTo>
                  <a:lnTo>
                    <a:pt x="614" y="3"/>
                  </a:lnTo>
                  <a:lnTo>
                    <a:pt x="616" y="2"/>
                  </a:lnTo>
                  <a:lnTo>
                    <a:pt x="617" y="1"/>
                  </a:lnTo>
                  <a:lnTo>
                    <a:pt x="618" y="1"/>
                  </a:lnTo>
                  <a:lnTo>
                    <a:pt x="619" y="0"/>
                  </a:lnTo>
                  <a:lnTo>
                    <a:pt x="621" y="0"/>
                  </a:lnTo>
                  <a:lnTo>
                    <a:pt x="622" y="0"/>
                  </a:lnTo>
                  <a:lnTo>
                    <a:pt x="623" y="0"/>
                  </a:lnTo>
                  <a:lnTo>
                    <a:pt x="624" y="0"/>
                  </a:lnTo>
                  <a:lnTo>
                    <a:pt x="625" y="1"/>
                  </a:lnTo>
                  <a:lnTo>
                    <a:pt x="625" y="1"/>
                  </a:lnTo>
                  <a:lnTo>
                    <a:pt x="626" y="2"/>
                  </a:lnTo>
                  <a:lnTo>
                    <a:pt x="626" y="2"/>
                  </a:lnTo>
                  <a:lnTo>
                    <a:pt x="626" y="2"/>
                  </a:lnTo>
                  <a:lnTo>
                    <a:pt x="626" y="4"/>
                  </a:lnTo>
                  <a:lnTo>
                    <a:pt x="626" y="6"/>
                  </a:lnTo>
                  <a:lnTo>
                    <a:pt x="626" y="8"/>
                  </a:lnTo>
                  <a:lnTo>
                    <a:pt x="626" y="10"/>
                  </a:lnTo>
                  <a:lnTo>
                    <a:pt x="625" y="12"/>
                  </a:lnTo>
                  <a:lnTo>
                    <a:pt x="625" y="14"/>
                  </a:lnTo>
                  <a:lnTo>
                    <a:pt x="624" y="16"/>
                  </a:lnTo>
                  <a:lnTo>
                    <a:pt x="624" y="18"/>
                  </a:lnTo>
                  <a:lnTo>
                    <a:pt x="621" y="24"/>
                  </a:lnTo>
                  <a:lnTo>
                    <a:pt x="620" y="29"/>
                  </a:lnTo>
                  <a:lnTo>
                    <a:pt x="616" y="40"/>
                  </a:lnTo>
                  <a:lnTo>
                    <a:pt x="614" y="45"/>
                  </a:lnTo>
                  <a:lnTo>
                    <a:pt x="613" y="47"/>
                  </a:lnTo>
                  <a:lnTo>
                    <a:pt x="612" y="51"/>
                  </a:lnTo>
                  <a:lnTo>
                    <a:pt x="610" y="56"/>
                  </a:lnTo>
                  <a:lnTo>
                    <a:pt x="609" y="57"/>
                  </a:lnTo>
                  <a:lnTo>
                    <a:pt x="607" y="60"/>
                  </a:lnTo>
                  <a:lnTo>
                    <a:pt x="607" y="61"/>
                  </a:lnTo>
                  <a:lnTo>
                    <a:pt x="607" y="62"/>
                  </a:lnTo>
                  <a:lnTo>
                    <a:pt x="606" y="63"/>
                  </a:lnTo>
                  <a:lnTo>
                    <a:pt x="606" y="64"/>
                  </a:lnTo>
                  <a:lnTo>
                    <a:pt x="606" y="66"/>
                  </a:lnTo>
                  <a:lnTo>
                    <a:pt x="606" y="68"/>
                  </a:lnTo>
                  <a:lnTo>
                    <a:pt x="607" y="73"/>
                  </a:lnTo>
                  <a:lnTo>
                    <a:pt x="607" y="74"/>
                  </a:lnTo>
                  <a:lnTo>
                    <a:pt x="607" y="76"/>
                  </a:lnTo>
                  <a:lnTo>
                    <a:pt x="607" y="77"/>
                  </a:lnTo>
                  <a:lnTo>
                    <a:pt x="607" y="78"/>
                  </a:lnTo>
                  <a:lnTo>
                    <a:pt x="605" y="82"/>
                  </a:lnTo>
                  <a:lnTo>
                    <a:pt x="605" y="84"/>
                  </a:lnTo>
                  <a:lnTo>
                    <a:pt x="605" y="85"/>
                  </a:lnTo>
                  <a:lnTo>
                    <a:pt x="605" y="86"/>
                  </a:lnTo>
                  <a:lnTo>
                    <a:pt x="604" y="87"/>
                  </a:lnTo>
                  <a:lnTo>
                    <a:pt x="605" y="89"/>
                  </a:lnTo>
                  <a:lnTo>
                    <a:pt x="605" y="90"/>
                  </a:lnTo>
                  <a:lnTo>
                    <a:pt x="605" y="93"/>
                  </a:lnTo>
                  <a:lnTo>
                    <a:pt x="606" y="95"/>
                  </a:lnTo>
                  <a:lnTo>
                    <a:pt x="606" y="100"/>
                  </a:lnTo>
                  <a:lnTo>
                    <a:pt x="606" y="102"/>
                  </a:lnTo>
                  <a:lnTo>
                    <a:pt x="606" y="103"/>
                  </a:lnTo>
                  <a:lnTo>
                    <a:pt x="606" y="104"/>
                  </a:lnTo>
                  <a:lnTo>
                    <a:pt x="606" y="106"/>
                  </a:lnTo>
                  <a:lnTo>
                    <a:pt x="605" y="108"/>
                  </a:lnTo>
                  <a:lnTo>
                    <a:pt x="604" y="109"/>
                  </a:lnTo>
                  <a:lnTo>
                    <a:pt x="604" y="110"/>
                  </a:lnTo>
                  <a:lnTo>
                    <a:pt x="603" y="111"/>
                  </a:lnTo>
                  <a:lnTo>
                    <a:pt x="602" y="112"/>
                  </a:lnTo>
                  <a:lnTo>
                    <a:pt x="601" y="113"/>
                  </a:lnTo>
                  <a:lnTo>
                    <a:pt x="600" y="115"/>
                  </a:lnTo>
                  <a:lnTo>
                    <a:pt x="595" y="118"/>
                  </a:lnTo>
                  <a:lnTo>
                    <a:pt x="594" y="120"/>
                  </a:lnTo>
                  <a:lnTo>
                    <a:pt x="590" y="123"/>
                  </a:lnTo>
                  <a:lnTo>
                    <a:pt x="589" y="124"/>
                  </a:lnTo>
                  <a:lnTo>
                    <a:pt x="588" y="126"/>
                  </a:lnTo>
                  <a:lnTo>
                    <a:pt x="587" y="127"/>
                  </a:lnTo>
                  <a:lnTo>
                    <a:pt x="586" y="129"/>
                  </a:lnTo>
                  <a:lnTo>
                    <a:pt x="584" y="130"/>
                  </a:lnTo>
                  <a:lnTo>
                    <a:pt x="584" y="131"/>
                  </a:lnTo>
                  <a:lnTo>
                    <a:pt x="583" y="131"/>
                  </a:lnTo>
                  <a:lnTo>
                    <a:pt x="582" y="132"/>
                  </a:lnTo>
                  <a:lnTo>
                    <a:pt x="581" y="132"/>
                  </a:lnTo>
                  <a:lnTo>
                    <a:pt x="579" y="133"/>
                  </a:lnTo>
                  <a:lnTo>
                    <a:pt x="576" y="133"/>
                  </a:lnTo>
                  <a:lnTo>
                    <a:pt x="574" y="133"/>
                  </a:lnTo>
                  <a:lnTo>
                    <a:pt x="573" y="134"/>
                  </a:lnTo>
                  <a:lnTo>
                    <a:pt x="572" y="134"/>
                  </a:lnTo>
                  <a:lnTo>
                    <a:pt x="571" y="135"/>
                  </a:lnTo>
                  <a:lnTo>
                    <a:pt x="571" y="135"/>
                  </a:lnTo>
                  <a:lnTo>
                    <a:pt x="570" y="136"/>
                  </a:lnTo>
                  <a:lnTo>
                    <a:pt x="570" y="136"/>
                  </a:lnTo>
                  <a:lnTo>
                    <a:pt x="570" y="137"/>
                  </a:lnTo>
                  <a:lnTo>
                    <a:pt x="569" y="137"/>
                  </a:lnTo>
                  <a:lnTo>
                    <a:pt x="569" y="138"/>
                  </a:lnTo>
                  <a:lnTo>
                    <a:pt x="569" y="139"/>
                  </a:lnTo>
                  <a:lnTo>
                    <a:pt x="569" y="140"/>
                  </a:lnTo>
                  <a:lnTo>
                    <a:pt x="570" y="142"/>
                  </a:lnTo>
                  <a:lnTo>
                    <a:pt x="570" y="144"/>
                  </a:lnTo>
                  <a:lnTo>
                    <a:pt x="572" y="149"/>
                  </a:lnTo>
                  <a:lnTo>
                    <a:pt x="573" y="153"/>
                  </a:lnTo>
                  <a:lnTo>
                    <a:pt x="574" y="156"/>
                  </a:lnTo>
                  <a:lnTo>
                    <a:pt x="576" y="163"/>
                  </a:lnTo>
                  <a:lnTo>
                    <a:pt x="576" y="166"/>
                  </a:lnTo>
                  <a:lnTo>
                    <a:pt x="577" y="168"/>
                  </a:lnTo>
                  <a:lnTo>
                    <a:pt x="578" y="172"/>
                  </a:lnTo>
                  <a:lnTo>
                    <a:pt x="581" y="179"/>
                  </a:lnTo>
                  <a:lnTo>
                    <a:pt x="583" y="185"/>
                  </a:lnTo>
                  <a:lnTo>
                    <a:pt x="584" y="187"/>
                  </a:lnTo>
                  <a:lnTo>
                    <a:pt x="584" y="189"/>
                  </a:lnTo>
                  <a:lnTo>
                    <a:pt x="585" y="191"/>
                  </a:lnTo>
                  <a:lnTo>
                    <a:pt x="585" y="197"/>
                  </a:lnTo>
                  <a:lnTo>
                    <a:pt x="585" y="201"/>
                  </a:lnTo>
                  <a:lnTo>
                    <a:pt x="586" y="203"/>
                  </a:lnTo>
                  <a:lnTo>
                    <a:pt x="586" y="205"/>
                  </a:lnTo>
                  <a:lnTo>
                    <a:pt x="587" y="210"/>
                  </a:lnTo>
                  <a:lnTo>
                    <a:pt x="587" y="212"/>
                  </a:lnTo>
                  <a:lnTo>
                    <a:pt x="587" y="213"/>
                  </a:lnTo>
                  <a:lnTo>
                    <a:pt x="587" y="215"/>
                  </a:lnTo>
                  <a:lnTo>
                    <a:pt x="587" y="216"/>
                  </a:lnTo>
                  <a:lnTo>
                    <a:pt x="586" y="217"/>
                  </a:lnTo>
                  <a:lnTo>
                    <a:pt x="586" y="218"/>
                  </a:lnTo>
                  <a:lnTo>
                    <a:pt x="585" y="219"/>
                  </a:lnTo>
                  <a:lnTo>
                    <a:pt x="583" y="223"/>
                  </a:lnTo>
                  <a:lnTo>
                    <a:pt x="581" y="224"/>
                  </a:lnTo>
                  <a:lnTo>
                    <a:pt x="581" y="226"/>
                  </a:lnTo>
                  <a:lnTo>
                    <a:pt x="580" y="227"/>
                  </a:lnTo>
                  <a:lnTo>
                    <a:pt x="580" y="228"/>
                  </a:lnTo>
                  <a:lnTo>
                    <a:pt x="580" y="230"/>
                  </a:lnTo>
                  <a:lnTo>
                    <a:pt x="579" y="231"/>
                  </a:lnTo>
                  <a:lnTo>
                    <a:pt x="579" y="233"/>
                  </a:lnTo>
                  <a:lnTo>
                    <a:pt x="579" y="234"/>
                  </a:lnTo>
                  <a:lnTo>
                    <a:pt x="579" y="235"/>
                  </a:lnTo>
                  <a:lnTo>
                    <a:pt x="579" y="238"/>
                  </a:lnTo>
                  <a:lnTo>
                    <a:pt x="579" y="239"/>
                  </a:lnTo>
                  <a:lnTo>
                    <a:pt x="579" y="241"/>
                  </a:lnTo>
                  <a:lnTo>
                    <a:pt x="580" y="242"/>
                  </a:lnTo>
                  <a:lnTo>
                    <a:pt x="580" y="244"/>
                  </a:lnTo>
                  <a:lnTo>
                    <a:pt x="581" y="245"/>
                  </a:lnTo>
                  <a:lnTo>
                    <a:pt x="584" y="250"/>
                  </a:lnTo>
                  <a:lnTo>
                    <a:pt x="585" y="252"/>
                  </a:lnTo>
                  <a:lnTo>
                    <a:pt x="586" y="253"/>
                  </a:lnTo>
                  <a:lnTo>
                    <a:pt x="586" y="254"/>
                  </a:lnTo>
                  <a:lnTo>
                    <a:pt x="587" y="256"/>
                  </a:lnTo>
                  <a:lnTo>
                    <a:pt x="588" y="260"/>
                  </a:lnTo>
                  <a:lnTo>
                    <a:pt x="589" y="262"/>
                  </a:lnTo>
                  <a:lnTo>
                    <a:pt x="590" y="265"/>
                  </a:lnTo>
                  <a:lnTo>
                    <a:pt x="592" y="268"/>
                  </a:lnTo>
                  <a:lnTo>
                    <a:pt x="593" y="269"/>
                  </a:lnTo>
                  <a:lnTo>
                    <a:pt x="594" y="271"/>
                  </a:lnTo>
                  <a:lnTo>
                    <a:pt x="596" y="274"/>
                  </a:lnTo>
                  <a:lnTo>
                    <a:pt x="599" y="277"/>
                  </a:lnTo>
                  <a:lnTo>
                    <a:pt x="602" y="280"/>
                  </a:lnTo>
                  <a:lnTo>
                    <a:pt x="603" y="281"/>
                  </a:lnTo>
                  <a:lnTo>
                    <a:pt x="604" y="283"/>
                  </a:lnTo>
                  <a:lnTo>
                    <a:pt x="605" y="284"/>
                  </a:lnTo>
                  <a:lnTo>
                    <a:pt x="605" y="285"/>
                  </a:lnTo>
                  <a:lnTo>
                    <a:pt x="605" y="286"/>
                  </a:lnTo>
                  <a:lnTo>
                    <a:pt x="606" y="290"/>
                  </a:lnTo>
                  <a:lnTo>
                    <a:pt x="606" y="291"/>
                  </a:lnTo>
                  <a:lnTo>
                    <a:pt x="606" y="292"/>
                  </a:lnTo>
                  <a:lnTo>
                    <a:pt x="608" y="296"/>
                  </a:lnTo>
                  <a:lnTo>
                    <a:pt x="608" y="297"/>
                  </a:lnTo>
                  <a:lnTo>
                    <a:pt x="608" y="298"/>
                  </a:lnTo>
                  <a:lnTo>
                    <a:pt x="608" y="299"/>
                  </a:lnTo>
                  <a:lnTo>
                    <a:pt x="608" y="301"/>
                  </a:lnTo>
                  <a:lnTo>
                    <a:pt x="608" y="302"/>
                  </a:lnTo>
                  <a:lnTo>
                    <a:pt x="607" y="305"/>
                  </a:lnTo>
                  <a:lnTo>
                    <a:pt x="606" y="306"/>
                  </a:lnTo>
                  <a:lnTo>
                    <a:pt x="606" y="307"/>
                  </a:lnTo>
                  <a:lnTo>
                    <a:pt x="606" y="308"/>
                  </a:lnTo>
                  <a:lnTo>
                    <a:pt x="607" y="308"/>
                  </a:lnTo>
                  <a:lnTo>
                    <a:pt x="607" y="308"/>
                  </a:lnTo>
                  <a:lnTo>
                    <a:pt x="607" y="309"/>
                  </a:lnTo>
                  <a:lnTo>
                    <a:pt x="608" y="309"/>
                  </a:lnTo>
                  <a:lnTo>
                    <a:pt x="608" y="309"/>
                  </a:lnTo>
                  <a:lnTo>
                    <a:pt x="609" y="309"/>
                  </a:lnTo>
                  <a:lnTo>
                    <a:pt x="611" y="310"/>
                  </a:lnTo>
                  <a:lnTo>
                    <a:pt x="612" y="310"/>
                  </a:lnTo>
                  <a:lnTo>
                    <a:pt x="616" y="311"/>
                  </a:lnTo>
                  <a:lnTo>
                    <a:pt x="618" y="311"/>
                  </a:lnTo>
                  <a:lnTo>
                    <a:pt x="618" y="312"/>
                  </a:lnTo>
                  <a:lnTo>
                    <a:pt x="619" y="312"/>
                  </a:lnTo>
                  <a:lnTo>
                    <a:pt x="620" y="313"/>
                  </a:lnTo>
                  <a:lnTo>
                    <a:pt x="621" y="314"/>
                  </a:lnTo>
                  <a:lnTo>
                    <a:pt x="622" y="315"/>
                  </a:lnTo>
                  <a:lnTo>
                    <a:pt x="623" y="315"/>
                  </a:lnTo>
                  <a:lnTo>
                    <a:pt x="624" y="316"/>
                  </a:lnTo>
                  <a:lnTo>
                    <a:pt x="624" y="318"/>
                  </a:lnTo>
                  <a:lnTo>
                    <a:pt x="625" y="319"/>
                  </a:lnTo>
                  <a:lnTo>
                    <a:pt x="625" y="320"/>
                  </a:lnTo>
                  <a:lnTo>
                    <a:pt x="626" y="322"/>
                  </a:lnTo>
                  <a:lnTo>
                    <a:pt x="626" y="327"/>
                  </a:lnTo>
                  <a:lnTo>
                    <a:pt x="626" y="329"/>
                  </a:lnTo>
                  <a:lnTo>
                    <a:pt x="626" y="330"/>
                  </a:lnTo>
                  <a:lnTo>
                    <a:pt x="626" y="333"/>
                  </a:lnTo>
                  <a:lnTo>
                    <a:pt x="626" y="335"/>
                  </a:lnTo>
                  <a:lnTo>
                    <a:pt x="625" y="338"/>
                  </a:lnTo>
                  <a:lnTo>
                    <a:pt x="625" y="340"/>
                  </a:lnTo>
                  <a:lnTo>
                    <a:pt x="624" y="341"/>
                  </a:lnTo>
                  <a:lnTo>
                    <a:pt x="624" y="342"/>
                  </a:lnTo>
                  <a:lnTo>
                    <a:pt x="623" y="344"/>
                  </a:lnTo>
                  <a:lnTo>
                    <a:pt x="622" y="345"/>
                  </a:lnTo>
                  <a:lnTo>
                    <a:pt x="619" y="349"/>
                  </a:lnTo>
                  <a:lnTo>
                    <a:pt x="615" y="354"/>
                  </a:lnTo>
                  <a:lnTo>
                    <a:pt x="615" y="355"/>
                  </a:lnTo>
                  <a:lnTo>
                    <a:pt x="614" y="356"/>
                  </a:lnTo>
                  <a:lnTo>
                    <a:pt x="613" y="357"/>
                  </a:lnTo>
                  <a:lnTo>
                    <a:pt x="612" y="359"/>
                  </a:lnTo>
                  <a:lnTo>
                    <a:pt x="612" y="360"/>
                  </a:lnTo>
                  <a:lnTo>
                    <a:pt x="611" y="362"/>
                  </a:lnTo>
                  <a:lnTo>
                    <a:pt x="611" y="363"/>
                  </a:lnTo>
                  <a:lnTo>
                    <a:pt x="611" y="365"/>
                  </a:lnTo>
                  <a:lnTo>
                    <a:pt x="611" y="366"/>
                  </a:lnTo>
                  <a:lnTo>
                    <a:pt x="611" y="368"/>
                  </a:lnTo>
                  <a:lnTo>
                    <a:pt x="611" y="369"/>
                  </a:lnTo>
                  <a:lnTo>
                    <a:pt x="612" y="371"/>
                  </a:lnTo>
                  <a:lnTo>
                    <a:pt x="614" y="376"/>
                  </a:lnTo>
                  <a:lnTo>
                    <a:pt x="614" y="377"/>
                  </a:lnTo>
                  <a:lnTo>
                    <a:pt x="614" y="377"/>
                  </a:lnTo>
                  <a:lnTo>
                    <a:pt x="614" y="379"/>
                  </a:lnTo>
                  <a:lnTo>
                    <a:pt x="613" y="381"/>
                  </a:lnTo>
                  <a:lnTo>
                    <a:pt x="612" y="385"/>
                  </a:lnTo>
                  <a:lnTo>
                    <a:pt x="611" y="388"/>
                  </a:lnTo>
                  <a:lnTo>
                    <a:pt x="611" y="391"/>
                  </a:lnTo>
                  <a:lnTo>
                    <a:pt x="611" y="394"/>
                  </a:lnTo>
                  <a:lnTo>
                    <a:pt x="611" y="395"/>
                  </a:lnTo>
                  <a:lnTo>
                    <a:pt x="611" y="395"/>
                  </a:lnTo>
                  <a:lnTo>
                    <a:pt x="611" y="395"/>
                  </a:lnTo>
                  <a:lnTo>
                    <a:pt x="610" y="395"/>
                  </a:lnTo>
                  <a:lnTo>
                    <a:pt x="610" y="395"/>
                  </a:lnTo>
                  <a:lnTo>
                    <a:pt x="608" y="396"/>
                  </a:lnTo>
                  <a:lnTo>
                    <a:pt x="606" y="396"/>
                  </a:lnTo>
                  <a:lnTo>
                    <a:pt x="604" y="395"/>
                  </a:lnTo>
                  <a:lnTo>
                    <a:pt x="602" y="395"/>
                  </a:lnTo>
                  <a:lnTo>
                    <a:pt x="600" y="395"/>
                  </a:lnTo>
                  <a:lnTo>
                    <a:pt x="598" y="394"/>
                  </a:lnTo>
                  <a:lnTo>
                    <a:pt x="595" y="393"/>
                  </a:lnTo>
                  <a:lnTo>
                    <a:pt x="593" y="392"/>
                  </a:lnTo>
                  <a:lnTo>
                    <a:pt x="590" y="391"/>
                  </a:lnTo>
                  <a:lnTo>
                    <a:pt x="588" y="390"/>
                  </a:lnTo>
                  <a:lnTo>
                    <a:pt x="586" y="389"/>
                  </a:lnTo>
                  <a:lnTo>
                    <a:pt x="576" y="385"/>
                  </a:lnTo>
                  <a:lnTo>
                    <a:pt x="572" y="383"/>
                  </a:lnTo>
                  <a:lnTo>
                    <a:pt x="571" y="382"/>
                  </a:lnTo>
                  <a:lnTo>
                    <a:pt x="569" y="381"/>
                  </a:lnTo>
                  <a:lnTo>
                    <a:pt x="567" y="381"/>
                  </a:lnTo>
                  <a:lnTo>
                    <a:pt x="565" y="380"/>
                  </a:lnTo>
                  <a:lnTo>
                    <a:pt x="563" y="380"/>
                  </a:lnTo>
                  <a:lnTo>
                    <a:pt x="562" y="380"/>
                  </a:lnTo>
                  <a:lnTo>
                    <a:pt x="558" y="379"/>
                  </a:lnTo>
                  <a:lnTo>
                    <a:pt x="555" y="379"/>
                  </a:lnTo>
                  <a:lnTo>
                    <a:pt x="553" y="379"/>
                  </a:lnTo>
                  <a:lnTo>
                    <a:pt x="552" y="379"/>
                  </a:lnTo>
                  <a:lnTo>
                    <a:pt x="550" y="379"/>
                  </a:lnTo>
                  <a:lnTo>
                    <a:pt x="546" y="380"/>
                  </a:lnTo>
                  <a:lnTo>
                    <a:pt x="545" y="380"/>
                  </a:lnTo>
                  <a:lnTo>
                    <a:pt x="544" y="380"/>
                  </a:lnTo>
                  <a:lnTo>
                    <a:pt x="543" y="380"/>
                  </a:lnTo>
                  <a:lnTo>
                    <a:pt x="542" y="380"/>
                  </a:lnTo>
                  <a:lnTo>
                    <a:pt x="539" y="378"/>
                  </a:lnTo>
                  <a:lnTo>
                    <a:pt x="537" y="378"/>
                  </a:lnTo>
                  <a:lnTo>
                    <a:pt x="535" y="378"/>
                  </a:lnTo>
                  <a:lnTo>
                    <a:pt x="534" y="378"/>
                  </a:lnTo>
                  <a:lnTo>
                    <a:pt x="533" y="378"/>
                  </a:lnTo>
                  <a:lnTo>
                    <a:pt x="532" y="378"/>
                  </a:lnTo>
                  <a:lnTo>
                    <a:pt x="528" y="379"/>
                  </a:lnTo>
                  <a:lnTo>
                    <a:pt x="526" y="380"/>
                  </a:lnTo>
                  <a:lnTo>
                    <a:pt x="524" y="380"/>
                  </a:lnTo>
                  <a:lnTo>
                    <a:pt x="522" y="380"/>
                  </a:lnTo>
                  <a:lnTo>
                    <a:pt x="518" y="380"/>
                  </a:lnTo>
                  <a:lnTo>
                    <a:pt x="515" y="379"/>
                  </a:lnTo>
                  <a:lnTo>
                    <a:pt x="513" y="379"/>
                  </a:lnTo>
                  <a:lnTo>
                    <a:pt x="509" y="378"/>
                  </a:lnTo>
                  <a:lnTo>
                    <a:pt x="507" y="377"/>
                  </a:lnTo>
                  <a:lnTo>
                    <a:pt x="507" y="377"/>
                  </a:lnTo>
                  <a:lnTo>
                    <a:pt x="506" y="377"/>
                  </a:lnTo>
                  <a:lnTo>
                    <a:pt x="506" y="377"/>
                  </a:lnTo>
                  <a:lnTo>
                    <a:pt x="506" y="377"/>
                  </a:lnTo>
                  <a:lnTo>
                    <a:pt x="505" y="378"/>
                  </a:lnTo>
                  <a:lnTo>
                    <a:pt x="504" y="379"/>
                  </a:lnTo>
                  <a:lnTo>
                    <a:pt x="504" y="381"/>
                  </a:lnTo>
                  <a:lnTo>
                    <a:pt x="503" y="384"/>
                  </a:lnTo>
                  <a:lnTo>
                    <a:pt x="500" y="395"/>
                  </a:lnTo>
                  <a:lnTo>
                    <a:pt x="500" y="397"/>
                  </a:lnTo>
                  <a:lnTo>
                    <a:pt x="499" y="398"/>
                  </a:lnTo>
                  <a:lnTo>
                    <a:pt x="498" y="400"/>
                  </a:lnTo>
                  <a:lnTo>
                    <a:pt x="498" y="400"/>
                  </a:lnTo>
                  <a:lnTo>
                    <a:pt x="497" y="401"/>
                  </a:lnTo>
                  <a:lnTo>
                    <a:pt x="496" y="402"/>
                  </a:lnTo>
                  <a:lnTo>
                    <a:pt x="496" y="402"/>
                  </a:lnTo>
                  <a:lnTo>
                    <a:pt x="495" y="402"/>
                  </a:lnTo>
                  <a:lnTo>
                    <a:pt x="493" y="402"/>
                  </a:lnTo>
                  <a:lnTo>
                    <a:pt x="491" y="403"/>
                  </a:lnTo>
                  <a:lnTo>
                    <a:pt x="488" y="403"/>
                  </a:lnTo>
                  <a:lnTo>
                    <a:pt x="486" y="402"/>
                  </a:lnTo>
                  <a:lnTo>
                    <a:pt x="484" y="402"/>
                  </a:lnTo>
                  <a:lnTo>
                    <a:pt x="478" y="401"/>
                  </a:lnTo>
                  <a:lnTo>
                    <a:pt x="477" y="401"/>
                  </a:lnTo>
                  <a:lnTo>
                    <a:pt x="476" y="401"/>
                  </a:lnTo>
                  <a:lnTo>
                    <a:pt x="475" y="401"/>
                  </a:lnTo>
                  <a:lnTo>
                    <a:pt x="473" y="401"/>
                  </a:lnTo>
                  <a:lnTo>
                    <a:pt x="469" y="402"/>
                  </a:lnTo>
                  <a:lnTo>
                    <a:pt x="467" y="402"/>
                  </a:lnTo>
                  <a:lnTo>
                    <a:pt x="464" y="403"/>
                  </a:lnTo>
                  <a:lnTo>
                    <a:pt x="462" y="403"/>
                  </a:lnTo>
                  <a:lnTo>
                    <a:pt x="461" y="403"/>
                  </a:lnTo>
                  <a:lnTo>
                    <a:pt x="460" y="403"/>
                  </a:lnTo>
                  <a:lnTo>
                    <a:pt x="459" y="402"/>
                  </a:lnTo>
                  <a:lnTo>
                    <a:pt x="458" y="401"/>
                  </a:lnTo>
                  <a:lnTo>
                    <a:pt x="456" y="401"/>
                  </a:lnTo>
                  <a:lnTo>
                    <a:pt x="456" y="401"/>
                  </a:lnTo>
                  <a:lnTo>
                    <a:pt x="455" y="401"/>
                  </a:lnTo>
                  <a:lnTo>
                    <a:pt x="454" y="401"/>
                  </a:lnTo>
                  <a:lnTo>
                    <a:pt x="453" y="401"/>
                  </a:lnTo>
                  <a:lnTo>
                    <a:pt x="452" y="401"/>
                  </a:lnTo>
                  <a:lnTo>
                    <a:pt x="451" y="402"/>
                  </a:lnTo>
                  <a:lnTo>
                    <a:pt x="449" y="402"/>
                  </a:lnTo>
                  <a:lnTo>
                    <a:pt x="448" y="403"/>
                  </a:lnTo>
                  <a:lnTo>
                    <a:pt x="447" y="404"/>
                  </a:lnTo>
                  <a:lnTo>
                    <a:pt x="447" y="404"/>
                  </a:lnTo>
                  <a:lnTo>
                    <a:pt x="444" y="407"/>
                  </a:lnTo>
                  <a:lnTo>
                    <a:pt x="443" y="409"/>
                  </a:lnTo>
                  <a:lnTo>
                    <a:pt x="441" y="410"/>
                  </a:lnTo>
                  <a:lnTo>
                    <a:pt x="440" y="411"/>
                  </a:lnTo>
                  <a:lnTo>
                    <a:pt x="439" y="412"/>
                  </a:lnTo>
                  <a:lnTo>
                    <a:pt x="439" y="412"/>
                  </a:lnTo>
                  <a:lnTo>
                    <a:pt x="438" y="412"/>
                  </a:lnTo>
                  <a:lnTo>
                    <a:pt x="437" y="412"/>
                  </a:lnTo>
                  <a:lnTo>
                    <a:pt x="437" y="412"/>
                  </a:lnTo>
                  <a:lnTo>
                    <a:pt x="436" y="412"/>
                  </a:lnTo>
                  <a:lnTo>
                    <a:pt x="436" y="412"/>
                  </a:lnTo>
                  <a:lnTo>
                    <a:pt x="435" y="412"/>
                  </a:lnTo>
                  <a:lnTo>
                    <a:pt x="435" y="411"/>
                  </a:lnTo>
                  <a:lnTo>
                    <a:pt x="429" y="403"/>
                  </a:lnTo>
                  <a:lnTo>
                    <a:pt x="428" y="401"/>
                  </a:lnTo>
                  <a:lnTo>
                    <a:pt x="426" y="400"/>
                  </a:lnTo>
                  <a:lnTo>
                    <a:pt x="425" y="399"/>
                  </a:lnTo>
                  <a:lnTo>
                    <a:pt x="424" y="398"/>
                  </a:lnTo>
                  <a:lnTo>
                    <a:pt x="420" y="395"/>
                  </a:lnTo>
                  <a:lnTo>
                    <a:pt x="415" y="392"/>
                  </a:lnTo>
                  <a:lnTo>
                    <a:pt x="413" y="391"/>
                  </a:lnTo>
                  <a:lnTo>
                    <a:pt x="411" y="390"/>
                  </a:lnTo>
                  <a:lnTo>
                    <a:pt x="409" y="389"/>
                  </a:lnTo>
                  <a:lnTo>
                    <a:pt x="404" y="387"/>
                  </a:lnTo>
                  <a:lnTo>
                    <a:pt x="398" y="386"/>
                  </a:lnTo>
                  <a:lnTo>
                    <a:pt x="397" y="385"/>
                  </a:lnTo>
                  <a:lnTo>
                    <a:pt x="394" y="385"/>
                  </a:lnTo>
                  <a:lnTo>
                    <a:pt x="393" y="384"/>
                  </a:lnTo>
                  <a:lnTo>
                    <a:pt x="392" y="384"/>
                  </a:lnTo>
                  <a:lnTo>
                    <a:pt x="391" y="384"/>
                  </a:lnTo>
                  <a:lnTo>
                    <a:pt x="389" y="382"/>
                  </a:lnTo>
                  <a:lnTo>
                    <a:pt x="387" y="381"/>
                  </a:lnTo>
                  <a:lnTo>
                    <a:pt x="386" y="379"/>
                  </a:lnTo>
                  <a:lnTo>
                    <a:pt x="384" y="378"/>
                  </a:lnTo>
                  <a:lnTo>
                    <a:pt x="382" y="375"/>
                  </a:lnTo>
                  <a:lnTo>
                    <a:pt x="381" y="373"/>
                  </a:lnTo>
                  <a:lnTo>
                    <a:pt x="379" y="371"/>
                  </a:lnTo>
                  <a:lnTo>
                    <a:pt x="374" y="365"/>
                  </a:lnTo>
                  <a:lnTo>
                    <a:pt x="372" y="364"/>
                  </a:lnTo>
                  <a:lnTo>
                    <a:pt x="370" y="362"/>
                  </a:lnTo>
                  <a:lnTo>
                    <a:pt x="368" y="361"/>
                  </a:lnTo>
                  <a:lnTo>
                    <a:pt x="366" y="359"/>
                  </a:lnTo>
                  <a:lnTo>
                    <a:pt x="364" y="358"/>
                  </a:lnTo>
                  <a:lnTo>
                    <a:pt x="362" y="357"/>
                  </a:lnTo>
                  <a:lnTo>
                    <a:pt x="356" y="355"/>
                  </a:lnTo>
                  <a:lnTo>
                    <a:pt x="351" y="351"/>
                  </a:lnTo>
                  <a:lnTo>
                    <a:pt x="349" y="351"/>
                  </a:lnTo>
                  <a:lnTo>
                    <a:pt x="348" y="351"/>
                  </a:lnTo>
                  <a:lnTo>
                    <a:pt x="344" y="349"/>
                  </a:lnTo>
                  <a:lnTo>
                    <a:pt x="339" y="348"/>
                  </a:lnTo>
                  <a:lnTo>
                    <a:pt x="333" y="346"/>
                  </a:lnTo>
                  <a:lnTo>
                    <a:pt x="332" y="346"/>
                  </a:lnTo>
                  <a:lnTo>
                    <a:pt x="328" y="344"/>
                  </a:lnTo>
                  <a:lnTo>
                    <a:pt x="327" y="344"/>
                  </a:lnTo>
                  <a:lnTo>
                    <a:pt x="326" y="343"/>
                  </a:lnTo>
                  <a:lnTo>
                    <a:pt x="325" y="343"/>
                  </a:lnTo>
                  <a:lnTo>
                    <a:pt x="323" y="343"/>
                  </a:lnTo>
                  <a:lnTo>
                    <a:pt x="317" y="343"/>
                  </a:lnTo>
                  <a:lnTo>
                    <a:pt x="315" y="343"/>
                  </a:lnTo>
                  <a:lnTo>
                    <a:pt x="314" y="342"/>
                  </a:lnTo>
                  <a:lnTo>
                    <a:pt x="313" y="342"/>
                  </a:lnTo>
                  <a:lnTo>
                    <a:pt x="312" y="342"/>
                  </a:lnTo>
                  <a:lnTo>
                    <a:pt x="312" y="342"/>
                  </a:lnTo>
                  <a:lnTo>
                    <a:pt x="311" y="341"/>
                  </a:lnTo>
                  <a:lnTo>
                    <a:pt x="310" y="341"/>
                  </a:lnTo>
                  <a:lnTo>
                    <a:pt x="309" y="340"/>
                  </a:lnTo>
                  <a:lnTo>
                    <a:pt x="307" y="338"/>
                  </a:lnTo>
                  <a:lnTo>
                    <a:pt x="304" y="334"/>
                  </a:lnTo>
                  <a:lnTo>
                    <a:pt x="302" y="333"/>
                  </a:lnTo>
                  <a:lnTo>
                    <a:pt x="300" y="331"/>
                  </a:lnTo>
                  <a:lnTo>
                    <a:pt x="299" y="330"/>
                  </a:lnTo>
                  <a:lnTo>
                    <a:pt x="298" y="329"/>
                  </a:lnTo>
                  <a:lnTo>
                    <a:pt x="297" y="329"/>
                  </a:lnTo>
                  <a:lnTo>
                    <a:pt x="296" y="328"/>
                  </a:lnTo>
                  <a:lnTo>
                    <a:pt x="295" y="327"/>
                  </a:lnTo>
                  <a:lnTo>
                    <a:pt x="293" y="327"/>
                  </a:lnTo>
                  <a:lnTo>
                    <a:pt x="291" y="326"/>
                  </a:lnTo>
                  <a:lnTo>
                    <a:pt x="287" y="325"/>
                  </a:lnTo>
                  <a:lnTo>
                    <a:pt x="284" y="325"/>
                  </a:lnTo>
                  <a:lnTo>
                    <a:pt x="282" y="324"/>
                  </a:lnTo>
                  <a:lnTo>
                    <a:pt x="280" y="323"/>
                  </a:lnTo>
                  <a:lnTo>
                    <a:pt x="279" y="323"/>
                  </a:lnTo>
                  <a:lnTo>
                    <a:pt x="278" y="322"/>
                  </a:lnTo>
                  <a:lnTo>
                    <a:pt x="277" y="321"/>
                  </a:lnTo>
                  <a:lnTo>
                    <a:pt x="276" y="321"/>
                  </a:lnTo>
                  <a:lnTo>
                    <a:pt x="275" y="320"/>
                  </a:lnTo>
                  <a:lnTo>
                    <a:pt x="274" y="319"/>
                  </a:lnTo>
                  <a:lnTo>
                    <a:pt x="273" y="318"/>
                  </a:lnTo>
                  <a:lnTo>
                    <a:pt x="271" y="315"/>
                  </a:lnTo>
                  <a:lnTo>
                    <a:pt x="270" y="314"/>
                  </a:lnTo>
                  <a:lnTo>
                    <a:pt x="269" y="314"/>
                  </a:lnTo>
                  <a:lnTo>
                    <a:pt x="268" y="313"/>
                  </a:lnTo>
                  <a:lnTo>
                    <a:pt x="268" y="313"/>
                  </a:lnTo>
                  <a:lnTo>
                    <a:pt x="267" y="313"/>
                  </a:lnTo>
                  <a:lnTo>
                    <a:pt x="266" y="313"/>
                  </a:lnTo>
                  <a:lnTo>
                    <a:pt x="265" y="314"/>
                  </a:lnTo>
                  <a:lnTo>
                    <a:pt x="264" y="315"/>
                  </a:lnTo>
                  <a:lnTo>
                    <a:pt x="263" y="316"/>
                  </a:lnTo>
                  <a:lnTo>
                    <a:pt x="261" y="318"/>
                  </a:lnTo>
                  <a:lnTo>
                    <a:pt x="260" y="319"/>
                  </a:lnTo>
                  <a:lnTo>
                    <a:pt x="259" y="321"/>
                  </a:lnTo>
                  <a:lnTo>
                    <a:pt x="257" y="323"/>
                  </a:lnTo>
                  <a:lnTo>
                    <a:pt x="256" y="326"/>
                  </a:lnTo>
                  <a:lnTo>
                    <a:pt x="254" y="330"/>
                  </a:lnTo>
                  <a:lnTo>
                    <a:pt x="254" y="331"/>
                  </a:lnTo>
                  <a:lnTo>
                    <a:pt x="253" y="332"/>
                  </a:lnTo>
                  <a:lnTo>
                    <a:pt x="252" y="334"/>
                  </a:lnTo>
                  <a:lnTo>
                    <a:pt x="250" y="336"/>
                  </a:lnTo>
                  <a:lnTo>
                    <a:pt x="248" y="340"/>
                  </a:lnTo>
                  <a:lnTo>
                    <a:pt x="247" y="340"/>
                  </a:lnTo>
                  <a:lnTo>
                    <a:pt x="246" y="341"/>
                  </a:lnTo>
                  <a:lnTo>
                    <a:pt x="245" y="342"/>
                  </a:lnTo>
                  <a:lnTo>
                    <a:pt x="245" y="342"/>
                  </a:lnTo>
                  <a:lnTo>
                    <a:pt x="243" y="343"/>
                  </a:lnTo>
                  <a:lnTo>
                    <a:pt x="242" y="343"/>
                  </a:lnTo>
                  <a:lnTo>
                    <a:pt x="241" y="343"/>
                  </a:lnTo>
                  <a:lnTo>
                    <a:pt x="239" y="343"/>
                  </a:lnTo>
                  <a:lnTo>
                    <a:pt x="237" y="343"/>
                  </a:lnTo>
                  <a:lnTo>
                    <a:pt x="235" y="343"/>
                  </a:lnTo>
                  <a:lnTo>
                    <a:pt x="234" y="343"/>
                  </a:lnTo>
                  <a:lnTo>
                    <a:pt x="233" y="343"/>
                  </a:lnTo>
                  <a:lnTo>
                    <a:pt x="232" y="342"/>
                  </a:lnTo>
                  <a:lnTo>
                    <a:pt x="231" y="342"/>
                  </a:lnTo>
                  <a:lnTo>
                    <a:pt x="229" y="341"/>
                  </a:lnTo>
                  <a:lnTo>
                    <a:pt x="224" y="339"/>
                  </a:lnTo>
                  <a:lnTo>
                    <a:pt x="216" y="334"/>
                  </a:lnTo>
                  <a:lnTo>
                    <a:pt x="213" y="333"/>
                  </a:lnTo>
                  <a:lnTo>
                    <a:pt x="212" y="332"/>
                  </a:lnTo>
                  <a:lnTo>
                    <a:pt x="211" y="331"/>
                  </a:lnTo>
                  <a:lnTo>
                    <a:pt x="210" y="330"/>
                  </a:lnTo>
                  <a:lnTo>
                    <a:pt x="209" y="329"/>
                  </a:lnTo>
                  <a:lnTo>
                    <a:pt x="208" y="327"/>
                  </a:lnTo>
                  <a:lnTo>
                    <a:pt x="207" y="326"/>
                  </a:lnTo>
                  <a:lnTo>
                    <a:pt x="207" y="325"/>
                  </a:lnTo>
                  <a:lnTo>
                    <a:pt x="207" y="323"/>
                  </a:lnTo>
                  <a:lnTo>
                    <a:pt x="207" y="322"/>
                  </a:lnTo>
                  <a:lnTo>
                    <a:pt x="207" y="320"/>
                  </a:lnTo>
                  <a:lnTo>
                    <a:pt x="207" y="318"/>
                  </a:lnTo>
                  <a:lnTo>
                    <a:pt x="208" y="315"/>
                  </a:lnTo>
                  <a:lnTo>
                    <a:pt x="208" y="314"/>
                  </a:lnTo>
                  <a:lnTo>
                    <a:pt x="208" y="314"/>
                  </a:lnTo>
                  <a:lnTo>
                    <a:pt x="208" y="313"/>
                  </a:lnTo>
                  <a:lnTo>
                    <a:pt x="208" y="312"/>
                  </a:lnTo>
                  <a:lnTo>
                    <a:pt x="208" y="311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06" y="310"/>
                  </a:lnTo>
                  <a:lnTo>
                    <a:pt x="203" y="309"/>
                  </a:lnTo>
                  <a:lnTo>
                    <a:pt x="202" y="309"/>
                  </a:lnTo>
                  <a:lnTo>
                    <a:pt x="200" y="308"/>
                  </a:lnTo>
                  <a:lnTo>
                    <a:pt x="199" y="308"/>
                  </a:lnTo>
                  <a:lnTo>
                    <a:pt x="197" y="307"/>
                  </a:lnTo>
                  <a:lnTo>
                    <a:pt x="196" y="306"/>
                  </a:lnTo>
                  <a:lnTo>
                    <a:pt x="194" y="305"/>
                  </a:lnTo>
                  <a:lnTo>
                    <a:pt x="191" y="303"/>
                  </a:lnTo>
                  <a:lnTo>
                    <a:pt x="190" y="302"/>
                  </a:lnTo>
                  <a:lnTo>
                    <a:pt x="188" y="301"/>
                  </a:lnTo>
                  <a:lnTo>
                    <a:pt x="186" y="301"/>
                  </a:lnTo>
                  <a:lnTo>
                    <a:pt x="184" y="300"/>
                  </a:lnTo>
                  <a:lnTo>
                    <a:pt x="182" y="299"/>
                  </a:lnTo>
                  <a:lnTo>
                    <a:pt x="180" y="299"/>
                  </a:lnTo>
                  <a:lnTo>
                    <a:pt x="178" y="298"/>
                  </a:lnTo>
                  <a:lnTo>
                    <a:pt x="177" y="298"/>
                  </a:lnTo>
                  <a:lnTo>
                    <a:pt x="176" y="297"/>
                  </a:lnTo>
                  <a:lnTo>
                    <a:pt x="175" y="297"/>
                  </a:lnTo>
                  <a:lnTo>
                    <a:pt x="174" y="296"/>
                  </a:lnTo>
                  <a:lnTo>
                    <a:pt x="174" y="296"/>
                  </a:lnTo>
                  <a:lnTo>
                    <a:pt x="173" y="295"/>
                  </a:lnTo>
                  <a:lnTo>
                    <a:pt x="173" y="294"/>
                  </a:lnTo>
                  <a:lnTo>
                    <a:pt x="172" y="293"/>
                  </a:lnTo>
                  <a:lnTo>
                    <a:pt x="171" y="289"/>
                  </a:lnTo>
                  <a:lnTo>
                    <a:pt x="171" y="288"/>
                  </a:lnTo>
                  <a:lnTo>
                    <a:pt x="171" y="288"/>
                  </a:lnTo>
                  <a:lnTo>
                    <a:pt x="170" y="287"/>
                  </a:lnTo>
                  <a:lnTo>
                    <a:pt x="170" y="287"/>
                  </a:lnTo>
                  <a:lnTo>
                    <a:pt x="170" y="286"/>
                  </a:lnTo>
                  <a:lnTo>
                    <a:pt x="169" y="286"/>
                  </a:lnTo>
                  <a:lnTo>
                    <a:pt x="168" y="286"/>
                  </a:lnTo>
                  <a:lnTo>
                    <a:pt x="167" y="285"/>
                  </a:lnTo>
                  <a:lnTo>
                    <a:pt x="164" y="284"/>
                  </a:lnTo>
                  <a:lnTo>
                    <a:pt x="162" y="283"/>
                  </a:lnTo>
                  <a:lnTo>
                    <a:pt x="158" y="283"/>
                  </a:lnTo>
                  <a:lnTo>
                    <a:pt x="157" y="282"/>
                  </a:lnTo>
                  <a:lnTo>
                    <a:pt x="155" y="282"/>
                  </a:lnTo>
                  <a:lnTo>
                    <a:pt x="154" y="281"/>
                  </a:lnTo>
                  <a:lnTo>
                    <a:pt x="152" y="280"/>
                  </a:lnTo>
                  <a:lnTo>
                    <a:pt x="150" y="279"/>
                  </a:lnTo>
                  <a:lnTo>
                    <a:pt x="149" y="278"/>
                  </a:lnTo>
                  <a:lnTo>
                    <a:pt x="148" y="277"/>
                  </a:lnTo>
                  <a:lnTo>
                    <a:pt x="147" y="276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2" y="272"/>
                  </a:lnTo>
                  <a:lnTo>
                    <a:pt x="141" y="271"/>
                  </a:lnTo>
                  <a:lnTo>
                    <a:pt x="139" y="270"/>
                  </a:lnTo>
                  <a:lnTo>
                    <a:pt x="135" y="268"/>
                  </a:lnTo>
                  <a:lnTo>
                    <a:pt x="134" y="268"/>
                  </a:lnTo>
                  <a:lnTo>
                    <a:pt x="132" y="267"/>
                  </a:lnTo>
                  <a:lnTo>
                    <a:pt x="131" y="266"/>
                  </a:lnTo>
                  <a:lnTo>
                    <a:pt x="130" y="266"/>
                  </a:lnTo>
                  <a:lnTo>
                    <a:pt x="129" y="265"/>
                  </a:lnTo>
                  <a:lnTo>
                    <a:pt x="126" y="264"/>
                  </a:lnTo>
                  <a:lnTo>
                    <a:pt x="125" y="264"/>
                  </a:lnTo>
                  <a:lnTo>
                    <a:pt x="124" y="264"/>
                  </a:lnTo>
                  <a:lnTo>
                    <a:pt x="123" y="264"/>
                  </a:lnTo>
                  <a:lnTo>
                    <a:pt x="122" y="264"/>
                  </a:lnTo>
                  <a:lnTo>
                    <a:pt x="120" y="265"/>
                  </a:lnTo>
                  <a:lnTo>
                    <a:pt x="119" y="265"/>
                  </a:lnTo>
                  <a:lnTo>
                    <a:pt x="118" y="265"/>
                  </a:lnTo>
                  <a:lnTo>
                    <a:pt x="117" y="265"/>
                  </a:lnTo>
                  <a:lnTo>
                    <a:pt x="115" y="265"/>
                  </a:lnTo>
                  <a:lnTo>
                    <a:pt x="112" y="264"/>
                  </a:lnTo>
                  <a:lnTo>
                    <a:pt x="111" y="264"/>
                  </a:lnTo>
                  <a:lnTo>
                    <a:pt x="110" y="264"/>
                  </a:lnTo>
                  <a:lnTo>
                    <a:pt x="109" y="264"/>
                  </a:lnTo>
                  <a:lnTo>
                    <a:pt x="104" y="265"/>
                  </a:lnTo>
                  <a:lnTo>
                    <a:pt x="102" y="265"/>
                  </a:lnTo>
                  <a:lnTo>
                    <a:pt x="101" y="265"/>
                  </a:lnTo>
                  <a:lnTo>
                    <a:pt x="99" y="264"/>
                  </a:lnTo>
                  <a:lnTo>
                    <a:pt x="97" y="264"/>
                  </a:lnTo>
                  <a:lnTo>
                    <a:pt x="96" y="264"/>
                  </a:lnTo>
                  <a:lnTo>
                    <a:pt x="95" y="263"/>
                  </a:lnTo>
                  <a:lnTo>
                    <a:pt x="94" y="263"/>
                  </a:lnTo>
                  <a:lnTo>
                    <a:pt x="93" y="263"/>
                  </a:lnTo>
                  <a:lnTo>
                    <a:pt x="92" y="261"/>
                  </a:lnTo>
                  <a:lnTo>
                    <a:pt x="89" y="259"/>
                  </a:lnTo>
                  <a:lnTo>
                    <a:pt x="88" y="258"/>
                  </a:lnTo>
                  <a:lnTo>
                    <a:pt x="85" y="255"/>
                  </a:lnTo>
                  <a:lnTo>
                    <a:pt x="84" y="254"/>
                  </a:lnTo>
                  <a:lnTo>
                    <a:pt x="74" y="247"/>
                  </a:lnTo>
                  <a:lnTo>
                    <a:pt x="69" y="244"/>
                  </a:lnTo>
                  <a:lnTo>
                    <a:pt x="67" y="242"/>
                  </a:lnTo>
                  <a:lnTo>
                    <a:pt x="59" y="236"/>
                  </a:lnTo>
                  <a:lnTo>
                    <a:pt x="53" y="232"/>
                  </a:lnTo>
                  <a:lnTo>
                    <a:pt x="53" y="232"/>
                  </a:lnTo>
                  <a:lnTo>
                    <a:pt x="53" y="231"/>
                  </a:lnTo>
                  <a:lnTo>
                    <a:pt x="53" y="228"/>
                  </a:lnTo>
                  <a:lnTo>
                    <a:pt x="54" y="223"/>
                  </a:lnTo>
                  <a:lnTo>
                    <a:pt x="55" y="218"/>
                  </a:lnTo>
                  <a:lnTo>
                    <a:pt x="55" y="213"/>
                  </a:lnTo>
                  <a:lnTo>
                    <a:pt x="55" y="212"/>
                  </a:lnTo>
                  <a:lnTo>
                    <a:pt x="56" y="211"/>
                  </a:lnTo>
                  <a:lnTo>
                    <a:pt x="56" y="210"/>
                  </a:lnTo>
                  <a:lnTo>
                    <a:pt x="56" y="209"/>
                  </a:lnTo>
                  <a:lnTo>
                    <a:pt x="57" y="208"/>
                  </a:lnTo>
                  <a:lnTo>
                    <a:pt x="59" y="205"/>
                  </a:lnTo>
                  <a:lnTo>
                    <a:pt x="60" y="204"/>
                  </a:lnTo>
                  <a:lnTo>
                    <a:pt x="61" y="203"/>
                  </a:lnTo>
                  <a:lnTo>
                    <a:pt x="63" y="198"/>
                  </a:lnTo>
                  <a:lnTo>
                    <a:pt x="64" y="195"/>
                  </a:lnTo>
                  <a:lnTo>
                    <a:pt x="65" y="193"/>
                  </a:lnTo>
                  <a:lnTo>
                    <a:pt x="65" y="191"/>
                  </a:lnTo>
                  <a:lnTo>
                    <a:pt x="66" y="190"/>
                  </a:lnTo>
                  <a:lnTo>
                    <a:pt x="66" y="189"/>
                  </a:lnTo>
                  <a:lnTo>
                    <a:pt x="66" y="187"/>
                  </a:lnTo>
                  <a:lnTo>
                    <a:pt x="65" y="186"/>
                  </a:lnTo>
                  <a:lnTo>
                    <a:pt x="65" y="182"/>
                  </a:lnTo>
                  <a:lnTo>
                    <a:pt x="64" y="181"/>
                  </a:lnTo>
                  <a:lnTo>
                    <a:pt x="64" y="180"/>
                  </a:lnTo>
                  <a:lnTo>
                    <a:pt x="64" y="179"/>
                  </a:lnTo>
                  <a:lnTo>
                    <a:pt x="64" y="178"/>
                  </a:lnTo>
                  <a:lnTo>
                    <a:pt x="65" y="177"/>
                  </a:lnTo>
                  <a:lnTo>
                    <a:pt x="65" y="174"/>
                  </a:lnTo>
                  <a:lnTo>
                    <a:pt x="65" y="172"/>
                  </a:lnTo>
                  <a:lnTo>
                    <a:pt x="65" y="171"/>
                  </a:lnTo>
                  <a:lnTo>
                    <a:pt x="65" y="170"/>
                  </a:lnTo>
                  <a:lnTo>
                    <a:pt x="65" y="169"/>
                  </a:lnTo>
                  <a:lnTo>
                    <a:pt x="65" y="168"/>
                  </a:lnTo>
                  <a:lnTo>
                    <a:pt x="64" y="167"/>
                  </a:lnTo>
                  <a:lnTo>
                    <a:pt x="63" y="166"/>
                  </a:lnTo>
                  <a:lnTo>
                    <a:pt x="62" y="165"/>
                  </a:lnTo>
                  <a:lnTo>
                    <a:pt x="61" y="164"/>
                  </a:lnTo>
                  <a:lnTo>
                    <a:pt x="59" y="163"/>
                  </a:lnTo>
                  <a:lnTo>
                    <a:pt x="58" y="162"/>
                  </a:lnTo>
                  <a:lnTo>
                    <a:pt x="54" y="160"/>
                  </a:lnTo>
                  <a:lnTo>
                    <a:pt x="53" y="160"/>
                  </a:lnTo>
                  <a:lnTo>
                    <a:pt x="50" y="158"/>
                  </a:lnTo>
                  <a:lnTo>
                    <a:pt x="48" y="156"/>
                  </a:lnTo>
                  <a:lnTo>
                    <a:pt x="46" y="155"/>
                  </a:lnTo>
                  <a:lnTo>
                    <a:pt x="45" y="154"/>
                  </a:lnTo>
                  <a:lnTo>
                    <a:pt x="43" y="152"/>
                  </a:lnTo>
                  <a:lnTo>
                    <a:pt x="43" y="151"/>
                  </a:lnTo>
                  <a:lnTo>
                    <a:pt x="42" y="151"/>
                  </a:lnTo>
                  <a:lnTo>
                    <a:pt x="42" y="150"/>
                  </a:lnTo>
                  <a:lnTo>
                    <a:pt x="41" y="149"/>
                  </a:lnTo>
                  <a:lnTo>
                    <a:pt x="41" y="148"/>
                  </a:lnTo>
                  <a:lnTo>
                    <a:pt x="41" y="147"/>
                  </a:lnTo>
                  <a:lnTo>
                    <a:pt x="41" y="144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1"/>
                  </a:lnTo>
                  <a:lnTo>
                    <a:pt x="40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7" y="139"/>
                  </a:lnTo>
                  <a:lnTo>
                    <a:pt x="37" y="139"/>
                  </a:lnTo>
                  <a:lnTo>
                    <a:pt x="36" y="138"/>
                  </a:lnTo>
                  <a:lnTo>
                    <a:pt x="35" y="137"/>
                  </a:lnTo>
                  <a:lnTo>
                    <a:pt x="34" y="137"/>
                  </a:lnTo>
                  <a:lnTo>
                    <a:pt x="34" y="136"/>
                  </a:lnTo>
                  <a:lnTo>
                    <a:pt x="33" y="136"/>
                  </a:lnTo>
                  <a:lnTo>
                    <a:pt x="32" y="136"/>
                  </a:lnTo>
                  <a:lnTo>
                    <a:pt x="30" y="136"/>
                  </a:lnTo>
                  <a:lnTo>
                    <a:pt x="29" y="135"/>
                  </a:lnTo>
                  <a:lnTo>
                    <a:pt x="26" y="135"/>
                  </a:lnTo>
                  <a:lnTo>
                    <a:pt x="24" y="134"/>
                  </a:lnTo>
                  <a:lnTo>
                    <a:pt x="23" y="134"/>
                  </a:lnTo>
                  <a:lnTo>
                    <a:pt x="23" y="133"/>
                  </a:lnTo>
                  <a:lnTo>
                    <a:pt x="22" y="133"/>
                  </a:lnTo>
                  <a:lnTo>
                    <a:pt x="21" y="131"/>
                  </a:lnTo>
                  <a:lnTo>
                    <a:pt x="20" y="131"/>
                  </a:lnTo>
                  <a:lnTo>
                    <a:pt x="19" y="130"/>
                  </a:lnTo>
                  <a:lnTo>
                    <a:pt x="17" y="129"/>
                  </a:lnTo>
                  <a:lnTo>
                    <a:pt x="16" y="129"/>
                  </a:lnTo>
                  <a:lnTo>
                    <a:pt x="15" y="128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8" y="126"/>
                  </a:lnTo>
                  <a:lnTo>
                    <a:pt x="7" y="125"/>
                  </a:lnTo>
                  <a:lnTo>
                    <a:pt x="5" y="124"/>
                  </a:lnTo>
                  <a:lnTo>
                    <a:pt x="4" y="124"/>
                  </a:lnTo>
                  <a:lnTo>
                    <a:pt x="3" y="123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1" y="119"/>
                  </a:lnTo>
                  <a:lnTo>
                    <a:pt x="0" y="118"/>
                  </a:lnTo>
                  <a:lnTo>
                    <a:pt x="0" y="117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1" y="114"/>
                  </a:lnTo>
                  <a:lnTo>
                    <a:pt x="1" y="113"/>
                  </a:lnTo>
                  <a:lnTo>
                    <a:pt x="2" y="113"/>
                  </a:lnTo>
                  <a:lnTo>
                    <a:pt x="3" y="112"/>
                  </a:lnTo>
                  <a:lnTo>
                    <a:pt x="4" y="112"/>
                  </a:lnTo>
                  <a:lnTo>
                    <a:pt x="5" y="111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8"/>
                  </a:lnTo>
                  <a:lnTo>
                    <a:pt x="7" y="108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6" y="105"/>
                  </a:lnTo>
                  <a:lnTo>
                    <a:pt x="6" y="105"/>
                  </a:lnTo>
                  <a:lnTo>
                    <a:pt x="6" y="105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3"/>
                  </a:lnTo>
                  <a:lnTo>
                    <a:pt x="7" y="102"/>
                  </a:lnTo>
                  <a:lnTo>
                    <a:pt x="10" y="100"/>
                  </a:lnTo>
                  <a:lnTo>
                    <a:pt x="11" y="99"/>
                  </a:lnTo>
                  <a:lnTo>
                    <a:pt x="12" y="98"/>
                  </a:lnTo>
                  <a:lnTo>
                    <a:pt x="13" y="98"/>
                  </a:lnTo>
                  <a:lnTo>
                    <a:pt x="13" y="97"/>
                  </a:lnTo>
                  <a:lnTo>
                    <a:pt x="14" y="96"/>
                  </a:lnTo>
                  <a:lnTo>
                    <a:pt x="14" y="95"/>
                  </a:lnTo>
                  <a:lnTo>
                    <a:pt x="14" y="94"/>
                  </a:lnTo>
                  <a:lnTo>
                    <a:pt x="15" y="93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7" y="84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1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14" y="76"/>
                  </a:lnTo>
                  <a:lnTo>
                    <a:pt x="15" y="76"/>
                  </a:lnTo>
                  <a:lnTo>
                    <a:pt x="15" y="75"/>
                  </a:lnTo>
                  <a:lnTo>
                    <a:pt x="16" y="75"/>
                  </a:lnTo>
                  <a:lnTo>
                    <a:pt x="16" y="74"/>
                  </a:lnTo>
                  <a:lnTo>
                    <a:pt x="17" y="74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2" y="72"/>
                  </a:lnTo>
                  <a:lnTo>
                    <a:pt x="23" y="72"/>
                  </a:lnTo>
                  <a:lnTo>
                    <a:pt x="24" y="71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6" y="70"/>
                  </a:lnTo>
                  <a:lnTo>
                    <a:pt x="26" y="69"/>
                  </a:lnTo>
                  <a:lnTo>
                    <a:pt x="27" y="70"/>
                  </a:lnTo>
                  <a:lnTo>
                    <a:pt x="27" y="71"/>
                  </a:lnTo>
                  <a:lnTo>
                    <a:pt x="28" y="71"/>
                  </a:lnTo>
                  <a:lnTo>
                    <a:pt x="29" y="72"/>
                  </a:lnTo>
                  <a:lnTo>
                    <a:pt x="30" y="73"/>
                  </a:lnTo>
                  <a:lnTo>
                    <a:pt x="31" y="73"/>
                  </a:lnTo>
                  <a:lnTo>
                    <a:pt x="32" y="73"/>
                  </a:lnTo>
                  <a:lnTo>
                    <a:pt x="33" y="74"/>
                  </a:lnTo>
                  <a:lnTo>
                    <a:pt x="35" y="74"/>
                  </a:lnTo>
                  <a:lnTo>
                    <a:pt x="36" y="74"/>
                  </a:lnTo>
                  <a:lnTo>
                    <a:pt x="37" y="74"/>
                  </a:lnTo>
                  <a:lnTo>
                    <a:pt x="38" y="73"/>
                  </a:lnTo>
                  <a:lnTo>
                    <a:pt x="40" y="73"/>
                  </a:lnTo>
                  <a:lnTo>
                    <a:pt x="41" y="73"/>
                  </a:lnTo>
                  <a:lnTo>
                    <a:pt x="43" y="72"/>
                  </a:lnTo>
                  <a:lnTo>
                    <a:pt x="44" y="72"/>
                  </a:lnTo>
                  <a:lnTo>
                    <a:pt x="45" y="71"/>
                  </a:lnTo>
                  <a:lnTo>
                    <a:pt x="47" y="70"/>
                  </a:lnTo>
                  <a:lnTo>
                    <a:pt x="49" y="69"/>
                  </a:lnTo>
                  <a:lnTo>
                    <a:pt x="51" y="67"/>
                  </a:lnTo>
                  <a:lnTo>
                    <a:pt x="52" y="67"/>
                  </a:lnTo>
                  <a:lnTo>
                    <a:pt x="54" y="66"/>
                  </a:lnTo>
                  <a:lnTo>
                    <a:pt x="56" y="65"/>
                  </a:lnTo>
                  <a:lnTo>
                    <a:pt x="57" y="64"/>
                  </a:lnTo>
                  <a:lnTo>
                    <a:pt x="59" y="62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Freeform 245">
              <a:extLst>
                <a:ext uri="{FF2B5EF4-FFF2-40B4-BE49-F238E27FC236}">
                  <a16:creationId xmlns:a16="http://schemas.microsoft.com/office/drawing/2014/main" id="{C55E1642-FC8C-490C-AF4E-DC7C5C33C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7895" y="2417801"/>
              <a:ext cx="114133" cy="36686"/>
            </a:xfrm>
            <a:custGeom>
              <a:avLst/>
              <a:gdLst>
                <a:gd name="T0" fmla="*/ 1 w 112"/>
                <a:gd name="T1" fmla="*/ 35 h 36"/>
                <a:gd name="T2" fmla="*/ 2 w 112"/>
                <a:gd name="T3" fmla="*/ 34 h 36"/>
                <a:gd name="T4" fmla="*/ 4 w 112"/>
                <a:gd name="T5" fmla="*/ 30 h 36"/>
                <a:gd name="T6" fmla="*/ 6 w 112"/>
                <a:gd name="T7" fmla="*/ 28 h 36"/>
                <a:gd name="T8" fmla="*/ 7 w 112"/>
                <a:gd name="T9" fmla="*/ 27 h 36"/>
                <a:gd name="T10" fmla="*/ 9 w 112"/>
                <a:gd name="T11" fmla="*/ 25 h 36"/>
                <a:gd name="T12" fmla="*/ 12 w 112"/>
                <a:gd name="T13" fmla="*/ 24 h 36"/>
                <a:gd name="T14" fmla="*/ 16 w 112"/>
                <a:gd name="T15" fmla="*/ 23 h 36"/>
                <a:gd name="T16" fmla="*/ 22 w 112"/>
                <a:gd name="T17" fmla="*/ 20 h 36"/>
                <a:gd name="T18" fmla="*/ 23 w 112"/>
                <a:gd name="T19" fmla="*/ 20 h 36"/>
                <a:gd name="T20" fmla="*/ 25 w 112"/>
                <a:gd name="T21" fmla="*/ 20 h 36"/>
                <a:gd name="T22" fmla="*/ 26 w 112"/>
                <a:gd name="T23" fmla="*/ 20 h 36"/>
                <a:gd name="T24" fmla="*/ 27 w 112"/>
                <a:gd name="T25" fmla="*/ 21 h 36"/>
                <a:gd name="T26" fmla="*/ 31 w 112"/>
                <a:gd name="T27" fmla="*/ 24 h 36"/>
                <a:gd name="T28" fmla="*/ 33 w 112"/>
                <a:gd name="T29" fmla="*/ 25 h 36"/>
                <a:gd name="T30" fmla="*/ 35 w 112"/>
                <a:gd name="T31" fmla="*/ 25 h 36"/>
                <a:gd name="T32" fmla="*/ 39 w 112"/>
                <a:gd name="T33" fmla="*/ 25 h 36"/>
                <a:gd name="T34" fmla="*/ 44 w 112"/>
                <a:gd name="T35" fmla="*/ 25 h 36"/>
                <a:gd name="T36" fmla="*/ 48 w 112"/>
                <a:gd name="T37" fmla="*/ 25 h 36"/>
                <a:gd name="T38" fmla="*/ 52 w 112"/>
                <a:gd name="T39" fmla="*/ 26 h 36"/>
                <a:gd name="T40" fmla="*/ 56 w 112"/>
                <a:gd name="T41" fmla="*/ 26 h 36"/>
                <a:gd name="T42" fmla="*/ 58 w 112"/>
                <a:gd name="T43" fmla="*/ 26 h 36"/>
                <a:gd name="T44" fmla="*/ 61 w 112"/>
                <a:gd name="T45" fmla="*/ 27 h 36"/>
                <a:gd name="T46" fmla="*/ 67 w 112"/>
                <a:gd name="T47" fmla="*/ 29 h 36"/>
                <a:gd name="T48" fmla="*/ 69 w 112"/>
                <a:gd name="T49" fmla="*/ 29 h 36"/>
                <a:gd name="T50" fmla="*/ 72 w 112"/>
                <a:gd name="T51" fmla="*/ 29 h 36"/>
                <a:gd name="T52" fmla="*/ 75 w 112"/>
                <a:gd name="T53" fmla="*/ 29 h 36"/>
                <a:gd name="T54" fmla="*/ 80 w 112"/>
                <a:gd name="T55" fmla="*/ 26 h 36"/>
                <a:gd name="T56" fmla="*/ 86 w 112"/>
                <a:gd name="T57" fmla="*/ 24 h 36"/>
                <a:gd name="T58" fmla="*/ 89 w 112"/>
                <a:gd name="T59" fmla="*/ 23 h 36"/>
                <a:gd name="T60" fmla="*/ 91 w 112"/>
                <a:gd name="T61" fmla="*/ 21 h 36"/>
                <a:gd name="T62" fmla="*/ 93 w 112"/>
                <a:gd name="T63" fmla="*/ 20 h 36"/>
                <a:gd name="T64" fmla="*/ 94 w 112"/>
                <a:gd name="T65" fmla="*/ 18 h 36"/>
                <a:gd name="T66" fmla="*/ 96 w 112"/>
                <a:gd name="T67" fmla="*/ 13 h 36"/>
                <a:gd name="T68" fmla="*/ 98 w 112"/>
                <a:gd name="T69" fmla="*/ 10 h 36"/>
                <a:gd name="T70" fmla="*/ 99 w 112"/>
                <a:gd name="T71" fmla="*/ 9 h 36"/>
                <a:gd name="T72" fmla="*/ 101 w 112"/>
                <a:gd name="T73" fmla="*/ 6 h 36"/>
                <a:gd name="T74" fmla="*/ 104 w 112"/>
                <a:gd name="T75" fmla="*/ 4 h 36"/>
                <a:gd name="T76" fmla="*/ 108 w 112"/>
                <a:gd name="T77" fmla="*/ 2 h 36"/>
                <a:gd name="T78" fmla="*/ 111 w 112"/>
                <a:gd name="T79" fmla="*/ 0 h 36"/>
                <a:gd name="T80" fmla="*/ 112 w 112"/>
                <a:gd name="T8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1" y="35"/>
                  </a:lnTo>
                  <a:lnTo>
                    <a:pt x="2" y="35"/>
                  </a:lnTo>
                  <a:lnTo>
                    <a:pt x="2" y="34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5" y="29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7" y="27"/>
                  </a:lnTo>
                  <a:lnTo>
                    <a:pt x="8" y="26"/>
                  </a:lnTo>
                  <a:lnTo>
                    <a:pt x="9" y="25"/>
                  </a:lnTo>
                  <a:lnTo>
                    <a:pt x="11" y="25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6" y="23"/>
                  </a:lnTo>
                  <a:lnTo>
                    <a:pt x="17" y="23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4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9" y="23"/>
                  </a:lnTo>
                  <a:lnTo>
                    <a:pt x="31" y="24"/>
                  </a:lnTo>
                  <a:lnTo>
                    <a:pt x="32" y="25"/>
                  </a:lnTo>
                  <a:lnTo>
                    <a:pt x="33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9" y="25"/>
                  </a:lnTo>
                  <a:lnTo>
                    <a:pt x="40" y="25"/>
                  </a:lnTo>
                  <a:lnTo>
                    <a:pt x="44" y="25"/>
                  </a:lnTo>
                  <a:lnTo>
                    <a:pt x="46" y="25"/>
                  </a:lnTo>
                  <a:lnTo>
                    <a:pt x="48" y="25"/>
                  </a:lnTo>
                  <a:lnTo>
                    <a:pt x="50" y="26"/>
                  </a:lnTo>
                  <a:lnTo>
                    <a:pt x="52" y="26"/>
                  </a:lnTo>
                  <a:lnTo>
                    <a:pt x="54" y="26"/>
                  </a:lnTo>
                  <a:lnTo>
                    <a:pt x="56" y="26"/>
                  </a:lnTo>
                  <a:lnTo>
                    <a:pt x="57" y="26"/>
                  </a:lnTo>
                  <a:lnTo>
                    <a:pt x="58" y="26"/>
                  </a:lnTo>
                  <a:lnTo>
                    <a:pt x="59" y="26"/>
                  </a:lnTo>
                  <a:lnTo>
                    <a:pt x="61" y="27"/>
                  </a:lnTo>
                  <a:lnTo>
                    <a:pt x="65" y="29"/>
                  </a:lnTo>
                  <a:lnTo>
                    <a:pt x="67" y="29"/>
                  </a:lnTo>
                  <a:lnTo>
                    <a:pt x="68" y="29"/>
                  </a:lnTo>
                  <a:lnTo>
                    <a:pt x="69" y="29"/>
                  </a:lnTo>
                  <a:lnTo>
                    <a:pt x="71" y="29"/>
                  </a:lnTo>
                  <a:lnTo>
                    <a:pt x="72" y="29"/>
                  </a:lnTo>
                  <a:lnTo>
                    <a:pt x="73" y="29"/>
                  </a:lnTo>
                  <a:lnTo>
                    <a:pt x="75" y="29"/>
                  </a:lnTo>
                  <a:lnTo>
                    <a:pt x="78" y="27"/>
                  </a:lnTo>
                  <a:lnTo>
                    <a:pt x="80" y="26"/>
                  </a:lnTo>
                  <a:lnTo>
                    <a:pt x="82" y="25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9" y="23"/>
                  </a:lnTo>
                  <a:lnTo>
                    <a:pt x="90" y="22"/>
                  </a:lnTo>
                  <a:lnTo>
                    <a:pt x="91" y="21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19"/>
                  </a:lnTo>
                  <a:lnTo>
                    <a:pt x="94" y="18"/>
                  </a:lnTo>
                  <a:lnTo>
                    <a:pt x="95" y="17"/>
                  </a:lnTo>
                  <a:lnTo>
                    <a:pt x="96" y="13"/>
                  </a:lnTo>
                  <a:lnTo>
                    <a:pt x="97" y="11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9" y="9"/>
                  </a:lnTo>
                  <a:lnTo>
                    <a:pt x="100" y="8"/>
                  </a:lnTo>
                  <a:lnTo>
                    <a:pt x="101" y="6"/>
                  </a:lnTo>
                  <a:lnTo>
                    <a:pt x="102" y="5"/>
                  </a:lnTo>
                  <a:lnTo>
                    <a:pt x="104" y="4"/>
                  </a:lnTo>
                  <a:lnTo>
                    <a:pt x="106" y="3"/>
                  </a:lnTo>
                  <a:lnTo>
                    <a:pt x="108" y="2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2" y="0"/>
                  </a:lnTo>
                  <a:lnTo>
                    <a:pt x="112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6" name="Freeform 247">
              <a:extLst>
                <a:ext uri="{FF2B5EF4-FFF2-40B4-BE49-F238E27FC236}">
                  <a16:creationId xmlns:a16="http://schemas.microsoft.com/office/drawing/2014/main" id="{B35E73A6-BDD7-4AF1-87D1-BA5BFDF82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4467" y="2631800"/>
              <a:ext cx="575761" cy="608370"/>
            </a:xfrm>
            <a:custGeom>
              <a:avLst/>
              <a:gdLst>
                <a:gd name="T0" fmla="*/ 223 w 565"/>
                <a:gd name="T1" fmla="*/ 29 h 597"/>
                <a:gd name="T2" fmla="*/ 251 w 565"/>
                <a:gd name="T3" fmla="*/ 30 h 597"/>
                <a:gd name="T4" fmla="*/ 278 w 565"/>
                <a:gd name="T5" fmla="*/ 46 h 597"/>
                <a:gd name="T6" fmla="*/ 295 w 565"/>
                <a:gd name="T7" fmla="*/ 60 h 597"/>
                <a:gd name="T8" fmla="*/ 323 w 565"/>
                <a:gd name="T9" fmla="*/ 73 h 597"/>
                <a:gd name="T10" fmla="*/ 329 w 565"/>
                <a:gd name="T11" fmla="*/ 91 h 597"/>
                <a:gd name="T12" fmla="*/ 363 w 565"/>
                <a:gd name="T13" fmla="*/ 107 h 597"/>
                <a:gd name="T14" fmla="*/ 384 w 565"/>
                <a:gd name="T15" fmla="*/ 80 h 597"/>
                <a:gd name="T16" fmla="*/ 401 w 565"/>
                <a:gd name="T17" fmla="*/ 87 h 597"/>
                <a:gd name="T18" fmla="*/ 432 w 565"/>
                <a:gd name="T19" fmla="*/ 105 h 597"/>
                <a:gd name="T20" fmla="*/ 470 w 565"/>
                <a:gd name="T21" fmla="*/ 115 h 597"/>
                <a:gd name="T22" fmla="*/ 512 w 565"/>
                <a:gd name="T23" fmla="*/ 148 h 597"/>
                <a:gd name="T24" fmla="*/ 556 w 565"/>
                <a:gd name="T25" fmla="*/ 175 h 597"/>
                <a:gd name="T26" fmla="*/ 555 w 565"/>
                <a:gd name="T27" fmla="*/ 200 h 597"/>
                <a:gd name="T28" fmla="*/ 564 w 565"/>
                <a:gd name="T29" fmla="*/ 218 h 597"/>
                <a:gd name="T30" fmla="*/ 545 w 565"/>
                <a:gd name="T31" fmla="*/ 230 h 597"/>
                <a:gd name="T32" fmla="*/ 553 w 565"/>
                <a:gd name="T33" fmla="*/ 247 h 597"/>
                <a:gd name="T34" fmla="*/ 542 w 565"/>
                <a:gd name="T35" fmla="*/ 257 h 597"/>
                <a:gd name="T36" fmla="*/ 526 w 565"/>
                <a:gd name="T37" fmla="*/ 252 h 597"/>
                <a:gd name="T38" fmla="*/ 529 w 565"/>
                <a:gd name="T39" fmla="*/ 264 h 597"/>
                <a:gd name="T40" fmla="*/ 518 w 565"/>
                <a:gd name="T41" fmla="*/ 274 h 597"/>
                <a:gd name="T42" fmla="*/ 493 w 565"/>
                <a:gd name="T43" fmla="*/ 295 h 597"/>
                <a:gd name="T44" fmla="*/ 489 w 565"/>
                <a:gd name="T45" fmla="*/ 326 h 597"/>
                <a:gd name="T46" fmla="*/ 500 w 565"/>
                <a:gd name="T47" fmla="*/ 342 h 597"/>
                <a:gd name="T48" fmla="*/ 514 w 565"/>
                <a:gd name="T49" fmla="*/ 352 h 597"/>
                <a:gd name="T50" fmla="*/ 507 w 565"/>
                <a:gd name="T51" fmla="*/ 376 h 597"/>
                <a:gd name="T52" fmla="*/ 502 w 565"/>
                <a:gd name="T53" fmla="*/ 394 h 597"/>
                <a:gd name="T54" fmla="*/ 496 w 565"/>
                <a:gd name="T55" fmla="*/ 415 h 597"/>
                <a:gd name="T56" fmla="*/ 508 w 565"/>
                <a:gd name="T57" fmla="*/ 435 h 597"/>
                <a:gd name="T58" fmla="*/ 493 w 565"/>
                <a:gd name="T59" fmla="*/ 451 h 597"/>
                <a:gd name="T60" fmla="*/ 486 w 565"/>
                <a:gd name="T61" fmla="*/ 467 h 597"/>
                <a:gd name="T62" fmla="*/ 498 w 565"/>
                <a:gd name="T63" fmla="*/ 485 h 597"/>
                <a:gd name="T64" fmla="*/ 487 w 565"/>
                <a:gd name="T65" fmla="*/ 503 h 597"/>
                <a:gd name="T66" fmla="*/ 457 w 565"/>
                <a:gd name="T67" fmla="*/ 513 h 597"/>
                <a:gd name="T68" fmla="*/ 445 w 565"/>
                <a:gd name="T69" fmla="*/ 531 h 597"/>
                <a:gd name="T70" fmla="*/ 409 w 565"/>
                <a:gd name="T71" fmla="*/ 531 h 597"/>
                <a:gd name="T72" fmla="*/ 382 w 565"/>
                <a:gd name="T73" fmla="*/ 531 h 597"/>
                <a:gd name="T74" fmla="*/ 366 w 565"/>
                <a:gd name="T75" fmla="*/ 529 h 597"/>
                <a:gd name="T76" fmla="*/ 347 w 565"/>
                <a:gd name="T77" fmla="*/ 536 h 597"/>
                <a:gd name="T78" fmla="*/ 331 w 565"/>
                <a:gd name="T79" fmla="*/ 551 h 597"/>
                <a:gd name="T80" fmla="*/ 300 w 565"/>
                <a:gd name="T81" fmla="*/ 570 h 597"/>
                <a:gd name="T82" fmla="*/ 277 w 565"/>
                <a:gd name="T83" fmla="*/ 589 h 597"/>
                <a:gd name="T84" fmla="*/ 251 w 565"/>
                <a:gd name="T85" fmla="*/ 585 h 597"/>
                <a:gd name="T86" fmla="*/ 233 w 565"/>
                <a:gd name="T87" fmla="*/ 595 h 597"/>
                <a:gd name="T88" fmla="*/ 216 w 565"/>
                <a:gd name="T89" fmla="*/ 594 h 597"/>
                <a:gd name="T90" fmla="*/ 194 w 565"/>
                <a:gd name="T91" fmla="*/ 575 h 597"/>
                <a:gd name="T92" fmla="*/ 177 w 565"/>
                <a:gd name="T93" fmla="*/ 563 h 597"/>
                <a:gd name="T94" fmla="*/ 190 w 565"/>
                <a:gd name="T95" fmla="*/ 542 h 597"/>
                <a:gd name="T96" fmla="*/ 204 w 565"/>
                <a:gd name="T97" fmla="*/ 514 h 597"/>
                <a:gd name="T98" fmla="*/ 220 w 565"/>
                <a:gd name="T99" fmla="*/ 501 h 597"/>
                <a:gd name="T100" fmla="*/ 205 w 565"/>
                <a:gd name="T101" fmla="*/ 482 h 597"/>
                <a:gd name="T102" fmla="*/ 195 w 565"/>
                <a:gd name="T103" fmla="*/ 474 h 597"/>
                <a:gd name="T104" fmla="*/ 161 w 565"/>
                <a:gd name="T105" fmla="*/ 479 h 597"/>
                <a:gd name="T106" fmla="*/ 131 w 565"/>
                <a:gd name="T107" fmla="*/ 471 h 597"/>
                <a:gd name="T108" fmla="*/ 112 w 565"/>
                <a:gd name="T109" fmla="*/ 438 h 597"/>
                <a:gd name="T110" fmla="*/ 103 w 565"/>
                <a:gd name="T111" fmla="*/ 418 h 597"/>
                <a:gd name="T112" fmla="*/ 70 w 565"/>
                <a:gd name="T113" fmla="*/ 418 h 597"/>
                <a:gd name="T114" fmla="*/ 35 w 565"/>
                <a:gd name="T115" fmla="*/ 415 h 597"/>
                <a:gd name="T116" fmla="*/ 14 w 565"/>
                <a:gd name="T117" fmla="*/ 402 h 597"/>
                <a:gd name="T118" fmla="*/ 4 w 565"/>
                <a:gd name="T119" fmla="*/ 395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5" h="597">
                  <a:moveTo>
                    <a:pt x="180" y="0"/>
                  </a:moveTo>
                  <a:lnTo>
                    <a:pt x="188" y="6"/>
                  </a:lnTo>
                  <a:lnTo>
                    <a:pt x="190" y="8"/>
                  </a:lnTo>
                  <a:lnTo>
                    <a:pt x="195" y="11"/>
                  </a:lnTo>
                  <a:lnTo>
                    <a:pt x="205" y="18"/>
                  </a:lnTo>
                  <a:lnTo>
                    <a:pt x="206" y="19"/>
                  </a:lnTo>
                  <a:lnTo>
                    <a:pt x="209" y="22"/>
                  </a:lnTo>
                  <a:lnTo>
                    <a:pt x="210" y="23"/>
                  </a:lnTo>
                  <a:lnTo>
                    <a:pt x="213" y="25"/>
                  </a:lnTo>
                  <a:lnTo>
                    <a:pt x="214" y="27"/>
                  </a:lnTo>
                  <a:lnTo>
                    <a:pt x="215" y="27"/>
                  </a:lnTo>
                  <a:lnTo>
                    <a:pt x="216" y="27"/>
                  </a:lnTo>
                  <a:lnTo>
                    <a:pt x="217" y="28"/>
                  </a:lnTo>
                  <a:lnTo>
                    <a:pt x="218" y="28"/>
                  </a:lnTo>
                  <a:lnTo>
                    <a:pt x="220" y="28"/>
                  </a:lnTo>
                  <a:lnTo>
                    <a:pt x="222" y="29"/>
                  </a:lnTo>
                  <a:lnTo>
                    <a:pt x="223" y="29"/>
                  </a:lnTo>
                  <a:lnTo>
                    <a:pt x="225" y="29"/>
                  </a:lnTo>
                  <a:lnTo>
                    <a:pt x="230" y="28"/>
                  </a:lnTo>
                  <a:lnTo>
                    <a:pt x="231" y="28"/>
                  </a:lnTo>
                  <a:lnTo>
                    <a:pt x="232" y="28"/>
                  </a:lnTo>
                  <a:lnTo>
                    <a:pt x="233" y="28"/>
                  </a:lnTo>
                  <a:lnTo>
                    <a:pt x="236" y="29"/>
                  </a:lnTo>
                  <a:lnTo>
                    <a:pt x="238" y="29"/>
                  </a:lnTo>
                  <a:lnTo>
                    <a:pt x="239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5" y="28"/>
                  </a:lnTo>
                  <a:lnTo>
                    <a:pt x="246" y="28"/>
                  </a:lnTo>
                  <a:lnTo>
                    <a:pt x="247" y="28"/>
                  </a:lnTo>
                  <a:lnTo>
                    <a:pt x="250" y="29"/>
                  </a:lnTo>
                  <a:lnTo>
                    <a:pt x="251" y="30"/>
                  </a:lnTo>
                  <a:lnTo>
                    <a:pt x="252" y="30"/>
                  </a:lnTo>
                  <a:lnTo>
                    <a:pt x="253" y="31"/>
                  </a:lnTo>
                  <a:lnTo>
                    <a:pt x="255" y="32"/>
                  </a:lnTo>
                  <a:lnTo>
                    <a:pt x="256" y="32"/>
                  </a:lnTo>
                  <a:lnTo>
                    <a:pt x="260" y="34"/>
                  </a:lnTo>
                  <a:lnTo>
                    <a:pt x="262" y="35"/>
                  </a:lnTo>
                  <a:lnTo>
                    <a:pt x="263" y="36"/>
                  </a:lnTo>
                  <a:lnTo>
                    <a:pt x="264" y="36"/>
                  </a:lnTo>
                  <a:lnTo>
                    <a:pt x="264" y="36"/>
                  </a:lnTo>
                  <a:lnTo>
                    <a:pt x="268" y="40"/>
                  </a:lnTo>
                  <a:lnTo>
                    <a:pt x="269" y="41"/>
                  </a:lnTo>
                  <a:lnTo>
                    <a:pt x="270" y="42"/>
                  </a:lnTo>
                  <a:lnTo>
                    <a:pt x="271" y="43"/>
                  </a:lnTo>
                  <a:lnTo>
                    <a:pt x="273" y="44"/>
                  </a:lnTo>
                  <a:lnTo>
                    <a:pt x="275" y="45"/>
                  </a:lnTo>
                  <a:lnTo>
                    <a:pt x="276" y="46"/>
                  </a:lnTo>
                  <a:lnTo>
                    <a:pt x="278" y="46"/>
                  </a:lnTo>
                  <a:lnTo>
                    <a:pt x="279" y="47"/>
                  </a:lnTo>
                  <a:lnTo>
                    <a:pt x="283" y="47"/>
                  </a:lnTo>
                  <a:lnTo>
                    <a:pt x="285" y="48"/>
                  </a:lnTo>
                  <a:lnTo>
                    <a:pt x="288" y="49"/>
                  </a:lnTo>
                  <a:lnTo>
                    <a:pt x="289" y="50"/>
                  </a:lnTo>
                  <a:lnTo>
                    <a:pt x="290" y="50"/>
                  </a:lnTo>
                  <a:lnTo>
                    <a:pt x="291" y="50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92" y="52"/>
                  </a:lnTo>
                  <a:lnTo>
                    <a:pt x="292" y="52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4" y="58"/>
                  </a:lnTo>
                  <a:lnTo>
                    <a:pt x="294" y="59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6" y="61"/>
                  </a:lnTo>
                  <a:lnTo>
                    <a:pt x="297" y="61"/>
                  </a:lnTo>
                  <a:lnTo>
                    <a:pt x="298" y="62"/>
                  </a:lnTo>
                  <a:lnTo>
                    <a:pt x="299" y="62"/>
                  </a:lnTo>
                  <a:lnTo>
                    <a:pt x="301" y="63"/>
                  </a:lnTo>
                  <a:lnTo>
                    <a:pt x="303" y="63"/>
                  </a:lnTo>
                  <a:lnTo>
                    <a:pt x="305" y="64"/>
                  </a:lnTo>
                  <a:lnTo>
                    <a:pt x="307" y="65"/>
                  </a:lnTo>
                  <a:lnTo>
                    <a:pt x="309" y="65"/>
                  </a:lnTo>
                  <a:lnTo>
                    <a:pt x="311" y="66"/>
                  </a:lnTo>
                  <a:lnTo>
                    <a:pt x="312" y="67"/>
                  </a:lnTo>
                  <a:lnTo>
                    <a:pt x="315" y="69"/>
                  </a:lnTo>
                  <a:lnTo>
                    <a:pt x="317" y="70"/>
                  </a:lnTo>
                  <a:lnTo>
                    <a:pt x="318" y="71"/>
                  </a:lnTo>
                  <a:lnTo>
                    <a:pt x="320" y="72"/>
                  </a:lnTo>
                  <a:lnTo>
                    <a:pt x="321" y="72"/>
                  </a:lnTo>
                  <a:lnTo>
                    <a:pt x="323" y="73"/>
                  </a:lnTo>
                  <a:lnTo>
                    <a:pt x="324" y="73"/>
                  </a:lnTo>
                  <a:lnTo>
                    <a:pt x="327" y="74"/>
                  </a:lnTo>
                  <a:lnTo>
                    <a:pt x="328" y="74"/>
                  </a:lnTo>
                  <a:lnTo>
                    <a:pt x="328" y="74"/>
                  </a:lnTo>
                  <a:lnTo>
                    <a:pt x="329" y="75"/>
                  </a:lnTo>
                  <a:lnTo>
                    <a:pt x="329" y="76"/>
                  </a:lnTo>
                  <a:lnTo>
                    <a:pt x="329" y="77"/>
                  </a:lnTo>
                  <a:lnTo>
                    <a:pt x="329" y="78"/>
                  </a:lnTo>
                  <a:lnTo>
                    <a:pt x="329" y="78"/>
                  </a:lnTo>
                  <a:lnTo>
                    <a:pt x="329" y="79"/>
                  </a:lnTo>
                  <a:lnTo>
                    <a:pt x="328" y="82"/>
                  </a:lnTo>
                  <a:lnTo>
                    <a:pt x="328" y="84"/>
                  </a:lnTo>
                  <a:lnTo>
                    <a:pt x="328" y="86"/>
                  </a:lnTo>
                  <a:lnTo>
                    <a:pt x="328" y="87"/>
                  </a:lnTo>
                  <a:lnTo>
                    <a:pt x="328" y="89"/>
                  </a:lnTo>
                  <a:lnTo>
                    <a:pt x="328" y="90"/>
                  </a:lnTo>
                  <a:lnTo>
                    <a:pt x="329" y="91"/>
                  </a:lnTo>
                  <a:lnTo>
                    <a:pt x="330" y="93"/>
                  </a:lnTo>
                  <a:lnTo>
                    <a:pt x="331" y="94"/>
                  </a:lnTo>
                  <a:lnTo>
                    <a:pt x="332" y="95"/>
                  </a:lnTo>
                  <a:lnTo>
                    <a:pt x="333" y="96"/>
                  </a:lnTo>
                  <a:lnTo>
                    <a:pt x="334" y="97"/>
                  </a:lnTo>
                  <a:lnTo>
                    <a:pt x="337" y="98"/>
                  </a:lnTo>
                  <a:lnTo>
                    <a:pt x="345" y="103"/>
                  </a:lnTo>
                  <a:lnTo>
                    <a:pt x="350" y="105"/>
                  </a:lnTo>
                  <a:lnTo>
                    <a:pt x="352" y="106"/>
                  </a:lnTo>
                  <a:lnTo>
                    <a:pt x="353" y="106"/>
                  </a:lnTo>
                  <a:lnTo>
                    <a:pt x="354" y="107"/>
                  </a:lnTo>
                  <a:lnTo>
                    <a:pt x="355" y="107"/>
                  </a:lnTo>
                  <a:lnTo>
                    <a:pt x="356" y="107"/>
                  </a:lnTo>
                  <a:lnTo>
                    <a:pt x="358" y="107"/>
                  </a:lnTo>
                  <a:lnTo>
                    <a:pt x="360" y="107"/>
                  </a:lnTo>
                  <a:lnTo>
                    <a:pt x="362" y="107"/>
                  </a:lnTo>
                  <a:lnTo>
                    <a:pt x="363" y="107"/>
                  </a:lnTo>
                  <a:lnTo>
                    <a:pt x="364" y="107"/>
                  </a:lnTo>
                  <a:lnTo>
                    <a:pt x="366" y="106"/>
                  </a:lnTo>
                  <a:lnTo>
                    <a:pt x="366" y="106"/>
                  </a:lnTo>
                  <a:lnTo>
                    <a:pt x="367" y="105"/>
                  </a:lnTo>
                  <a:lnTo>
                    <a:pt x="368" y="104"/>
                  </a:lnTo>
                  <a:lnTo>
                    <a:pt x="369" y="104"/>
                  </a:lnTo>
                  <a:lnTo>
                    <a:pt x="371" y="100"/>
                  </a:lnTo>
                  <a:lnTo>
                    <a:pt x="373" y="98"/>
                  </a:lnTo>
                  <a:lnTo>
                    <a:pt x="374" y="96"/>
                  </a:lnTo>
                  <a:lnTo>
                    <a:pt x="375" y="95"/>
                  </a:lnTo>
                  <a:lnTo>
                    <a:pt x="375" y="94"/>
                  </a:lnTo>
                  <a:lnTo>
                    <a:pt x="377" y="90"/>
                  </a:lnTo>
                  <a:lnTo>
                    <a:pt x="378" y="87"/>
                  </a:lnTo>
                  <a:lnTo>
                    <a:pt x="380" y="85"/>
                  </a:lnTo>
                  <a:lnTo>
                    <a:pt x="381" y="83"/>
                  </a:lnTo>
                  <a:lnTo>
                    <a:pt x="382" y="82"/>
                  </a:lnTo>
                  <a:lnTo>
                    <a:pt x="384" y="80"/>
                  </a:lnTo>
                  <a:lnTo>
                    <a:pt x="385" y="79"/>
                  </a:lnTo>
                  <a:lnTo>
                    <a:pt x="386" y="78"/>
                  </a:lnTo>
                  <a:lnTo>
                    <a:pt x="387" y="77"/>
                  </a:lnTo>
                  <a:lnTo>
                    <a:pt x="388" y="77"/>
                  </a:lnTo>
                  <a:lnTo>
                    <a:pt x="389" y="77"/>
                  </a:lnTo>
                  <a:lnTo>
                    <a:pt x="389" y="77"/>
                  </a:lnTo>
                  <a:lnTo>
                    <a:pt x="390" y="78"/>
                  </a:lnTo>
                  <a:lnTo>
                    <a:pt x="391" y="78"/>
                  </a:lnTo>
                  <a:lnTo>
                    <a:pt x="392" y="79"/>
                  </a:lnTo>
                  <a:lnTo>
                    <a:pt x="394" y="82"/>
                  </a:lnTo>
                  <a:lnTo>
                    <a:pt x="395" y="83"/>
                  </a:lnTo>
                  <a:lnTo>
                    <a:pt x="396" y="84"/>
                  </a:lnTo>
                  <a:lnTo>
                    <a:pt x="397" y="85"/>
                  </a:lnTo>
                  <a:lnTo>
                    <a:pt x="398" y="85"/>
                  </a:lnTo>
                  <a:lnTo>
                    <a:pt x="399" y="86"/>
                  </a:lnTo>
                  <a:lnTo>
                    <a:pt x="400" y="87"/>
                  </a:lnTo>
                  <a:lnTo>
                    <a:pt x="401" y="87"/>
                  </a:lnTo>
                  <a:lnTo>
                    <a:pt x="403" y="88"/>
                  </a:lnTo>
                  <a:lnTo>
                    <a:pt x="405" y="89"/>
                  </a:lnTo>
                  <a:lnTo>
                    <a:pt x="408" y="89"/>
                  </a:lnTo>
                  <a:lnTo>
                    <a:pt x="412" y="90"/>
                  </a:lnTo>
                  <a:lnTo>
                    <a:pt x="414" y="91"/>
                  </a:lnTo>
                  <a:lnTo>
                    <a:pt x="416" y="91"/>
                  </a:lnTo>
                  <a:lnTo>
                    <a:pt x="417" y="92"/>
                  </a:lnTo>
                  <a:lnTo>
                    <a:pt x="418" y="93"/>
                  </a:lnTo>
                  <a:lnTo>
                    <a:pt x="419" y="93"/>
                  </a:lnTo>
                  <a:lnTo>
                    <a:pt x="420" y="94"/>
                  </a:lnTo>
                  <a:lnTo>
                    <a:pt x="421" y="95"/>
                  </a:lnTo>
                  <a:lnTo>
                    <a:pt x="423" y="97"/>
                  </a:lnTo>
                  <a:lnTo>
                    <a:pt x="425" y="98"/>
                  </a:lnTo>
                  <a:lnTo>
                    <a:pt x="428" y="102"/>
                  </a:lnTo>
                  <a:lnTo>
                    <a:pt x="430" y="104"/>
                  </a:lnTo>
                  <a:lnTo>
                    <a:pt x="431" y="105"/>
                  </a:lnTo>
                  <a:lnTo>
                    <a:pt x="432" y="105"/>
                  </a:lnTo>
                  <a:lnTo>
                    <a:pt x="433" y="106"/>
                  </a:lnTo>
                  <a:lnTo>
                    <a:pt x="433" y="106"/>
                  </a:lnTo>
                  <a:lnTo>
                    <a:pt x="434" y="106"/>
                  </a:lnTo>
                  <a:lnTo>
                    <a:pt x="435" y="106"/>
                  </a:lnTo>
                  <a:lnTo>
                    <a:pt x="436" y="107"/>
                  </a:lnTo>
                  <a:lnTo>
                    <a:pt x="438" y="107"/>
                  </a:lnTo>
                  <a:lnTo>
                    <a:pt x="444" y="107"/>
                  </a:lnTo>
                  <a:lnTo>
                    <a:pt x="446" y="107"/>
                  </a:lnTo>
                  <a:lnTo>
                    <a:pt x="447" y="107"/>
                  </a:lnTo>
                  <a:lnTo>
                    <a:pt x="448" y="108"/>
                  </a:lnTo>
                  <a:lnTo>
                    <a:pt x="449" y="108"/>
                  </a:lnTo>
                  <a:lnTo>
                    <a:pt x="453" y="110"/>
                  </a:lnTo>
                  <a:lnTo>
                    <a:pt x="454" y="110"/>
                  </a:lnTo>
                  <a:lnTo>
                    <a:pt x="460" y="112"/>
                  </a:lnTo>
                  <a:lnTo>
                    <a:pt x="465" y="113"/>
                  </a:lnTo>
                  <a:lnTo>
                    <a:pt x="469" y="115"/>
                  </a:lnTo>
                  <a:lnTo>
                    <a:pt x="470" y="115"/>
                  </a:lnTo>
                  <a:lnTo>
                    <a:pt x="472" y="115"/>
                  </a:lnTo>
                  <a:lnTo>
                    <a:pt x="477" y="119"/>
                  </a:lnTo>
                  <a:lnTo>
                    <a:pt x="483" y="121"/>
                  </a:lnTo>
                  <a:lnTo>
                    <a:pt x="485" y="122"/>
                  </a:lnTo>
                  <a:lnTo>
                    <a:pt x="487" y="123"/>
                  </a:lnTo>
                  <a:lnTo>
                    <a:pt x="489" y="125"/>
                  </a:lnTo>
                  <a:lnTo>
                    <a:pt x="491" y="126"/>
                  </a:lnTo>
                  <a:lnTo>
                    <a:pt x="493" y="128"/>
                  </a:lnTo>
                  <a:lnTo>
                    <a:pt x="495" y="129"/>
                  </a:lnTo>
                  <a:lnTo>
                    <a:pt x="500" y="135"/>
                  </a:lnTo>
                  <a:lnTo>
                    <a:pt x="502" y="137"/>
                  </a:lnTo>
                  <a:lnTo>
                    <a:pt x="503" y="139"/>
                  </a:lnTo>
                  <a:lnTo>
                    <a:pt x="505" y="142"/>
                  </a:lnTo>
                  <a:lnTo>
                    <a:pt x="507" y="143"/>
                  </a:lnTo>
                  <a:lnTo>
                    <a:pt x="508" y="145"/>
                  </a:lnTo>
                  <a:lnTo>
                    <a:pt x="510" y="146"/>
                  </a:lnTo>
                  <a:lnTo>
                    <a:pt x="512" y="148"/>
                  </a:lnTo>
                  <a:lnTo>
                    <a:pt x="513" y="148"/>
                  </a:lnTo>
                  <a:lnTo>
                    <a:pt x="514" y="148"/>
                  </a:lnTo>
                  <a:lnTo>
                    <a:pt x="515" y="149"/>
                  </a:lnTo>
                  <a:lnTo>
                    <a:pt x="518" y="149"/>
                  </a:lnTo>
                  <a:lnTo>
                    <a:pt x="519" y="150"/>
                  </a:lnTo>
                  <a:lnTo>
                    <a:pt x="525" y="151"/>
                  </a:lnTo>
                  <a:lnTo>
                    <a:pt x="530" y="153"/>
                  </a:lnTo>
                  <a:lnTo>
                    <a:pt x="532" y="154"/>
                  </a:lnTo>
                  <a:lnTo>
                    <a:pt x="534" y="155"/>
                  </a:lnTo>
                  <a:lnTo>
                    <a:pt x="536" y="156"/>
                  </a:lnTo>
                  <a:lnTo>
                    <a:pt x="541" y="159"/>
                  </a:lnTo>
                  <a:lnTo>
                    <a:pt x="545" y="162"/>
                  </a:lnTo>
                  <a:lnTo>
                    <a:pt x="546" y="163"/>
                  </a:lnTo>
                  <a:lnTo>
                    <a:pt x="547" y="164"/>
                  </a:lnTo>
                  <a:lnTo>
                    <a:pt x="549" y="165"/>
                  </a:lnTo>
                  <a:lnTo>
                    <a:pt x="550" y="167"/>
                  </a:lnTo>
                  <a:lnTo>
                    <a:pt x="556" y="175"/>
                  </a:lnTo>
                  <a:lnTo>
                    <a:pt x="556" y="176"/>
                  </a:lnTo>
                  <a:lnTo>
                    <a:pt x="556" y="177"/>
                  </a:lnTo>
                  <a:lnTo>
                    <a:pt x="556" y="178"/>
                  </a:lnTo>
                  <a:lnTo>
                    <a:pt x="556" y="180"/>
                  </a:lnTo>
                  <a:lnTo>
                    <a:pt x="555" y="182"/>
                  </a:lnTo>
                  <a:lnTo>
                    <a:pt x="554" y="185"/>
                  </a:lnTo>
                  <a:lnTo>
                    <a:pt x="552" y="191"/>
                  </a:lnTo>
                  <a:lnTo>
                    <a:pt x="552" y="192"/>
                  </a:lnTo>
                  <a:lnTo>
                    <a:pt x="551" y="193"/>
                  </a:lnTo>
                  <a:lnTo>
                    <a:pt x="551" y="194"/>
                  </a:lnTo>
                  <a:lnTo>
                    <a:pt x="551" y="195"/>
                  </a:lnTo>
                  <a:lnTo>
                    <a:pt x="551" y="195"/>
                  </a:lnTo>
                  <a:lnTo>
                    <a:pt x="552" y="196"/>
                  </a:lnTo>
                  <a:lnTo>
                    <a:pt x="552" y="197"/>
                  </a:lnTo>
                  <a:lnTo>
                    <a:pt x="553" y="198"/>
                  </a:lnTo>
                  <a:lnTo>
                    <a:pt x="554" y="200"/>
                  </a:lnTo>
                  <a:lnTo>
                    <a:pt x="555" y="200"/>
                  </a:lnTo>
                  <a:lnTo>
                    <a:pt x="557" y="201"/>
                  </a:lnTo>
                  <a:lnTo>
                    <a:pt x="560" y="203"/>
                  </a:lnTo>
                  <a:lnTo>
                    <a:pt x="561" y="204"/>
                  </a:lnTo>
                  <a:lnTo>
                    <a:pt x="562" y="205"/>
                  </a:lnTo>
                  <a:lnTo>
                    <a:pt x="563" y="206"/>
                  </a:lnTo>
                  <a:lnTo>
                    <a:pt x="564" y="206"/>
                  </a:lnTo>
                  <a:lnTo>
                    <a:pt x="564" y="207"/>
                  </a:lnTo>
                  <a:lnTo>
                    <a:pt x="565" y="208"/>
                  </a:lnTo>
                  <a:lnTo>
                    <a:pt x="565" y="209"/>
                  </a:lnTo>
                  <a:lnTo>
                    <a:pt x="565" y="210"/>
                  </a:lnTo>
                  <a:lnTo>
                    <a:pt x="565" y="211"/>
                  </a:lnTo>
                  <a:lnTo>
                    <a:pt x="565" y="212"/>
                  </a:lnTo>
                  <a:lnTo>
                    <a:pt x="565" y="213"/>
                  </a:lnTo>
                  <a:lnTo>
                    <a:pt x="565" y="214"/>
                  </a:lnTo>
                  <a:lnTo>
                    <a:pt x="565" y="215"/>
                  </a:lnTo>
                  <a:lnTo>
                    <a:pt x="565" y="216"/>
                  </a:lnTo>
                  <a:lnTo>
                    <a:pt x="564" y="218"/>
                  </a:lnTo>
                  <a:lnTo>
                    <a:pt x="563" y="220"/>
                  </a:lnTo>
                  <a:lnTo>
                    <a:pt x="562" y="221"/>
                  </a:lnTo>
                  <a:lnTo>
                    <a:pt x="560" y="223"/>
                  </a:lnTo>
                  <a:lnTo>
                    <a:pt x="558" y="225"/>
                  </a:lnTo>
                  <a:lnTo>
                    <a:pt x="557" y="227"/>
                  </a:lnTo>
                  <a:lnTo>
                    <a:pt x="555" y="228"/>
                  </a:lnTo>
                  <a:lnTo>
                    <a:pt x="554" y="228"/>
                  </a:lnTo>
                  <a:lnTo>
                    <a:pt x="553" y="229"/>
                  </a:lnTo>
                  <a:lnTo>
                    <a:pt x="552" y="229"/>
                  </a:lnTo>
                  <a:lnTo>
                    <a:pt x="551" y="230"/>
                  </a:lnTo>
                  <a:lnTo>
                    <a:pt x="550" y="230"/>
                  </a:lnTo>
                  <a:lnTo>
                    <a:pt x="549" y="230"/>
                  </a:lnTo>
                  <a:lnTo>
                    <a:pt x="547" y="230"/>
                  </a:lnTo>
                  <a:lnTo>
                    <a:pt x="546" y="230"/>
                  </a:lnTo>
                  <a:lnTo>
                    <a:pt x="545" y="230"/>
                  </a:lnTo>
                  <a:lnTo>
                    <a:pt x="545" y="230"/>
                  </a:lnTo>
                  <a:lnTo>
                    <a:pt x="545" y="230"/>
                  </a:lnTo>
                  <a:lnTo>
                    <a:pt x="545" y="230"/>
                  </a:lnTo>
                  <a:lnTo>
                    <a:pt x="545" y="231"/>
                  </a:lnTo>
                  <a:lnTo>
                    <a:pt x="545" y="232"/>
                  </a:lnTo>
                  <a:lnTo>
                    <a:pt x="545" y="233"/>
                  </a:lnTo>
                  <a:lnTo>
                    <a:pt x="546" y="234"/>
                  </a:lnTo>
                  <a:lnTo>
                    <a:pt x="546" y="235"/>
                  </a:lnTo>
                  <a:lnTo>
                    <a:pt x="547" y="236"/>
                  </a:lnTo>
                  <a:lnTo>
                    <a:pt x="548" y="237"/>
                  </a:lnTo>
                  <a:lnTo>
                    <a:pt x="550" y="239"/>
                  </a:lnTo>
                  <a:lnTo>
                    <a:pt x="551" y="240"/>
                  </a:lnTo>
                  <a:lnTo>
                    <a:pt x="552" y="241"/>
                  </a:lnTo>
                  <a:lnTo>
                    <a:pt x="553" y="243"/>
                  </a:lnTo>
                  <a:lnTo>
                    <a:pt x="553" y="244"/>
                  </a:lnTo>
                  <a:lnTo>
                    <a:pt x="553" y="245"/>
                  </a:lnTo>
                  <a:lnTo>
                    <a:pt x="553" y="246"/>
                  </a:lnTo>
                  <a:lnTo>
                    <a:pt x="553" y="247"/>
                  </a:lnTo>
                  <a:lnTo>
                    <a:pt x="553" y="247"/>
                  </a:lnTo>
                  <a:lnTo>
                    <a:pt x="553" y="248"/>
                  </a:lnTo>
                  <a:lnTo>
                    <a:pt x="553" y="249"/>
                  </a:lnTo>
                  <a:lnTo>
                    <a:pt x="552" y="252"/>
                  </a:lnTo>
                  <a:lnTo>
                    <a:pt x="551" y="255"/>
                  </a:lnTo>
                  <a:lnTo>
                    <a:pt x="551" y="256"/>
                  </a:lnTo>
                  <a:lnTo>
                    <a:pt x="550" y="257"/>
                  </a:lnTo>
                  <a:lnTo>
                    <a:pt x="550" y="257"/>
                  </a:lnTo>
                  <a:lnTo>
                    <a:pt x="549" y="258"/>
                  </a:lnTo>
                  <a:lnTo>
                    <a:pt x="548" y="258"/>
                  </a:lnTo>
                  <a:lnTo>
                    <a:pt x="548" y="258"/>
                  </a:lnTo>
                  <a:lnTo>
                    <a:pt x="547" y="259"/>
                  </a:lnTo>
                  <a:lnTo>
                    <a:pt x="545" y="259"/>
                  </a:lnTo>
                  <a:lnTo>
                    <a:pt x="544" y="259"/>
                  </a:lnTo>
                  <a:lnTo>
                    <a:pt x="544" y="258"/>
                  </a:lnTo>
                  <a:lnTo>
                    <a:pt x="543" y="258"/>
                  </a:lnTo>
                  <a:lnTo>
                    <a:pt x="542" y="258"/>
                  </a:lnTo>
                  <a:lnTo>
                    <a:pt x="542" y="257"/>
                  </a:lnTo>
                  <a:lnTo>
                    <a:pt x="541" y="256"/>
                  </a:lnTo>
                  <a:lnTo>
                    <a:pt x="540" y="255"/>
                  </a:lnTo>
                  <a:lnTo>
                    <a:pt x="540" y="255"/>
                  </a:lnTo>
                  <a:lnTo>
                    <a:pt x="539" y="253"/>
                  </a:lnTo>
                  <a:lnTo>
                    <a:pt x="538" y="251"/>
                  </a:lnTo>
                  <a:lnTo>
                    <a:pt x="538" y="251"/>
                  </a:lnTo>
                  <a:lnTo>
                    <a:pt x="537" y="251"/>
                  </a:lnTo>
                  <a:lnTo>
                    <a:pt x="537" y="250"/>
                  </a:lnTo>
                  <a:lnTo>
                    <a:pt x="536" y="250"/>
                  </a:lnTo>
                  <a:lnTo>
                    <a:pt x="535" y="250"/>
                  </a:lnTo>
                  <a:lnTo>
                    <a:pt x="534" y="249"/>
                  </a:lnTo>
                  <a:lnTo>
                    <a:pt x="533" y="249"/>
                  </a:lnTo>
                  <a:lnTo>
                    <a:pt x="531" y="250"/>
                  </a:lnTo>
                  <a:lnTo>
                    <a:pt x="530" y="250"/>
                  </a:lnTo>
                  <a:lnTo>
                    <a:pt x="529" y="251"/>
                  </a:lnTo>
                  <a:lnTo>
                    <a:pt x="527" y="251"/>
                  </a:lnTo>
                  <a:lnTo>
                    <a:pt x="526" y="252"/>
                  </a:lnTo>
                  <a:lnTo>
                    <a:pt x="525" y="253"/>
                  </a:lnTo>
                  <a:lnTo>
                    <a:pt x="524" y="254"/>
                  </a:lnTo>
                  <a:lnTo>
                    <a:pt x="522" y="256"/>
                  </a:lnTo>
                  <a:lnTo>
                    <a:pt x="521" y="257"/>
                  </a:lnTo>
                  <a:lnTo>
                    <a:pt x="521" y="258"/>
                  </a:lnTo>
                  <a:lnTo>
                    <a:pt x="520" y="259"/>
                  </a:lnTo>
                  <a:lnTo>
                    <a:pt x="520" y="259"/>
                  </a:lnTo>
                  <a:lnTo>
                    <a:pt x="520" y="260"/>
                  </a:lnTo>
                  <a:lnTo>
                    <a:pt x="520" y="260"/>
                  </a:lnTo>
                  <a:lnTo>
                    <a:pt x="520" y="261"/>
                  </a:lnTo>
                  <a:lnTo>
                    <a:pt x="520" y="261"/>
                  </a:lnTo>
                  <a:lnTo>
                    <a:pt x="521" y="261"/>
                  </a:lnTo>
                  <a:lnTo>
                    <a:pt x="522" y="261"/>
                  </a:lnTo>
                  <a:lnTo>
                    <a:pt x="526" y="262"/>
                  </a:lnTo>
                  <a:lnTo>
                    <a:pt x="527" y="263"/>
                  </a:lnTo>
                  <a:lnTo>
                    <a:pt x="528" y="263"/>
                  </a:lnTo>
                  <a:lnTo>
                    <a:pt x="529" y="264"/>
                  </a:lnTo>
                  <a:lnTo>
                    <a:pt x="529" y="264"/>
                  </a:lnTo>
                  <a:lnTo>
                    <a:pt x="530" y="265"/>
                  </a:lnTo>
                  <a:lnTo>
                    <a:pt x="530" y="265"/>
                  </a:lnTo>
                  <a:lnTo>
                    <a:pt x="531" y="266"/>
                  </a:lnTo>
                  <a:lnTo>
                    <a:pt x="531" y="267"/>
                  </a:lnTo>
                  <a:lnTo>
                    <a:pt x="531" y="267"/>
                  </a:lnTo>
                  <a:lnTo>
                    <a:pt x="531" y="268"/>
                  </a:lnTo>
                  <a:lnTo>
                    <a:pt x="530" y="269"/>
                  </a:lnTo>
                  <a:lnTo>
                    <a:pt x="530" y="269"/>
                  </a:lnTo>
                  <a:lnTo>
                    <a:pt x="530" y="270"/>
                  </a:lnTo>
                  <a:lnTo>
                    <a:pt x="529" y="271"/>
                  </a:lnTo>
                  <a:lnTo>
                    <a:pt x="528" y="272"/>
                  </a:lnTo>
                  <a:lnTo>
                    <a:pt x="527" y="272"/>
                  </a:lnTo>
                  <a:lnTo>
                    <a:pt x="526" y="273"/>
                  </a:lnTo>
                  <a:lnTo>
                    <a:pt x="524" y="273"/>
                  </a:lnTo>
                  <a:lnTo>
                    <a:pt x="521" y="274"/>
                  </a:lnTo>
                  <a:lnTo>
                    <a:pt x="518" y="274"/>
                  </a:lnTo>
                  <a:lnTo>
                    <a:pt x="514" y="274"/>
                  </a:lnTo>
                  <a:lnTo>
                    <a:pt x="512" y="275"/>
                  </a:lnTo>
                  <a:lnTo>
                    <a:pt x="510" y="275"/>
                  </a:lnTo>
                  <a:lnTo>
                    <a:pt x="509" y="276"/>
                  </a:lnTo>
                  <a:lnTo>
                    <a:pt x="507" y="277"/>
                  </a:lnTo>
                  <a:lnTo>
                    <a:pt x="506" y="278"/>
                  </a:lnTo>
                  <a:lnTo>
                    <a:pt x="505" y="278"/>
                  </a:lnTo>
                  <a:lnTo>
                    <a:pt x="505" y="279"/>
                  </a:lnTo>
                  <a:lnTo>
                    <a:pt x="504" y="280"/>
                  </a:lnTo>
                  <a:lnTo>
                    <a:pt x="503" y="281"/>
                  </a:lnTo>
                  <a:lnTo>
                    <a:pt x="502" y="282"/>
                  </a:lnTo>
                  <a:lnTo>
                    <a:pt x="501" y="284"/>
                  </a:lnTo>
                  <a:lnTo>
                    <a:pt x="499" y="288"/>
                  </a:lnTo>
                  <a:lnTo>
                    <a:pt x="498" y="289"/>
                  </a:lnTo>
                  <a:lnTo>
                    <a:pt x="497" y="291"/>
                  </a:lnTo>
                  <a:lnTo>
                    <a:pt x="495" y="294"/>
                  </a:lnTo>
                  <a:lnTo>
                    <a:pt x="493" y="295"/>
                  </a:lnTo>
                  <a:lnTo>
                    <a:pt x="492" y="297"/>
                  </a:lnTo>
                  <a:lnTo>
                    <a:pt x="491" y="299"/>
                  </a:lnTo>
                  <a:lnTo>
                    <a:pt x="491" y="300"/>
                  </a:lnTo>
                  <a:lnTo>
                    <a:pt x="491" y="301"/>
                  </a:lnTo>
                  <a:lnTo>
                    <a:pt x="490" y="303"/>
                  </a:lnTo>
                  <a:lnTo>
                    <a:pt x="490" y="307"/>
                  </a:lnTo>
                  <a:lnTo>
                    <a:pt x="490" y="310"/>
                  </a:lnTo>
                  <a:lnTo>
                    <a:pt x="490" y="312"/>
                  </a:lnTo>
                  <a:lnTo>
                    <a:pt x="489" y="315"/>
                  </a:lnTo>
                  <a:lnTo>
                    <a:pt x="488" y="319"/>
                  </a:lnTo>
                  <a:lnTo>
                    <a:pt x="488" y="321"/>
                  </a:lnTo>
                  <a:lnTo>
                    <a:pt x="488" y="322"/>
                  </a:lnTo>
                  <a:lnTo>
                    <a:pt x="488" y="323"/>
                  </a:lnTo>
                  <a:lnTo>
                    <a:pt x="488" y="324"/>
                  </a:lnTo>
                  <a:lnTo>
                    <a:pt x="488" y="325"/>
                  </a:lnTo>
                  <a:lnTo>
                    <a:pt x="489" y="325"/>
                  </a:lnTo>
                  <a:lnTo>
                    <a:pt x="489" y="326"/>
                  </a:lnTo>
                  <a:lnTo>
                    <a:pt x="490" y="327"/>
                  </a:lnTo>
                  <a:lnTo>
                    <a:pt x="491" y="327"/>
                  </a:lnTo>
                  <a:lnTo>
                    <a:pt x="495" y="331"/>
                  </a:lnTo>
                  <a:lnTo>
                    <a:pt x="502" y="336"/>
                  </a:lnTo>
                  <a:lnTo>
                    <a:pt x="503" y="336"/>
                  </a:lnTo>
                  <a:lnTo>
                    <a:pt x="503" y="337"/>
                  </a:lnTo>
                  <a:lnTo>
                    <a:pt x="503" y="337"/>
                  </a:lnTo>
                  <a:lnTo>
                    <a:pt x="504" y="338"/>
                  </a:lnTo>
                  <a:lnTo>
                    <a:pt x="503" y="338"/>
                  </a:lnTo>
                  <a:lnTo>
                    <a:pt x="503" y="338"/>
                  </a:lnTo>
                  <a:lnTo>
                    <a:pt x="503" y="339"/>
                  </a:lnTo>
                  <a:lnTo>
                    <a:pt x="501" y="340"/>
                  </a:lnTo>
                  <a:lnTo>
                    <a:pt x="501" y="340"/>
                  </a:lnTo>
                  <a:lnTo>
                    <a:pt x="500" y="341"/>
                  </a:lnTo>
                  <a:lnTo>
                    <a:pt x="500" y="341"/>
                  </a:lnTo>
                  <a:lnTo>
                    <a:pt x="500" y="342"/>
                  </a:lnTo>
                  <a:lnTo>
                    <a:pt x="500" y="342"/>
                  </a:lnTo>
                  <a:lnTo>
                    <a:pt x="500" y="343"/>
                  </a:lnTo>
                  <a:lnTo>
                    <a:pt x="501" y="343"/>
                  </a:lnTo>
                  <a:lnTo>
                    <a:pt x="501" y="344"/>
                  </a:lnTo>
                  <a:lnTo>
                    <a:pt x="502" y="344"/>
                  </a:lnTo>
                  <a:lnTo>
                    <a:pt x="503" y="345"/>
                  </a:lnTo>
                  <a:lnTo>
                    <a:pt x="504" y="345"/>
                  </a:lnTo>
                  <a:lnTo>
                    <a:pt x="506" y="346"/>
                  </a:lnTo>
                  <a:lnTo>
                    <a:pt x="507" y="346"/>
                  </a:lnTo>
                  <a:lnTo>
                    <a:pt x="511" y="347"/>
                  </a:lnTo>
                  <a:lnTo>
                    <a:pt x="512" y="348"/>
                  </a:lnTo>
                  <a:lnTo>
                    <a:pt x="512" y="348"/>
                  </a:lnTo>
                  <a:lnTo>
                    <a:pt x="513" y="349"/>
                  </a:lnTo>
                  <a:lnTo>
                    <a:pt x="513" y="349"/>
                  </a:lnTo>
                  <a:lnTo>
                    <a:pt x="514" y="350"/>
                  </a:lnTo>
                  <a:lnTo>
                    <a:pt x="514" y="351"/>
                  </a:lnTo>
                  <a:lnTo>
                    <a:pt x="514" y="351"/>
                  </a:lnTo>
                  <a:lnTo>
                    <a:pt x="514" y="352"/>
                  </a:lnTo>
                  <a:lnTo>
                    <a:pt x="514" y="353"/>
                  </a:lnTo>
                  <a:lnTo>
                    <a:pt x="514" y="354"/>
                  </a:lnTo>
                  <a:lnTo>
                    <a:pt x="513" y="355"/>
                  </a:lnTo>
                  <a:lnTo>
                    <a:pt x="513" y="356"/>
                  </a:lnTo>
                  <a:lnTo>
                    <a:pt x="512" y="358"/>
                  </a:lnTo>
                  <a:lnTo>
                    <a:pt x="511" y="360"/>
                  </a:lnTo>
                  <a:lnTo>
                    <a:pt x="507" y="365"/>
                  </a:lnTo>
                  <a:lnTo>
                    <a:pt x="506" y="366"/>
                  </a:lnTo>
                  <a:lnTo>
                    <a:pt x="506" y="367"/>
                  </a:lnTo>
                  <a:lnTo>
                    <a:pt x="505" y="368"/>
                  </a:lnTo>
                  <a:lnTo>
                    <a:pt x="505" y="369"/>
                  </a:lnTo>
                  <a:lnTo>
                    <a:pt x="505" y="370"/>
                  </a:lnTo>
                  <a:lnTo>
                    <a:pt x="505" y="371"/>
                  </a:lnTo>
                  <a:lnTo>
                    <a:pt x="505" y="372"/>
                  </a:lnTo>
                  <a:lnTo>
                    <a:pt x="506" y="374"/>
                  </a:lnTo>
                  <a:lnTo>
                    <a:pt x="506" y="375"/>
                  </a:lnTo>
                  <a:lnTo>
                    <a:pt x="507" y="376"/>
                  </a:lnTo>
                  <a:lnTo>
                    <a:pt x="507" y="377"/>
                  </a:lnTo>
                  <a:lnTo>
                    <a:pt x="509" y="379"/>
                  </a:lnTo>
                  <a:lnTo>
                    <a:pt x="510" y="381"/>
                  </a:lnTo>
                  <a:lnTo>
                    <a:pt x="511" y="382"/>
                  </a:lnTo>
                  <a:lnTo>
                    <a:pt x="511" y="383"/>
                  </a:lnTo>
                  <a:lnTo>
                    <a:pt x="512" y="384"/>
                  </a:lnTo>
                  <a:lnTo>
                    <a:pt x="512" y="384"/>
                  </a:lnTo>
                  <a:lnTo>
                    <a:pt x="512" y="385"/>
                  </a:lnTo>
                  <a:lnTo>
                    <a:pt x="512" y="386"/>
                  </a:lnTo>
                  <a:lnTo>
                    <a:pt x="511" y="387"/>
                  </a:lnTo>
                  <a:lnTo>
                    <a:pt x="511" y="387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08" y="390"/>
                  </a:lnTo>
                  <a:lnTo>
                    <a:pt x="505" y="392"/>
                  </a:lnTo>
                  <a:lnTo>
                    <a:pt x="503" y="393"/>
                  </a:lnTo>
                  <a:lnTo>
                    <a:pt x="502" y="394"/>
                  </a:lnTo>
                  <a:lnTo>
                    <a:pt x="501" y="396"/>
                  </a:lnTo>
                  <a:lnTo>
                    <a:pt x="500" y="397"/>
                  </a:lnTo>
                  <a:lnTo>
                    <a:pt x="499" y="399"/>
                  </a:lnTo>
                  <a:lnTo>
                    <a:pt x="498" y="400"/>
                  </a:lnTo>
                  <a:lnTo>
                    <a:pt x="497" y="402"/>
                  </a:lnTo>
                  <a:lnTo>
                    <a:pt x="497" y="403"/>
                  </a:lnTo>
                  <a:lnTo>
                    <a:pt x="496" y="405"/>
                  </a:lnTo>
                  <a:lnTo>
                    <a:pt x="496" y="406"/>
                  </a:lnTo>
                  <a:lnTo>
                    <a:pt x="495" y="408"/>
                  </a:lnTo>
                  <a:lnTo>
                    <a:pt x="495" y="409"/>
                  </a:lnTo>
                  <a:lnTo>
                    <a:pt x="495" y="410"/>
                  </a:lnTo>
                  <a:lnTo>
                    <a:pt x="495" y="411"/>
                  </a:lnTo>
                  <a:lnTo>
                    <a:pt x="495" y="412"/>
                  </a:lnTo>
                  <a:lnTo>
                    <a:pt x="495" y="413"/>
                  </a:lnTo>
                  <a:lnTo>
                    <a:pt x="496" y="414"/>
                  </a:lnTo>
                  <a:lnTo>
                    <a:pt x="496" y="415"/>
                  </a:lnTo>
                  <a:lnTo>
                    <a:pt x="496" y="415"/>
                  </a:lnTo>
                  <a:lnTo>
                    <a:pt x="497" y="416"/>
                  </a:lnTo>
                  <a:lnTo>
                    <a:pt x="498" y="417"/>
                  </a:lnTo>
                  <a:lnTo>
                    <a:pt x="500" y="418"/>
                  </a:lnTo>
                  <a:lnTo>
                    <a:pt x="503" y="421"/>
                  </a:lnTo>
                  <a:lnTo>
                    <a:pt x="504" y="422"/>
                  </a:lnTo>
                  <a:lnTo>
                    <a:pt x="505" y="423"/>
                  </a:lnTo>
                  <a:lnTo>
                    <a:pt x="506" y="423"/>
                  </a:lnTo>
                  <a:lnTo>
                    <a:pt x="506" y="424"/>
                  </a:lnTo>
                  <a:lnTo>
                    <a:pt x="507" y="425"/>
                  </a:lnTo>
                  <a:lnTo>
                    <a:pt x="507" y="426"/>
                  </a:lnTo>
                  <a:lnTo>
                    <a:pt x="508" y="427"/>
                  </a:lnTo>
                  <a:lnTo>
                    <a:pt x="508" y="428"/>
                  </a:lnTo>
                  <a:lnTo>
                    <a:pt x="508" y="429"/>
                  </a:lnTo>
                  <a:lnTo>
                    <a:pt x="508" y="431"/>
                  </a:lnTo>
                  <a:lnTo>
                    <a:pt x="508" y="433"/>
                  </a:lnTo>
                  <a:lnTo>
                    <a:pt x="508" y="434"/>
                  </a:lnTo>
                  <a:lnTo>
                    <a:pt x="508" y="435"/>
                  </a:lnTo>
                  <a:lnTo>
                    <a:pt x="507" y="436"/>
                  </a:lnTo>
                  <a:lnTo>
                    <a:pt x="507" y="437"/>
                  </a:lnTo>
                  <a:lnTo>
                    <a:pt x="506" y="438"/>
                  </a:lnTo>
                  <a:lnTo>
                    <a:pt x="504" y="439"/>
                  </a:lnTo>
                  <a:lnTo>
                    <a:pt x="502" y="440"/>
                  </a:lnTo>
                  <a:lnTo>
                    <a:pt x="501" y="441"/>
                  </a:lnTo>
                  <a:lnTo>
                    <a:pt x="498" y="442"/>
                  </a:lnTo>
                  <a:lnTo>
                    <a:pt x="497" y="443"/>
                  </a:lnTo>
                  <a:lnTo>
                    <a:pt x="496" y="444"/>
                  </a:lnTo>
                  <a:lnTo>
                    <a:pt x="495" y="444"/>
                  </a:lnTo>
                  <a:lnTo>
                    <a:pt x="495" y="445"/>
                  </a:lnTo>
                  <a:lnTo>
                    <a:pt x="494" y="446"/>
                  </a:lnTo>
                  <a:lnTo>
                    <a:pt x="494" y="446"/>
                  </a:lnTo>
                  <a:lnTo>
                    <a:pt x="493" y="448"/>
                  </a:lnTo>
                  <a:lnTo>
                    <a:pt x="493" y="449"/>
                  </a:lnTo>
                  <a:lnTo>
                    <a:pt x="493" y="450"/>
                  </a:lnTo>
                  <a:lnTo>
                    <a:pt x="493" y="451"/>
                  </a:lnTo>
                  <a:lnTo>
                    <a:pt x="493" y="452"/>
                  </a:lnTo>
                  <a:lnTo>
                    <a:pt x="494" y="455"/>
                  </a:lnTo>
                  <a:lnTo>
                    <a:pt x="494" y="457"/>
                  </a:lnTo>
                  <a:lnTo>
                    <a:pt x="495" y="458"/>
                  </a:lnTo>
                  <a:lnTo>
                    <a:pt x="495" y="459"/>
                  </a:lnTo>
                  <a:lnTo>
                    <a:pt x="495" y="460"/>
                  </a:lnTo>
                  <a:lnTo>
                    <a:pt x="495" y="460"/>
                  </a:lnTo>
                  <a:lnTo>
                    <a:pt x="494" y="461"/>
                  </a:lnTo>
                  <a:lnTo>
                    <a:pt x="494" y="462"/>
                  </a:lnTo>
                  <a:lnTo>
                    <a:pt x="493" y="463"/>
                  </a:lnTo>
                  <a:lnTo>
                    <a:pt x="492" y="464"/>
                  </a:lnTo>
                  <a:lnTo>
                    <a:pt x="492" y="465"/>
                  </a:lnTo>
                  <a:lnTo>
                    <a:pt x="491" y="465"/>
                  </a:lnTo>
                  <a:lnTo>
                    <a:pt x="489" y="466"/>
                  </a:lnTo>
                  <a:lnTo>
                    <a:pt x="488" y="466"/>
                  </a:lnTo>
                  <a:lnTo>
                    <a:pt x="487" y="467"/>
                  </a:lnTo>
                  <a:lnTo>
                    <a:pt x="486" y="467"/>
                  </a:lnTo>
                  <a:lnTo>
                    <a:pt x="485" y="467"/>
                  </a:lnTo>
                  <a:lnTo>
                    <a:pt x="485" y="468"/>
                  </a:lnTo>
                  <a:lnTo>
                    <a:pt x="485" y="468"/>
                  </a:lnTo>
                  <a:lnTo>
                    <a:pt x="485" y="468"/>
                  </a:lnTo>
                  <a:lnTo>
                    <a:pt x="485" y="469"/>
                  </a:lnTo>
                  <a:lnTo>
                    <a:pt x="485" y="470"/>
                  </a:lnTo>
                  <a:lnTo>
                    <a:pt x="485" y="471"/>
                  </a:lnTo>
                  <a:lnTo>
                    <a:pt x="486" y="472"/>
                  </a:lnTo>
                  <a:lnTo>
                    <a:pt x="487" y="473"/>
                  </a:lnTo>
                  <a:lnTo>
                    <a:pt x="489" y="475"/>
                  </a:lnTo>
                  <a:lnTo>
                    <a:pt x="490" y="476"/>
                  </a:lnTo>
                  <a:lnTo>
                    <a:pt x="494" y="480"/>
                  </a:lnTo>
                  <a:lnTo>
                    <a:pt x="496" y="481"/>
                  </a:lnTo>
                  <a:lnTo>
                    <a:pt x="496" y="482"/>
                  </a:lnTo>
                  <a:lnTo>
                    <a:pt x="497" y="483"/>
                  </a:lnTo>
                  <a:lnTo>
                    <a:pt x="498" y="484"/>
                  </a:lnTo>
                  <a:lnTo>
                    <a:pt x="498" y="485"/>
                  </a:lnTo>
                  <a:lnTo>
                    <a:pt x="499" y="486"/>
                  </a:lnTo>
                  <a:lnTo>
                    <a:pt x="499" y="487"/>
                  </a:lnTo>
                  <a:lnTo>
                    <a:pt x="498" y="487"/>
                  </a:lnTo>
                  <a:lnTo>
                    <a:pt x="498" y="488"/>
                  </a:lnTo>
                  <a:lnTo>
                    <a:pt x="498" y="489"/>
                  </a:lnTo>
                  <a:lnTo>
                    <a:pt x="497" y="490"/>
                  </a:lnTo>
                  <a:lnTo>
                    <a:pt x="496" y="491"/>
                  </a:lnTo>
                  <a:lnTo>
                    <a:pt x="495" y="491"/>
                  </a:lnTo>
                  <a:lnTo>
                    <a:pt x="493" y="494"/>
                  </a:lnTo>
                  <a:lnTo>
                    <a:pt x="492" y="495"/>
                  </a:lnTo>
                  <a:lnTo>
                    <a:pt x="491" y="495"/>
                  </a:lnTo>
                  <a:lnTo>
                    <a:pt x="491" y="496"/>
                  </a:lnTo>
                  <a:lnTo>
                    <a:pt x="490" y="497"/>
                  </a:lnTo>
                  <a:lnTo>
                    <a:pt x="489" y="500"/>
                  </a:lnTo>
                  <a:lnTo>
                    <a:pt x="489" y="501"/>
                  </a:lnTo>
                  <a:lnTo>
                    <a:pt x="488" y="502"/>
                  </a:lnTo>
                  <a:lnTo>
                    <a:pt x="487" y="503"/>
                  </a:lnTo>
                  <a:lnTo>
                    <a:pt x="486" y="504"/>
                  </a:lnTo>
                  <a:lnTo>
                    <a:pt x="486" y="505"/>
                  </a:lnTo>
                  <a:lnTo>
                    <a:pt x="485" y="505"/>
                  </a:lnTo>
                  <a:lnTo>
                    <a:pt x="484" y="506"/>
                  </a:lnTo>
                  <a:lnTo>
                    <a:pt x="483" y="507"/>
                  </a:lnTo>
                  <a:lnTo>
                    <a:pt x="483" y="507"/>
                  </a:lnTo>
                  <a:lnTo>
                    <a:pt x="482" y="507"/>
                  </a:lnTo>
                  <a:lnTo>
                    <a:pt x="481" y="508"/>
                  </a:lnTo>
                  <a:lnTo>
                    <a:pt x="478" y="508"/>
                  </a:lnTo>
                  <a:lnTo>
                    <a:pt x="475" y="509"/>
                  </a:lnTo>
                  <a:lnTo>
                    <a:pt x="471" y="510"/>
                  </a:lnTo>
                  <a:lnTo>
                    <a:pt x="466" y="510"/>
                  </a:lnTo>
                  <a:lnTo>
                    <a:pt x="463" y="510"/>
                  </a:lnTo>
                  <a:lnTo>
                    <a:pt x="461" y="511"/>
                  </a:lnTo>
                  <a:lnTo>
                    <a:pt x="459" y="512"/>
                  </a:lnTo>
                  <a:lnTo>
                    <a:pt x="458" y="512"/>
                  </a:lnTo>
                  <a:lnTo>
                    <a:pt x="457" y="513"/>
                  </a:lnTo>
                  <a:lnTo>
                    <a:pt x="456" y="514"/>
                  </a:lnTo>
                  <a:lnTo>
                    <a:pt x="455" y="514"/>
                  </a:lnTo>
                  <a:lnTo>
                    <a:pt x="454" y="516"/>
                  </a:lnTo>
                  <a:lnTo>
                    <a:pt x="453" y="517"/>
                  </a:lnTo>
                  <a:lnTo>
                    <a:pt x="453" y="518"/>
                  </a:lnTo>
                  <a:lnTo>
                    <a:pt x="452" y="519"/>
                  </a:lnTo>
                  <a:lnTo>
                    <a:pt x="453" y="520"/>
                  </a:lnTo>
                  <a:lnTo>
                    <a:pt x="453" y="523"/>
                  </a:lnTo>
                  <a:lnTo>
                    <a:pt x="453" y="524"/>
                  </a:lnTo>
                  <a:lnTo>
                    <a:pt x="453" y="524"/>
                  </a:lnTo>
                  <a:lnTo>
                    <a:pt x="452" y="525"/>
                  </a:lnTo>
                  <a:lnTo>
                    <a:pt x="452" y="526"/>
                  </a:lnTo>
                  <a:lnTo>
                    <a:pt x="451" y="526"/>
                  </a:lnTo>
                  <a:lnTo>
                    <a:pt x="451" y="527"/>
                  </a:lnTo>
                  <a:lnTo>
                    <a:pt x="450" y="528"/>
                  </a:lnTo>
                  <a:lnTo>
                    <a:pt x="446" y="530"/>
                  </a:lnTo>
                  <a:lnTo>
                    <a:pt x="445" y="531"/>
                  </a:lnTo>
                  <a:lnTo>
                    <a:pt x="444" y="531"/>
                  </a:lnTo>
                  <a:lnTo>
                    <a:pt x="442" y="531"/>
                  </a:lnTo>
                  <a:lnTo>
                    <a:pt x="439" y="532"/>
                  </a:lnTo>
                  <a:lnTo>
                    <a:pt x="434" y="533"/>
                  </a:lnTo>
                  <a:lnTo>
                    <a:pt x="431" y="534"/>
                  </a:lnTo>
                  <a:lnTo>
                    <a:pt x="430" y="534"/>
                  </a:lnTo>
                  <a:lnTo>
                    <a:pt x="429" y="534"/>
                  </a:lnTo>
                  <a:lnTo>
                    <a:pt x="425" y="533"/>
                  </a:lnTo>
                  <a:lnTo>
                    <a:pt x="422" y="533"/>
                  </a:lnTo>
                  <a:lnTo>
                    <a:pt x="421" y="532"/>
                  </a:lnTo>
                  <a:lnTo>
                    <a:pt x="418" y="532"/>
                  </a:lnTo>
                  <a:lnTo>
                    <a:pt x="416" y="531"/>
                  </a:lnTo>
                  <a:lnTo>
                    <a:pt x="413" y="531"/>
                  </a:lnTo>
                  <a:lnTo>
                    <a:pt x="412" y="531"/>
                  </a:lnTo>
                  <a:lnTo>
                    <a:pt x="411" y="531"/>
                  </a:lnTo>
                  <a:lnTo>
                    <a:pt x="410" y="531"/>
                  </a:lnTo>
                  <a:lnTo>
                    <a:pt x="409" y="531"/>
                  </a:lnTo>
                  <a:lnTo>
                    <a:pt x="408" y="532"/>
                  </a:lnTo>
                  <a:lnTo>
                    <a:pt x="406" y="533"/>
                  </a:lnTo>
                  <a:lnTo>
                    <a:pt x="405" y="534"/>
                  </a:lnTo>
                  <a:lnTo>
                    <a:pt x="403" y="536"/>
                  </a:lnTo>
                  <a:lnTo>
                    <a:pt x="401" y="536"/>
                  </a:lnTo>
                  <a:lnTo>
                    <a:pt x="399" y="537"/>
                  </a:lnTo>
                  <a:lnTo>
                    <a:pt x="397" y="537"/>
                  </a:lnTo>
                  <a:lnTo>
                    <a:pt x="395" y="537"/>
                  </a:lnTo>
                  <a:lnTo>
                    <a:pt x="394" y="537"/>
                  </a:lnTo>
                  <a:lnTo>
                    <a:pt x="393" y="537"/>
                  </a:lnTo>
                  <a:lnTo>
                    <a:pt x="392" y="537"/>
                  </a:lnTo>
                  <a:lnTo>
                    <a:pt x="390" y="536"/>
                  </a:lnTo>
                  <a:lnTo>
                    <a:pt x="389" y="536"/>
                  </a:lnTo>
                  <a:lnTo>
                    <a:pt x="388" y="535"/>
                  </a:lnTo>
                  <a:lnTo>
                    <a:pt x="384" y="533"/>
                  </a:lnTo>
                  <a:lnTo>
                    <a:pt x="383" y="532"/>
                  </a:lnTo>
                  <a:lnTo>
                    <a:pt x="382" y="531"/>
                  </a:lnTo>
                  <a:lnTo>
                    <a:pt x="382" y="530"/>
                  </a:lnTo>
                  <a:lnTo>
                    <a:pt x="380" y="528"/>
                  </a:lnTo>
                  <a:lnTo>
                    <a:pt x="379" y="527"/>
                  </a:lnTo>
                  <a:lnTo>
                    <a:pt x="378" y="526"/>
                  </a:lnTo>
                  <a:lnTo>
                    <a:pt x="378" y="525"/>
                  </a:lnTo>
                  <a:lnTo>
                    <a:pt x="377" y="525"/>
                  </a:lnTo>
                  <a:lnTo>
                    <a:pt x="377" y="525"/>
                  </a:lnTo>
                  <a:lnTo>
                    <a:pt x="376" y="525"/>
                  </a:lnTo>
                  <a:lnTo>
                    <a:pt x="375" y="525"/>
                  </a:lnTo>
                  <a:lnTo>
                    <a:pt x="374" y="525"/>
                  </a:lnTo>
                  <a:lnTo>
                    <a:pt x="373" y="525"/>
                  </a:lnTo>
                  <a:lnTo>
                    <a:pt x="371" y="526"/>
                  </a:lnTo>
                  <a:lnTo>
                    <a:pt x="369" y="527"/>
                  </a:lnTo>
                  <a:lnTo>
                    <a:pt x="368" y="527"/>
                  </a:lnTo>
                  <a:lnTo>
                    <a:pt x="367" y="528"/>
                  </a:lnTo>
                  <a:lnTo>
                    <a:pt x="367" y="528"/>
                  </a:lnTo>
                  <a:lnTo>
                    <a:pt x="366" y="529"/>
                  </a:lnTo>
                  <a:lnTo>
                    <a:pt x="363" y="532"/>
                  </a:lnTo>
                  <a:lnTo>
                    <a:pt x="362" y="533"/>
                  </a:lnTo>
                  <a:lnTo>
                    <a:pt x="361" y="534"/>
                  </a:lnTo>
                  <a:lnTo>
                    <a:pt x="360" y="535"/>
                  </a:lnTo>
                  <a:lnTo>
                    <a:pt x="359" y="535"/>
                  </a:lnTo>
                  <a:lnTo>
                    <a:pt x="358" y="536"/>
                  </a:lnTo>
                  <a:lnTo>
                    <a:pt x="358" y="536"/>
                  </a:lnTo>
                  <a:lnTo>
                    <a:pt x="357" y="536"/>
                  </a:lnTo>
                  <a:lnTo>
                    <a:pt x="356" y="536"/>
                  </a:lnTo>
                  <a:lnTo>
                    <a:pt x="355" y="537"/>
                  </a:lnTo>
                  <a:lnTo>
                    <a:pt x="354" y="536"/>
                  </a:lnTo>
                  <a:lnTo>
                    <a:pt x="351" y="536"/>
                  </a:lnTo>
                  <a:lnTo>
                    <a:pt x="350" y="536"/>
                  </a:lnTo>
                  <a:lnTo>
                    <a:pt x="349" y="536"/>
                  </a:lnTo>
                  <a:lnTo>
                    <a:pt x="348" y="536"/>
                  </a:lnTo>
                  <a:lnTo>
                    <a:pt x="348" y="536"/>
                  </a:lnTo>
                  <a:lnTo>
                    <a:pt x="347" y="536"/>
                  </a:lnTo>
                  <a:lnTo>
                    <a:pt x="347" y="537"/>
                  </a:lnTo>
                  <a:lnTo>
                    <a:pt x="346" y="537"/>
                  </a:lnTo>
                  <a:lnTo>
                    <a:pt x="345" y="538"/>
                  </a:lnTo>
                  <a:lnTo>
                    <a:pt x="345" y="539"/>
                  </a:lnTo>
                  <a:lnTo>
                    <a:pt x="344" y="540"/>
                  </a:lnTo>
                  <a:lnTo>
                    <a:pt x="343" y="542"/>
                  </a:lnTo>
                  <a:lnTo>
                    <a:pt x="342" y="546"/>
                  </a:lnTo>
                  <a:lnTo>
                    <a:pt x="341" y="547"/>
                  </a:lnTo>
                  <a:lnTo>
                    <a:pt x="341" y="548"/>
                  </a:lnTo>
                  <a:lnTo>
                    <a:pt x="340" y="549"/>
                  </a:lnTo>
                  <a:lnTo>
                    <a:pt x="339" y="550"/>
                  </a:lnTo>
                  <a:lnTo>
                    <a:pt x="339" y="550"/>
                  </a:lnTo>
                  <a:lnTo>
                    <a:pt x="338" y="550"/>
                  </a:lnTo>
                  <a:lnTo>
                    <a:pt x="337" y="551"/>
                  </a:lnTo>
                  <a:lnTo>
                    <a:pt x="336" y="551"/>
                  </a:lnTo>
                  <a:lnTo>
                    <a:pt x="334" y="551"/>
                  </a:lnTo>
                  <a:lnTo>
                    <a:pt x="331" y="551"/>
                  </a:lnTo>
                  <a:lnTo>
                    <a:pt x="330" y="551"/>
                  </a:lnTo>
                  <a:lnTo>
                    <a:pt x="327" y="551"/>
                  </a:lnTo>
                  <a:lnTo>
                    <a:pt x="324" y="552"/>
                  </a:lnTo>
                  <a:lnTo>
                    <a:pt x="322" y="553"/>
                  </a:lnTo>
                  <a:lnTo>
                    <a:pt x="318" y="554"/>
                  </a:lnTo>
                  <a:lnTo>
                    <a:pt x="316" y="555"/>
                  </a:lnTo>
                  <a:lnTo>
                    <a:pt x="314" y="556"/>
                  </a:lnTo>
                  <a:lnTo>
                    <a:pt x="312" y="557"/>
                  </a:lnTo>
                  <a:lnTo>
                    <a:pt x="312" y="558"/>
                  </a:lnTo>
                  <a:lnTo>
                    <a:pt x="311" y="559"/>
                  </a:lnTo>
                  <a:lnTo>
                    <a:pt x="310" y="560"/>
                  </a:lnTo>
                  <a:lnTo>
                    <a:pt x="308" y="562"/>
                  </a:lnTo>
                  <a:lnTo>
                    <a:pt x="307" y="564"/>
                  </a:lnTo>
                  <a:lnTo>
                    <a:pt x="305" y="567"/>
                  </a:lnTo>
                  <a:lnTo>
                    <a:pt x="303" y="568"/>
                  </a:lnTo>
                  <a:lnTo>
                    <a:pt x="301" y="569"/>
                  </a:lnTo>
                  <a:lnTo>
                    <a:pt x="300" y="570"/>
                  </a:lnTo>
                  <a:lnTo>
                    <a:pt x="299" y="571"/>
                  </a:lnTo>
                  <a:lnTo>
                    <a:pt x="295" y="573"/>
                  </a:lnTo>
                  <a:lnTo>
                    <a:pt x="294" y="574"/>
                  </a:lnTo>
                  <a:lnTo>
                    <a:pt x="293" y="575"/>
                  </a:lnTo>
                  <a:lnTo>
                    <a:pt x="292" y="575"/>
                  </a:lnTo>
                  <a:lnTo>
                    <a:pt x="290" y="577"/>
                  </a:lnTo>
                  <a:lnTo>
                    <a:pt x="288" y="579"/>
                  </a:lnTo>
                  <a:lnTo>
                    <a:pt x="286" y="581"/>
                  </a:lnTo>
                  <a:lnTo>
                    <a:pt x="285" y="582"/>
                  </a:lnTo>
                  <a:lnTo>
                    <a:pt x="284" y="584"/>
                  </a:lnTo>
                  <a:lnTo>
                    <a:pt x="282" y="587"/>
                  </a:lnTo>
                  <a:lnTo>
                    <a:pt x="281" y="588"/>
                  </a:lnTo>
                  <a:lnTo>
                    <a:pt x="280" y="589"/>
                  </a:lnTo>
                  <a:lnTo>
                    <a:pt x="279" y="589"/>
                  </a:lnTo>
                  <a:lnTo>
                    <a:pt x="279" y="589"/>
                  </a:lnTo>
                  <a:lnTo>
                    <a:pt x="278" y="589"/>
                  </a:lnTo>
                  <a:lnTo>
                    <a:pt x="277" y="589"/>
                  </a:lnTo>
                  <a:lnTo>
                    <a:pt x="276" y="589"/>
                  </a:lnTo>
                  <a:lnTo>
                    <a:pt x="276" y="589"/>
                  </a:lnTo>
                  <a:lnTo>
                    <a:pt x="275" y="588"/>
                  </a:lnTo>
                  <a:lnTo>
                    <a:pt x="272" y="586"/>
                  </a:lnTo>
                  <a:lnTo>
                    <a:pt x="270" y="585"/>
                  </a:lnTo>
                  <a:lnTo>
                    <a:pt x="269" y="584"/>
                  </a:lnTo>
                  <a:lnTo>
                    <a:pt x="267" y="584"/>
                  </a:lnTo>
                  <a:lnTo>
                    <a:pt x="266" y="583"/>
                  </a:lnTo>
                  <a:lnTo>
                    <a:pt x="264" y="583"/>
                  </a:lnTo>
                  <a:lnTo>
                    <a:pt x="263" y="583"/>
                  </a:lnTo>
                  <a:lnTo>
                    <a:pt x="261" y="583"/>
                  </a:lnTo>
                  <a:lnTo>
                    <a:pt x="256" y="584"/>
                  </a:lnTo>
                  <a:lnTo>
                    <a:pt x="254" y="584"/>
                  </a:lnTo>
                  <a:lnTo>
                    <a:pt x="253" y="584"/>
                  </a:lnTo>
                  <a:lnTo>
                    <a:pt x="253" y="585"/>
                  </a:lnTo>
                  <a:lnTo>
                    <a:pt x="252" y="585"/>
                  </a:lnTo>
                  <a:lnTo>
                    <a:pt x="251" y="585"/>
                  </a:lnTo>
                  <a:lnTo>
                    <a:pt x="251" y="586"/>
                  </a:lnTo>
                  <a:lnTo>
                    <a:pt x="250" y="587"/>
                  </a:lnTo>
                  <a:lnTo>
                    <a:pt x="248" y="590"/>
                  </a:lnTo>
                  <a:lnTo>
                    <a:pt x="246" y="592"/>
                  </a:lnTo>
                  <a:lnTo>
                    <a:pt x="245" y="593"/>
                  </a:lnTo>
                  <a:lnTo>
                    <a:pt x="244" y="594"/>
                  </a:lnTo>
                  <a:lnTo>
                    <a:pt x="243" y="595"/>
                  </a:lnTo>
                  <a:lnTo>
                    <a:pt x="243" y="596"/>
                  </a:lnTo>
                  <a:lnTo>
                    <a:pt x="242" y="596"/>
                  </a:lnTo>
                  <a:lnTo>
                    <a:pt x="241" y="597"/>
                  </a:lnTo>
                  <a:lnTo>
                    <a:pt x="240" y="597"/>
                  </a:lnTo>
                  <a:lnTo>
                    <a:pt x="240" y="597"/>
                  </a:lnTo>
                  <a:lnTo>
                    <a:pt x="238" y="597"/>
                  </a:lnTo>
                  <a:lnTo>
                    <a:pt x="237" y="596"/>
                  </a:lnTo>
                  <a:lnTo>
                    <a:pt x="235" y="596"/>
                  </a:lnTo>
                  <a:lnTo>
                    <a:pt x="234" y="596"/>
                  </a:lnTo>
                  <a:lnTo>
                    <a:pt x="233" y="595"/>
                  </a:lnTo>
                  <a:lnTo>
                    <a:pt x="232" y="595"/>
                  </a:lnTo>
                  <a:lnTo>
                    <a:pt x="230" y="593"/>
                  </a:lnTo>
                  <a:lnTo>
                    <a:pt x="229" y="592"/>
                  </a:lnTo>
                  <a:lnTo>
                    <a:pt x="228" y="591"/>
                  </a:lnTo>
                  <a:lnTo>
                    <a:pt x="227" y="591"/>
                  </a:lnTo>
                  <a:lnTo>
                    <a:pt x="226" y="591"/>
                  </a:lnTo>
                  <a:lnTo>
                    <a:pt x="225" y="591"/>
                  </a:lnTo>
                  <a:lnTo>
                    <a:pt x="223" y="591"/>
                  </a:lnTo>
                  <a:lnTo>
                    <a:pt x="222" y="591"/>
                  </a:lnTo>
                  <a:lnTo>
                    <a:pt x="220" y="591"/>
                  </a:lnTo>
                  <a:lnTo>
                    <a:pt x="219" y="592"/>
                  </a:lnTo>
                  <a:lnTo>
                    <a:pt x="218" y="592"/>
                  </a:lnTo>
                  <a:lnTo>
                    <a:pt x="217" y="593"/>
                  </a:lnTo>
                  <a:lnTo>
                    <a:pt x="217" y="593"/>
                  </a:lnTo>
                  <a:lnTo>
                    <a:pt x="217" y="594"/>
                  </a:lnTo>
                  <a:lnTo>
                    <a:pt x="216" y="594"/>
                  </a:lnTo>
                  <a:lnTo>
                    <a:pt x="216" y="594"/>
                  </a:lnTo>
                  <a:lnTo>
                    <a:pt x="216" y="594"/>
                  </a:lnTo>
                  <a:lnTo>
                    <a:pt x="215" y="593"/>
                  </a:lnTo>
                  <a:lnTo>
                    <a:pt x="215" y="592"/>
                  </a:lnTo>
                  <a:lnTo>
                    <a:pt x="213" y="589"/>
                  </a:lnTo>
                  <a:lnTo>
                    <a:pt x="213" y="588"/>
                  </a:lnTo>
                  <a:lnTo>
                    <a:pt x="212" y="587"/>
                  </a:lnTo>
                  <a:lnTo>
                    <a:pt x="211" y="586"/>
                  </a:lnTo>
                  <a:lnTo>
                    <a:pt x="211" y="585"/>
                  </a:lnTo>
                  <a:lnTo>
                    <a:pt x="210" y="584"/>
                  </a:lnTo>
                  <a:lnTo>
                    <a:pt x="209" y="583"/>
                  </a:lnTo>
                  <a:lnTo>
                    <a:pt x="206" y="581"/>
                  </a:lnTo>
                  <a:lnTo>
                    <a:pt x="205" y="580"/>
                  </a:lnTo>
                  <a:lnTo>
                    <a:pt x="203" y="580"/>
                  </a:lnTo>
                  <a:lnTo>
                    <a:pt x="201" y="578"/>
                  </a:lnTo>
                  <a:lnTo>
                    <a:pt x="198" y="577"/>
                  </a:lnTo>
                  <a:lnTo>
                    <a:pt x="196" y="576"/>
                  </a:lnTo>
                  <a:lnTo>
                    <a:pt x="194" y="575"/>
                  </a:lnTo>
                  <a:lnTo>
                    <a:pt x="193" y="574"/>
                  </a:lnTo>
                  <a:lnTo>
                    <a:pt x="192" y="573"/>
                  </a:lnTo>
                  <a:lnTo>
                    <a:pt x="191" y="572"/>
                  </a:lnTo>
                  <a:lnTo>
                    <a:pt x="190" y="571"/>
                  </a:lnTo>
                  <a:lnTo>
                    <a:pt x="189" y="568"/>
                  </a:lnTo>
                  <a:lnTo>
                    <a:pt x="188" y="567"/>
                  </a:lnTo>
                  <a:lnTo>
                    <a:pt x="187" y="566"/>
                  </a:lnTo>
                  <a:lnTo>
                    <a:pt x="186" y="565"/>
                  </a:lnTo>
                  <a:lnTo>
                    <a:pt x="186" y="565"/>
                  </a:lnTo>
                  <a:lnTo>
                    <a:pt x="185" y="565"/>
                  </a:lnTo>
                  <a:lnTo>
                    <a:pt x="184" y="564"/>
                  </a:lnTo>
                  <a:lnTo>
                    <a:pt x="183" y="564"/>
                  </a:lnTo>
                  <a:lnTo>
                    <a:pt x="182" y="564"/>
                  </a:lnTo>
                  <a:lnTo>
                    <a:pt x="179" y="564"/>
                  </a:lnTo>
                  <a:lnTo>
                    <a:pt x="179" y="564"/>
                  </a:lnTo>
                  <a:lnTo>
                    <a:pt x="178" y="563"/>
                  </a:lnTo>
                  <a:lnTo>
                    <a:pt x="177" y="563"/>
                  </a:lnTo>
                  <a:lnTo>
                    <a:pt x="177" y="563"/>
                  </a:lnTo>
                  <a:lnTo>
                    <a:pt x="177" y="562"/>
                  </a:lnTo>
                  <a:lnTo>
                    <a:pt x="177" y="561"/>
                  </a:lnTo>
                  <a:lnTo>
                    <a:pt x="177" y="561"/>
                  </a:lnTo>
                  <a:lnTo>
                    <a:pt x="177" y="560"/>
                  </a:lnTo>
                  <a:lnTo>
                    <a:pt x="177" y="559"/>
                  </a:lnTo>
                  <a:lnTo>
                    <a:pt x="177" y="559"/>
                  </a:lnTo>
                  <a:lnTo>
                    <a:pt x="178" y="557"/>
                  </a:lnTo>
                  <a:lnTo>
                    <a:pt x="179" y="556"/>
                  </a:lnTo>
                  <a:lnTo>
                    <a:pt x="180" y="554"/>
                  </a:lnTo>
                  <a:lnTo>
                    <a:pt x="182" y="551"/>
                  </a:lnTo>
                  <a:lnTo>
                    <a:pt x="183" y="551"/>
                  </a:lnTo>
                  <a:lnTo>
                    <a:pt x="185" y="549"/>
                  </a:lnTo>
                  <a:lnTo>
                    <a:pt x="188" y="545"/>
                  </a:lnTo>
                  <a:lnTo>
                    <a:pt x="189" y="544"/>
                  </a:lnTo>
                  <a:lnTo>
                    <a:pt x="190" y="543"/>
                  </a:lnTo>
                  <a:lnTo>
                    <a:pt x="190" y="542"/>
                  </a:lnTo>
                  <a:lnTo>
                    <a:pt x="191" y="541"/>
                  </a:lnTo>
                  <a:lnTo>
                    <a:pt x="192" y="537"/>
                  </a:lnTo>
                  <a:lnTo>
                    <a:pt x="193" y="536"/>
                  </a:lnTo>
                  <a:lnTo>
                    <a:pt x="193" y="535"/>
                  </a:lnTo>
                  <a:lnTo>
                    <a:pt x="195" y="531"/>
                  </a:lnTo>
                  <a:lnTo>
                    <a:pt x="196" y="530"/>
                  </a:lnTo>
                  <a:lnTo>
                    <a:pt x="197" y="529"/>
                  </a:lnTo>
                  <a:lnTo>
                    <a:pt x="197" y="528"/>
                  </a:lnTo>
                  <a:lnTo>
                    <a:pt x="197" y="527"/>
                  </a:lnTo>
                  <a:lnTo>
                    <a:pt x="198" y="524"/>
                  </a:lnTo>
                  <a:lnTo>
                    <a:pt x="198" y="523"/>
                  </a:lnTo>
                  <a:lnTo>
                    <a:pt x="199" y="521"/>
                  </a:lnTo>
                  <a:lnTo>
                    <a:pt x="200" y="520"/>
                  </a:lnTo>
                  <a:lnTo>
                    <a:pt x="201" y="518"/>
                  </a:lnTo>
                  <a:lnTo>
                    <a:pt x="202" y="515"/>
                  </a:lnTo>
                  <a:lnTo>
                    <a:pt x="203" y="514"/>
                  </a:lnTo>
                  <a:lnTo>
                    <a:pt x="204" y="514"/>
                  </a:lnTo>
                  <a:lnTo>
                    <a:pt x="204" y="513"/>
                  </a:lnTo>
                  <a:lnTo>
                    <a:pt x="205" y="513"/>
                  </a:lnTo>
                  <a:lnTo>
                    <a:pt x="206" y="513"/>
                  </a:lnTo>
                  <a:lnTo>
                    <a:pt x="207" y="512"/>
                  </a:lnTo>
                  <a:lnTo>
                    <a:pt x="210" y="512"/>
                  </a:lnTo>
                  <a:lnTo>
                    <a:pt x="213" y="511"/>
                  </a:lnTo>
                  <a:lnTo>
                    <a:pt x="214" y="510"/>
                  </a:lnTo>
                  <a:lnTo>
                    <a:pt x="216" y="510"/>
                  </a:lnTo>
                  <a:lnTo>
                    <a:pt x="216" y="509"/>
                  </a:lnTo>
                  <a:lnTo>
                    <a:pt x="217" y="509"/>
                  </a:lnTo>
                  <a:lnTo>
                    <a:pt x="218" y="508"/>
                  </a:lnTo>
                  <a:lnTo>
                    <a:pt x="218" y="508"/>
                  </a:lnTo>
                  <a:lnTo>
                    <a:pt x="219" y="506"/>
                  </a:lnTo>
                  <a:lnTo>
                    <a:pt x="219" y="504"/>
                  </a:lnTo>
                  <a:lnTo>
                    <a:pt x="220" y="503"/>
                  </a:lnTo>
                  <a:lnTo>
                    <a:pt x="220" y="502"/>
                  </a:lnTo>
                  <a:lnTo>
                    <a:pt x="220" y="501"/>
                  </a:lnTo>
                  <a:lnTo>
                    <a:pt x="219" y="500"/>
                  </a:lnTo>
                  <a:lnTo>
                    <a:pt x="219" y="499"/>
                  </a:lnTo>
                  <a:lnTo>
                    <a:pt x="218" y="498"/>
                  </a:lnTo>
                  <a:lnTo>
                    <a:pt x="215" y="494"/>
                  </a:lnTo>
                  <a:lnTo>
                    <a:pt x="214" y="493"/>
                  </a:lnTo>
                  <a:lnTo>
                    <a:pt x="214" y="492"/>
                  </a:lnTo>
                  <a:lnTo>
                    <a:pt x="212" y="492"/>
                  </a:lnTo>
                  <a:lnTo>
                    <a:pt x="210" y="490"/>
                  </a:lnTo>
                  <a:lnTo>
                    <a:pt x="208" y="489"/>
                  </a:lnTo>
                  <a:lnTo>
                    <a:pt x="207" y="488"/>
                  </a:lnTo>
                  <a:lnTo>
                    <a:pt x="206" y="487"/>
                  </a:lnTo>
                  <a:lnTo>
                    <a:pt x="206" y="486"/>
                  </a:lnTo>
                  <a:lnTo>
                    <a:pt x="205" y="486"/>
                  </a:lnTo>
                  <a:lnTo>
                    <a:pt x="205" y="485"/>
                  </a:lnTo>
                  <a:lnTo>
                    <a:pt x="205" y="484"/>
                  </a:lnTo>
                  <a:lnTo>
                    <a:pt x="205" y="483"/>
                  </a:lnTo>
                  <a:lnTo>
                    <a:pt x="205" y="482"/>
                  </a:lnTo>
                  <a:lnTo>
                    <a:pt x="206" y="481"/>
                  </a:lnTo>
                  <a:lnTo>
                    <a:pt x="206" y="481"/>
                  </a:lnTo>
                  <a:lnTo>
                    <a:pt x="206" y="480"/>
                  </a:lnTo>
                  <a:lnTo>
                    <a:pt x="205" y="479"/>
                  </a:lnTo>
                  <a:lnTo>
                    <a:pt x="205" y="478"/>
                  </a:lnTo>
                  <a:lnTo>
                    <a:pt x="205" y="477"/>
                  </a:lnTo>
                  <a:lnTo>
                    <a:pt x="204" y="477"/>
                  </a:lnTo>
                  <a:lnTo>
                    <a:pt x="203" y="476"/>
                  </a:lnTo>
                  <a:lnTo>
                    <a:pt x="202" y="475"/>
                  </a:lnTo>
                  <a:lnTo>
                    <a:pt x="201" y="475"/>
                  </a:lnTo>
                  <a:lnTo>
                    <a:pt x="200" y="474"/>
                  </a:lnTo>
                  <a:lnTo>
                    <a:pt x="199" y="474"/>
                  </a:lnTo>
                  <a:lnTo>
                    <a:pt x="198" y="474"/>
                  </a:lnTo>
                  <a:lnTo>
                    <a:pt x="198" y="474"/>
                  </a:lnTo>
                  <a:lnTo>
                    <a:pt x="197" y="474"/>
                  </a:lnTo>
                  <a:lnTo>
                    <a:pt x="196" y="474"/>
                  </a:lnTo>
                  <a:lnTo>
                    <a:pt x="195" y="474"/>
                  </a:lnTo>
                  <a:lnTo>
                    <a:pt x="195" y="474"/>
                  </a:lnTo>
                  <a:lnTo>
                    <a:pt x="193" y="475"/>
                  </a:lnTo>
                  <a:lnTo>
                    <a:pt x="191" y="476"/>
                  </a:lnTo>
                  <a:lnTo>
                    <a:pt x="191" y="476"/>
                  </a:lnTo>
                  <a:lnTo>
                    <a:pt x="187" y="476"/>
                  </a:lnTo>
                  <a:lnTo>
                    <a:pt x="185" y="477"/>
                  </a:lnTo>
                  <a:lnTo>
                    <a:pt x="183" y="477"/>
                  </a:lnTo>
                  <a:lnTo>
                    <a:pt x="180" y="479"/>
                  </a:lnTo>
                  <a:lnTo>
                    <a:pt x="178" y="479"/>
                  </a:lnTo>
                  <a:lnTo>
                    <a:pt x="177" y="480"/>
                  </a:lnTo>
                  <a:lnTo>
                    <a:pt x="175" y="480"/>
                  </a:lnTo>
                  <a:lnTo>
                    <a:pt x="173" y="480"/>
                  </a:lnTo>
                  <a:lnTo>
                    <a:pt x="169" y="480"/>
                  </a:lnTo>
                  <a:lnTo>
                    <a:pt x="166" y="480"/>
                  </a:lnTo>
                  <a:lnTo>
                    <a:pt x="164" y="480"/>
                  </a:lnTo>
                  <a:lnTo>
                    <a:pt x="162" y="480"/>
                  </a:lnTo>
                  <a:lnTo>
                    <a:pt x="161" y="479"/>
                  </a:lnTo>
                  <a:lnTo>
                    <a:pt x="156" y="478"/>
                  </a:lnTo>
                  <a:lnTo>
                    <a:pt x="155" y="478"/>
                  </a:lnTo>
                  <a:lnTo>
                    <a:pt x="154" y="478"/>
                  </a:lnTo>
                  <a:lnTo>
                    <a:pt x="153" y="477"/>
                  </a:lnTo>
                  <a:lnTo>
                    <a:pt x="152" y="477"/>
                  </a:lnTo>
                  <a:lnTo>
                    <a:pt x="150" y="478"/>
                  </a:lnTo>
                  <a:lnTo>
                    <a:pt x="149" y="478"/>
                  </a:lnTo>
                  <a:lnTo>
                    <a:pt x="147" y="479"/>
                  </a:lnTo>
                  <a:lnTo>
                    <a:pt x="146" y="479"/>
                  </a:lnTo>
                  <a:lnTo>
                    <a:pt x="146" y="479"/>
                  </a:lnTo>
                  <a:lnTo>
                    <a:pt x="145" y="479"/>
                  </a:lnTo>
                  <a:lnTo>
                    <a:pt x="145" y="479"/>
                  </a:lnTo>
                  <a:lnTo>
                    <a:pt x="144" y="479"/>
                  </a:lnTo>
                  <a:lnTo>
                    <a:pt x="143" y="479"/>
                  </a:lnTo>
                  <a:lnTo>
                    <a:pt x="140" y="477"/>
                  </a:lnTo>
                  <a:lnTo>
                    <a:pt x="133" y="473"/>
                  </a:lnTo>
                  <a:lnTo>
                    <a:pt x="131" y="471"/>
                  </a:lnTo>
                  <a:lnTo>
                    <a:pt x="129" y="470"/>
                  </a:lnTo>
                  <a:lnTo>
                    <a:pt x="128" y="469"/>
                  </a:lnTo>
                  <a:lnTo>
                    <a:pt x="124" y="465"/>
                  </a:lnTo>
                  <a:lnTo>
                    <a:pt x="120" y="463"/>
                  </a:lnTo>
                  <a:lnTo>
                    <a:pt x="119" y="461"/>
                  </a:lnTo>
                  <a:lnTo>
                    <a:pt x="116" y="459"/>
                  </a:lnTo>
                  <a:lnTo>
                    <a:pt x="115" y="458"/>
                  </a:lnTo>
                  <a:lnTo>
                    <a:pt x="114" y="457"/>
                  </a:lnTo>
                  <a:lnTo>
                    <a:pt x="114" y="456"/>
                  </a:lnTo>
                  <a:lnTo>
                    <a:pt x="113" y="454"/>
                  </a:lnTo>
                  <a:lnTo>
                    <a:pt x="112" y="452"/>
                  </a:lnTo>
                  <a:lnTo>
                    <a:pt x="111" y="450"/>
                  </a:lnTo>
                  <a:lnTo>
                    <a:pt x="111" y="449"/>
                  </a:lnTo>
                  <a:lnTo>
                    <a:pt x="111" y="447"/>
                  </a:lnTo>
                  <a:lnTo>
                    <a:pt x="111" y="445"/>
                  </a:lnTo>
                  <a:lnTo>
                    <a:pt x="111" y="442"/>
                  </a:lnTo>
                  <a:lnTo>
                    <a:pt x="112" y="438"/>
                  </a:lnTo>
                  <a:lnTo>
                    <a:pt x="112" y="435"/>
                  </a:lnTo>
                  <a:lnTo>
                    <a:pt x="112" y="434"/>
                  </a:lnTo>
                  <a:lnTo>
                    <a:pt x="112" y="433"/>
                  </a:lnTo>
                  <a:lnTo>
                    <a:pt x="112" y="431"/>
                  </a:lnTo>
                  <a:lnTo>
                    <a:pt x="112" y="430"/>
                  </a:lnTo>
                  <a:lnTo>
                    <a:pt x="111" y="428"/>
                  </a:lnTo>
                  <a:lnTo>
                    <a:pt x="111" y="425"/>
                  </a:lnTo>
                  <a:lnTo>
                    <a:pt x="110" y="424"/>
                  </a:lnTo>
                  <a:lnTo>
                    <a:pt x="110" y="423"/>
                  </a:lnTo>
                  <a:lnTo>
                    <a:pt x="109" y="422"/>
                  </a:lnTo>
                  <a:lnTo>
                    <a:pt x="108" y="421"/>
                  </a:lnTo>
                  <a:lnTo>
                    <a:pt x="108" y="420"/>
                  </a:lnTo>
                  <a:lnTo>
                    <a:pt x="107" y="419"/>
                  </a:lnTo>
                  <a:lnTo>
                    <a:pt x="106" y="419"/>
                  </a:lnTo>
                  <a:lnTo>
                    <a:pt x="105" y="419"/>
                  </a:lnTo>
                  <a:lnTo>
                    <a:pt x="104" y="418"/>
                  </a:lnTo>
                  <a:lnTo>
                    <a:pt x="103" y="418"/>
                  </a:lnTo>
                  <a:lnTo>
                    <a:pt x="101" y="418"/>
                  </a:lnTo>
                  <a:lnTo>
                    <a:pt x="99" y="418"/>
                  </a:lnTo>
                  <a:lnTo>
                    <a:pt x="98" y="418"/>
                  </a:lnTo>
                  <a:lnTo>
                    <a:pt x="94" y="419"/>
                  </a:lnTo>
                  <a:lnTo>
                    <a:pt x="90" y="419"/>
                  </a:lnTo>
                  <a:lnTo>
                    <a:pt x="89" y="419"/>
                  </a:lnTo>
                  <a:lnTo>
                    <a:pt x="87" y="420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76" y="422"/>
                  </a:lnTo>
                  <a:lnTo>
                    <a:pt x="75" y="422"/>
                  </a:lnTo>
                  <a:lnTo>
                    <a:pt x="75" y="422"/>
                  </a:lnTo>
                  <a:lnTo>
                    <a:pt x="74" y="421"/>
                  </a:lnTo>
                  <a:lnTo>
                    <a:pt x="73" y="421"/>
                  </a:lnTo>
                  <a:lnTo>
                    <a:pt x="72" y="420"/>
                  </a:lnTo>
                  <a:lnTo>
                    <a:pt x="71" y="418"/>
                  </a:lnTo>
                  <a:lnTo>
                    <a:pt x="70" y="418"/>
                  </a:lnTo>
                  <a:lnTo>
                    <a:pt x="69" y="417"/>
                  </a:lnTo>
                  <a:lnTo>
                    <a:pt x="67" y="416"/>
                  </a:lnTo>
                  <a:lnTo>
                    <a:pt x="65" y="415"/>
                  </a:lnTo>
                  <a:lnTo>
                    <a:pt x="62" y="414"/>
                  </a:lnTo>
                  <a:lnTo>
                    <a:pt x="57" y="412"/>
                  </a:lnTo>
                  <a:lnTo>
                    <a:pt x="50" y="411"/>
                  </a:lnTo>
                  <a:lnTo>
                    <a:pt x="49" y="410"/>
                  </a:lnTo>
                  <a:lnTo>
                    <a:pt x="48" y="410"/>
                  </a:lnTo>
                  <a:lnTo>
                    <a:pt x="47" y="410"/>
                  </a:lnTo>
                  <a:lnTo>
                    <a:pt x="46" y="410"/>
                  </a:lnTo>
                  <a:lnTo>
                    <a:pt x="46" y="410"/>
                  </a:lnTo>
                  <a:lnTo>
                    <a:pt x="45" y="411"/>
                  </a:lnTo>
                  <a:lnTo>
                    <a:pt x="43" y="411"/>
                  </a:lnTo>
                  <a:lnTo>
                    <a:pt x="39" y="413"/>
                  </a:lnTo>
                  <a:lnTo>
                    <a:pt x="38" y="414"/>
                  </a:lnTo>
                  <a:lnTo>
                    <a:pt x="36" y="415"/>
                  </a:lnTo>
                  <a:lnTo>
                    <a:pt x="35" y="415"/>
                  </a:lnTo>
                  <a:lnTo>
                    <a:pt x="33" y="415"/>
                  </a:lnTo>
                  <a:lnTo>
                    <a:pt x="32" y="415"/>
                  </a:lnTo>
                  <a:lnTo>
                    <a:pt x="30" y="415"/>
                  </a:lnTo>
                  <a:lnTo>
                    <a:pt x="28" y="414"/>
                  </a:lnTo>
                  <a:lnTo>
                    <a:pt x="27" y="414"/>
                  </a:lnTo>
                  <a:lnTo>
                    <a:pt x="27" y="413"/>
                  </a:lnTo>
                  <a:lnTo>
                    <a:pt x="26" y="413"/>
                  </a:lnTo>
                  <a:lnTo>
                    <a:pt x="25" y="412"/>
                  </a:lnTo>
                  <a:lnTo>
                    <a:pt x="24" y="411"/>
                  </a:lnTo>
                  <a:lnTo>
                    <a:pt x="23" y="411"/>
                  </a:lnTo>
                  <a:lnTo>
                    <a:pt x="20" y="407"/>
                  </a:lnTo>
                  <a:lnTo>
                    <a:pt x="19" y="405"/>
                  </a:lnTo>
                  <a:lnTo>
                    <a:pt x="17" y="404"/>
                  </a:lnTo>
                  <a:lnTo>
                    <a:pt x="16" y="403"/>
                  </a:lnTo>
                  <a:lnTo>
                    <a:pt x="15" y="402"/>
                  </a:lnTo>
                  <a:lnTo>
                    <a:pt x="14" y="402"/>
                  </a:lnTo>
                  <a:lnTo>
                    <a:pt x="14" y="402"/>
                  </a:lnTo>
                  <a:lnTo>
                    <a:pt x="13" y="401"/>
                  </a:lnTo>
                  <a:lnTo>
                    <a:pt x="12" y="401"/>
                  </a:lnTo>
                  <a:lnTo>
                    <a:pt x="10" y="401"/>
                  </a:lnTo>
                  <a:lnTo>
                    <a:pt x="6" y="400"/>
                  </a:lnTo>
                  <a:lnTo>
                    <a:pt x="5" y="400"/>
                  </a:lnTo>
                  <a:lnTo>
                    <a:pt x="4" y="400"/>
                  </a:lnTo>
                  <a:lnTo>
                    <a:pt x="3" y="399"/>
                  </a:lnTo>
                  <a:lnTo>
                    <a:pt x="2" y="399"/>
                  </a:lnTo>
                  <a:lnTo>
                    <a:pt x="1" y="39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1" y="397"/>
                  </a:lnTo>
                  <a:lnTo>
                    <a:pt x="2" y="396"/>
                  </a:lnTo>
                  <a:lnTo>
                    <a:pt x="3" y="395"/>
                  </a:lnTo>
                  <a:lnTo>
                    <a:pt x="4" y="395"/>
                  </a:lnTo>
                  <a:lnTo>
                    <a:pt x="4" y="394"/>
                  </a:lnTo>
                  <a:lnTo>
                    <a:pt x="5" y="393"/>
                  </a:lnTo>
                  <a:lnTo>
                    <a:pt x="5" y="393"/>
                  </a:lnTo>
                  <a:lnTo>
                    <a:pt x="5" y="392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7" name="Freeform 250">
              <a:extLst>
                <a:ext uri="{FF2B5EF4-FFF2-40B4-BE49-F238E27FC236}">
                  <a16:creationId xmlns:a16="http://schemas.microsoft.com/office/drawing/2014/main" id="{C96DA29C-D95A-43C3-8685-AE99B69F1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91771" y="2775486"/>
              <a:ext cx="791799" cy="669513"/>
            </a:xfrm>
            <a:custGeom>
              <a:avLst/>
              <a:gdLst>
                <a:gd name="T0" fmla="*/ 329 w 777"/>
                <a:gd name="T1" fmla="*/ 1 h 657"/>
                <a:gd name="T2" fmla="*/ 362 w 777"/>
                <a:gd name="T3" fmla="*/ 6 h 657"/>
                <a:gd name="T4" fmla="*/ 400 w 777"/>
                <a:gd name="T5" fmla="*/ 20 h 657"/>
                <a:gd name="T6" fmla="*/ 380 w 777"/>
                <a:gd name="T7" fmla="*/ 30 h 657"/>
                <a:gd name="T8" fmla="*/ 377 w 777"/>
                <a:gd name="T9" fmla="*/ 51 h 657"/>
                <a:gd name="T10" fmla="*/ 409 w 777"/>
                <a:gd name="T11" fmla="*/ 62 h 657"/>
                <a:gd name="T12" fmla="*/ 396 w 777"/>
                <a:gd name="T13" fmla="*/ 86 h 657"/>
                <a:gd name="T14" fmla="*/ 410 w 777"/>
                <a:gd name="T15" fmla="*/ 124 h 657"/>
                <a:gd name="T16" fmla="*/ 403 w 777"/>
                <a:gd name="T17" fmla="*/ 140 h 657"/>
                <a:gd name="T18" fmla="*/ 432 w 777"/>
                <a:gd name="T19" fmla="*/ 153 h 657"/>
                <a:gd name="T20" fmla="*/ 448 w 777"/>
                <a:gd name="T21" fmla="*/ 125 h 657"/>
                <a:gd name="T22" fmla="*/ 431 w 777"/>
                <a:gd name="T23" fmla="*/ 99 h 657"/>
                <a:gd name="T24" fmla="*/ 448 w 777"/>
                <a:gd name="T25" fmla="*/ 84 h 657"/>
                <a:gd name="T26" fmla="*/ 473 w 777"/>
                <a:gd name="T27" fmla="*/ 103 h 657"/>
                <a:gd name="T28" fmla="*/ 487 w 777"/>
                <a:gd name="T29" fmla="*/ 132 h 657"/>
                <a:gd name="T30" fmla="*/ 503 w 777"/>
                <a:gd name="T31" fmla="*/ 151 h 657"/>
                <a:gd name="T32" fmla="*/ 511 w 777"/>
                <a:gd name="T33" fmla="*/ 151 h 657"/>
                <a:gd name="T34" fmla="*/ 515 w 777"/>
                <a:gd name="T35" fmla="*/ 178 h 657"/>
                <a:gd name="T36" fmla="*/ 549 w 777"/>
                <a:gd name="T37" fmla="*/ 200 h 657"/>
                <a:gd name="T38" fmla="*/ 551 w 777"/>
                <a:gd name="T39" fmla="*/ 254 h 657"/>
                <a:gd name="T40" fmla="*/ 559 w 777"/>
                <a:gd name="T41" fmla="*/ 289 h 657"/>
                <a:gd name="T42" fmla="*/ 576 w 777"/>
                <a:gd name="T43" fmla="*/ 294 h 657"/>
                <a:gd name="T44" fmla="*/ 561 w 777"/>
                <a:gd name="T45" fmla="*/ 320 h 657"/>
                <a:gd name="T46" fmla="*/ 543 w 777"/>
                <a:gd name="T47" fmla="*/ 345 h 657"/>
                <a:gd name="T48" fmla="*/ 557 w 777"/>
                <a:gd name="T49" fmla="*/ 355 h 657"/>
                <a:gd name="T50" fmla="*/ 590 w 777"/>
                <a:gd name="T51" fmla="*/ 358 h 657"/>
                <a:gd name="T52" fmla="*/ 599 w 777"/>
                <a:gd name="T53" fmla="*/ 382 h 657"/>
                <a:gd name="T54" fmla="*/ 637 w 777"/>
                <a:gd name="T55" fmla="*/ 396 h 657"/>
                <a:gd name="T56" fmla="*/ 650 w 777"/>
                <a:gd name="T57" fmla="*/ 416 h 657"/>
                <a:gd name="T58" fmla="*/ 681 w 777"/>
                <a:gd name="T59" fmla="*/ 431 h 657"/>
                <a:gd name="T60" fmla="*/ 716 w 777"/>
                <a:gd name="T61" fmla="*/ 430 h 657"/>
                <a:gd name="T62" fmla="*/ 731 w 777"/>
                <a:gd name="T63" fmla="*/ 448 h 657"/>
                <a:gd name="T64" fmla="*/ 762 w 777"/>
                <a:gd name="T65" fmla="*/ 470 h 657"/>
                <a:gd name="T66" fmla="*/ 766 w 777"/>
                <a:gd name="T67" fmla="*/ 501 h 657"/>
                <a:gd name="T68" fmla="*/ 733 w 777"/>
                <a:gd name="T69" fmla="*/ 520 h 657"/>
                <a:gd name="T70" fmla="*/ 709 w 777"/>
                <a:gd name="T71" fmla="*/ 512 h 657"/>
                <a:gd name="T72" fmla="*/ 680 w 777"/>
                <a:gd name="T73" fmla="*/ 515 h 657"/>
                <a:gd name="T74" fmla="*/ 648 w 777"/>
                <a:gd name="T75" fmla="*/ 519 h 657"/>
                <a:gd name="T76" fmla="*/ 601 w 777"/>
                <a:gd name="T77" fmla="*/ 492 h 657"/>
                <a:gd name="T78" fmla="*/ 570 w 777"/>
                <a:gd name="T79" fmla="*/ 499 h 657"/>
                <a:gd name="T80" fmla="*/ 539 w 777"/>
                <a:gd name="T81" fmla="*/ 538 h 657"/>
                <a:gd name="T82" fmla="*/ 499 w 777"/>
                <a:gd name="T83" fmla="*/ 602 h 657"/>
                <a:gd name="T84" fmla="*/ 483 w 777"/>
                <a:gd name="T85" fmla="*/ 649 h 657"/>
                <a:gd name="T86" fmla="*/ 469 w 777"/>
                <a:gd name="T87" fmla="*/ 654 h 657"/>
                <a:gd name="T88" fmla="*/ 461 w 777"/>
                <a:gd name="T89" fmla="*/ 605 h 657"/>
                <a:gd name="T90" fmla="*/ 442 w 777"/>
                <a:gd name="T91" fmla="*/ 596 h 657"/>
                <a:gd name="T92" fmla="*/ 393 w 777"/>
                <a:gd name="T93" fmla="*/ 593 h 657"/>
                <a:gd name="T94" fmla="*/ 365 w 777"/>
                <a:gd name="T95" fmla="*/ 585 h 657"/>
                <a:gd name="T96" fmla="*/ 357 w 777"/>
                <a:gd name="T97" fmla="*/ 564 h 657"/>
                <a:gd name="T98" fmla="*/ 328 w 777"/>
                <a:gd name="T99" fmla="*/ 554 h 657"/>
                <a:gd name="T100" fmla="*/ 292 w 777"/>
                <a:gd name="T101" fmla="*/ 541 h 657"/>
                <a:gd name="T102" fmla="*/ 260 w 777"/>
                <a:gd name="T103" fmla="*/ 548 h 657"/>
                <a:gd name="T104" fmla="*/ 230 w 777"/>
                <a:gd name="T105" fmla="*/ 590 h 657"/>
                <a:gd name="T106" fmla="*/ 212 w 777"/>
                <a:gd name="T107" fmla="*/ 586 h 657"/>
                <a:gd name="T108" fmla="*/ 176 w 777"/>
                <a:gd name="T109" fmla="*/ 586 h 657"/>
                <a:gd name="T110" fmla="*/ 104 w 777"/>
                <a:gd name="T111" fmla="*/ 581 h 657"/>
                <a:gd name="T112" fmla="*/ 51 w 777"/>
                <a:gd name="T113" fmla="*/ 550 h 657"/>
                <a:gd name="T114" fmla="*/ 39 w 777"/>
                <a:gd name="T115" fmla="*/ 533 h 657"/>
                <a:gd name="T116" fmla="*/ 21 w 777"/>
                <a:gd name="T117" fmla="*/ 523 h 657"/>
                <a:gd name="T118" fmla="*/ 3 w 777"/>
                <a:gd name="T119" fmla="*/ 51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77" h="657">
                  <a:moveTo>
                    <a:pt x="296" y="0"/>
                  </a:moveTo>
                  <a:lnTo>
                    <a:pt x="297" y="0"/>
                  </a:lnTo>
                  <a:lnTo>
                    <a:pt x="297" y="0"/>
                  </a:lnTo>
                  <a:lnTo>
                    <a:pt x="299" y="1"/>
                  </a:lnTo>
                  <a:lnTo>
                    <a:pt x="303" y="2"/>
                  </a:lnTo>
                  <a:lnTo>
                    <a:pt x="305" y="2"/>
                  </a:lnTo>
                  <a:lnTo>
                    <a:pt x="308" y="3"/>
                  </a:lnTo>
                  <a:lnTo>
                    <a:pt x="312" y="3"/>
                  </a:lnTo>
                  <a:lnTo>
                    <a:pt x="314" y="3"/>
                  </a:lnTo>
                  <a:lnTo>
                    <a:pt x="316" y="3"/>
                  </a:lnTo>
                  <a:lnTo>
                    <a:pt x="318" y="2"/>
                  </a:lnTo>
                  <a:lnTo>
                    <a:pt x="322" y="1"/>
                  </a:lnTo>
                  <a:lnTo>
                    <a:pt x="323" y="1"/>
                  </a:lnTo>
                  <a:lnTo>
                    <a:pt x="324" y="1"/>
                  </a:lnTo>
                  <a:lnTo>
                    <a:pt x="325" y="1"/>
                  </a:lnTo>
                  <a:lnTo>
                    <a:pt x="327" y="1"/>
                  </a:lnTo>
                  <a:lnTo>
                    <a:pt x="329" y="1"/>
                  </a:lnTo>
                  <a:lnTo>
                    <a:pt x="332" y="3"/>
                  </a:lnTo>
                  <a:lnTo>
                    <a:pt x="333" y="3"/>
                  </a:lnTo>
                  <a:lnTo>
                    <a:pt x="334" y="3"/>
                  </a:lnTo>
                  <a:lnTo>
                    <a:pt x="335" y="3"/>
                  </a:lnTo>
                  <a:lnTo>
                    <a:pt x="336" y="3"/>
                  </a:lnTo>
                  <a:lnTo>
                    <a:pt x="340" y="2"/>
                  </a:lnTo>
                  <a:lnTo>
                    <a:pt x="342" y="2"/>
                  </a:lnTo>
                  <a:lnTo>
                    <a:pt x="343" y="2"/>
                  </a:lnTo>
                  <a:lnTo>
                    <a:pt x="345" y="2"/>
                  </a:lnTo>
                  <a:lnTo>
                    <a:pt x="348" y="2"/>
                  </a:lnTo>
                  <a:lnTo>
                    <a:pt x="352" y="3"/>
                  </a:lnTo>
                  <a:lnTo>
                    <a:pt x="353" y="3"/>
                  </a:lnTo>
                  <a:lnTo>
                    <a:pt x="355" y="3"/>
                  </a:lnTo>
                  <a:lnTo>
                    <a:pt x="357" y="4"/>
                  </a:lnTo>
                  <a:lnTo>
                    <a:pt x="359" y="4"/>
                  </a:lnTo>
                  <a:lnTo>
                    <a:pt x="361" y="5"/>
                  </a:lnTo>
                  <a:lnTo>
                    <a:pt x="362" y="6"/>
                  </a:lnTo>
                  <a:lnTo>
                    <a:pt x="366" y="8"/>
                  </a:lnTo>
                  <a:lnTo>
                    <a:pt x="376" y="12"/>
                  </a:lnTo>
                  <a:lnTo>
                    <a:pt x="378" y="13"/>
                  </a:lnTo>
                  <a:lnTo>
                    <a:pt x="380" y="14"/>
                  </a:lnTo>
                  <a:lnTo>
                    <a:pt x="383" y="15"/>
                  </a:lnTo>
                  <a:lnTo>
                    <a:pt x="385" y="16"/>
                  </a:lnTo>
                  <a:lnTo>
                    <a:pt x="388" y="17"/>
                  </a:lnTo>
                  <a:lnTo>
                    <a:pt x="390" y="18"/>
                  </a:lnTo>
                  <a:lnTo>
                    <a:pt x="392" y="18"/>
                  </a:lnTo>
                  <a:lnTo>
                    <a:pt x="394" y="18"/>
                  </a:lnTo>
                  <a:lnTo>
                    <a:pt x="396" y="19"/>
                  </a:lnTo>
                  <a:lnTo>
                    <a:pt x="398" y="19"/>
                  </a:lnTo>
                  <a:lnTo>
                    <a:pt x="400" y="18"/>
                  </a:lnTo>
                  <a:lnTo>
                    <a:pt x="400" y="18"/>
                  </a:lnTo>
                  <a:lnTo>
                    <a:pt x="401" y="18"/>
                  </a:lnTo>
                  <a:lnTo>
                    <a:pt x="400" y="19"/>
                  </a:lnTo>
                  <a:lnTo>
                    <a:pt x="400" y="20"/>
                  </a:lnTo>
                  <a:lnTo>
                    <a:pt x="399" y="21"/>
                  </a:lnTo>
                  <a:lnTo>
                    <a:pt x="399" y="22"/>
                  </a:lnTo>
                  <a:lnTo>
                    <a:pt x="398" y="24"/>
                  </a:lnTo>
                  <a:lnTo>
                    <a:pt x="397" y="28"/>
                  </a:lnTo>
                  <a:lnTo>
                    <a:pt x="397" y="29"/>
                  </a:lnTo>
                  <a:lnTo>
                    <a:pt x="397" y="29"/>
                  </a:lnTo>
                  <a:lnTo>
                    <a:pt x="396" y="30"/>
                  </a:lnTo>
                  <a:lnTo>
                    <a:pt x="396" y="31"/>
                  </a:lnTo>
                  <a:lnTo>
                    <a:pt x="395" y="31"/>
                  </a:lnTo>
                  <a:lnTo>
                    <a:pt x="395" y="32"/>
                  </a:lnTo>
                  <a:lnTo>
                    <a:pt x="394" y="32"/>
                  </a:lnTo>
                  <a:lnTo>
                    <a:pt x="393" y="32"/>
                  </a:lnTo>
                  <a:lnTo>
                    <a:pt x="392" y="32"/>
                  </a:lnTo>
                  <a:lnTo>
                    <a:pt x="391" y="32"/>
                  </a:lnTo>
                  <a:lnTo>
                    <a:pt x="390" y="32"/>
                  </a:lnTo>
                  <a:lnTo>
                    <a:pt x="384" y="31"/>
                  </a:lnTo>
                  <a:lnTo>
                    <a:pt x="380" y="30"/>
                  </a:lnTo>
                  <a:lnTo>
                    <a:pt x="379" y="30"/>
                  </a:lnTo>
                  <a:lnTo>
                    <a:pt x="378" y="30"/>
                  </a:lnTo>
                  <a:lnTo>
                    <a:pt x="378" y="31"/>
                  </a:lnTo>
                  <a:lnTo>
                    <a:pt x="377" y="31"/>
                  </a:lnTo>
                  <a:lnTo>
                    <a:pt x="377" y="32"/>
                  </a:lnTo>
                  <a:lnTo>
                    <a:pt x="377" y="33"/>
                  </a:lnTo>
                  <a:lnTo>
                    <a:pt x="376" y="34"/>
                  </a:lnTo>
                  <a:lnTo>
                    <a:pt x="376" y="36"/>
                  </a:lnTo>
                  <a:lnTo>
                    <a:pt x="376" y="37"/>
                  </a:lnTo>
                  <a:lnTo>
                    <a:pt x="376" y="38"/>
                  </a:lnTo>
                  <a:lnTo>
                    <a:pt x="376" y="42"/>
                  </a:lnTo>
                  <a:lnTo>
                    <a:pt x="376" y="43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6" y="51"/>
                  </a:lnTo>
                  <a:lnTo>
                    <a:pt x="377" y="51"/>
                  </a:lnTo>
                  <a:lnTo>
                    <a:pt x="377" y="52"/>
                  </a:lnTo>
                  <a:lnTo>
                    <a:pt x="377" y="53"/>
                  </a:lnTo>
                  <a:lnTo>
                    <a:pt x="378" y="53"/>
                  </a:lnTo>
                  <a:lnTo>
                    <a:pt x="378" y="54"/>
                  </a:lnTo>
                  <a:lnTo>
                    <a:pt x="379" y="54"/>
                  </a:lnTo>
                  <a:lnTo>
                    <a:pt x="380" y="54"/>
                  </a:lnTo>
                  <a:lnTo>
                    <a:pt x="384" y="56"/>
                  </a:lnTo>
                  <a:lnTo>
                    <a:pt x="388" y="57"/>
                  </a:lnTo>
                  <a:lnTo>
                    <a:pt x="394" y="58"/>
                  </a:lnTo>
                  <a:lnTo>
                    <a:pt x="397" y="59"/>
                  </a:lnTo>
                  <a:lnTo>
                    <a:pt x="399" y="60"/>
                  </a:lnTo>
                  <a:lnTo>
                    <a:pt x="401" y="60"/>
                  </a:lnTo>
                  <a:lnTo>
                    <a:pt x="404" y="60"/>
                  </a:lnTo>
                  <a:lnTo>
                    <a:pt x="407" y="61"/>
                  </a:lnTo>
                  <a:lnTo>
                    <a:pt x="408" y="61"/>
                  </a:lnTo>
                  <a:lnTo>
                    <a:pt x="408" y="61"/>
                  </a:lnTo>
                  <a:lnTo>
                    <a:pt x="409" y="62"/>
                  </a:lnTo>
                  <a:lnTo>
                    <a:pt x="409" y="62"/>
                  </a:lnTo>
                  <a:lnTo>
                    <a:pt x="409" y="62"/>
                  </a:lnTo>
                  <a:lnTo>
                    <a:pt x="409" y="63"/>
                  </a:lnTo>
                  <a:lnTo>
                    <a:pt x="408" y="63"/>
                  </a:lnTo>
                  <a:lnTo>
                    <a:pt x="407" y="64"/>
                  </a:lnTo>
                  <a:lnTo>
                    <a:pt x="406" y="65"/>
                  </a:lnTo>
                  <a:lnTo>
                    <a:pt x="405" y="66"/>
                  </a:lnTo>
                  <a:lnTo>
                    <a:pt x="404" y="67"/>
                  </a:lnTo>
                  <a:lnTo>
                    <a:pt x="403" y="68"/>
                  </a:lnTo>
                  <a:lnTo>
                    <a:pt x="402" y="71"/>
                  </a:lnTo>
                  <a:lnTo>
                    <a:pt x="401" y="73"/>
                  </a:lnTo>
                  <a:lnTo>
                    <a:pt x="398" y="77"/>
                  </a:lnTo>
                  <a:lnTo>
                    <a:pt x="397" y="78"/>
                  </a:lnTo>
                  <a:lnTo>
                    <a:pt x="397" y="80"/>
                  </a:lnTo>
                  <a:lnTo>
                    <a:pt x="396" y="82"/>
                  </a:lnTo>
                  <a:lnTo>
                    <a:pt x="396" y="84"/>
                  </a:lnTo>
                  <a:lnTo>
                    <a:pt x="396" y="86"/>
                  </a:lnTo>
                  <a:lnTo>
                    <a:pt x="396" y="88"/>
                  </a:lnTo>
                  <a:lnTo>
                    <a:pt x="397" y="90"/>
                  </a:lnTo>
                  <a:lnTo>
                    <a:pt x="397" y="92"/>
                  </a:lnTo>
                  <a:lnTo>
                    <a:pt x="398" y="97"/>
                  </a:lnTo>
                  <a:lnTo>
                    <a:pt x="400" y="102"/>
                  </a:lnTo>
                  <a:lnTo>
                    <a:pt x="401" y="106"/>
                  </a:lnTo>
                  <a:lnTo>
                    <a:pt x="402" y="108"/>
                  </a:lnTo>
                  <a:lnTo>
                    <a:pt x="402" y="109"/>
                  </a:lnTo>
                  <a:lnTo>
                    <a:pt x="403" y="110"/>
                  </a:lnTo>
                  <a:lnTo>
                    <a:pt x="404" y="112"/>
                  </a:lnTo>
                  <a:lnTo>
                    <a:pt x="407" y="116"/>
                  </a:lnTo>
                  <a:lnTo>
                    <a:pt x="408" y="117"/>
                  </a:lnTo>
                  <a:lnTo>
                    <a:pt x="408" y="119"/>
                  </a:lnTo>
                  <a:lnTo>
                    <a:pt x="409" y="120"/>
                  </a:lnTo>
                  <a:lnTo>
                    <a:pt x="410" y="122"/>
                  </a:lnTo>
                  <a:lnTo>
                    <a:pt x="410" y="123"/>
                  </a:lnTo>
                  <a:lnTo>
                    <a:pt x="410" y="124"/>
                  </a:lnTo>
                  <a:lnTo>
                    <a:pt x="410" y="125"/>
                  </a:lnTo>
                  <a:lnTo>
                    <a:pt x="410" y="126"/>
                  </a:lnTo>
                  <a:lnTo>
                    <a:pt x="409" y="126"/>
                  </a:lnTo>
                  <a:lnTo>
                    <a:pt x="409" y="127"/>
                  </a:lnTo>
                  <a:lnTo>
                    <a:pt x="408" y="128"/>
                  </a:lnTo>
                  <a:lnTo>
                    <a:pt x="406" y="130"/>
                  </a:lnTo>
                  <a:lnTo>
                    <a:pt x="405" y="131"/>
                  </a:lnTo>
                  <a:lnTo>
                    <a:pt x="404" y="132"/>
                  </a:lnTo>
                  <a:lnTo>
                    <a:pt x="404" y="133"/>
                  </a:lnTo>
                  <a:lnTo>
                    <a:pt x="403" y="134"/>
                  </a:lnTo>
                  <a:lnTo>
                    <a:pt x="403" y="135"/>
                  </a:lnTo>
                  <a:lnTo>
                    <a:pt x="403" y="136"/>
                  </a:lnTo>
                  <a:lnTo>
                    <a:pt x="402" y="137"/>
                  </a:lnTo>
                  <a:lnTo>
                    <a:pt x="402" y="138"/>
                  </a:lnTo>
                  <a:lnTo>
                    <a:pt x="402" y="139"/>
                  </a:lnTo>
                  <a:lnTo>
                    <a:pt x="403" y="140"/>
                  </a:lnTo>
                  <a:lnTo>
                    <a:pt x="403" y="140"/>
                  </a:lnTo>
                  <a:lnTo>
                    <a:pt x="404" y="141"/>
                  </a:lnTo>
                  <a:lnTo>
                    <a:pt x="404" y="142"/>
                  </a:lnTo>
                  <a:lnTo>
                    <a:pt x="406" y="144"/>
                  </a:lnTo>
                  <a:lnTo>
                    <a:pt x="407" y="145"/>
                  </a:lnTo>
                  <a:lnTo>
                    <a:pt x="408" y="146"/>
                  </a:lnTo>
                  <a:lnTo>
                    <a:pt x="410" y="148"/>
                  </a:lnTo>
                  <a:lnTo>
                    <a:pt x="415" y="151"/>
                  </a:lnTo>
                  <a:lnTo>
                    <a:pt x="417" y="153"/>
                  </a:lnTo>
                  <a:lnTo>
                    <a:pt x="419" y="154"/>
                  </a:lnTo>
                  <a:lnTo>
                    <a:pt x="422" y="155"/>
                  </a:lnTo>
                  <a:lnTo>
                    <a:pt x="424" y="155"/>
                  </a:lnTo>
                  <a:lnTo>
                    <a:pt x="425" y="156"/>
                  </a:lnTo>
                  <a:lnTo>
                    <a:pt x="427" y="156"/>
                  </a:lnTo>
                  <a:lnTo>
                    <a:pt x="428" y="155"/>
                  </a:lnTo>
                  <a:lnTo>
                    <a:pt x="429" y="155"/>
                  </a:lnTo>
                  <a:lnTo>
                    <a:pt x="430" y="154"/>
                  </a:lnTo>
                  <a:lnTo>
                    <a:pt x="432" y="153"/>
                  </a:lnTo>
                  <a:lnTo>
                    <a:pt x="434" y="152"/>
                  </a:lnTo>
                  <a:lnTo>
                    <a:pt x="436" y="150"/>
                  </a:lnTo>
                  <a:lnTo>
                    <a:pt x="437" y="148"/>
                  </a:lnTo>
                  <a:lnTo>
                    <a:pt x="438" y="147"/>
                  </a:lnTo>
                  <a:lnTo>
                    <a:pt x="439" y="146"/>
                  </a:lnTo>
                  <a:lnTo>
                    <a:pt x="440" y="144"/>
                  </a:lnTo>
                  <a:lnTo>
                    <a:pt x="441" y="142"/>
                  </a:lnTo>
                  <a:lnTo>
                    <a:pt x="442" y="138"/>
                  </a:lnTo>
                  <a:lnTo>
                    <a:pt x="444" y="135"/>
                  </a:lnTo>
                  <a:lnTo>
                    <a:pt x="445" y="133"/>
                  </a:lnTo>
                  <a:lnTo>
                    <a:pt x="447" y="131"/>
                  </a:lnTo>
                  <a:lnTo>
                    <a:pt x="447" y="129"/>
                  </a:lnTo>
                  <a:lnTo>
                    <a:pt x="448" y="129"/>
                  </a:lnTo>
                  <a:lnTo>
                    <a:pt x="448" y="128"/>
                  </a:lnTo>
                  <a:lnTo>
                    <a:pt x="448" y="127"/>
                  </a:lnTo>
                  <a:lnTo>
                    <a:pt x="448" y="126"/>
                  </a:lnTo>
                  <a:lnTo>
                    <a:pt x="448" y="125"/>
                  </a:lnTo>
                  <a:lnTo>
                    <a:pt x="447" y="124"/>
                  </a:lnTo>
                  <a:lnTo>
                    <a:pt x="447" y="123"/>
                  </a:lnTo>
                  <a:lnTo>
                    <a:pt x="447" y="122"/>
                  </a:lnTo>
                  <a:lnTo>
                    <a:pt x="446" y="120"/>
                  </a:lnTo>
                  <a:lnTo>
                    <a:pt x="444" y="117"/>
                  </a:lnTo>
                  <a:lnTo>
                    <a:pt x="444" y="117"/>
                  </a:lnTo>
                  <a:lnTo>
                    <a:pt x="443" y="115"/>
                  </a:lnTo>
                  <a:lnTo>
                    <a:pt x="442" y="113"/>
                  </a:lnTo>
                  <a:lnTo>
                    <a:pt x="442" y="112"/>
                  </a:lnTo>
                  <a:lnTo>
                    <a:pt x="442" y="111"/>
                  </a:lnTo>
                  <a:lnTo>
                    <a:pt x="441" y="110"/>
                  </a:lnTo>
                  <a:lnTo>
                    <a:pt x="440" y="109"/>
                  </a:lnTo>
                  <a:lnTo>
                    <a:pt x="433" y="102"/>
                  </a:lnTo>
                  <a:lnTo>
                    <a:pt x="432" y="101"/>
                  </a:lnTo>
                  <a:lnTo>
                    <a:pt x="432" y="101"/>
                  </a:lnTo>
                  <a:lnTo>
                    <a:pt x="431" y="100"/>
                  </a:lnTo>
                  <a:lnTo>
                    <a:pt x="431" y="99"/>
                  </a:lnTo>
                  <a:lnTo>
                    <a:pt x="430" y="98"/>
                  </a:lnTo>
                  <a:lnTo>
                    <a:pt x="430" y="97"/>
                  </a:lnTo>
                  <a:lnTo>
                    <a:pt x="429" y="96"/>
                  </a:lnTo>
                  <a:lnTo>
                    <a:pt x="429" y="96"/>
                  </a:lnTo>
                  <a:lnTo>
                    <a:pt x="429" y="96"/>
                  </a:lnTo>
                  <a:lnTo>
                    <a:pt x="430" y="95"/>
                  </a:lnTo>
                  <a:lnTo>
                    <a:pt x="430" y="95"/>
                  </a:lnTo>
                  <a:lnTo>
                    <a:pt x="430" y="94"/>
                  </a:lnTo>
                  <a:lnTo>
                    <a:pt x="432" y="92"/>
                  </a:lnTo>
                  <a:lnTo>
                    <a:pt x="434" y="90"/>
                  </a:lnTo>
                  <a:lnTo>
                    <a:pt x="436" y="89"/>
                  </a:lnTo>
                  <a:lnTo>
                    <a:pt x="438" y="88"/>
                  </a:lnTo>
                  <a:lnTo>
                    <a:pt x="441" y="86"/>
                  </a:lnTo>
                  <a:lnTo>
                    <a:pt x="443" y="85"/>
                  </a:lnTo>
                  <a:lnTo>
                    <a:pt x="445" y="85"/>
                  </a:lnTo>
                  <a:lnTo>
                    <a:pt x="446" y="84"/>
                  </a:lnTo>
                  <a:lnTo>
                    <a:pt x="448" y="84"/>
                  </a:lnTo>
                  <a:lnTo>
                    <a:pt x="449" y="84"/>
                  </a:lnTo>
                  <a:lnTo>
                    <a:pt x="451" y="84"/>
                  </a:lnTo>
                  <a:lnTo>
                    <a:pt x="453" y="85"/>
                  </a:lnTo>
                  <a:lnTo>
                    <a:pt x="457" y="86"/>
                  </a:lnTo>
                  <a:lnTo>
                    <a:pt x="459" y="87"/>
                  </a:lnTo>
                  <a:lnTo>
                    <a:pt x="460" y="87"/>
                  </a:lnTo>
                  <a:lnTo>
                    <a:pt x="461" y="87"/>
                  </a:lnTo>
                  <a:lnTo>
                    <a:pt x="462" y="88"/>
                  </a:lnTo>
                  <a:lnTo>
                    <a:pt x="463" y="89"/>
                  </a:lnTo>
                  <a:lnTo>
                    <a:pt x="464" y="90"/>
                  </a:lnTo>
                  <a:lnTo>
                    <a:pt x="466" y="92"/>
                  </a:lnTo>
                  <a:lnTo>
                    <a:pt x="467" y="94"/>
                  </a:lnTo>
                  <a:lnTo>
                    <a:pt x="467" y="94"/>
                  </a:lnTo>
                  <a:lnTo>
                    <a:pt x="468" y="97"/>
                  </a:lnTo>
                  <a:lnTo>
                    <a:pt x="470" y="99"/>
                  </a:lnTo>
                  <a:lnTo>
                    <a:pt x="471" y="100"/>
                  </a:lnTo>
                  <a:lnTo>
                    <a:pt x="473" y="103"/>
                  </a:lnTo>
                  <a:lnTo>
                    <a:pt x="474" y="104"/>
                  </a:lnTo>
                  <a:lnTo>
                    <a:pt x="474" y="105"/>
                  </a:lnTo>
                  <a:lnTo>
                    <a:pt x="475" y="107"/>
                  </a:lnTo>
                  <a:lnTo>
                    <a:pt x="476" y="107"/>
                  </a:lnTo>
                  <a:lnTo>
                    <a:pt x="477" y="108"/>
                  </a:lnTo>
                  <a:lnTo>
                    <a:pt x="478" y="110"/>
                  </a:lnTo>
                  <a:lnTo>
                    <a:pt x="479" y="111"/>
                  </a:lnTo>
                  <a:lnTo>
                    <a:pt x="479" y="113"/>
                  </a:lnTo>
                  <a:lnTo>
                    <a:pt x="480" y="114"/>
                  </a:lnTo>
                  <a:lnTo>
                    <a:pt x="481" y="118"/>
                  </a:lnTo>
                  <a:lnTo>
                    <a:pt x="483" y="123"/>
                  </a:lnTo>
                  <a:lnTo>
                    <a:pt x="484" y="127"/>
                  </a:lnTo>
                  <a:lnTo>
                    <a:pt x="484" y="128"/>
                  </a:lnTo>
                  <a:lnTo>
                    <a:pt x="485" y="129"/>
                  </a:lnTo>
                  <a:lnTo>
                    <a:pt x="486" y="130"/>
                  </a:lnTo>
                  <a:lnTo>
                    <a:pt x="486" y="131"/>
                  </a:lnTo>
                  <a:lnTo>
                    <a:pt x="487" y="132"/>
                  </a:lnTo>
                  <a:lnTo>
                    <a:pt x="490" y="135"/>
                  </a:lnTo>
                  <a:lnTo>
                    <a:pt x="491" y="135"/>
                  </a:lnTo>
                  <a:lnTo>
                    <a:pt x="491" y="136"/>
                  </a:lnTo>
                  <a:lnTo>
                    <a:pt x="492" y="137"/>
                  </a:lnTo>
                  <a:lnTo>
                    <a:pt x="492" y="138"/>
                  </a:lnTo>
                  <a:lnTo>
                    <a:pt x="494" y="141"/>
                  </a:lnTo>
                  <a:lnTo>
                    <a:pt x="495" y="143"/>
                  </a:lnTo>
                  <a:lnTo>
                    <a:pt x="495" y="144"/>
                  </a:lnTo>
                  <a:lnTo>
                    <a:pt x="497" y="145"/>
                  </a:lnTo>
                  <a:lnTo>
                    <a:pt x="498" y="147"/>
                  </a:lnTo>
                  <a:lnTo>
                    <a:pt x="499" y="148"/>
                  </a:lnTo>
                  <a:lnTo>
                    <a:pt x="500" y="149"/>
                  </a:lnTo>
                  <a:lnTo>
                    <a:pt x="500" y="149"/>
                  </a:lnTo>
                  <a:lnTo>
                    <a:pt x="501" y="150"/>
                  </a:lnTo>
                  <a:lnTo>
                    <a:pt x="502" y="150"/>
                  </a:lnTo>
                  <a:lnTo>
                    <a:pt x="502" y="150"/>
                  </a:lnTo>
                  <a:lnTo>
                    <a:pt x="503" y="151"/>
                  </a:lnTo>
                  <a:lnTo>
                    <a:pt x="503" y="151"/>
                  </a:lnTo>
                  <a:lnTo>
                    <a:pt x="504" y="151"/>
                  </a:lnTo>
                  <a:lnTo>
                    <a:pt x="505" y="150"/>
                  </a:lnTo>
                  <a:lnTo>
                    <a:pt x="505" y="150"/>
                  </a:lnTo>
                  <a:lnTo>
                    <a:pt x="506" y="150"/>
                  </a:lnTo>
                  <a:lnTo>
                    <a:pt x="506" y="149"/>
                  </a:lnTo>
                  <a:lnTo>
                    <a:pt x="507" y="147"/>
                  </a:lnTo>
                  <a:lnTo>
                    <a:pt x="508" y="146"/>
                  </a:lnTo>
                  <a:lnTo>
                    <a:pt x="508" y="146"/>
                  </a:lnTo>
                  <a:lnTo>
                    <a:pt x="509" y="146"/>
                  </a:lnTo>
                  <a:lnTo>
                    <a:pt x="509" y="146"/>
                  </a:lnTo>
                  <a:lnTo>
                    <a:pt x="510" y="146"/>
                  </a:lnTo>
                  <a:lnTo>
                    <a:pt x="510" y="146"/>
                  </a:lnTo>
                  <a:lnTo>
                    <a:pt x="510" y="147"/>
                  </a:lnTo>
                  <a:lnTo>
                    <a:pt x="510" y="148"/>
                  </a:lnTo>
                  <a:lnTo>
                    <a:pt x="511" y="149"/>
                  </a:lnTo>
                  <a:lnTo>
                    <a:pt x="511" y="151"/>
                  </a:lnTo>
                  <a:lnTo>
                    <a:pt x="511" y="153"/>
                  </a:lnTo>
                  <a:lnTo>
                    <a:pt x="510" y="155"/>
                  </a:lnTo>
                  <a:lnTo>
                    <a:pt x="510" y="158"/>
                  </a:lnTo>
                  <a:lnTo>
                    <a:pt x="510" y="159"/>
                  </a:lnTo>
                  <a:lnTo>
                    <a:pt x="509" y="164"/>
                  </a:lnTo>
                  <a:lnTo>
                    <a:pt x="508" y="168"/>
                  </a:lnTo>
                  <a:lnTo>
                    <a:pt x="508" y="171"/>
                  </a:lnTo>
                  <a:lnTo>
                    <a:pt x="508" y="172"/>
                  </a:lnTo>
                  <a:lnTo>
                    <a:pt x="508" y="172"/>
                  </a:lnTo>
                  <a:lnTo>
                    <a:pt x="508" y="173"/>
                  </a:lnTo>
                  <a:lnTo>
                    <a:pt x="508" y="173"/>
                  </a:lnTo>
                  <a:lnTo>
                    <a:pt x="509" y="174"/>
                  </a:lnTo>
                  <a:lnTo>
                    <a:pt x="509" y="175"/>
                  </a:lnTo>
                  <a:lnTo>
                    <a:pt x="510" y="175"/>
                  </a:lnTo>
                  <a:lnTo>
                    <a:pt x="511" y="176"/>
                  </a:lnTo>
                  <a:lnTo>
                    <a:pt x="512" y="177"/>
                  </a:lnTo>
                  <a:lnTo>
                    <a:pt x="515" y="178"/>
                  </a:lnTo>
                  <a:lnTo>
                    <a:pt x="517" y="180"/>
                  </a:lnTo>
                  <a:lnTo>
                    <a:pt x="520" y="181"/>
                  </a:lnTo>
                  <a:lnTo>
                    <a:pt x="522" y="182"/>
                  </a:lnTo>
                  <a:lnTo>
                    <a:pt x="526" y="183"/>
                  </a:lnTo>
                  <a:lnTo>
                    <a:pt x="530" y="184"/>
                  </a:lnTo>
                  <a:lnTo>
                    <a:pt x="532" y="185"/>
                  </a:lnTo>
                  <a:lnTo>
                    <a:pt x="534" y="186"/>
                  </a:lnTo>
                  <a:lnTo>
                    <a:pt x="537" y="187"/>
                  </a:lnTo>
                  <a:lnTo>
                    <a:pt x="538" y="188"/>
                  </a:lnTo>
                  <a:lnTo>
                    <a:pt x="540" y="190"/>
                  </a:lnTo>
                  <a:lnTo>
                    <a:pt x="544" y="193"/>
                  </a:lnTo>
                  <a:lnTo>
                    <a:pt x="546" y="194"/>
                  </a:lnTo>
                  <a:lnTo>
                    <a:pt x="546" y="195"/>
                  </a:lnTo>
                  <a:lnTo>
                    <a:pt x="547" y="196"/>
                  </a:lnTo>
                  <a:lnTo>
                    <a:pt x="548" y="197"/>
                  </a:lnTo>
                  <a:lnTo>
                    <a:pt x="548" y="198"/>
                  </a:lnTo>
                  <a:lnTo>
                    <a:pt x="549" y="200"/>
                  </a:lnTo>
                  <a:lnTo>
                    <a:pt x="551" y="207"/>
                  </a:lnTo>
                  <a:lnTo>
                    <a:pt x="552" y="211"/>
                  </a:lnTo>
                  <a:lnTo>
                    <a:pt x="553" y="213"/>
                  </a:lnTo>
                  <a:lnTo>
                    <a:pt x="555" y="218"/>
                  </a:lnTo>
                  <a:lnTo>
                    <a:pt x="557" y="224"/>
                  </a:lnTo>
                  <a:lnTo>
                    <a:pt x="558" y="226"/>
                  </a:lnTo>
                  <a:lnTo>
                    <a:pt x="558" y="226"/>
                  </a:lnTo>
                  <a:lnTo>
                    <a:pt x="553" y="236"/>
                  </a:lnTo>
                  <a:lnTo>
                    <a:pt x="552" y="239"/>
                  </a:lnTo>
                  <a:lnTo>
                    <a:pt x="551" y="241"/>
                  </a:lnTo>
                  <a:lnTo>
                    <a:pt x="550" y="242"/>
                  </a:lnTo>
                  <a:lnTo>
                    <a:pt x="550" y="243"/>
                  </a:lnTo>
                  <a:lnTo>
                    <a:pt x="550" y="245"/>
                  </a:lnTo>
                  <a:lnTo>
                    <a:pt x="549" y="247"/>
                  </a:lnTo>
                  <a:lnTo>
                    <a:pt x="550" y="249"/>
                  </a:lnTo>
                  <a:lnTo>
                    <a:pt x="550" y="250"/>
                  </a:lnTo>
                  <a:lnTo>
                    <a:pt x="551" y="254"/>
                  </a:lnTo>
                  <a:lnTo>
                    <a:pt x="551" y="256"/>
                  </a:lnTo>
                  <a:lnTo>
                    <a:pt x="551" y="258"/>
                  </a:lnTo>
                  <a:lnTo>
                    <a:pt x="552" y="263"/>
                  </a:lnTo>
                  <a:lnTo>
                    <a:pt x="552" y="265"/>
                  </a:lnTo>
                  <a:lnTo>
                    <a:pt x="552" y="266"/>
                  </a:lnTo>
                  <a:lnTo>
                    <a:pt x="553" y="268"/>
                  </a:lnTo>
                  <a:lnTo>
                    <a:pt x="553" y="270"/>
                  </a:lnTo>
                  <a:lnTo>
                    <a:pt x="556" y="276"/>
                  </a:lnTo>
                  <a:lnTo>
                    <a:pt x="558" y="280"/>
                  </a:lnTo>
                  <a:lnTo>
                    <a:pt x="558" y="281"/>
                  </a:lnTo>
                  <a:lnTo>
                    <a:pt x="558" y="282"/>
                  </a:lnTo>
                  <a:lnTo>
                    <a:pt x="558" y="283"/>
                  </a:lnTo>
                  <a:lnTo>
                    <a:pt x="558" y="284"/>
                  </a:lnTo>
                  <a:lnTo>
                    <a:pt x="558" y="287"/>
                  </a:lnTo>
                  <a:lnTo>
                    <a:pt x="558" y="288"/>
                  </a:lnTo>
                  <a:lnTo>
                    <a:pt x="559" y="289"/>
                  </a:lnTo>
                  <a:lnTo>
                    <a:pt x="559" y="289"/>
                  </a:lnTo>
                  <a:lnTo>
                    <a:pt x="559" y="290"/>
                  </a:lnTo>
                  <a:lnTo>
                    <a:pt x="559" y="290"/>
                  </a:lnTo>
                  <a:lnTo>
                    <a:pt x="560" y="290"/>
                  </a:lnTo>
                  <a:lnTo>
                    <a:pt x="561" y="291"/>
                  </a:lnTo>
                  <a:lnTo>
                    <a:pt x="562" y="291"/>
                  </a:lnTo>
                  <a:lnTo>
                    <a:pt x="564" y="291"/>
                  </a:lnTo>
                  <a:lnTo>
                    <a:pt x="568" y="291"/>
                  </a:lnTo>
                  <a:lnTo>
                    <a:pt x="569" y="291"/>
                  </a:lnTo>
                  <a:lnTo>
                    <a:pt x="572" y="290"/>
                  </a:lnTo>
                  <a:lnTo>
                    <a:pt x="572" y="290"/>
                  </a:lnTo>
                  <a:lnTo>
                    <a:pt x="573" y="290"/>
                  </a:lnTo>
                  <a:lnTo>
                    <a:pt x="574" y="291"/>
                  </a:lnTo>
                  <a:lnTo>
                    <a:pt x="575" y="291"/>
                  </a:lnTo>
                  <a:lnTo>
                    <a:pt x="575" y="292"/>
                  </a:lnTo>
                  <a:lnTo>
                    <a:pt x="576" y="292"/>
                  </a:lnTo>
                  <a:lnTo>
                    <a:pt x="576" y="293"/>
                  </a:lnTo>
                  <a:lnTo>
                    <a:pt x="576" y="294"/>
                  </a:lnTo>
                  <a:lnTo>
                    <a:pt x="576" y="296"/>
                  </a:lnTo>
                  <a:lnTo>
                    <a:pt x="576" y="297"/>
                  </a:lnTo>
                  <a:lnTo>
                    <a:pt x="576" y="298"/>
                  </a:lnTo>
                  <a:lnTo>
                    <a:pt x="576" y="300"/>
                  </a:lnTo>
                  <a:lnTo>
                    <a:pt x="576" y="302"/>
                  </a:lnTo>
                  <a:lnTo>
                    <a:pt x="575" y="304"/>
                  </a:lnTo>
                  <a:lnTo>
                    <a:pt x="574" y="306"/>
                  </a:lnTo>
                  <a:lnTo>
                    <a:pt x="574" y="308"/>
                  </a:lnTo>
                  <a:lnTo>
                    <a:pt x="573" y="309"/>
                  </a:lnTo>
                  <a:lnTo>
                    <a:pt x="572" y="311"/>
                  </a:lnTo>
                  <a:lnTo>
                    <a:pt x="571" y="312"/>
                  </a:lnTo>
                  <a:lnTo>
                    <a:pt x="571" y="313"/>
                  </a:lnTo>
                  <a:lnTo>
                    <a:pt x="570" y="313"/>
                  </a:lnTo>
                  <a:lnTo>
                    <a:pt x="568" y="315"/>
                  </a:lnTo>
                  <a:lnTo>
                    <a:pt x="565" y="318"/>
                  </a:lnTo>
                  <a:lnTo>
                    <a:pt x="562" y="319"/>
                  </a:lnTo>
                  <a:lnTo>
                    <a:pt x="561" y="320"/>
                  </a:lnTo>
                  <a:lnTo>
                    <a:pt x="559" y="321"/>
                  </a:lnTo>
                  <a:lnTo>
                    <a:pt x="558" y="322"/>
                  </a:lnTo>
                  <a:lnTo>
                    <a:pt x="557" y="324"/>
                  </a:lnTo>
                  <a:lnTo>
                    <a:pt x="556" y="326"/>
                  </a:lnTo>
                  <a:lnTo>
                    <a:pt x="555" y="327"/>
                  </a:lnTo>
                  <a:lnTo>
                    <a:pt x="553" y="333"/>
                  </a:lnTo>
                  <a:lnTo>
                    <a:pt x="551" y="335"/>
                  </a:lnTo>
                  <a:lnTo>
                    <a:pt x="551" y="336"/>
                  </a:lnTo>
                  <a:lnTo>
                    <a:pt x="550" y="337"/>
                  </a:lnTo>
                  <a:lnTo>
                    <a:pt x="549" y="338"/>
                  </a:lnTo>
                  <a:lnTo>
                    <a:pt x="548" y="339"/>
                  </a:lnTo>
                  <a:lnTo>
                    <a:pt x="546" y="341"/>
                  </a:lnTo>
                  <a:lnTo>
                    <a:pt x="545" y="341"/>
                  </a:lnTo>
                  <a:lnTo>
                    <a:pt x="544" y="342"/>
                  </a:lnTo>
                  <a:lnTo>
                    <a:pt x="544" y="343"/>
                  </a:lnTo>
                  <a:lnTo>
                    <a:pt x="543" y="344"/>
                  </a:lnTo>
                  <a:lnTo>
                    <a:pt x="543" y="345"/>
                  </a:lnTo>
                  <a:lnTo>
                    <a:pt x="543" y="347"/>
                  </a:lnTo>
                  <a:lnTo>
                    <a:pt x="543" y="348"/>
                  </a:lnTo>
                  <a:lnTo>
                    <a:pt x="543" y="350"/>
                  </a:lnTo>
                  <a:lnTo>
                    <a:pt x="543" y="352"/>
                  </a:lnTo>
                  <a:lnTo>
                    <a:pt x="544" y="354"/>
                  </a:lnTo>
                  <a:lnTo>
                    <a:pt x="544" y="354"/>
                  </a:lnTo>
                  <a:lnTo>
                    <a:pt x="544" y="355"/>
                  </a:lnTo>
                  <a:lnTo>
                    <a:pt x="545" y="355"/>
                  </a:lnTo>
                  <a:lnTo>
                    <a:pt x="546" y="356"/>
                  </a:lnTo>
                  <a:lnTo>
                    <a:pt x="547" y="356"/>
                  </a:lnTo>
                  <a:lnTo>
                    <a:pt x="548" y="356"/>
                  </a:lnTo>
                  <a:lnTo>
                    <a:pt x="549" y="356"/>
                  </a:lnTo>
                  <a:lnTo>
                    <a:pt x="550" y="357"/>
                  </a:lnTo>
                  <a:lnTo>
                    <a:pt x="552" y="356"/>
                  </a:lnTo>
                  <a:lnTo>
                    <a:pt x="554" y="356"/>
                  </a:lnTo>
                  <a:lnTo>
                    <a:pt x="555" y="356"/>
                  </a:lnTo>
                  <a:lnTo>
                    <a:pt x="557" y="355"/>
                  </a:lnTo>
                  <a:lnTo>
                    <a:pt x="561" y="354"/>
                  </a:lnTo>
                  <a:lnTo>
                    <a:pt x="571" y="351"/>
                  </a:lnTo>
                  <a:lnTo>
                    <a:pt x="573" y="350"/>
                  </a:lnTo>
                  <a:lnTo>
                    <a:pt x="576" y="349"/>
                  </a:lnTo>
                  <a:lnTo>
                    <a:pt x="577" y="349"/>
                  </a:lnTo>
                  <a:lnTo>
                    <a:pt x="578" y="349"/>
                  </a:lnTo>
                  <a:lnTo>
                    <a:pt x="579" y="349"/>
                  </a:lnTo>
                  <a:lnTo>
                    <a:pt x="581" y="349"/>
                  </a:lnTo>
                  <a:lnTo>
                    <a:pt x="582" y="349"/>
                  </a:lnTo>
                  <a:lnTo>
                    <a:pt x="582" y="349"/>
                  </a:lnTo>
                  <a:lnTo>
                    <a:pt x="583" y="350"/>
                  </a:lnTo>
                  <a:lnTo>
                    <a:pt x="584" y="350"/>
                  </a:lnTo>
                  <a:lnTo>
                    <a:pt x="585" y="351"/>
                  </a:lnTo>
                  <a:lnTo>
                    <a:pt x="586" y="352"/>
                  </a:lnTo>
                  <a:lnTo>
                    <a:pt x="587" y="355"/>
                  </a:lnTo>
                  <a:lnTo>
                    <a:pt x="589" y="357"/>
                  </a:lnTo>
                  <a:lnTo>
                    <a:pt x="590" y="358"/>
                  </a:lnTo>
                  <a:lnTo>
                    <a:pt x="590" y="360"/>
                  </a:lnTo>
                  <a:lnTo>
                    <a:pt x="591" y="362"/>
                  </a:lnTo>
                  <a:lnTo>
                    <a:pt x="591" y="363"/>
                  </a:lnTo>
                  <a:lnTo>
                    <a:pt x="591" y="365"/>
                  </a:lnTo>
                  <a:lnTo>
                    <a:pt x="591" y="366"/>
                  </a:lnTo>
                  <a:lnTo>
                    <a:pt x="591" y="369"/>
                  </a:lnTo>
                  <a:lnTo>
                    <a:pt x="591" y="374"/>
                  </a:lnTo>
                  <a:lnTo>
                    <a:pt x="591" y="376"/>
                  </a:lnTo>
                  <a:lnTo>
                    <a:pt x="591" y="377"/>
                  </a:lnTo>
                  <a:lnTo>
                    <a:pt x="591" y="378"/>
                  </a:lnTo>
                  <a:lnTo>
                    <a:pt x="591" y="378"/>
                  </a:lnTo>
                  <a:lnTo>
                    <a:pt x="592" y="379"/>
                  </a:lnTo>
                  <a:lnTo>
                    <a:pt x="592" y="380"/>
                  </a:lnTo>
                  <a:lnTo>
                    <a:pt x="593" y="380"/>
                  </a:lnTo>
                  <a:lnTo>
                    <a:pt x="593" y="380"/>
                  </a:lnTo>
                  <a:lnTo>
                    <a:pt x="597" y="381"/>
                  </a:lnTo>
                  <a:lnTo>
                    <a:pt x="599" y="382"/>
                  </a:lnTo>
                  <a:lnTo>
                    <a:pt x="600" y="382"/>
                  </a:lnTo>
                  <a:lnTo>
                    <a:pt x="601" y="383"/>
                  </a:lnTo>
                  <a:lnTo>
                    <a:pt x="603" y="384"/>
                  </a:lnTo>
                  <a:lnTo>
                    <a:pt x="606" y="385"/>
                  </a:lnTo>
                  <a:lnTo>
                    <a:pt x="607" y="385"/>
                  </a:lnTo>
                  <a:lnTo>
                    <a:pt x="608" y="386"/>
                  </a:lnTo>
                  <a:lnTo>
                    <a:pt x="609" y="387"/>
                  </a:lnTo>
                  <a:lnTo>
                    <a:pt x="611" y="389"/>
                  </a:lnTo>
                  <a:lnTo>
                    <a:pt x="613" y="391"/>
                  </a:lnTo>
                  <a:lnTo>
                    <a:pt x="614" y="391"/>
                  </a:lnTo>
                  <a:lnTo>
                    <a:pt x="614" y="392"/>
                  </a:lnTo>
                  <a:lnTo>
                    <a:pt x="616" y="393"/>
                  </a:lnTo>
                  <a:lnTo>
                    <a:pt x="617" y="393"/>
                  </a:lnTo>
                  <a:lnTo>
                    <a:pt x="618" y="393"/>
                  </a:lnTo>
                  <a:lnTo>
                    <a:pt x="626" y="394"/>
                  </a:lnTo>
                  <a:lnTo>
                    <a:pt x="630" y="395"/>
                  </a:lnTo>
                  <a:lnTo>
                    <a:pt x="637" y="396"/>
                  </a:lnTo>
                  <a:lnTo>
                    <a:pt x="638" y="396"/>
                  </a:lnTo>
                  <a:lnTo>
                    <a:pt x="640" y="397"/>
                  </a:lnTo>
                  <a:lnTo>
                    <a:pt x="641" y="397"/>
                  </a:lnTo>
                  <a:lnTo>
                    <a:pt x="642" y="398"/>
                  </a:lnTo>
                  <a:lnTo>
                    <a:pt x="644" y="399"/>
                  </a:lnTo>
                  <a:lnTo>
                    <a:pt x="645" y="400"/>
                  </a:lnTo>
                  <a:lnTo>
                    <a:pt x="646" y="402"/>
                  </a:lnTo>
                  <a:lnTo>
                    <a:pt x="647" y="402"/>
                  </a:lnTo>
                  <a:lnTo>
                    <a:pt x="647" y="403"/>
                  </a:lnTo>
                  <a:lnTo>
                    <a:pt x="648" y="404"/>
                  </a:lnTo>
                  <a:lnTo>
                    <a:pt x="648" y="406"/>
                  </a:lnTo>
                  <a:lnTo>
                    <a:pt x="648" y="408"/>
                  </a:lnTo>
                  <a:lnTo>
                    <a:pt x="649" y="412"/>
                  </a:lnTo>
                  <a:lnTo>
                    <a:pt x="649" y="413"/>
                  </a:lnTo>
                  <a:lnTo>
                    <a:pt x="649" y="414"/>
                  </a:lnTo>
                  <a:lnTo>
                    <a:pt x="650" y="415"/>
                  </a:lnTo>
                  <a:lnTo>
                    <a:pt x="650" y="416"/>
                  </a:lnTo>
                  <a:lnTo>
                    <a:pt x="651" y="416"/>
                  </a:lnTo>
                  <a:lnTo>
                    <a:pt x="651" y="417"/>
                  </a:lnTo>
                  <a:lnTo>
                    <a:pt x="652" y="417"/>
                  </a:lnTo>
                  <a:lnTo>
                    <a:pt x="653" y="418"/>
                  </a:lnTo>
                  <a:lnTo>
                    <a:pt x="655" y="418"/>
                  </a:lnTo>
                  <a:lnTo>
                    <a:pt x="657" y="418"/>
                  </a:lnTo>
                  <a:lnTo>
                    <a:pt x="660" y="419"/>
                  </a:lnTo>
                  <a:lnTo>
                    <a:pt x="661" y="419"/>
                  </a:lnTo>
                  <a:lnTo>
                    <a:pt x="663" y="419"/>
                  </a:lnTo>
                  <a:lnTo>
                    <a:pt x="664" y="420"/>
                  </a:lnTo>
                  <a:lnTo>
                    <a:pt x="665" y="420"/>
                  </a:lnTo>
                  <a:lnTo>
                    <a:pt x="666" y="421"/>
                  </a:lnTo>
                  <a:lnTo>
                    <a:pt x="674" y="427"/>
                  </a:lnTo>
                  <a:lnTo>
                    <a:pt x="676" y="428"/>
                  </a:lnTo>
                  <a:lnTo>
                    <a:pt x="678" y="429"/>
                  </a:lnTo>
                  <a:lnTo>
                    <a:pt x="679" y="430"/>
                  </a:lnTo>
                  <a:lnTo>
                    <a:pt x="681" y="431"/>
                  </a:lnTo>
                  <a:lnTo>
                    <a:pt x="682" y="431"/>
                  </a:lnTo>
                  <a:lnTo>
                    <a:pt x="683" y="431"/>
                  </a:lnTo>
                  <a:lnTo>
                    <a:pt x="684" y="431"/>
                  </a:lnTo>
                  <a:lnTo>
                    <a:pt x="685" y="431"/>
                  </a:lnTo>
                  <a:lnTo>
                    <a:pt x="687" y="431"/>
                  </a:lnTo>
                  <a:lnTo>
                    <a:pt x="689" y="431"/>
                  </a:lnTo>
                  <a:lnTo>
                    <a:pt x="694" y="430"/>
                  </a:lnTo>
                  <a:lnTo>
                    <a:pt x="697" y="429"/>
                  </a:lnTo>
                  <a:lnTo>
                    <a:pt x="699" y="429"/>
                  </a:lnTo>
                  <a:lnTo>
                    <a:pt x="703" y="429"/>
                  </a:lnTo>
                  <a:lnTo>
                    <a:pt x="708" y="428"/>
                  </a:lnTo>
                  <a:lnTo>
                    <a:pt x="709" y="428"/>
                  </a:lnTo>
                  <a:lnTo>
                    <a:pt x="710" y="428"/>
                  </a:lnTo>
                  <a:lnTo>
                    <a:pt x="711" y="428"/>
                  </a:lnTo>
                  <a:lnTo>
                    <a:pt x="712" y="428"/>
                  </a:lnTo>
                  <a:lnTo>
                    <a:pt x="713" y="429"/>
                  </a:lnTo>
                  <a:lnTo>
                    <a:pt x="716" y="430"/>
                  </a:lnTo>
                  <a:lnTo>
                    <a:pt x="720" y="431"/>
                  </a:lnTo>
                  <a:lnTo>
                    <a:pt x="721" y="432"/>
                  </a:lnTo>
                  <a:lnTo>
                    <a:pt x="723" y="432"/>
                  </a:lnTo>
                  <a:lnTo>
                    <a:pt x="724" y="433"/>
                  </a:lnTo>
                  <a:lnTo>
                    <a:pt x="726" y="435"/>
                  </a:lnTo>
                  <a:lnTo>
                    <a:pt x="727" y="436"/>
                  </a:lnTo>
                  <a:lnTo>
                    <a:pt x="728" y="436"/>
                  </a:lnTo>
                  <a:lnTo>
                    <a:pt x="729" y="437"/>
                  </a:lnTo>
                  <a:lnTo>
                    <a:pt x="729" y="438"/>
                  </a:lnTo>
                  <a:lnTo>
                    <a:pt x="729" y="439"/>
                  </a:lnTo>
                  <a:lnTo>
                    <a:pt x="730" y="439"/>
                  </a:lnTo>
                  <a:lnTo>
                    <a:pt x="730" y="440"/>
                  </a:lnTo>
                  <a:lnTo>
                    <a:pt x="730" y="441"/>
                  </a:lnTo>
                  <a:lnTo>
                    <a:pt x="731" y="443"/>
                  </a:lnTo>
                  <a:lnTo>
                    <a:pt x="731" y="446"/>
                  </a:lnTo>
                  <a:lnTo>
                    <a:pt x="731" y="448"/>
                  </a:lnTo>
                  <a:lnTo>
                    <a:pt x="731" y="448"/>
                  </a:lnTo>
                  <a:lnTo>
                    <a:pt x="732" y="449"/>
                  </a:lnTo>
                  <a:lnTo>
                    <a:pt x="732" y="450"/>
                  </a:lnTo>
                  <a:lnTo>
                    <a:pt x="733" y="451"/>
                  </a:lnTo>
                  <a:lnTo>
                    <a:pt x="733" y="451"/>
                  </a:lnTo>
                  <a:lnTo>
                    <a:pt x="734" y="452"/>
                  </a:lnTo>
                  <a:lnTo>
                    <a:pt x="735" y="452"/>
                  </a:lnTo>
                  <a:lnTo>
                    <a:pt x="736" y="453"/>
                  </a:lnTo>
                  <a:lnTo>
                    <a:pt x="739" y="454"/>
                  </a:lnTo>
                  <a:lnTo>
                    <a:pt x="741" y="455"/>
                  </a:lnTo>
                  <a:lnTo>
                    <a:pt x="751" y="459"/>
                  </a:lnTo>
                  <a:lnTo>
                    <a:pt x="752" y="460"/>
                  </a:lnTo>
                  <a:lnTo>
                    <a:pt x="754" y="461"/>
                  </a:lnTo>
                  <a:lnTo>
                    <a:pt x="756" y="463"/>
                  </a:lnTo>
                  <a:lnTo>
                    <a:pt x="757" y="464"/>
                  </a:lnTo>
                  <a:lnTo>
                    <a:pt x="759" y="466"/>
                  </a:lnTo>
                  <a:lnTo>
                    <a:pt x="760" y="468"/>
                  </a:lnTo>
                  <a:lnTo>
                    <a:pt x="762" y="470"/>
                  </a:lnTo>
                  <a:lnTo>
                    <a:pt x="767" y="477"/>
                  </a:lnTo>
                  <a:lnTo>
                    <a:pt x="770" y="481"/>
                  </a:lnTo>
                  <a:lnTo>
                    <a:pt x="771" y="483"/>
                  </a:lnTo>
                  <a:lnTo>
                    <a:pt x="772" y="484"/>
                  </a:lnTo>
                  <a:lnTo>
                    <a:pt x="773" y="486"/>
                  </a:lnTo>
                  <a:lnTo>
                    <a:pt x="774" y="491"/>
                  </a:lnTo>
                  <a:lnTo>
                    <a:pt x="775" y="493"/>
                  </a:lnTo>
                  <a:lnTo>
                    <a:pt x="776" y="495"/>
                  </a:lnTo>
                  <a:lnTo>
                    <a:pt x="776" y="495"/>
                  </a:lnTo>
                  <a:lnTo>
                    <a:pt x="777" y="495"/>
                  </a:lnTo>
                  <a:lnTo>
                    <a:pt x="776" y="495"/>
                  </a:lnTo>
                  <a:lnTo>
                    <a:pt x="776" y="495"/>
                  </a:lnTo>
                  <a:lnTo>
                    <a:pt x="775" y="495"/>
                  </a:lnTo>
                  <a:lnTo>
                    <a:pt x="775" y="496"/>
                  </a:lnTo>
                  <a:lnTo>
                    <a:pt x="773" y="496"/>
                  </a:lnTo>
                  <a:lnTo>
                    <a:pt x="771" y="498"/>
                  </a:lnTo>
                  <a:lnTo>
                    <a:pt x="766" y="501"/>
                  </a:lnTo>
                  <a:lnTo>
                    <a:pt x="760" y="506"/>
                  </a:lnTo>
                  <a:lnTo>
                    <a:pt x="758" y="508"/>
                  </a:lnTo>
                  <a:lnTo>
                    <a:pt x="754" y="511"/>
                  </a:lnTo>
                  <a:lnTo>
                    <a:pt x="752" y="512"/>
                  </a:lnTo>
                  <a:lnTo>
                    <a:pt x="751" y="513"/>
                  </a:lnTo>
                  <a:lnTo>
                    <a:pt x="750" y="513"/>
                  </a:lnTo>
                  <a:lnTo>
                    <a:pt x="749" y="514"/>
                  </a:lnTo>
                  <a:lnTo>
                    <a:pt x="748" y="514"/>
                  </a:lnTo>
                  <a:lnTo>
                    <a:pt x="747" y="514"/>
                  </a:lnTo>
                  <a:lnTo>
                    <a:pt x="744" y="515"/>
                  </a:lnTo>
                  <a:lnTo>
                    <a:pt x="740" y="515"/>
                  </a:lnTo>
                  <a:lnTo>
                    <a:pt x="739" y="516"/>
                  </a:lnTo>
                  <a:lnTo>
                    <a:pt x="738" y="516"/>
                  </a:lnTo>
                  <a:lnTo>
                    <a:pt x="737" y="517"/>
                  </a:lnTo>
                  <a:lnTo>
                    <a:pt x="734" y="519"/>
                  </a:lnTo>
                  <a:lnTo>
                    <a:pt x="734" y="519"/>
                  </a:lnTo>
                  <a:lnTo>
                    <a:pt x="733" y="520"/>
                  </a:lnTo>
                  <a:lnTo>
                    <a:pt x="732" y="520"/>
                  </a:lnTo>
                  <a:lnTo>
                    <a:pt x="731" y="520"/>
                  </a:lnTo>
                  <a:lnTo>
                    <a:pt x="728" y="521"/>
                  </a:lnTo>
                  <a:lnTo>
                    <a:pt x="727" y="521"/>
                  </a:lnTo>
                  <a:lnTo>
                    <a:pt x="726" y="521"/>
                  </a:lnTo>
                  <a:lnTo>
                    <a:pt x="725" y="521"/>
                  </a:lnTo>
                  <a:lnTo>
                    <a:pt x="724" y="521"/>
                  </a:lnTo>
                  <a:lnTo>
                    <a:pt x="723" y="520"/>
                  </a:lnTo>
                  <a:lnTo>
                    <a:pt x="723" y="520"/>
                  </a:lnTo>
                  <a:lnTo>
                    <a:pt x="721" y="518"/>
                  </a:lnTo>
                  <a:lnTo>
                    <a:pt x="721" y="518"/>
                  </a:lnTo>
                  <a:lnTo>
                    <a:pt x="720" y="518"/>
                  </a:lnTo>
                  <a:lnTo>
                    <a:pt x="717" y="517"/>
                  </a:lnTo>
                  <a:lnTo>
                    <a:pt x="716" y="517"/>
                  </a:lnTo>
                  <a:lnTo>
                    <a:pt x="715" y="516"/>
                  </a:lnTo>
                  <a:lnTo>
                    <a:pt x="713" y="515"/>
                  </a:lnTo>
                  <a:lnTo>
                    <a:pt x="709" y="512"/>
                  </a:lnTo>
                  <a:lnTo>
                    <a:pt x="707" y="510"/>
                  </a:lnTo>
                  <a:lnTo>
                    <a:pt x="705" y="509"/>
                  </a:lnTo>
                  <a:lnTo>
                    <a:pt x="703" y="508"/>
                  </a:lnTo>
                  <a:lnTo>
                    <a:pt x="701" y="507"/>
                  </a:lnTo>
                  <a:lnTo>
                    <a:pt x="699" y="507"/>
                  </a:lnTo>
                  <a:lnTo>
                    <a:pt x="697" y="506"/>
                  </a:lnTo>
                  <a:lnTo>
                    <a:pt x="695" y="506"/>
                  </a:lnTo>
                  <a:lnTo>
                    <a:pt x="694" y="506"/>
                  </a:lnTo>
                  <a:lnTo>
                    <a:pt x="693" y="507"/>
                  </a:lnTo>
                  <a:lnTo>
                    <a:pt x="693" y="507"/>
                  </a:lnTo>
                  <a:lnTo>
                    <a:pt x="692" y="507"/>
                  </a:lnTo>
                  <a:lnTo>
                    <a:pt x="690" y="508"/>
                  </a:lnTo>
                  <a:lnTo>
                    <a:pt x="687" y="509"/>
                  </a:lnTo>
                  <a:lnTo>
                    <a:pt x="687" y="510"/>
                  </a:lnTo>
                  <a:lnTo>
                    <a:pt x="685" y="511"/>
                  </a:lnTo>
                  <a:lnTo>
                    <a:pt x="682" y="514"/>
                  </a:lnTo>
                  <a:lnTo>
                    <a:pt x="680" y="515"/>
                  </a:lnTo>
                  <a:lnTo>
                    <a:pt x="674" y="520"/>
                  </a:lnTo>
                  <a:lnTo>
                    <a:pt x="671" y="521"/>
                  </a:lnTo>
                  <a:lnTo>
                    <a:pt x="670" y="522"/>
                  </a:lnTo>
                  <a:lnTo>
                    <a:pt x="669" y="523"/>
                  </a:lnTo>
                  <a:lnTo>
                    <a:pt x="668" y="523"/>
                  </a:lnTo>
                  <a:lnTo>
                    <a:pt x="667" y="523"/>
                  </a:lnTo>
                  <a:lnTo>
                    <a:pt x="665" y="523"/>
                  </a:lnTo>
                  <a:lnTo>
                    <a:pt x="663" y="524"/>
                  </a:lnTo>
                  <a:lnTo>
                    <a:pt x="659" y="524"/>
                  </a:lnTo>
                  <a:lnTo>
                    <a:pt x="657" y="524"/>
                  </a:lnTo>
                  <a:lnTo>
                    <a:pt x="656" y="523"/>
                  </a:lnTo>
                  <a:lnTo>
                    <a:pt x="655" y="523"/>
                  </a:lnTo>
                  <a:lnTo>
                    <a:pt x="654" y="523"/>
                  </a:lnTo>
                  <a:lnTo>
                    <a:pt x="653" y="522"/>
                  </a:lnTo>
                  <a:lnTo>
                    <a:pt x="651" y="521"/>
                  </a:lnTo>
                  <a:lnTo>
                    <a:pt x="649" y="520"/>
                  </a:lnTo>
                  <a:lnTo>
                    <a:pt x="648" y="519"/>
                  </a:lnTo>
                  <a:lnTo>
                    <a:pt x="645" y="517"/>
                  </a:lnTo>
                  <a:lnTo>
                    <a:pt x="643" y="516"/>
                  </a:lnTo>
                  <a:lnTo>
                    <a:pt x="640" y="513"/>
                  </a:lnTo>
                  <a:lnTo>
                    <a:pt x="636" y="509"/>
                  </a:lnTo>
                  <a:lnTo>
                    <a:pt x="635" y="509"/>
                  </a:lnTo>
                  <a:lnTo>
                    <a:pt x="634" y="508"/>
                  </a:lnTo>
                  <a:lnTo>
                    <a:pt x="633" y="507"/>
                  </a:lnTo>
                  <a:lnTo>
                    <a:pt x="630" y="506"/>
                  </a:lnTo>
                  <a:lnTo>
                    <a:pt x="628" y="505"/>
                  </a:lnTo>
                  <a:lnTo>
                    <a:pt x="622" y="501"/>
                  </a:lnTo>
                  <a:lnTo>
                    <a:pt x="617" y="498"/>
                  </a:lnTo>
                  <a:lnTo>
                    <a:pt x="616" y="498"/>
                  </a:lnTo>
                  <a:lnTo>
                    <a:pt x="614" y="497"/>
                  </a:lnTo>
                  <a:lnTo>
                    <a:pt x="613" y="497"/>
                  </a:lnTo>
                  <a:lnTo>
                    <a:pt x="609" y="495"/>
                  </a:lnTo>
                  <a:lnTo>
                    <a:pt x="603" y="493"/>
                  </a:lnTo>
                  <a:lnTo>
                    <a:pt x="601" y="492"/>
                  </a:lnTo>
                  <a:lnTo>
                    <a:pt x="599" y="492"/>
                  </a:lnTo>
                  <a:lnTo>
                    <a:pt x="597" y="491"/>
                  </a:lnTo>
                  <a:lnTo>
                    <a:pt x="595" y="490"/>
                  </a:lnTo>
                  <a:lnTo>
                    <a:pt x="593" y="490"/>
                  </a:lnTo>
                  <a:lnTo>
                    <a:pt x="590" y="490"/>
                  </a:lnTo>
                  <a:lnTo>
                    <a:pt x="588" y="489"/>
                  </a:lnTo>
                  <a:lnTo>
                    <a:pt x="587" y="489"/>
                  </a:lnTo>
                  <a:lnTo>
                    <a:pt x="586" y="489"/>
                  </a:lnTo>
                  <a:lnTo>
                    <a:pt x="584" y="489"/>
                  </a:lnTo>
                  <a:lnTo>
                    <a:pt x="583" y="490"/>
                  </a:lnTo>
                  <a:lnTo>
                    <a:pt x="582" y="490"/>
                  </a:lnTo>
                  <a:lnTo>
                    <a:pt x="580" y="491"/>
                  </a:lnTo>
                  <a:lnTo>
                    <a:pt x="579" y="491"/>
                  </a:lnTo>
                  <a:lnTo>
                    <a:pt x="578" y="492"/>
                  </a:lnTo>
                  <a:lnTo>
                    <a:pt x="576" y="494"/>
                  </a:lnTo>
                  <a:lnTo>
                    <a:pt x="574" y="495"/>
                  </a:lnTo>
                  <a:lnTo>
                    <a:pt x="570" y="499"/>
                  </a:lnTo>
                  <a:lnTo>
                    <a:pt x="563" y="506"/>
                  </a:lnTo>
                  <a:lnTo>
                    <a:pt x="561" y="507"/>
                  </a:lnTo>
                  <a:lnTo>
                    <a:pt x="556" y="511"/>
                  </a:lnTo>
                  <a:lnTo>
                    <a:pt x="553" y="514"/>
                  </a:lnTo>
                  <a:lnTo>
                    <a:pt x="550" y="516"/>
                  </a:lnTo>
                  <a:lnTo>
                    <a:pt x="549" y="517"/>
                  </a:lnTo>
                  <a:lnTo>
                    <a:pt x="548" y="518"/>
                  </a:lnTo>
                  <a:lnTo>
                    <a:pt x="547" y="519"/>
                  </a:lnTo>
                  <a:lnTo>
                    <a:pt x="547" y="520"/>
                  </a:lnTo>
                  <a:lnTo>
                    <a:pt x="546" y="521"/>
                  </a:lnTo>
                  <a:lnTo>
                    <a:pt x="545" y="523"/>
                  </a:lnTo>
                  <a:lnTo>
                    <a:pt x="544" y="525"/>
                  </a:lnTo>
                  <a:lnTo>
                    <a:pt x="542" y="531"/>
                  </a:lnTo>
                  <a:lnTo>
                    <a:pt x="542" y="533"/>
                  </a:lnTo>
                  <a:lnTo>
                    <a:pt x="541" y="534"/>
                  </a:lnTo>
                  <a:lnTo>
                    <a:pt x="540" y="536"/>
                  </a:lnTo>
                  <a:lnTo>
                    <a:pt x="539" y="538"/>
                  </a:lnTo>
                  <a:lnTo>
                    <a:pt x="536" y="543"/>
                  </a:lnTo>
                  <a:lnTo>
                    <a:pt x="535" y="545"/>
                  </a:lnTo>
                  <a:lnTo>
                    <a:pt x="534" y="547"/>
                  </a:lnTo>
                  <a:lnTo>
                    <a:pt x="532" y="549"/>
                  </a:lnTo>
                  <a:lnTo>
                    <a:pt x="527" y="554"/>
                  </a:lnTo>
                  <a:lnTo>
                    <a:pt x="521" y="560"/>
                  </a:lnTo>
                  <a:lnTo>
                    <a:pt x="519" y="563"/>
                  </a:lnTo>
                  <a:lnTo>
                    <a:pt x="517" y="565"/>
                  </a:lnTo>
                  <a:lnTo>
                    <a:pt x="516" y="567"/>
                  </a:lnTo>
                  <a:lnTo>
                    <a:pt x="512" y="575"/>
                  </a:lnTo>
                  <a:lnTo>
                    <a:pt x="510" y="578"/>
                  </a:lnTo>
                  <a:lnTo>
                    <a:pt x="507" y="584"/>
                  </a:lnTo>
                  <a:lnTo>
                    <a:pt x="506" y="587"/>
                  </a:lnTo>
                  <a:lnTo>
                    <a:pt x="504" y="592"/>
                  </a:lnTo>
                  <a:lnTo>
                    <a:pt x="501" y="597"/>
                  </a:lnTo>
                  <a:lnTo>
                    <a:pt x="500" y="599"/>
                  </a:lnTo>
                  <a:lnTo>
                    <a:pt x="499" y="602"/>
                  </a:lnTo>
                  <a:lnTo>
                    <a:pt x="498" y="607"/>
                  </a:lnTo>
                  <a:lnTo>
                    <a:pt x="497" y="610"/>
                  </a:lnTo>
                  <a:lnTo>
                    <a:pt x="495" y="612"/>
                  </a:lnTo>
                  <a:lnTo>
                    <a:pt x="493" y="616"/>
                  </a:lnTo>
                  <a:lnTo>
                    <a:pt x="492" y="618"/>
                  </a:lnTo>
                  <a:lnTo>
                    <a:pt x="491" y="621"/>
                  </a:lnTo>
                  <a:lnTo>
                    <a:pt x="490" y="623"/>
                  </a:lnTo>
                  <a:lnTo>
                    <a:pt x="488" y="627"/>
                  </a:lnTo>
                  <a:lnTo>
                    <a:pt x="488" y="628"/>
                  </a:lnTo>
                  <a:lnTo>
                    <a:pt x="488" y="629"/>
                  </a:lnTo>
                  <a:lnTo>
                    <a:pt x="487" y="633"/>
                  </a:lnTo>
                  <a:lnTo>
                    <a:pt x="486" y="639"/>
                  </a:lnTo>
                  <a:lnTo>
                    <a:pt x="485" y="642"/>
                  </a:lnTo>
                  <a:lnTo>
                    <a:pt x="485" y="644"/>
                  </a:lnTo>
                  <a:lnTo>
                    <a:pt x="484" y="646"/>
                  </a:lnTo>
                  <a:lnTo>
                    <a:pt x="483" y="648"/>
                  </a:lnTo>
                  <a:lnTo>
                    <a:pt x="483" y="649"/>
                  </a:lnTo>
                  <a:lnTo>
                    <a:pt x="482" y="651"/>
                  </a:lnTo>
                  <a:lnTo>
                    <a:pt x="481" y="652"/>
                  </a:lnTo>
                  <a:lnTo>
                    <a:pt x="480" y="653"/>
                  </a:lnTo>
                  <a:lnTo>
                    <a:pt x="479" y="655"/>
                  </a:lnTo>
                  <a:lnTo>
                    <a:pt x="478" y="656"/>
                  </a:lnTo>
                  <a:lnTo>
                    <a:pt x="477" y="656"/>
                  </a:lnTo>
                  <a:lnTo>
                    <a:pt x="476" y="656"/>
                  </a:lnTo>
                  <a:lnTo>
                    <a:pt x="475" y="657"/>
                  </a:lnTo>
                  <a:lnTo>
                    <a:pt x="474" y="657"/>
                  </a:lnTo>
                  <a:lnTo>
                    <a:pt x="474" y="657"/>
                  </a:lnTo>
                  <a:lnTo>
                    <a:pt x="473" y="657"/>
                  </a:lnTo>
                  <a:lnTo>
                    <a:pt x="472" y="657"/>
                  </a:lnTo>
                  <a:lnTo>
                    <a:pt x="471" y="656"/>
                  </a:lnTo>
                  <a:lnTo>
                    <a:pt x="470" y="656"/>
                  </a:lnTo>
                  <a:lnTo>
                    <a:pt x="470" y="655"/>
                  </a:lnTo>
                  <a:lnTo>
                    <a:pt x="469" y="655"/>
                  </a:lnTo>
                  <a:lnTo>
                    <a:pt x="469" y="654"/>
                  </a:lnTo>
                  <a:lnTo>
                    <a:pt x="469" y="653"/>
                  </a:lnTo>
                  <a:lnTo>
                    <a:pt x="468" y="652"/>
                  </a:lnTo>
                  <a:lnTo>
                    <a:pt x="468" y="651"/>
                  </a:lnTo>
                  <a:lnTo>
                    <a:pt x="468" y="646"/>
                  </a:lnTo>
                  <a:lnTo>
                    <a:pt x="467" y="640"/>
                  </a:lnTo>
                  <a:lnTo>
                    <a:pt x="466" y="637"/>
                  </a:lnTo>
                  <a:lnTo>
                    <a:pt x="466" y="633"/>
                  </a:lnTo>
                  <a:lnTo>
                    <a:pt x="466" y="630"/>
                  </a:lnTo>
                  <a:lnTo>
                    <a:pt x="465" y="626"/>
                  </a:lnTo>
                  <a:lnTo>
                    <a:pt x="464" y="622"/>
                  </a:lnTo>
                  <a:lnTo>
                    <a:pt x="464" y="620"/>
                  </a:lnTo>
                  <a:lnTo>
                    <a:pt x="463" y="618"/>
                  </a:lnTo>
                  <a:lnTo>
                    <a:pt x="463" y="611"/>
                  </a:lnTo>
                  <a:lnTo>
                    <a:pt x="463" y="610"/>
                  </a:lnTo>
                  <a:lnTo>
                    <a:pt x="462" y="608"/>
                  </a:lnTo>
                  <a:lnTo>
                    <a:pt x="462" y="607"/>
                  </a:lnTo>
                  <a:lnTo>
                    <a:pt x="461" y="605"/>
                  </a:lnTo>
                  <a:lnTo>
                    <a:pt x="461" y="603"/>
                  </a:lnTo>
                  <a:lnTo>
                    <a:pt x="460" y="602"/>
                  </a:lnTo>
                  <a:lnTo>
                    <a:pt x="459" y="600"/>
                  </a:lnTo>
                  <a:lnTo>
                    <a:pt x="457" y="599"/>
                  </a:lnTo>
                  <a:lnTo>
                    <a:pt x="457" y="598"/>
                  </a:lnTo>
                  <a:lnTo>
                    <a:pt x="456" y="597"/>
                  </a:lnTo>
                  <a:lnTo>
                    <a:pt x="455" y="596"/>
                  </a:lnTo>
                  <a:lnTo>
                    <a:pt x="454" y="596"/>
                  </a:lnTo>
                  <a:lnTo>
                    <a:pt x="453" y="596"/>
                  </a:lnTo>
                  <a:lnTo>
                    <a:pt x="452" y="595"/>
                  </a:lnTo>
                  <a:lnTo>
                    <a:pt x="450" y="595"/>
                  </a:lnTo>
                  <a:lnTo>
                    <a:pt x="449" y="595"/>
                  </a:lnTo>
                  <a:lnTo>
                    <a:pt x="448" y="595"/>
                  </a:lnTo>
                  <a:lnTo>
                    <a:pt x="447" y="595"/>
                  </a:lnTo>
                  <a:lnTo>
                    <a:pt x="446" y="595"/>
                  </a:lnTo>
                  <a:lnTo>
                    <a:pt x="445" y="595"/>
                  </a:lnTo>
                  <a:lnTo>
                    <a:pt x="442" y="596"/>
                  </a:lnTo>
                  <a:lnTo>
                    <a:pt x="440" y="597"/>
                  </a:lnTo>
                  <a:lnTo>
                    <a:pt x="438" y="597"/>
                  </a:lnTo>
                  <a:lnTo>
                    <a:pt x="435" y="597"/>
                  </a:lnTo>
                  <a:lnTo>
                    <a:pt x="432" y="598"/>
                  </a:lnTo>
                  <a:lnTo>
                    <a:pt x="428" y="598"/>
                  </a:lnTo>
                  <a:lnTo>
                    <a:pt x="422" y="599"/>
                  </a:lnTo>
                  <a:lnTo>
                    <a:pt x="419" y="600"/>
                  </a:lnTo>
                  <a:lnTo>
                    <a:pt x="414" y="600"/>
                  </a:lnTo>
                  <a:lnTo>
                    <a:pt x="413" y="600"/>
                  </a:lnTo>
                  <a:lnTo>
                    <a:pt x="412" y="600"/>
                  </a:lnTo>
                  <a:lnTo>
                    <a:pt x="409" y="600"/>
                  </a:lnTo>
                  <a:lnTo>
                    <a:pt x="404" y="598"/>
                  </a:lnTo>
                  <a:lnTo>
                    <a:pt x="402" y="598"/>
                  </a:lnTo>
                  <a:lnTo>
                    <a:pt x="400" y="597"/>
                  </a:lnTo>
                  <a:lnTo>
                    <a:pt x="397" y="595"/>
                  </a:lnTo>
                  <a:lnTo>
                    <a:pt x="395" y="594"/>
                  </a:lnTo>
                  <a:lnTo>
                    <a:pt x="393" y="593"/>
                  </a:lnTo>
                  <a:lnTo>
                    <a:pt x="390" y="590"/>
                  </a:lnTo>
                  <a:lnTo>
                    <a:pt x="389" y="589"/>
                  </a:lnTo>
                  <a:lnTo>
                    <a:pt x="388" y="589"/>
                  </a:lnTo>
                  <a:lnTo>
                    <a:pt x="387" y="588"/>
                  </a:lnTo>
                  <a:lnTo>
                    <a:pt x="383" y="587"/>
                  </a:lnTo>
                  <a:lnTo>
                    <a:pt x="382" y="586"/>
                  </a:lnTo>
                  <a:lnTo>
                    <a:pt x="380" y="586"/>
                  </a:lnTo>
                  <a:lnTo>
                    <a:pt x="379" y="585"/>
                  </a:lnTo>
                  <a:lnTo>
                    <a:pt x="378" y="585"/>
                  </a:lnTo>
                  <a:lnTo>
                    <a:pt x="377" y="585"/>
                  </a:lnTo>
                  <a:lnTo>
                    <a:pt x="375" y="585"/>
                  </a:lnTo>
                  <a:lnTo>
                    <a:pt x="374" y="585"/>
                  </a:lnTo>
                  <a:lnTo>
                    <a:pt x="373" y="585"/>
                  </a:lnTo>
                  <a:lnTo>
                    <a:pt x="368" y="585"/>
                  </a:lnTo>
                  <a:lnTo>
                    <a:pt x="367" y="585"/>
                  </a:lnTo>
                  <a:lnTo>
                    <a:pt x="366" y="585"/>
                  </a:lnTo>
                  <a:lnTo>
                    <a:pt x="365" y="585"/>
                  </a:lnTo>
                  <a:lnTo>
                    <a:pt x="364" y="585"/>
                  </a:lnTo>
                  <a:lnTo>
                    <a:pt x="364" y="585"/>
                  </a:lnTo>
                  <a:lnTo>
                    <a:pt x="363" y="585"/>
                  </a:lnTo>
                  <a:lnTo>
                    <a:pt x="363" y="584"/>
                  </a:lnTo>
                  <a:lnTo>
                    <a:pt x="362" y="584"/>
                  </a:lnTo>
                  <a:lnTo>
                    <a:pt x="362" y="583"/>
                  </a:lnTo>
                  <a:lnTo>
                    <a:pt x="361" y="582"/>
                  </a:lnTo>
                  <a:lnTo>
                    <a:pt x="361" y="582"/>
                  </a:lnTo>
                  <a:lnTo>
                    <a:pt x="360" y="581"/>
                  </a:lnTo>
                  <a:lnTo>
                    <a:pt x="360" y="580"/>
                  </a:lnTo>
                  <a:lnTo>
                    <a:pt x="360" y="579"/>
                  </a:lnTo>
                  <a:lnTo>
                    <a:pt x="359" y="573"/>
                  </a:lnTo>
                  <a:lnTo>
                    <a:pt x="358" y="570"/>
                  </a:lnTo>
                  <a:lnTo>
                    <a:pt x="358" y="568"/>
                  </a:lnTo>
                  <a:lnTo>
                    <a:pt x="358" y="567"/>
                  </a:lnTo>
                  <a:lnTo>
                    <a:pt x="357" y="566"/>
                  </a:lnTo>
                  <a:lnTo>
                    <a:pt x="357" y="564"/>
                  </a:lnTo>
                  <a:lnTo>
                    <a:pt x="356" y="563"/>
                  </a:lnTo>
                  <a:lnTo>
                    <a:pt x="355" y="562"/>
                  </a:lnTo>
                  <a:lnTo>
                    <a:pt x="354" y="560"/>
                  </a:lnTo>
                  <a:lnTo>
                    <a:pt x="352" y="559"/>
                  </a:lnTo>
                  <a:lnTo>
                    <a:pt x="351" y="558"/>
                  </a:lnTo>
                  <a:lnTo>
                    <a:pt x="350" y="557"/>
                  </a:lnTo>
                  <a:lnTo>
                    <a:pt x="349" y="556"/>
                  </a:lnTo>
                  <a:lnTo>
                    <a:pt x="348" y="555"/>
                  </a:lnTo>
                  <a:lnTo>
                    <a:pt x="346" y="555"/>
                  </a:lnTo>
                  <a:lnTo>
                    <a:pt x="344" y="554"/>
                  </a:lnTo>
                  <a:lnTo>
                    <a:pt x="343" y="554"/>
                  </a:lnTo>
                  <a:lnTo>
                    <a:pt x="341" y="554"/>
                  </a:lnTo>
                  <a:lnTo>
                    <a:pt x="336" y="554"/>
                  </a:lnTo>
                  <a:lnTo>
                    <a:pt x="334" y="554"/>
                  </a:lnTo>
                  <a:lnTo>
                    <a:pt x="332" y="554"/>
                  </a:lnTo>
                  <a:lnTo>
                    <a:pt x="330" y="554"/>
                  </a:lnTo>
                  <a:lnTo>
                    <a:pt x="328" y="554"/>
                  </a:lnTo>
                  <a:lnTo>
                    <a:pt x="327" y="553"/>
                  </a:lnTo>
                  <a:lnTo>
                    <a:pt x="325" y="553"/>
                  </a:lnTo>
                  <a:lnTo>
                    <a:pt x="323" y="552"/>
                  </a:lnTo>
                  <a:lnTo>
                    <a:pt x="322" y="552"/>
                  </a:lnTo>
                  <a:lnTo>
                    <a:pt x="312" y="547"/>
                  </a:lnTo>
                  <a:lnTo>
                    <a:pt x="310" y="545"/>
                  </a:lnTo>
                  <a:lnTo>
                    <a:pt x="306" y="542"/>
                  </a:lnTo>
                  <a:lnTo>
                    <a:pt x="304" y="542"/>
                  </a:lnTo>
                  <a:lnTo>
                    <a:pt x="302" y="540"/>
                  </a:lnTo>
                  <a:lnTo>
                    <a:pt x="301" y="540"/>
                  </a:lnTo>
                  <a:lnTo>
                    <a:pt x="300" y="540"/>
                  </a:lnTo>
                  <a:lnTo>
                    <a:pt x="299" y="540"/>
                  </a:lnTo>
                  <a:lnTo>
                    <a:pt x="298" y="540"/>
                  </a:lnTo>
                  <a:lnTo>
                    <a:pt x="298" y="540"/>
                  </a:lnTo>
                  <a:lnTo>
                    <a:pt x="297" y="540"/>
                  </a:lnTo>
                  <a:lnTo>
                    <a:pt x="295" y="540"/>
                  </a:lnTo>
                  <a:lnTo>
                    <a:pt x="292" y="541"/>
                  </a:lnTo>
                  <a:lnTo>
                    <a:pt x="290" y="542"/>
                  </a:lnTo>
                  <a:lnTo>
                    <a:pt x="288" y="542"/>
                  </a:lnTo>
                  <a:lnTo>
                    <a:pt x="286" y="542"/>
                  </a:lnTo>
                  <a:lnTo>
                    <a:pt x="282" y="542"/>
                  </a:lnTo>
                  <a:lnTo>
                    <a:pt x="279" y="542"/>
                  </a:lnTo>
                  <a:lnTo>
                    <a:pt x="275" y="542"/>
                  </a:lnTo>
                  <a:lnTo>
                    <a:pt x="270" y="542"/>
                  </a:lnTo>
                  <a:lnTo>
                    <a:pt x="269" y="542"/>
                  </a:lnTo>
                  <a:lnTo>
                    <a:pt x="268" y="542"/>
                  </a:lnTo>
                  <a:lnTo>
                    <a:pt x="267" y="542"/>
                  </a:lnTo>
                  <a:lnTo>
                    <a:pt x="266" y="542"/>
                  </a:lnTo>
                  <a:lnTo>
                    <a:pt x="265" y="542"/>
                  </a:lnTo>
                  <a:lnTo>
                    <a:pt x="264" y="543"/>
                  </a:lnTo>
                  <a:lnTo>
                    <a:pt x="263" y="544"/>
                  </a:lnTo>
                  <a:lnTo>
                    <a:pt x="262" y="545"/>
                  </a:lnTo>
                  <a:lnTo>
                    <a:pt x="261" y="546"/>
                  </a:lnTo>
                  <a:lnTo>
                    <a:pt x="260" y="548"/>
                  </a:lnTo>
                  <a:lnTo>
                    <a:pt x="258" y="550"/>
                  </a:lnTo>
                  <a:lnTo>
                    <a:pt x="256" y="555"/>
                  </a:lnTo>
                  <a:lnTo>
                    <a:pt x="255" y="558"/>
                  </a:lnTo>
                  <a:lnTo>
                    <a:pt x="253" y="563"/>
                  </a:lnTo>
                  <a:lnTo>
                    <a:pt x="252" y="565"/>
                  </a:lnTo>
                  <a:lnTo>
                    <a:pt x="251" y="567"/>
                  </a:lnTo>
                  <a:lnTo>
                    <a:pt x="251" y="568"/>
                  </a:lnTo>
                  <a:lnTo>
                    <a:pt x="247" y="573"/>
                  </a:lnTo>
                  <a:lnTo>
                    <a:pt x="244" y="579"/>
                  </a:lnTo>
                  <a:lnTo>
                    <a:pt x="242" y="581"/>
                  </a:lnTo>
                  <a:lnTo>
                    <a:pt x="241" y="582"/>
                  </a:lnTo>
                  <a:lnTo>
                    <a:pt x="240" y="583"/>
                  </a:lnTo>
                  <a:lnTo>
                    <a:pt x="238" y="584"/>
                  </a:lnTo>
                  <a:lnTo>
                    <a:pt x="237" y="586"/>
                  </a:lnTo>
                  <a:lnTo>
                    <a:pt x="233" y="588"/>
                  </a:lnTo>
                  <a:lnTo>
                    <a:pt x="232" y="589"/>
                  </a:lnTo>
                  <a:lnTo>
                    <a:pt x="230" y="590"/>
                  </a:lnTo>
                  <a:lnTo>
                    <a:pt x="229" y="590"/>
                  </a:lnTo>
                  <a:lnTo>
                    <a:pt x="227" y="590"/>
                  </a:lnTo>
                  <a:lnTo>
                    <a:pt x="226" y="590"/>
                  </a:lnTo>
                  <a:lnTo>
                    <a:pt x="224" y="590"/>
                  </a:lnTo>
                  <a:lnTo>
                    <a:pt x="223" y="590"/>
                  </a:lnTo>
                  <a:lnTo>
                    <a:pt x="222" y="589"/>
                  </a:lnTo>
                  <a:lnTo>
                    <a:pt x="221" y="589"/>
                  </a:lnTo>
                  <a:lnTo>
                    <a:pt x="220" y="588"/>
                  </a:lnTo>
                  <a:lnTo>
                    <a:pt x="218" y="587"/>
                  </a:lnTo>
                  <a:lnTo>
                    <a:pt x="217" y="586"/>
                  </a:lnTo>
                  <a:lnTo>
                    <a:pt x="217" y="586"/>
                  </a:lnTo>
                  <a:lnTo>
                    <a:pt x="216" y="585"/>
                  </a:lnTo>
                  <a:lnTo>
                    <a:pt x="215" y="585"/>
                  </a:lnTo>
                  <a:lnTo>
                    <a:pt x="215" y="585"/>
                  </a:lnTo>
                  <a:lnTo>
                    <a:pt x="214" y="585"/>
                  </a:lnTo>
                  <a:lnTo>
                    <a:pt x="213" y="585"/>
                  </a:lnTo>
                  <a:lnTo>
                    <a:pt x="212" y="586"/>
                  </a:lnTo>
                  <a:lnTo>
                    <a:pt x="210" y="587"/>
                  </a:lnTo>
                  <a:lnTo>
                    <a:pt x="209" y="587"/>
                  </a:lnTo>
                  <a:lnTo>
                    <a:pt x="208" y="588"/>
                  </a:lnTo>
                  <a:lnTo>
                    <a:pt x="207" y="588"/>
                  </a:lnTo>
                  <a:lnTo>
                    <a:pt x="206" y="588"/>
                  </a:lnTo>
                  <a:lnTo>
                    <a:pt x="205" y="588"/>
                  </a:lnTo>
                  <a:lnTo>
                    <a:pt x="204" y="588"/>
                  </a:lnTo>
                  <a:lnTo>
                    <a:pt x="203" y="588"/>
                  </a:lnTo>
                  <a:lnTo>
                    <a:pt x="201" y="588"/>
                  </a:lnTo>
                  <a:lnTo>
                    <a:pt x="197" y="587"/>
                  </a:lnTo>
                  <a:lnTo>
                    <a:pt x="195" y="587"/>
                  </a:lnTo>
                  <a:lnTo>
                    <a:pt x="191" y="586"/>
                  </a:lnTo>
                  <a:lnTo>
                    <a:pt x="189" y="586"/>
                  </a:lnTo>
                  <a:lnTo>
                    <a:pt x="186" y="586"/>
                  </a:lnTo>
                  <a:lnTo>
                    <a:pt x="184" y="586"/>
                  </a:lnTo>
                  <a:lnTo>
                    <a:pt x="179" y="586"/>
                  </a:lnTo>
                  <a:lnTo>
                    <a:pt x="176" y="586"/>
                  </a:lnTo>
                  <a:lnTo>
                    <a:pt x="172" y="586"/>
                  </a:lnTo>
                  <a:lnTo>
                    <a:pt x="167" y="585"/>
                  </a:lnTo>
                  <a:lnTo>
                    <a:pt x="161" y="585"/>
                  </a:lnTo>
                  <a:lnTo>
                    <a:pt x="143" y="583"/>
                  </a:lnTo>
                  <a:lnTo>
                    <a:pt x="139" y="583"/>
                  </a:lnTo>
                  <a:lnTo>
                    <a:pt x="137" y="583"/>
                  </a:lnTo>
                  <a:lnTo>
                    <a:pt x="134" y="583"/>
                  </a:lnTo>
                  <a:lnTo>
                    <a:pt x="133" y="583"/>
                  </a:lnTo>
                  <a:lnTo>
                    <a:pt x="128" y="583"/>
                  </a:lnTo>
                  <a:lnTo>
                    <a:pt x="125" y="583"/>
                  </a:lnTo>
                  <a:lnTo>
                    <a:pt x="123" y="583"/>
                  </a:lnTo>
                  <a:lnTo>
                    <a:pt x="119" y="583"/>
                  </a:lnTo>
                  <a:lnTo>
                    <a:pt x="112" y="582"/>
                  </a:lnTo>
                  <a:lnTo>
                    <a:pt x="110" y="582"/>
                  </a:lnTo>
                  <a:lnTo>
                    <a:pt x="108" y="582"/>
                  </a:lnTo>
                  <a:lnTo>
                    <a:pt x="106" y="581"/>
                  </a:lnTo>
                  <a:lnTo>
                    <a:pt x="104" y="581"/>
                  </a:lnTo>
                  <a:lnTo>
                    <a:pt x="103" y="580"/>
                  </a:lnTo>
                  <a:lnTo>
                    <a:pt x="101" y="580"/>
                  </a:lnTo>
                  <a:lnTo>
                    <a:pt x="99" y="579"/>
                  </a:lnTo>
                  <a:lnTo>
                    <a:pt x="97" y="578"/>
                  </a:lnTo>
                  <a:lnTo>
                    <a:pt x="95" y="577"/>
                  </a:lnTo>
                  <a:lnTo>
                    <a:pt x="91" y="575"/>
                  </a:lnTo>
                  <a:lnTo>
                    <a:pt x="83" y="571"/>
                  </a:lnTo>
                  <a:lnTo>
                    <a:pt x="71" y="565"/>
                  </a:lnTo>
                  <a:lnTo>
                    <a:pt x="67" y="562"/>
                  </a:lnTo>
                  <a:lnTo>
                    <a:pt x="65" y="561"/>
                  </a:lnTo>
                  <a:lnTo>
                    <a:pt x="63" y="560"/>
                  </a:lnTo>
                  <a:lnTo>
                    <a:pt x="62" y="559"/>
                  </a:lnTo>
                  <a:lnTo>
                    <a:pt x="60" y="557"/>
                  </a:lnTo>
                  <a:lnTo>
                    <a:pt x="57" y="555"/>
                  </a:lnTo>
                  <a:lnTo>
                    <a:pt x="55" y="553"/>
                  </a:lnTo>
                  <a:lnTo>
                    <a:pt x="53" y="552"/>
                  </a:lnTo>
                  <a:lnTo>
                    <a:pt x="51" y="550"/>
                  </a:lnTo>
                  <a:lnTo>
                    <a:pt x="50" y="548"/>
                  </a:lnTo>
                  <a:lnTo>
                    <a:pt x="49" y="547"/>
                  </a:lnTo>
                  <a:lnTo>
                    <a:pt x="48" y="546"/>
                  </a:lnTo>
                  <a:lnTo>
                    <a:pt x="47" y="545"/>
                  </a:lnTo>
                  <a:lnTo>
                    <a:pt x="46" y="544"/>
                  </a:lnTo>
                  <a:lnTo>
                    <a:pt x="46" y="543"/>
                  </a:lnTo>
                  <a:lnTo>
                    <a:pt x="45" y="542"/>
                  </a:lnTo>
                  <a:lnTo>
                    <a:pt x="44" y="538"/>
                  </a:lnTo>
                  <a:lnTo>
                    <a:pt x="44" y="537"/>
                  </a:lnTo>
                  <a:lnTo>
                    <a:pt x="44" y="536"/>
                  </a:lnTo>
                  <a:lnTo>
                    <a:pt x="44" y="536"/>
                  </a:lnTo>
                  <a:lnTo>
                    <a:pt x="43" y="535"/>
                  </a:lnTo>
                  <a:lnTo>
                    <a:pt x="43" y="535"/>
                  </a:lnTo>
                  <a:lnTo>
                    <a:pt x="42" y="534"/>
                  </a:lnTo>
                  <a:lnTo>
                    <a:pt x="41" y="533"/>
                  </a:lnTo>
                  <a:lnTo>
                    <a:pt x="40" y="533"/>
                  </a:lnTo>
                  <a:lnTo>
                    <a:pt x="39" y="533"/>
                  </a:lnTo>
                  <a:lnTo>
                    <a:pt x="38" y="532"/>
                  </a:lnTo>
                  <a:lnTo>
                    <a:pt x="37" y="532"/>
                  </a:lnTo>
                  <a:lnTo>
                    <a:pt x="36" y="532"/>
                  </a:lnTo>
                  <a:lnTo>
                    <a:pt x="36" y="532"/>
                  </a:lnTo>
                  <a:lnTo>
                    <a:pt x="35" y="531"/>
                  </a:lnTo>
                  <a:lnTo>
                    <a:pt x="34" y="530"/>
                  </a:lnTo>
                  <a:lnTo>
                    <a:pt x="32" y="528"/>
                  </a:lnTo>
                  <a:lnTo>
                    <a:pt x="31" y="528"/>
                  </a:lnTo>
                  <a:lnTo>
                    <a:pt x="30" y="527"/>
                  </a:lnTo>
                  <a:lnTo>
                    <a:pt x="29" y="526"/>
                  </a:lnTo>
                  <a:lnTo>
                    <a:pt x="28" y="526"/>
                  </a:lnTo>
                  <a:lnTo>
                    <a:pt x="27" y="525"/>
                  </a:lnTo>
                  <a:lnTo>
                    <a:pt x="23" y="524"/>
                  </a:lnTo>
                  <a:lnTo>
                    <a:pt x="22" y="524"/>
                  </a:lnTo>
                  <a:lnTo>
                    <a:pt x="22" y="524"/>
                  </a:lnTo>
                  <a:lnTo>
                    <a:pt x="21" y="523"/>
                  </a:lnTo>
                  <a:lnTo>
                    <a:pt x="21" y="523"/>
                  </a:lnTo>
                  <a:lnTo>
                    <a:pt x="20" y="522"/>
                  </a:lnTo>
                  <a:lnTo>
                    <a:pt x="20" y="521"/>
                  </a:lnTo>
                  <a:lnTo>
                    <a:pt x="20" y="521"/>
                  </a:lnTo>
                  <a:lnTo>
                    <a:pt x="20" y="520"/>
                  </a:lnTo>
                  <a:lnTo>
                    <a:pt x="19" y="519"/>
                  </a:lnTo>
                  <a:lnTo>
                    <a:pt x="18" y="519"/>
                  </a:lnTo>
                  <a:lnTo>
                    <a:pt x="16" y="518"/>
                  </a:lnTo>
                  <a:lnTo>
                    <a:pt x="15" y="517"/>
                  </a:lnTo>
                  <a:lnTo>
                    <a:pt x="14" y="516"/>
                  </a:lnTo>
                  <a:lnTo>
                    <a:pt x="12" y="514"/>
                  </a:lnTo>
                  <a:lnTo>
                    <a:pt x="11" y="513"/>
                  </a:lnTo>
                  <a:lnTo>
                    <a:pt x="10" y="513"/>
                  </a:lnTo>
                  <a:lnTo>
                    <a:pt x="10" y="512"/>
                  </a:lnTo>
                  <a:lnTo>
                    <a:pt x="9" y="512"/>
                  </a:lnTo>
                  <a:lnTo>
                    <a:pt x="7" y="512"/>
                  </a:lnTo>
                  <a:lnTo>
                    <a:pt x="5" y="511"/>
                  </a:lnTo>
                  <a:lnTo>
                    <a:pt x="3" y="510"/>
                  </a:lnTo>
                  <a:lnTo>
                    <a:pt x="2" y="510"/>
                  </a:lnTo>
                  <a:lnTo>
                    <a:pt x="1" y="509"/>
                  </a:lnTo>
                  <a:lnTo>
                    <a:pt x="1" y="508"/>
                  </a:lnTo>
                  <a:lnTo>
                    <a:pt x="0" y="507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8" name="Freeform 251">
              <a:extLst>
                <a:ext uri="{FF2B5EF4-FFF2-40B4-BE49-F238E27FC236}">
                  <a16:creationId xmlns:a16="http://schemas.microsoft.com/office/drawing/2014/main" id="{D1349DD4-FD0A-4B72-BA93-D01745DED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55219" y="2775486"/>
              <a:ext cx="438190" cy="521751"/>
            </a:xfrm>
            <a:custGeom>
              <a:avLst/>
              <a:gdLst>
                <a:gd name="T0" fmla="*/ 127 w 430"/>
                <a:gd name="T1" fmla="*/ 501 h 512"/>
                <a:gd name="T2" fmla="*/ 103 w 430"/>
                <a:gd name="T3" fmla="*/ 504 h 512"/>
                <a:gd name="T4" fmla="*/ 83 w 430"/>
                <a:gd name="T5" fmla="*/ 512 h 512"/>
                <a:gd name="T6" fmla="*/ 50 w 430"/>
                <a:gd name="T7" fmla="*/ 499 h 512"/>
                <a:gd name="T8" fmla="*/ 18 w 430"/>
                <a:gd name="T9" fmla="*/ 485 h 512"/>
                <a:gd name="T10" fmla="*/ 5 w 430"/>
                <a:gd name="T11" fmla="*/ 469 h 512"/>
                <a:gd name="T12" fmla="*/ 9 w 430"/>
                <a:gd name="T13" fmla="*/ 465 h 512"/>
                <a:gd name="T14" fmla="*/ 15 w 430"/>
                <a:gd name="T15" fmla="*/ 458 h 512"/>
                <a:gd name="T16" fmla="*/ 21 w 430"/>
                <a:gd name="T17" fmla="*/ 451 h 512"/>
                <a:gd name="T18" fmla="*/ 35 w 430"/>
                <a:gd name="T19" fmla="*/ 454 h 512"/>
                <a:gd name="T20" fmla="*/ 46 w 430"/>
                <a:gd name="T21" fmla="*/ 454 h 512"/>
                <a:gd name="T22" fmla="*/ 57 w 430"/>
                <a:gd name="T23" fmla="*/ 443 h 512"/>
                <a:gd name="T24" fmla="*/ 79 w 430"/>
                <a:gd name="T25" fmla="*/ 448 h 512"/>
                <a:gd name="T26" fmla="*/ 89 w 430"/>
                <a:gd name="T27" fmla="*/ 440 h 512"/>
                <a:gd name="T28" fmla="*/ 108 w 430"/>
                <a:gd name="T29" fmla="*/ 426 h 512"/>
                <a:gd name="T30" fmla="*/ 127 w 430"/>
                <a:gd name="T31" fmla="*/ 411 h 512"/>
                <a:gd name="T32" fmla="*/ 144 w 430"/>
                <a:gd name="T33" fmla="*/ 407 h 512"/>
                <a:gd name="T34" fmla="*/ 151 w 430"/>
                <a:gd name="T35" fmla="*/ 395 h 512"/>
                <a:gd name="T36" fmla="*/ 163 w 430"/>
                <a:gd name="T37" fmla="*/ 394 h 512"/>
                <a:gd name="T38" fmla="*/ 177 w 430"/>
                <a:gd name="T39" fmla="*/ 384 h 512"/>
                <a:gd name="T40" fmla="*/ 186 w 430"/>
                <a:gd name="T41" fmla="*/ 391 h 512"/>
                <a:gd name="T42" fmla="*/ 204 w 430"/>
                <a:gd name="T43" fmla="*/ 395 h 512"/>
                <a:gd name="T44" fmla="*/ 221 w 430"/>
                <a:gd name="T45" fmla="*/ 391 h 512"/>
                <a:gd name="T46" fmla="*/ 248 w 430"/>
                <a:gd name="T47" fmla="*/ 390 h 512"/>
                <a:gd name="T48" fmla="*/ 255 w 430"/>
                <a:gd name="T49" fmla="*/ 378 h 512"/>
                <a:gd name="T50" fmla="*/ 269 w 430"/>
                <a:gd name="T51" fmla="*/ 369 h 512"/>
                <a:gd name="T52" fmla="*/ 289 w 430"/>
                <a:gd name="T53" fmla="*/ 363 h 512"/>
                <a:gd name="T54" fmla="*/ 299 w 430"/>
                <a:gd name="T55" fmla="*/ 350 h 512"/>
                <a:gd name="T56" fmla="*/ 299 w 430"/>
                <a:gd name="T57" fmla="*/ 340 h 512"/>
                <a:gd name="T58" fmla="*/ 288 w 430"/>
                <a:gd name="T59" fmla="*/ 327 h 512"/>
                <a:gd name="T60" fmla="*/ 297 w 430"/>
                <a:gd name="T61" fmla="*/ 320 h 512"/>
                <a:gd name="T62" fmla="*/ 296 w 430"/>
                <a:gd name="T63" fmla="*/ 307 h 512"/>
                <a:gd name="T64" fmla="*/ 309 w 430"/>
                <a:gd name="T65" fmla="*/ 297 h 512"/>
                <a:gd name="T66" fmla="*/ 310 w 430"/>
                <a:gd name="T67" fmla="*/ 284 h 512"/>
                <a:gd name="T68" fmla="*/ 299 w 430"/>
                <a:gd name="T69" fmla="*/ 273 h 512"/>
                <a:gd name="T70" fmla="*/ 301 w 430"/>
                <a:gd name="T71" fmla="*/ 259 h 512"/>
                <a:gd name="T72" fmla="*/ 314 w 430"/>
                <a:gd name="T73" fmla="*/ 246 h 512"/>
                <a:gd name="T74" fmla="*/ 309 w 430"/>
                <a:gd name="T75" fmla="*/ 234 h 512"/>
                <a:gd name="T76" fmla="*/ 315 w 430"/>
                <a:gd name="T77" fmla="*/ 217 h 512"/>
                <a:gd name="T78" fmla="*/ 315 w 430"/>
                <a:gd name="T79" fmla="*/ 207 h 512"/>
                <a:gd name="T80" fmla="*/ 303 w 430"/>
                <a:gd name="T81" fmla="*/ 201 h 512"/>
                <a:gd name="T82" fmla="*/ 306 w 430"/>
                <a:gd name="T83" fmla="*/ 196 h 512"/>
                <a:gd name="T84" fmla="*/ 291 w 430"/>
                <a:gd name="T85" fmla="*/ 181 h 512"/>
                <a:gd name="T86" fmla="*/ 295 w 430"/>
                <a:gd name="T87" fmla="*/ 156 h 512"/>
                <a:gd name="T88" fmla="*/ 308 w 430"/>
                <a:gd name="T89" fmla="*/ 137 h 512"/>
                <a:gd name="T90" fmla="*/ 330 w 430"/>
                <a:gd name="T91" fmla="*/ 131 h 512"/>
                <a:gd name="T92" fmla="*/ 333 w 430"/>
                <a:gd name="T93" fmla="*/ 124 h 512"/>
                <a:gd name="T94" fmla="*/ 323 w 430"/>
                <a:gd name="T95" fmla="*/ 119 h 512"/>
                <a:gd name="T96" fmla="*/ 333 w 430"/>
                <a:gd name="T97" fmla="*/ 109 h 512"/>
                <a:gd name="T98" fmla="*/ 343 w 430"/>
                <a:gd name="T99" fmla="*/ 114 h 512"/>
                <a:gd name="T100" fmla="*/ 351 w 430"/>
                <a:gd name="T101" fmla="*/ 117 h 512"/>
                <a:gd name="T102" fmla="*/ 356 w 430"/>
                <a:gd name="T103" fmla="*/ 105 h 512"/>
                <a:gd name="T104" fmla="*/ 348 w 430"/>
                <a:gd name="T105" fmla="*/ 92 h 512"/>
                <a:gd name="T106" fmla="*/ 354 w 430"/>
                <a:gd name="T107" fmla="*/ 89 h 512"/>
                <a:gd name="T108" fmla="*/ 368 w 430"/>
                <a:gd name="T109" fmla="*/ 75 h 512"/>
                <a:gd name="T110" fmla="*/ 366 w 430"/>
                <a:gd name="T111" fmla="*/ 65 h 512"/>
                <a:gd name="T112" fmla="*/ 354 w 430"/>
                <a:gd name="T113" fmla="*/ 54 h 512"/>
                <a:gd name="T114" fmla="*/ 359 w 430"/>
                <a:gd name="T115" fmla="*/ 34 h 512"/>
                <a:gd name="T116" fmla="*/ 367 w 430"/>
                <a:gd name="T117" fmla="*/ 32 h 512"/>
                <a:gd name="T118" fmla="*/ 380 w 430"/>
                <a:gd name="T119" fmla="*/ 24 h 512"/>
                <a:gd name="T120" fmla="*/ 399 w 430"/>
                <a:gd name="T121" fmla="*/ 24 h 512"/>
                <a:gd name="T122" fmla="*/ 420 w 430"/>
                <a:gd name="T123" fmla="*/ 25 h 512"/>
                <a:gd name="T124" fmla="*/ 430 w 430"/>
                <a:gd name="T125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0" h="512">
                  <a:moveTo>
                    <a:pt x="134" y="507"/>
                  </a:moveTo>
                  <a:lnTo>
                    <a:pt x="133" y="507"/>
                  </a:lnTo>
                  <a:lnTo>
                    <a:pt x="132" y="505"/>
                  </a:lnTo>
                  <a:lnTo>
                    <a:pt x="132" y="504"/>
                  </a:lnTo>
                  <a:lnTo>
                    <a:pt x="131" y="504"/>
                  </a:lnTo>
                  <a:lnTo>
                    <a:pt x="131" y="503"/>
                  </a:lnTo>
                  <a:lnTo>
                    <a:pt x="130" y="502"/>
                  </a:lnTo>
                  <a:lnTo>
                    <a:pt x="129" y="502"/>
                  </a:lnTo>
                  <a:lnTo>
                    <a:pt x="129" y="502"/>
                  </a:lnTo>
                  <a:lnTo>
                    <a:pt x="128" y="501"/>
                  </a:lnTo>
                  <a:lnTo>
                    <a:pt x="127" y="501"/>
                  </a:lnTo>
                  <a:lnTo>
                    <a:pt x="126" y="501"/>
                  </a:lnTo>
                  <a:lnTo>
                    <a:pt x="121" y="501"/>
                  </a:lnTo>
                  <a:lnTo>
                    <a:pt x="119" y="501"/>
                  </a:lnTo>
                  <a:lnTo>
                    <a:pt x="116" y="501"/>
                  </a:lnTo>
                  <a:lnTo>
                    <a:pt x="113" y="501"/>
                  </a:lnTo>
                  <a:lnTo>
                    <a:pt x="110" y="502"/>
                  </a:lnTo>
                  <a:lnTo>
                    <a:pt x="108" y="502"/>
                  </a:lnTo>
                  <a:lnTo>
                    <a:pt x="107" y="503"/>
                  </a:lnTo>
                  <a:lnTo>
                    <a:pt x="106" y="503"/>
                  </a:lnTo>
                  <a:lnTo>
                    <a:pt x="105" y="504"/>
                  </a:lnTo>
                  <a:lnTo>
                    <a:pt x="103" y="504"/>
                  </a:lnTo>
                  <a:lnTo>
                    <a:pt x="102" y="505"/>
                  </a:lnTo>
                  <a:lnTo>
                    <a:pt x="97" y="509"/>
                  </a:lnTo>
                  <a:lnTo>
                    <a:pt x="95" y="510"/>
                  </a:lnTo>
                  <a:lnTo>
                    <a:pt x="94" y="510"/>
                  </a:lnTo>
                  <a:lnTo>
                    <a:pt x="92" y="511"/>
                  </a:lnTo>
                  <a:lnTo>
                    <a:pt x="91" y="512"/>
                  </a:lnTo>
                  <a:lnTo>
                    <a:pt x="90" y="512"/>
                  </a:lnTo>
                  <a:lnTo>
                    <a:pt x="89" y="512"/>
                  </a:lnTo>
                  <a:lnTo>
                    <a:pt x="87" y="512"/>
                  </a:lnTo>
                  <a:lnTo>
                    <a:pt x="85" y="512"/>
                  </a:lnTo>
                  <a:lnTo>
                    <a:pt x="83" y="512"/>
                  </a:lnTo>
                  <a:lnTo>
                    <a:pt x="81" y="512"/>
                  </a:lnTo>
                  <a:lnTo>
                    <a:pt x="77" y="512"/>
                  </a:lnTo>
                  <a:lnTo>
                    <a:pt x="68" y="511"/>
                  </a:lnTo>
                  <a:lnTo>
                    <a:pt x="67" y="510"/>
                  </a:lnTo>
                  <a:lnTo>
                    <a:pt x="65" y="510"/>
                  </a:lnTo>
                  <a:lnTo>
                    <a:pt x="63" y="509"/>
                  </a:lnTo>
                  <a:lnTo>
                    <a:pt x="62" y="508"/>
                  </a:lnTo>
                  <a:lnTo>
                    <a:pt x="60" y="507"/>
                  </a:lnTo>
                  <a:lnTo>
                    <a:pt x="58" y="505"/>
                  </a:lnTo>
                  <a:lnTo>
                    <a:pt x="56" y="504"/>
                  </a:lnTo>
                  <a:lnTo>
                    <a:pt x="50" y="499"/>
                  </a:lnTo>
                  <a:lnTo>
                    <a:pt x="48" y="497"/>
                  </a:lnTo>
                  <a:lnTo>
                    <a:pt x="47" y="496"/>
                  </a:lnTo>
                  <a:lnTo>
                    <a:pt x="45" y="495"/>
                  </a:lnTo>
                  <a:lnTo>
                    <a:pt x="44" y="494"/>
                  </a:lnTo>
                  <a:lnTo>
                    <a:pt x="39" y="492"/>
                  </a:lnTo>
                  <a:lnTo>
                    <a:pt x="34" y="489"/>
                  </a:lnTo>
                  <a:lnTo>
                    <a:pt x="33" y="488"/>
                  </a:lnTo>
                  <a:lnTo>
                    <a:pt x="31" y="488"/>
                  </a:lnTo>
                  <a:lnTo>
                    <a:pt x="29" y="487"/>
                  </a:lnTo>
                  <a:lnTo>
                    <a:pt x="26" y="486"/>
                  </a:lnTo>
                  <a:lnTo>
                    <a:pt x="18" y="485"/>
                  </a:lnTo>
                  <a:lnTo>
                    <a:pt x="15" y="484"/>
                  </a:lnTo>
                  <a:lnTo>
                    <a:pt x="13" y="484"/>
                  </a:lnTo>
                  <a:lnTo>
                    <a:pt x="11" y="483"/>
                  </a:lnTo>
                  <a:lnTo>
                    <a:pt x="9" y="482"/>
                  </a:lnTo>
                  <a:lnTo>
                    <a:pt x="0" y="479"/>
                  </a:lnTo>
                  <a:lnTo>
                    <a:pt x="1" y="478"/>
                  </a:lnTo>
                  <a:lnTo>
                    <a:pt x="2" y="476"/>
                  </a:lnTo>
                  <a:lnTo>
                    <a:pt x="4" y="471"/>
                  </a:lnTo>
                  <a:lnTo>
                    <a:pt x="4" y="470"/>
                  </a:lnTo>
                  <a:lnTo>
                    <a:pt x="5" y="470"/>
                  </a:lnTo>
                  <a:lnTo>
                    <a:pt x="5" y="469"/>
                  </a:lnTo>
                  <a:lnTo>
                    <a:pt x="6" y="469"/>
                  </a:lnTo>
                  <a:lnTo>
                    <a:pt x="7" y="469"/>
                  </a:lnTo>
                  <a:lnTo>
                    <a:pt x="7" y="468"/>
                  </a:lnTo>
                  <a:lnTo>
                    <a:pt x="9" y="467"/>
                  </a:lnTo>
                  <a:lnTo>
                    <a:pt x="10" y="467"/>
                  </a:lnTo>
                  <a:lnTo>
                    <a:pt x="10" y="466"/>
                  </a:lnTo>
                  <a:lnTo>
                    <a:pt x="10" y="466"/>
                  </a:lnTo>
                  <a:lnTo>
                    <a:pt x="10" y="466"/>
                  </a:lnTo>
                  <a:lnTo>
                    <a:pt x="9" y="465"/>
                  </a:lnTo>
                  <a:lnTo>
                    <a:pt x="9" y="465"/>
                  </a:lnTo>
                  <a:lnTo>
                    <a:pt x="9" y="465"/>
                  </a:lnTo>
                  <a:lnTo>
                    <a:pt x="9" y="464"/>
                  </a:lnTo>
                  <a:lnTo>
                    <a:pt x="10" y="464"/>
                  </a:lnTo>
                  <a:lnTo>
                    <a:pt x="11" y="463"/>
                  </a:lnTo>
                  <a:lnTo>
                    <a:pt x="11" y="462"/>
                  </a:lnTo>
                  <a:lnTo>
                    <a:pt x="12" y="460"/>
                  </a:lnTo>
                  <a:lnTo>
                    <a:pt x="12" y="460"/>
                  </a:lnTo>
                  <a:lnTo>
                    <a:pt x="12" y="459"/>
                  </a:lnTo>
                  <a:lnTo>
                    <a:pt x="12" y="458"/>
                  </a:lnTo>
                  <a:lnTo>
                    <a:pt x="13" y="458"/>
                  </a:lnTo>
                  <a:lnTo>
                    <a:pt x="13" y="458"/>
                  </a:lnTo>
                  <a:lnTo>
                    <a:pt x="15" y="458"/>
                  </a:lnTo>
                  <a:lnTo>
                    <a:pt x="15" y="457"/>
                  </a:lnTo>
                  <a:lnTo>
                    <a:pt x="16" y="457"/>
                  </a:lnTo>
                  <a:lnTo>
                    <a:pt x="16" y="457"/>
                  </a:lnTo>
                  <a:lnTo>
                    <a:pt x="17" y="456"/>
                  </a:lnTo>
                  <a:lnTo>
                    <a:pt x="19" y="454"/>
                  </a:lnTo>
                  <a:lnTo>
                    <a:pt x="19" y="453"/>
                  </a:lnTo>
                  <a:lnTo>
                    <a:pt x="19" y="453"/>
                  </a:lnTo>
                  <a:lnTo>
                    <a:pt x="20" y="453"/>
                  </a:lnTo>
                  <a:lnTo>
                    <a:pt x="20" y="452"/>
                  </a:lnTo>
                  <a:lnTo>
                    <a:pt x="20" y="452"/>
                  </a:lnTo>
                  <a:lnTo>
                    <a:pt x="21" y="451"/>
                  </a:lnTo>
                  <a:lnTo>
                    <a:pt x="22" y="451"/>
                  </a:lnTo>
                  <a:lnTo>
                    <a:pt x="23" y="450"/>
                  </a:lnTo>
                  <a:lnTo>
                    <a:pt x="25" y="450"/>
                  </a:lnTo>
                  <a:lnTo>
                    <a:pt x="26" y="450"/>
                  </a:lnTo>
                  <a:lnTo>
                    <a:pt x="28" y="450"/>
                  </a:lnTo>
                  <a:lnTo>
                    <a:pt x="29" y="450"/>
                  </a:lnTo>
                  <a:lnTo>
                    <a:pt x="30" y="450"/>
                  </a:lnTo>
                  <a:lnTo>
                    <a:pt x="31" y="450"/>
                  </a:lnTo>
                  <a:lnTo>
                    <a:pt x="32" y="451"/>
                  </a:lnTo>
                  <a:lnTo>
                    <a:pt x="33" y="452"/>
                  </a:lnTo>
                  <a:lnTo>
                    <a:pt x="35" y="454"/>
                  </a:lnTo>
                  <a:lnTo>
                    <a:pt x="36" y="454"/>
                  </a:lnTo>
                  <a:lnTo>
                    <a:pt x="37" y="455"/>
                  </a:lnTo>
                  <a:lnTo>
                    <a:pt x="38" y="455"/>
                  </a:lnTo>
                  <a:lnTo>
                    <a:pt x="40" y="455"/>
                  </a:lnTo>
                  <a:lnTo>
                    <a:pt x="41" y="456"/>
                  </a:lnTo>
                  <a:lnTo>
                    <a:pt x="43" y="456"/>
                  </a:lnTo>
                  <a:lnTo>
                    <a:pt x="43" y="456"/>
                  </a:lnTo>
                  <a:lnTo>
                    <a:pt x="44" y="456"/>
                  </a:lnTo>
                  <a:lnTo>
                    <a:pt x="45" y="455"/>
                  </a:lnTo>
                  <a:lnTo>
                    <a:pt x="46" y="455"/>
                  </a:lnTo>
                  <a:lnTo>
                    <a:pt x="46" y="454"/>
                  </a:lnTo>
                  <a:lnTo>
                    <a:pt x="47" y="453"/>
                  </a:lnTo>
                  <a:lnTo>
                    <a:pt x="48" y="452"/>
                  </a:lnTo>
                  <a:lnTo>
                    <a:pt x="49" y="451"/>
                  </a:lnTo>
                  <a:lnTo>
                    <a:pt x="51" y="449"/>
                  </a:lnTo>
                  <a:lnTo>
                    <a:pt x="53" y="446"/>
                  </a:lnTo>
                  <a:lnTo>
                    <a:pt x="54" y="445"/>
                  </a:lnTo>
                  <a:lnTo>
                    <a:pt x="54" y="444"/>
                  </a:lnTo>
                  <a:lnTo>
                    <a:pt x="55" y="444"/>
                  </a:lnTo>
                  <a:lnTo>
                    <a:pt x="56" y="444"/>
                  </a:lnTo>
                  <a:lnTo>
                    <a:pt x="56" y="443"/>
                  </a:lnTo>
                  <a:lnTo>
                    <a:pt x="57" y="443"/>
                  </a:lnTo>
                  <a:lnTo>
                    <a:pt x="59" y="443"/>
                  </a:lnTo>
                  <a:lnTo>
                    <a:pt x="64" y="442"/>
                  </a:lnTo>
                  <a:lnTo>
                    <a:pt x="66" y="442"/>
                  </a:lnTo>
                  <a:lnTo>
                    <a:pt x="67" y="442"/>
                  </a:lnTo>
                  <a:lnTo>
                    <a:pt x="69" y="442"/>
                  </a:lnTo>
                  <a:lnTo>
                    <a:pt x="70" y="443"/>
                  </a:lnTo>
                  <a:lnTo>
                    <a:pt x="72" y="443"/>
                  </a:lnTo>
                  <a:lnTo>
                    <a:pt x="73" y="444"/>
                  </a:lnTo>
                  <a:lnTo>
                    <a:pt x="75" y="445"/>
                  </a:lnTo>
                  <a:lnTo>
                    <a:pt x="78" y="447"/>
                  </a:lnTo>
                  <a:lnTo>
                    <a:pt x="79" y="448"/>
                  </a:lnTo>
                  <a:lnTo>
                    <a:pt x="79" y="448"/>
                  </a:lnTo>
                  <a:lnTo>
                    <a:pt x="80" y="448"/>
                  </a:lnTo>
                  <a:lnTo>
                    <a:pt x="81" y="448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3" y="448"/>
                  </a:lnTo>
                  <a:lnTo>
                    <a:pt x="84" y="447"/>
                  </a:lnTo>
                  <a:lnTo>
                    <a:pt x="85" y="446"/>
                  </a:lnTo>
                  <a:lnTo>
                    <a:pt x="87" y="443"/>
                  </a:lnTo>
                  <a:lnTo>
                    <a:pt x="88" y="441"/>
                  </a:lnTo>
                  <a:lnTo>
                    <a:pt x="89" y="440"/>
                  </a:lnTo>
                  <a:lnTo>
                    <a:pt x="91" y="438"/>
                  </a:lnTo>
                  <a:lnTo>
                    <a:pt x="93" y="436"/>
                  </a:lnTo>
                  <a:lnTo>
                    <a:pt x="95" y="434"/>
                  </a:lnTo>
                  <a:lnTo>
                    <a:pt x="96" y="434"/>
                  </a:lnTo>
                  <a:lnTo>
                    <a:pt x="97" y="433"/>
                  </a:lnTo>
                  <a:lnTo>
                    <a:pt x="98" y="432"/>
                  </a:lnTo>
                  <a:lnTo>
                    <a:pt x="102" y="430"/>
                  </a:lnTo>
                  <a:lnTo>
                    <a:pt x="103" y="429"/>
                  </a:lnTo>
                  <a:lnTo>
                    <a:pt x="104" y="428"/>
                  </a:lnTo>
                  <a:lnTo>
                    <a:pt x="106" y="427"/>
                  </a:lnTo>
                  <a:lnTo>
                    <a:pt x="108" y="426"/>
                  </a:lnTo>
                  <a:lnTo>
                    <a:pt x="110" y="423"/>
                  </a:lnTo>
                  <a:lnTo>
                    <a:pt x="111" y="421"/>
                  </a:lnTo>
                  <a:lnTo>
                    <a:pt x="113" y="419"/>
                  </a:lnTo>
                  <a:lnTo>
                    <a:pt x="114" y="418"/>
                  </a:lnTo>
                  <a:lnTo>
                    <a:pt x="115" y="417"/>
                  </a:lnTo>
                  <a:lnTo>
                    <a:pt x="115" y="416"/>
                  </a:lnTo>
                  <a:lnTo>
                    <a:pt x="117" y="415"/>
                  </a:lnTo>
                  <a:lnTo>
                    <a:pt x="119" y="414"/>
                  </a:lnTo>
                  <a:lnTo>
                    <a:pt x="121" y="413"/>
                  </a:lnTo>
                  <a:lnTo>
                    <a:pt x="125" y="412"/>
                  </a:lnTo>
                  <a:lnTo>
                    <a:pt x="127" y="411"/>
                  </a:lnTo>
                  <a:lnTo>
                    <a:pt x="130" y="410"/>
                  </a:lnTo>
                  <a:lnTo>
                    <a:pt x="133" y="410"/>
                  </a:lnTo>
                  <a:lnTo>
                    <a:pt x="134" y="410"/>
                  </a:lnTo>
                  <a:lnTo>
                    <a:pt x="137" y="410"/>
                  </a:lnTo>
                  <a:lnTo>
                    <a:pt x="139" y="410"/>
                  </a:lnTo>
                  <a:lnTo>
                    <a:pt x="140" y="410"/>
                  </a:lnTo>
                  <a:lnTo>
                    <a:pt x="141" y="409"/>
                  </a:lnTo>
                  <a:lnTo>
                    <a:pt x="142" y="409"/>
                  </a:lnTo>
                  <a:lnTo>
                    <a:pt x="142" y="409"/>
                  </a:lnTo>
                  <a:lnTo>
                    <a:pt x="143" y="408"/>
                  </a:lnTo>
                  <a:lnTo>
                    <a:pt x="144" y="407"/>
                  </a:lnTo>
                  <a:lnTo>
                    <a:pt x="144" y="406"/>
                  </a:lnTo>
                  <a:lnTo>
                    <a:pt x="145" y="405"/>
                  </a:lnTo>
                  <a:lnTo>
                    <a:pt x="146" y="401"/>
                  </a:lnTo>
                  <a:lnTo>
                    <a:pt x="147" y="399"/>
                  </a:lnTo>
                  <a:lnTo>
                    <a:pt x="148" y="398"/>
                  </a:lnTo>
                  <a:lnTo>
                    <a:pt x="148" y="397"/>
                  </a:lnTo>
                  <a:lnTo>
                    <a:pt x="149" y="396"/>
                  </a:lnTo>
                  <a:lnTo>
                    <a:pt x="150" y="396"/>
                  </a:lnTo>
                  <a:lnTo>
                    <a:pt x="150" y="395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2" y="395"/>
                  </a:lnTo>
                  <a:lnTo>
                    <a:pt x="153" y="395"/>
                  </a:lnTo>
                  <a:lnTo>
                    <a:pt x="154" y="395"/>
                  </a:lnTo>
                  <a:lnTo>
                    <a:pt x="157" y="395"/>
                  </a:lnTo>
                  <a:lnTo>
                    <a:pt x="158" y="396"/>
                  </a:lnTo>
                  <a:lnTo>
                    <a:pt x="159" y="395"/>
                  </a:lnTo>
                  <a:lnTo>
                    <a:pt x="160" y="395"/>
                  </a:lnTo>
                  <a:lnTo>
                    <a:pt x="161" y="395"/>
                  </a:lnTo>
                  <a:lnTo>
                    <a:pt x="161" y="395"/>
                  </a:lnTo>
                  <a:lnTo>
                    <a:pt x="162" y="394"/>
                  </a:lnTo>
                  <a:lnTo>
                    <a:pt x="163" y="394"/>
                  </a:lnTo>
                  <a:lnTo>
                    <a:pt x="164" y="393"/>
                  </a:lnTo>
                  <a:lnTo>
                    <a:pt x="165" y="392"/>
                  </a:lnTo>
                  <a:lnTo>
                    <a:pt x="166" y="391"/>
                  </a:lnTo>
                  <a:lnTo>
                    <a:pt x="169" y="388"/>
                  </a:lnTo>
                  <a:lnTo>
                    <a:pt x="170" y="387"/>
                  </a:lnTo>
                  <a:lnTo>
                    <a:pt x="170" y="387"/>
                  </a:lnTo>
                  <a:lnTo>
                    <a:pt x="171" y="386"/>
                  </a:lnTo>
                  <a:lnTo>
                    <a:pt x="172" y="386"/>
                  </a:lnTo>
                  <a:lnTo>
                    <a:pt x="174" y="385"/>
                  </a:lnTo>
                  <a:lnTo>
                    <a:pt x="176" y="384"/>
                  </a:lnTo>
                  <a:lnTo>
                    <a:pt x="177" y="384"/>
                  </a:lnTo>
                  <a:lnTo>
                    <a:pt x="178" y="384"/>
                  </a:lnTo>
                  <a:lnTo>
                    <a:pt x="179" y="384"/>
                  </a:lnTo>
                  <a:lnTo>
                    <a:pt x="180" y="384"/>
                  </a:lnTo>
                  <a:lnTo>
                    <a:pt x="180" y="384"/>
                  </a:lnTo>
                  <a:lnTo>
                    <a:pt x="181" y="384"/>
                  </a:lnTo>
                  <a:lnTo>
                    <a:pt x="181" y="385"/>
                  </a:lnTo>
                  <a:lnTo>
                    <a:pt x="182" y="386"/>
                  </a:lnTo>
                  <a:lnTo>
                    <a:pt x="183" y="387"/>
                  </a:lnTo>
                  <a:lnTo>
                    <a:pt x="185" y="389"/>
                  </a:lnTo>
                  <a:lnTo>
                    <a:pt x="185" y="390"/>
                  </a:lnTo>
                  <a:lnTo>
                    <a:pt x="186" y="391"/>
                  </a:lnTo>
                  <a:lnTo>
                    <a:pt x="187" y="392"/>
                  </a:lnTo>
                  <a:lnTo>
                    <a:pt x="191" y="394"/>
                  </a:lnTo>
                  <a:lnTo>
                    <a:pt x="192" y="395"/>
                  </a:lnTo>
                  <a:lnTo>
                    <a:pt x="193" y="395"/>
                  </a:lnTo>
                  <a:lnTo>
                    <a:pt x="195" y="396"/>
                  </a:lnTo>
                  <a:lnTo>
                    <a:pt x="196" y="396"/>
                  </a:lnTo>
                  <a:lnTo>
                    <a:pt x="197" y="396"/>
                  </a:lnTo>
                  <a:lnTo>
                    <a:pt x="198" y="396"/>
                  </a:lnTo>
                  <a:lnTo>
                    <a:pt x="200" y="396"/>
                  </a:lnTo>
                  <a:lnTo>
                    <a:pt x="202" y="396"/>
                  </a:lnTo>
                  <a:lnTo>
                    <a:pt x="204" y="395"/>
                  </a:lnTo>
                  <a:lnTo>
                    <a:pt x="206" y="395"/>
                  </a:lnTo>
                  <a:lnTo>
                    <a:pt x="208" y="393"/>
                  </a:lnTo>
                  <a:lnTo>
                    <a:pt x="209" y="392"/>
                  </a:lnTo>
                  <a:lnTo>
                    <a:pt x="211" y="391"/>
                  </a:lnTo>
                  <a:lnTo>
                    <a:pt x="212" y="390"/>
                  </a:lnTo>
                  <a:lnTo>
                    <a:pt x="213" y="390"/>
                  </a:lnTo>
                  <a:lnTo>
                    <a:pt x="214" y="390"/>
                  </a:lnTo>
                  <a:lnTo>
                    <a:pt x="215" y="390"/>
                  </a:lnTo>
                  <a:lnTo>
                    <a:pt x="216" y="390"/>
                  </a:lnTo>
                  <a:lnTo>
                    <a:pt x="219" y="390"/>
                  </a:lnTo>
                  <a:lnTo>
                    <a:pt x="221" y="391"/>
                  </a:lnTo>
                  <a:lnTo>
                    <a:pt x="224" y="391"/>
                  </a:lnTo>
                  <a:lnTo>
                    <a:pt x="225" y="392"/>
                  </a:lnTo>
                  <a:lnTo>
                    <a:pt x="228" y="392"/>
                  </a:lnTo>
                  <a:lnTo>
                    <a:pt x="232" y="393"/>
                  </a:lnTo>
                  <a:lnTo>
                    <a:pt x="233" y="393"/>
                  </a:lnTo>
                  <a:lnTo>
                    <a:pt x="234" y="393"/>
                  </a:lnTo>
                  <a:lnTo>
                    <a:pt x="237" y="392"/>
                  </a:lnTo>
                  <a:lnTo>
                    <a:pt x="242" y="391"/>
                  </a:lnTo>
                  <a:lnTo>
                    <a:pt x="245" y="390"/>
                  </a:lnTo>
                  <a:lnTo>
                    <a:pt x="247" y="390"/>
                  </a:lnTo>
                  <a:lnTo>
                    <a:pt x="248" y="390"/>
                  </a:lnTo>
                  <a:lnTo>
                    <a:pt x="249" y="389"/>
                  </a:lnTo>
                  <a:lnTo>
                    <a:pt x="253" y="387"/>
                  </a:lnTo>
                  <a:lnTo>
                    <a:pt x="254" y="386"/>
                  </a:lnTo>
                  <a:lnTo>
                    <a:pt x="254" y="385"/>
                  </a:lnTo>
                  <a:lnTo>
                    <a:pt x="255" y="385"/>
                  </a:lnTo>
                  <a:lnTo>
                    <a:pt x="255" y="384"/>
                  </a:lnTo>
                  <a:lnTo>
                    <a:pt x="256" y="383"/>
                  </a:lnTo>
                  <a:lnTo>
                    <a:pt x="256" y="383"/>
                  </a:lnTo>
                  <a:lnTo>
                    <a:pt x="256" y="382"/>
                  </a:lnTo>
                  <a:lnTo>
                    <a:pt x="256" y="379"/>
                  </a:lnTo>
                  <a:lnTo>
                    <a:pt x="255" y="378"/>
                  </a:lnTo>
                  <a:lnTo>
                    <a:pt x="256" y="377"/>
                  </a:lnTo>
                  <a:lnTo>
                    <a:pt x="256" y="376"/>
                  </a:lnTo>
                  <a:lnTo>
                    <a:pt x="257" y="375"/>
                  </a:lnTo>
                  <a:lnTo>
                    <a:pt x="258" y="373"/>
                  </a:lnTo>
                  <a:lnTo>
                    <a:pt x="259" y="373"/>
                  </a:lnTo>
                  <a:lnTo>
                    <a:pt x="260" y="372"/>
                  </a:lnTo>
                  <a:lnTo>
                    <a:pt x="261" y="371"/>
                  </a:lnTo>
                  <a:lnTo>
                    <a:pt x="262" y="371"/>
                  </a:lnTo>
                  <a:lnTo>
                    <a:pt x="264" y="370"/>
                  </a:lnTo>
                  <a:lnTo>
                    <a:pt x="266" y="369"/>
                  </a:lnTo>
                  <a:lnTo>
                    <a:pt x="269" y="369"/>
                  </a:lnTo>
                  <a:lnTo>
                    <a:pt x="274" y="369"/>
                  </a:lnTo>
                  <a:lnTo>
                    <a:pt x="278" y="368"/>
                  </a:lnTo>
                  <a:lnTo>
                    <a:pt x="281" y="367"/>
                  </a:lnTo>
                  <a:lnTo>
                    <a:pt x="284" y="367"/>
                  </a:lnTo>
                  <a:lnTo>
                    <a:pt x="285" y="366"/>
                  </a:lnTo>
                  <a:lnTo>
                    <a:pt x="286" y="366"/>
                  </a:lnTo>
                  <a:lnTo>
                    <a:pt x="286" y="366"/>
                  </a:lnTo>
                  <a:lnTo>
                    <a:pt x="287" y="365"/>
                  </a:lnTo>
                  <a:lnTo>
                    <a:pt x="288" y="364"/>
                  </a:lnTo>
                  <a:lnTo>
                    <a:pt x="289" y="364"/>
                  </a:lnTo>
                  <a:lnTo>
                    <a:pt x="289" y="363"/>
                  </a:lnTo>
                  <a:lnTo>
                    <a:pt x="290" y="362"/>
                  </a:lnTo>
                  <a:lnTo>
                    <a:pt x="291" y="361"/>
                  </a:lnTo>
                  <a:lnTo>
                    <a:pt x="292" y="360"/>
                  </a:lnTo>
                  <a:lnTo>
                    <a:pt x="292" y="359"/>
                  </a:lnTo>
                  <a:lnTo>
                    <a:pt x="293" y="356"/>
                  </a:lnTo>
                  <a:lnTo>
                    <a:pt x="294" y="355"/>
                  </a:lnTo>
                  <a:lnTo>
                    <a:pt x="294" y="354"/>
                  </a:lnTo>
                  <a:lnTo>
                    <a:pt x="295" y="354"/>
                  </a:lnTo>
                  <a:lnTo>
                    <a:pt x="296" y="353"/>
                  </a:lnTo>
                  <a:lnTo>
                    <a:pt x="298" y="350"/>
                  </a:lnTo>
                  <a:lnTo>
                    <a:pt x="299" y="350"/>
                  </a:lnTo>
                  <a:lnTo>
                    <a:pt x="300" y="349"/>
                  </a:lnTo>
                  <a:lnTo>
                    <a:pt x="301" y="348"/>
                  </a:lnTo>
                  <a:lnTo>
                    <a:pt x="301" y="347"/>
                  </a:lnTo>
                  <a:lnTo>
                    <a:pt x="301" y="346"/>
                  </a:lnTo>
                  <a:lnTo>
                    <a:pt x="302" y="346"/>
                  </a:lnTo>
                  <a:lnTo>
                    <a:pt x="302" y="345"/>
                  </a:lnTo>
                  <a:lnTo>
                    <a:pt x="301" y="344"/>
                  </a:lnTo>
                  <a:lnTo>
                    <a:pt x="301" y="343"/>
                  </a:lnTo>
                  <a:lnTo>
                    <a:pt x="300" y="342"/>
                  </a:lnTo>
                  <a:lnTo>
                    <a:pt x="299" y="341"/>
                  </a:lnTo>
                  <a:lnTo>
                    <a:pt x="299" y="340"/>
                  </a:lnTo>
                  <a:lnTo>
                    <a:pt x="297" y="339"/>
                  </a:lnTo>
                  <a:lnTo>
                    <a:pt x="293" y="335"/>
                  </a:lnTo>
                  <a:lnTo>
                    <a:pt x="292" y="334"/>
                  </a:lnTo>
                  <a:lnTo>
                    <a:pt x="290" y="332"/>
                  </a:lnTo>
                  <a:lnTo>
                    <a:pt x="289" y="331"/>
                  </a:lnTo>
                  <a:lnTo>
                    <a:pt x="288" y="330"/>
                  </a:lnTo>
                  <a:lnTo>
                    <a:pt x="288" y="329"/>
                  </a:lnTo>
                  <a:lnTo>
                    <a:pt x="288" y="328"/>
                  </a:lnTo>
                  <a:lnTo>
                    <a:pt x="288" y="327"/>
                  </a:lnTo>
                  <a:lnTo>
                    <a:pt x="288" y="327"/>
                  </a:lnTo>
                  <a:lnTo>
                    <a:pt x="288" y="327"/>
                  </a:lnTo>
                  <a:lnTo>
                    <a:pt x="288" y="326"/>
                  </a:lnTo>
                  <a:lnTo>
                    <a:pt x="289" y="326"/>
                  </a:lnTo>
                  <a:lnTo>
                    <a:pt x="290" y="326"/>
                  </a:lnTo>
                  <a:lnTo>
                    <a:pt x="291" y="325"/>
                  </a:lnTo>
                  <a:lnTo>
                    <a:pt x="292" y="325"/>
                  </a:lnTo>
                  <a:lnTo>
                    <a:pt x="294" y="324"/>
                  </a:lnTo>
                  <a:lnTo>
                    <a:pt x="295" y="324"/>
                  </a:lnTo>
                  <a:lnTo>
                    <a:pt x="295" y="323"/>
                  </a:lnTo>
                  <a:lnTo>
                    <a:pt x="296" y="322"/>
                  </a:lnTo>
                  <a:lnTo>
                    <a:pt x="297" y="321"/>
                  </a:lnTo>
                  <a:lnTo>
                    <a:pt x="297" y="320"/>
                  </a:lnTo>
                  <a:lnTo>
                    <a:pt x="298" y="319"/>
                  </a:lnTo>
                  <a:lnTo>
                    <a:pt x="298" y="319"/>
                  </a:lnTo>
                  <a:lnTo>
                    <a:pt x="298" y="318"/>
                  </a:lnTo>
                  <a:lnTo>
                    <a:pt x="298" y="317"/>
                  </a:lnTo>
                  <a:lnTo>
                    <a:pt x="297" y="316"/>
                  </a:lnTo>
                  <a:lnTo>
                    <a:pt x="297" y="314"/>
                  </a:lnTo>
                  <a:lnTo>
                    <a:pt x="296" y="311"/>
                  </a:lnTo>
                  <a:lnTo>
                    <a:pt x="296" y="310"/>
                  </a:lnTo>
                  <a:lnTo>
                    <a:pt x="296" y="309"/>
                  </a:lnTo>
                  <a:lnTo>
                    <a:pt x="296" y="308"/>
                  </a:lnTo>
                  <a:lnTo>
                    <a:pt x="296" y="307"/>
                  </a:lnTo>
                  <a:lnTo>
                    <a:pt x="297" y="305"/>
                  </a:lnTo>
                  <a:lnTo>
                    <a:pt x="297" y="305"/>
                  </a:lnTo>
                  <a:lnTo>
                    <a:pt x="298" y="304"/>
                  </a:lnTo>
                  <a:lnTo>
                    <a:pt x="298" y="303"/>
                  </a:lnTo>
                  <a:lnTo>
                    <a:pt x="299" y="303"/>
                  </a:lnTo>
                  <a:lnTo>
                    <a:pt x="300" y="302"/>
                  </a:lnTo>
                  <a:lnTo>
                    <a:pt x="301" y="301"/>
                  </a:lnTo>
                  <a:lnTo>
                    <a:pt x="304" y="300"/>
                  </a:lnTo>
                  <a:lnTo>
                    <a:pt x="305" y="299"/>
                  </a:lnTo>
                  <a:lnTo>
                    <a:pt x="307" y="298"/>
                  </a:lnTo>
                  <a:lnTo>
                    <a:pt x="309" y="297"/>
                  </a:lnTo>
                  <a:lnTo>
                    <a:pt x="310" y="296"/>
                  </a:lnTo>
                  <a:lnTo>
                    <a:pt x="310" y="295"/>
                  </a:lnTo>
                  <a:lnTo>
                    <a:pt x="311" y="294"/>
                  </a:lnTo>
                  <a:lnTo>
                    <a:pt x="311" y="293"/>
                  </a:lnTo>
                  <a:lnTo>
                    <a:pt x="311" y="292"/>
                  </a:lnTo>
                  <a:lnTo>
                    <a:pt x="311" y="290"/>
                  </a:lnTo>
                  <a:lnTo>
                    <a:pt x="311" y="288"/>
                  </a:lnTo>
                  <a:lnTo>
                    <a:pt x="311" y="287"/>
                  </a:lnTo>
                  <a:lnTo>
                    <a:pt x="311" y="286"/>
                  </a:lnTo>
                  <a:lnTo>
                    <a:pt x="310" y="285"/>
                  </a:lnTo>
                  <a:lnTo>
                    <a:pt x="310" y="284"/>
                  </a:lnTo>
                  <a:lnTo>
                    <a:pt x="309" y="283"/>
                  </a:lnTo>
                  <a:lnTo>
                    <a:pt x="309" y="282"/>
                  </a:lnTo>
                  <a:lnTo>
                    <a:pt x="308" y="282"/>
                  </a:lnTo>
                  <a:lnTo>
                    <a:pt x="307" y="281"/>
                  </a:lnTo>
                  <a:lnTo>
                    <a:pt x="306" y="280"/>
                  </a:lnTo>
                  <a:lnTo>
                    <a:pt x="303" y="277"/>
                  </a:lnTo>
                  <a:lnTo>
                    <a:pt x="301" y="276"/>
                  </a:lnTo>
                  <a:lnTo>
                    <a:pt x="300" y="275"/>
                  </a:lnTo>
                  <a:lnTo>
                    <a:pt x="299" y="274"/>
                  </a:lnTo>
                  <a:lnTo>
                    <a:pt x="299" y="274"/>
                  </a:lnTo>
                  <a:lnTo>
                    <a:pt x="299" y="273"/>
                  </a:lnTo>
                  <a:lnTo>
                    <a:pt x="298" y="272"/>
                  </a:lnTo>
                  <a:lnTo>
                    <a:pt x="298" y="271"/>
                  </a:lnTo>
                  <a:lnTo>
                    <a:pt x="298" y="270"/>
                  </a:lnTo>
                  <a:lnTo>
                    <a:pt x="298" y="269"/>
                  </a:lnTo>
                  <a:lnTo>
                    <a:pt x="298" y="268"/>
                  </a:lnTo>
                  <a:lnTo>
                    <a:pt x="298" y="267"/>
                  </a:lnTo>
                  <a:lnTo>
                    <a:pt x="299" y="265"/>
                  </a:lnTo>
                  <a:lnTo>
                    <a:pt x="299" y="264"/>
                  </a:lnTo>
                  <a:lnTo>
                    <a:pt x="300" y="262"/>
                  </a:lnTo>
                  <a:lnTo>
                    <a:pt x="300" y="261"/>
                  </a:lnTo>
                  <a:lnTo>
                    <a:pt x="301" y="259"/>
                  </a:lnTo>
                  <a:lnTo>
                    <a:pt x="302" y="258"/>
                  </a:lnTo>
                  <a:lnTo>
                    <a:pt x="303" y="256"/>
                  </a:lnTo>
                  <a:lnTo>
                    <a:pt x="304" y="255"/>
                  </a:lnTo>
                  <a:lnTo>
                    <a:pt x="305" y="253"/>
                  </a:lnTo>
                  <a:lnTo>
                    <a:pt x="306" y="252"/>
                  </a:lnTo>
                  <a:lnTo>
                    <a:pt x="308" y="251"/>
                  </a:lnTo>
                  <a:lnTo>
                    <a:pt x="311" y="249"/>
                  </a:lnTo>
                  <a:lnTo>
                    <a:pt x="313" y="247"/>
                  </a:lnTo>
                  <a:lnTo>
                    <a:pt x="313" y="247"/>
                  </a:lnTo>
                  <a:lnTo>
                    <a:pt x="314" y="246"/>
                  </a:lnTo>
                  <a:lnTo>
                    <a:pt x="314" y="246"/>
                  </a:lnTo>
                  <a:lnTo>
                    <a:pt x="315" y="245"/>
                  </a:lnTo>
                  <a:lnTo>
                    <a:pt x="315" y="244"/>
                  </a:lnTo>
                  <a:lnTo>
                    <a:pt x="315" y="243"/>
                  </a:lnTo>
                  <a:lnTo>
                    <a:pt x="315" y="243"/>
                  </a:lnTo>
                  <a:lnTo>
                    <a:pt x="314" y="242"/>
                  </a:lnTo>
                  <a:lnTo>
                    <a:pt x="314" y="241"/>
                  </a:lnTo>
                  <a:lnTo>
                    <a:pt x="313" y="240"/>
                  </a:lnTo>
                  <a:lnTo>
                    <a:pt x="312" y="238"/>
                  </a:lnTo>
                  <a:lnTo>
                    <a:pt x="310" y="236"/>
                  </a:lnTo>
                  <a:lnTo>
                    <a:pt x="310" y="235"/>
                  </a:lnTo>
                  <a:lnTo>
                    <a:pt x="309" y="234"/>
                  </a:lnTo>
                  <a:lnTo>
                    <a:pt x="309" y="233"/>
                  </a:lnTo>
                  <a:lnTo>
                    <a:pt x="308" y="231"/>
                  </a:lnTo>
                  <a:lnTo>
                    <a:pt x="308" y="230"/>
                  </a:lnTo>
                  <a:lnTo>
                    <a:pt x="308" y="229"/>
                  </a:lnTo>
                  <a:lnTo>
                    <a:pt x="308" y="228"/>
                  </a:lnTo>
                  <a:lnTo>
                    <a:pt x="308" y="227"/>
                  </a:lnTo>
                  <a:lnTo>
                    <a:pt x="309" y="226"/>
                  </a:lnTo>
                  <a:lnTo>
                    <a:pt x="309" y="225"/>
                  </a:lnTo>
                  <a:lnTo>
                    <a:pt x="310" y="224"/>
                  </a:lnTo>
                  <a:lnTo>
                    <a:pt x="314" y="219"/>
                  </a:lnTo>
                  <a:lnTo>
                    <a:pt x="315" y="217"/>
                  </a:lnTo>
                  <a:lnTo>
                    <a:pt x="316" y="215"/>
                  </a:lnTo>
                  <a:lnTo>
                    <a:pt x="316" y="214"/>
                  </a:lnTo>
                  <a:lnTo>
                    <a:pt x="317" y="213"/>
                  </a:lnTo>
                  <a:lnTo>
                    <a:pt x="317" y="212"/>
                  </a:lnTo>
                  <a:lnTo>
                    <a:pt x="317" y="211"/>
                  </a:lnTo>
                  <a:lnTo>
                    <a:pt x="317" y="210"/>
                  </a:lnTo>
                  <a:lnTo>
                    <a:pt x="317" y="210"/>
                  </a:lnTo>
                  <a:lnTo>
                    <a:pt x="317" y="209"/>
                  </a:lnTo>
                  <a:lnTo>
                    <a:pt x="316" y="208"/>
                  </a:lnTo>
                  <a:lnTo>
                    <a:pt x="316" y="208"/>
                  </a:lnTo>
                  <a:lnTo>
                    <a:pt x="315" y="207"/>
                  </a:lnTo>
                  <a:lnTo>
                    <a:pt x="315" y="207"/>
                  </a:lnTo>
                  <a:lnTo>
                    <a:pt x="314" y="206"/>
                  </a:lnTo>
                  <a:lnTo>
                    <a:pt x="310" y="205"/>
                  </a:lnTo>
                  <a:lnTo>
                    <a:pt x="309" y="205"/>
                  </a:lnTo>
                  <a:lnTo>
                    <a:pt x="307" y="204"/>
                  </a:lnTo>
                  <a:lnTo>
                    <a:pt x="306" y="204"/>
                  </a:lnTo>
                  <a:lnTo>
                    <a:pt x="305" y="203"/>
                  </a:lnTo>
                  <a:lnTo>
                    <a:pt x="304" y="203"/>
                  </a:lnTo>
                  <a:lnTo>
                    <a:pt x="304" y="202"/>
                  </a:lnTo>
                  <a:lnTo>
                    <a:pt x="303" y="202"/>
                  </a:lnTo>
                  <a:lnTo>
                    <a:pt x="303" y="201"/>
                  </a:lnTo>
                  <a:lnTo>
                    <a:pt x="303" y="201"/>
                  </a:lnTo>
                  <a:lnTo>
                    <a:pt x="303" y="200"/>
                  </a:lnTo>
                  <a:lnTo>
                    <a:pt x="303" y="200"/>
                  </a:lnTo>
                  <a:lnTo>
                    <a:pt x="304" y="199"/>
                  </a:lnTo>
                  <a:lnTo>
                    <a:pt x="304" y="199"/>
                  </a:lnTo>
                  <a:lnTo>
                    <a:pt x="306" y="198"/>
                  </a:lnTo>
                  <a:lnTo>
                    <a:pt x="306" y="197"/>
                  </a:lnTo>
                  <a:lnTo>
                    <a:pt x="306" y="197"/>
                  </a:lnTo>
                  <a:lnTo>
                    <a:pt x="307" y="197"/>
                  </a:lnTo>
                  <a:lnTo>
                    <a:pt x="306" y="196"/>
                  </a:lnTo>
                  <a:lnTo>
                    <a:pt x="306" y="196"/>
                  </a:lnTo>
                  <a:lnTo>
                    <a:pt x="306" y="195"/>
                  </a:lnTo>
                  <a:lnTo>
                    <a:pt x="305" y="195"/>
                  </a:lnTo>
                  <a:lnTo>
                    <a:pt x="298" y="190"/>
                  </a:lnTo>
                  <a:lnTo>
                    <a:pt x="294" y="186"/>
                  </a:lnTo>
                  <a:lnTo>
                    <a:pt x="293" y="186"/>
                  </a:lnTo>
                  <a:lnTo>
                    <a:pt x="292" y="185"/>
                  </a:lnTo>
                  <a:lnTo>
                    <a:pt x="292" y="184"/>
                  </a:lnTo>
                  <a:lnTo>
                    <a:pt x="291" y="184"/>
                  </a:lnTo>
                  <a:lnTo>
                    <a:pt x="291" y="183"/>
                  </a:lnTo>
                  <a:lnTo>
                    <a:pt x="291" y="182"/>
                  </a:lnTo>
                  <a:lnTo>
                    <a:pt x="291" y="181"/>
                  </a:lnTo>
                  <a:lnTo>
                    <a:pt x="291" y="180"/>
                  </a:lnTo>
                  <a:lnTo>
                    <a:pt x="291" y="178"/>
                  </a:lnTo>
                  <a:lnTo>
                    <a:pt x="292" y="174"/>
                  </a:lnTo>
                  <a:lnTo>
                    <a:pt x="293" y="171"/>
                  </a:lnTo>
                  <a:lnTo>
                    <a:pt x="293" y="169"/>
                  </a:lnTo>
                  <a:lnTo>
                    <a:pt x="293" y="166"/>
                  </a:lnTo>
                  <a:lnTo>
                    <a:pt x="293" y="162"/>
                  </a:lnTo>
                  <a:lnTo>
                    <a:pt x="294" y="160"/>
                  </a:lnTo>
                  <a:lnTo>
                    <a:pt x="294" y="159"/>
                  </a:lnTo>
                  <a:lnTo>
                    <a:pt x="294" y="158"/>
                  </a:lnTo>
                  <a:lnTo>
                    <a:pt x="295" y="156"/>
                  </a:lnTo>
                  <a:lnTo>
                    <a:pt x="296" y="154"/>
                  </a:lnTo>
                  <a:lnTo>
                    <a:pt x="298" y="153"/>
                  </a:lnTo>
                  <a:lnTo>
                    <a:pt x="300" y="150"/>
                  </a:lnTo>
                  <a:lnTo>
                    <a:pt x="301" y="148"/>
                  </a:lnTo>
                  <a:lnTo>
                    <a:pt x="302" y="147"/>
                  </a:lnTo>
                  <a:lnTo>
                    <a:pt x="304" y="143"/>
                  </a:lnTo>
                  <a:lnTo>
                    <a:pt x="305" y="141"/>
                  </a:lnTo>
                  <a:lnTo>
                    <a:pt x="306" y="140"/>
                  </a:lnTo>
                  <a:lnTo>
                    <a:pt x="307" y="139"/>
                  </a:lnTo>
                  <a:lnTo>
                    <a:pt x="308" y="138"/>
                  </a:lnTo>
                  <a:lnTo>
                    <a:pt x="308" y="137"/>
                  </a:lnTo>
                  <a:lnTo>
                    <a:pt x="309" y="137"/>
                  </a:lnTo>
                  <a:lnTo>
                    <a:pt x="310" y="136"/>
                  </a:lnTo>
                  <a:lnTo>
                    <a:pt x="312" y="135"/>
                  </a:lnTo>
                  <a:lnTo>
                    <a:pt x="313" y="134"/>
                  </a:lnTo>
                  <a:lnTo>
                    <a:pt x="315" y="134"/>
                  </a:lnTo>
                  <a:lnTo>
                    <a:pt x="317" y="133"/>
                  </a:lnTo>
                  <a:lnTo>
                    <a:pt x="321" y="133"/>
                  </a:lnTo>
                  <a:lnTo>
                    <a:pt x="324" y="133"/>
                  </a:lnTo>
                  <a:lnTo>
                    <a:pt x="327" y="132"/>
                  </a:lnTo>
                  <a:lnTo>
                    <a:pt x="329" y="132"/>
                  </a:lnTo>
                  <a:lnTo>
                    <a:pt x="330" y="131"/>
                  </a:lnTo>
                  <a:lnTo>
                    <a:pt x="331" y="131"/>
                  </a:lnTo>
                  <a:lnTo>
                    <a:pt x="332" y="130"/>
                  </a:lnTo>
                  <a:lnTo>
                    <a:pt x="333" y="129"/>
                  </a:lnTo>
                  <a:lnTo>
                    <a:pt x="333" y="128"/>
                  </a:lnTo>
                  <a:lnTo>
                    <a:pt x="333" y="128"/>
                  </a:lnTo>
                  <a:lnTo>
                    <a:pt x="334" y="127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5"/>
                  </a:lnTo>
                  <a:lnTo>
                    <a:pt x="333" y="124"/>
                  </a:lnTo>
                  <a:lnTo>
                    <a:pt x="333" y="124"/>
                  </a:lnTo>
                  <a:lnTo>
                    <a:pt x="332" y="123"/>
                  </a:lnTo>
                  <a:lnTo>
                    <a:pt x="332" y="123"/>
                  </a:lnTo>
                  <a:lnTo>
                    <a:pt x="331" y="122"/>
                  </a:lnTo>
                  <a:lnTo>
                    <a:pt x="330" y="122"/>
                  </a:lnTo>
                  <a:lnTo>
                    <a:pt x="329" y="121"/>
                  </a:lnTo>
                  <a:lnTo>
                    <a:pt x="325" y="120"/>
                  </a:lnTo>
                  <a:lnTo>
                    <a:pt x="324" y="120"/>
                  </a:lnTo>
                  <a:lnTo>
                    <a:pt x="323" y="120"/>
                  </a:lnTo>
                  <a:lnTo>
                    <a:pt x="323" y="120"/>
                  </a:lnTo>
                  <a:lnTo>
                    <a:pt x="323" y="119"/>
                  </a:lnTo>
                  <a:lnTo>
                    <a:pt x="323" y="119"/>
                  </a:lnTo>
                  <a:lnTo>
                    <a:pt x="323" y="118"/>
                  </a:lnTo>
                  <a:lnTo>
                    <a:pt x="323" y="118"/>
                  </a:lnTo>
                  <a:lnTo>
                    <a:pt x="324" y="117"/>
                  </a:lnTo>
                  <a:lnTo>
                    <a:pt x="324" y="116"/>
                  </a:lnTo>
                  <a:lnTo>
                    <a:pt x="325" y="115"/>
                  </a:lnTo>
                  <a:lnTo>
                    <a:pt x="327" y="113"/>
                  </a:lnTo>
                  <a:lnTo>
                    <a:pt x="328" y="112"/>
                  </a:lnTo>
                  <a:lnTo>
                    <a:pt x="329" y="111"/>
                  </a:lnTo>
                  <a:lnTo>
                    <a:pt x="330" y="110"/>
                  </a:lnTo>
                  <a:lnTo>
                    <a:pt x="332" y="110"/>
                  </a:lnTo>
                  <a:lnTo>
                    <a:pt x="333" y="109"/>
                  </a:lnTo>
                  <a:lnTo>
                    <a:pt x="334" y="109"/>
                  </a:lnTo>
                  <a:lnTo>
                    <a:pt x="336" y="108"/>
                  </a:lnTo>
                  <a:lnTo>
                    <a:pt x="337" y="108"/>
                  </a:lnTo>
                  <a:lnTo>
                    <a:pt x="338" y="109"/>
                  </a:lnTo>
                  <a:lnTo>
                    <a:pt x="339" y="109"/>
                  </a:lnTo>
                  <a:lnTo>
                    <a:pt x="340" y="109"/>
                  </a:lnTo>
                  <a:lnTo>
                    <a:pt x="340" y="110"/>
                  </a:lnTo>
                  <a:lnTo>
                    <a:pt x="341" y="110"/>
                  </a:lnTo>
                  <a:lnTo>
                    <a:pt x="341" y="110"/>
                  </a:lnTo>
                  <a:lnTo>
                    <a:pt x="342" y="112"/>
                  </a:lnTo>
                  <a:lnTo>
                    <a:pt x="343" y="114"/>
                  </a:lnTo>
                  <a:lnTo>
                    <a:pt x="343" y="114"/>
                  </a:lnTo>
                  <a:lnTo>
                    <a:pt x="344" y="115"/>
                  </a:lnTo>
                  <a:lnTo>
                    <a:pt x="345" y="116"/>
                  </a:lnTo>
                  <a:lnTo>
                    <a:pt x="345" y="117"/>
                  </a:lnTo>
                  <a:lnTo>
                    <a:pt x="346" y="117"/>
                  </a:lnTo>
                  <a:lnTo>
                    <a:pt x="347" y="117"/>
                  </a:lnTo>
                  <a:lnTo>
                    <a:pt x="347" y="118"/>
                  </a:lnTo>
                  <a:lnTo>
                    <a:pt x="348" y="118"/>
                  </a:lnTo>
                  <a:lnTo>
                    <a:pt x="350" y="118"/>
                  </a:lnTo>
                  <a:lnTo>
                    <a:pt x="351" y="117"/>
                  </a:lnTo>
                  <a:lnTo>
                    <a:pt x="351" y="117"/>
                  </a:lnTo>
                  <a:lnTo>
                    <a:pt x="352" y="117"/>
                  </a:lnTo>
                  <a:lnTo>
                    <a:pt x="353" y="116"/>
                  </a:lnTo>
                  <a:lnTo>
                    <a:pt x="353" y="116"/>
                  </a:lnTo>
                  <a:lnTo>
                    <a:pt x="354" y="115"/>
                  </a:lnTo>
                  <a:lnTo>
                    <a:pt x="354" y="114"/>
                  </a:lnTo>
                  <a:lnTo>
                    <a:pt x="355" y="111"/>
                  </a:lnTo>
                  <a:lnTo>
                    <a:pt x="356" y="108"/>
                  </a:lnTo>
                  <a:lnTo>
                    <a:pt x="356" y="107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5"/>
                  </a:lnTo>
                  <a:lnTo>
                    <a:pt x="356" y="104"/>
                  </a:lnTo>
                  <a:lnTo>
                    <a:pt x="356" y="103"/>
                  </a:lnTo>
                  <a:lnTo>
                    <a:pt x="356" y="102"/>
                  </a:lnTo>
                  <a:lnTo>
                    <a:pt x="355" y="100"/>
                  </a:lnTo>
                  <a:lnTo>
                    <a:pt x="354" y="99"/>
                  </a:lnTo>
                  <a:lnTo>
                    <a:pt x="353" y="98"/>
                  </a:lnTo>
                  <a:lnTo>
                    <a:pt x="351" y="96"/>
                  </a:lnTo>
                  <a:lnTo>
                    <a:pt x="350" y="95"/>
                  </a:lnTo>
                  <a:lnTo>
                    <a:pt x="349" y="94"/>
                  </a:lnTo>
                  <a:lnTo>
                    <a:pt x="349" y="93"/>
                  </a:lnTo>
                  <a:lnTo>
                    <a:pt x="348" y="92"/>
                  </a:lnTo>
                  <a:lnTo>
                    <a:pt x="348" y="91"/>
                  </a:lnTo>
                  <a:lnTo>
                    <a:pt x="348" y="90"/>
                  </a:lnTo>
                  <a:lnTo>
                    <a:pt x="348" y="89"/>
                  </a:lnTo>
                  <a:lnTo>
                    <a:pt x="348" y="89"/>
                  </a:lnTo>
                  <a:lnTo>
                    <a:pt x="348" y="89"/>
                  </a:lnTo>
                  <a:lnTo>
                    <a:pt x="348" y="89"/>
                  </a:lnTo>
                  <a:lnTo>
                    <a:pt x="349" y="89"/>
                  </a:lnTo>
                  <a:lnTo>
                    <a:pt x="350" y="89"/>
                  </a:lnTo>
                  <a:lnTo>
                    <a:pt x="352" y="89"/>
                  </a:lnTo>
                  <a:lnTo>
                    <a:pt x="353" y="89"/>
                  </a:lnTo>
                  <a:lnTo>
                    <a:pt x="354" y="89"/>
                  </a:lnTo>
                  <a:lnTo>
                    <a:pt x="355" y="88"/>
                  </a:lnTo>
                  <a:lnTo>
                    <a:pt x="356" y="88"/>
                  </a:lnTo>
                  <a:lnTo>
                    <a:pt x="357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1" y="84"/>
                  </a:lnTo>
                  <a:lnTo>
                    <a:pt x="363" y="82"/>
                  </a:lnTo>
                  <a:lnTo>
                    <a:pt x="365" y="80"/>
                  </a:lnTo>
                  <a:lnTo>
                    <a:pt x="366" y="79"/>
                  </a:lnTo>
                  <a:lnTo>
                    <a:pt x="367" y="77"/>
                  </a:lnTo>
                  <a:lnTo>
                    <a:pt x="368" y="75"/>
                  </a:lnTo>
                  <a:lnTo>
                    <a:pt x="368" y="74"/>
                  </a:lnTo>
                  <a:lnTo>
                    <a:pt x="368" y="73"/>
                  </a:lnTo>
                  <a:lnTo>
                    <a:pt x="368" y="72"/>
                  </a:lnTo>
                  <a:lnTo>
                    <a:pt x="368" y="71"/>
                  </a:lnTo>
                  <a:lnTo>
                    <a:pt x="368" y="70"/>
                  </a:lnTo>
                  <a:lnTo>
                    <a:pt x="368" y="69"/>
                  </a:lnTo>
                  <a:lnTo>
                    <a:pt x="368" y="68"/>
                  </a:lnTo>
                  <a:lnTo>
                    <a:pt x="368" y="67"/>
                  </a:lnTo>
                  <a:lnTo>
                    <a:pt x="367" y="66"/>
                  </a:lnTo>
                  <a:lnTo>
                    <a:pt x="367" y="65"/>
                  </a:lnTo>
                  <a:lnTo>
                    <a:pt x="366" y="65"/>
                  </a:lnTo>
                  <a:lnTo>
                    <a:pt x="365" y="64"/>
                  </a:lnTo>
                  <a:lnTo>
                    <a:pt x="364" y="63"/>
                  </a:lnTo>
                  <a:lnTo>
                    <a:pt x="363" y="62"/>
                  </a:lnTo>
                  <a:lnTo>
                    <a:pt x="360" y="60"/>
                  </a:lnTo>
                  <a:lnTo>
                    <a:pt x="358" y="59"/>
                  </a:lnTo>
                  <a:lnTo>
                    <a:pt x="357" y="59"/>
                  </a:lnTo>
                  <a:lnTo>
                    <a:pt x="356" y="57"/>
                  </a:lnTo>
                  <a:lnTo>
                    <a:pt x="355" y="56"/>
                  </a:lnTo>
                  <a:lnTo>
                    <a:pt x="355" y="55"/>
                  </a:lnTo>
                  <a:lnTo>
                    <a:pt x="354" y="54"/>
                  </a:lnTo>
                  <a:lnTo>
                    <a:pt x="354" y="54"/>
                  </a:lnTo>
                  <a:lnTo>
                    <a:pt x="354" y="53"/>
                  </a:lnTo>
                  <a:lnTo>
                    <a:pt x="354" y="52"/>
                  </a:lnTo>
                  <a:lnTo>
                    <a:pt x="355" y="51"/>
                  </a:lnTo>
                  <a:lnTo>
                    <a:pt x="355" y="50"/>
                  </a:lnTo>
                  <a:lnTo>
                    <a:pt x="357" y="44"/>
                  </a:lnTo>
                  <a:lnTo>
                    <a:pt x="358" y="41"/>
                  </a:lnTo>
                  <a:lnTo>
                    <a:pt x="359" y="39"/>
                  </a:lnTo>
                  <a:lnTo>
                    <a:pt x="359" y="37"/>
                  </a:lnTo>
                  <a:lnTo>
                    <a:pt x="359" y="36"/>
                  </a:lnTo>
                  <a:lnTo>
                    <a:pt x="359" y="35"/>
                  </a:lnTo>
                  <a:lnTo>
                    <a:pt x="359" y="34"/>
                  </a:lnTo>
                  <a:lnTo>
                    <a:pt x="359" y="35"/>
                  </a:lnTo>
                  <a:lnTo>
                    <a:pt x="360" y="35"/>
                  </a:lnTo>
                  <a:lnTo>
                    <a:pt x="360" y="35"/>
                  </a:lnTo>
                  <a:lnTo>
                    <a:pt x="361" y="35"/>
                  </a:lnTo>
                  <a:lnTo>
                    <a:pt x="361" y="35"/>
                  </a:lnTo>
                  <a:lnTo>
                    <a:pt x="362" y="35"/>
                  </a:lnTo>
                  <a:lnTo>
                    <a:pt x="363" y="35"/>
                  </a:lnTo>
                  <a:lnTo>
                    <a:pt x="363" y="35"/>
                  </a:lnTo>
                  <a:lnTo>
                    <a:pt x="364" y="34"/>
                  </a:lnTo>
                  <a:lnTo>
                    <a:pt x="365" y="33"/>
                  </a:lnTo>
                  <a:lnTo>
                    <a:pt x="367" y="32"/>
                  </a:lnTo>
                  <a:lnTo>
                    <a:pt x="368" y="30"/>
                  </a:lnTo>
                  <a:lnTo>
                    <a:pt x="371" y="27"/>
                  </a:lnTo>
                  <a:lnTo>
                    <a:pt x="371" y="27"/>
                  </a:lnTo>
                  <a:lnTo>
                    <a:pt x="372" y="26"/>
                  </a:lnTo>
                  <a:lnTo>
                    <a:pt x="373" y="25"/>
                  </a:lnTo>
                  <a:lnTo>
                    <a:pt x="375" y="25"/>
                  </a:lnTo>
                  <a:lnTo>
                    <a:pt x="376" y="24"/>
                  </a:lnTo>
                  <a:lnTo>
                    <a:pt x="377" y="24"/>
                  </a:lnTo>
                  <a:lnTo>
                    <a:pt x="378" y="24"/>
                  </a:lnTo>
                  <a:lnTo>
                    <a:pt x="379" y="24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82" y="24"/>
                  </a:lnTo>
                  <a:lnTo>
                    <a:pt x="383" y="25"/>
                  </a:lnTo>
                  <a:lnTo>
                    <a:pt x="384" y="26"/>
                  </a:lnTo>
                  <a:lnTo>
                    <a:pt x="385" y="26"/>
                  </a:lnTo>
                  <a:lnTo>
                    <a:pt x="386" y="26"/>
                  </a:lnTo>
                  <a:lnTo>
                    <a:pt x="388" y="26"/>
                  </a:lnTo>
                  <a:lnTo>
                    <a:pt x="391" y="25"/>
                  </a:lnTo>
                  <a:lnTo>
                    <a:pt x="393" y="25"/>
                  </a:lnTo>
                  <a:lnTo>
                    <a:pt x="397" y="24"/>
                  </a:lnTo>
                  <a:lnTo>
                    <a:pt x="399" y="24"/>
                  </a:lnTo>
                  <a:lnTo>
                    <a:pt x="400" y="24"/>
                  </a:lnTo>
                  <a:lnTo>
                    <a:pt x="401" y="24"/>
                  </a:lnTo>
                  <a:lnTo>
                    <a:pt x="402" y="24"/>
                  </a:lnTo>
                  <a:lnTo>
                    <a:pt x="408" y="25"/>
                  </a:lnTo>
                  <a:lnTo>
                    <a:pt x="410" y="25"/>
                  </a:lnTo>
                  <a:lnTo>
                    <a:pt x="412" y="26"/>
                  </a:lnTo>
                  <a:lnTo>
                    <a:pt x="415" y="26"/>
                  </a:lnTo>
                  <a:lnTo>
                    <a:pt x="417" y="25"/>
                  </a:lnTo>
                  <a:lnTo>
                    <a:pt x="419" y="25"/>
                  </a:lnTo>
                  <a:lnTo>
                    <a:pt x="420" y="25"/>
                  </a:lnTo>
                  <a:lnTo>
                    <a:pt x="420" y="25"/>
                  </a:lnTo>
                  <a:lnTo>
                    <a:pt x="421" y="24"/>
                  </a:lnTo>
                  <a:lnTo>
                    <a:pt x="422" y="23"/>
                  </a:lnTo>
                  <a:lnTo>
                    <a:pt x="422" y="23"/>
                  </a:lnTo>
                  <a:lnTo>
                    <a:pt x="423" y="21"/>
                  </a:lnTo>
                  <a:lnTo>
                    <a:pt x="424" y="20"/>
                  </a:lnTo>
                  <a:lnTo>
                    <a:pt x="424" y="18"/>
                  </a:lnTo>
                  <a:lnTo>
                    <a:pt x="427" y="7"/>
                  </a:lnTo>
                  <a:lnTo>
                    <a:pt x="428" y="4"/>
                  </a:lnTo>
                  <a:lnTo>
                    <a:pt x="428" y="2"/>
                  </a:lnTo>
                  <a:lnTo>
                    <a:pt x="429" y="1"/>
                  </a:lnTo>
                  <a:lnTo>
                    <a:pt x="430" y="0"/>
                  </a:lnTo>
                  <a:lnTo>
                    <a:pt x="430" y="0"/>
                  </a:lnTo>
                  <a:lnTo>
                    <a:pt x="430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Freeform 253">
              <a:extLst>
                <a:ext uri="{FF2B5EF4-FFF2-40B4-BE49-F238E27FC236}">
                  <a16:creationId xmlns:a16="http://schemas.microsoft.com/office/drawing/2014/main" id="{DCAD2E5A-DADE-419D-9A6A-765BEB4F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1428" y="2303668"/>
              <a:ext cx="483028" cy="703142"/>
            </a:xfrm>
            <a:custGeom>
              <a:avLst/>
              <a:gdLst>
                <a:gd name="T0" fmla="*/ 215 w 474"/>
                <a:gd name="T1" fmla="*/ 10 h 690"/>
                <a:gd name="T2" fmla="*/ 220 w 474"/>
                <a:gd name="T3" fmla="*/ 35 h 690"/>
                <a:gd name="T4" fmla="*/ 242 w 474"/>
                <a:gd name="T5" fmla="*/ 32 h 690"/>
                <a:gd name="T6" fmla="*/ 249 w 474"/>
                <a:gd name="T7" fmla="*/ 66 h 690"/>
                <a:gd name="T8" fmla="*/ 231 w 474"/>
                <a:gd name="T9" fmla="*/ 71 h 690"/>
                <a:gd name="T10" fmla="*/ 202 w 474"/>
                <a:gd name="T11" fmla="*/ 94 h 690"/>
                <a:gd name="T12" fmla="*/ 174 w 474"/>
                <a:gd name="T13" fmla="*/ 135 h 690"/>
                <a:gd name="T14" fmla="*/ 168 w 474"/>
                <a:gd name="T15" fmla="*/ 178 h 690"/>
                <a:gd name="T16" fmla="*/ 145 w 474"/>
                <a:gd name="T17" fmla="*/ 223 h 690"/>
                <a:gd name="T18" fmla="*/ 159 w 474"/>
                <a:gd name="T19" fmla="*/ 245 h 690"/>
                <a:gd name="T20" fmla="*/ 147 w 474"/>
                <a:gd name="T21" fmla="*/ 271 h 690"/>
                <a:gd name="T22" fmla="*/ 144 w 474"/>
                <a:gd name="T23" fmla="*/ 298 h 690"/>
                <a:gd name="T24" fmla="*/ 167 w 474"/>
                <a:gd name="T25" fmla="*/ 311 h 690"/>
                <a:gd name="T26" fmla="*/ 171 w 474"/>
                <a:gd name="T27" fmla="*/ 328 h 690"/>
                <a:gd name="T28" fmla="*/ 194 w 474"/>
                <a:gd name="T29" fmla="*/ 322 h 690"/>
                <a:gd name="T30" fmla="*/ 228 w 474"/>
                <a:gd name="T31" fmla="*/ 305 h 690"/>
                <a:gd name="T32" fmla="*/ 233 w 474"/>
                <a:gd name="T33" fmla="*/ 331 h 690"/>
                <a:gd name="T34" fmla="*/ 244 w 474"/>
                <a:gd name="T35" fmla="*/ 341 h 690"/>
                <a:gd name="T36" fmla="*/ 261 w 474"/>
                <a:gd name="T37" fmla="*/ 323 h 690"/>
                <a:gd name="T38" fmla="*/ 272 w 474"/>
                <a:gd name="T39" fmla="*/ 316 h 690"/>
                <a:gd name="T40" fmla="*/ 276 w 474"/>
                <a:gd name="T41" fmla="*/ 297 h 690"/>
                <a:gd name="T42" fmla="*/ 289 w 474"/>
                <a:gd name="T43" fmla="*/ 331 h 690"/>
                <a:gd name="T44" fmla="*/ 303 w 474"/>
                <a:gd name="T45" fmla="*/ 356 h 690"/>
                <a:gd name="T46" fmla="*/ 336 w 474"/>
                <a:gd name="T47" fmla="*/ 372 h 690"/>
                <a:gd name="T48" fmla="*/ 367 w 474"/>
                <a:gd name="T49" fmla="*/ 365 h 690"/>
                <a:gd name="T50" fmla="*/ 372 w 474"/>
                <a:gd name="T51" fmla="*/ 394 h 690"/>
                <a:gd name="T52" fmla="*/ 380 w 474"/>
                <a:gd name="T53" fmla="*/ 421 h 690"/>
                <a:gd name="T54" fmla="*/ 397 w 474"/>
                <a:gd name="T55" fmla="*/ 421 h 690"/>
                <a:gd name="T56" fmla="*/ 425 w 474"/>
                <a:gd name="T57" fmla="*/ 452 h 690"/>
                <a:gd name="T58" fmla="*/ 447 w 474"/>
                <a:gd name="T59" fmla="*/ 487 h 690"/>
                <a:gd name="T60" fmla="*/ 457 w 474"/>
                <a:gd name="T61" fmla="*/ 493 h 690"/>
                <a:gd name="T62" fmla="*/ 474 w 474"/>
                <a:gd name="T63" fmla="*/ 506 h 690"/>
                <a:gd name="T64" fmla="*/ 462 w 474"/>
                <a:gd name="T65" fmla="*/ 522 h 690"/>
                <a:gd name="T66" fmla="*/ 439 w 474"/>
                <a:gd name="T67" fmla="*/ 527 h 690"/>
                <a:gd name="T68" fmla="*/ 423 w 474"/>
                <a:gd name="T69" fmla="*/ 552 h 690"/>
                <a:gd name="T70" fmla="*/ 399 w 474"/>
                <a:gd name="T71" fmla="*/ 575 h 690"/>
                <a:gd name="T72" fmla="*/ 375 w 474"/>
                <a:gd name="T73" fmla="*/ 562 h 690"/>
                <a:gd name="T74" fmla="*/ 359 w 474"/>
                <a:gd name="T75" fmla="*/ 570 h 690"/>
                <a:gd name="T76" fmla="*/ 359 w 474"/>
                <a:gd name="T77" fmla="*/ 586 h 690"/>
                <a:gd name="T78" fmla="*/ 348 w 474"/>
                <a:gd name="T79" fmla="*/ 602 h 690"/>
                <a:gd name="T80" fmla="*/ 319 w 474"/>
                <a:gd name="T81" fmla="*/ 600 h 690"/>
                <a:gd name="T82" fmla="*/ 302 w 474"/>
                <a:gd name="T83" fmla="*/ 617 h 690"/>
                <a:gd name="T84" fmla="*/ 280 w 474"/>
                <a:gd name="T85" fmla="*/ 621 h 690"/>
                <a:gd name="T86" fmla="*/ 249 w 474"/>
                <a:gd name="T87" fmla="*/ 614 h 690"/>
                <a:gd name="T88" fmla="*/ 240 w 474"/>
                <a:gd name="T89" fmla="*/ 600 h 690"/>
                <a:gd name="T90" fmla="*/ 232 w 474"/>
                <a:gd name="T91" fmla="*/ 627 h 690"/>
                <a:gd name="T92" fmla="*/ 224 w 474"/>
                <a:gd name="T93" fmla="*/ 653 h 690"/>
                <a:gd name="T94" fmla="*/ 196 w 474"/>
                <a:gd name="T95" fmla="*/ 673 h 690"/>
                <a:gd name="T96" fmla="*/ 161 w 474"/>
                <a:gd name="T97" fmla="*/ 688 h 690"/>
                <a:gd name="T98" fmla="*/ 146 w 474"/>
                <a:gd name="T99" fmla="*/ 661 h 690"/>
                <a:gd name="T100" fmla="*/ 110 w 474"/>
                <a:gd name="T101" fmla="*/ 640 h 690"/>
                <a:gd name="T102" fmla="*/ 109 w 474"/>
                <a:gd name="T103" fmla="*/ 612 h 690"/>
                <a:gd name="T104" fmla="*/ 100 w 474"/>
                <a:gd name="T105" fmla="*/ 613 h 690"/>
                <a:gd name="T106" fmla="*/ 84 w 474"/>
                <a:gd name="T107" fmla="*/ 594 h 690"/>
                <a:gd name="T108" fmla="*/ 69 w 474"/>
                <a:gd name="T109" fmla="*/ 563 h 690"/>
                <a:gd name="T110" fmla="*/ 44 w 474"/>
                <a:gd name="T111" fmla="*/ 547 h 690"/>
                <a:gd name="T112" fmla="*/ 29 w 474"/>
                <a:gd name="T113" fmla="*/ 563 h 690"/>
                <a:gd name="T114" fmla="*/ 46 w 474"/>
                <a:gd name="T115" fmla="*/ 589 h 690"/>
                <a:gd name="T116" fmla="*/ 28 w 474"/>
                <a:gd name="T117" fmla="*/ 617 h 690"/>
                <a:gd name="T118" fmla="*/ 1 w 474"/>
                <a:gd name="T119" fmla="*/ 60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4" h="690">
                  <a:moveTo>
                    <a:pt x="195" y="2"/>
                  </a:moveTo>
                  <a:lnTo>
                    <a:pt x="197" y="2"/>
                  </a:lnTo>
                  <a:lnTo>
                    <a:pt x="198" y="2"/>
                  </a:lnTo>
                  <a:lnTo>
                    <a:pt x="200" y="1"/>
                  </a:lnTo>
                  <a:lnTo>
                    <a:pt x="206" y="0"/>
                  </a:lnTo>
                  <a:lnTo>
                    <a:pt x="207" y="0"/>
                  </a:lnTo>
                  <a:lnTo>
                    <a:pt x="208" y="0"/>
                  </a:lnTo>
                  <a:lnTo>
                    <a:pt x="209" y="0"/>
                  </a:lnTo>
                  <a:lnTo>
                    <a:pt x="210" y="0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2" y="1"/>
                  </a:lnTo>
                  <a:lnTo>
                    <a:pt x="212" y="1"/>
                  </a:lnTo>
                  <a:lnTo>
                    <a:pt x="213" y="2"/>
                  </a:lnTo>
                  <a:lnTo>
                    <a:pt x="214" y="6"/>
                  </a:lnTo>
                  <a:lnTo>
                    <a:pt x="215" y="10"/>
                  </a:lnTo>
                  <a:lnTo>
                    <a:pt x="215" y="10"/>
                  </a:lnTo>
                  <a:lnTo>
                    <a:pt x="215" y="12"/>
                  </a:lnTo>
                  <a:lnTo>
                    <a:pt x="215" y="13"/>
                  </a:lnTo>
                  <a:lnTo>
                    <a:pt x="215" y="15"/>
                  </a:lnTo>
                  <a:lnTo>
                    <a:pt x="215" y="26"/>
                  </a:lnTo>
                  <a:lnTo>
                    <a:pt x="215" y="27"/>
                  </a:lnTo>
                  <a:lnTo>
                    <a:pt x="215" y="28"/>
                  </a:lnTo>
                  <a:lnTo>
                    <a:pt x="215" y="30"/>
                  </a:lnTo>
                  <a:lnTo>
                    <a:pt x="216" y="32"/>
                  </a:lnTo>
                  <a:lnTo>
                    <a:pt x="216" y="33"/>
                  </a:lnTo>
                  <a:lnTo>
                    <a:pt x="217" y="33"/>
                  </a:lnTo>
                  <a:lnTo>
                    <a:pt x="217" y="34"/>
                  </a:lnTo>
                  <a:lnTo>
                    <a:pt x="217" y="34"/>
                  </a:lnTo>
                  <a:lnTo>
                    <a:pt x="218" y="35"/>
                  </a:lnTo>
                  <a:lnTo>
                    <a:pt x="219" y="35"/>
                  </a:lnTo>
                  <a:lnTo>
                    <a:pt x="220" y="35"/>
                  </a:lnTo>
                  <a:lnTo>
                    <a:pt x="220" y="35"/>
                  </a:lnTo>
                  <a:lnTo>
                    <a:pt x="221" y="34"/>
                  </a:lnTo>
                  <a:lnTo>
                    <a:pt x="221" y="34"/>
                  </a:lnTo>
                  <a:lnTo>
                    <a:pt x="224" y="32"/>
                  </a:lnTo>
                  <a:lnTo>
                    <a:pt x="225" y="31"/>
                  </a:lnTo>
                  <a:lnTo>
                    <a:pt x="226" y="30"/>
                  </a:lnTo>
                  <a:lnTo>
                    <a:pt x="227" y="30"/>
                  </a:lnTo>
                  <a:lnTo>
                    <a:pt x="228" y="30"/>
                  </a:lnTo>
                  <a:lnTo>
                    <a:pt x="229" y="29"/>
                  </a:lnTo>
                  <a:lnTo>
                    <a:pt x="231" y="29"/>
                  </a:lnTo>
                  <a:lnTo>
                    <a:pt x="232" y="29"/>
                  </a:lnTo>
                  <a:lnTo>
                    <a:pt x="233" y="29"/>
                  </a:lnTo>
                  <a:lnTo>
                    <a:pt x="235" y="29"/>
                  </a:lnTo>
                  <a:lnTo>
                    <a:pt x="236" y="29"/>
                  </a:lnTo>
                  <a:lnTo>
                    <a:pt x="238" y="30"/>
                  </a:lnTo>
                  <a:lnTo>
                    <a:pt x="239" y="30"/>
                  </a:lnTo>
                  <a:lnTo>
                    <a:pt x="241" y="31"/>
                  </a:lnTo>
                  <a:lnTo>
                    <a:pt x="242" y="32"/>
                  </a:lnTo>
                  <a:lnTo>
                    <a:pt x="244" y="33"/>
                  </a:lnTo>
                  <a:lnTo>
                    <a:pt x="245" y="34"/>
                  </a:lnTo>
                  <a:lnTo>
                    <a:pt x="246" y="35"/>
                  </a:lnTo>
                  <a:lnTo>
                    <a:pt x="247" y="35"/>
                  </a:lnTo>
                  <a:lnTo>
                    <a:pt x="248" y="36"/>
                  </a:lnTo>
                  <a:lnTo>
                    <a:pt x="249" y="38"/>
                  </a:lnTo>
                  <a:lnTo>
                    <a:pt x="249" y="39"/>
                  </a:lnTo>
                  <a:lnTo>
                    <a:pt x="250" y="40"/>
                  </a:lnTo>
                  <a:lnTo>
                    <a:pt x="251" y="42"/>
                  </a:lnTo>
                  <a:lnTo>
                    <a:pt x="251" y="43"/>
                  </a:lnTo>
                  <a:lnTo>
                    <a:pt x="251" y="44"/>
                  </a:lnTo>
                  <a:lnTo>
                    <a:pt x="251" y="44"/>
                  </a:lnTo>
                  <a:lnTo>
                    <a:pt x="251" y="45"/>
                  </a:lnTo>
                  <a:lnTo>
                    <a:pt x="250" y="57"/>
                  </a:lnTo>
                  <a:lnTo>
                    <a:pt x="250" y="60"/>
                  </a:lnTo>
                  <a:lnTo>
                    <a:pt x="250" y="63"/>
                  </a:lnTo>
                  <a:lnTo>
                    <a:pt x="249" y="66"/>
                  </a:lnTo>
                  <a:lnTo>
                    <a:pt x="249" y="67"/>
                  </a:lnTo>
                  <a:lnTo>
                    <a:pt x="248" y="68"/>
                  </a:lnTo>
                  <a:lnTo>
                    <a:pt x="248" y="70"/>
                  </a:lnTo>
                  <a:lnTo>
                    <a:pt x="247" y="70"/>
                  </a:lnTo>
                  <a:lnTo>
                    <a:pt x="247" y="71"/>
                  </a:lnTo>
                  <a:lnTo>
                    <a:pt x="246" y="71"/>
                  </a:lnTo>
                  <a:lnTo>
                    <a:pt x="245" y="72"/>
                  </a:lnTo>
                  <a:lnTo>
                    <a:pt x="244" y="72"/>
                  </a:lnTo>
                  <a:lnTo>
                    <a:pt x="243" y="72"/>
                  </a:lnTo>
                  <a:lnTo>
                    <a:pt x="242" y="72"/>
                  </a:lnTo>
                  <a:lnTo>
                    <a:pt x="241" y="72"/>
                  </a:lnTo>
                  <a:lnTo>
                    <a:pt x="239" y="72"/>
                  </a:lnTo>
                  <a:lnTo>
                    <a:pt x="237" y="72"/>
                  </a:lnTo>
                  <a:lnTo>
                    <a:pt x="235" y="71"/>
                  </a:lnTo>
                  <a:lnTo>
                    <a:pt x="233" y="71"/>
                  </a:lnTo>
                  <a:lnTo>
                    <a:pt x="232" y="71"/>
                  </a:lnTo>
                  <a:lnTo>
                    <a:pt x="231" y="71"/>
                  </a:lnTo>
                  <a:lnTo>
                    <a:pt x="230" y="72"/>
                  </a:lnTo>
                  <a:lnTo>
                    <a:pt x="229" y="72"/>
                  </a:lnTo>
                  <a:lnTo>
                    <a:pt x="228" y="73"/>
                  </a:lnTo>
                  <a:lnTo>
                    <a:pt x="226" y="75"/>
                  </a:lnTo>
                  <a:lnTo>
                    <a:pt x="223" y="78"/>
                  </a:lnTo>
                  <a:lnTo>
                    <a:pt x="219" y="83"/>
                  </a:lnTo>
                  <a:lnTo>
                    <a:pt x="217" y="84"/>
                  </a:lnTo>
                  <a:lnTo>
                    <a:pt x="216" y="85"/>
                  </a:lnTo>
                  <a:lnTo>
                    <a:pt x="214" y="87"/>
                  </a:lnTo>
                  <a:lnTo>
                    <a:pt x="213" y="88"/>
                  </a:lnTo>
                  <a:lnTo>
                    <a:pt x="211" y="88"/>
                  </a:lnTo>
                  <a:lnTo>
                    <a:pt x="208" y="89"/>
                  </a:lnTo>
                  <a:lnTo>
                    <a:pt x="207" y="90"/>
                  </a:lnTo>
                  <a:lnTo>
                    <a:pt x="205" y="91"/>
                  </a:lnTo>
                  <a:lnTo>
                    <a:pt x="204" y="92"/>
                  </a:lnTo>
                  <a:lnTo>
                    <a:pt x="203" y="93"/>
                  </a:lnTo>
                  <a:lnTo>
                    <a:pt x="202" y="94"/>
                  </a:lnTo>
                  <a:lnTo>
                    <a:pt x="198" y="97"/>
                  </a:lnTo>
                  <a:lnTo>
                    <a:pt x="197" y="98"/>
                  </a:lnTo>
                  <a:lnTo>
                    <a:pt x="196" y="99"/>
                  </a:lnTo>
                  <a:lnTo>
                    <a:pt x="193" y="101"/>
                  </a:lnTo>
                  <a:lnTo>
                    <a:pt x="192" y="102"/>
                  </a:lnTo>
                  <a:lnTo>
                    <a:pt x="190" y="104"/>
                  </a:lnTo>
                  <a:lnTo>
                    <a:pt x="187" y="108"/>
                  </a:lnTo>
                  <a:lnTo>
                    <a:pt x="180" y="116"/>
                  </a:lnTo>
                  <a:lnTo>
                    <a:pt x="178" y="119"/>
                  </a:lnTo>
                  <a:lnTo>
                    <a:pt x="177" y="121"/>
                  </a:lnTo>
                  <a:lnTo>
                    <a:pt x="177" y="122"/>
                  </a:lnTo>
                  <a:lnTo>
                    <a:pt x="176" y="123"/>
                  </a:lnTo>
                  <a:lnTo>
                    <a:pt x="176" y="125"/>
                  </a:lnTo>
                  <a:lnTo>
                    <a:pt x="175" y="128"/>
                  </a:lnTo>
                  <a:lnTo>
                    <a:pt x="175" y="132"/>
                  </a:lnTo>
                  <a:lnTo>
                    <a:pt x="175" y="134"/>
                  </a:lnTo>
                  <a:lnTo>
                    <a:pt x="174" y="135"/>
                  </a:lnTo>
                  <a:lnTo>
                    <a:pt x="174" y="136"/>
                  </a:lnTo>
                  <a:lnTo>
                    <a:pt x="173" y="138"/>
                  </a:lnTo>
                  <a:lnTo>
                    <a:pt x="171" y="143"/>
                  </a:lnTo>
                  <a:lnTo>
                    <a:pt x="171" y="145"/>
                  </a:lnTo>
                  <a:lnTo>
                    <a:pt x="170" y="146"/>
                  </a:lnTo>
                  <a:lnTo>
                    <a:pt x="170" y="148"/>
                  </a:lnTo>
                  <a:lnTo>
                    <a:pt x="170" y="150"/>
                  </a:lnTo>
                  <a:lnTo>
                    <a:pt x="170" y="152"/>
                  </a:lnTo>
                  <a:lnTo>
                    <a:pt x="170" y="159"/>
                  </a:lnTo>
                  <a:lnTo>
                    <a:pt x="170" y="165"/>
                  </a:lnTo>
                  <a:lnTo>
                    <a:pt x="170" y="168"/>
                  </a:lnTo>
                  <a:lnTo>
                    <a:pt x="170" y="170"/>
                  </a:lnTo>
                  <a:lnTo>
                    <a:pt x="170" y="172"/>
                  </a:lnTo>
                  <a:lnTo>
                    <a:pt x="170" y="173"/>
                  </a:lnTo>
                  <a:lnTo>
                    <a:pt x="169" y="175"/>
                  </a:lnTo>
                  <a:lnTo>
                    <a:pt x="168" y="177"/>
                  </a:lnTo>
                  <a:lnTo>
                    <a:pt x="168" y="178"/>
                  </a:lnTo>
                  <a:lnTo>
                    <a:pt x="167" y="180"/>
                  </a:lnTo>
                  <a:lnTo>
                    <a:pt x="166" y="182"/>
                  </a:lnTo>
                  <a:lnTo>
                    <a:pt x="165" y="183"/>
                  </a:lnTo>
                  <a:lnTo>
                    <a:pt x="164" y="184"/>
                  </a:lnTo>
                  <a:lnTo>
                    <a:pt x="156" y="193"/>
                  </a:lnTo>
                  <a:lnTo>
                    <a:pt x="154" y="196"/>
                  </a:lnTo>
                  <a:lnTo>
                    <a:pt x="153" y="198"/>
                  </a:lnTo>
                  <a:lnTo>
                    <a:pt x="151" y="200"/>
                  </a:lnTo>
                  <a:lnTo>
                    <a:pt x="150" y="202"/>
                  </a:lnTo>
                  <a:lnTo>
                    <a:pt x="149" y="206"/>
                  </a:lnTo>
                  <a:lnTo>
                    <a:pt x="148" y="207"/>
                  </a:lnTo>
                  <a:lnTo>
                    <a:pt x="148" y="208"/>
                  </a:lnTo>
                  <a:lnTo>
                    <a:pt x="147" y="210"/>
                  </a:lnTo>
                  <a:lnTo>
                    <a:pt x="147" y="211"/>
                  </a:lnTo>
                  <a:lnTo>
                    <a:pt x="147" y="213"/>
                  </a:lnTo>
                  <a:lnTo>
                    <a:pt x="146" y="218"/>
                  </a:lnTo>
                  <a:lnTo>
                    <a:pt x="145" y="223"/>
                  </a:lnTo>
                  <a:lnTo>
                    <a:pt x="145" y="224"/>
                  </a:lnTo>
                  <a:lnTo>
                    <a:pt x="145" y="225"/>
                  </a:lnTo>
                  <a:lnTo>
                    <a:pt x="146" y="226"/>
                  </a:lnTo>
                  <a:lnTo>
                    <a:pt x="146" y="227"/>
                  </a:lnTo>
                  <a:lnTo>
                    <a:pt x="146" y="227"/>
                  </a:lnTo>
                  <a:lnTo>
                    <a:pt x="146" y="228"/>
                  </a:lnTo>
                  <a:lnTo>
                    <a:pt x="147" y="229"/>
                  </a:lnTo>
                  <a:lnTo>
                    <a:pt x="148" y="230"/>
                  </a:lnTo>
                  <a:lnTo>
                    <a:pt x="149" y="232"/>
                  </a:lnTo>
                  <a:lnTo>
                    <a:pt x="155" y="238"/>
                  </a:lnTo>
                  <a:lnTo>
                    <a:pt x="156" y="239"/>
                  </a:lnTo>
                  <a:lnTo>
                    <a:pt x="157" y="241"/>
                  </a:lnTo>
                  <a:lnTo>
                    <a:pt x="157" y="241"/>
                  </a:lnTo>
                  <a:lnTo>
                    <a:pt x="158" y="242"/>
                  </a:lnTo>
                  <a:lnTo>
                    <a:pt x="158" y="243"/>
                  </a:lnTo>
                  <a:lnTo>
                    <a:pt x="158" y="244"/>
                  </a:lnTo>
                  <a:lnTo>
                    <a:pt x="159" y="245"/>
                  </a:lnTo>
                  <a:lnTo>
                    <a:pt x="159" y="246"/>
                  </a:lnTo>
                  <a:lnTo>
                    <a:pt x="159" y="247"/>
                  </a:lnTo>
                  <a:lnTo>
                    <a:pt x="159" y="248"/>
                  </a:lnTo>
                  <a:lnTo>
                    <a:pt x="159" y="249"/>
                  </a:lnTo>
                  <a:lnTo>
                    <a:pt x="158" y="251"/>
                  </a:lnTo>
                  <a:lnTo>
                    <a:pt x="158" y="252"/>
                  </a:lnTo>
                  <a:lnTo>
                    <a:pt x="157" y="254"/>
                  </a:lnTo>
                  <a:lnTo>
                    <a:pt x="156" y="256"/>
                  </a:lnTo>
                  <a:lnTo>
                    <a:pt x="155" y="257"/>
                  </a:lnTo>
                  <a:lnTo>
                    <a:pt x="152" y="261"/>
                  </a:lnTo>
                  <a:lnTo>
                    <a:pt x="150" y="263"/>
                  </a:lnTo>
                  <a:lnTo>
                    <a:pt x="148" y="265"/>
                  </a:lnTo>
                  <a:lnTo>
                    <a:pt x="148" y="266"/>
                  </a:lnTo>
                  <a:lnTo>
                    <a:pt x="148" y="267"/>
                  </a:lnTo>
                  <a:lnTo>
                    <a:pt x="147" y="268"/>
                  </a:lnTo>
                  <a:lnTo>
                    <a:pt x="147" y="270"/>
                  </a:lnTo>
                  <a:lnTo>
                    <a:pt x="147" y="271"/>
                  </a:lnTo>
                  <a:lnTo>
                    <a:pt x="147" y="273"/>
                  </a:lnTo>
                  <a:lnTo>
                    <a:pt x="147" y="274"/>
                  </a:lnTo>
                  <a:lnTo>
                    <a:pt x="147" y="276"/>
                  </a:lnTo>
                  <a:lnTo>
                    <a:pt x="147" y="277"/>
                  </a:lnTo>
                  <a:lnTo>
                    <a:pt x="146" y="279"/>
                  </a:lnTo>
                  <a:lnTo>
                    <a:pt x="145" y="281"/>
                  </a:lnTo>
                  <a:lnTo>
                    <a:pt x="143" y="286"/>
                  </a:lnTo>
                  <a:lnTo>
                    <a:pt x="142" y="288"/>
                  </a:lnTo>
                  <a:lnTo>
                    <a:pt x="142" y="289"/>
                  </a:lnTo>
                  <a:lnTo>
                    <a:pt x="142" y="290"/>
                  </a:lnTo>
                  <a:lnTo>
                    <a:pt x="142" y="292"/>
                  </a:lnTo>
                  <a:lnTo>
                    <a:pt x="142" y="292"/>
                  </a:lnTo>
                  <a:lnTo>
                    <a:pt x="142" y="293"/>
                  </a:lnTo>
                  <a:lnTo>
                    <a:pt x="142" y="294"/>
                  </a:lnTo>
                  <a:lnTo>
                    <a:pt x="142" y="295"/>
                  </a:lnTo>
                  <a:lnTo>
                    <a:pt x="143" y="296"/>
                  </a:lnTo>
                  <a:lnTo>
                    <a:pt x="144" y="298"/>
                  </a:lnTo>
                  <a:lnTo>
                    <a:pt x="145" y="300"/>
                  </a:lnTo>
                  <a:lnTo>
                    <a:pt x="146" y="301"/>
                  </a:lnTo>
                  <a:lnTo>
                    <a:pt x="146" y="302"/>
                  </a:lnTo>
                  <a:lnTo>
                    <a:pt x="149" y="305"/>
                  </a:lnTo>
                  <a:lnTo>
                    <a:pt x="151" y="308"/>
                  </a:lnTo>
                  <a:lnTo>
                    <a:pt x="152" y="309"/>
                  </a:lnTo>
                  <a:lnTo>
                    <a:pt x="154" y="311"/>
                  </a:lnTo>
                  <a:lnTo>
                    <a:pt x="154" y="311"/>
                  </a:lnTo>
                  <a:lnTo>
                    <a:pt x="155" y="312"/>
                  </a:lnTo>
                  <a:lnTo>
                    <a:pt x="156" y="312"/>
                  </a:lnTo>
                  <a:lnTo>
                    <a:pt x="157" y="312"/>
                  </a:lnTo>
                  <a:lnTo>
                    <a:pt x="158" y="312"/>
                  </a:lnTo>
                  <a:lnTo>
                    <a:pt x="159" y="312"/>
                  </a:lnTo>
                  <a:lnTo>
                    <a:pt x="160" y="312"/>
                  </a:lnTo>
                  <a:lnTo>
                    <a:pt x="164" y="312"/>
                  </a:lnTo>
                  <a:lnTo>
                    <a:pt x="165" y="311"/>
                  </a:lnTo>
                  <a:lnTo>
                    <a:pt x="167" y="311"/>
                  </a:lnTo>
                  <a:lnTo>
                    <a:pt x="168" y="310"/>
                  </a:lnTo>
                  <a:lnTo>
                    <a:pt x="169" y="310"/>
                  </a:lnTo>
                  <a:lnTo>
                    <a:pt x="169" y="310"/>
                  </a:lnTo>
                  <a:lnTo>
                    <a:pt x="170" y="310"/>
                  </a:lnTo>
                  <a:lnTo>
                    <a:pt x="170" y="311"/>
                  </a:lnTo>
                  <a:lnTo>
                    <a:pt x="170" y="311"/>
                  </a:lnTo>
                  <a:lnTo>
                    <a:pt x="170" y="312"/>
                  </a:lnTo>
                  <a:lnTo>
                    <a:pt x="171" y="313"/>
                  </a:lnTo>
                  <a:lnTo>
                    <a:pt x="171" y="314"/>
                  </a:lnTo>
                  <a:lnTo>
                    <a:pt x="170" y="317"/>
                  </a:lnTo>
                  <a:lnTo>
                    <a:pt x="170" y="321"/>
                  </a:lnTo>
                  <a:lnTo>
                    <a:pt x="170" y="323"/>
                  </a:lnTo>
                  <a:lnTo>
                    <a:pt x="169" y="324"/>
                  </a:lnTo>
                  <a:lnTo>
                    <a:pt x="170" y="326"/>
                  </a:lnTo>
                  <a:lnTo>
                    <a:pt x="170" y="326"/>
                  </a:lnTo>
                  <a:lnTo>
                    <a:pt x="170" y="327"/>
                  </a:lnTo>
                  <a:lnTo>
                    <a:pt x="171" y="328"/>
                  </a:lnTo>
                  <a:lnTo>
                    <a:pt x="171" y="329"/>
                  </a:lnTo>
                  <a:lnTo>
                    <a:pt x="172" y="329"/>
                  </a:lnTo>
                  <a:lnTo>
                    <a:pt x="172" y="329"/>
                  </a:lnTo>
                  <a:lnTo>
                    <a:pt x="173" y="329"/>
                  </a:lnTo>
                  <a:lnTo>
                    <a:pt x="174" y="330"/>
                  </a:lnTo>
                  <a:lnTo>
                    <a:pt x="175" y="330"/>
                  </a:lnTo>
                  <a:lnTo>
                    <a:pt x="180" y="329"/>
                  </a:lnTo>
                  <a:lnTo>
                    <a:pt x="185" y="329"/>
                  </a:lnTo>
                  <a:lnTo>
                    <a:pt x="186" y="329"/>
                  </a:lnTo>
                  <a:lnTo>
                    <a:pt x="187" y="329"/>
                  </a:lnTo>
                  <a:lnTo>
                    <a:pt x="188" y="329"/>
                  </a:lnTo>
                  <a:lnTo>
                    <a:pt x="189" y="328"/>
                  </a:lnTo>
                  <a:lnTo>
                    <a:pt x="189" y="327"/>
                  </a:lnTo>
                  <a:lnTo>
                    <a:pt x="191" y="325"/>
                  </a:lnTo>
                  <a:lnTo>
                    <a:pt x="192" y="324"/>
                  </a:lnTo>
                  <a:lnTo>
                    <a:pt x="193" y="323"/>
                  </a:lnTo>
                  <a:lnTo>
                    <a:pt x="194" y="322"/>
                  </a:lnTo>
                  <a:lnTo>
                    <a:pt x="195" y="320"/>
                  </a:lnTo>
                  <a:lnTo>
                    <a:pt x="200" y="317"/>
                  </a:lnTo>
                  <a:lnTo>
                    <a:pt x="204" y="314"/>
                  </a:lnTo>
                  <a:lnTo>
                    <a:pt x="206" y="312"/>
                  </a:lnTo>
                  <a:lnTo>
                    <a:pt x="209" y="310"/>
                  </a:lnTo>
                  <a:lnTo>
                    <a:pt x="210" y="309"/>
                  </a:lnTo>
                  <a:lnTo>
                    <a:pt x="211" y="309"/>
                  </a:lnTo>
                  <a:lnTo>
                    <a:pt x="212" y="308"/>
                  </a:lnTo>
                  <a:lnTo>
                    <a:pt x="215" y="307"/>
                  </a:lnTo>
                  <a:lnTo>
                    <a:pt x="217" y="306"/>
                  </a:lnTo>
                  <a:lnTo>
                    <a:pt x="218" y="306"/>
                  </a:lnTo>
                  <a:lnTo>
                    <a:pt x="219" y="305"/>
                  </a:lnTo>
                  <a:lnTo>
                    <a:pt x="221" y="305"/>
                  </a:lnTo>
                  <a:lnTo>
                    <a:pt x="224" y="305"/>
                  </a:lnTo>
                  <a:lnTo>
                    <a:pt x="226" y="304"/>
                  </a:lnTo>
                  <a:lnTo>
                    <a:pt x="227" y="304"/>
                  </a:lnTo>
                  <a:lnTo>
                    <a:pt x="228" y="305"/>
                  </a:lnTo>
                  <a:lnTo>
                    <a:pt x="229" y="305"/>
                  </a:lnTo>
                  <a:lnTo>
                    <a:pt x="230" y="305"/>
                  </a:lnTo>
                  <a:lnTo>
                    <a:pt x="231" y="306"/>
                  </a:lnTo>
                  <a:lnTo>
                    <a:pt x="232" y="307"/>
                  </a:lnTo>
                  <a:lnTo>
                    <a:pt x="233" y="307"/>
                  </a:lnTo>
                  <a:lnTo>
                    <a:pt x="234" y="308"/>
                  </a:lnTo>
                  <a:lnTo>
                    <a:pt x="234" y="309"/>
                  </a:lnTo>
                  <a:lnTo>
                    <a:pt x="235" y="310"/>
                  </a:lnTo>
                  <a:lnTo>
                    <a:pt x="235" y="312"/>
                  </a:lnTo>
                  <a:lnTo>
                    <a:pt x="235" y="313"/>
                  </a:lnTo>
                  <a:lnTo>
                    <a:pt x="235" y="313"/>
                  </a:lnTo>
                  <a:lnTo>
                    <a:pt x="235" y="314"/>
                  </a:lnTo>
                  <a:lnTo>
                    <a:pt x="235" y="317"/>
                  </a:lnTo>
                  <a:lnTo>
                    <a:pt x="234" y="320"/>
                  </a:lnTo>
                  <a:lnTo>
                    <a:pt x="233" y="326"/>
                  </a:lnTo>
                  <a:lnTo>
                    <a:pt x="233" y="329"/>
                  </a:lnTo>
                  <a:lnTo>
                    <a:pt x="233" y="331"/>
                  </a:lnTo>
                  <a:lnTo>
                    <a:pt x="233" y="332"/>
                  </a:lnTo>
                  <a:lnTo>
                    <a:pt x="233" y="333"/>
                  </a:lnTo>
                  <a:lnTo>
                    <a:pt x="233" y="335"/>
                  </a:lnTo>
                  <a:lnTo>
                    <a:pt x="234" y="336"/>
                  </a:lnTo>
                  <a:lnTo>
                    <a:pt x="235" y="338"/>
                  </a:lnTo>
                  <a:lnTo>
                    <a:pt x="236" y="340"/>
                  </a:lnTo>
                  <a:lnTo>
                    <a:pt x="237" y="341"/>
                  </a:lnTo>
                  <a:lnTo>
                    <a:pt x="238" y="342"/>
                  </a:lnTo>
                  <a:lnTo>
                    <a:pt x="239" y="343"/>
                  </a:lnTo>
                  <a:lnTo>
                    <a:pt x="240" y="343"/>
                  </a:lnTo>
                  <a:lnTo>
                    <a:pt x="240" y="344"/>
                  </a:lnTo>
                  <a:lnTo>
                    <a:pt x="241" y="344"/>
                  </a:lnTo>
                  <a:lnTo>
                    <a:pt x="241" y="343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43" y="343"/>
                  </a:lnTo>
                  <a:lnTo>
                    <a:pt x="244" y="341"/>
                  </a:lnTo>
                  <a:lnTo>
                    <a:pt x="245" y="338"/>
                  </a:lnTo>
                  <a:lnTo>
                    <a:pt x="246" y="337"/>
                  </a:lnTo>
                  <a:lnTo>
                    <a:pt x="247" y="337"/>
                  </a:lnTo>
                  <a:lnTo>
                    <a:pt x="250" y="333"/>
                  </a:lnTo>
                  <a:lnTo>
                    <a:pt x="251" y="333"/>
                  </a:lnTo>
                  <a:lnTo>
                    <a:pt x="251" y="332"/>
                  </a:lnTo>
                  <a:lnTo>
                    <a:pt x="252" y="331"/>
                  </a:lnTo>
                  <a:lnTo>
                    <a:pt x="253" y="329"/>
                  </a:lnTo>
                  <a:lnTo>
                    <a:pt x="253" y="328"/>
                  </a:lnTo>
                  <a:lnTo>
                    <a:pt x="254" y="327"/>
                  </a:lnTo>
                  <a:lnTo>
                    <a:pt x="254" y="327"/>
                  </a:lnTo>
                  <a:lnTo>
                    <a:pt x="255" y="326"/>
                  </a:lnTo>
                  <a:lnTo>
                    <a:pt x="256" y="326"/>
                  </a:lnTo>
                  <a:lnTo>
                    <a:pt x="258" y="324"/>
                  </a:lnTo>
                  <a:lnTo>
                    <a:pt x="259" y="324"/>
                  </a:lnTo>
                  <a:lnTo>
                    <a:pt x="260" y="323"/>
                  </a:lnTo>
                  <a:lnTo>
                    <a:pt x="261" y="323"/>
                  </a:lnTo>
                  <a:lnTo>
                    <a:pt x="261" y="322"/>
                  </a:lnTo>
                  <a:lnTo>
                    <a:pt x="262" y="322"/>
                  </a:lnTo>
                  <a:lnTo>
                    <a:pt x="262" y="322"/>
                  </a:lnTo>
                  <a:lnTo>
                    <a:pt x="263" y="323"/>
                  </a:lnTo>
                  <a:lnTo>
                    <a:pt x="264" y="323"/>
                  </a:lnTo>
                  <a:lnTo>
                    <a:pt x="265" y="323"/>
                  </a:lnTo>
                  <a:lnTo>
                    <a:pt x="265" y="323"/>
                  </a:lnTo>
                  <a:lnTo>
                    <a:pt x="266" y="323"/>
                  </a:lnTo>
                  <a:lnTo>
                    <a:pt x="267" y="323"/>
                  </a:lnTo>
                  <a:lnTo>
                    <a:pt x="268" y="322"/>
                  </a:lnTo>
                  <a:lnTo>
                    <a:pt x="268" y="321"/>
                  </a:lnTo>
                  <a:lnTo>
                    <a:pt x="270" y="320"/>
                  </a:lnTo>
                  <a:lnTo>
                    <a:pt x="271" y="319"/>
                  </a:lnTo>
                  <a:lnTo>
                    <a:pt x="271" y="318"/>
                  </a:lnTo>
                  <a:lnTo>
                    <a:pt x="271" y="318"/>
                  </a:lnTo>
                  <a:lnTo>
                    <a:pt x="272" y="317"/>
                  </a:lnTo>
                  <a:lnTo>
                    <a:pt x="272" y="316"/>
                  </a:lnTo>
                  <a:lnTo>
                    <a:pt x="272" y="314"/>
                  </a:lnTo>
                  <a:lnTo>
                    <a:pt x="272" y="313"/>
                  </a:lnTo>
                  <a:lnTo>
                    <a:pt x="271" y="312"/>
                  </a:lnTo>
                  <a:lnTo>
                    <a:pt x="269" y="302"/>
                  </a:lnTo>
                  <a:lnTo>
                    <a:pt x="269" y="300"/>
                  </a:lnTo>
                  <a:lnTo>
                    <a:pt x="269" y="299"/>
                  </a:lnTo>
                  <a:lnTo>
                    <a:pt x="269" y="298"/>
                  </a:lnTo>
                  <a:lnTo>
                    <a:pt x="269" y="297"/>
                  </a:lnTo>
                  <a:lnTo>
                    <a:pt x="270" y="297"/>
                  </a:lnTo>
                  <a:lnTo>
                    <a:pt x="270" y="296"/>
                  </a:lnTo>
                  <a:lnTo>
                    <a:pt x="271" y="296"/>
                  </a:lnTo>
                  <a:lnTo>
                    <a:pt x="272" y="296"/>
                  </a:lnTo>
                  <a:lnTo>
                    <a:pt x="273" y="296"/>
                  </a:lnTo>
                  <a:lnTo>
                    <a:pt x="275" y="296"/>
                  </a:lnTo>
                  <a:lnTo>
                    <a:pt x="276" y="296"/>
                  </a:lnTo>
                  <a:lnTo>
                    <a:pt x="276" y="297"/>
                  </a:lnTo>
                  <a:lnTo>
                    <a:pt x="276" y="297"/>
                  </a:lnTo>
                  <a:lnTo>
                    <a:pt x="277" y="298"/>
                  </a:lnTo>
                  <a:lnTo>
                    <a:pt x="277" y="299"/>
                  </a:lnTo>
                  <a:lnTo>
                    <a:pt x="279" y="302"/>
                  </a:lnTo>
                  <a:lnTo>
                    <a:pt x="281" y="306"/>
                  </a:lnTo>
                  <a:lnTo>
                    <a:pt x="282" y="308"/>
                  </a:lnTo>
                  <a:lnTo>
                    <a:pt x="283" y="310"/>
                  </a:lnTo>
                  <a:lnTo>
                    <a:pt x="283" y="312"/>
                  </a:lnTo>
                  <a:lnTo>
                    <a:pt x="283" y="314"/>
                  </a:lnTo>
                  <a:lnTo>
                    <a:pt x="283" y="317"/>
                  </a:lnTo>
                  <a:lnTo>
                    <a:pt x="283" y="318"/>
                  </a:lnTo>
                  <a:lnTo>
                    <a:pt x="284" y="320"/>
                  </a:lnTo>
                  <a:lnTo>
                    <a:pt x="284" y="321"/>
                  </a:lnTo>
                  <a:lnTo>
                    <a:pt x="285" y="324"/>
                  </a:lnTo>
                  <a:lnTo>
                    <a:pt x="286" y="325"/>
                  </a:lnTo>
                  <a:lnTo>
                    <a:pt x="288" y="329"/>
                  </a:lnTo>
                  <a:lnTo>
                    <a:pt x="288" y="330"/>
                  </a:lnTo>
                  <a:lnTo>
                    <a:pt x="289" y="331"/>
                  </a:lnTo>
                  <a:lnTo>
                    <a:pt x="290" y="332"/>
                  </a:lnTo>
                  <a:lnTo>
                    <a:pt x="290" y="333"/>
                  </a:lnTo>
                  <a:lnTo>
                    <a:pt x="290" y="334"/>
                  </a:lnTo>
                  <a:lnTo>
                    <a:pt x="290" y="335"/>
                  </a:lnTo>
                  <a:lnTo>
                    <a:pt x="291" y="337"/>
                  </a:lnTo>
                  <a:lnTo>
                    <a:pt x="291" y="339"/>
                  </a:lnTo>
                  <a:lnTo>
                    <a:pt x="291" y="340"/>
                  </a:lnTo>
                  <a:lnTo>
                    <a:pt x="292" y="341"/>
                  </a:lnTo>
                  <a:lnTo>
                    <a:pt x="292" y="342"/>
                  </a:lnTo>
                  <a:lnTo>
                    <a:pt x="293" y="343"/>
                  </a:lnTo>
                  <a:lnTo>
                    <a:pt x="297" y="347"/>
                  </a:lnTo>
                  <a:lnTo>
                    <a:pt x="298" y="348"/>
                  </a:lnTo>
                  <a:lnTo>
                    <a:pt x="299" y="350"/>
                  </a:lnTo>
                  <a:lnTo>
                    <a:pt x="300" y="352"/>
                  </a:lnTo>
                  <a:lnTo>
                    <a:pt x="301" y="354"/>
                  </a:lnTo>
                  <a:lnTo>
                    <a:pt x="302" y="355"/>
                  </a:lnTo>
                  <a:lnTo>
                    <a:pt x="303" y="356"/>
                  </a:lnTo>
                  <a:lnTo>
                    <a:pt x="304" y="357"/>
                  </a:lnTo>
                  <a:lnTo>
                    <a:pt x="306" y="358"/>
                  </a:lnTo>
                  <a:lnTo>
                    <a:pt x="306" y="358"/>
                  </a:lnTo>
                  <a:lnTo>
                    <a:pt x="309" y="359"/>
                  </a:lnTo>
                  <a:lnTo>
                    <a:pt x="310" y="360"/>
                  </a:lnTo>
                  <a:lnTo>
                    <a:pt x="311" y="361"/>
                  </a:lnTo>
                  <a:lnTo>
                    <a:pt x="313" y="362"/>
                  </a:lnTo>
                  <a:lnTo>
                    <a:pt x="315" y="364"/>
                  </a:lnTo>
                  <a:lnTo>
                    <a:pt x="316" y="365"/>
                  </a:lnTo>
                  <a:lnTo>
                    <a:pt x="318" y="366"/>
                  </a:lnTo>
                  <a:lnTo>
                    <a:pt x="319" y="367"/>
                  </a:lnTo>
                  <a:lnTo>
                    <a:pt x="325" y="370"/>
                  </a:lnTo>
                  <a:lnTo>
                    <a:pt x="328" y="371"/>
                  </a:lnTo>
                  <a:lnTo>
                    <a:pt x="329" y="371"/>
                  </a:lnTo>
                  <a:lnTo>
                    <a:pt x="330" y="371"/>
                  </a:lnTo>
                  <a:lnTo>
                    <a:pt x="335" y="372"/>
                  </a:lnTo>
                  <a:lnTo>
                    <a:pt x="336" y="372"/>
                  </a:lnTo>
                  <a:lnTo>
                    <a:pt x="337" y="372"/>
                  </a:lnTo>
                  <a:lnTo>
                    <a:pt x="338" y="372"/>
                  </a:lnTo>
                  <a:lnTo>
                    <a:pt x="339" y="372"/>
                  </a:lnTo>
                  <a:lnTo>
                    <a:pt x="340" y="372"/>
                  </a:lnTo>
                  <a:lnTo>
                    <a:pt x="343" y="370"/>
                  </a:lnTo>
                  <a:lnTo>
                    <a:pt x="346" y="369"/>
                  </a:lnTo>
                  <a:lnTo>
                    <a:pt x="348" y="368"/>
                  </a:lnTo>
                  <a:lnTo>
                    <a:pt x="350" y="368"/>
                  </a:lnTo>
                  <a:lnTo>
                    <a:pt x="357" y="365"/>
                  </a:lnTo>
                  <a:lnTo>
                    <a:pt x="359" y="365"/>
                  </a:lnTo>
                  <a:lnTo>
                    <a:pt x="363" y="364"/>
                  </a:lnTo>
                  <a:lnTo>
                    <a:pt x="364" y="364"/>
                  </a:lnTo>
                  <a:lnTo>
                    <a:pt x="364" y="364"/>
                  </a:lnTo>
                  <a:lnTo>
                    <a:pt x="365" y="364"/>
                  </a:lnTo>
                  <a:lnTo>
                    <a:pt x="366" y="364"/>
                  </a:lnTo>
                  <a:lnTo>
                    <a:pt x="367" y="364"/>
                  </a:lnTo>
                  <a:lnTo>
                    <a:pt x="367" y="365"/>
                  </a:lnTo>
                  <a:lnTo>
                    <a:pt x="368" y="365"/>
                  </a:lnTo>
                  <a:lnTo>
                    <a:pt x="369" y="365"/>
                  </a:lnTo>
                  <a:lnTo>
                    <a:pt x="370" y="366"/>
                  </a:lnTo>
                  <a:lnTo>
                    <a:pt x="371" y="368"/>
                  </a:lnTo>
                  <a:lnTo>
                    <a:pt x="371" y="369"/>
                  </a:lnTo>
                  <a:lnTo>
                    <a:pt x="372" y="370"/>
                  </a:lnTo>
                  <a:lnTo>
                    <a:pt x="373" y="372"/>
                  </a:lnTo>
                  <a:lnTo>
                    <a:pt x="373" y="374"/>
                  </a:lnTo>
                  <a:lnTo>
                    <a:pt x="374" y="377"/>
                  </a:lnTo>
                  <a:lnTo>
                    <a:pt x="374" y="379"/>
                  </a:lnTo>
                  <a:lnTo>
                    <a:pt x="374" y="380"/>
                  </a:lnTo>
                  <a:lnTo>
                    <a:pt x="375" y="382"/>
                  </a:lnTo>
                  <a:lnTo>
                    <a:pt x="374" y="384"/>
                  </a:lnTo>
                  <a:lnTo>
                    <a:pt x="374" y="385"/>
                  </a:lnTo>
                  <a:lnTo>
                    <a:pt x="374" y="387"/>
                  </a:lnTo>
                  <a:lnTo>
                    <a:pt x="374" y="388"/>
                  </a:lnTo>
                  <a:lnTo>
                    <a:pt x="372" y="394"/>
                  </a:lnTo>
                  <a:lnTo>
                    <a:pt x="372" y="397"/>
                  </a:lnTo>
                  <a:lnTo>
                    <a:pt x="372" y="398"/>
                  </a:lnTo>
                  <a:lnTo>
                    <a:pt x="372" y="400"/>
                  </a:lnTo>
                  <a:lnTo>
                    <a:pt x="371" y="401"/>
                  </a:lnTo>
                  <a:lnTo>
                    <a:pt x="371" y="403"/>
                  </a:lnTo>
                  <a:lnTo>
                    <a:pt x="372" y="405"/>
                  </a:lnTo>
                  <a:lnTo>
                    <a:pt x="372" y="407"/>
                  </a:lnTo>
                  <a:lnTo>
                    <a:pt x="372" y="409"/>
                  </a:lnTo>
                  <a:lnTo>
                    <a:pt x="373" y="411"/>
                  </a:lnTo>
                  <a:lnTo>
                    <a:pt x="373" y="413"/>
                  </a:lnTo>
                  <a:lnTo>
                    <a:pt x="374" y="415"/>
                  </a:lnTo>
                  <a:lnTo>
                    <a:pt x="375" y="416"/>
                  </a:lnTo>
                  <a:lnTo>
                    <a:pt x="376" y="417"/>
                  </a:lnTo>
                  <a:lnTo>
                    <a:pt x="376" y="418"/>
                  </a:lnTo>
                  <a:lnTo>
                    <a:pt x="377" y="419"/>
                  </a:lnTo>
                  <a:lnTo>
                    <a:pt x="379" y="420"/>
                  </a:lnTo>
                  <a:lnTo>
                    <a:pt x="380" y="421"/>
                  </a:lnTo>
                  <a:lnTo>
                    <a:pt x="382" y="422"/>
                  </a:lnTo>
                  <a:lnTo>
                    <a:pt x="383" y="423"/>
                  </a:lnTo>
                  <a:lnTo>
                    <a:pt x="385" y="424"/>
                  </a:lnTo>
                  <a:lnTo>
                    <a:pt x="386" y="424"/>
                  </a:lnTo>
                  <a:lnTo>
                    <a:pt x="387" y="424"/>
                  </a:lnTo>
                  <a:lnTo>
                    <a:pt x="388" y="424"/>
                  </a:lnTo>
                  <a:lnTo>
                    <a:pt x="389" y="424"/>
                  </a:lnTo>
                  <a:lnTo>
                    <a:pt x="390" y="424"/>
                  </a:lnTo>
                  <a:lnTo>
                    <a:pt x="391" y="424"/>
                  </a:lnTo>
                  <a:lnTo>
                    <a:pt x="391" y="423"/>
                  </a:lnTo>
                  <a:lnTo>
                    <a:pt x="393" y="422"/>
                  </a:lnTo>
                  <a:lnTo>
                    <a:pt x="394" y="422"/>
                  </a:lnTo>
                  <a:lnTo>
                    <a:pt x="394" y="421"/>
                  </a:lnTo>
                  <a:lnTo>
                    <a:pt x="395" y="421"/>
                  </a:lnTo>
                  <a:lnTo>
                    <a:pt x="396" y="421"/>
                  </a:lnTo>
                  <a:lnTo>
                    <a:pt x="396" y="421"/>
                  </a:lnTo>
                  <a:lnTo>
                    <a:pt x="397" y="421"/>
                  </a:lnTo>
                  <a:lnTo>
                    <a:pt x="397" y="422"/>
                  </a:lnTo>
                  <a:lnTo>
                    <a:pt x="398" y="422"/>
                  </a:lnTo>
                  <a:lnTo>
                    <a:pt x="400" y="423"/>
                  </a:lnTo>
                  <a:lnTo>
                    <a:pt x="401" y="424"/>
                  </a:lnTo>
                  <a:lnTo>
                    <a:pt x="402" y="426"/>
                  </a:lnTo>
                  <a:lnTo>
                    <a:pt x="404" y="428"/>
                  </a:lnTo>
                  <a:lnTo>
                    <a:pt x="405" y="430"/>
                  </a:lnTo>
                  <a:lnTo>
                    <a:pt x="406" y="431"/>
                  </a:lnTo>
                  <a:lnTo>
                    <a:pt x="407" y="433"/>
                  </a:lnTo>
                  <a:lnTo>
                    <a:pt x="409" y="437"/>
                  </a:lnTo>
                  <a:lnTo>
                    <a:pt x="410" y="438"/>
                  </a:lnTo>
                  <a:lnTo>
                    <a:pt x="411" y="441"/>
                  </a:lnTo>
                  <a:lnTo>
                    <a:pt x="412" y="442"/>
                  </a:lnTo>
                  <a:lnTo>
                    <a:pt x="413" y="443"/>
                  </a:lnTo>
                  <a:lnTo>
                    <a:pt x="414" y="444"/>
                  </a:lnTo>
                  <a:lnTo>
                    <a:pt x="415" y="444"/>
                  </a:lnTo>
                  <a:lnTo>
                    <a:pt x="425" y="452"/>
                  </a:lnTo>
                  <a:lnTo>
                    <a:pt x="427" y="454"/>
                  </a:lnTo>
                  <a:lnTo>
                    <a:pt x="429" y="455"/>
                  </a:lnTo>
                  <a:lnTo>
                    <a:pt x="434" y="460"/>
                  </a:lnTo>
                  <a:lnTo>
                    <a:pt x="437" y="463"/>
                  </a:lnTo>
                  <a:lnTo>
                    <a:pt x="438" y="465"/>
                  </a:lnTo>
                  <a:lnTo>
                    <a:pt x="441" y="468"/>
                  </a:lnTo>
                  <a:lnTo>
                    <a:pt x="443" y="471"/>
                  </a:lnTo>
                  <a:lnTo>
                    <a:pt x="445" y="474"/>
                  </a:lnTo>
                  <a:lnTo>
                    <a:pt x="447" y="478"/>
                  </a:lnTo>
                  <a:lnTo>
                    <a:pt x="448" y="479"/>
                  </a:lnTo>
                  <a:lnTo>
                    <a:pt x="448" y="481"/>
                  </a:lnTo>
                  <a:lnTo>
                    <a:pt x="448" y="482"/>
                  </a:lnTo>
                  <a:lnTo>
                    <a:pt x="448" y="482"/>
                  </a:lnTo>
                  <a:lnTo>
                    <a:pt x="448" y="483"/>
                  </a:lnTo>
                  <a:lnTo>
                    <a:pt x="448" y="484"/>
                  </a:lnTo>
                  <a:lnTo>
                    <a:pt x="448" y="485"/>
                  </a:lnTo>
                  <a:lnTo>
                    <a:pt x="447" y="487"/>
                  </a:lnTo>
                  <a:lnTo>
                    <a:pt x="446" y="488"/>
                  </a:lnTo>
                  <a:lnTo>
                    <a:pt x="446" y="490"/>
                  </a:lnTo>
                  <a:lnTo>
                    <a:pt x="446" y="491"/>
                  </a:lnTo>
                  <a:lnTo>
                    <a:pt x="446" y="491"/>
                  </a:lnTo>
                  <a:lnTo>
                    <a:pt x="446" y="492"/>
                  </a:lnTo>
                  <a:lnTo>
                    <a:pt x="446" y="494"/>
                  </a:lnTo>
                  <a:lnTo>
                    <a:pt x="447" y="495"/>
                  </a:lnTo>
                  <a:lnTo>
                    <a:pt x="447" y="496"/>
                  </a:lnTo>
                  <a:lnTo>
                    <a:pt x="448" y="497"/>
                  </a:lnTo>
                  <a:lnTo>
                    <a:pt x="449" y="497"/>
                  </a:lnTo>
                  <a:lnTo>
                    <a:pt x="449" y="498"/>
                  </a:lnTo>
                  <a:lnTo>
                    <a:pt x="450" y="498"/>
                  </a:lnTo>
                  <a:lnTo>
                    <a:pt x="451" y="498"/>
                  </a:lnTo>
                  <a:lnTo>
                    <a:pt x="451" y="497"/>
                  </a:lnTo>
                  <a:lnTo>
                    <a:pt x="452" y="497"/>
                  </a:lnTo>
                  <a:lnTo>
                    <a:pt x="455" y="494"/>
                  </a:lnTo>
                  <a:lnTo>
                    <a:pt x="457" y="493"/>
                  </a:lnTo>
                  <a:lnTo>
                    <a:pt x="458" y="492"/>
                  </a:lnTo>
                  <a:lnTo>
                    <a:pt x="459" y="491"/>
                  </a:lnTo>
                  <a:lnTo>
                    <a:pt x="460" y="491"/>
                  </a:lnTo>
                  <a:lnTo>
                    <a:pt x="462" y="491"/>
                  </a:lnTo>
                  <a:lnTo>
                    <a:pt x="463" y="491"/>
                  </a:lnTo>
                  <a:lnTo>
                    <a:pt x="464" y="491"/>
                  </a:lnTo>
                  <a:lnTo>
                    <a:pt x="464" y="491"/>
                  </a:lnTo>
                  <a:lnTo>
                    <a:pt x="465" y="491"/>
                  </a:lnTo>
                  <a:lnTo>
                    <a:pt x="465" y="491"/>
                  </a:lnTo>
                  <a:lnTo>
                    <a:pt x="466" y="491"/>
                  </a:lnTo>
                  <a:lnTo>
                    <a:pt x="466" y="492"/>
                  </a:lnTo>
                  <a:lnTo>
                    <a:pt x="468" y="493"/>
                  </a:lnTo>
                  <a:lnTo>
                    <a:pt x="469" y="495"/>
                  </a:lnTo>
                  <a:lnTo>
                    <a:pt x="470" y="497"/>
                  </a:lnTo>
                  <a:lnTo>
                    <a:pt x="472" y="502"/>
                  </a:lnTo>
                  <a:lnTo>
                    <a:pt x="473" y="505"/>
                  </a:lnTo>
                  <a:lnTo>
                    <a:pt x="474" y="506"/>
                  </a:lnTo>
                  <a:lnTo>
                    <a:pt x="474" y="506"/>
                  </a:lnTo>
                  <a:lnTo>
                    <a:pt x="474" y="507"/>
                  </a:lnTo>
                  <a:lnTo>
                    <a:pt x="474" y="508"/>
                  </a:lnTo>
                  <a:lnTo>
                    <a:pt x="473" y="509"/>
                  </a:lnTo>
                  <a:lnTo>
                    <a:pt x="473" y="510"/>
                  </a:lnTo>
                  <a:lnTo>
                    <a:pt x="472" y="511"/>
                  </a:lnTo>
                  <a:lnTo>
                    <a:pt x="471" y="513"/>
                  </a:lnTo>
                  <a:lnTo>
                    <a:pt x="470" y="516"/>
                  </a:lnTo>
                  <a:lnTo>
                    <a:pt x="468" y="518"/>
                  </a:lnTo>
                  <a:lnTo>
                    <a:pt x="467" y="519"/>
                  </a:lnTo>
                  <a:lnTo>
                    <a:pt x="467" y="519"/>
                  </a:lnTo>
                  <a:lnTo>
                    <a:pt x="466" y="520"/>
                  </a:lnTo>
                  <a:lnTo>
                    <a:pt x="465" y="521"/>
                  </a:lnTo>
                  <a:lnTo>
                    <a:pt x="464" y="521"/>
                  </a:lnTo>
                  <a:lnTo>
                    <a:pt x="463" y="522"/>
                  </a:lnTo>
                  <a:lnTo>
                    <a:pt x="462" y="522"/>
                  </a:lnTo>
                  <a:lnTo>
                    <a:pt x="462" y="522"/>
                  </a:lnTo>
                  <a:lnTo>
                    <a:pt x="461" y="522"/>
                  </a:lnTo>
                  <a:lnTo>
                    <a:pt x="460" y="522"/>
                  </a:lnTo>
                  <a:lnTo>
                    <a:pt x="459" y="522"/>
                  </a:lnTo>
                  <a:lnTo>
                    <a:pt x="458" y="522"/>
                  </a:lnTo>
                  <a:lnTo>
                    <a:pt x="456" y="522"/>
                  </a:lnTo>
                  <a:lnTo>
                    <a:pt x="454" y="521"/>
                  </a:lnTo>
                  <a:lnTo>
                    <a:pt x="450" y="520"/>
                  </a:lnTo>
                  <a:lnTo>
                    <a:pt x="448" y="520"/>
                  </a:lnTo>
                  <a:lnTo>
                    <a:pt x="446" y="520"/>
                  </a:lnTo>
                  <a:lnTo>
                    <a:pt x="445" y="520"/>
                  </a:lnTo>
                  <a:lnTo>
                    <a:pt x="445" y="520"/>
                  </a:lnTo>
                  <a:lnTo>
                    <a:pt x="444" y="520"/>
                  </a:lnTo>
                  <a:lnTo>
                    <a:pt x="443" y="521"/>
                  </a:lnTo>
                  <a:lnTo>
                    <a:pt x="442" y="522"/>
                  </a:lnTo>
                  <a:lnTo>
                    <a:pt x="441" y="525"/>
                  </a:lnTo>
                  <a:lnTo>
                    <a:pt x="440" y="526"/>
                  </a:lnTo>
                  <a:lnTo>
                    <a:pt x="439" y="527"/>
                  </a:lnTo>
                  <a:lnTo>
                    <a:pt x="439" y="528"/>
                  </a:lnTo>
                  <a:lnTo>
                    <a:pt x="438" y="529"/>
                  </a:lnTo>
                  <a:lnTo>
                    <a:pt x="437" y="530"/>
                  </a:lnTo>
                  <a:lnTo>
                    <a:pt x="436" y="531"/>
                  </a:lnTo>
                  <a:lnTo>
                    <a:pt x="433" y="533"/>
                  </a:lnTo>
                  <a:lnTo>
                    <a:pt x="431" y="534"/>
                  </a:lnTo>
                  <a:lnTo>
                    <a:pt x="430" y="535"/>
                  </a:lnTo>
                  <a:lnTo>
                    <a:pt x="428" y="538"/>
                  </a:lnTo>
                  <a:lnTo>
                    <a:pt x="425" y="540"/>
                  </a:lnTo>
                  <a:lnTo>
                    <a:pt x="425" y="541"/>
                  </a:lnTo>
                  <a:lnTo>
                    <a:pt x="424" y="542"/>
                  </a:lnTo>
                  <a:lnTo>
                    <a:pt x="424" y="543"/>
                  </a:lnTo>
                  <a:lnTo>
                    <a:pt x="423" y="544"/>
                  </a:lnTo>
                  <a:lnTo>
                    <a:pt x="423" y="545"/>
                  </a:lnTo>
                  <a:lnTo>
                    <a:pt x="423" y="549"/>
                  </a:lnTo>
                  <a:lnTo>
                    <a:pt x="423" y="551"/>
                  </a:lnTo>
                  <a:lnTo>
                    <a:pt x="423" y="552"/>
                  </a:lnTo>
                  <a:lnTo>
                    <a:pt x="422" y="555"/>
                  </a:lnTo>
                  <a:lnTo>
                    <a:pt x="421" y="557"/>
                  </a:lnTo>
                  <a:lnTo>
                    <a:pt x="419" y="561"/>
                  </a:lnTo>
                  <a:lnTo>
                    <a:pt x="418" y="565"/>
                  </a:lnTo>
                  <a:lnTo>
                    <a:pt x="416" y="569"/>
                  </a:lnTo>
                  <a:lnTo>
                    <a:pt x="416" y="570"/>
                  </a:lnTo>
                  <a:lnTo>
                    <a:pt x="415" y="570"/>
                  </a:lnTo>
                  <a:lnTo>
                    <a:pt x="414" y="571"/>
                  </a:lnTo>
                  <a:lnTo>
                    <a:pt x="413" y="572"/>
                  </a:lnTo>
                  <a:lnTo>
                    <a:pt x="413" y="572"/>
                  </a:lnTo>
                  <a:lnTo>
                    <a:pt x="413" y="573"/>
                  </a:lnTo>
                  <a:lnTo>
                    <a:pt x="411" y="573"/>
                  </a:lnTo>
                  <a:lnTo>
                    <a:pt x="407" y="574"/>
                  </a:lnTo>
                  <a:lnTo>
                    <a:pt x="404" y="575"/>
                  </a:lnTo>
                  <a:lnTo>
                    <a:pt x="402" y="575"/>
                  </a:lnTo>
                  <a:lnTo>
                    <a:pt x="401" y="575"/>
                  </a:lnTo>
                  <a:lnTo>
                    <a:pt x="399" y="575"/>
                  </a:lnTo>
                  <a:lnTo>
                    <a:pt x="397" y="574"/>
                  </a:lnTo>
                  <a:lnTo>
                    <a:pt x="396" y="574"/>
                  </a:lnTo>
                  <a:lnTo>
                    <a:pt x="394" y="573"/>
                  </a:lnTo>
                  <a:lnTo>
                    <a:pt x="393" y="573"/>
                  </a:lnTo>
                  <a:lnTo>
                    <a:pt x="392" y="572"/>
                  </a:lnTo>
                  <a:lnTo>
                    <a:pt x="391" y="571"/>
                  </a:lnTo>
                  <a:lnTo>
                    <a:pt x="390" y="570"/>
                  </a:lnTo>
                  <a:lnTo>
                    <a:pt x="387" y="568"/>
                  </a:lnTo>
                  <a:lnTo>
                    <a:pt x="386" y="566"/>
                  </a:lnTo>
                  <a:lnTo>
                    <a:pt x="384" y="565"/>
                  </a:lnTo>
                  <a:lnTo>
                    <a:pt x="382" y="564"/>
                  </a:lnTo>
                  <a:lnTo>
                    <a:pt x="381" y="563"/>
                  </a:lnTo>
                  <a:lnTo>
                    <a:pt x="380" y="563"/>
                  </a:lnTo>
                  <a:lnTo>
                    <a:pt x="379" y="562"/>
                  </a:lnTo>
                  <a:lnTo>
                    <a:pt x="378" y="562"/>
                  </a:lnTo>
                  <a:lnTo>
                    <a:pt x="376" y="562"/>
                  </a:lnTo>
                  <a:lnTo>
                    <a:pt x="375" y="562"/>
                  </a:lnTo>
                  <a:lnTo>
                    <a:pt x="374" y="563"/>
                  </a:lnTo>
                  <a:lnTo>
                    <a:pt x="374" y="563"/>
                  </a:lnTo>
                  <a:lnTo>
                    <a:pt x="373" y="564"/>
                  </a:lnTo>
                  <a:lnTo>
                    <a:pt x="372" y="565"/>
                  </a:lnTo>
                  <a:lnTo>
                    <a:pt x="370" y="568"/>
                  </a:lnTo>
                  <a:lnTo>
                    <a:pt x="369" y="569"/>
                  </a:lnTo>
                  <a:lnTo>
                    <a:pt x="369" y="569"/>
                  </a:lnTo>
                  <a:lnTo>
                    <a:pt x="368" y="570"/>
                  </a:lnTo>
                  <a:lnTo>
                    <a:pt x="368" y="570"/>
                  </a:lnTo>
                  <a:lnTo>
                    <a:pt x="367" y="571"/>
                  </a:lnTo>
                  <a:lnTo>
                    <a:pt x="367" y="571"/>
                  </a:lnTo>
                  <a:lnTo>
                    <a:pt x="366" y="571"/>
                  </a:lnTo>
                  <a:lnTo>
                    <a:pt x="365" y="571"/>
                  </a:lnTo>
                  <a:lnTo>
                    <a:pt x="364" y="570"/>
                  </a:lnTo>
                  <a:lnTo>
                    <a:pt x="361" y="570"/>
                  </a:lnTo>
                  <a:lnTo>
                    <a:pt x="360" y="570"/>
                  </a:lnTo>
                  <a:lnTo>
                    <a:pt x="359" y="570"/>
                  </a:lnTo>
                  <a:lnTo>
                    <a:pt x="358" y="570"/>
                  </a:lnTo>
                  <a:lnTo>
                    <a:pt x="357" y="570"/>
                  </a:lnTo>
                  <a:lnTo>
                    <a:pt x="356" y="570"/>
                  </a:lnTo>
                  <a:lnTo>
                    <a:pt x="356" y="570"/>
                  </a:lnTo>
                  <a:lnTo>
                    <a:pt x="355" y="571"/>
                  </a:lnTo>
                  <a:lnTo>
                    <a:pt x="355" y="571"/>
                  </a:lnTo>
                  <a:lnTo>
                    <a:pt x="354" y="571"/>
                  </a:lnTo>
                  <a:lnTo>
                    <a:pt x="354" y="572"/>
                  </a:lnTo>
                  <a:lnTo>
                    <a:pt x="354" y="572"/>
                  </a:lnTo>
                  <a:lnTo>
                    <a:pt x="354" y="573"/>
                  </a:lnTo>
                  <a:lnTo>
                    <a:pt x="354" y="573"/>
                  </a:lnTo>
                  <a:lnTo>
                    <a:pt x="354" y="574"/>
                  </a:lnTo>
                  <a:lnTo>
                    <a:pt x="354" y="575"/>
                  </a:lnTo>
                  <a:lnTo>
                    <a:pt x="355" y="576"/>
                  </a:lnTo>
                  <a:lnTo>
                    <a:pt x="358" y="582"/>
                  </a:lnTo>
                  <a:lnTo>
                    <a:pt x="359" y="585"/>
                  </a:lnTo>
                  <a:lnTo>
                    <a:pt x="359" y="586"/>
                  </a:lnTo>
                  <a:lnTo>
                    <a:pt x="359" y="587"/>
                  </a:lnTo>
                  <a:lnTo>
                    <a:pt x="360" y="589"/>
                  </a:lnTo>
                  <a:lnTo>
                    <a:pt x="360" y="590"/>
                  </a:lnTo>
                  <a:lnTo>
                    <a:pt x="359" y="591"/>
                  </a:lnTo>
                  <a:lnTo>
                    <a:pt x="359" y="592"/>
                  </a:lnTo>
                  <a:lnTo>
                    <a:pt x="359" y="593"/>
                  </a:lnTo>
                  <a:lnTo>
                    <a:pt x="358" y="594"/>
                  </a:lnTo>
                  <a:lnTo>
                    <a:pt x="358" y="596"/>
                  </a:lnTo>
                  <a:lnTo>
                    <a:pt x="357" y="597"/>
                  </a:lnTo>
                  <a:lnTo>
                    <a:pt x="355" y="598"/>
                  </a:lnTo>
                  <a:lnTo>
                    <a:pt x="355" y="599"/>
                  </a:lnTo>
                  <a:lnTo>
                    <a:pt x="354" y="600"/>
                  </a:lnTo>
                  <a:lnTo>
                    <a:pt x="353" y="600"/>
                  </a:lnTo>
                  <a:lnTo>
                    <a:pt x="352" y="601"/>
                  </a:lnTo>
                  <a:lnTo>
                    <a:pt x="351" y="601"/>
                  </a:lnTo>
                  <a:lnTo>
                    <a:pt x="349" y="602"/>
                  </a:lnTo>
                  <a:lnTo>
                    <a:pt x="348" y="602"/>
                  </a:lnTo>
                  <a:lnTo>
                    <a:pt x="347" y="602"/>
                  </a:lnTo>
                  <a:lnTo>
                    <a:pt x="345" y="602"/>
                  </a:lnTo>
                  <a:lnTo>
                    <a:pt x="344" y="602"/>
                  </a:lnTo>
                  <a:lnTo>
                    <a:pt x="343" y="602"/>
                  </a:lnTo>
                  <a:lnTo>
                    <a:pt x="341" y="602"/>
                  </a:lnTo>
                  <a:lnTo>
                    <a:pt x="340" y="601"/>
                  </a:lnTo>
                  <a:lnTo>
                    <a:pt x="339" y="601"/>
                  </a:lnTo>
                  <a:lnTo>
                    <a:pt x="336" y="600"/>
                  </a:lnTo>
                  <a:lnTo>
                    <a:pt x="335" y="600"/>
                  </a:lnTo>
                  <a:lnTo>
                    <a:pt x="334" y="599"/>
                  </a:lnTo>
                  <a:lnTo>
                    <a:pt x="333" y="599"/>
                  </a:lnTo>
                  <a:lnTo>
                    <a:pt x="331" y="599"/>
                  </a:lnTo>
                  <a:lnTo>
                    <a:pt x="329" y="599"/>
                  </a:lnTo>
                  <a:lnTo>
                    <a:pt x="327" y="599"/>
                  </a:lnTo>
                  <a:lnTo>
                    <a:pt x="325" y="599"/>
                  </a:lnTo>
                  <a:lnTo>
                    <a:pt x="321" y="599"/>
                  </a:lnTo>
                  <a:lnTo>
                    <a:pt x="319" y="600"/>
                  </a:lnTo>
                  <a:lnTo>
                    <a:pt x="318" y="600"/>
                  </a:lnTo>
                  <a:lnTo>
                    <a:pt x="315" y="601"/>
                  </a:lnTo>
                  <a:lnTo>
                    <a:pt x="312" y="602"/>
                  </a:lnTo>
                  <a:lnTo>
                    <a:pt x="309" y="603"/>
                  </a:lnTo>
                  <a:lnTo>
                    <a:pt x="307" y="603"/>
                  </a:lnTo>
                  <a:lnTo>
                    <a:pt x="306" y="603"/>
                  </a:lnTo>
                  <a:lnTo>
                    <a:pt x="306" y="604"/>
                  </a:lnTo>
                  <a:lnTo>
                    <a:pt x="305" y="604"/>
                  </a:lnTo>
                  <a:lnTo>
                    <a:pt x="305" y="605"/>
                  </a:lnTo>
                  <a:lnTo>
                    <a:pt x="305" y="605"/>
                  </a:lnTo>
                  <a:lnTo>
                    <a:pt x="305" y="607"/>
                  </a:lnTo>
                  <a:lnTo>
                    <a:pt x="305" y="608"/>
                  </a:lnTo>
                  <a:lnTo>
                    <a:pt x="304" y="611"/>
                  </a:lnTo>
                  <a:lnTo>
                    <a:pt x="304" y="613"/>
                  </a:lnTo>
                  <a:lnTo>
                    <a:pt x="303" y="614"/>
                  </a:lnTo>
                  <a:lnTo>
                    <a:pt x="303" y="615"/>
                  </a:lnTo>
                  <a:lnTo>
                    <a:pt x="302" y="617"/>
                  </a:lnTo>
                  <a:lnTo>
                    <a:pt x="301" y="618"/>
                  </a:lnTo>
                  <a:lnTo>
                    <a:pt x="300" y="620"/>
                  </a:lnTo>
                  <a:lnTo>
                    <a:pt x="299" y="621"/>
                  </a:lnTo>
                  <a:lnTo>
                    <a:pt x="298" y="623"/>
                  </a:lnTo>
                  <a:lnTo>
                    <a:pt x="297" y="624"/>
                  </a:lnTo>
                  <a:lnTo>
                    <a:pt x="296" y="625"/>
                  </a:lnTo>
                  <a:lnTo>
                    <a:pt x="295" y="626"/>
                  </a:lnTo>
                  <a:lnTo>
                    <a:pt x="293" y="627"/>
                  </a:lnTo>
                  <a:lnTo>
                    <a:pt x="292" y="627"/>
                  </a:lnTo>
                  <a:lnTo>
                    <a:pt x="291" y="628"/>
                  </a:lnTo>
                  <a:lnTo>
                    <a:pt x="290" y="628"/>
                  </a:lnTo>
                  <a:lnTo>
                    <a:pt x="290" y="628"/>
                  </a:lnTo>
                  <a:lnTo>
                    <a:pt x="289" y="627"/>
                  </a:lnTo>
                  <a:lnTo>
                    <a:pt x="287" y="626"/>
                  </a:lnTo>
                  <a:lnTo>
                    <a:pt x="283" y="623"/>
                  </a:lnTo>
                  <a:lnTo>
                    <a:pt x="281" y="622"/>
                  </a:lnTo>
                  <a:lnTo>
                    <a:pt x="280" y="621"/>
                  </a:lnTo>
                  <a:lnTo>
                    <a:pt x="278" y="620"/>
                  </a:lnTo>
                  <a:lnTo>
                    <a:pt x="277" y="620"/>
                  </a:lnTo>
                  <a:lnTo>
                    <a:pt x="276" y="619"/>
                  </a:lnTo>
                  <a:lnTo>
                    <a:pt x="275" y="619"/>
                  </a:lnTo>
                  <a:lnTo>
                    <a:pt x="273" y="619"/>
                  </a:lnTo>
                  <a:lnTo>
                    <a:pt x="272" y="618"/>
                  </a:lnTo>
                  <a:lnTo>
                    <a:pt x="269" y="618"/>
                  </a:lnTo>
                  <a:lnTo>
                    <a:pt x="266" y="618"/>
                  </a:lnTo>
                  <a:lnTo>
                    <a:pt x="264" y="617"/>
                  </a:lnTo>
                  <a:lnTo>
                    <a:pt x="261" y="616"/>
                  </a:lnTo>
                  <a:lnTo>
                    <a:pt x="258" y="615"/>
                  </a:lnTo>
                  <a:lnTo>
                    <a:pt x="257" y="615"/>
                  </a:lnTo>
                  <a:lnTo>
                    <a:pt x="255" y="615"/>
                  </a:lnTo>
                  <a:lnTo>
                    <a:pt x="252" y="615"/>
                  </a:lnTo>
                  <a:lnTo>
                    <a:pt x="250" y="614"/>
                  </a:lnTo>
                  <a:lnTo>
                    <a:pt x="250" y="614"/>
                  </a:lnTo>
                  <a:lnTo>
                    <a:pt x="249" y="614"/>
                  </a:lnTo>
                  <a:lnTo>
                    <a:pt x="249" y="613"/>
                  </a:lnTo>
                  <a:lnTo>
                    <a:pt x="248" y="612"/>
                  </a:lnTo>
                  <a:lnTo>
                    <a:pt x="248" y="611"/>
                  </a:lnTo>
                  <a:lnTo>
                    <a:pt x="247" y="610"/>
                  </a:lnTo>
                  <a:lnTo>
                    <a:pt x="247" y="609"/>
                  </a:lnTo>
                  <a:lnTo>
                    <a:pt x="246" y="605"/>
                  </a:lnTo>
                  <a:lnTo>
                    <a:pt x="246" y="604"/>
                  </a:lnTo>
                  <a:lnTo>
                    <a:pt x="246" y="603"/>
                  </a:lnTo>
                  <a:lnTo>
                    <a:pt x="246" y="602"/>
                  </a:lnTo>
                  <a:lnTo>
                    <a:pt x="245" y="601"/>
                  </a:lnTo>
                  <a:lnTo>
                    <a:pt x="244" y="600"/>
                  </a:lnTo>
                  <a:lnTo>
                    <a:pt x="244" y="600"/>
                  </a:lnTo>
                  <a:lnTo>
                    <a:pt x="243" y="599"/>
                  </a:lnTo>
                  <a:lnTo>
                    <a:pt x="242" y="599"/>
                  </a:lnTo>
                  <a:lnTo>
                    <a:pt x="242" y="599"/>
                  </a:lnTo>
                  <a:lnTo>
                    <a:pt x="241" y="599"/>
                  </a:lnTo>
                  <a:lnTo>
                    <a:pt x="240" y="600"/>
                  </a:lnTo>
                  <a:lnTo>
                    <a:pt x="239" y="600"/>
                  </a:lnTo>
                  <a:lnTo>
                    <a:pt x="238" y="600"/>
                  </a:lnTo>
                  <a:lnTo>
                    <a:pt x="238" y="601"/>
                  </a:lnTo>
                  <a:lnTo>
                    <a:pt x="237" y="602"/>
                  </a:lnTo>
                  <a:lnTo>
                    <a:pt x="237" y="602"/>
                  </a:lnTo>
                  <a:lnTo>
                    <a:pt x="235" y="604"/>
                  </a:lnTo>
                  <a:lnTo>
                    <a:pt x="232" y="609"/>
                  </a:lnTo>
                  <a:lnTo>
                    <a:pt x="231" y="611"/>
                  </a:lnTo>
                  <a:lnTo>
                    <a:pt x="230" y="613"/>
                  </a:lnTo>
                  <a:lnTo>
                    <a:pt x="230" y="614"/>
                  </a:lnTo>
                  <a:lnTo>
                    <a:pt x="230" y="616"/>
                  </a:lnTo>
                  <a:lnTo>
                    <a:pt x="230" y="618"/>
                  </a:lnTo>
                  <a:lnTo>
                    <a:pt x="230" y="620"/>
                  </a:lnTo>
                  <a:lnTo>
                    <a:pt x="230" y="621"/>
                  </a:lnTo>
                  <a:lnTo>
                    <a:pt x="231" y="624"/>
                  </a:lnTo>
                  <a:lnTo>
                    <a:pt x="231" y="625"/>
                  </a:lnTo>
                  <a:lnTo>
                    <a:pt x="232" y="627"/>
                  </a:lnTo>
                  <a:lnTo>
                    <a:pt x="233" y="631"/>
                  </a:lnTo>
                  <a:lnTo>
                    <a:pt x="235" y="634"/>
                  </a:lnTo>
                  <a:lnTo>
                    <a:pt x="235" y="635"/>
                  </a:lnTo>
                  <a:lnTo>
                    <a:pt x="236" y="636"/>
                  </a:lnTo>
                  <a:lnTo>
                    <a:pt x="236" y="637"/>
                  </a:lnTo>
                  <a:lnTo>
                    <a:pt x="236" y="638"/>
                  </a:lnTo>
                  <a:lnTo>
                    <a:pt x="236" y="640"/>
                  </a:lnTo>
                  <a:lnTo>
                    <a:pt x="236" y="641"/>
                  </a:lnTo>
                  <a:lnTo>
                    <a:pt x="235" y="641"/>
                  </a:lnTo>
                  <a:lnTo>
                    <a:pt x="235" y="642"/>
                  </a:lnTo>
                  <a:lnTo>
                    <a:pt x="234" y="643"/>
                  </a:lnTo>
                  <a:lnTo>
                    <a:pt x="233" y="644"/>
                  </a:lnTo>
                  <a:lnTo>
                    <a:pt x="230" y="647"/>
                  </a:lnTo>
                  <a:lnTo>
                    <a:pt x="227" y="649"/>
                  </a:lnTo>
                  <a:lnTo>
                    <a:pt x="226" y="651"/>
                  </a:lnTo>
                  <a:lnTo>
                    <a:pt x="225" y="652"/>
                  </a:lnTo>
                  <a:lnTo>
                    <a:pt x="224" y="653"/>
                  </a:lnTo>
                  <a:lnTo>
                    <a:pt x="222" y="654"/>
                  </a:lnTo>
                  <a:lnTo>
                    <a:pt x="220" y="659"/>
                  </a:lnTo>
                  <a:lnTo>
                    <a:pt x="217" y="662"/>
                  </a:lnTo>
                  <a:lnTo>
                    <a:pt x="215" y="665"/>
                  </a:lnTo>
                  <a:lnTo>
                    <a:pt x="213" y="668"/>
                  </a:lnTo>
                  <a:lnTo>
                    <a:pt x="211" y="669"/>
                  </a:lnTo>
                  <a:lnTo>
                    <a:pt x="211" y="669"/>
                  </a:lnTo>
                  <a:lnTo>
                    <a:pt x="210" y="670"/>
                  </a:lnTo>
                  <a:lnTo>
                    <a:pt x="209" y="671"/>
                  </a:lnTo>
                  <a:lnTo>
                    <a:pt x="208" y="671"/>
                  </a:lnTo>
                  <a:lnTo>
                    <a:pt x="207" y="672"/>
                  </a:lnTo>
                  <a:lnTo>
                    <a:pt x="206" y="672"/>
                  </a:lnTo>
                  <a:lnTo>
                    <a:pt x="205" y="673"/>
                  </a:lnTo>
                  <a:lnTo>
                    <a:pt x="204" y="673"/>
                  </a:lnTo>
                  <a:lnTo>
                    <a:pt x="202" y="673"/>
                  </a:lnTo>
                  <a:lnTo>
                    <a:pt x="198" y="673"/>
                  </a:lnTo>
                  <a:lnTo>
                    <a:pt x="196" y="673"/>
                  </a:lnTo>
                  <a:lnTo>
                    <a:pt x="191" y="674"/>
                  </a:lnTo>
                  <a:lnTo>
                    <a:pt x="187" y="675"/>
                  </a:lnTo>
                  <a:lnTo>
                    <a:pt x="186" y="675"/>
                  </a:lnTo>
                  <a:lnTo>
                    <a:pt x="178" y="677"/>
                  </a:lnTo>
                  <a:lnTo>
                    <a:pt x="176" y="677"/>
                  </a:lnTo>
                  <a:lnTo>
                    <a:pt x="173" y="677"/>
                  </a:lnTo>
                  <a:lnTo>
                    <a:pt x="172" y="677"/>
                  </a:lnTo>
                  <a:lnTo>
                    <a:pt x="171" y="678"/>
                  </a:lnTo>
                  <a:lnTo>
                    <a:pt x="170" y="678"/>
                  </a:lnTo>
                  <a:lnTo>
                    <a:pt x="169" y="679"/>
                  </a:lnTo>
                  <a:lnTo>
                    <a:pt x="168" y="680"/>
                  </a:lnTo>
                  <a:lnTo>
                    <a:pt x="166" y="681"/>
                  </a:lnTo>
                  <a:lnTo>
                    <a:pt x="166" y="682"/>
                  </a:lnTo>
                  <a:lnTo>
                    <a:pt x="165" y="683"/>
                  </a:lnTo>
                  <a:lnTo>
                    <a:pt x="163" y="686"/>
                  </a:lnTo>
                  <a:lnTo>
                    <a:pt x="162" y="687"/>
                  </a:lnTo>
                  <a:lnTo>
                    <a:pt x="161" y="688"/>
                  </a:lnTo>
                  <a:lnTo>
                    <a:pt x="160" y="689"/>
                  </a:lnTo>
                  <a:lnTo>
                    <a:pt x="160" y="690"/>
                  </a:lnTo>
                  <a:lnTo>
                    <a:pt x="159" y="690"/>
                  </a:lnTo>
                  <a:lnTo>
                    <a:pt x="158" y="690"/>
                  </a:lnTo>
                  <a:lnTo>
                    <a:pt x="158" y="690"/>
                  </a:lnTo>
                  <a:lnTo>
                    <a:pt x="157" y="690"/>
                  </a:lnTo>
                  <a:lnTo>
                    <a:pt x="157" y="690"/>
                  </a:lnTo>
                  <a:lnTo>
                    <a:pt x="156" y="690"/>
                  </a:lnTo>
                  <a:lnTo>
                    <a:pt x="156" y="689"/>
                  </a:lnTo>
                  <a:lnTo>
                    <a:pt x="156" y="689"/>
                  </a:lnTo>
                  <a:lnTo>
                    <a:pt x="155" y="687"/>
                  </a:lnTo>
                  <a:lnTo>
                    <a:pt x="153" y="681"/>
                  </a:lnTo>
                  <a:lnTo>
                    <a:pt x="151" y="676"/>
                  </a:lnTo>
                  <a:lnTo>
                    <a:pt x="150" y="674"/>
                  </a:lnTo>
                  <a:lnTo>
                    <a:pt x="149" y="670"/>
                  </a:lnTo>
                  <a:lnTo>
                    <a:pt x="147" y="663"/>
                  </a:lnTo>
                  <a:lnTo>
                    <a:pt x="146" y="661"/>
                  </a:lnTo>
                  <a:lnTo>
                    <a:pt x="146" y="660"/>
                  </a:lnTo>
                  <a:lnTo>
                    <a:pt x="145" y="659"/>
                  </a:lnTo>
                  <a:lnTo>
                    <a:pt x="144" y="658"/>
                  </a:lnTo>
                  <a:lnTo>
                    <a:pt x="144" y="657"/>
                  </a:lnTo>
                  <a:lnTo>
                    <a:pt x="142" y="656"/>
                  </a:lnTo>
                  <a:lnTo>
                    <a:pt x="138" y="653"/>
                  </a:lnTo>
                  <a:lnTo>
                    <a:pt x="136" y="651"/>
                  </a:lnTo>
                  <a:lnTo>
                    <a:pt x="135" y="650"/>
                  </a:lnTo>
                  <a:lnTo>
                    <a:pt x="132" y="649"/>
                  </a:lnTo>
                  <a:lnTo>
                    <a:pt x="130" y="648"/>
                  </a:lnTo>
                  <a:lnTo>
                    <a:pt x="128" y="647"/>
                  </a:lnTo>
                  <a:lnTo>
                    <a:pt x="124" y="646"/>
                  </a:lnTo>
                  <a:lnTo>
                    <a:pt x="120" y="645"/>
                  </a:lnTo>
                  <a:lnTo>
                    <a:pt x="118" y="644"/>
                  </a:lnTo>
                  <a:lnTo>
                    <a:pt x="115" y="643"/>
                  </a:lnTo>
                  <a:lnTo>
                    <a:pt x="113" y="641"/>
                  </a:lnTo>
                  <a:lnTo>
                    <a:pt x="110" y="640"/>
                  </a:lnTo>
                  <a:lnTo>
                    <a:pt x="109" y="639"/>
                  </a:lnTo>
                  <a:lnTo>
                    <a:pt x="108" y="638"/>
                  </a:lnTo>
                  <a:lnTo>
                    <a:pt x="107" y="638"/>
                  </a:lnTo>
                  <a:lnTo>
                    <a:pt x="107" y="637"/>
                  </a:lnTo>
                  <a:lnTo>
                    <a:pt x="106" y="636"/>
                  </a:lnTo>
                  <a:lnTo>
                    <a:pt x="106" y="636"/>
                  </a:lnTo>
                  <a:lnTo>
                    <a:pt x="106" y="635"/>
                  </a:lnTo>
                  <a:lnTo>
                    <a:pt x="106" y="635"/>
                  </a:lnTo>
                  <a:lnTo>
                    <a:pt x="106" y="634"/>
                  </a:lnTo>
                  <a:lnTo>
                    <a:pt x="106" y="631"/>
                  </a:lnTo>
                  <a:lnTo>
                    <a:pt x="107" y="627"/>
                  </a:lnTo>
                  <a:lnTo>
                    <a:pt x="108" y="622"/>
                  </a:lnTo>
                  <a:lnTo>
                    <a:pt x="108" y="621"/>
                  </a:lnTo>
                  <a:lnTo>
                    <a:pt x="108" y="618"/>
                  </a:lnTo>
                  <a:lnTo>
                    <a:pt x="109" y="616"/>
                  </a:lnTo>
                  <a:lnTo>
                    <a:pt x="109" y="614"/>
                  </a:lnTo>
                  <a:lnTo>
                    <a:pt x="109" y="612"/>
                  </a:lnTo>
                  <a:lnTo>
                    <a:pt x="108" y="611"/>
                  </a:lnTo>
                  <a:lnTo>
                    <a:pt x="108" y="610"/>
                  </a:lnTo>
                  <a:lnTo>
                    <a:pt x="108" y="609"/>
                  </a:lnTo>
                  <a:lnTo>
                    <a:pt x="108" y="609"/>
                  </a:lnTo>
                  <a:lnTo>
                    <a:pt x="107" y="609"/>
                  </a:lnTo>
                  <a:lnTo>
                    <a:pt x="107" y="609"/>
                  </a:lnTo>
                  <a:lnTo>
                    <a:pt x="106" y="609"/>
                  </a:lnTo>
                  <a:lnTo>
                    <a:pt x="106" y="609"/>
                  </a:lnTo>
                  <a:lnTo>
                    <a:pt x="105" y="610"/>
                  </a:lnTo>
                  <a:lnTo>
                    <a:pt x="104" y="612"/>
                  </a:lnTo>
                  <a:lnTo>
                    <a:pt x="104" y="613"/>
                  </a:lnTo>
                  <a:lnTo>
                    <a:pt x="103" y="613"/>
                  </a:lnTo>
                  <a:lnTo>
                    <a:pt x="103" y="613"/>
                  </a:lnTo>
                  <a:lnTo>
                    <a:pt x="102" y="614"/>
                  </a:lnTo>
                  <a:lnTo>
                    <a:pt x="101" y="614"/>
                  </a:lnTo>
                  <a:lnTo>
                    <a:pt x="101" y="614"/>
                  </a:lnTo>
                  <a:lnTo>
                    <a:pt x="100" y="613"/>
                  </a:lnTo>
                  <a:lnTo>
                    <a:pt x="100" y="613"/>
                  </a:lnTo>
                  <a:lnTo>
                    <a:pt x="99" y="613"/>
                  </a:lnTo>
                  <a:lnTo>
                    <a:pt x="98" y="612"/>
                  </a:lnTo>
                  <a:lnTo>
                    <a:pt x="98" y="612"/>
                  </a:lnTo>
                  <a:lnTo>
                    <a:pt x="97" y="611"/>
                  </a:lnTo>
                  <a:lnTo>
                    <a:pt x="96" y="610"/>
                  </a:lnTo>
                  <a:lnTo>
                    <a:pt x="95" y="608"/>
                  </a:lnTo>
                  <a:lnTo>
                    <a:pt x="93" y="607"/>
                  </a:lnTo>
                  <a:lnTo>
                    <a:pt x="93" y="606"/>
                  </a:lnTo>
                  <a:lnTo>
                    <a:pt x="92" y="604"/>
                  </a:lnTo>
                  <a:lnTo>
                    <a:pt x="90" y="601"/>
                  </a:lnTo>
                  <a:lnTo>
                    <a:pt x="90" y="600"/>
                  </a:lnTo>
                  <a:lnTo>
                    <a:pt x="89" y="599"/>
                  </a:lnTo>
                  <a:lnTo>
                    <a:pt x="89" y="598"/>
                  </a:lnTo>
                  <a:lnTo>
                    <a:pt x="88" y="598"/>
                  </a:lnTo>
                  <a:lnTo>
                    <a:pt x="85" y="595"/>
                  </a:lnTo>
                  <a:lnTo>
                    <a:pt x="84" y="594"/>
                  </a:lnTo>
                  <a:lnTo>
                    <a:pt x="84" y="593"/>
                  </a:lnTo>
                  <a:lnTo>
                    <a:pt x="83" y="592"/>
                  </a:lnTo>
                  <a:lnTo>
                    <a:pt x="82" y="591"/>
                  </a:lnTo>
                  <a:lnTo>
                    <a:pt x="82" y="590"/>
                  </a:lnTo>
                  <a:lnTo>
                    <a:pt x="81" y="586"/>
                  </a:lnTo>
                  <a:lnTo>
                    <a:pt x="79" y="581"/>
                  </a:lnTo>
                  <a:lnTo>
                    <a:pt x="78" y="577"/>
                  </a:lnTo>
                  <a:lnTo>
                    <a:pt x="77" y="576"/>
                  </a:lnTo>
                  <a:lnTo>
                    <a:pt x="77" y="574"/>
                  </a:lnTo>
                  <a:lnTo>
                    <a:pt x="76" y="573"/>
                  </a:lnTo>
                  <a:lnTo>
                    <a:pt x="75" y="571"/>
                  </a:lnTo>
                  <a:lnTo>
                    <a:pt x="74" y="570"/>
                  </a:lnTo>
                  <a:lnTo>
                    <a:pt x="73" y="570"/>
                  </a:lnTo>
                  <a:lnTo>
                    <a:pt x="72" y="568"/>
                  </a:lnTo>
                  <a:lnTo>
                    <a:pt x="72" y="567"/>
                  </a:lnTo>
                  <a:lnTo>
                    <a:pt x="71" y="566"/>
                  </a:lnTo>
                  <a:lnTo>
                    <a:pt x="69" y="563"/>
                  </a:lnTo>
                  <a:lnTo>
                    <a:pt x="68" y="562"/>
                  </a:lnTo>
                  <a:lnTo>
                    <a:pt x="66" y="560"/>
                  </a:lnTo>
                  <a:lnTo>
                    <a:pt x="65" y="557"/>
                  </a:lnTo>
                  <a:lnTo>
                    <a:pt x="65" y="557"/>
                  </a:lnTo>
                  <a:lnTo>
                    <a:pt x="64" y="555"/>
                  </a:lnTo>
                  <a:lnTo>
                    <a:pt x="62" y="553"/>
                  </a:lnTo>
                  <a:lnTo>
                    <a:pt x="61" y="552"/>
                  </a:lnTo>
                  <a:lnTo>
                    <a:pt x="60" y="551"/>
                  </a:lnTo>
                  <a:lnTo>
                    <a:pt x="59" y="550"/>
                  </a:lnTo>
                  <a:lnTo>
                    <a:pt x="58" y="550"/>
                  </a:lnTo>
                  <a:lnTo>
                    <a:pt x="57" y="550"/>
                  </a:lnTo>
                  <a:lnTo>
                    <a:pt x="55" y="549"/>
                  </a:lnTo>
                  <a:lnTo>
                    <a:pt x="51" y="548"/>
                  </a:lnTo>
                  <a:lnTo>
                    <a:pt x="49" y="547"/>
                  </a:lnTo>
                  <a:lnTo>
                    <a:pt x="47" y="547"/>
                  </a:lnTo>
                  <a:lnTo>
                    <a:pt x="46" y="547"/>
                  </a:lnTo>
                  <a:lnTo>
                    <a:pt x="44" y="547"/>
                  </a:lnTo>
                  <a:lnTo>
                    <a:pt x="43" y="548"/>
                  </a:lnTo>
                  <a:lnTo>
                    <a:pt x="41" y="548"/>
                  </a:lnTo>
                  <a:lnTo>
                    <a:pt x="39" y="549"/>
                  </a:lnTo>
                  <a:lnTo>
                    <a:pt x="36" y="551"/>
                  </a:lnTo>
                  <a:lnTo>
                    <a:pt x="34" y="552"/>
                  </a:lnTo>
                  <a:lnTo>
                    <a:pt x="32" y="553"/>
                  </a:lnTo>
                  <a:lnTo>
                    <a:pt x="30" y="555"/>
                  </a:lnTo>
                  <a:lnTo>
                    <a:pt x="28" y="557"/>
                  </a:lnTo>
                  <a:lnTo>
                    <a:pt x="28" y="558"/>
                  </a:lnTo>
                  <a:lnTo>
                    <a:pt x="28" y="558"/>
                  </a:lnTo>
                  <a:lnTo>
                    <a:pt x="27" y="559"/>
                  </a:lnTo>
                  <a:lnTo>
                    <a:pt x="27" y="559"/>
                  </a:lnTo>
                  <a:lnTo>
                    <a:pt x="27" y="559"/>
                  </a:lnTo>
                  <a:lnTo>
                    <a:pt x="28" y="560"/>
                  </a:lnTo>
                  <a:lnTo>
                    <a:pt x="28" y="561"/>
                  </a:lnTo>
                  <a:lnTo>
                    <a:pt x="29" y="562"/>
                  </a:lnTo>
                  <a:lnTo>
                    <a:pt x="29" y="563"/>
                  </a:lnTo>
                  <a:lnTo>
                    <a:pt x="30" y="564"/>
                  </a:lnTo>
                  <a:lnTo>
                    <a:pt x="30" y="564"/>
                  </a:lnTo>
                  <a:lnTo>
                    <a:pt x="31" y="565"/>
                  </a:lnTo>
                  <a:lnTo>
                    <a:pt x="38" y="572"/>
                  </a:lnTo>
                  <a:lnTo>
                    <a:pt x="39" y="573"/>
                  </a:lnTo>
                  <a:lnTo>
                    <a:pt x="40" y="574"/>
                  </a:lnTo>
                  <a:lnTo>
                    <a:pt x="40" y="575"/>
                  </a:lnTo>
                  <a:lnTo>
                    <a:pt x="40" y="576"/>
                  </a:lnTo>
                  <a:lnTo>
                    <a:pt x="41" y="578"/>
                  </a:lnTo>
                  <a:lnTo>
                    <a:pt x="42" y="580"/>
                  </a:lnTo>
                  <a:lnTo>
                    <a:pt x="42" y="580"/>
                  </a:lnTo>
                  <a:lnTo>
                    <a:pt x="44" y="583"/>
                  </a:lnTo>
                  <a:lnTo>
                    <a:pt x="45" y="585"/>
                  </a:lnTo>
                  <a:lnTo>
                    <a:pt x="45" y="586"/>
                  </a:lnTo>
                  <a:lnTo>
                    <a:pt x="45" y="587"/>
                  </a:lnTo>
                  <a:lnTo>
                    <a:pt x="46" y="588"/>
                  </a:lnTo>
                  <a:lnTo>
                    <a:pt x="46" y="589"/>
                  </a:lnTo>
                  <a:lnTo>
                    <a:pt x="46" y="590"/>
                  </a:lnTo>
                  <a:lnTo>
                    <a:pt x="46" y="591"/>
                  </a:lnTo>
                  <a:lnTo>
                    <a:pt x="46" y="592"/>
                  </a:lnTo>
                  <a:lnTo>
                    <a:pt x="45" y="592"/>
                  </a:lnTo>
                  <a:lnTo>
                    <a:pt x="45" y="594"/>
                  </a:lnTo>
                  <a:lnTo>
                    <a:pt x="43" y="596"/>
                  </a:lnTo>
                  <a:lnTo>
                    <a:pt x="42" y="598"/>
                  </a:lnTo>
                  <a:lnTo>
                    <a:pt x="40" y="601"/>
                  </a:lnTo>
                  <a:lnTo>
                    <a:pt x="39" y="605"/>
                  </a:lnTo>
                  <a:lnTo>
                    <a:pt x="38" y="607"/>
                  </a:lnTo>
                  <a:lnTo>
                    <a:pt x="37" y="609"/>
                  </a:lnTo>
                  <a:lnTo>
                    <a:pt x="36" y="610"/>
                  </a:lnTo>
                  <a:lnTo>
                    <a:pt x="35" y="611"/>
                  </a:lnTo>
                  <a:lnTo>
                    <a:pt x="34" y="613"/>
                  </a:lnTo>
                  <a:lnTo>
                    <a:pt x="32" y="615"/>
                  </a:lnTo>
                  <a:lnTo>
                    <a:pt x="30" y="616"/>
                  </a:lnTo>
                  <a:lnTo>
                    <a:pt x="28" y="617"/>
                  </a:lnTo>
                  <a:lnTo>
                    <a:pt x="27" y="618"/>
                  </a:lnTo>
                  <a:lnTo>
                    <a:pt x="26" y="618"/>
                  </a:lnTo>
                  <a:lnTo>
                    <a:pt x="25" y="619"/>
                  </a:lnTo>
                  <a:lnTo>
                    <a:pt x="23" y="619"/>
                  </a:lnTo>
                  <a:lnTo>
                    <a:pt x="22" y="618"/>
                  </a:lnTo>
                  <a:lnTo>
                    <a:pt x="20" y="618"/>
                  </a:lnTo>
                  <a:lnTo>
                    <a:pt x="17" y="617"/>
                  </a:lnTo>
                  <a:lnTo>
                    <a:pt x="15" y="616"/>
                  </a:lnTo>
                  <a:lnTo>
                    <a:pt x="13" y="614"/>
                  </a:lnTo>
                  <a:lnTo>
                    <a:pt x="8" y="611"/>
                  </a:lnTo>
                  <a:lnTo>
                    <a:pt x="6" y="609"/>
                  </a:lnTo>
                  <a:lnTo>
                    <a:pt x="5" y="608"/>
                  </a:lnTo>
                  <a:lnTo>
                    <a:pt x="4" y="607"/>
                  </a:lnTo>
                  <a:lnTo>
                    <a:pt x="2" y="605"/>
                  </a:lnTo>
                  <a:lnTo>
                    <a:pt x="2" y="604"/>
                  </a:lnTo>
                  <a:lnTo>
                    <a:pt x="1" y="603"/>
                  </a:lnTo>
                  <a:lnTo>
                    <a:pt x="1" y="603"/>
                  </a:lnTo>
                  <a:lnTo>
                    <a:pt x="0" y="602"/>
                  </a:lnTo>
                  <a:lnTo>
                    <a:pt x="0" y="601"/>
                  </a:lnTo>
                  <a:lnTo>
                    <a:pt x="0" y="600"/>
                  </a:lnTo>
                  <a:lnTo>
                    <a:pt x="1" y="599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0" name="Freeform 254">
              <a:extLst>
                <a:ext uri="{FF2B5EF4-FFF2-40B4-BE49-F238E27FC236}">
                  <a16:creationId xmlns:a16="http://schemas.microsoft.com/office/drawing/2014/main" id="{49508580-E947-45CA-B3A3-46D207FAD5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57609" y="2225201"/>
              <a:ext cx="242533" cy="688875"/>
            </a:xfrm>
            <a:custGeom>
              <a:avLst/>
              <a:gdLst>
                <a:gd name="T0" fmla="*/ 49 w 238"/>
                <a:gd name="T1" fmla="*/ 668 h 676"/>
                <a:gd name="T2" fmla="*/ 50 w 238"/>
                <a:gd name="T3" fmla="*/ 660 h 676"/>
                <a:gd name="T4" fmla="*/ 42 w 238"/>
                <a:gd name="T5" fmla="*/ 646 h 676"/>
                <a:gd name="T6" fmla="*/ 37 w 238"/>
                <a:gd name="T7" fmla="*/ 622 h 676"/>
                <a:gd name="T8" fmla="*/ 46 w 238"/>
                <a:gd name="T9" fmla="*/ 606 h 676"/>
                <a:gd name="T10" fmla="*/ 49 w 238"/>
                <a:gd name="T11" fmla="*/ 601 h 676"/>
                <a:gd name="T12" fmla="*/ 29 w 238"/>
                <a:gd name="T13" fmla="*/ 597 h 676"/>
                <a:gd name="T14" fmla="*/ 18 w 238"/>
                <a:gd name="T15" fmla="*/ 591 h 676"/>
                <a:gd name="T16" fmla="*/ 17 w 238"/>
                <a:gd name="T17" fmla="*/ 577 h 676"/>
                <a:gd name="T18" fmla="*/ 20 w 238"/>
                <a:gd name="T19" fmla="*/ 570 h 676"/>
                <a:gd name="T20" fmla="*/ 36 w 238"/>
                <a:gd name="T21" fmla="*/ 572 h 676"/>
                <a:gd name="T22" fmla="*/ 40 w 238"/>
                <a:gd name="T23" fmla="*/ 562 h 676"/>
                <a:gd name="T24" fmla="*/ 42 w 238"/>
                <a:gd name="T25" fmla="*/ 554 h 676"/>
                <a:gd name="T26" fmla="*/ 43 w 238"/>
                <a:gd name="T27" fmla="*/ 534 h 676"/>
                <a:gd name="T28" fmla="*/ 43 w 238"/>
                <a:gd name="T29" fmla="*/ 522 h 676"/>
                <a:gd name="T30" fmla="*/ 55 w 238"/>
                <a:gd name="T31" fmla="*/ 505 h 676"/>
                <a:gd name="T32" fmla="*/ 57 w 238"/>
                <a:gd name="T33" fmla="*/ 490 h 676"/>
                <a:gd name="T34" fmla="*/ 52 w 238"/>
                <a:gd name="T35" fmla="*/ 477 h 676"/>
                <a:gd name="T36" fmla="*/ 40 w 238"/>
                <a:gd name="T37" fmla="*/ 472 h 676"/>
                <a:gd name="T38" fmla="*/ 37 w 238"/>
                <a:gd name="T39" fmla="*/ 469 h 676"/>
                <a:gd name="T40" fmla="*/ 37 w 238"/>
                <a:gd name="T41" fmla="*/ 455 h 676"/>
                <a:gd name="T42" fmla="*/ 33 w 238"/>
                <a:gd name="T43" fmla="*/ 443 h 676"/>
                <a:gd name="T44" fmla="*/ 19 w 238"/>
                <a:gd name="T45" fmla="*/ 423 h 676"/>
                <a:gd name="T46" fmla="*/ 11 w 238"/>
                <a:gd name="T47" fmla="*/ 405 h 676"/>
                <a:gd name="T48" fmla="*/ 11 w 238"/>
                <a:gd name="T49" fmla="*/ 393 h 676"/>
                <a:gd name="T50" fmla="*/ 17 w 238"/>
                <a:gd name="T51" fmla="*/ 380 h 676"/>
                <a:gd name="T52" fmla="*/ 16 w 238"/>
                <a:gd name="T53" fmla="*/ 364 h 676"/>
                <a:gd name="T54" fmla="*/ 8 w 238"/>
                <a:gd name="T55" fmla="*/ 331 h 676"/>
                <a:gd name="T56" fmla="*/ 0 w 238"/>
                <a:gd name="T57" fmla="*/ 303 h 676"/>
                <a:gd name="T58" fmla="*/ 2 w 238"/>
                <a:gd name="T59" fmla="*/ 298 h 676"/>
                <a:gd name="T60" fmla="*/ 14 w 238"/>
                <a:gd name="T61" fmla="*/ 294 h 676"/>
                <a:gd name="T62" fmla="*/ 25 w 238"/>
                <a:gd name="T63" fmla="*/ 283 h 676"/>
                <a:gd name="T64" fmla="*/ 36 w 238"/>
                <a:gd name="T65" fmla="*/ 271 h 676"/>
                <a:gd name="T66" fmla="*/ 36 w 238"/>
                <a:gd name="T67" fmla="*/ 253 h 676"/>
                <a:gd name="T68" fmla="*/ 38 w 238"/>
                <a:gd name="T69" fmla="*/ 240 h 676"/>
                <a:gd name="T70" fmla="*/ 38 w 238"/>
                <a:gd name="T71" fmla="*/ 225 h 676"/>
                <a:gd name="T72" fmla="*/ 47 w 238"/>
                <a:gd name="T73" fmla="*/ 203 h 676"/>
                <a:gd name="T74" fmla="*/ 57 w 238"/>
                <a:gd name="T75" fmla="*/ 171 h 676"/>
                <a:gd name="T76" fmla="*/ 60 w 238"/>
                <a:gd name="T77" fmla="*/ 163 h 676"/>
                <a:gd name="T78" fmla="*/ 72 w 238"/>
                <a:gd name="T79" fmla="*/ 151 h 676"/>
                <a:gd name="T80" fmla="*/ 88 w 238"/>
                <a:gd name="T81" fmla="*/ 147 h 676"/>
                <a:gd name="T82" fmla="*/ 101 w 238"/>
                <a:gd name="T83" fmla="*/ 140 h 676"/>
                <a:gd name="T84" fmla="*/ 111 w 238"/>
                <a:gd name="T85" fmla="*/ 145 h 676"/>
                <a:gd name="T86" fmla="*/ 119 w 238"/>
                <a:gd name="T87" fmla="*/ 147 h 676"/>
                <a:gd name="T88" fmla="*/ 121 w 238"/>
                <a:gd name="T89" fmla="*/ 138 h 676"/>
                <a:gd name="T90" fmla="*/ 119 w 238"/>
                <a:gd name="T91" fmla="*/ 116 h 676"/>
                <a:gd name="T92" fmla="*/ 114 w 238"/>
                <a:gd name="T93" fmla="*/ 99 h 676"/>
                <a:gd name="T94" fmla="*/ 94 w 238"/>
                <a:gd name="T95" fmla="*/ 87 h 676"/>
                <a:gd name="T96" fmla="*/ 86 w 238"/>
                <a:gd name="T97" fmla="*/ 77 h 676"/>
                <a:gd name="T98" fmla="*/ 73 w 238"/>
                <a:gd name="T99" fmla="*/ 44 h 676"/>
                <a:gd name="T100" fmla="*/ 59 w 238"/>
                <a:gd name="T101" fmla="*/ 31 h 676"/>
                <a:gd name="T102" fmla="*/ 55 w 238"/>
                <a:gd name="T103" fmla="*/ 23 h 676"/>
                <a:gd name="T104" fmla="*/ 61 w 238"/>
                <a:gd name="T105" fmla="*/ 9 h 676"/>
                <a:gd name="T106" fmla="*/ 72 w 238"/>
                <a:gd name="T107" fmla="*/ 0 h 676"/>
                <a:gd name="T108" fmla="*/ 92 w 238"/>
                <a:gd name="T109" fmla="*/ 13 h 676"/>
                <a:gd name="T110" fmla="*/ 109 w 238"/>
                <a:gd name="T111" fmla="*/ 16 h 676"/>
                <a:gd name="T112" fmla="*/ 135 w 238"/>
                <a:gd name="T113" fmla="*/ 25 h 676"/>
                <a:gd name="T114" fmla="*/ 155 w 238"/>
                <a:gd name="T115" fmla="*/ 30 h 676"/>
                <a:gd name="T116" fmla="*/ 174 w 238"/>
                <a:gd name="T117" fmla="*/ 39 h 676"/>
                <a:gd name="T118" fmla="*/ 191 w 238"/>
                <a:gd name="T119" fmla="*/ 40 h 676"/>
                <a:gd name="T120" fmla="*/ 198 w 238"/>
                <a:gd name="T121" fmla="*/ 52 h 676"/>
                <a:gd name="T122" fmla="*/ 211 w 238"/>
                <a:gd name="T123" fmla="*/ 67 h 676"/>
                <a:gd name="T124" fmla="*/ 227 w 238"/>
                <a:gd name="T125" fmla="*/ 77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8" h="676">
                  <a:moveTo>
                    <a:pt x="44" y="676"/>
                  </a:moveTo>
                  <a:lnTo>
                    <a:pt x="44" y="675"/>
                  </a:lnTo>
                  <a:lnTo>
                    <a:pt x="44" y="674"/>
                  </a:lnTo>
                  <a:lnTo>
                    <a:pt x="45" y="673"/>
                  </a:lnTo>
                  <a:lnTo>
                    <a:pt x="45" y="672"/>
                  </a:lnTo>
                  <a:lnTo>
                    <a:pt x="46" y="671"/>
                  </a:lnTo>
                  <a:lnTo>
                    <a:pt x="47" y="670"/>
                  </a:lnTo>
                  <a:lnTo>
                    <a:pt x="49" y="668"/>
                  </a:lnTo>
                  <a:lnTo>
                    <a:pt x="50" y="667"/>
                  </a:lnTo>
                  <a:lnTo>
                    <a:pt x="50" y="666"/>
                  </a:lnTo>
                  <a:lnTo>
                    <a:pt x="51" y="666"/>
                  </a:lnTo>
                  <a:lnTo>
                    <a:pt x="51" y="665"/>
                  </a:lnTo>
                  <a:lnTo>
                    <a:pt x="51" y="664"/>
                  </a:lnTo>
                  <a:lnTo>
                    <a:pt x="51" y="663"/>
                  </a:lnTo>
                  <a:lnTo>
                    <a:pt x="51" y="662"/>
                  </a:lnTo>
                  <a:lnTo>
                    <a:pt x="50" y="660"/>
                  </a:lnTo>
                  <a:lnTo>
                    <a:pt x="49" y="659"/>
                  </a:lnTo>
                  <a:lnTo>
                    <a:pt x="49" y="657"/>
                  </a:lnTo>
                  <a:lnTo>
                    <a:pt x="48" y="656"/>
                  </a:lnTo>
                  <a:lnTo>
                    <a:pt x="45" y="652"/>
                  </a:lnTo>
                  <a:lnTo>
                    <a:pt x="44" y="650"/>
                  </a:lnTo>
                  <a:lnTo>
                    <a:pt x="43" y="649"/>
                  </a:lnTo>
                  <a:lnTo>
                    <a:pt x="43" y="648"/>
                  </a:lnTo>
                  <a:lnTo>
                    <a:pt x="42" y="646"/>
                  </a:lnTo>
                  <a:lnTo>
                    <a:pt x="41" y="642"/>
                  </a:lnTo>
                  <a:lnTo>
                    <a:pt x="39" y="637"/>
                  </a:lnTo>
                  <a:lnTo>
                    <a:pt x="38" y="632"/>
                  </a:lnTo>
                  <a:lnTo>
                    <a:pt x="38" y="630"/>
                  </a:lnTo>
                  <a:lnTo>
                    <a:pt x="37" y="628"/>
                  </a:lnTo>
                  <a:lnTo>
                    <a:pt x="37" y="626"/>
                  </a:lnTo>
                  <a:lnTo>
                    <a:pt x="37" y="624"/>
                  </a:lnTo>
                  <a:lnTo>
                    <a:pt x="37" y="622"/>
                  </a:lnTo>
                  <a:lnTo>
                    <a:pt x="38" y="620"/>
                  </a:lnTo>
                  <a:lnTo>
                    <a:pt x="38" y="618"/>
                  </a:lnTo>
                  <a:lnTo>
                    <a:pt x="39" y="617"/>
                  </a:lnTo>
                  <a:lnTo>
                    <a:pt x="42" y="613"/>
                  </a:lnTo>
                  <a:lnTo>
                    <a:pt x="43" y="611"/>
                  </a:lnTo>
                  <a:lnTo>
                    <a:pt x="44" y="608"/>
                  </a:lnTo>
                  <a:lnTo>
                    <a:pt x="45" y="607"/>
                  </a:lnTo>
                  <a:lnTo>
                    <a:pt x="46" y="606"/>
                  </a:lnTo>
                  <a:lnTo>
                    <a:pt x="47" y="605"/>
                  </a:lnTo>
                  <a:lnTo>
                    <a:pt x="48" y="604"/>
                  </a:lnTo>
                  <a:lnTo>
                    <a:pt x="49" y="603"/>
                  </a:lnTo>
                  <a:lnTo>
                    <a:pt x="50" y="603"/>
                  </a:lnTo>
                  <a:lnTo>
                    <a:pt x="50" y="602"/>
                  </a:lnTo>
                  <a:lnTo>
                    <a:pt x="50" y="602"/>
                  </a:lnTo>
                  <a:lnTo>
                    <a:pt x="50" y="602"/>
                  </a:lnTo>
                  <a:lnTo>
                    <a:pt x="49" y="601"/>
                  </a:lnTo>
                  <a:lnTo>
                    <a:pt x="49" y="601"/>
                  </a:lnTo>
                  <a:lnTo>
                    <a:pt x="48" y="601"/>
                  </a:lnTo>
                  <a:lnTo>
                    <a:pt x="45" y="600"/>
                  </a:lnTo>
                  <a:lnTo>
                    <a:pt x="42" y="600"/>
                  </a:lnTo>
                  <a:lnTo>
                    <a:pt x="40" y="600"/>
                  </a:lnTo>
                  <a:lnTo>
                    <a:pt x="38" y="599"/>
                  </a:lnTo>
                  <a:lnTo>
                    <a:pt x="35" y="598"/>
                  </a:lnTo>
                  <a:lnTo>
                    <a:pt x="29" y="597"/>
                  </a:lnTo>
                  <a:lnTo>
                    <a:pt x="25" y="596"/>
                  </a:lnTo>
                  <a:lnTo>
                    <a:pt x="21" y="594"/>
                  </a:lnTo>
                  <a:lnTo>
                    <a:pt x="20" y="594"/>
                  </a:lnTo>
                  <a:lnTo>
                    <a:pt x="19" y="594"/>
                  </a:lnTo>
                  <a:lnTo>
                    <a:pt x="19" y="593"/>
                  </a:lnTo>
                  <a:lnTo>
                    <a:pt x="18" y="593"/>
                  </a:lnTo>
                  <a:lnTo>
                    <a:pt x="18" y="592"/>
                  </a:lnTo>
                  <a:lnTo>
                    <a:pt x="18" y="591"/>
                  </a:lnTo>
                  <a:lnTo>
                    <a:pt x="17" y="591"/>
                  </a:lnTo>
                  <a:lnTo>
                    <a:pt x="17" y="590"/>
                  </a:lnTo>
                  <a:lnTo>
                    <a:pt x="17" y="588"/>
                  </a:lnTo>
                  <a:lnTo>
                    <a:pt x="17" y="585"/>
                  </a:lnTo>
                  <a:lnTo>
                    <a:pt x="17" y="583"/>
                  </a:lnTo>
                  <a:lnTo>
                    <a:pt x="17" y="582"/>
                  </a:lnTo>
                  <a:lnTo>
                    <a:pt x="17" y="578"/>
                  </a:lnTo>
                  <a:lnTo>
                    <a:pt x="17" y="577"/>
                  </a:lnTo>
                  <a:lnTo>
                    <a:pt x="17" y="576"/>
                  </a:lnTo>
                  <a:lnTo>
                    <a:pt x="17" y="574"/>
                  </a:lnTo>
                  <a:lnTo>
                    <a:pt x="18" y="573"/>
                  </a:lnTo>
                  <a:lnTo>
                    <a:pt x="18" y="572"/>
                  </a:lnTo>
                  <a:lnTo>
                    <a:pt x="18" y="571"/>
                  </a:lnTo>
                  <a:lnTo>
                    <a:pt x="19" y="571"/>
                  </a:lnTo>
                  <a:lnTo>
                    <a:pt x="19" y="570"/>
                  </a:lnTo>
                  <a:lnTo>
                    <a:pt x="20" y="570"/>
                  </a:lnTo>
                  <a:lnTo>
                    <a:pt x="21" y="570"/>
                  </a:lnTo>
                  <a:lnTo>
                    <a:pt x="25" y="571"/>
                  </a:lnTo>
                  <a:lnTo>
                    <a:pt x="31" y="572"/>
                  </a:lnTo>
                  <a:lnTo>
                    <a:pt x="32" y="572"/>
                  </a:lnTo>
                  <a:lnTo>
                    <a:pt x="33" y="572"/>
                  </a:lnTo>
                  <a:lnTo>
                    <a:pt x="34" y="572"/>
                  </a:lnTo>
                  <a:lnTo>
                    <a:pt x="35" y="572"/>
                  </a:lnTo>
                  <a:lnTo>
                    <a:pt x="36" y="572"/>
                  </a:lnTo>
                  <a:lnTo>
                    <a:pt x="36" y="571"/>
                  </a:lnTo>
                  <a:lnTo>
                    <a:pt x="37" y="571"/>
                  </a:lnTo>
                  <a:lnTo>
                    <a:pt x="37" y="570"/>
                  </a:lnTo>
                  <a:lnTo>
                    <a:pt x="38" y="569"/>
                  </a:lnTo>
                  <a:lnTo>
                    <a:pt x="38" y="569"/>
                  </a:lnTo>
                  <a:lnTo>
                    <a:pt x="38" y="568"/>
                  </a:lnTo>
                  <a:lnTo>
                    <a:pt x="39" y="564"/>
                  </a:lnTo>
                  <a:lnTo>
                    <a:pt x="40" y="562"/>
                  </a:lnTo>
                  <a:lnTo>
                    <a:pt x="40" y="561"/>
                  </a:lnTo>
                  <a:lnTo>
                    <a:pt x="41" y="560"/>
                  </a:lnTo>
                  <a:lnTo>
                    <a:pt x="41" y="559"/>
                  </a:lnTo>
                  <a:lnTo>
                    <a:pt x="42" y="558"/>
                  </a:lnTo>
                  <a:lnTo>
                    <a:pt x="42" y="558"/>
                  </a:lnTo>
                  <a:lnTo>
                    <a:pt x="42" y="558"/>
                  </a:lnTo>
                  <a:lnTo>
                    <a:pt x="42" y="557"/>
                  </a:lnTo>
                  <a:lnTo>
                    <a:pt x="42" y="554"/>
                  </a:lnTo>
                  <a:lnTo>
                    <a:pt x="42" y="551"/>
                  </a:lnTo>
                  <a:lnTo>
                    <a:pt x="43" y="548"/>
                  </a:lnTo>
                  <a:lnTo>
                    <a:pt x="44" y="544"/>
                  </a:lnTo>
                  <a:lnTo>
                    <a:pt x="45" y="542"/>
                  </a:lnTo>
                  <a:lnTo>
                    <a:pt x="45" y="540"/>
                  </a:lnTo>
                  <a:lnTo>
                    <a:pt x="45" y="540"/>
                  </a:lnTo>
                  <a:lnTo>
                    <a:pt x="45" y="539"/>
                  </a:lnTo>
                  <a:lnTo>
                    <a:pt x="43" y="534"/>
                  </a:lnTo>
                  <a:lnTo>
                    <a:pt x="42" y="532"/>
                  </a:lnTo>
                  <a:lnTo>
                    <a:pt x="42" y="531"/>
                  </a:lnTo>
                  <a:lnTo>
                    <a:pt x="42" y="529"/>
                  </a:lnTo>
                  <a:lnTo>
                    <a:pt x="42" y="528"/>
                  </a:lnTo>
                  <a:lnTo>
                    <a:pt x="42" y="526"/>
                  </a:lnTo>
                  <a:lnTo>
                    <a:pt x="42" y="525"/>
                  </a:lnTo>
                  <a:lnTo>
                    <a:pt x="43" y="523"/>
                  </a:lnTo>
                  <a:lnTo>
                    <a:pt x="43" y="522"/>
                  </a:lnTo>
                  <a:lnTo>
                    <a:pt x="44" y="520"/>
                  </a:lnTo>
                  <a:lnTo>
                    <a:pt x="45" y="519"/>
                  </a:lnTo>
                  <a:lnTo>
                    <a:pt x="46" y="518"/>
                  </a:lnTo>
                  <a:lnTo>
                    <a:pt x="46" y="517"/>
                  </a:lnTo>
                  <a:lnTo>
                    <a:pt x="50" y="512"/>
                  </a:lnTo>
                  <a:lnTo>
                    <a:pt x="53" y="508"/>
                  </a:lnTo>
                  <a:lnTo>
                    <a:pt x="54" y="507"/>
                  </a:lnTo>
                  <a:lnTo>
                    <a:pt x="55" y="505"/>
                  </a:lnTo>
                  <a:lnTo>
                    <a:pt x="55" y="504"/>
                  </a:lnTo>
                  <a:lnTo>
                    <a:pt x="56" y="503"/>
                  </a:lnTo>
                  <a:lnTo>
                    <a:pt x="56" y="501"/>
                  </a:lnTo>
                  <a:lnTo>
                    <a:pt x="57" y="498"/>
                  </a:lnTo>
                  <a:lnTo>
                    <a:pt x="57" y="496"/>
                  </a:lnTo>
                  <a:lnTo>
                    <a:pt x="57" y="493"/>
                  </a:lnTo>
                  <a:lnTo>
                    <a:pt x="57" y="492"/>
                  </a:lnTo>
                  <a:lnTo>
                    <a:pt x="57" y="490"/>
                  </a:lnTo>
                  <a:lnTo>
                    <a:pt x="57" y="485"/>
                  </a:lnTo>
                  <a:lnTo>
                    <a:pt x="56" y="483"/>
                  </a:lnTo>
                  <a:lnTo>
                    <a:pt x="56" y="482"/>
                  </a:lnTo>
                  <a:lnTo>
                    <a:pt x="55" y="481"/>
                  </a:lnTo>
                  <a:lnTo>
                    <a:pt x="55" y="479"/>
                  </a:lnTo>
                  <a:lnTo>
                    <a:pt x="54" y="478"/>
                  </a:lnTo>
                  <a:lnTo>
                    <a:pt x="53" y="478"/>
                  </a:lnTo>
                  <a:lnTo>
                    <a:pt x="52" y="477"/>
                  </a:lnTo>
                  <a:lnTo>
                    <a:pt x="51" y="476"/>
                  </a:lnTo>
                  <a:lnTo>
                    <a:pt x="50" y="475"/>
                  </a:lnTo>
                  <a:lnTo>
                    <a:pt x="49" y="475"/>
                  </a:lnTo>
                  <a:lnTo>
                    <a:pt x="49" y="474"/>
                  </a:lnTo>
                  <a:lnTo>
                    <a:pt x="47" y="474"/>
                  </a:lnTo>
                  <a:lnTo>
                    <a:pt x="43" y="473"/>
                  </a:lnTo>
                  <a:lnTo>
                    <a:pt x="42" y="473"/>
                  </a:lnTo>
                  <a:lnTo>
                    <a:pt x="40" y="472"/>
                  </a:lnTo>
                  <a:lnTo>
                    <a:pt x="39" y="472"/>
                  </a:lnTo>
                  <a:lnTo>
                    <a:pt x="39" y="472"/>
                  </a:lnTo>
                  <a:lnTo>
                    <a:pt x="38" y="472"/>
                  </a:lnTo>
                  <a:lnTo>
                    <a:pt x="38" y="471"/>
                  </a:lnTo>
                  <a:lnTo>
                    <a:pt x="38" y="471"/>
                  </a:lnTo>
                  <a:lnTo>
                    <a:pt x="37" y="471"/>
                  </a:lnTo>
                  <a:lnTo>
                    <a:pt x="37" y="470"/>
                  </a:lnTo>
                  <a:lnTo>
                    <a:pt x="37" y="469"/>
                  </a:lnTo>
                  <a:lnTo>
                    <a:pt x="38" y="468"/>
                  </a:lnTo>
                  <a:lnTo>
                    <a:pt x="39" y="465"/>
                  </a:lnTo>
                  <a:lnTo>
                    <a:pt x="39" y="464"/>
                  </a:lnTo>
                  <a:lnTo>
                    <a:pt x="39" y="462"/>
                  </a:lnTo>
                  <a:lnTo>
                    <a:pt x="39" y="461"/>
                  </a:lnTo>
                  <a:lnTo>
                    <a:pt x="39" y="460"/>
                  </a:lnTo>
                  <a:lnTo>
                    <a:pt x="39" y="459"/>
                  </a:lnTo>
                  <a:lnTo>
                    <a:pt x="37" y="455"/>
                  </a:lnTo>
                  <a:lnTo>
                    <a:pt x="37" y="454"/>
                  </a:lnTo>
                  <a:lnTo>
                    <a:pt x="37" y="453"/>
                  </a:lnTo>
                  <a:lnTo>
                    <a:pt x="36" y="449"/>
                  </a:lnTo>
                  <a:lnTo>
                    <a:pt x="36" y="448"/>
                  </a:lnTo>
                  <a:lnTo>
                    <a:pt x="36" y="447"/>
                  </a:lnTo>
                  <a:lnTo>
                    <a:pt x="35" y="446"/>
                  </a:lnTo>
                  <a:lnTo>
                    <a:pt x="34" y="444"/>
                  </a:lnTo>
                  <a:lnTo>
                    <a:pt x="33" y="443"/>
                  </a:lnTo>
                  <a:lnTo>
                    <a:pt x="30" y="440"/>
                  </a:lnTo>
                  <a:lnTo>
                    <a:pt x="27" y="437"/>
                  </a:lnTo>
                  <a:lnTo>
                    <a:pt x="25" y="434"/>
                  </a:lnTo>
                  <a:lnTo>
                    <a:pt x="24" y="432"/>
                  </a:lnTo>
                  <a:lnTo>
                    <a:pt x="23" y="431"/>
                  </a:lnTo>
                  <a:lnTo>
                    <a:pt x="21" y="428"/>
                  </a:lnTo>
                  <a:lnTo>
                    <a:pt x="20" y="425"/>
                  </a:lnTo>
                  <a:lnTo>
                    <a:pt x="19" y="423"/>
                  </a:lnTo>
                  <a:lnTo>
                    <a:pt x="18" y="419"/>
                  </a:lnTo>
                  <a:lnTo>
                    <a:pt x="17" y="417"/>
                  </a:lnTo>
                  <a:lnTo>
                    <a:pt x="17" y="416"/>
                  </a:lnTo>
                  <a:lnTo>
                    <a:pt x="16" y="415"/>
                  </a:lnTo>
                  <a:lnTo>
                    <a:pt x="15" y="413"/>
                  </a:lnTo>
                  <a:lnTo>
                    <a:pt x="12" y="408"/>
                  </a:lnTo>
                  <a:lnTo>
                    <a:pt x="11" y="407"/>
                  </a:lnTo>
                  <a:lnTo>
                    <a:pt x="11" y="405"/>
                  </a:lnTo>
                  <a:lnTo>
                    <a:pt x="10" y="404"/>
                  </a:lnTo>
                  <a:lnTo>
                    <a:pt x="10" y="402"/>
                  </a:lnTo>
                  <a:lnTo>
                    <a:pt x="10" y="401"/>
                  </a:lnTo>
                  <a:lnTo>
                    <a:pt x="10" y="398"/>
                  </a:lnTo>
                  <a:lnTo>
                    <a:pt x="10" y="397"/>
                  </a:lnTo>
                  <a:lnTo>
                    <a:pt x="10" y="396"/>
                  </a:lnTo>
                  <a:lnTo>
                    <a:pt x="10" y="394"/>
                  </a:lnTo>
                  <a:lnTo>
                    <a:pt x="11" y="393"/>
                  </a:lnTo>
                  <a:lnTo>
                    <a:pt x="11" y="391"/>
                  </a:lnTo>
                  <a:lnTo>
                    <a:pt x="11" y="390"/>
                  </a:lnTo>
                  <a:lnTo>
                    <a:pt x="12" y="389"/>
                  </a:lnTo>
                  <a:lnTo>
                    <a:pt x="12" y="387"/>
                  </a:lnTo>
                  <a:lnTo>
                    <a:pt x="14" y="386"/>
                  </a:lnTo>
                  <a:lnTo>
                    <a:pt x="16" y="382"/>
                  </a:lnTo>
                  <a:lnTo>
                    <a:pt x="17" y="381"/>
                  </a:lnTo>
                  <a:lnTo>
                    <a:pt x="17" y="380"/>
                  </a:lnTo>
                  <a:lnTo>
                    <a:pt x="18" y="379"/>
                  </a:lnTo>
                  <a:lnTo>
                    <a:pt x="18" y="378"/>
                  </a:lnTo>
                  <a:lnTo>
                    <a:pt x="18" y="376"/>
                  </a:lnTo>
                  <a:lnTo>
                    <a:pt x="18" y="375"/>
                  </a:lnTo>
                  <a:lnTo>
                    <a:pt x="18" y="373"/>
                  </a:lnTo>
                  <a:lnTo>
                    <a:pt x="17" y="368"/>
                  </a:lnTo>
                  <a:lnTo>
                    <a:pt x="17" y="366"/>
                  </a:lnTo>
                  <a:lnTo>
                    <a:pt x="16" y="364"/>
                  </a:lnTo>
                  <a:lnTo>
                    <a:pt x="16" y="360"/>
                  </a:lnTo>
                  <a:lnTo>
                    <a:pt x="16" y="354"/>
                  </a:lnTo>
                  <a:lnTo>
                    <a:pt x="15" y="352"/>
                  </a:lnTo>
                  <a:lnTo>
                    <a:pt x="15" y="350"/>
                  </a:lnTo>
                  <a:lnTo>
                    <a:pt x="14" y="348"/>
                  </a:lnTo>
                  <a:lnTo>
                    <a:pt x="12" y="342"/>
                  </a:lnTo>
                  <a:lnTo>
                    <a:pt x="9" y="335"/>
                  </a:lnTo>
                  <a:lnTo>
                    <a:pt x="8" y="331"/>
                  </a:lnTo>
                  <a:lnTo>
                    <a:pt x="7" y="329"/>
                  </a:lnTo>
                  <a:lnTo>
                    <a:pt x="7" y="326"/>
                  </a:lnTo>
                  <a:lnTo>
                    <a:pt x="5" y="319"/>
                  </a:lnTo>
                  <a:lnTo>
                    <a:pt x="4" y="316"/>
                  </a:lnTo>
                  <a:lnTo>
                    <a:pt x="3" y="312"/>
                  </a:lnTo>
                  <a:lnTo>
                    <a:pt x="1" y="307"/>
                  </a:lnTo>
                  <a:lnTo>
                    <a:pt x="1" y="305"/>
                  </a:lnTo>
                  <a:lnTo>
                    <a:pt x="0" y="303"/>
                  </a:lnTo>
                  <a:lnTo>
                    <a:pt x="0" y="302"/>
                  </a:lnTo>
                  <a:lnTo>
                    <a:pt x="0" y="301"/>
                  </a:lnTo>
                  <a:lnTo>
                    <a:pt x="0" y="300"/>
                  </a:lnTo>
                  <a:lnTo>
                    <a:pt x="1" y="300"/>
                  </a:lnTo>
                  <a:lnTo>
                    <a:pt x="1" y="299"/>
                  </a:lnTo>
                  <a:lnTo>
                    <a:pt x="1" y="299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3" y="297"/>
                  </a:lnTo>
                  <a:lnTo>
                    <a:pt x="4" y="297"/>
                  </a:lnTo>
                  <a:lnTo>
                    <a:pt x="5" y="296"/>
                  </a:lnTo>
                  <a:lnTo>
                    <a:pt x="7" y="296"/>
                  </a:lnTo>
                  <a:lnTo>
                    <a:pt x="10" y="296"/>
                  </a:lnTo>
                  <a:lnTo>
                    <a:pt x="12" y="295"/>
                  </a:lnTo>
                  <a:lnTo>
                    <a:pt x="13" y="295"/>
                  </a:lnTo>
                  <a:lnTo>
                    <a:pt x="14" y="294"/>
                  </a:lnTo>
                  <a:lnTo>
                    <a:pt x="15" y="294"/>
                  </a:lnTo>
                  <a:lnTo>
                    <a:pt x="15" y="293"/>
                  </a:lnTo>
                  <a:lnTo>
                    <a:pt x="17" y="292"/>
                  </a:lnTo>
                  <a:lnTo>
                    <a:pt x="18" y="290"/>
                  </a:lnTo>
                  <a:lnTo>
                    <a:pt x="19" y="289"/>
                  </a:lnTo>
                  <a:lnTo>
                    <a:pt x="20" y="287"/>
                  </a:lnTo>
                  <a:lnTo>
                    <a:pt x="21" y="286"/>
                  </a:lnTo>
                  <a:lnTo>
                    <a:pt x="25" y="283"/>
                  </a:lnTo>
                  <a:lnTo>
                    <a:pt x="26" y="281"/>
                  </a:lnTo>
                  <a:lnTo>
                    <a:pt x="31" y="278"/>
                  </a:lnTo>
                  <a:lnTo>
                    <a:pt x="32" y="276"/>
                  </a:lnTo>
                  <a:lnTo>
                    <a:pt x="33" y="275"/>
                  </a:lnTo>
                  <a:lnTo>
                    <a:pt x="34" y="274"/>
                  </a:lnTo>
                  <a:lnTo>
                    <a:pt x="35" y="273"/>
                  </a:lnTo>
                  <a:lnTo>
                    <a:pt x="35" y="272"/>
                  </a:lnTo>
                  <a:lnTo>
                    <a:pt x="36" y="271"/>
                  </a:lnTo>
                  <a:lnTo>
                    <a:pt x="37" y="269"/>
                  </a:lnTo>
                  <a:lnTo>
                    <a:pt x="37" y="267"/>
                  </a:lnTo>
                  <a:lnTo>
                    <a:pt x="37" y="266"/>
                  </a:lnTo>
                  <a:lnTo>
                    <a:pt x="37" y="265"/>
                  </a:lnTo>
                  <a:lnTo>
                    <a:pt x="37" y="263"/>
                  </a:lnTo>
                  <a:lnTo>
                    <a:pt x="37" y="258"/>
                  </a:lnTo>
                  <a:lnTo>
                    <a:pt x="36" y="256"/>
                  </a:lnTo>
                  <a:lnTo>
                    <a:pt x="36" y="253"/>
                  </a:lnTo>
                  <a:lnTo>
                    <a:pt x="36" y="252"/>
                  </a:lnTo>
                  <a:lnTo>
                    <a:pt x="35" y="250"/>
                  </a:lnTo>
                  <a:lnTo>
                    <a:pt x="36" y="249"/>
                  </a:lnTo>
                  <a:lnTo>
                    <a:pt x="36" y="248"/>
                  </a:lnTo>
                  <a:lnTo>
                    <a:pt x="36" y="247"/>
                  </a:lnTo>
                  <a:lnTo>
                    <a:pt x="36" y="245"/>
                  </a:lnTo>
                  <a:lnTo>
                    <a:pt x="38" y="241"/>
                  </a:lnTo>
                  <a:lnTo>
                    <a:pt x="38" y="240"/>
                  </a:lnTo>
                  <a:lnTo>
                    <a:pt x="38" y="239"/>
                  </a:lnTo>
                  <a:lnTo>
                    <a:pt x="38" y="237"/>
                  </a:lnTo>
                  <a:lnTo>
                    <a:pt x="38" y="236"/>
                  </a:lnTo>
                  <a:lnTo>
                    <a:pt x="37" y="231"/>
                  </a:lnTo>
                  <a:lnTo>
                    <a:pt x="37" y="229"/>
                  </a:lnTo>
                  <a:lnTo>
                    <a:pt x="37" y="227"/>
                  </a:lnTo>
                  <a:lnTo>
                    <a:pt x="37" y="226"/>
                  </a:lnTo>
                  <a:lnTo>
                    <a:pt x="38" y="225"/>
                  </a:lnTo>
                  <a:lnTo>
                    <a:pt x="38" y="224"/>
                  </a:lnTo>
                  <a:lnTo>
                    <a:pt x="38" y="223"/>
                  </a:lnTo>
                  <a:lnTo>
                    <a:pt x="40" y="220"/>
                  </a:lnTo>
                  <a:lnTo>
                    <a:pt x="41" y="219"/>
                  </a:lnTo>
                  <a:lnTo>
                    <a:pt x="43" y="214"/>
                  </a:lnTo>
                  <a:lnTo>
                    <a:pt x="44" y="210"/>
                  </a:lnTo>
                  <a:lnTo>
                    <a:pt x="45" y="208"/>
                  </a:lnTo>
                  <a:lnTo>
                    <a:pt x="47" y="203"/>
                  </a:lnTo>
                  <a:lnTo>
                    <a:pt x="51" y="192"/>
                  </a:lnTo>
                  <a:lnTo>
                    <a:pt x="52" y="187"/>
                  </a:lnTo>
                  <a:lnTo>
                    <a:pt x="55" y="181"/>
                  </a:lnTo>
                  <a:lnTo>
                    <a:pt x="55" y="179"/>
                  </a:lnTo>
                  <a:lnTo>
                    <a:pt x="56" y="177"/>
                  </a:lnTo>
                  <a:lnTo>
                    <a:pt x="56" y="175"/>
                  </a:lnTo>
                  <a:lnTo>
                    <a:pt x="57" y="173"/>
                  </a:lnTo>
                  <a:lnTo>
                    <a:pt x="57" y="171"/>
                  </a:lnTo>
                  <a:lnTo>
                    <a:pt x="57" y="169"/>
                  </a:lnTo>
                  <a:lnTo>
                    <a:pt x="57" y="167"/>
                  </a:lnTo>
                  <a:lnTo>
                    <a:pt x="57" y="165"/>
                  </a:lnTo>
                  <a:lnTo>
                    <a:pt x="57" y="165"/>
                  </a:lnTo>
                  <a:lnTo>
                    <a:pt x="57" y="165"/>
                  </a:lnTo>
                  <a:lnTo>
                    <a:pt x="58" y="165"/>
                  </a:lnTo>
                  <a:lnTo>
                    <a:pt x="59" y="164"/>
                  </a:lnTo>
                  <a:lnTo>
                    <a:pt x="60" y="163"/>
                  </a:lnTo>
                  <a:lnTo>
                    <a:pt x="60" y="163"/>
                  </a:lnTo>
                  <a:lnTo>
                    <a:pt x="61" y="162"/>
                  </a:lnTo>
                  <a:lnTo>
                    <a:pt x="65" y="157"/>
                  </a:lnTo>
                  <a:lnTo>
                    <a:pt x="66" y="156"/>
                  </a:lnTo>
                  <a:lnTo>
                    <a:pt x="67" y="155"/>
                  </a:lnTo>
                  <a:lnTo>
                    <a:pt x="69" y="154"/>
                  </a:lnTo>
                  <a:lnTo>
                    <a:pt x="71" y="152"/>
                  </a:lnTo>
                  <a:lnTo>
                    <a:pt x="72" y="151"/>
                  </a:lnTo>
                  <a:lnTo>
                    <a:pt x="74" y="150"/>
                  </a:lnTo>
                  <a:lnTo>
                    <a:pt x="75" y="150"/>
                  </a:lnTo>
                  <a:lnTo>
                    <a:pt x="76" y="149"/>
                  </a:lnTo>
                  <a:lnTo>
                    <a:pt x="78" y="149"/>
                  </a:lnTo>
                  <a:lnTo>
                    <a:pt x="79" y="148"/>
                  </a:lnTo>
                  <a:lnTo>
                    <a:pt x="81" y="148"/>
                  </a:lnTo>
                  <a:lnTo>
                    <a:pt x="86" y="147"/>
                  </a:lnTo>
                  <a:lnTo>
                    <a:pt x="88" y="147"/>
                  </a:lnTo>
                  <a:lnTo>
                    <a:pt x="91" y="146"/>
                  </a:lnTo>
                  <a:lnTo>
                    <a:pt x="92" y="146"/>
                  </a:lnTo>
                  <a:lnTo>
                    <a:pt x="94" y="145"/>
                  </a:lnTo>
                  <a:lnTo>
                    <a:pt x="95" y="144"/>
                  </a:lnTo>
                  <a:lnTo>
                    <a:pt x="97" y="143"/>
                  </a:lnTo>
                  <a:lnTo>
                    <a:pt x="99" y="141"/>
                  </a:lnTo>
                  <a:lnTo>
                    <a:pt x="100" y="140"/>
                  </a:lnTo>
                  <a:lnTo>
                    <a:pt x="101" y="140"/>
                  </a:lnTo>
                  <a:lnTo>
                    <a:pt x="102" y="139"/>
                  </a:lnTo>
                  <a:lnTo>
                    <a:pt x="102" y="139"/>
                  </a:lnTo>
                  <a:lnTo>
                    <a:pt x="103" y="139"/>
                  </a:lnTo>
                  <a:lnTo>
                    <a:pt x="104" y="139"/>
                  </a:lnTo>
                  <a:lnTo>
                    <a:pt x="105" y="139"/>
                  </a:lnTo>
                  <a:lnTo>
                    <a:pt x="106" y="140"/>
                  </a:lnTo>
                  <a:lnTo>
                    <a:pt x="107" y="141"/>
                  </a:lnTo>
                  <a:lnTo>
                    <a:pt x="111" y="145"/>
                  </a:lnTo>
                  <a:lnTo>
                    <a:pt x="113" y="146"/>
                  </a:lnTo>
                  <a:lnTo>
                    <a:pt x="113" y="147"/>
                  </a:lnTo>
                  <a:lnTo>
                    <a:pt x="114" y="147"/>
                  </a:lnTo>
                  <a:lnTo>
                    <a:pt x="115" y="147"/>
                  </a:lnTo>
                  <a:lnTo>
                    <a:pt x="116" y="148"/>
                  </a:lnTo>
                  <a:lnTo>
                    <a:pt x="117" y="148"/>
                  </a:lnTo>
                  <a:lnTo>
                    <a:pt x="118" y="147"/>
                  </a:lnTo>
                  <a:lnTo>
                    <a:pt x="119" y="147"/>
                  </a:lnTo>
                  <a:lnTo>
                    <a:pt x="119" y="146"/>
                  </a:lnTo>
                  <a:lnTo>
                    <a:pt x="120" y="145"/>
                  </a:lnTo>
                  <a:lnTo>
                    <a:pt x="121" y="144"/>
                  </a:lnTo>
                  <a:lnTo>
                    <a:pt x="121" y="143"/>
                  </a:lnTo>
                  <a:lnTo>
                    <a:pt x="122" y="142"/>
                  </a:lnTo>
                  <a:lnTo>
                    <a:pt x="122" y="141"/>
                  </a:lnTo>
                  <a:lnTo>
                    <a:pt x="121" y="139"/>
                  </a:lnTo>
                  <a:lnTo>
                    <a:pt x="121" y="138"/>
                  </a:lnTo>
                  <a:lnTo>
                    <a:pt x="120" y="134"/>
                  </a:lnTo>
                  <a:lnTo>
                    <a:pt x="119" y="132"/>
                  </a:lnTo>
                  <a:lnTo>
                    <a:pt x="119" y="129"/>
                  </a:lnTo>
                  <a:lnTo>
                    <a:pt x="119" y="127"/>
                  </a:lnTo>
                  <a:lnTo>
                    <a:pt x="118" y="126"/>
                  </a:lnTo>
                  <a:lnTo>
                    <a:pt x="119" y="124"/>
                  </a:lnTo>
                  <a:lnTo>
                    <a:pt x="119" y="119"/>
                  </a:lnTo>
                  <a:lnTo>
                    <a:pt x="119" y="116"/>
                  </a:lnTo>
                  <a:lnTo>
                    <a:pt x="120" y="114"/>
                  </a:lnTo>
                  <a:lnTo>
                    <a:pt x="119" y="111"/>
                  </a:lnTo>
                  <a:lnTo>
                    <a:pt x="119" y="109"/>
                  </a:lnTo>
                  <a:lnTo>
                    <a:pt x="118" y="107"/>
                  </a:lnTo>
                  <a:lnTo>
                    <a:pt x="118" y="105"/>
                  </a:lnTo>
                  <a:lnTo>
                    <a:pt x="117" y="103"/>
                  </a:lnTo>
                  <a:lnTo>
                    <a:pt x="115" y="101"/>
                  </a:lnTo>
                  <a:lnTo>
                    <a:pt x="114" y="99"/>
                  </a:lnTo>
                  <a:lnTo>
                    <a:pt x="112" y="98"/>
                  </a:lnTo>
                  <a:lnTo>
                    <a:pt x="111" y="97"/>
                  </a:lnTo>
                  <a:lnTo>
                    <a:pt x="110" y="96"/>
                  </a:lnTo>
                  <a:lnTo>
                    <a:pt x="108" y="94"/>
                  </a:lnTo>
                  <a:lnTo>
                    <a:pt x="100" y="90"/>
                  </a:lnTo>
                  <a:lnTo>
                    <a:pt x="98" y="89"/>
                  </a:lnTo>
                  <a:lnTo>
                    <a:pt x="95" y="88"/>
                  </a:lnTo>
                  <a:lnTo>
                    <a:pt x="94" y="87"/>
                  </a:lnTo>
                  <a:lnTo>
                    <a:pt x="92" y="86"/>
                  </a:lnTo>
                  <a:lnTo>
                    <a:pt x="91" y="85"/>
                  </a:lnTo>
                  <a:lnTo>
                    <a:pt x="90" y="84"/>
                  </a:lnTo>
                  <a:lnTo>
                    <a:pt x="89" y="83"/>
                  </a:lnTo>
                  <a:lnTo>
                    <a:pt x="88" y="82"/>
                  </a:lnTo>
                  <a:lnTo>
                    <a:pt x="88" y="80"/>
                  </a:lnTo>
                  <a:lnTo>
                    <a:pt x="87" y="79"/>
                  </a:lnTo>
                  <a:lnTo>
                    <a:pt x="86" y="77"/>
                  </a:lnTo>
                  <a:lnTo>
                    <a:pt x="84" y="70"/>
                  </a:lnTo>
                  <a:lnTo>
                    <a:pt x="80" y="64"/>
                  </a:lnTo>
                  <a:lnTo>
                    <a:pt x="79" y="60"/>
                  </a:lnTo>
                  <a:lnTo>
                    <a:pt x="78" y="57"/>
                  </a:lnTo>
                  <a:lnTo>
                    <a:pt x="76" y="52"/>
                  </a:lnTo>
                  <a:lnTo>
                    <a:pt x="75" y="48"/>
                  </a:lnTo>
                  <a:lnTo>
                    <a:pt x="74" y="46"/>
                  </a:lnTo>
                  <a:lnTo>
                    <a:pt x="73" y="44"/>
                  </a:lnTo>
                  <a:lnTo>
                    <a:pt x="72" y="43"/>
                  </a:lnTo>
                  <a:lnTo>
                    <a:pt x="72" y="42"/>
                  </a:lnTo>
                  <a:lnTo>
                    <a:pt x="71" y="41"/>
                  </a:lnTo>
                  <a:lnTo>
                    <a:pt x="70" y="40"/>
                  </a:lnTo>
                  <a:lnTo>
                    <a:pt x="69" y="39"/>
                  </a:lnTo>
                  <a:lnTo>
                    <a:pt x="65" y="36"/>
                  </a:lnTo>
                  <a:lnTo>
                    <a:pt x="61" y="32"/>
                  </a:lnTo>
                  <a:lnTo>
                    <a:pt x="59" y="31"/>
                  </a:lnTo>
                  <a:lnTo>
                    <a:pt x="58" y="30"/>
                  </a:lnTo>
                  <a:lnTo>
                    <a:pt x="58" y="29"/>
                  </a:lnTo>
                  <a:lnTo>
                    <a:pt x="57" y="28"/>
                  </a:lnTo>
                  <a:lnTo>
                    <a:pt x="56" y="27"/>
                  </a:lnTo>
                  <a:lnTo>
                    <a:pt x="56" y="26"/>
                  </a:lnTo>
                  <a:lnTo>
                    <a:pt x="55" y="25"/>
                  </a:lnTo>
                  <a:lnTo>
                    <a:pt x="55" y="24"/>
                  </a:lnTo>
                  <a:lnTo>
                    <a:pt x="55" y="23"/>
                  </a:lnTo>
                  <a:lnTo>
                    <a:pt x="55" y="22"/>
                  </a:lnTo>
                  <a:lnTo>
                    <a:pt x="55" y="21"/>
                  </a:lnTo>
                  <a:lnTo>
                    <a:pt x="56" y="19"/>
                  </a:lnTo>
                  <a:lnTo>
                    <a:pt x="56" y="17"/>
                  </a:lnTo>
                  <a:lnTo>
                    <a:pt x="57" y="15"/>
                  </a:lnTo>
                  <a:lnTo>
                    <a:pt x="58" y="13"/>
                  </a:lnTo>
                  <a:lnTo>
                    <a:pt x="60" y="11"/>
                  </a:lnTo>
                  <a:lnTo>
                    <a:pt x="61" y="9"/>
                  </a:lnTo>
                  <a:lnTo>
                    <a:pt x="63" y="7"/>
                  </a:lnTo>
                  <a:lnTo>
                    <a:pt x="64" y="5"/>
                  </a:lnTo>
                  <a:lnTo>
                    <a:pt x="65" y="4"/>
                  </a:lnTo>
                  <a:lnTo>
                    <a:pt x="67" y="3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1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1"/>
                  </a:lnTo>
                  <a:lnTo>
                    <a:pt x="74" y="2"/>
                  </a:lnTo>
                  <a:lnTo>
                    <a:pt x="76" y="4"/>
                  </a:lnTo>
                  <a:lnTo>
                    <a:pt x="79" y="5"/>
                  </a:lnTo>
                  <a:lnTo>
                    <a:pt x="83" y="7"/>
                  </a:lnTo>
                  <a:lnTo>
                    <a:pt x="89" y="11"/>
                  </a:lnTo>
                  <a:lnTo>
                    <a:pt x="92" y="13"/>
                  </a:lnTo>
                  <a:lnTo>
                    <a:pt x="96" y="15"/>
                  </a:lnTo>
                  <a:lnTo>
                    <a:pt x="97" y="15"/>
                  </a:lnTo>
                  <a:lnTo>
                    <a:pt x="98" y="16"/>
                  </a:lnTo>
                  <a:lnTo>
                    <a:pt x="100" y="16"/>
                  </a:lnTo>
                  <a:lnTo>
                    <a:pt x="102" y="16"/>
                  </a:lnTo>
                  <a:lnTo>
                    <a:pt x="104" y="16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13" y="17"/>
                  </a:lnTo>
                  <a:lnTo>
                    <a:pt x="118" y="18"/>
                  </a:lnTo>
                  <a:lnTo>
                    <a:pt x="120" y="19"/>
                  </a:lnTo>
                  <a:lnTo>
                    <a:pt x="122" y="20"/>
                  </a:lnTo>
                  <a:lnTo>
                    <a:pt x="130" y="23"/>
                  </a:lnTo>
                  <a:lnTo>
                    <a:pt x="133" y="24"/>
                  </a:lnTo>
                  <a:lnTo>
                    <a:pt x="135" y="25"/>
                  </a:lnTo>
                  <a:lnTo>
                    <a:pt x="138" y="26"/>
                  </a:lnTo>
                  <a:lnTo>
                    <a:pt x="142" y="27"/>
                  </a:lnTo>
                  <a:lnTo>
                    <a:pt x="144" y="27"/>
                  </a:lnTo>
                  <a:lnTo>
                    <a:pt x="149" y="28"/>
                  </a:lnTo>
                  <a:lnTo>
                    <a:pt x="151" y="28"/>
                  </a:lnTo>
                  <a:lnTo>
                    <a:pt x="152" y="28"/>
                  </a:lnTo>
                  <a:lnTo>
                    <a:pt x="154" y="29"/>
                  </a:lnTo>
                  <a:lnTo>
                    <a:pt x="155" y="30"/>
                  </a:lnTo>
                  <a:lnTo>
                    <a:pt x="157" y="31"/>
                  </a:lnTo>
                  <a:lnTo>
                    <a:pt x="159" y="32"/>
                  </a:lnTo>
                  <a:lnTo>
                    <a:pt x="160" y="33"/>
                  </a:lnTo>
                  <a:lnTo>
                    <a:pt x="167" y="37"/>
                  </a:lnTo>
                  <a:lnTo>
                    <a:pt x="169" y="38"/>
                  </a:lnTo>
                  <a:lnTo>
                    <a:pt x="170" y="38"/>
                  </a:lnTo>
                  <a:lnTo>
                    <a:pt x="172" y="39"/>
                  </a:lnTo>
                  <a:lnTo>
                    <a:pt x="174" y="39"/>
                  </a:lnTo>
                  <a:lnTo>
                    <a:pt x="175" y="39"/>
                  </a:lnTo>
                  <a:lnTo>
                    <a:pt x="177" y="40"/>
                  </a:lnTo>
                  <a:lnTo>
                    <a:pt x="179" y="40"/>
                  </a:lnTo>
                  <a:lnTo>
                    <a:pt x="185" y="39"/>
                  </a:lnTo>
                  <a:lnTo>
                    <a:pt x="187" y="39"/>
                  </a:lnTo>
                  <a:lnTo>
                    <a:pt x="188" y="39"/>
                  </a:lnTo>
                  <a:lnTo>
                    <a:pt x="189" y="39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2" y="40"/>
                  </a:lnTo>
                  <a:lnTo>
                    <a:pt x="193" y="41"/>
                  </a:lnTo>
                  <a:lnTo>
                    <a:pt x="193" y="42"/>
                  </a:lnTo>
                  <a:lnTo>
                    <a:pt x="194" y="42"/>
                  </a:lnTo>
                  <a:lnTo>
                    <a:pt x="195" y="44"/>
                  </a:lnTo>
                  <a:lnTo>
                    <a:pt x="197" y="50"/>
                  </a:lnTo>
                  <a:lnTo>
                    <a:pt x="198" y="52"/>
                  </a:lnTo>
                  <a:lnTo>
                    <a:pt x="200" y="54"/>
                  </a:lnTo>
                  <a:lnTo>
                    <a:pt x="201" y="57"/>
                  </a:lnTo>
                  <a:lnTo>
                    <a:pt x="203" y="59"/>
                  </a:lnTo>
                  <a:lnTo>
                    <a:pt x="205" y="61"/>
                  </a:lnTo>
                  <a:lnTo>
                    <a:pt x="206" y="63"/>
                  </a:lnTo>
                  <a:lnTo>
                    <a:pt x="207" y="64"/>
                  </a:lnTo>
                  <a:lnTo>
                    <a:pt x="209" y="66"/>
                  </a:lnTo>
                  <a:lnTo>
                    <a:pt x="211" y="67"/>
                  </a:lnTo>
                  <a:lnTo>
                    <a:pt x="213" y="69"/>
                  </a:lnTo>
                  <a:lnTo>
                    <a:pt x="216" y="71"/>
                  </a:lnTo>
                  <a:lnTo>
                    <a:pt x="217" y="72"/>
                  </a:lnTo>
                  <a:lnTo>
                    <a:pt x="219" y="73"/>
                  </a:lnTo>
                  <a:lnTo>
                    <a:pt x="221" y="74"/>
                  </a:lnTo>
                  <a:lnTo>
                    <a:pt x="223" y="76"/>
                  </a:lnTo>
                  <a:lnTo>
                    <a:pt x="226" y="77"/>
                  </a:lnTo>
                  <a:lnTo>
                    <a:pt x="227" y="77"/>
                  </a:lnTo>
                  <a:lnTo>
                    <a:pt x="229" y="78"/>
                  </a:lnTo>
                  <a:lnTo>
                    <a:pt x="230" y="78"/>
                  </a:lnTo>
                  <a:lnTo>
                    <a:pt x="232" y="79"/>
                  </a:lnTo>
                  <a:lnTo>
                    <a:pt x="233" y="79"/>
                  </a:lnTo>
                  <a:lnTo>
                    <a:pt x="235" y="79"/>
                  </a:lnTo>
                  <a:lnTo>
                    <a:pt x="236" y="79"/>
                  </a:lnTo>
                  <a:lnTo>
                    <a:pt x="238" y="79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1" name="Freeform 255">
              <a:extLst>
                <a:ext uri="{FF2B5EF4-FFF2-40B4-BE49-F238E27FC236}">
                  <a16:creationId xmlns:a16="http://schemas.microsoft.com/office/drawing/2014/main" id="{CB74F7C2-C6CC-4867-8F0B-87AC6F70B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5113" y="2818286"/>
              <a:ext cx="558437" cy="461628"/>
            </a:xfrm>
            <a:custGeom>
              <a:avLst/>
              <a:gdLst>
                <a:gd name="T0" fmla="*/ 363 w 548"/>
                <a:gd name="T1" fmla="*/ 11 h 453"/>
                <a:gd name="T2" fmla="*/ 390 w 548"/>
                <a:gd name="T3" fmla="*/ 16 h 453"/>
                <a:gd name="T4" fmla="*/ 436 w 548"/>
                <a:gd name="T5" fmla="*/ 14 h 453"/>
                <a:gd name="T6" fmla="*/ 469 w 548"/>
                <a:gd name="T7" fmla="*/ 28 h 453"/>
                <a:gd name="T8" fmla="*/ 495 w 548"/>
                <a:gd name="T9" fmla="*/ 28 h 453"/>
                <a:gd name="T10" fmla="*/ 518 w 548"/>
                <a:gd name="T11" fmla="*/ 54 h 453"/>
                <a:gd name="T12" fmla="*/ 534 w 548"/>
                <a:gd name="T13" fmla="*/ 78 h 453"/>
                <a:gd name="T14" fmla="*/ 547 w 548"/>
                <a:gd name="T15" fmla="*/ 93 h 453"/>
                <a:gd name="T16" fmla="*/ 536 w 548"/>
                <a:gd name="T17" fmla="*/ 126 h 453"/>
                <a:gd name="T18" fmla="*/ 481 w 548"/>
                <a:gd name="T19" fmla="*/ 153 h 453"/>
                <a:gd name="T20" fmla="*/ 452 w 548"/>
                <a:gd name="T21" fmla="*/ 172 h 453"/>
                <a:gd name="T22" fmla="*/ 441 w 548"/>
                <a:gd name="T23" fmla="*/ 204 h 453"/>
                <a:gd name="T24" fmla="*/ 434 w 548"/>
                <a:gd name="T25" fmla="*/ 242 h 453"/>
                <a:gd name="T26" fmla="*/ 429 w 548"/>
                <a:gd name="T27" fmla="*/ 272 h 453"/>
                <a:gd name="T28" fmla="*/ 420 w 548"/>
                <a:gd name="T29" fmla="*/ 313 h 453"/>
                <a:gd name="T30" fmla="*/ 391 w 548"/>
                <a:gd name="T31" fmla="*/ 336 h 453"/>
                <a:gd name="T32" fmla="*/ 355 w 548"/>
                <a:gd name="T33" fmla="*/ 340 h 453"/>
                <a:gd name="T34" fmla="*/ 342 w 548"/>
                <a:gd name="T35" fmla="*/ 366 h 453"/>
                <a:gd name="T36" fmla="*/ 332 w 548"/>
                <a:gd name="T37" fmla="*/ 399 h 453"/>
                <a:gd name="T38" fmla="*/ 297 w 548"/>
                <a:gd name="T39" fmla="*/ 406 h 453"/>
                <a:gd name="T40" fmla="*/ 272 w 548"/>
                <a:gd name="T41" fmla="*/ 432 h 453"/>
                <a:gd name="T42" fmla="*/ 233 w 548"/>
                <a:gd name="T43" fmla="*/ 453 h 453"/>
                <a:gd name="T44" fmla="*/ 211 w 548"/>
                <a:gd name="T45" fmla="*/ 419 h 453"/>
                <a:gd name="T46" fmla="*/ 188 w 548"/>
                <a:gd name="T47" fmla="*/ 404 h 453"/>
                <a:gd name="T48" fmla="*/ 177 w 548"/>
                <a:gd name="T49" fmla="*/ 389 h 453"/>
                <a:gd name="T50" fmla="*/ 142 w 548"/>
                <a:gd name="T51" fmla="*/ 389 h 453"/>
                <a:gd name="T52" fmla="*/ 117 w 548"/>
                <a:gd name="T53" fmla="*/ 377 h 453"/>
                <a:gd name="T54" fmla="*/ 105 w 548"/>
                <a:gd name="T55" fmla="*/ 362 h 453"/>
                <a:gd name="T56" fmla="*/ 74 w 548"/>
                <a:gd name="T57" fmla="*/ 351 h 453"/>
                <a:gd name="T58" fmla="*/ 54 w 548"/>
                <a:gd name="T59" fmla="*/ 339 h 453"/>
                <a:gd name="T60" fmla="*/ 48 w 548"/>
                <a:gd name="T61" fmla="*/ 320 h 453"/>
                <a:gd name="T62" fmla="*/ 34 w 548"/>
                <a:gd name="T63" fmla="*/ 307 h 453"/>
                <a:gd name="T64" fmla="*/ 2 w 548"/>
                <a:gd name="T65" fmla="*/ 313 h 453"/>
                <a:gd name="T66" fmla="*/ 5 w 548"/>
                <a:gd name="T67" fmla="*/ 297 h 453"/>
                <a:gd name="T68" fmla="*/ 25 w 548"/>
                <a:gd name="T69" fmla="*/ 273 h 453"/>
                <a:gd name="T70" fmla="*/ 33 w 548"/>
                <a:gd name="T71" fmla="*/ 252 h 453"/>
                <a:gd name="T72" fmla="*/ 17 w 548"/>
                <a:gd name="T73" fmla="*/ 248 h 453"/>
                <a:gd name="T74" fmla="*/ 10 w 548"/>
                <a:gd name="T75" fmla="*/ 226 h 453"/>
                <a:gd name="T76" fmla="*/ 9 w 548"/>
                <a:gd name="T77" fmla="*/ 197 h 453"/>
                <a:gd name="T78" fmla="*/ 24 w 548"/>
                <a:gd name="T79" fmla="*/ 178 h 453"/>
                <a:gd name="T80" fmla="*/ 55 w 548"/>
                <a:gd name="T81" fmla="*/ 168 h 453"/>
                <a:gd name="T82" fmla="*/ 76 w 548"/>
                <a:gd name="T83" fmla="*/ 157 h 453"/>
                <a:gd name="T84" fmla="*/ 95 w 548"/>
                <a:gd name="T85" fmla="*/ 133 h 453"/>
                <a:gd name="T86" fmla="*/ 89 w 548"/>
                <a:gd name="T87" fmla="*/ 108 h 453"/>
                <a:gd name="T88" fmla="*/ 103 w 548"/>
                <a:gd name="T89" fmla="*/ 95 h 453"/>
                <a:gd name="T90" fmla="*/ 109 w 548"/>
                <a:gd name="T91" fmla="*/ 109 h 453"/>
                <a:gd name="T92" fmla="*/ 137 w 548"/>
                <a:gd name="T93" fmla="*/ 115 h 453"/>
                <a:gd name="T94" fmla="*/ 157 w 548"/>
                <a:gd name="T95" fmla="*/ 118 h 453"/>
                <a:gd name="T96" fmla="*/ 165 w 548"/>
                <a:gd name="T97" fmla="*/ 99 h 453"/>
                <a:gd name="T98" fmla="*/ 193 w 548"/>
                <a:gd name="T99" fmla="*/ 94 h 453"/>
                <a:gd name="T100" fmla="*/ 212 w 548"/>
                <a:gd name="T101" fmla="*/ 95 h 453"/>
                <a:gd name="T102" fmla="*/ 218 w 548"/>
                <a:gd name="T103" fmla="*/ 80 h 453"/>
                <a:gd name="T104" fmla="*/ 216 w 548"/>
                <a:gd name="T105" fmla="*/ 65 h 453"/>
                <a:gd name="T106" fmla="*/ 229 w 548"/>
                <a:gd name="T107" fmla="*/ 63 h 453"/>
                <a:gd name="T108" fmla="*/ 246 w 548"/>
                <a:gd name="T109" fmla="*/ 63 h 453"/>
                <a:gd name="T110" fmla="*/ 272 w 548"/>
                <a:gd name="T111" fmla="*/ 68 h 453"/>
                <a:gd name="T112" fmla="*/ 282 w 548"/>
                <a:gd name="T113" fmla="*/ 40 h 453"/>
                <a:gd name="T114" fmla="*/ 298 w 548"/>
                <a:gd name="T115" fmla="*/ 22 h 453"/>
                <a:gd name="T116" fmla="*/ 318 w 548"/>
                <a:gd name="T117" fmla="*/ 17 h 453"/>
                <a:gd name="T118" fmla="*/ 331 w 548"/>
                <a:gd name="T119" fmla="*/ 6 h 453"/>
                <a:gd name="T120" fmla="*/ 340 w 548"/>
                <a:gd name="T121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8" h="453">
                  <a:moveTo>
                    <a:pt x="341" y="0"/>
                  </a:moveTo>
                  <a:lnTo>
                    <a:pt x="343" y="0"/>
                  </a:lnTo>
                  <a:lnTo>
                    <a:pt x="345" y="0"/>
                  </a:lnTo>
                  <a:lnTo>
                    <a:pt x="348" y="1"/>
                  </a:lnTo>
                  <a:lnTo>
                    <a:pt x="350" y="2"/>
                  </a:lnTo>
                  <a:lnTo>
                    <a:pt x="352" y="2"/>
                  </a:lnTo>
                  <a:lnTo>
                    <a:pt x="354" y="3"/>
                  </a:lnTo>
                  <a:lnTo>
                    <a:pt x="356" y="4"/>
                  </a:lnTo>
                  <a:lnTo>
                    <a:pt x="358" y="5"/>
                  </a:lnTo>
                  <a:lnTo>
                    <a:pt x="359" y="6"/>
                  </a:lnTo>
                  <a:lnTo>
                    <a:pt x="361" y="8"/>
                  </a:lnTo>
                  <a:lnTo>
                    <a:pt x="362" y="9"/>
                  </a:lnTo>
                  <a:lnTo>
                    <a:pt x="363" y="10"/>
                  </a:lnTo>
                  <a:lnTo>
                    <a:pt x="363" y="11"/>
                  </a:lnTo>
                  <a:lnTo>
                    <a:pt x="366" y="15"/>
                  </a:lnTo>
                  <a:lnTo>
                    <a:pt x="366" y="16"/>
                  </a:lnTo>
                  <a:lnTo>
                    <a:pt x="367" y="17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9" y="19"/>
                  </a:lnTo>
                  <a:lnTo>
                    <a:pt x="370" y="19"/>
                  </a:lnTo>
                  <a:lnTo>
                    <a:pt x="371" y="20"/>
                  </a:lnTo>
                  <a:lnTo>
                    <a:pt x="373" y="20"/>
                  </a:lnTo>
                  <a:lnTo>
                    <a:pt x="374" y="20"/>
                  </a:lnTo>
                  <a:lnTo>
                    <a:pt x="375" y="20"/>
                  </a:lnTo>
                  <a:lnTo>
                    <a:pt x="377" y="19"/>
                  </a:lnTo>
                  <a:lnTo>
                    <a:pt x="380" y="19"/>
                  </a:lnTo>
                  <a:lnTo>
                    <a:pt x="390" y="16"/>
                  </a:lnTo>
                  <a:lnTo>
                    <a:pt x="395" y="14"/>
                  </a:lnTo>
                  <a:lnTo>
                    <a:pt x="398" y="13"/>
                  </a:lnTo>
                  <a:lnTo>
                    <a:pt x="404" y="12"/>
                  </a:lnTo>
                  <a:lnTo>
                    <a:pt x="408" y="12"/>
                  </a:lnTo>
                  <a:lnTo>
                    <a:pt x="412" y="11"/>
                  </a:lnTo>
                  <a:lnTo>
                    <a:pt x="417" y="11"/>
                  </a:lnTo>
                  <a:lnTo>
                    <a:pt x="420" y="11"/>
                  </a:lnTo>
                  <a:lnTo>
                    <a:pt x="421" y="12"/>
                  </a:lnTo>
                  <a:lnTo>
                    <a:pt x="422" y="12"/>
                  </a:lnTo>
                  <a:lnTo>
                    <a:pt x="427" y="13"/>
                  </a:lnTo>
                  <a:lnTo>
                    <a:pt x="428" y="13"/>
                  </a:lnTo>
                  <a:lnTo>
                    <a:pt x="430" y="14"/>
                  </a:lnTo>
                  <a:lnTo>
                    <a:pt x="434" y="14"/>
                  </a:lnTo>
                  <a:lnTo>
                    <a:pt x="436" y="14"/>
                  </a:lnTo>
                  <a:lnTo>
                    <a:pt x="438" y="14"/>
                  </a:lnTo>
                  <a:lnTo>
                    <a:pt x="439" y="15"/>
                  </a:lnTo>
                  <a:lnTo>
                    <a:pt x="441" y="16"/>
                  </a:lnTo>
                  <a:lnTo>
                    <a:pt x="442" y="17"/>
                  </a:lnTo>
                  <a:lnTo>
                    <a:pt x="444" y="18"/>
                  </a:lnTo>
                  <a:lnTo>
                    <a:pt x="449" y="22"/>
                  </a:lnTo>
                  <a:lnTo>
                    <a:pt x="451" y="23"/>
                  </a:lnTo>
                  <a:lnTo>
                    <a:pt x="452" y="24"/>
                  </a:lnTo>
                  <a:lnTo>
                    <a:pt x="454" y="24"/>
                  </a:lnTo>
                  <a:lnTo>
                    <a:pt x="456" y="25"/>
                  </a:lnTo>
                  <a:lnTo>
                    <a:pt x="457" y="26"/>
                  </a:lnTo>
                  <a:lnTo>
                    <a:pt x="459" y="26"/>
                  </a:lnTo>
                  <a:lnTo>
                    <a:pt x="467" y="28"/>
                  </a:lnTo>
                  <a:lnTo>
                    <a:pt x="469" y="28"/>
                  </a:lnTo>
                  <a:lnTo>
                    <a:pt x="473" y="29"/>
                  </a:lnTo>
                  <a:lnTo>
                    <a:pt x="475" y="29"/>
                  </a:lnTo>
                  <a:lnTo>
                    <a:pt x="476" y="29"/>
                  </a:lnTo>
                  <a:lnTo>
                    <a:pt x="477" y="29"/>
                  </a:lnTo>
                  <a:lnTo>
                    <a:pt x="479" y="28"/>
                  </a:lnTo>
                  <a:lnTo>
                    <a:pt x="480" y="28"/>
                  </a:lnTo>
                  <a:lnTo>
                    <a:pt x="485" y="27"/>
                  </a:lnTo>
                  <a:lnTo>
                    <a:pt x="487" y="27"/>
                  </a:lnTo>
                  <a:lnTo>
                    <a:pt x="487" y="27"/>
                  </a:lnTo>
                  <a:lnTo>
                    <a:pt x="489" y="27"/>
                  </a:lnTo>
                  <a:lnTo>
                    <a:pt x="490" y="27"/>
                  </a:lnTo>
                  <a:lnTo>
                    <a:pt x="491" y="27"/>
                  </a:lnTo>
                  <a:lnTo>
                    <a:pt x="493" y="28"/>
                  </a:lnTo>
                  <a:lnTo>
                    <a:pt x="495" y="28"/>
                  </a:lnTo>
                  <a:lnTo>
                    <a:pt x="496" y="29"/>
                  </a:lnTo>
                  <a:lnTo>
                    <a:pt x="497" y="30"/>
                  </a:lnTo>
                  <a:lnTo>
                    <a:pt x="498" y="31"/>
                  </a:lnTo>
                  <a:lnTo>
                    <a:pt x="499" y="33"/>
                  </a:lnTo>
                  <a:lnTo>
                    <a:pt x="499" y="34"/>
                  </a:lnTo>
                  <a:lnTo>
                    <a:pt x="502" y="39"/>
                  </a:lnTo>
                  <a:lnTo>
                    <a:pt x="504" y="41"/>
                  </a:lnTo>
                  <a:lnTo>
                    <a:pt x="505" y="43"/>
                  </a:lnTo>
                  <a:lnTo>
                    <a:pt x="506" y="44"/>
                  </a:lnTo>
                  <a:lnTo>
                    <a:pt x="507" y="46"/>
                  </a:lnTo>
                  <a:lnTo>
                    <a:pt x="508" y="47"/>
                  </a:lnTo>
                  <a:lnTo>
                    <a:pt x="509" y="48"/>
                  </a:lnTo>
                  <a:lnTo>
                    <a:pt x="511" y="49"/>
                  </a:lnTo>
                  <a:lnTo>
                    <a:pt x="518" y="54"/>
                  </a:lnTo>
                  <a:lnTo>
                    <a:pt x="520" y="56"/>
                  </a:lnTo>
                  <a:lnTo>
                    <a:pt x="521" y="57"/>
                  </a:lnTo>
                  <a:lnTo>
                    <a:pt x="522" y="57"/>
                  </a:lnTo>
                  <a:lnTo>
                    <a:pt x="523" y="59"/>
                  </a:lnTo>
                  <a:lnTo>
                    <a:pt x="526" y="63"/>
                  </a:lnTo>
                  <a:lnTo>
                    <a:pt x="527" y="64"/>
                  </a:lnTo>
                  <a:lnTo>
                    <a:pt x="527" y="65"/>
                  </a:lnTo>
                  <a:lnTo>
                    <a:pt x="528" y="66"/>
                  </a:lnTo>
                  <a:lnTo>
                    <a:pt x="529" y="67"/>
                  </a:lnTo>
                  <a:lnTo>
                    <a:pt x="531" y="73"/>
                  </a:lnTo>
                  <a:lnTo>
                    <a:pt x="532" y="75"/>
                  </a:lnTo>
                  <a:lnTo>
                    <a:pt x="532" y="76"/>
                  </a:lnTo>
                  <a:lnTo>
                    <a:pt x="533" y="77"/>
                  </a:lnTo>
                  <a:lnTo>
                    <a:pt x="534" y="78"/>
                  </a:lnTo>
                  <a:lnTo>
                    <a:pt x="534" y="79"/>
                  </a:lnTo>
                  <a:lnTo>
                    <a:pt x="535" y="80"/>
                  </a:lnTo>
                  <a:lnTo>
                    <a:pt x="536" y="81"/>
                  </a:lnTo>
                  <a:lnTo>
                    <a:pt x="538" y="82"/>
                  </a:lnTo>
                  <a:lnTo>
                    <a:pt x="539" y="83"/>
                  </a:lnTo>
                  <a:lnTo>
                    <a:pt x="541" y="84"/>
                  </a:lnTo>
                  <a:lnTo>
                    <a:pt x="542" y="84"/>
                  </a:lnTo>
                  <a:lnTo>
                    <a:pt x="544" y="85"/>
                  </a:lnTo>
                  <a:lnTo>
                    <a:pt x="544" y="85"/>
                  </a:lnTo>
                  <a:lnTo>
                    <a:pt x="545" y="85"/>
                  </a:lnTo>
                  <a:lnTo>
                    <a:pt x="545" y="86"/>
                  </a:lnTo>
                  <a:lnTo>
                    <a:pt x="546" y="87"/>
                  </a:lnTo>
                  <a:lnTo>
                    <a:pt x="547" y="90"/>
                  </a:lnTo>
                  <a:lnTo>
                    <a:pt x="547" y="93"/>
                  </a:lnTo>
                  <a:lnTo>
                    <a:pt x="548" y="95"/>
                  </a:lnTo>
                  <a:lnTo>
                    <a:pt x="548" y="97"/>
                  </a:lnTo>
                  <a:lnTo>
                    <a:pt x="548" y="99"/>
                  </a:lnTo>
                  <a:lnTo>
                    <a:pt x="548" y="102"/>
                  </a:lnTo>
                  <a:lnTo>
                    <a:pt x="548" y="104"/>
                  </a:lnTo>
                  <a:lnTo>
                    <a:pt x="547" y="107"/>
                  </a:lnTo>
                  <a:lnTo>
                    <a:pt x="547" y="109"/>
                  </a:lnTo>
                  <a:lnTo>
                    <a:pt x="546" y="111"/>
                  </a:lnTo>
                  <a:lnTo>
                    <a:pt x="545" y="114"/>
                  </a:lnTo>
                  <a:lnTo>
                    <a:pt x="544" y="116"/>
                  </a:lnTo>
                  <a:lnTo>
                    <a:pt x="543" y="117"/>
                  </a:lnTo>
                  <a:lnTo>
                    <a:pt x="542" y="119"/>
                  </a:lnTo>
                  <a:lnTo>
                    <a:pt x="538" y="124"/>
                  </a:lnTo>
                  <a:lnTo>
                    <a:pt x="536" y="126"/>
                  </a:lnTo>
                  <a:lnTo>
                    <a:pt x="535" y="128"/>
                  </a:lnTo>
                  <a:lnTo>
                    <a:pt x="533" y="130"/>
                  </a:lnTo>
                  <a:lnTo>
                    <a:pt x="531" y="131"/>
                  </a:lnTo>
                  <a:lnTo>
                    <a:pt x="529" y="132"/>
                  </a:lnTo>
                  <a:lnTo>
                    <a:pt x="527" y="133"/>
                  </a:lnTo>
                  <a:lnTo>
                    <a:pt x="523" y="135"/>
                  </a:lnTo>
                  <a:lnTo>
                    <a:pt x="515" y="139"/>
                  </a:lnTo>
                  <a:lnTo>
                    <a:pt x="507" y="143"/>
                  </a:lnTo>
                  <a:lnTo>
                    <a:pt x="503" y="145"/>
                  </a:lnTo>
                  <a:lnTo>
                    <a:pt x="500" y="147"/>
                  </a:lnTo>
                  <a:lnTo>
                    <a:pt x="497" y="148"/>
                  </a:lnTo>
                  <a:lnTo>
                    <a:pt x="489" y="151"/>
                  </a:lnTo>
                  <a:lnTo>
                    <a:pt x="484" y="152"/>
                  </a:lnTo>
                  <a:lnTo>
                    <a:pt x="481" y="153"/>
                  </a:lnTo>
                  <a:lnTo>
                    <a:pt x="479" y="154"/>
                  </a:lnTo>
                  <a:lnTo>
                    <a:pt x="471" y="156"/>
                  </a:lnTo>
                  <a:lnTo>
                    <a:pt x="467" y="157"/>
                  </a:lnTo>
                  <a:lnTo>
                    <a:pt x="465" y="157"/>
                  </a:lnTo>
                  <a:lnTo>
                    <a:pt x="463" y="158"/>
                  </a:lnTo>
                  <a:lnTo>
                    <a:pt x="462" y="159"/>
                  </a:lnTo>
                  <a:lnTo>
                    <a:pt x="461" y="159"/>
                  </a:lnTo>
                  <a:lnTo>
                    <a:pt x="459" y="160"/>
                  </a:lnTo>
                  <a:lnTo>
                    <a:pt x="458" y="161"/>
                  </a:lnTo>
                  <a:lnTo>
                    <a:pt x="457" y="162"/>
                  </a:lnTo>
                  <a:lnTo>
                    <a:pt x="456" y="163"/>
                  </a:lnTo>
                  <a:lnTo>
                    <a:pt x="455" y="165"/>
                  </a:lnTo>
                  <a:lnTo>
                    <a:pt x="452" y="170"/>
                  </a:lnTo>
                  <a:lnTo>
                    <a:pt x="452" y="172"/>
                  </a:lnTo>
                  <a:lnTo>
                    <a:pt x="450" y="174"/>
                  </a:lnTo>
                  <a:lnTo>
                    <a:pt x="446" y="179"/>
                  </a:lnTo>
                  <a:lnTo>
                    <a:pt x="445" y="182"/>
                  </a:lnTo>
                  <a:lnTo>
                    <a:pt x="443" y="184"/>
                  </a:lnTo>
                  <a:lnTo>
                    <a:pt x="442" y="186"/>
                  </a:lnTo>
                  <a:lnTo>
                    <a:pt x="441" y="188"/>
                  </a:lnTo>
                  <a:lnTo>
                    <a:pt x="441" y="190"/>
                  </a:lnTo>
                  <a:lnTo>
                    <a:pt x="441" y="192"/>
                  </a:lnTo>
                  <a:lnTo>
                    <a:pt x="441" y="195"/>
                  </a:lnTo>
                  <a:lnTo>
                    <a:pt x="441" y="197"/>
                  </a:lnTo>
                  <a:lnTo>
                    <a:pt x="441" y="198"/>
                  </a:lnTo>
                  <a:lnTo>
                    <a:pt x="441" y="201"/>
                  </a:lnTo>
                  <a:lnTo>
                    <a:pt x="441" y="203"/>
                  </a:lnTo>
                  <a:lnTo>
                    <a:pt x="441" y="204"/>
                  </a:lnTo>
                  <a:lnTo>
                    <a:pt x="441" y="206"/>
                  </a:lnTo>
                  <a:lnTo>
                    <a:pt x="441" y="207"/>
                  </a:lnTo>
                  <a:lnTo>
                    <a:pt x="440" y="212"/>
                  </a:lnTo>
                  <a:lnTo>
                    <a:pt x="440" y="214"/>
                  </a:lnTo>
                  <a:lnTo>
                    <a:pt x="439" y="216"/>
                  </a:lnTo>
                  <a:lnTo>
                    <a:pt x="438" y="219"/>
                  </a:lnTo>
                  <a:lnTo>
                    <a:pt x="436" y="225"/>
                  </a:lnTo>
                  <a:lnTo>
                    <a:pt x="436" y="226"/>
                  </a:lnTo>
                  <a:lnTo>
                    <a:pt x="435" y="228"/>
                  </a:lnTo>
                  <a:lnTo>
                    <a:pt x="435" y="230"/>
                  </a:lnTo>
                  <a:lnTo>
                    <a:pt x="435" y="233"/>
                  </a:lnTo>
                  <a:lnTo>
                    <a:pt x="434" y="235"/>
                  </a:lnTo>
                  <a:lnTo>
                    <a:pt x="434" y="241"/>
                  </a:lnTo>
                  <a:lnTo>
                    <a:pt x="434" y="242"/>
                  </a:lnTo>
                  <a:lnTo>
                    <a:pt x="433" y="244"/>
                  </a:lnTo>
                  <a:lnTo>
                    <a:pt x="433" y="245"/>
                  </a:lnTo>
                  <a:lnTo>
                    <a:pt x="433" y="246"/>
                  </a:lnTo>
                  <a:lnTo>
                    <a:pt x="431" y="251"/>
                  </a:lnTo>
                  <a:lnTo>
                    <a:pt x="430" y="253"/>
                  </a:lnTo>
                  <a:lnTo>
                    <a:pt x="429" y="258"/>
                  </a:lnTo>
                  <a:lnTo>
                    <a:pt x="428" y="259"/>
                  </a:lnTo>
                  <a:lnTo>
                    <a:pt x="428" y="260"/>
                  </a:lnTo>
                  <a:lnTo>
                    <a:pt x="428" y="262"/>
                  </a:lnTo>
                  <a:lnTo>
                    <a:pt x="428" y="264"/>
                  </a:lnTo>
                  <a:lnTo>
                    <a:pt x="428" y="265"/>
                  </a:lnTo>
                  <a:lnTo>
                    <a:pt x="429" y="269"/>
                  </a:lnTo>
                  <a:lnTo>
                    <a:pt x="429" y="271"/>
                  </a:lnTo>
                  <a:lnTo>
                    <a:pt x="429" y="272"/>
                  </a:lnTo>
                  <a:lnTo>
                    <a:pt x="429" y="273"/>
                  </a:lnTo>
                  <a:lnTo>
                    <a:pt x="429" y="278"/>
                  </a:lnTo>
                  <a:lnTo>
                    <a:pt x="428" y="285"/>
                  </a:lnTo>
                  <a:lnTo>
                    <a:pt x="428" y="287"/>
                  </a:lnTo>
                  <a:lnTo>
                    <a:pt x="428" y="289"/>
                  </a:lnTo>
                  <a:lnTo>
                    <a:pt x="428" y="292"/>
                  </a:lnTo>
                  <a:lnTo>
                    <a:pt x="427" y="293"/>
                  </a:lnTo>
                  <a:lnTo>
                    <a:pt x="427" y="295"/>
                  </a:lnTo>
                  <a:lnTo>
                    <a:pt x="426" y="297"/>
                  </a:lnTo>
                  <a:lnTo>
                    <a:pt x="425" y="299"/>
                  </a:lnTo>
                  <a:lnTo>
                    <a:pt x="424" y="303"/>
                  </a:lnTo>
                  <a:lnTo>
                    <a:pt x="422" y="308"/>
                  </a:lnTo>
                  <a:lnTo>
                    <a:pt x="420" y="312"/>
                  </a:lnTo>
                  <a:lnTo>
                    <a:pt x="420" y="313"/>
                  </a:lnTo>
                  <a:lnTo>
                    <a:pt x="418" y="315"/>
                  </a:lnTo>
                  <a:lnTo>
                    <a:pt x="416" y="319"/>
                  </a:lnTo>
                  <a:lnTo>
                    <a:pt x="415" y="322"/>
                  </a:lnTo>
                  <a:lnTo>
                    <a:pt x="413" y="324"/>
                  </a:lnTo>
                  <a:lnTo>
                    <a:pt x="411" y="326"/>
                  </a:lnTo>
                  <a:lnTo>
                    <a:pt x="409" y="327"/>
                  </a:lnTo>
                  <a:lnTo>
                    <a:pt x="407" y="329"/>
                  </a:lnTo>
                  <a:lnTo>
                    <a:pt x="405" y="331"/>
                  </a:lnTo>
                  <a:lnTo>
                    <a:pt x="403" y="332"/>
                  </a:lnTo>
                  <a:lnTo>
                    <a:pt x="399" y="333"/>
                  </a:lnTo>
                  <a:lnTo>
                    <a:pt x="397" y="334"/>
                  </a:lnTo>
                  <a:lnTo>
                    <a:pt x="393" y="335"/>
                  </a:lnTo>
                  <a:lnTo>
                    <a:pt x="392" y="335"/>
                  </a:lnTo>
                  <a:lnTo>
                    <a:pt x="391" y="336"/>
                  </a:lnTo>
                  <a:lnTo>
                    <a:pt x="389" y="336"/>
                  </a:lnTo>
                  <a:lnTo>
                    <a:pt x="388" y="336"/>
                  </a:lnTo>
                  <a:lnTo>
                    <a:pt x="385" y="336"/>
                  </a:lnTo>
                  <a:lnTo>
                    <a:pt x="379" y="336"/>
                  </a:lnTo>
                  <a:lnTo>
                    <a:pt x="376" y="336"/>
                  </a:lnTo>
                  <a:lnTo>
                    <a:pt x="375" y="336"/>
                  </a:lnTo>
                  <a:lnTo>
                    <a:pt x="367" y="337"/>
                  </a:lnTo>
                  <a:lnTo>
                    <a:pt x="364" y="337"/>
                  </a:lnTo>
                  <a:lnTo>
                    <a:pt x="362" y="337"/>
                  </a:lnTo>
                  <a:lnTo>
                    <a:pt x="360" y="338"/>
                  </a:lnTo>
                  <a:lnTo>
                    <a:pt x="358" y="338"/>
                  </a:lnTo>
                  <a:lnTo>
                    <a:pt x="357" y="339"/>
                  </a:lnTo>
                  <a:lnTo>
                    <a:pt x="356" y="339"/>
                  </a:lnTo>
                  <a:lnTo>
                    <a:pt x="355" y="340"/>
                  </a:lnTo>
                  <a:lnTo>
                    <a:pt x="354" y="340"/>
                  </a:lnTo>
                  <a:lnTo>
                    <a:pt x="352" y="341"/>
                  </a:lnTo>
                  <a:lnTo>
                    <a:pt x="351" y="342"/>
                  </a:lnTo>
                  <a:lnTo>
                    <a:pt x="350" y="343"/>
                  </a:lnTo>
                  <a:lnTo>
                    <a:pt x="349" y="344"/>
                  </a:lnTo>
                  <a:lnTo>
                    <a:pt x="349" y="345"/>
                  </a:lnTo>
                  <a:lnTo>
                    <a:pt x="348" y="346"/>
                  </a:lnTo>
                  <a:lnTo>
                    <a:pt x="347" y="347"/>
                  </a:lnTo>
                  <a:lnTo>
                    <a:pt x="347" y="349"/>
                  </a:lnTo>
                  <a:lnTo>
                    <a:pt x="346" y="350"/>
                  </a:lnTo>
                  <a:lnTo>
                    <a:pt x="345" y="353"/>
                  </a:lnTo>
                  <a:lnTo>
                    <a:pt x="344" y="358"/>
                  </a:lnTo>
                  <a:lnTo>
                    <a:pt x="343" y="363"/>
                  </a:lnTo>
                  <a:lnTo>
                    <a:pt x="342" y="366"/>
                  </a:lnTo>
                  <a:lnTo>
                    <a:pt x="342" y="368"/>
                  </a:lnTo>
                  <a:lnTo>
                    <a:pt x="341" y="370"/>
                  </a:lnTo>
                  <a:lnTo>
                    <a:pt x="340" y="377"/>
                  </a:lnTo>
                  <a:lnTo>
                    <a:pt x="340" y="379"/>
                  </a:lnTo>
                  <a:lnTo>
                    <a:pt x="339" y="382"/>
                  </a:lnTo>
                  <a:lnTo>
                    <a:pt x="339" y="385"/>
                  </a:lnTo>
                  <a:lnTo>
                    <a:pt x="338" y="387"/>
                  </a:lnTo>
                  <a:lnTo>
                    <a:pt x="337" y="390"/>
                  </a:lnTo>
                  <a:lnTo>
                    <a:pt x="336" y="392"/>
                  </a:lnTo>
                  <a:lnTo>
                    <a:pt x="335" y="394"/>
                  </a:lnTo>
                  <a:lnTo>
                    <a:pt x="334" y="396"/>
                  </a:lnTo>
                  <a:lnTo>
                    <a:pt x="334" y="397"/>
                  </a:lnTo>
                  <a:lnTo>
                    <a:pt x="333" y="398"/>
                  </a:lnTo>
                  <a:lnTo>
                    <a:pt x="332" y="399"/>
                  </a:lnTo>
                  <a:lnTo>
                    <a:pt x="331" y="400"/>
                  </a:lnTo>
                  <a:lnTo>
                    <a:pt x="330" y="400"/>
                  </a:lnTo>
                  <a:lnTo>
                    <a:pt x="329" y="401"/>
                  </a:lnTo>
                  <a:lnTo>
                    <a:pt x="328" y="402"/>
                  </a:lnTo>
                  <a:lnTo>
                    <a:pt x="327" y="402"/>
                  </a:lnTo>
                  <a:lnTo>
                    <a:pt x="326" y="402"/>
                  </a:lnTo>
                  <a:lnTo>
                    <a:pt x="324" y="403"/>
                  </a:lnTo>
                  <a:lnTo>
                    <a:pt x="323" y="403"/>
                  </a:lnTo>
                  <a:lnTo>
                    <a:pt x="310" y="403"/>
                  </a:lnTo>
                  <a:lnTo>
                    <a:pt x="307" y="404"/>
                  </a:lnTo>
                  <a:lnTo>
                    <a:pt x="305" y="404"/>
                  </a:lnTo>
                  <a:lnTo>
                    <a:pt x="301" y="405"/>
                  </a:lnTo>
                  <a:lnTo>
                    <a:pt x="298" y="405"/>
                  </a:lnTo>
                  <a:lnTo>
                    <a:pt x="297" y="406"/>
                  </a:lnTo>
                  <a:lnTo>
                    <a:pt x="296" y="406"/>
                  </a:lnTo>
                  <a:lnTo>
                    <a:pt x="294" y="407"/>
                  </a:lnTo>
                  <a:lnTo>
                    <a:pt x="293" y="407"/>
                  </a:lnTo>
                  <a:lnTo>
                    <a:pt x="293" y="407"/>
                  </a:lnTo>
                  <a:lnTo>
                    <a:pt x="292" y="408"/>
                  </a:lnTo>
                  <a:lnTo>
                    <a:pt x="290" y="409"/>
                  </a:lnTo>
                  <a:lnTo>
                    <a:pt x="286" y="414"/>
                  </a:lnTo>
                  <a:lnTo>
                    <a:pt x="283" y="416"/>
                  </a:lnTo>
                  <a:lnTo>
                    <a:pt x="281" y="419"/>
                  </a:lnTo>
                  <a:lnTo>
                    <a:pt x="279" y="421"/>
                  </a:lnTo>
                  <a:lnTo>
                    <a:pt x="278" y="423"/>
                  </a:lnTo>
                  <a:lnTo>
                    <a:pt x="275" y="427"/>
                  </a:lnTo>
                  <a:lnTo>
                    <a:pt x="272" y="431"/>
                  </a:lnTo>
                  <a:lnTo>
                    <a:pt x="272" y="432"/>
                  </a:lnTo>
                  <a:lnTo>
                    <a:pt x="270" y="434"/>
                  </a:lnTo>
                  <a:lnTo>
                    <a:pt x="268" y="436"/>
                  </a:lnTo>
                  <a:lnTo>
                    <a:pt x="264" y="440"/>
                  </a:lnTo>
                  <a:lnTo>
                    <a:pt x="262" y="442"/>
                  </a:lnTo>
                  <a:lnTo>
                    <a:pt x="260" y="444"/>
                  </a:lnTo>
                  <a:lnTo>
                    <a:pt x="258" y="445"/>
                  </a:lnTo>
                  <a:lnTo>
                    <a:pt x="256" y="447"/>
                  </a:lnTo>
                  <a:lnTo>
                    <a:pt x="254" y="448"/>
                  </a:lnTo>
                  <a:lnTo>
                    <a:pt x="251" y="449"/>
                  </a:lnTo>
                  <a:lnTo>
                    <a:pt x="245" y="451"/>
                  </a:lnTo>
                  <a:lnTo>
                    <a:pt x="240" y="452"/>
                  </a:lnTo>
                  <a:lnTo>
                    <a:pt x="237" y="453"/>
                  </a:lnTo>
                  <a:lnTo>
                    <a:pt x="234" y="453"/>
                  </a:lnTo>
                  <a:lnTo>
                    <a:pt x="233" y="453"/>
                  </a:lnTo>
                  <a:lnTo>
                    <a:pt x="233" y="453"/>
                  </a:lnTo>
                  <a:lnTo>
                    <a:pt x="232" y="451"/>
                  </a:lnTo>
                  <a:lnTo>
                    <a:pt x="231" y="449"/>
                  </a:lnTo>
                  <a:lnTo>
                    <a:pt x="230" y="444"/>
                  </a:lnTo>
                  <a:lnTo>
                    <a:pt x="229" y="442"/>
                  </a:lnTo>
                  <a:lnTo>
                    <a:pt x="228" y="441"/>
                  </a:lnTo>
                  <a:lnTo>
                    <a:pt x="227" y="439"/>
                  </a:lnTo>
                  <a:lnTo>
                    <a:pt x="224" y="435"/>
                  </a:lnTo>
                  <a:lnTo>
                    <a:pt x="219" y="428"/>
                  </a:lnTo>
                  <a:lnTo>
                    <a:pt x="217" y="426"/>
                  </a:lnTo>
                  <a:lnTo>
                    <a:pt x="216" y="424"/>
                  </a:lnTo>
                  <a:lnTo>
                    <a:pt x="214" y="422"/>
                  </a:lnTo>
                  <a:lnTo>
                    <a:pt x="213" y="421"/>
                  </a:lnTo>
                  <a:lnTo>
                    <a:pt x="211" y="419"/>
                  </a:lnTo>
                  <a:lnTo>
                    <a:pt x="209" y="418"/>
                  </a:lnTo>
                  <a:lnTo>
                    <a:pt x="208" y="417"/>
                  </a:lnTo>
                  <a:lnTo>
                    <a:pt x="198" y="413"/>
                  </a:lnTo>
                  <a:lnTo>
                    <a:pt x="196" y="412"/>
                  </a:lnTo>
                  <a:lnTo>
                    <a:pt x="193" y="411"/>
                  </a:lnTo>
                  <a:lnTo>
                    <a:pt x="192" y="410"/>
                  </a:lnTo>
                  <a:lnTo>
                    <a:pt x="191" y="410"/>
                  </a:lnTo>
                  <a:lnTo>
                    <a:pt x="190" y="409"/>
                  </a:lnTo>
                  <a:lnTo>
                    <a:pt x="190" y="409"/>
                  </a:lnTo>
                  <a:lnTo>
                    <a:pt x="189" y="408"/>
                  </a:lnTo>
                  <a:lnTo>
                    <a:pt x="189" y="407"/>
                  </a:lnTo>
                  <a:lnTo>
                    <a:pt x="188" y="406"/>
                  </a:lnTo>
                  <a:lnTo>
                    <a:pt x="188" y="406"/>
                  </a:lnTo>
                  <a:lnTo>
                    <a:pt x="188" y="404"/>
                  </a:lnTo>
                  <a:lnTo>
                    <a:pt x="188" y="401"/>
                  </a:lnTo>
                  <a:lnTo>
                    <a:pt x="187" y="399"/>
                  </a:lnTo>
                  <a:lnTo>
                    <a:pt x="187" y="398"/>
                  </a:lnTo>
                  <a:lnTo>
                    <a:pt x="187" y="397"/>
                  </a:lnTo>
                  <a:lnTo>
                    <a:pt x="186" y="397"/>
                  </a:lnTo>
                  <a:lnTo>
                    <a:pt x="186" y="396"/>
                  </a:lnTo>
                  <a:lnTo>
                    <a:pt x="186" y="395"/>
                  </a:lnTo>
                  <a:lnTo>
                    <a:pt x="185" y="394"/>
                  </a:lnTo>
                  <a:lnTo>
                    <a:pt x="184" y="394"/>
                  </a:lnTo>
                  <a:lnTo>
                    <a:pt x="183" y="393"/>
                  </a:lnTo>
                  <a:lnTo>
                    <a:pt x="181" y="391"/>
                  </a:lnTo>
                  <a:lnTo>
                    <a:pt x="180" y="390"/>
                  </a:lnTo>
                  <a:lnTo>
                    <a:pt x="178" y="390"/>
                  </a:lnTo>
                  <a:lnTo>
                    <a:pt x="177" y="389"/>
                  </a:lnTo>
                  <a:lnTo>
                    <a:pt x="173" y="388"/>
                  </a:lnTo>
                  <a:lnTo>
                    <a:pt x="170" y="387"/>
                  </a:lnTo>
                  <a:lnTo>
                    <a:pt x="169" y="386"/>
                  </a:lnTo>
                  <a:lnTo>
                    <a:pt x="168" y="386"/>
                  </a:lnTo>
                  <a:lnTo>
                    <a:pt x="167" y="386"/>
                  </a:lnTo>
                  <a:lnTo>
                    <a:pt x="166" y="386"/>
                  </a:lnTo>
                  <a:lnTo>
                    <a:pt x="165" y="386"/>
                  </a:lnTo>
                  <a:lnTo>
                    <a:pt x="160" y="387"/>
                  </a:lnTo>
                  <a:lnTo>
                    <a:pt x="156" y="387"/>
                  </a:lnTo>
                  <a:lnTo>
                    <a:pt x="154" y="387"/>
                  </a:lnTo>
                  <a:lnTo>
                    <a:pt x="151" y="388"/>
                  </a:lnTo>
                  <a:lnTo>
                    <a:pt x="146" y="389"/>
                  </a:lnTo>
                  <a:lnTo>
                    <a:pt x="144" y="389"/>
                  </a:lnTo>
                  <a:lnTo>
                    <a:pt x="142" y="389"/>
                  </a:lnTo>
                  <a:lnTo>
                    <a:pt x="141" y="389"/>
                  </a:lnTo>
                  <a:lnTo>
                    <a:pt x="140" y="389"/>
                  </a:lnTo>
                  <a:lnTo>
                    <a:pt x="139" y="389"/>
                  </a:lnTo>
                  <a:lnTo>
                    <a:pt x="138" y="389"/>
                  </a:lnTo>
                  <a:lnTo>
                    <a:pt x="136" y="388"/>
                  </a:lnTo>
                  <a:lnTo>
                    <a:pt x="135" y="387"/>
                  </a:lnTo>
                  <a:lnTo>
                    <a:pt x="133" y="386"/>
                  </a:lnTo>
                  <a:lnTo>
                    <a:pt x="131" y="385"/>
                  </a:lnTo>
                  <a:lnTo>
                    <a:pt x="123" y="379"/>
                  </a:lnTo>
                  <a:lnTo>
                    <a:pt x="122" y="378"/>
                  </a:lnTo>
                  <a:lnTo>
                    <a:pt x="121" y="378"/>
                  </a:lnTo>
                  <a:lnTo>
                    <a:pt x="120" y="377"/>
                  </a:lnTo>
                  <a:lnTo>
                    <a:pt x="118" y="377"/>
                  </a:lnTo>
                  <a:lnTo>
                    <a:pt x="117" y="377"/>
                  </a:lnTo>
                  <a:lnTo>
                    <a:pt x="114" y="376"/>
                  </a:lnTo>
                  <a:lnTo>
                    <a:pt x="112" y="376"/>
                  </a:lnTo>
                  <a:lnTo>
                    <a:pt x="110" y="376"/>
                  </a:lnTo>
                  <a:lnTo>
                    <a:pt x="109" y="375"/>
                  </a:lnTo>
                  <a:lnTo>
                    <a:pt x="108" y="375"/>
                  </a:lnTo>
                  <a:lnTo>
                    <a:pt x="108" y="374"/>
                  </a:lnTo>
                  <a:lnTo>
                    <a:pt x="107" y="374"/>
                  </a:lnTo>
                  <a:lnTo>
                    <a:pt x="107" y="373"/>
                  </a:lnTo>
                  <a:lnTo>
                    <a:pt x="106" y="372"/>
                  </a:lnTo>
                  <a:lnTo>
                    <a:pt x="106" y="371"/>
                  </a:lnTo>
                  <a:lnTo>
                    <a:pt x="106" y="370"/>
                  </a:lnTo>
                  <a:lnTo>
                    <a:pt x="105" y="366"/>
                  </a:lnTo>
                  <a:lnTo>
                    <a:pt x="105" y="364"/>
                  </a:lnTo>
                  <a:lnTo>
                    <a:pt x="105" y="362"/>
                  </a:lnTo>
                  <a:lnTo>
                    <a:pt x="104" y="361"/>
                  </a:lnTo>
                  <a:lnTo>
                    <a:pt x="104" y="360"/>
                  </a:lnTo>
                  <a:lnTo>
                    <a:pt x="103" y="360"/>
                  </a:lnTo>
                  <a:lnTo>
                    <a:pt x="102" y="358"/>
                  </a:lnTo>
                  <a:lnTo>
                    <a:pt x="101" y="357"/>
                  </a:lnTo>
                  <a:lnTo>
                    <a:pt x="99" y="356"/>
                  </a:lnTo>
                  <a:lnTo>
                    <a:pt x="98" y="355"/>
                  </a:lnTo>
                  <a:lnTo>
                    <a:pt x="97" y="355"/>
                  </a:lnTo>
                  <a:lnTo>
                    <a:pt x="95" y="354"/>
                  </a:lnTo>
                  <a:lnTo>
                    <a:pt x="94" y="354"/>
                  </a:lnTo>
                  <a:lnTo>
                    <a:pt x="87" y="353"/>
                  </a:lnTo>
                  <a:lnTo>
                    <a:pt x="83" y="352"/>
                  </a:lnTo>
                  <a:lnTo>
                    <a:pt x="75" y="351"/>
                  </a:lnTo>
                  <a:lnTo>
                    <a:pt x="74" y="351"/>
                  </a:lnTo>
                  <a:lnTo>
                    <a:pt x="73" y="351"/>
                  </a:lnTo>
                  <a:lnTo>
                    <a:pt x="71" y="350"/>
                  </a:lnTo>
                  <a:lnTo>
                    <a:pt x="71" y="349"/>
                  </a:lnTo>
                  <a:lnTo>
                    <a:pt x="70" y="349"/>
                  </a:lnTo>
                  <a:lnTo>
                    <a:pt x="68" y="347"/>
                  </a:lnTo>
                  <a:lnTo>
                    <a:pt x="66" y="345"/>
                  </a:lnTo>
                  <a:lnTo>
                    <a:pt x="65" y="344"/>
                  </a:lnTo>
                  <a:lnTo>
                    <a:pt x="64" y="343"/>
                  </a:lnTo>
                  <a:lnTo>
                    <a:pt x="63" y="343"/>
                  </a:lnTo>
                  <a:lnTo>
                    <a:pt x="60" y="342"/>
                  </a:lnTo>
                  <a:lnTo>
                    <a:pt x="58" y="341"/>
                  </a:lnTo>
                  <a:lnTo>
                    <a:pt x="57" y="340"/>
                  </a:lnTo>
                  <a:lnTo>
                    <a:pt x="56" y="340"/>
                  </a:lnTo>
                  <a:lnTo>
                    <a:pt x="54" y="339"/>
                  </a:lnTo>
                  <a:lnTo>
                    <a:pt x="50" y="338"/>
                  </a:lnTo>
                  <a:lnTo>
                    <a:pt x="50" y="338"/>
                  </a:lnTo>
                  <a:lnTo>
                    <a:pt x="49" y="338"/>
                  </a:lnTo>
                  <a:lnTo>
                    <a:pt x="49" y="337"/>
                  </a:lnTo>
                  <a:lnTo>
                    <a:pt x="48" y="336"/>
                  </a:lnTo>
                  <a:lnTo>
                    <a:pt x="48" y="336"/>
                  </a:lnTo>
                  <a:lnTo>
                    <a:pt x="48" y="335"/>
                  </a:lnTo>
                  <a:lnTo>
                    <a:pt x="48" y="334"/>
                  </a:lnTo>
                  <a:lnTo>
                    <a:pt x="48" y="332"/>
                  </a:lnTo>
                  <a:lnTo>
                    <a:pt x="48" y="327"/>
                  </a:lnTo>
                  <a:lnTo>
                    <a:pt x="48" y="324"/>
                  </a:lnTo>
                  <a:lnTo>
                    <a:pt x="48" y="323"/>
                  </a:lnTo>
                  <a:lnTo>
                    <a:pt x="48" y="321"/>
                  </a:lnTo>
                  <a:lnTo>
                    <a:pt x="48" y="320"/>
                  </a:lnTo>
                  <a:lnTo>
                    <a:pt x="47" y="318"/>
                  </a:lnTo>
                  <a:lnTo>
                    <a:pt x="47" y="316"/>
                  </a:lnTo>
                  <a:lnTo>
                    <a:pt x="46" y="315"/>
                  </a:lnTo>
                  <a:lnTo>
                    <a:pt x="44" y="313"/>
                  </a:lnTo>
                  <a:lnTo>
                    <a:pt x="43" y="310"/>
                  </a:lnTo>
                  <a:lnTo>
                    <a:pt x="42" y="309"/>
                  </a:lnTo>
                  <a:lnTo>
                    <a:pt x="41" y="308"/>
                  </a:lnTo>
                  <a:lnTo>
                    <a:pt x="40" y="308"/>
                  </a:lnTo>
                  <a:lnTo>
                    <a:pt x="39" y="307"/>
                  </a:lnTo>
                  <a:lnTo>
                    <a:pt x="39" y="307"/>
                  </a:lnTo>
                  <a:lnTo>
                    <a:pt x="38" y="307"/>
                  </a:lnTo>
                  <a:lnTo>
                    <a:pt x="36" y="307"/>
                  </a:lnTo>
                  <a:lnTo>
                    <a:pt x="35" y="307"/>
                  </a:lnTo>
                  <a:lnTo>
                    <a:pt x="34" y="307"/>
                  </a:lnTo>
                  <a:lnTo>
                    <a:pt x="33" y="307"/>
                  </a:lnTo>
                  <a:lnTo>
                    <a:pt x="30" y="308"/>
                  </a:lnTo>
                  <a:lnTo>
                    <a:pt x="28" y="309"/>
                  </a:lnTo>
                  <a:lnTo>
                    <a:pt x="18" y="312"/>
                  </a:lnTo>
                  <a:lnTo>
                    <a:pt x="14" y="313"/>
                  </a:lnTo>
                  <a:lnTo>
                    <a:pt x="12" y="314"/>
                  </a:lnTo>
                  <a:lnTo>
                    <a:pt x="11" y="314"/>
                  </a:lnTo>
                  <a:lnTo>
                    <a:pt x="9" y="314"/>
                  </a:lnTo>
                  <a:lnTo>
                    <a:pt x="7" y="315"/>
                  </a:lnTo>
                  <a:lnTo>
                    <a:pt x="6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3" y="314"/>
                  </a:lnTo>
                  <a:lnTo>
                    <a:pt x="2" y="313"/>
                  </a:lnTo>
                  <a:lnTo>
                    <a:pt x="1" y="313"/>
                  </a:lnTo>
                  <a:lnTo>
                    <a:pt x="1" y="312"/>
                  </a:lnTo>
                  <a:lnTo>
                    <a:pt x="1" y="312"/>
                  </a:lnTo>
                  <a:lnTo>
                    <a:pt x="0" y="310"/>
                  </a:lnTo>
                  <a:lnTo>
                    <a:pt x="0" y="308"/>
                  </a:lnTo>
                  <a:lnTo>
                    <a:pt x="0" y="306"/>
                  </a:lnTo>
                  <a:lnTo>
                    <a:pt x="0" y="305"/>
                  </a:lnTo>
                  <a:lnTo>
                    <a:pt x="0" y="303"/>
                  </a:lnTo>
                  <a:lnTo>
                    <a:pt x="0" y="302"/>
                  </a:lnTo>
                  <a:lnTo>
                    <a:pt x="1" y="301"/>
                  </a:lnTo>
                  <a:lnTo>
                    <a:pt x="1" y="300"/>
                  </a:lnTo>
                  <a:lnTo>
                    <a:pt x="2" y="299"/>
                  </a:lnTo>
                  <a:lnTo>
                    <a:pt x="3" y="299"/>
                  </a:lnTo>
                  <a:lnTo>
                    <a:pt x="5" y="297"/>
                  </a:lnTo>
                  <a:lnTo>
                    <a:pt x="6" y="296"/>
                  </a:lnTo>
                  <a:lnTo>
                    <a:pt x="7" y="295"/>
                  </a:lnTo>
                  <a:lnTo>
                    <a:pt x="8" y="294"/>
                  </a:lnTo>
                  <a:lnTo>
                    <a:pt x="8" y="293"/>
                  </a:lnTo>
                  <a:lnTo>
                    <a:pt x="10" y="291"/>
                  </a:lnTo>
                  <a:lnTo>
                    <a:pt x="12" y="285"/>
                  </a:lnTo>
                  <a:lnTo>
                    <a:pt x="13" y="284"/>
                  </a:lnTo>
                  <a:lnTo>
                    <a:pt x="14" y="282"/>
                  </a:lnTo>
                  <a:lnTo>
                    <a:pt x="15" y="280"/>
                  </a:lnTo>
                  <a:lnTo>
                    <a:pt x="16" y="279"/>
                  </a:lnTo>
                  <a:lnTo>
                    <a:pt x="18" y="278"/>
                  </a:lnTo>
                  <a:lnTo>
                    <a:pt x="19" y="277"/>
                  </a:lnTo>
                  <a:lnTo>
                    <a:pt x="22" y="276"/>
                  </a:lnTo>
                  <a:lnTo>
                    <a:pt x="25" y="273"/>
                  </a:lnTo>
                  <a:lnTo>
                    <a:pt x="27" y="271"/>
                  </a:lnTo>
                  <a:lnTo>
                    <a:pt x="28" y="271"/>
                  </a:lnTo>
                  <a:lnTo>
                    <a:pt x="28" y="270"/>
                  </a:lnTo>
                  <a:lnTo>
                    <a:pt x="29" y="269"/>
                  </a:lnTo>
                  <a:lnTo>
                    <a:pt x="30" y="267"/>
                  </a:lnTo>
                  <a:lnTo>
                    <a:pt x="31" y="266"/>
                  </a:lnTo>
                  <a:lnTo>
                    <a:pt x="31" y="264"/>
                  </a:lnTo>
                  <a:lnTo>
                    <a:pt x="32" y="262"/>
                  </a:lnTo>
                  <a:lnTo>
                    <a:pt x="33" y="260"/>
                  </a:lnTo>
                  <a:lnTo>
                    <a:pt x="33" y="258"/>
                  </a:lnTo>
                  <a:lnTo>
                    <a:pt x="33" y="256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2"/>
                  </a:lnTo>
                  <a:lnTo>
                    <a:pt x="33" y="251"/>
                  </a:lnTo>
                  <a:lnTo>
                    <a:pt x="33" y="250"/>
                  </a:lnTo>
                  <a:lnTo>
                    <a:pt x="32" y="250"/>
                  </a:lnTo>
                  <a:lnTo>
                    <a:pt x="32" y="249"/>
                  </a:lnTo>
                  <a:lnTo>
                    <a:pt x="31" y="249"/>
                  </a:lnTo>
                  <a:lnTo>
                    <a:pt x="30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6" y="249"/>
                  </a:lnTo>
                  <a:lnTo>
                    <a:pt x="25" y="249"/>
                  </a:lnTo>
                  <a:lnTo>
                    <a:pt x="21" y="249"/>
                  </a:lnTo>
                  <a:lnTo>
                    <a:pt x="19" y="249"/>
                  </a:lnTo>
                  <a:lnTo>
                    <a:pt x="18" y="249"/>
                  </a:lnTo>
                  <a:lnTo>
                    <a:pt x="17" y="248"/>
                  </a:lnTo>
                  <a:lnTo>
                    <a:pt x="16" y="248"/>
                  </a:lnTo>
                  <a:lnTo>
                    <a:pt x="16" y="248"/>
                  </a:lnTo>
                  <a:lnTo>
                    <a:pt x="16" y="247"/>
                  </a:lnTo>
                  <a:lnTo>
                    <a:pt x="16" y="247"/>
                  </a:lnTo>
                  <a:lnTo>
                    <a:pt x="15" y="246"/>
                  </a:lnTo>
                  <a:lnTo>
                    <a:pt x="15" y="245"/>
                  </a:lnTo>
                  <a:lnTo>
                    <a:pt x="15" y="242"/>
                  </a:lnTo>
                  <a:lnTo>
                    <a:pt x="15" y="241"/>
                  </a:lnTo>
                  <a:lnTo>
                    <a:pt x="15" y="240"/>
                  </a:lnTo>
                  <a:lnTo>
                    <a:pt x="15" y="239"/>
                  </a:lnTo>
                  <a:lnTo>
                    <a:pt x="15" y="238"/>
                  </a:lnTo>
                  <a:lnTo>
                    <a:pt x="13" y="234"/>
                  </a:lnTo>
                  <a:lnTo>
                    <a:pt x="10" y="228"/>
                  </a:lnTo>
                  <a:lnTo>
                    <a:pt x="10" y="226"/>
                  </a:lnTo>
                  <a:lnTo>
                    <a:pt x="9" y="224"/>
                  </a:lnTo>
                  <a:lnTo>
                    <a:pt x="9" y="223"/>
                  </a:lnTo>
                  <a:lnTo>
                    <a:pt x="9" y="221"/>
                  </a:lnTo>
                  <a:lnTo>
                    <a:pt x="8" y="216"/>
                  </a:lnTo>
                  <a:lnTo>
                    <a:pt x="8" y="214"/>
                  </a:lnTo>
                  <a:lnTo>
                    <a:pt x="8" y="212"/>
                  </a:lnTo>
                  <a:lnTo>
                    <a:pt x="7" y="208"/>
                  </a:lnTo>
                  <a:lnTo>
                    <a:pt x="7" y="207"/>
                  </a:lnTo>
                  <a:lnTo>
                    <a:pt x="6" y="205"/>
                  </a:lnTo>
                  <a:lnTo>
                    <a:pt x="7" y="203"/>
                  </a:lnTo>
                  <a:lnTo>
                    <a:pt x="7" y="201"/>
                  </a:lnTo>
                  <a:lnTo>
                    <a:pt x="7" y="200"/>
                  </a:lnTo>
                  <a:lnTo>
                    <a:pt x="8" y="199"/>
                  </a:lnTo>
                  <a:lnTo>
                    <a:pt x="9" y="197"/>
                  </a:lnTo>
                  <a:lnTo>
                    <a:pt x="10" y="194"/>
                  </a:lnTo>
                  <a:lnTo>
                    <a:pt x="15" y="184"/>
                  </a:lnTo>
                  <a:lnTo>
                    <a:pt x="15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7" y="185"/>
                  </a:lnTo>
                  <a:lnTo>
                    <a:pt x="17" y="185"/>
                  </a:lnTo>
                  <a:lnTo>
                    <a:pt x="18" y="185"/>
                  </a:lnTo>
                  <a:lnTo>
                    <a:pt x="19" y="185"/>
                  </a:lnTo>
                  <a:lnTo>
                    <a:pt x="19" y="184"/>
                  </a:lnTo>
                  <a:lnTo>
                    <a:pt x="20" y="183"/>
                  </a:lnTo>
                  <a:lnTo>
                    <a:pt x="21" y="182"/>
                  </a:lnTo>
                  <a:lnTo>
                    <a:pt x="22" y="181"/>
                  </a:lnTo>
                  <a:lnTo>
                    <a:pt x="24" y="178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7" y="175"/>
                  </a:lnTo>
                  <a:lnTo>
                    <a:pt x="28" y="174"/>
                  </a:lnTo>
                  <a:lnTo>
                    <a:pt x="29" y="173"/>
                  </a:lnTo>
                  <a:lnTo>
                    <a:pt x="30" y="173"/>
                  </a:lnTo>
                  <a:lnTo>
                    <a:pt x="31" y="172"/>
                  </a:lnTo>
                  <a:lnTo>
                    <a:pt x="32" y="172"/>
                  </a:lnTo>
                  <a:lnTo>
                    <a:pt x="35" y="172"/>
                  </a:lnTo>
                  <a:lnTo>
                    <a:pt x="37" y="172"/>
                  </a:lnTo>
                  <a:lnTo>
                    <a:pt x="45" y="170"/>
                  </a:lnTo>
                  <a:lnTo>
                    <a:pt x="46" y="170"/>
                  </a:lnTo>
                  <a:lnTo>
                    <a:pt x="50" y="169"/>
                  </a:lnTo>
                  <a:lnTo>
                    <a:pt x="55" y="168"/>
                  </a:lnTo>
                  <a:lnTo>
                    <a:pt x="57" y="168"/>
                  </a:lnTo>
                  <a:lnTo>
                    <a:pt x="61" y="168"/>
                  </a:lnTo>
                  <a:lnTo>
                    <a:pt x="63" y="168"/>
                  </a:lnTo>
                  <a:lnTo>
                    <a:pt x="64" y="168"/>
                  </a:lnTo>
                  <a:lnTo>
                    <a:pt x="65" y="167"/>
                  </a:lnTo>
                  <a:lnTo>
                    <a:pt x="66" y="167"/>
                  </a:lnTo>
                  <a:lnTo>
                    <a:pt x="67" y="166"/>
                  </a:lnTo>
                  <a:lnTo>
                    <a:pt x="68" y="166"/>
                  </a:lnTo>
                  <a:lnTo>
                    <a:pt x="69" y="165"/>
                  </a:lnTo>
                  <a:lnTo>
                    <a:pt x="70" y="164"/>
                  </a:lnTo>
                  <a:lnTo>
                    <a:pt x="70" y="164"/>
                  </a:lnTo>
                  <a:lnTo>
                    <a:pt x="72" y="163"/>
                  </a:lnTo>
                  <a:lnTo>
                    <a:pt x="74" y="160"/>
                  </a:lnTo>
                  <a:lnTo>
                    <a:pt x="76" y="157"/>
                  </a:lnTo>
                  <a:lnTo>
                    <a:pt x="79" y="154"/>
                  </a:lnTo>
                  <a:lnTo>
                    <a:pt x="81" y="149"/>
                  </a:lnTo>
                  <a:lnTo>
                    <a:pt x="83" y="148"/>
                  </a:lnTo>
                  <a:lnTo>
                    <a:pt x="84" y="147"/>
                  </a:lnTo>
                  <a:lnTo>
                    <a:pt x="85" y="146"/>
                  </a:lnTo>
                  <a:lnTo>
                    <a:pt x="86" y="144"/>
                  </a:lnTo>
                  <a:lnTo>
                    <a:pt x="89" y="142"/>
                  </a:lnTo>
                  <a:lnTo>
                    <a:pt x="92" y="139"/>
                  </a:lnTo>
                  <a:lnTo>
                    <a:pt x="93" y="138"/>
                  </a:lnTo>
                  <a:lnTo>
                    <a:pt x="94" y="137"/>
                  </a:lnTo>
                  <a:lnTo>
                    <a:pt x="94" y="136"/>
                  </a:lnTo>
                  <a:lnTo>
                    <a:pt x="95" y="136"/>
                  </a:lnTo>
                  <a:lnTo>
                    <a:pt x="95" y="135"/>
                  </a:lnTo>
                  <a:lnTo>
                    <a:pt x="95" y="133"/>
                  </a:lnTo>
                  <a:lnTo>
                    <a:pt x="95" y="132"/>
                  </a:lnTo>
                  <a:lnTo>
                    <a:pt x="95" y="131"/>
                  </a:lnTo>
                  <a:lnTo>
                    <a:pt x="94" y="130"/>
                  </a:lnTo>
                  <a:lnTo>
                    <a:pt x="94" y="129"/>
                  </a:lnTo>
                  <a:lnTo>
                    <a:pt x="92" y="126"/>
                  </a:lnTo>
                  <a:lnTo>
                    <a:pt x="91" y="122"/>
                  </a:lnTo>
                  <a:lnTo>
                    <a:pt x="90" y="120"/>
                  </a:lnTo>
                  <a:lnTo>
                    <a:pt x="90" y="119"/>
                  </a:lnTo>
                  <a:lnTo>
                    <a:pt x="89" y="116"/>
                  </a:lnTo>
                  <a:lnTo>
                    <a:pt x="89" y="115"/>
                  </a:lnTo>
                  <a:lnTo>
                    <a:pt x="89" y="113"/>
                  </a:lnTo>
                  <a:lnTo>
                    <a:pt x="89" y="111"/>
                  </a:lnTo>
                  <a:lnTo>
                    <a:pt x="89" y="109"/>
                  </a:lnTo>
                  <a:lnTo>
                    <a:pt x="89" y="108"/>
                  </a:lnTo>
                  <a:lnTo>
                    <a:pt x="90" y="106"/>
                  </a:lnTo>
                  <a:lnTo>
                    <a:pt x="91" y="104"/>
                  </a:lnTo>
                  <a:lnTo>
                    <a:pt x="94" y="99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7" y="96"/>
                  </a:lnTo>
                  <a:lnTo>
                    <a:pt x="97" y="95"/>
                  </a:lnTo>
                  <a:lnTo>
                    <a:pt x="98" y="95"/>
                  </a:lnTo>
                  <a:lnTo>
                    <a:pt x="99" y="95"/>
                  </a:lnTo>
                  <a:lnTo>
                    <a:pt x="100" y="94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102" y="94"/>
                  </a:lnTo>
                  <a:lnTo>
                    <a:pt x="103" y="95"/>
                  </a:lnTo>
                  <a:lnTo>
                    <a:pt x="103" y="95"/>
                  </a:lnTo>
                  <a:lnTo>
                    <a:pt x="104" y="96"/>
                  </a:lnTo>
                  <a:lnTo>
                    <a:pt x="105" y="97"/>
                  </a:lnTo>
                  <a:lnTo>
                    <a:pt x="105" y="98"/>
                  </a:lnTo>
                  <a:lnTo>
                    <a:pt x="105" y="99"/>
                  </a:lnTo>
                  <a:lnTo>
                    <a:pt x="105" y="100"/>
                  </a:lnTo>
                  <a:lnTo>
                    <a:pt x="106" y="104"/>
                  </a:lnTo>
                  <a:lnTo>
                    <a:pt x="106" y="105"/>
                  </a:lnTo>
                  <a:lnTo>
                    <a:pt x="107" y="106"/>
                  </a:lnTo>
                  <a:lnTo>
                    <a:pt x="107" y="107"/>
                  </a:lnTo>
                  <a:lnTo>
                    <a:pt x="108" y="108"/>
                  </a:lnTo>
                  <a:lnTo>
                    <a:pt x="108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11" y="110"/>
                  </a:lnTo>
                  <a:lnTo>
                    <a:pt x="114" y="110"/>
                  </a:lnTo>
                  <a:lnTo>
                    <a:pt x="116" y="110"/>
                  </a:lnTo>
                  <a:lnTo>
                    <a:pt x="117" y="110"/>
                  </a:lnTo>
                  <a:lnTo>
                    <a:pt x="120" y="111"/>
                  </a:lnTo>
                  <a:lnTo>
                    <a:pt x="123" y="112"/>
                  </a:lnTo>
                  <a:lnTo>
                    <a:pt x="125" y="113"/>
                  </a:lnTo>
                  <a:lnTo>
                    <a:pt x="128" y="113"/>
                  </a:lnTo>
                  <a:lnTo>
                    <a:pt x="131" y="113"/>
                  </a:lnTo>
                  <a:lnTo>
                    <a:pt x="132" y="114"/>
                  </a:lnTo>
                  <a:lnTo>
                    <a:pt x="134" y="114"/>
                  </a:lnTo>
                  <a:lnTo>
                    <a:pt x="135" y="114"/>
                  </a:lnTo>
                  <a:lnTo>
                    <a:pt x="136" y="115"/>
                  </a:lnTo>
                  <a:lnTo>
                    <a:pt x="137" y="115"/>
                  </a:lnTo>
                  <a:lnTo>
                    <a:pt x="139" y="116"/>
                  </a:lnTo>
                  <a:lnTo>
                    <a:pt x="140" y="117"/>
                  </a:lnTo>
                  <a:lnTo>
                    <a:pt x="142" y="118"/>
                  </a:lnTo>
                  <a:lnTo>
                    <a:pt x="146" y="121"/>
                  </a:lnTo>
                  <a:lnTo>
                    <a:pt x="148" y="122"/>
                  </a:lnTo>
                  <a:lnTo>
                    <a:pt x="149" y="123"/>
                  </a:lnTo>
                  <a:lnTo>
                    <a:pt x="149" y="123"/>
                  </a:lnTo>
                  <a:lnTo>
                    <a:pt x="150" y="123"/>
                  </a:lnTo>
                  <a:lnTo>
                    <a:pt x="151" y="122"/>
                  </a:lnTo>
                  <a:lnTo>
                    <a:pt x="152" y="122"/>
                  </a:lnTo>
                  <a:lnTo>
                    <a:pt x="154" y="121"/>
                  </a:lnTo>
                  <a:lnTo>
                    <a:pt x="155" y="120"/>
                  </a:lnTo>
                  <a:lnTo>
                    <a:pt x="156" y="119"/>
                  </a:lnTo>
                  <a:lnTo>
                    <a:pt x="157" y="118"/>
                  </a:lnTo>
                  <a:lnTo>
                    <a:pt x="158" y="116"/>
                  </a:lnTo>
                  <a:lnTo>
                    <a:pt x="159" y="115"/>
                  </a:lnTo>
                  <a:lnTo>
                    <a:pt x="160" y="113"/>
                  </a:lnTo>
                  <a:lnTo>
                    <a:pt x="161" y="112"/>
                  </a:lnTo>
                  <a:lnTo>
                    <a:pt x="162" y="110"/>
                  </a:lnTo>
                  <a:lnTo>
                    <a:pt x="162" y="109"/>
                  </a:lnTo>
                  <a:lnTo>
                    <a:pt x="163" y="108"/>
                  </a:lnTo>
                  <a:lnTo>
                    <a:pt x="163" y="106"/>
                  </a:lnTo>
                  <a:lnTo>
                    <a:pt x="164" y="103"/>
                  </a:lnTo>
                  <a:lnTo>
                    <a:pt x="164" y="102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4" y="99"/>
                  </a:lnTo>
                  <a:lnTo>
                    <a:pt x="165" y="99"/>
                  </a:lnTo>
                  <a:lnTo>
                    <a:pt x="165" y="98"/>
                  </a:lnTo>
                  <a:lnTo>
                    <a:pt x="166" y="98"/>
                  </a:lnTo>
                  <a:lnTo>
                    <a:pt x="168" y="98"/>
                  </a:lnTo>
                  <a:lnTo>
                    <a:pt x="171" y="97"/>
                  </a:lnTo>
                  <a:lnTo>
                    <a:pt x="174" y="96"/>
                  </a:lnTo>
                  <a:lnTo>
                    <a:pt x="177" y="95"/>
                  </a:lnTo>
                  <a:lnTo>
                    <a:pt x="178" y="95"/>
                  </a:lnTo>
                  <a:lnTo>
                    <a:pt x="180" y="94"/>
                  </a:lnTo>
                  <a:lnTo>
                    <a:pt x="184" y="94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90" y="94"/>
                  </a:lnTo>
                  <a:lnTo>
                    <a:pt x="192" y="94"/>
                  </a:lnTo>
                  <a:lnTo>
                    <a:pt x="193" y="94"/>
                  </a:lnTo>
                  <a:lnTo>
                    <a:pt x="194" y="95"/>
                  </a:lnTo>
                  <a:lnTo>
                    <a:pt x="195" y="95"/>
                  </a:lnTo>
                  <a:lnTo>
                    <a:pt x="198" y="96"/>
                  </a:lnTo>
                  <a:lnTo>
                    <a:pt x="199" y="96"/>
                  </a:lnTo>
                  <a:lnTo>
                    <a:pt x="200" y="97"/>
                  </a:lnTo>
                  <a:lnTo>
                    <a:pt x="202" y="97"/>
                  </a:lnTo>
                  <a:lnTo>
                    <a:pt x="203" y="97"/>
                  </a:lnTo>
                  <a:lnTo>
                    <a:pt x="204" y="97"/>
                  </a:lnTo>
                  <a:lnTo>
                    <a:pt x="206" y="97"/>
                  </a:lnTo>
                  <a:lnTo>
                    <a:pt x="207" y="97"/>
                  </a:lnTo>
                  <a:lnTo>
                    <a:pt x="208" y="97"/>
                  </a:lnTo>
                  <a:lnTo>
                    <a:pt x="210" y="96"/>
                  </a:lnTo>
                  <a:lnTo>
                    <a:pt x="211" y="96"/>
                  </a:lnTo>
                  <a:lnTo>
                    <a:pt x="212" y="95"/>
                  </a:lnTo>
                  <a:lnTo>
                    <a:pt x="213" y="95"/>
                  </a:lnTo>
                  <a:lnTo>
                    <a:pt x="214" y="94"/>
                  </a:lnTo>
                  <a:lnTo>
                    <a:pt x="214" y="93"/>
                  </a:lnTo>
                  <a:lnTo>
                    <a:pt x="216" y="92"/>
                  </a:lnTo>
                  <a:lnTo>
                    <a:pt x="217" y="91"/>
                  </a:lnTo>
                  <a:lnTo>
                    <a:pt x="217" y="89"/>
                  </a:lnTo>
                  <a:lnTo>
                    <a:pt x="218" y="88"/>
                  </a:lnTo>
                  <a:lnTo>
                    <a:pt x="218" y="87"/>
                  </a:lnTo>
                  <a:lnTo>
                    <a:pt x="218" y="86"/>
                  </a:lnTo>
                  <a:lnTo>
                    <a:pt x="219" y="85"/>
                  </a:lnTo>
                  <a:lnTo>
                    <a:pt x="219" y="84"/>
                  </a:lnTo>
                  <a:lnTo>
                    <a:pt x="218" y="82"/>
                  </a:lnTo>
                  <a:lnTo>
                    <a:pt x="218" y="81"/>
                  </a:lnTo>
                  <a:lnTo>
                    <a:pt x="218" y="80"/>
                  </a:lnTo>
                  <a:lnTo>
                    <a:pt x="217" y="77"/>
                  </a:lnTo>
                  <a:lnTo>
                    <a:pt x="214" y="71"/>
                  </a:lnTo>
                  <a:lnTo>
                    <a:pt x="213" y="70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3" y="68"/>
                  </a:lnTo>
                  <a:lnTo>
                    <a:pt x="213" y="67"/>
                  </a:lnTo>
                  <a:lnTo>
                    <a:pt x="213" y="67"/>
                  </a:lnTo>
                  <a:lnTo>
                    <a:pt x="213" y="66"/>
                  </a:lnTo>
                  <a:lnTo>
                    <a:pt x="214" y="66"/>
                  </a:lnTo>
                  <a:lnTo>
                    <a:pt x="214" y="66"/>
                  </a:lnTo>
                  <a:lnTo>
                    <a:pt x="215" y="65"/>
                  </a:lnTo>
                  <a:lnTo>
                    <a:pt x="215" y="65"/>
                  </a:lnTo>
                  <a:lnTo>
                    <a:pt x="216" y="65"/>
                  </a:lnTo>
                  <a:lnTo>
                    <a:pt x="217" y="65"/>
                  </a:lnTo>
                  <a:lnTo>
                    <a:pt x="218" y="65"/>
                  </a:lnTo>
                  <a:lnTo>
                    <a:pt x="219" y="65"/>
                  </a:lnTo>
                  <a:lnTo>
                    <a:pt x="220" y="65"/>
                  </a:lnTo>
                  <a:lnTo>
                    <a:pt x="223" y="65"/>
                  </a:lnTo>
                  <a:lnTo>
                    <a:pt x="224" y="66"/>
                  </a:lnTo>
                  <a:lnTo>
                    <a:pt x="225" y="66"/>
                  </a:lnTo>
                  <a:lnTo>
                    <a:pt x="226" y="66"/>
                  </a:lnTo>
                  <a:lnTo>
                    <a:pt x="226" y="66"/>
                  </a:lnTo>
                  <a:lnTo>
                    <a:pt x="227" y="65"/>
                  </a:lnTo>
                  <a:lnTo>
                    <a:pt x="227" y="65"/>
                  </a:lnTo>
                  <a:lnTo>
                    <a:pt x="228" y="64"/>
                  </a:lnTo>
                  <a:lnTo>
                    <a:pt x="228" y="64"/>
                  </a:lnTo>
                  <a:lnTo>
                    <a:pt x="229" y="63"/>
                  </a:lnTo>
                  <a:lnTo>
                    <a:pt x="231" y="60"/>
                  </a:lnTo>
                  <a:lnTo>
                    <a:pt x="232" y="59"/>
                  </a:lnTo>
                  <a:lnTo>
                    <a:pt x="233" y="58"/>
                  </a:lnTo>
                  <a:lnTo>
                    <a:pt x="233" y="58"/>
                  </a:lnTo>
                  <a:lnTo>
                    <a:pt x="234" y="57"/>
                  </a:lnTo>
                  <a:lnTo>
                    <a:pt x="235" y="57"/>
                  </a:lnTo>
                  <a:lnTo>
                    <a:pt x="237" y="57"/>
                  </a:lnTo>
                  <a:lnTo>
                    <a:pt x="238" y="57"/>
                  </a:lnTo>
                  <a:lnTo>
                    <a:pt x="239" y="58"/>
                  </a:lnTo>
                  <a:lnTo>
                    <a:pt x="240" y="58"/>
                  </a:lnTo>
                  <a:lnTo>
                    <a:pt x="241" y="59"/>
                  </a:lnTo>
                  <a:lnTo>
                    <a:pt x="243" y="60"/>
                  </a:lnTo>
                  <a:lnTo>
                    <a:pt x="245" y="61"/>
                  </a:lnTo>
                  <a:lnTo>
                    <a:pt x="246" y="63"/>
                  </a:lnTo>
                  <a:lnTo>
                    <a:pt x="249" y="65"/>
                  </a:lnTo>
                  <a:lnTo>
                    <a:pt x="250" y="66"/>
                  </a:lnTo>
                  <a:lnTo>
                    <a:pt x="251" y="67"/>
                  </a:lnTo>
                  <a:lnTo>
                    <a:pt x="252" y="68"/>
                  </a:lnTo>
                  <a:lnTo>
                    <a:pt x="253" y="68"/>
                  </a:lnTo>
                  <a:lnTo>
                    <a:pt x="255" y="69"/>
                  </a:lnTo>
                  <a:lnTo>
                    <a:pt x="256" y="69"/>
                  </a:lnTo>
                  <a:lnTo>
                    <a:pt x="258" y="70"/>
                  </a:lnTo>
                  <a:lnTo>
                    <a:pt x="260" y="70"/>
                  </a:lnTo>
                  <a:lnTo>
                    <a:pt x="261" y="70"/>
                  </a:lnTo>
                  <a:lnTo>
                    <a:pt x="263" y="70"/>
                  </a:lnTo>
                  <a:lnTo>
                    <a:pt x="266" y="69"/>
                  </a:lnTo>
                  <a:lnTo>
                    <a:pt x="270" y="68"/>
                  </a:lnTo>
                  <a:lnTo>
                    <a:pt x="272" y="68"/>
                  </a:lnTo>
                  <a:lnTo>
                    <a:pt x="272" y="67"/>
                  </a:lnTo>
                  <a:lnTo>
                    <a:pt x="272" y="67"/>
                  </a:lnTo>
                  <a:lnTo>
                    <a:pt x="273" y="66"/>
                  </a:lnTo>
                  <a:lnTo>
                    <a:pt x="274" y="65"/>
                  </a:lnTo>
                  <a:lnTo>
                    <a:pt x="275" y="65"/>
                  </a:lnTo>
                  <a:lnTo>
                    <a:pt x="275" y="64"/>
                  </a:lnTo>
                  <a:lnTo>
                    <a:pt x="277" y="60"/>
                  </a:lnTo>
                  <a:lnTo>
                    <a:pt x="278" y="56"/>
                  </a:lnTo>
                  <a:lnTo>
                    <a:pt x="280" y="52"/>
                  </a:lnTo>
                  <a:lnTo>
                    <a:pt x="281" y="50"/>
                  </a:lnTo>
                  <a:lnTo>
                    <a:pt x="282" y="47"/>
                  </a:lnTo>
                  <a:lnTo>
                    <a:pt x="282" y="46"/>
                  </a:lnTo>
                  <a:lnTo>
                    <a:pt x="282" y="44"/>
                  </a:lnTo>
                  <a:lnTo>
                    <a:pt x="282" y="40"/>
                  </a:lnTo>
                  <a:lnTo>
                    <a:pt x="282" y="39"/>
                  </a:lnTo>
                  <a:lnTo>
                    <a:pt x="283" y="38"/>
                  </a:lnTo>
                  <a:lnTo>
                    <a:pt x="283" y="37"/>
                  </a:lnTo>
                  <a:lnTo>
                    <a:pt x="284" y="36"/>
                  </a:lnTo>
                  <a:lnTo>
                    <a:pt x="284" y="35"/>
                  </a:lnTo>
                  <a:lnTo>
                    <a:pt x="287" y="33"/>
                  </a:lnTo>
                  <a:lnTo>
                    <a:pt x="289" y="30"/>
                  </a:lnTo>
                  <a:lnTo>
                    <a:pt x="290" y="29"/>
                  </a:lnTo>
                  <a:lnTo>
                    <a:pt x="292" y="28"/>
                  </a:lnTo>
                  <a:lnTo>
                    <a:pt x="295" y="26"/>
                  </a:lnTo>
                  <a:lnTo>
                    <a:pt x="296" y="25"/>
                  </a:lnTo>
                  <a:lnTo>
                    <a:pt x="297" y="24"/>
                  </a:lnTo>
                  <a:lnTo>
                    <a:pt x="298" y="23"/>
                  </a:lnTo>
                  <a:lnTo>
                    <a:pt x="298" y="22"/>
                  </a:lnTo>
                  <a:lnTo>
                    <a:pt x="299" y="21"/>
                  </a:lnTo>
                  <a:lnTo>
                    <a:pt x="300" y="20"/>
                  </a:lnTo>
                  <a:lnTo>
                    <a:pt x="301" y="17"/>
                  </a:lnTo>
                  <a:lnTo>
                    <a:pt x="302" y="16"/>
                  </a:lnTo>
                  <a:lnTo>
                    <a:pt x="303" y="15"/>
                  </a:lnTo>
                  <a:lnTo>
                    <a:pt x="304" y="15"/>
                  </a:lnTo>
                  <a:lnTo>
                    <a:pt x="304" y="15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09" y="15"/>
                  </a:lnTo>
                  <a:lnTo>
                    <a:pt x="313" y="16"/>
                  </a:lnTo>
                  <a:lnTo>
                    <a:pt x="315" y="17"/>
                  </a:lnTo>
                  <a:lnTo>
                    <a:pt x="317" y="17"/>
                  </a:lnTo>
                  <a:lnTo>
                    <a:pt x="318" y="17"/>
                  </a:lnTo>
                  <a:lnTo>
                    <a:pt x="319" y="17"/>
                  </a:lnTo>
                  <a:lnTo>
                    <a:pt x="320" y="17"/>
                  </a:lnTo>
                  <a:lnTo>
                    <a:pt x="321" y="17"/>
                  </a:lnTo>
                  <a:lnTo>
                    <a:pt x="321" y="17"/>
                  </a:lnTo>
                  <a:lnTo>
                    <a:pt x="322" y="17"/>
                  </a:lnTo>
                  <a:lnTo>
                    <a:pt x="323" y="16"/>
                  </a:lnTo>
                  <a:lnTo>
                    <a:pt x="324" y="16"/>
                  </a:lnTo>
                  <a:lnTo>
                    <a:pt x="325" y="15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7" y="13"/>
                  </a:lnTo>
                  <a:lnTo>
                    <a:pt x="329" y="11"/>
                  </a:lnTo>
                  <a:lnTo>
                    <a:pt x="330" y="8"/>
                  </a:lnTo>
                  <a:lnTo>
                    <a:pt x="331" y="6"/>
                  </a:lnTo>
                  <a:lnTo>
                    <a:pt x="332" y="5"/>
                  </a:lnTo>
                  <a:lnTo>
                    <a:pt x="332" y="4"/>
                  </a:lnTo>
                  <a:lnTo>
                    <a:pt x="333" y="3"/>
                  </a:lnTo>
                  <a:lnTo>
                    <a:pt x="333" y="2"/>
                  </a:lnTo>
                  <a:lnTo>
                    <a:pt x="333" y="1"/>
                  </a:lnTo>
                  <a:lnTo>
                    <a:pt x="333" y="1"/>
                  </a:lnTo>
                  <a:lnTo>
                    <a:pt x="334" y="1"/>
                  </a:lnTo>
                  <a:lnTo>
                    <a:pt x="334" y="1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40" y="0"/>
                  </a:lnTo>
                  <a:lnTo>
                    <a:pt x="340" y="0"/>
                  </a:lnTo>
                  <a:lnTo>
                    <a:pt x="341" y="0"/>
                  </a:lnTo>
                  <a:close/>
                </a:path>
              </a:pathLst>
            </a:custGeom>
            <a:solidFill>
              <a:srgbClr val="CCCCCC"/>
            </a:solidFill>
            <a:ln w="98425">
              <a:solidFill>
                <a:srgbClr val="CCCCC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2" name="Freeform 257">
              <a:extLst>
                <a:ext uri="{FF2B5EF4-FFF2-40B4-BE49-F238E27FC236}">
                  <a16:creationId xmlns:a16="http://schemas.microsoft.com/office/drawing/2014/main" id="{D960066C-B369-45FF-A896-EC54DF93B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3961" y="2300611"/>
              <a:ext cx="647094" cy="604294"/>
            </a:xfrm>
            <a:custGeom>
              <a:avLst/>
              <a:gdLst>
                <a:gd name="T0" fmla="*/ 139 w 635"/>
                <a:gd name="T1" fmla="*/ 11 h 593"/>
                <a:gd name="T2" fmla="*/ 139 w 635"/>
                <a:gd name="T3" fmla="*/ 33 h 593"/>
                <a:gd name="T4" fmla="*/ 152 w 635"/>
                <a:gd name="T5" fmla="*/ 62 h 593"/>
                <a:gd name="T6" fmla="*/ 136 w 635"/>
                <a:gd name="T7" fmla="*/ 79 h 593"/>
                <a:gd name="T8" fmla="*/ 93 w 635"/>
                <a:gd name="T9" fmla="*/ 100 h 593"/>
                <a:gd name="T10" fmla="*/ 91 w 635"/>
                <a:gd name="T11" fmla="*/ 117 h 593"/>
                <a:gd name="T12" fmla="*/ 121 w 635"/>
                <a:gd name="T13" fmla="*/ 138 h 593"/>
                <a:gd name="T14" fmla="*/ 144 w 635"/>
                <a:gd name="T15" fmla="*/ 151 h 593"/>
                <a:gd name="T16" fmla="*/ 168 w 635"/>
                <a:gd name="T17" fmla="*/ 194 h 593"/>
                <a:gd name="T18" fmla="*/ 194 w 635"/>
                <a:gd name="T19" fmla="*/ 217 h 593"/>
                <a:gd name="T20" fmla="*/ 227 w 635"/>
                <a:gd name="T21" fmla="*/ 217 h 593"/>
                <a:gd name="T22" fmla="*/ 268 w 635"/>
                <a:gd name="T23" fmla="*/ 197 h 593"/>
                <a:gd name="T24" fmla="*/ 276 w 635"/>
                <a:gd name="T25" fmla="*/ 185 h 593"/>
                <a:gd name="T26" fmla="*/ 263 w 635"/>
                <a:gd name="T27" fmla="*/ 174 h 593"/>
                <a:gd name="T28" fmla="*/ 279 w 635"/>
                <a:gd name="T29" fmla="*/ 166 h 593"/>
                <a:gd name="T30" fmla="*/ 304 w 635"/>
                <a:gd name="T31" fmla="*/ 200 h 593"/>
                <a:gd name="T32" fmla="*/ 330 w 635"/>
                <a:gd name="T33" fmla="*/ 208 h 593"/>
                <a:gd name="T34" fmla="*/ 348 w 635"/>
                <a:gd name="T35" fmla="*/ 209 h 593"/>
                <a:gd name="T36" fmla="*/ 375 w 635"/>
                <a:gd name="T37" fmla="*/ 227 h 593"/>
                <a:gd name="T38" fmla="*/ 393 w 635"/>
                <a:gd name="T39" fmla="*/ 251 h 593"/>
                <a:gd name="T40" fmla="*/ 405 w 635"/>
                <a:gd name="T41" fmla="*/ 238 h 593"/>
                <a:gd name="T42" fmla="*/ 440 w 635"/>
                <a:gd name="T43" fmla="*/ 241 h 593"/>
                <a:gd name="T44" fmla="*/ 482 w 635"/>
                <a:gd name="T45" fmla="*/ 260 h 593"/>
                <a:gd name="T46" fmla="*/ 493 w 635"/>
                <a:gd name="T47" fmla="*/ 247 h 593"/>
                <a:gd name="T48" fmla="*/ 505 w 635"/>
                <a:gd name="T49" fmla="*/ 258 h 593"/>
                <a:gd name="T50" fmla="*/ 513 w 635"/>
                <a:gd name="T51" fmla="*/ 283 h 593"/>
                <a:gd name="T52" fmla="*/ 509 w 635"/>
                <a:gd name="T53" fmla="*/ 310 h 593"/>
                <a:gd name="T54" fmla="*/ 534 w 635"/>
                <a:gd name="T55" fmla="*/ 373 h 593"/>
                <a:gd name="T56" fmla="*/ 562 w 635"/>
                <a:gd name="T57" fmla="*/ 386 h 593"/>
                <a:gd name="T58" fmla="*/ 588 w 635"/>
                <a:gd name="T59" fmla="*/ 400 h 593"/>
                <a:gd name="T60" fmla="*/ 611 w 635"/>
                <a:gd name="T61" fmla="*/ 410 h 593"/>
                <a:gd name="T62" fmla="*/ 630 w 635"/>
                <a:gd name="T63" fmla="*/ 475 h 593"/>
                <a:gd name="T64" fmla="*/ 629 w 635"/>
                <a:gd name="T65" fmla="*/ 505 h 593"/>
                <a:gd name="T66" fmla="*/ 589 w 635"/>
                <a:gd name="T67" fmla="*/ 523 h 593"/>
                <a:gd name="T68" fmla="*/ 537 w 635"/>
                <a:gd name="T69" fmla="*/ 522 h 593"/>
                <a:gd name="T70" fmla="*/ 513 w 635"/>
                <a:gd name="T71" fmla="*/ 520 h 593"/>
                <a:gd name="T72" fmla="*/ 503 w 635"/>
                <a:gd name="T73" fmla="*/ 542 h 593"/>
                <a:gd name="T74" fmla="*/ 473 w 635"/>
                <a:gd name="T75" fmla="*/ 587 h 593"/>
                <a:gd name="T76" fmla="*/ 447 w 635"/>
                <a:gd name="T77" fmla="*/ 593 h 593"/>
                <a:gd name="T78" fmla="*/ 429 w 635"/>
                <a:gd name="T79" fmla="*/ 571 h 593"/>
                <a:gd name="T80" fmla="*/ 400 w 635"/>
                <a:gd name="T81" fmla="*/ 538 h 593"/>
                <a:gd name="T82" fmla="*/ 370 w 635"/>
                <a:gd name="T83" fmla="*/ 536 h 593"/>
                <a:gd name="T84" fmla="*/ 330 w 635"/>
                <a:gd name="T85" fmla="*/ 521 h 593"/>
                <a:gd name="T86" fmla="*/ 273 w 635"/>
                <a:gd name="T87" fmla="*/ 527 h 593"/>
                <a:gd name="T88" fmla="*/ 251 w 635"/>
                <a:gd name="T89" fmla="*/ 509 h 593"/>
                <a:gd name="T90" fmla="*/ 230 w 635"/>
                <a:gd name="T91" fmla="*/ 496 h 593"/>
                <a:gd name="T92" fmla="*/ 212 w 635"/>
                <a:gd name="T93" fmla="*/ 501 h 593"/>
                <a:gd name="T94" fmla="*/ 210 w 635"/>
                <a:gd name="T95" fmla="*/ 485 h 593"/>
                <a:gd name="T96" fmla="*/ 173 w 635"/>
                <a:gd name="T97" fmla="*/ 444 h 593"/>
                <a:gd name="T98" fmla="*/ 156 w 635"/>
                <a:gd name="T99" fmla="*/ 425 h 593"/>
                <a:gd name="T100" fmla="*/ 137 w 635"/>
                <a:gd name="T101" fmla="*/ 419 h 593"/>
                <a:gd name="T102" fmla="*/ 137 w 635"/>
                <a:gd name="T103" fmla="*/ 385 h 593"/>
                <a:gd name="T104" fmla="*/ 126 w 635"/>
                <a:gd name="T105" fmla="*/ 367 h 593"/>
                <a:gd name="T106" fmla="*/ 87 w 635"/>
                <a:gd name="T107" fmla="*/ 373 h 593"/>
                <a:gd name="T108" fmla="*/ 60 w 635"/>
                <a:gd name="T109" fmla="*/ 351 h 593"/>
                <a:gd name="T110" fmla="*/ 46 w 635"/>
                <a:gd name="T111" fmla="*/ 324 h 593"/>
                <a:gd name="T112" fmla="*/ 34 w 635"/>
                <a:gd name="T113" fmla="*/ 299 h 593"/>
                <a:gd name="T114" fmla="*/ 32 w 635"/>
                <a:gd name="T115" fmla="*/ 323 h 593"/>
                <a:gd name="T116" fmla="*/ 17 w 635"/>
                <a:gd name="T117" fmla="*/ 329 h 593"/>
                <a:gd name="T118" fmla="*/ 3 w 635"/>
                <a:gd name="T119" fmla="*/ 347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5" h="593">
                  <a:moveTo>
                    <a:pt x="126" y="0"/>
                  </a:moveTo>
                  <a:lnTo>
                    <a:pt x="126" y="0"/>
                  </a:lnTo>
                  <a:lnTo>
                    <a:pt x="127" y="0"/>
                  </a:lnTo>
                  <a:lnTo>
                    <a:pt x="128" y="1"/>
                  </a:lnTo>
                  <a:lnTo>
                    <a:pt x="129" y="1"/>
                  </a:lnTo>
                  <a:lnTo>
                    <a:pt x="130" y="2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3" y="4"/>
                  </a:lnTo>
                  <a:lnTo>
                    <a:pt x="135" y="5"/>
                  </a:lnTo>
                  <a:lnTo>
                    <a:pt x="135" y="6"/>
                  </a:lnTo>
                  <a:lnTo>
                    <a:pt x="136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9" y="11"/>
                  </a:lnTo>
                  <a:lnTo>
                    <a:pt x="140" y="11"/>
                  </a:lnTo>
                  <a:lnTo>
                    <a:pt x="141" y="11"/>
                  </a:lnTo>
                  <a:lnTo>
                    <a:pt x="142" y="12"/>
                  </a:lnTo>
                  <a:lnTo>
                    <a:pt x="143" y="12"/>
                  </a:lnTo>
                  <a:lnTo>
                    <a:pt x="143" y="13"/>
                  </a:lnTo>
                  <a:lnTo>
                    <a:pt x="144" y="14"/>
                  </a:lnTo>
                  <a:lnTo>
                    <a:pt x="144" y="14"/>
                  </a:lnTo>
                  <a:lnTo>
                    <a:pt x="144" y="15"/>
                  </a:lnTo>
                  <a:lnTo>
                    <a:pt x="144" y="16"/>
                  </a:lnTo>
                  <a:lnTo>
                    <a:pt x="144" y="17"/>
                  </a:lnTo>
                  <a:lnTo>
                    <a:pt x="144" y="18"/>
                  </a:lnTo>
                  <a:lnTo>
                    <a:pt x="143" y="20"/>
                  </a:lnTo>
                  <a:lnTo>
                    <a:pt x="141" y="26"/>
                  </a:lnTo>
                  <a:lnTo>
                    <a:pt x="140" y="28"/>
                  </a:lnTo>
                  <a:lnTo>
                    <a:pt x="140" y="30"/>
                  </a:lnTo>
                  <a:lnTo>
                    <a:pt x="139" y="31"/>
                  </a:lnTo>
                  <a:lnTo>
                    <a:pt x="139" y="33"/>
                  </a:lnTo>
                  <a:lnTo>
                    <a:pt x="139" y="35"/>
                  </a:lnTo>
                  <a:lnTo>
                    <a:pt x="139" y="36"/>
                  </a:lnTo>
                  <a:lnTo>
                    <a:pt x="140" y="38"/>
                  </a:lnTo>
                  <a:lnTo>
                    <a:pt x="140" y="39"/>
                  </a:lnTo>
                  <a:lnTo>
                    <a:pt x="141" y="41"/>
                  </a:lnTo>
                  <a:lnTo>
                    <a:pt x="141" y="42"/>
                  </a:lnTo>
                  <a:lnTo>
                    <a:pt x="142" y="44"/>
                  </a:lnTo>
                  <a:lnTo>
                    <a:pt x="144" y="45"/>
                  </a:lnTo>
                  <a:lnTo>
                    <a:pt x="147" y="50"/>
                  </a:lnTo>
                  <a:lnTo>
                    <a:pt x="149" y="52"/>
                  </a:lnTo>
                  <a:lnTo>
                    <a:pt x="150" y="53"/>
                  </a:lnTo>
                  <a:lnTo>
                    <a:pt x="150" y="54"/>
                  </a:lnTo>
                  <a:lnTo>
                    <a:pt x="151" y="55"/>
                  </a:lnTo>
                  <a:lnTo>
                    <a:pt x="151" y="56"/>
                  </a:lnTo>
                  <a:lnTo>
                    <a:pt x="151" y="58"/>
                  </a:lnTo>
                  <a:lnTo>
                    <a:pt x="152" y="60"/>
                  </a:lnTo>
                  <a:lnTo>
                    <a:pt x="152" y="62"/>
                  </a:lnTo>
                  <a:lnTo>
                    <a:pt x="152" y="64"/>
                  </a:lnTo>
                  <a:lnTo>
                    <a:pt x="151" y="66"/>
                  </a:lnTo>
                  <a:lnTo>
                    <a:pt x="151" y="67"/>
                  </a:lnTo>
                  <a:lnTo>
                    <a:pt x="151" y="69"/>
                  </a:lnTo>
                  <a:lnTo>
                    <a:pt x="150" y="70"/>
                  </a:lnTo>
                  <a:lnTo>
                    <a:pt x="150" y="71"/>
                  </a:lnTo>
                  <a:lnTo>
                    <a:pt x="149" y="72"/>
                  </a:lnTo>
                  <a:lnTo>
                    <a:pt x="149" y="72"/>
                  </a:lnTo>
                  <a:lnTo>
                    <a:pt x="148" y="73"/>
                  </a:lnTo>
                  <a:lnTo>
                    <a:pt x="146" y="74"/>
                  </a:lnTo>
                  <a:lnTo>
                    <a:pt x="145" y="75"/>
                  </a:lnTo>
                  <a:lnTo>
                    <a:pt x="144" y="75"/>
                  </a:lnTo>
                  <a:lnTo>
                    <a:pt x="143" y="76"/>
                  </a:lnTo>
                  <a:lnTo>
                    <a:pt x="140" y="77"/>
                  </a:lnTo>
                  <a:lnTo>
                    <a:pt x="139" y="77"/>
                  </a:lnTo>
                  <a:lnTo>
                    <a:pt x="137" y="78"/>
                  </a:lnTo>
                  <a:lnTo>
                    <a:pt x="136" y="79"/>
                  </a:lnTo>
                  <a:lnTo>
                    <a:pt x="135" y="80"/>
                  </a:lnTo>
                  <a:lnTo>
                    <a:pt x="134" y="81"/>
                  </a:lnTo>
                  <a:lnTo>
                    <a:pt x="133" y="81"/>
                  </a:lnTo>
                  <a:lnTo>
                    <a:pt x="131" y="84"/>
                  </a:lnTo>
                  <a:lnTo>
                    <a:pt x="131" y="85"/>
                  </a:lnTo>
                  <a:lnTo>
                    <a:pt x="130" y="86"/>
                  </a:lnTo>
                  <a:lnTo>
                    <a:pt x="129" y="87"/>
                  </a:lnTo>
                  <a:lnTo>
                    <a:pt x="128" y="88"/>
                  </a:lnTo>
                  <a:lnTo>
                    <a:pt x="127" y="88"/>
                  </a:lnTo>
                  <a:lnTo>
                    <a:pt x="126" y="89"/>
                  </a:lnTo>
                  <a:lnTo>
                    <a:pt x="125" y="89"/>
                  </a:lnTo>
                  <a:lnTo>
                    <a:pt x="124" y="90"/>
                  </a:lnTo>
                  <a:lnTo>
                    <a:pt x="121" y="91"/>
                  </a:lnTo>
                  <a:lnTo>
                    <a:pt x="114" y="93"/>
                  </a:lnTo>
                  <a:lnTo>
                    <a:pt x="105" y="96"/>
                  </a:lnTo>
                  <a:lnTo>
                    <a:pt x="101" y="97"/>
                  </a:lnTo>
                  <a:lnTo>
                    <a:pt x="93" y="100"/>
                  </a:lnTo>
                  <a:lnTo>
                    <a:pt x="92" y="100"/>
                  </a:lnTo>
                  <a:lnTo>
                    <a:pt x="91" y="101"/>
                  </a:lnTo>
                  <a:lnTo>
                    <a:pt x="90" y="102"/>
                  </a:lnTo>
                  <a:lnTo>
                    <a:pt x="89" y="103"/>
                  </a:lnTo>
                  <a:lnTo>
                    <a:pt x="88" y="103"/>
                  </a:lnTo>
                  <a:lnTo>
                    <a:pt x="88" y="104"/>
                  </a:lnTo>
                  <a:lnTo>
                    <a:pt x="88" y="105"/>
                  </a:lnTo>
                  <a:lnTo>
                    <a:pt x="87" y="106"/>
                  </a:lnTo>
                  <a:lnTo>
                    <a:pt x="87" y="107"/>
                  </a:lnTo>
                  <a:lnTo>
                    <a:pt x="87" y="109"/>
                  </a:lnTo>
                  <a:lnTo>
                    <a:pt x="88" y="109"/>
                  </a:lnTo>
                  <a:lnTo>
                    <a:pt x="88" y="110"/>
                  </a:lnTo>
                  <a:lnTo>
                    <a:pt x="88" y="112"/>
                  </a:lnTo>
                  <a:lnTo>
                    <a:pt x="89" y="113"/>
                  </a:lnTo>
                  <a:lnTo>
                    <a:pt x="90" y="114"/>
                  </a:lnTo>
                  <a:lnTo>
                    <a:pt x="91" y="115"/>
                  </a:lnTo>
                  <a:lnTo>
                    <a:pt x="91" y="117"/>
                  </a:lnTo>
                  <a:lnTo>
                    <a:pt x="92" y="118"/>
                  </a:lnTo>
                  <a:lnTo>
                    <a:pt x="93" y="119"/>
                  </a:lnTo>
                  <a:lnTo>
                    <a:pt x="95" y="121"/>
                  </a:lnTo>
                  <a:lnTo>
                    <a:pt x="100" y="125"/>
                  </a:lnTo>
                  <a:lnTo>
                    <a:pt x="102" y="127"/>
                  </a:lnTo>
                  <a:lnTo>
                    <a:pt x="104" y="129"/>
                  </a:lnTo>
                  <a:lnTo>
                    <a:pt x="107" y="132"/>
                  </a:lnTo>
                  <a:lnTo>
                    <a:pt x="108" y="134"/>
                  </a:lnTo>
                  <a:lnTo>
                    <a:pt x="109" y="135"/>
                  </a:lnTo>
                  <a:lnTo>
                    <a:pt x="111" y="136"/>
                  </a:lnTo>
                  <a:lnTo>
                    <a:pt x="112" y="137"/>
                  </a:lnTo>
                  <a:lnTo>
                    <a:pt x="114" y="138"/>
                  </a:lnTo>
                  <a:lnTo>
                    <a:pt x="116" y="138"/>
                  </a:lnTo>
                  <a:lnTo>
                    <a:pt x="118" y="139"/>
                  </a:lnTo>
                  <a:lnTo>
                    <a:pt x="119" y="139"/>
                  </a:lnTo>
                  <a:lnTo>
                    <a:pt x="120" y="138"/>
                  </a:lnTo>
                  <a:lnTo>
                    <a:pt x="121" y="138"/>
                  </a:lnTo>
                  <a:lnTo>
                    <a:pt x="124" y="137"/>
                  </a:lnTo>
                  <a:lnTo>
                    <a:pt x="125" y="137"/>
                  </a:lnTo>
                  <a:lnTo>
                    <a:pt x="126" y="137"/>
                  </a:lnTo>
                  <a:lnTo>
                    <a:pt x="127" y="137"/>
                  </a:lnTo>
                  <a:lnTo>
                    <a:pt x="128" y="137"/>
                  </a:lnTo>
                  <a:lnTo>
                    <a:pt x="130" y="137"/>
                  </a:lnTo>
                  <a:lnTo>
                    <a:pt x="131" y="138"/>
                  </a:lnTo>
                  <a:lnTo>
                    <a:pt x="132" y="138"/>
                  </a:lnTo>
                  <a:lnTo>
                    <a:pt x="133" y="138"/>
                  </a:lnTo>
                  <a:lnTo>
                    <a:pt x="134" y="139"/>
                  </a:lnTo>
                  <a:lnTo>
                    <a:pt x="135" y="140"/>
                  </a:lnTo>
                  <a:lnTo>
                    <a:pt x="137" y="141"/>
                  </a:lnTo>
                  <a:lnTo>
                    <a:pt x="138" y="142"/>
                  </a:lnTo>
                  <a:lnTo>
                    <a:pt x="139" y="144"/>
                  </a:lnTo>
                  <a:lnTo>
                    <a:pt x="141" y="145"/>
                  </a:lnTo>
                  <a:lnTo>
                    <a:pt x="142" y="146"/>
                  </a:lnTo>
                  <a:lnTo>
                    <a:pt x="144" y="151"/>
                  </a:lnTo>
                  <a:lnTo>
                    <a:pt x="146" y="153"/>
                  </a:lnTo>
                  <a:lnTo>
                    <a:pt x="151" y="159"/>
                  </a:lnTo>
                  <a:lnTo>
                    <a:pt x="152" y="161"/>
                  </a:lnTo>
                  <a:lnTo>
                    <a:pt x="154" y="164"/>
                  </a:lnTo>
                  <a:lnTo>
                    <a:pt x="154" y="165"/>
                  </a:lnTo>
                  <a:lnTo>
                    <a:pt x="155" y="166"/>
                  </a:lnTo>
                  <a:lnTo>
                    <a:pt x="156" y="169"/>
                  </a:lnTo>
                  <a:lnTo>
                    <a:pt x="157" y="170"/>
                  </a:lnTo>
                  <a:lnTo>
                    <a:pt x="159" y="176"/>
                  </a:lnTo>
                  <a:lnTo>
                    <a:pt x="160" y="178"/>
                  </a:lnTo>
                  <a:lnTo>
                    <a:pt x="161" y="180"/>
                  </a:lnTo>
                  <a:lnTo>
                    <a:pt x="162" y="185"/>
                  </a:lnTo>
                  <a:lnTo>
                    <a:pt x="164" y="190"/>
                  </a:lnTo>
                  <a:lnTo>
                    <a:pt x="165" y="191"/>
                  </a:lnTo>
                  <a:lnTo>
                    <a:pt x="166" y="192"/>
                  </a:lnTo>
                  <a:lnTo>
                    <a:pt x="167" y="193"/>
                  </a:lnTo>
                  <a:lnTo>
                    <a:pt x="168" y="194"/>
                  </a:lnTo>
                  <a:lnTo>
                    <a:pt x="169" y="195"/>
                  </a:lnTo>
                  <a:lnTo>
                    <a:pt x="170" y="196"/>
                  </a:lnTo>
                  <a:lnTo>
                    <a:pt x="173" y="198"/>
                  </a:lnTo>
                  <a:lnTo>
                    <a:pt x="175" y="199"/>
                  </a:lnTo>
                  <a:lnTo>
                    <a:pt x="180" y="201"/>
                  </a:lnTo>
                  <a:lnTo>
                    <a:pt x="181" y="202"/>
                  </a:lnTo>
                  <a:lnTo>
                    <a:pt x="183" y="203"/>
                  </a:lnTo>
                  <a:lnTo>
                    <a:pt x="184" y="204"/>
                  </a:lnTo>
                  <a:lnTo>
                    <a:pt x="185" y="205"/>
                  </a:lnTo>
                  <a:lnTo>
                    <a:pt x="186" y="206"/>
                  </a:lnTo>
                  <a:lnTo>
                    <a:pt x="187" y="207"/>
                  </a:lnTo>
                  <a:lnTo>
                    <a:pt x="188" y="210"/>
                  </a:lnTo>
                  <a:lnTo>
                    <a:pt x="189" y="211"/>
                  </a:lnTo>
                  <a:lnTo>
                    <a:pt x="190" y="212"/>
                  </a:lnTo>
                  <a:lnTo>
                    <a:pt x="191" y="213"/>
                  </a:lnTo>
                  <a:lnTo>
                    <a:pt x="193" y="215"/>
                  </a:lnTo>
                  <a:lnTo>
                    <a:pt x="194" y="217"/>
                  </a:lnTo>
                  <a:lnTo>
                    <a:pt x="198" y="219"/>
                  </a:lnTo>
                  <a:lnTo>
                    <a:pt x="199" y="220"/>
                  </a:lnTo>
                  <a:lnTo>
                    <a:pt x="200" y="220"/>
                  </a:lnTo>
                  <a:lnTo>
                    <a:pt x="202" y="221"/>
                  </a:lnTo>
                  <a:lnTo>
                    <a:pt x="204" y="222"/>
                  </a:lnTo>
                  <a:lnTo>
                    <a:pt x="205" y="222"/>
                  </a:lnTo>
                  <a:lnTo>
                    <a:pt x="206" y="222"/>
                  </a:lnTo>
                  <a:lnTo>
                    <a:pt x="207" y="222"/>
                  </a:lnTo>
                  <a:lnTo>
                    <a:pt x="208" y="222"/>
                  </a:lnTo>
                  <a:lnTo>
                    <a:pt x="210" y="222"/>
                  </a:lnTo>
                  <a:lnTo>
                    <a:pt x="215" y="221"/>
                  </a:lnTo>
                  <a:lnTo>
                    <a:pt x="218" y="221"/>
                  </a:lnTo>
                  <a:lnTo>
                    <a:pt x="220" y="221"/>
                  </a:lnTo>
                  <a:lnTo>
                    <a:pt x="222" y="220"/>
                  </a:lnTo>
                  <a:lnTo>
                    <a:pt x="223" y="219"/>
                  </a:lnTo>
                  <a:lnTo>
                    <a:pt x="225" y="218"/>
                  </a:lnTo>
                  <a:lnTo>
                    <a:pt x="227" y="217"/>
                  </a:lnTo>
                  <a:lnTo>
                    <a:pt x="228" y="216"/>
                  </a:lnTo>
                  <a:lnTo>
                    <a:pt x="230" y="215"/>
                  </a:lnTo>
                  <a:lnTo>
                    <a:pt x="236" y="209"/>
                  </a:lnTo>
                  <a:lnTo>
                    <a:pt x="238" y="207"/>
                  </a:lnTo>
                  <a:lnTo>
                    <a:pt x="239" y="206"/>
                  </a:lnTo>
                  <a:lnTo>
                    <a:pt x="241" y="205"/>
                  </a:lnTo>
                  <a:lnTo>
                    <a:pt x="243" y="204"/>
                  </a:lnTo>
                  <a:lnTo>
                    <a:pt x="245" y="202"/>
                  </a:lnTo>
                  <a:lnTo>
                    <a:pt x="247" y="202"/>
                  </a:lnTo>
                  <a:lnTo>
                    <a:pt x="251" y="200"/>
                  </a:lnTo>
                  <a:lnTo>
                    <a:pt x="255" y="198"/>
                  </a:lnTo>
                  <a:lnTo>
                    <a:pt x="256" y="198"/>
                  </a:lnTo>
                  <a:lnTo>
                    <a:pt x="258" y="197"/>
                  </a:lnTo>
                  <a:lnTo>
                    <a:pt x="259" y="197"/>
                  </a:lnTo>
                  <a:lnTo>
                    <a:pt x="260" y="197"/>
                  </a:lnTo>
                  <a:lnTo>
                    <a:pt x="262" y="197"/>
                  </a:lnTo>
                  <a:lnTo>
                    <a:pt x="268" y="197"/>
                  </a:lnTo>
                  <a:lnTo>
                    <a:pt x="270" y="197"/>
                  </a:lnTo>
                  <a:lnTo>
                    <a:pt x="273" y="197"/>
                  </a:lnTo>
                  <a:lnTo>
                    <a:pt x="274" y="197"/>
                  </a:lnTo>
                  <a:lnTo>
                    <a:pt x="275" y="197"/>
                  </a:lnTo>
                  <a:lnTo>
                    <a:pt x="276" y="197"/>
                  </a:lnTo>
                  <a:lnTo>
                    <a:pt x="276" y="197"/>
                  </a:lnTo>
                  <a:lnTo>
                    <a:pt x="277" y="196"/>
                  </a:lnTo>
                  <a:lnTo>
                    <a:pt x="277" y="196"/>
                  </a:lnTo>
                  <a:lnTo>
                    <a:pt x="277" y="195"/>
                  </a:lnTo>
                  <a:lnTo>
                    <a:pt x="277" y="193"/>
                  </a:lnTo>
                  <a:lnTo>
                    <a:pt x="277" y="191"/>
                  </a:lnTo>
                  <a:lnTo>
                    <a:pt x="277" y="190"/>
                  </a:lnTo>
                  <a:lnTo>
                    <a:pt x="277" y="188"/>
                  </a:lnTo>
                  <a:lnTo>
                    <a:pt x="277" y="187"/>
                  </a:lnTo>
                  <a:lnTo>
                    <a:pt x="276" y="186"/>
                  </a:lnTo>
                  <a:lnTo>
                    <a:pt x="276" y="185"/>
                  </a:lnTo>
                  <a:lnTo>
                    <a:pt x="276" y="185"/>
                  </a:lnTo>
                  <a:lnTo>
                    <a:pt x="275" y="184"/>
                  </a:lnTo>
                  <a:lnTo>
                    <a:pt x="274" y="183"/>
                  </a:lnTo>
                  <a:lnTo>
                    <a:pt x="273" y="183"/>
                  </a:lnTo>
                  <a:lnTo>
                    <a:pt x="272" y="182"/>
                  </a:lnTo>
                  <a:lnTo>
                    <a:pt x="270" y="182"/>
                  </a:lnTo>
                  <a:lnTo>
                    <a:pt x="267" y="181"/>
                  </a:lnTo>
                  <a:lnTo>
                    <a:pt x="266" y="181"/>
                  </a:lnTo>
                  <a:lnTo>
                    <a:pt x="265" y="180"/>
                  </a:lnTo>
                  <a:lnTo>
                    <a:pt x="265" y="180"/>
                  </a:lnTo>
                  <a:lnTo>
                    <a:pt x="264" y="180"/>
                  </a:lnTo>
                  <a:lnTo>
                    <a:pt x="264" y="179"/>
                  </a:lnTo>
                  <a:lnTo>
                    <a:pt x="264" y="179"/>
                  </a:lnTo>
                  <a:lnTo>
                    <a:pt x="263" y="178"/>
                  </a:lnTo>
                  <a:lnTo>
                    <a:pt x="263" y="177"/>
                  </a:lnTo>
                  <a:lnTo>
                    <a:pt x="263" y="176"/>
                  </a:lnTo>
                  <a:lnTo>
                    <a:pt x="263" y="175"/>
                  </a:lnTo>
                  <a:lnTo>
                    <a:pt x="263" y="174"/>
                  </a:lnTo>
                  <a:lnTo>
                    <a:pt x="263" y="173"/>
                  </a:lnTo>
                  <a:lnTo>
                    <a:pt x="263" y="172"/>
                  </a:lnTo>
                  <a:lnTo>
                    <a:pt x="264" y="171"/>
                  </a:lnTo>
                  <a:lnTo>
                    <a:pt x="264" y="170"/>
                  </a:lnTo>
                  <a:lnTo>
                    <a:pt x="265" y="169"/>
                  </a:lnTo>
                  <a:lnTo>
                    <a:pt x="266" y="168"/>
                  </a:lnTo>
                  <a:lnTo>
                    <a:pt x="267" y="167"/>
                  </a:lnTo>
                  <a:lnTo>
                    <a:pt x="268" y="166"/>
                  </a:lnTo>
                  <a:lnTo>
                    <a:pt x="269" y="166"/>
                  </a:lnTo>
                  <a:lnTo>
                    <a:pt x="270" y="165"/>
                  </a:lnTo>
                  <a:lnTo>
                    <a:pt x="271" y="165"/>
                  </a:lnTo>
                  <a:lnTo>
                    <a:pt x="272" y="165"/>
                  </a:lnTo>
                  <a:lnTo>
                    <a:pt x="273" y="165"/>
                  </a:lnTo>
                  <a:lnTo>
                    <a:pt x="274" y="165"/>
                  </a:lnTo>
                  <a:lnTo>
                    <a:pt x="276" y="165"/>
                  </a:lnTo>
                  <a:lnTo>
                    <a:pt x="277" y="165"/>
                  </a:lnTo>
                  <a:lnTo>
                    <a:pt x="279" y="166"/>
                  </a:lnTo>
                  <a:lnTo>
                    <a:pt x="281" y="167"/>
                  </a:lnTo>
                  <a:lnTo>
                    <a:pt x="283" y="168"/>
                  </a:lnTo>
                  <a:lnTo>
                    <a:pt x="284" y="169"/>
                  </a:lnTo>
                  <a:lnTo>
                    <a:pt x="285" y="170"/>
                  </a:lnTo>
                  <a:lnTo>
                    <a:pt x="290" y="173"/>
                  </a:lnTo>
                  <a:lnTo>
                    <a:pt x="291" y="175"/>
                  </a:lnTo>
                  <a:lnTo>
                    <a:pt x="292" y="176"/>
                  </a:lnTo>
                  <a:lnTo>
                    <a:pt x="293" y="177"/>
                  </a:lnTo>
                  <a:lnTo>
                    <a:pt x="294" y="179"/>
                  </a:lnTo>
                  <a:lnTo>
                    <a:pt x="298" y="187"/>
                  </a:lnTo>
                  <a:lnTo>
                    <a:pt x="299" y="188"/>
                  </a:lnTo>
                  <a:lnTo>
                    <a:pt x="299" y="189"/>
                  </a:lnTo>
                  <a:lnTo>
                    <a:pt x="301" y="194"/>
                  </a:lnTo>
                  <a:lnTo>
                    <a:pt x="301" y="196"/>
                  </a:lnTo>
                  <a:lnTo>
                    <a:pt x="302" y="197"/>
                  </a:lnTo>
                  <a:lnTo>
                    <a:pt x="303" y="199"/>
                  </a:lnTo>
                  <a:lnTo>
                    <a:pt x="304" y="200"/>
                  </a:lnTo>
                  <a:lnTo>
                    <a:pt x="305" y="202"/>
                  </a:lnTo>
                  <a:lnTo>
                    <a:pt x="306" y="202"/>
                  </a:lnTo>
                  <a:lnTo>
                    <a:pt x="307" y="203"/>
                  </a:lnTo>
                  <a:lnTo>
                    <a:pt x="308" y="204"/>
                  </a:lnTo>
                  <a:lnTo>
                    <a:pt x="309" y="204"/>
                  </a:lnTo>
                  <a:lnTo>
                    <a:pt x="310" y="205"/>
                  </a:lnTo>
                  <a:lnTo>
                    <a:pt x="311" y="205"/>
                  </a:lnTo>
                  <a:lnTo>
                    <a:pt x="315" y="207"/>
                  </a:lnTo>
                  <a:lnTo>
                    <a:pt x="322" y="209"/>
                  </a:lnTo>
                  <a:lnTo>
                    <a:pt x="323" y="210"/>
                  </a:lnTo>
                  <a:lnTo>
                    <a:pt x="324" y="210"/>
                  </a:lnTo>
                  <a:lnTo>
                    <a:pt x="325" y="210"/>
                  </a:lnTo>
                  <a:lnTo>
                    <a:pt x="326" y="210"/>
                  </a:lnTo>
                  <a:lnTo>
                    <a:pt x="327" y="209"/>
                  </a:lnTo>
                  <a:lnTo>
                    <a:pt x="328" y="209"/>
                  </a:lnTo>
                  <a:lnTo>
                    <a:pt x="329" y="209"/>
                  </a:lnTo>
                  <a:lnTo>
                    <a:pt x="330" y="208"/>
                  </a:lnTo>
                  <a:lnTo>
                    <a:pt x="332" y="206"/>
                  </a:lnTo>
                  <a:lnTo>
                    <a:pt x="333" y="206"/>
                  </a:lnTo>
                  <a:lnTo>
                    <a:pt x="334" y="205"/>
                  </a:lnTo>
                  <a:lnTo>
                    <a:pt x="335" y="205"/>
                  </a:lnTo>
                  <a:lnTo>
                    <a:pt x="336" y="205"/>
                  </a:lnTo>
                  <a:lnTo>
                    <a:pt x="336" y="204"/>
                  </a:lnTo>
                  <a:lnTo>
                    <a:pt x="338" y="204"/>
                  </a:lnTo>
                  <a:lnTo>
                    <a:pt x="339" y="204"/>
                  </a:lnTo>
                  <a:lnTo>
                    <a:pt x="340" y="205"/>
                  </a:lnTo>
                  <a:lnTo>
                    <a:pt x="341" y="205"/>
                  </a:lnTo>
                  <a:lnTo>
                    <a:pt x="343" y="205"/>
                  </a:lnTo>
                  <a:lnTo>
                    <a:pt x="344" y="206"/>
                  </a:lnTo>
                  <a:lnTo>
                    <a:pt x="345" y="206"/>
                  </a:lnTo>
                  <a:lnTo>
                    <a:pt x="345" y="207"/>
                  </a:lnTo>
                  <a:lnTo>
                    <a:pt x="346" y="207"/>
                  </a:lnTo>
                  <a:lnTo>
                    <a:pt x="347" y="208"/>
                  </a:lnTo>
                  <a:lnTo>
                    <a:pt x="348" y="209"/>
                  </a:lnTo>
                  <a:lnTo>
                    <a:pt x="349" y="211"/>
                  </a:lnTo>
                  <a:lnTo>
                    <a:pt x="351" y="214"/>
                  </a:lnTo>
                  <a:lnTo>
                    <a:pt x="352" y="215"/>
                  </a:lnTo>
                  <a:lnTo>
                    <a:pt x="353" y="217"/>
                  </a:lnTo>
                  <a:lnTo>
                    <a:pt x="354" y="217"/>
                  </a:lnTo>
                  <a:lnTo>
                    <a:pt x="355" y="218"/>
                  </a:lnTo>
                  <a:lnTo>
                    <a:pt x="356" y="219"/>
                  </a:lnTo>
                  <a:lnTo>
                    <a:pt x="358" y="219"/>
                  </a:lnTo>
                  <a:lnTo>
                    <a:pt x="359" y="220"/>
                  </a:lnTo>
                  <a:lnTo>
                    <a:pt x="366" y="222"/>
                  </a:lnTo>
                  <a:lnTo>
                    <a:pt x="367" y="222"/>
                  </a:lnTo>
                  <a:lnTo>
                    <a:pt x="369" y="223"/>
                  </a:lnTo>
                  <a:lnTo>
                    <a:pt x="371" y="224"/>
                  </a:lnTo>
                  <a:lnTo>
                    <a:pt x="372" y="225"/>
                  </a:lnTo>
                  <a:lnTo>
                    <a:pt x="374" y="226"/>
                  </a:lnTo>
                  <a:lnTo>
                    <a:pt x="375" y="226"/>
                  </a:lnTo>
                  <a:lnTo>
                    <a:pt x="375" y="227"/>
                  </a:lnTo>
                  <a:lnTo>
                    <a:pt x="376" y="228"/>
                  </a:lnTo>
                  <a:lnTo>
                    <a:pt x="377" y="229"/>
                  </a:lnTo>
                  <a:lnTo>
                    <a:pt x="378" y="230"/>
                  </a:lnTo>
                  <a:lnTo>
                    <a:pt x="379" y="233"/>
                  </a:lnTo>
                  <a:lnTo>
                    <a:pt x="380" y="238"/>
                  </a:lnTo>
                  <a:lnTo>
                    <a:pt x="381" y="239"/>
                  </a:lnTo>
                  <a:lnTo>
                    <a:pt x="382" y="241"/>
                  </a:lnTo>
                  <a:lnTo>
                    <a:pt x="383" y="242"/>
                  </a:lnTo>
                  <a:lnTo>
                    <a:pt x="384" y="244"/>
                  </a:lnTo>
                  <a:lnTo>
                    <a:pt x="385" y="245"/>
                  </a:lnTo>
                  <a:lnTo>
                    <a:pt x="386" y="246"/>
                  </a:lnTo>
                  <a:lnTo>
                    <a:pt x="387" y="247"/>
                  </a:lnTo>
                  <a:lnTo>
                    <a:pt x="388" y="248"/>
                  </a:lnTo>
                  <a:lnTo>
                    <a:pt x="390" y="249"/>
                  </a:lnTo>
                  <a:lnTo>
                    <a:pt x="391" y="250"/>
                  </a:lnTo>
                  <a:lnTo>
                    <a:pt x="392" y="250"/>
                  </a:lnTo>
                  <a:lnTo>
                    <a:pt x="393" y="251"/>
                  </a:lnTo>
                  <a:lnTo>
                    <a:pt x="394" y="251"/>
                  </a:lnTo>
                  <a:lnTo>
                    <a:pt x="395" y="251"/>
                  </a:lnTo>
                  <a:lnTo>
                    <a:pt x="397" y="251"/>
                  </a:lnTo>
                  <a:lnTo>
                    <a:pt x="398" y="251"/>
                  </a:lnTo>
                  <a:lnTo>
                    <a:pt x="398" y="250"/>
                  </a:lnTo>
                  <a:lnTo>
                    <a:pt x="399" y="250"/>
                  </a:lnTo>
                  <a:lnTo>
                    <a:pt x="402" y="248"/>
                  </a:lnTo>
                  <a:lnTo>
                    <a:pt x="404" y="247"/>
                  </a:lnTo>
                  <a:lnTo>
                    <a:pt x="405" y="246"/>
                  </a:lnTo>
                  <a:lnTo>
                    <a:pt x="405" y="245"/>
                  </a:lnTo>
                  <a:lnTo>
                    <a:pt x="406" y="244"/>
                  </a:lnTo>
                  <a:lnTo>
                    <a:pt x="406" y="244"/>
                  </a:lnTo>
                  <a:lnTo>
                    <a:pt x="406" y="242"/>
                  </a:lnTo>
                  <a:lnTo>
                    <a:pt x="406" y="241"/>
                  </a:lnTo>
                  <a:lnTo>
                    <a:pt x="406" y="240"/>
                  </a:lnTo>
                  <a:lnTo>
                    <a:pt x="405" y="238"/>
                  </a:lnTo>
                  <a:lnTo>
                    <a:pt x="405" y="238"/>
                  </a:lnTo>
                  <a:lnTo>
                    <a:pt x="405" y="237"/>
                  </a:lnTo>
                  <a:lnTo>
                    <a:pt x="405" y="237"/>
                  </a:lnTo>
                  <a:lnTo>
                    <a:pt x="406" y="236"/>
                  </a:lnTo>
                  <a:lnTo>
                    <a:pt x="406" y="236"/>
                  </a:lnTo>
                  <a:lnTo>
                    <a:pt x="407" y="236"/>
                  </a:lnTo>
                  <a:lnTo>
                    <a:pt x="408" y="236"/>
                  </a:lnTo>
                  <a:lnTo>
                    <a:pt x="410" y="237"/>
                  </a:lnTo>
                  <a:lnTo>
                    <a:pt x="412" y="237"/>
                  </a:lnTo>
                  <a:lnTo>
                    <a:pt x="417" y="238"/>
                  </a:lnTo>
                  <a:lnTo>
                    <a:pt x="420" y="239"/>
                  </a:lnTo>
                  <a:lnTo>
                    <a:pt x="422" y="239"/>
                  </a:lnTo>
                  <a:lnTo>
                    <a:pt x="424" y="239"/>
                  </a:lnTo>
                  <a:lnTo>
                    <a:pt x="427" y="240"/>
                  </a:lnTo>
                  <a:lnTo>
                    <a:pt x="433" y="240"/>
                  </a:lnTo>
                  <a:lnTo>
                    <a:pt x="436" y="240"/>
                  </a:lnTo>
                  <a:lnTo>
                    <a:pt x="438" y="240"/>
                  </a:lnTo>
                  <a:lnTo>
                    <a:pt x="440" y="241"/>
                  </a:lnTo>
                  <a:lnTo>
                    <a:pt x="440" y="241"/>
                  </a:lnTo>
                  <a:lnTo>
                    <a:pt x="442" y="241"/>
                  </a:lnTo>
                  <a:lnTo>
                    <a:pt x="443" y="242"/>
                  </a:lnTo>
                  <a:lnTo>
                    <a:pt x="450" y="246"/>
                  </a:lnTo>
                  <a:lnTo>
                    <a:pt x="454" y="248"/>
                  </a:lnTo>
                  <a:lnTo>
                    <a:pt x="456" y="249"/>
                  </a:lnTo>
                  <a:lnTo>
                    <a:pt x="458" y="250"/>
                  </a:lnTo>
                  <a:lnTo>
                    <a:pt x="466" y="256"/>
                  </a:lnTo>
                  <a:lnTo>
                    <a:pt x="468" y="257"/>
                  </a:lnTo>
                  <a:lnTo>
                    <a:pt x="469" y="257"/>
                  </a:lnTo>
                  <a:lnTo>
                    <a:pt x="470" y="258"/>
                  </a:lnTo>
                  <a:lnTo>
                    <a:pt x="473" y="259"/>
                  </a:lnTo>
                  <a:lnTo>
                    <a:pt x="475" y="260"/>
                  </a:lnTo>
                  <a:lnTo>
                    <a:pt x="477" y="260"/>
                  </a:lnTo>
                  <a:lnTo>
                    <a:pt x="479" y="260"/>
                  </a:lnTo>
                  <a:lnTo>
                    <a:pt x="481" y="260"/>
                  </a:lnTo>
                  <a:lnTo>
                    <a:pt x="482" y="260"/>
                  </a:lnTo>
                  <a:lnTo>
                    <a:pt x="483" y="260"/>
                  </a:lnTo>
                  <a:lnTo>
                    <a:pt x="484" y="260"/>
                  </a:lnTo>
                  <a:lnTo>
                    <a:pt x="485" y="260"/>
                  </a:lnTo>
                  <a:lnTo>
                    <a:pt x="486" y="259"/>
                  </a:lnTo>
                  <a:lnTo>
                    <a:pt x="487" y="259"/>
                  </a:lnTo>
                  <a:lnTo>
                    <a:pt x="488" y="258"/>
                  </a:lnTo>
                  <a:lnTo>
                    <a:pt x="488" y="257"/>
                  </a:lnTo>
                  <a:lnTo>
                    <a:pt x="489" y="256"/>
                  </a:lnTo>
                  <a:lnTo>
                    <a:pt x="489" y="256"/>
                  </a:lnTo>
                  <a:lnTo>
                    <a:pt x="490" y="255"/>
                  </a:lnTo>
                  <a:lnTo>
                    <a:pt x="490" y="254"/>
                  </a:lnTo>
                  <a:lnTo>
                    <a:pt x="491" y="251"/>
                  </a:lnTo>
                  <a:lnTo>
                    <a:pt x="492" y="249"/>
                  </a:lnTo>
                  <a:lnTo>
                    <a:pt x="492" y="249"/>
                  </a:lnTo>
                  <a:lnTo>
                    <a:pt x="492" y="248"/>
                  </a:lnTo>
                  <a:lnTo>
                    <a:pt x="493" y="248"/>
                  </a:lnTo>
                  <a:lnTo>
                    <a:pt x="493" y="247"/>
                  </a:lnTo>
                  <a:lnTo>
                    <a:pt x="494" y="247"/>
                  </a:lnTo>
                  <a:lnTo>
                    <a:pt x="495" y="247"/>
                  </a:lnTo>
                  <a:lnTo>
                    <a:pt x="495" y="247"/>
                  </a:lnTo>
                  <a:lnTo>
                    <a:pt x="496" y="247"/>
                  </a:lnTo>
                  <a:lnTo>
                    <a:pt x="497" y="247"/>
                  </a:lnTo>
                  <a:lnTo>
                    <a:pt x="498" y="248"/>
                  </a:lnTo>
                  <a:lnTo>
                    <a:pt x="499" y="248"/>
                  </a:lnTo>
                  <a:lnTo>
                    <a:pt x="500" y="248"/>
                  </a:lnTo>
                  <a:lnTo>
                    <a:pt x="501" y="249"/>
                  </a:lnTo>
                  <a:lnTo>
                    <a:pt x="502" y="249"/>
                  </a:lnTo>
                  <a:lnTo>
                    <a:pt x="502" y="250"/>
                  </a:lnTo>
                  <a:lnTo>
                    <a:pt x="503" y="251"/>
                  </a:lnTo>
                  <a:lnTo>
                    <a:pt x="503" y="252"/>
                  </a:lnTo>
                  <a:lnTo>
                    <a:pt x="504" y="253"/>
                  </a:lnTo>
                  <a:lnTo>
                    <a:pt x="504" y="254"/>
                  </a:lnTo>
                  <a:lnTo>
                    <a:pt x="505" y="256"/>
                  </a:lnTo>
                  <a:lnTo>
                    <a:pt x="505" y="258"/>
                  </a:lnTo>
                  <a:lnTo>
                    <a:pt x="505" y="260"/>
                  </a:lnTo>
                  <a:lnTo>
                    <a:pt x="505" y="265"/>
                  </a:lnTo>
                  <a:lnTo>
                    <a:pt x="505" y="268"/>
                  </a:lnTo>
                  <a:lnTo>
                    <a:pt x="505" y="270"/>
                  </a:lnTo>
                  <a:lnTo>
                    <a:pt x="505" y="271"/>
                  </a:lnTo>
                  <a:lnTo>
                    <a:pt x="505" y="272"/>
                  </a:lnTo>
                  <a:lnTo>
                    <a:pt x="505" y="272"/>
                  </a:lnTo>
                  <a:lnTo>
                    <a:pt x="506" y="274"/>
                  </a:lnTo>
                  <a:lnTo>
                    <a:pt x="506" y="275"/>
                  </a:lnTo>
                  <a:lnTo>
                    <a:pt x="506" y="276"/>
                  </a:lnTo>
                  <a:lnTo>
                    <a:pt x="507" y="276"/>
                  </a:lnTo>
                  <a:lnTo>
                    <a:pt x="508" y="277"/>
                  </a:lnTo>
                  <a:lnTo>
                    <a:pt x="508" y="278"/>
                  </a:lnTo>
                  <a:lnTo>
                    <a:pt x="509" y="279"/>
                  </a:lnTo>
                  <a:lnTo>
                    <a:pt x="510" y="280"/>
                  </a:lnTo>
                  <a:lnTo>
                    <a:pt x="512" y="282"/>
                  </a:lnTo>
                  <a:lnTo>
                    <a:pt x="513" y="283"/>
                  </a:lnTo>
                  <a:lnTo>
                    <a:pt x="514" y="284"/>
                  </a:lnTo>
                  <a:lnTo>
                    <a:pt x="514" y="284"/>
                  </a:lnTo>
                  <a:lnTo>
                    <a:pt x="514" y="285"/>
                  </a:lnTo>
                  <a:lnTo>
                    <a:pt x="515" y="285"/>
                  </a:lnTo>
                  <a:lnTo>
                    <a:pt x="515" y="286"/>
                  </a:lnTo>
                  <a:lnTo>
                    <a:pt x="515" y="287"/>
                  </a:lnTo>
                  <a:lnTo>
                    <a:pt x="514" y="288"/>
                  </a:lnTo>
                  <a:lnTo>
                    <a:pt x="514" y="289"/>
                  </a:lnTo>
                  <a:lnTo>
                    <a:pt x="512" y="292"/>
                  </a:lnTo>
                  <a:lnTo>
                    <a:pt x="511" y="296"/>
                  </a:lnTo>
                  <a:lnTo>
                    <a:pt x="509" y="300"/>
                  </a:lnTo>
                  <a:lnTo>
                    <a:pt x="509" y="301"/>
                  </a:lnTo>
                  <a:lnTo>
                    <a:pt x="508" y="302"/>
                  </a:lnTo>
                  <a:lnTo>
                    <a:pt x="508" y="304"/>
                  </a:lnTo>
                  <a:lnTo>
                    <a:pt x="508" y="306"/>
                  </a:lnTo>
                  <a:lnTo>
                    <a:pt x="508" y="308"/>
                  </a:lnTo>
                  <a:lnTo>
                    <a:pt x="509" y="310"/>
                  </a:lnTo>
                  <a:lnTo>
                    <a:pt x="509" y="312"/>
                  </a:lnTo>
                  <a:lnTo>
                    <a:pt x="511" y="315"/>
                  </a:lnTo>
                  <a:lnTo>
                    <a:pt x="511" y="317"/>
                  </a:lnTo>
                  <a:lnTo>
                    <a:pt x="512" y="319"/>
                  </a:lnTo>
                  <a:lnTo>
                    <a:pt x="513" y="321"/>
                  </a:lnTo>
                  <a:lnTo>
                    <a:pt x="515" y="325"/>
                  </a:lnTo>
                  <a:lnTo>
                    <a:pt x="517" y="330"/>
                  </a:lnTo>
                  <a:lnTo>
                    <a:pt x="519" y="336"/>
                  </a:lnTo>
                  <a:lnTo>
                    <a:pt x="524" y="345"/>
                  </a:lnTo>
                  <a:lnTo>
                    <a:pt x="527" y="353"/>
                  </a:lnTo>
                  <a:lnTo>
                    <a:pt x="529" y="358"/>
                  </a:lnTo>
                  <a:lnTo>
                    <a:pt x="530" y="360"/>
                  </a:lnTo>
                  <a:lnTo>
                    <a:pt x="531" y="361"/>
                  </a:lnTo>
                  <a:lnTo>
                    <a:pt x="531" y="363"/>
                  </a:lnTo>
                  <a:lnTo>
                    <a:pt x="533" y="369"/>
                  </a:lnTo>
                  <a:lnTo>
                    <a:pt x="534" y="371"/>
                  </a:lnTo>
                  <a:lnTo>
                    <a:pt x="534" y="373"/>
                  </a:lnTo>
                  <a:lnTo>
                    <a:pt x="535" y="374"/>
                  </a:lnTo>
                  <a:lnTo>
                    <a:pt x="535" y="375"/>
                  </a:lnTo>
                  <a:lnTo>
                    <a:pt x="536" y="376"/>
                  </a:lnTo>
                  <a:lnTo>
                    <a:pt x="537" y="377"/>
                  </a:lnTo>
                  <a:lnTo>
                    <a:pt x="538" y="378"/>
                  </a:lnTo>
                  <a:lnTo>
                    <a:pt x="538" y="379"/>
                  </a:lnTo>
                  <a:lnTo>
                    <a:pt x="539" y="380"/>
                  </a:lnTo>
                  <a:lnTo>
                    <a:pt x="541" y="380"/>
                  </a:lnTo>
                  <a:lnTo>
                    <a:pt x="542" y="381"/>
                  </a:lnTo>
                  <a:lnTo>
                    <a:pt x="543" y="382"/>
                  </a:lnTo>
                  <a:lnTo>
                    <a:pt x="544" y="382"/>
                  </a:lnTo>
                  <a:lnTo>
                    <a:pt x="546" y="383"/>
                  </a:lnTo>
                  <a:lnTo>
                    <a:pt x="552" y="385"/>
                  </a:lnTo>
                  <a:lnTo>
                    <a:pt x="554" y="385"/>
                  </a:lnTo>
                  <a:lnTo>
                    <a:pt x="559" y="386"/>
                  </a:lnTo>
                  <a:lnTo>
                    <a:pt x="561" y="386"/>
                  </a:lnTo>
                  <a:lnTo>
                    <a:pt x="562" y="386"/>
                  </a:lnTo>
                  <a:lnTo>
                    <a:pt x="563" y="387"/>
                  </a:lnTo>
                  <a:lnTo>
                    <a:pt x="565" y="388"/>
                  </a:lnTo>
                  <a:lnTo>
                    <a:pt x="567" y="388"/>
                  </a:lnTo>
                  <a:lnTo>
                    <a:pt x="568" y="390"/>
                  </a:lnTo>
                  <a:lnTo>
                    <a:pt x="570" y="392"/>
                  </a:lnTo>
                  <a:lnTo>
                    <a:pt x="573" y="395"/>
                  </a:lnTo>
                  <a:lnTo>
                    <a:pt x="574" y="396"/>
                  </a:lnTo>
                  <a:lnTo>
                    <a:pt x="575" y="397"/>
                  </a:lnTo>
                  <a:lnTo>
                    <a:pt x="576" y="397"/>
                  </a:lnTo>
                  <a:lnTo>
                    <a:pt x="578" y="398"/>
                  </a:lnTo>
                  <a:lnTo>
                    <a:pt x="580" y="399"/>
                  </a:lnTo>
                  <a:lnTo>
                    <a:pt x="582" y="399"/>
                  </a:lnTo>
                  <a:lnTo>
                    <a:pt x="583" y="400"/>
                  </a:lnTo>
                  <a:lnTo>
                    <a:pt x="585" y="400"/>
                  </a:lnTo>
                  <a:lnTo>
                    <a:pt x="586" y="400"/>
                  </a:lnTo>
                  <a:lnTo>
                    <a:pt x="587" y="400"/>
                  </a:lnTo>
                  <a:lnTo>
                    <a:pt x="588" y="400"/>
                  </a:lnTo>
                  <a:lnTo>
                    <a:pt x="592" y="399"/>
                  </a:lnTo>
                  <a:lnTo>
                    <a:pt x="595" y="399"/>
                  </a:lnTo>
                  <a:lnTo>
                    <a:pt x="597" y="399"/>
                  </a:lnTo>
                  <a:lnTo>
                    <a:pt x="598" y="399"/>
                  </a:lnTo>
                  <a:lnTo>
                    <a:pt x="599" y="399"/>
                  </a:lnTo>
                  <a:lnTo>
                    <a:pt x="600" y="399"/>
                  </a:lnTo>
                  <a:lnTo>
                    <a:pt x="602" y="400"/>
                  </a:lnTo>
                  <a:lnTo>
                    <a:pt x="604" y="400"/>
                  </a:lnTo>
                  <a:lnTo>
                    <a:pt x="605" y="401"/>
                  </a:lnTo>
                  <a:lnTo>
                    <a:pt x="606" y="402"/>
                  </a:lnTo>
                  <a:lnTo>
                    <a:pt x="607" y="403"/>
                  </a:lnTo>
                  <a:lnTo>
                    <a:pt x="608" y="403"/>
                  </a:lnTo>
                  <a:lnTo>
                    <a:pt x="609" y="404"/>
                  </a:lnTo>
                  <a:lnTo>
                    <a:pt x="610" y="405"/>
                  </a:lnTo>
                  <a:lnTo>
                    <a:pt x="610" y="407"/>
                  </a:lnTo>
                  <a:lnTo>
                    <a:pt x="610" y="408"/>
                  </a:lnTo>
                  <a:lnTo>
                    <a:pt x="611" y="410"/>
                  </a:lnTo>
                  <a:lnTo>
                    <a:pt x="612" y="413"/>
                  </a:lnTo>
                  <a:lnTo>
                    <a:pt x="613" y="419"/>
                  </a:lnTo>
                  <a:lnTo>
                    <a:pt x="615" y="427"/>
                  </a:lnTo>
                  <a:lnTo>
                    <a:pt x="619" y="439"/>
                  </a:lnTo>
                  <a:lnTo>
                    <a:pt x="621" y="447"/>
                  </a:lnTo>
                  <a:lnTo>
                    <a:pt x="621" y="449"/>
                  </a:lnTo>
                  <a:lnTo>
                    <a:pt x="622" y="450"/>
                  </a:lnTo>
                  <a:lnTo>
                    <a:pt x="623" y="452"/>
                  </a:lnTo>
                  <a:lnTo>
                    <a:pt x="624" y="455"/>
                  </a:lnTo>
                  <a:lnTo>
                    <a:pt x="625" y="456"/>
                  </a:lnTo>
                  <a:lnTo>
                    <a:pt x="625" y="458"/>
                  </a:lnTo>
                  <a:lnTo>
                    <a:pt x="626" y="464"/>
                  </a:lnTo>
                  <a:lnTo>
                    <a:pt x="627" y="466"/>
                  </a:lnTo>
                  <a:lnTo>
                    <a:pt x="627" y="468"/>
                  </a:lnTo>
                  <a:lnTo>
                    <a:pt x="628" y="471"/>
                  </a:lnTo>
                  <a:lnTo>
                    <a:pt x="629" y="474"/>
                  </a:lnTo>
                  <a:lnTo>
                    <a:pt x="630" y="475"/>
                  </a:lnTo>
                  <a:lnTo>
                    <a:pt x="632" y="479"/>
                  </a:lnTo>
                  <a:lnTo>
                    <a:pt x="634" y="482"/>
                  </a:lnTo>
                  <a:lnTo>
                    <a:pt x="634" y="484"/>
                  </a:lnTo>
                  <a:lnTo>
                    <a:pt x="635" y="485"/>
                  </a:lnTo>
                  <a:lnTo>
                    <a:pt x="635" y="487"/>
                  </a:lnTo>
                  <a:lnTo>
                    <a:pt x="635" y="488"/>
                  </a:lnTo>
                  <a:lnTo>
                    <a:pt x="635" y="490"/>
                  </a:lnTo>
                  <a:lnTo>
                    <a:pt x="635" y="491"/>
                  </a:lnTo>
                  <a:lnTo>
                    <a:pt x="634" y="492"/>
                  </a:lnTo>
                  <a:lnTo>
                    <a:pt x="633" y="496"/>
                  </a:lnTo>
                  <a:lnTo>
                    <a:pt x="632" y="499"/>
                  </a:lnTo>
                  <a:lnTo>
                    <a:pt x="631" y="502"/>
                  </a:lnTo>
                  <a:lnTo>
                    <a:pt x="631" y="503"/>
                  </a:lnTo>
                  <a:lnTo>
                    <a:pt x="631" y="504"/>
                  </a:lnTo>
                  <a:lnTo>
                    <a:pt x="630" y="504"/>
                  </a:lnTo>
                  <a:lnTo>
                    <a:pt x="629" y="505"/>
                  </a:lnTo>
                  <a:lnTo>
                    <a:pt x="629" y="505"/>
                  </a:lnTo>
                  <a:lnTo>
                    <a:pt x="628" y="506"/>
                  </a:lnTo>
                  <a:lnTo>
                    <a:pt x="626" y="506"/>
                  </a:lnTo>
                  <a:lnTo>
                    <a:pt x="622" y="508"/>
                  </a:lnTo>
                  <a:lnTo>
                    <a:pt x="620" y="508"/>
                  </a:lnTo>
                  <a:lnTo>
                    <a:pt x="618" y="509"/>
                  </a:lnTo>
                  <a:lnTo>
                    <a:pt x="616" y="510"/>
                  </a:lnTo>
                  <a:lnTo>
                    <a:pt x="611" y="513"/>
                  </a:lnTo>
                  <a:lnTo>
                    <a:pt x="608" y="514"/>
                  </a:lnTo>
                  <a:lnTo>
                    <a:pt x="605" y="516"/>
                  </a:lnTo>
                  <a:lnTo>
                    <a:pt x="600" y="520"/>
                  </a:lnTo>
                  <a:lnTo>
                    <a:pt x="598" y="521"/>
                  </a:lnTo>
                  <a:lnTo>
                    <a:pt x="596" y="522"/>
                  </a:lnTo>
                  <a:lnTo>
                    <a:pt x="594" y="522"/>
                  </a:lnTo>
                  <a:lnTo>
                    <a:pt x="593" y="523"/>
                  </a:lnTo>
                  <a:lnTo>
                    <a:pt x="592" y="523"/>
                  </a:lnTo>
                  <a:lnTo>
                    <a:pt x="590" y="523"/>
                  </a:lnTo>
                  <a:lnTo>
                    <a:pt x="589" y="523"/>
                  </a:lnTo>
                  <a:lnTo>
                    <a:pt x="588" y="523"/>
                  </a:lnTo>
                  <a:lnTo>
                    <a:pt x="587" y="523"/>
                  </a:lnTo>
                  <a:lnTo>
                    <a:pt x="584" y="522"/>
                  </a:lnTo>
                  <a:lnTo>
                    <a:pt x="579" y="521"/>
                  </a:lnTo>
                  <a:lnTo>
                    <a:pt x="577" y="520"/>
                  </a:lnTo>
                  <a:lnTo>
                    <a:pt x="575" y="520"/>
                  </a:lnTo>
                  <a:lnTo>
                    <a:pt x="573" y="519"/>
                  </a:lnTo>
                  <a:lnTo>
                    <a:pt x="569" y="519"/>
                  </a:lnTo>
                  <a:lnTo>
                    <a:pt x="564" y="518"/>
                  </a:lnTo>
                  <a:lnTo>
                    <a:pt x="562" y="518"/>
                  </a:lnTo>
                  <a:lnTo>
                    <a:pt x="560" y="518"/>
                  </a:lnTo>
                  <a:lnTo>
                    <a:pt x="557" y="518"/>
                  </a:lnTo>
                  <a:lnTo>
                    <a:pt x="552" y="519"/>
                  </a:lnTo>
                  <a:lnTo>
                    <a:pt x="544" y="521"/>
                  </a:lnTo>
                  <a:lnTo>
                    <a:pt x="542" y="521"/>
                  </a:lnTo>
                  <a:lnTo>
                    <a:pt x="539" y="522"/>
                  </a:lnTo>
                  <a:lnTo>
                    <a:pt x="537" y="522"/>
                  </a:lnTo>
                  <a:lnTo>
                    <a:pt x="536" y="522"/>
                  </a:lnTo>
                  <a:lnTo>
                    <a:pt x="534" y="521"/>
                  </a:lnTo>
                  <a:lnTo>
                    <a:pt x="533" y="521"/>
                  </a:lnTo>
                  <a:lnTo>
                    <a:pt x="532" y="521"/>
                  </a:lnTo>
                  <a:lnTo>
                    <a:pt x="531" y="520"/>
                  </a:lnTo>
                  <a:lnTo>
                    <a:pt x="528" y="519"/>
                  </a:lnTo>
                  <a:lnTo>
                    <a:pt x="526" y="518"/>
                  </a:lnTo>
                  <a:lnTo>
                    <a:pt x="525" y="518"/>
                  </a:lnTo>
                  <a:lnTo>
                    <a:pt x="523" y="518"/>
                  </a:lnTo>
                  <a:lnTo>
                    <a:pt x="522" y="518"/>
                  </a:lnTo>
                  <a:lnTo>
                    <a:pt x="521" y="518"/>
                  </a:lnTo>
                  <a:lnTo>
                    <a:pt x="519" y="518"/>
                  </a:lnTo>
                  <a:lnTo>
                    <a:pt x="517" y="518"/>
                  </a:lnTo>
                  <a:lnTo>
                    <a:pt x="516" y="519"/>
                  </a:lnTo>
                  <a:lnTo>
                    <a:pt x="515" y="519"/>
                  </a:lnTo>
                  <a:lnTo>
                    <a:pt x="514" y="519"/>
                  </a:lnTo>
                  <a:lnTo>
                    <a:pt x="513" y="520"/>
                  </a:lnTo>
                  <a:lnTo>
                    <a:pt x="511" y="521"/>
                  </a:lnTo>
                  <a:lnTo>
                    <a:pt x="510" y="521"/>
                  </a:lnTo>
                  <a:lnTo>
                    <a:pt x="509" y="522"/>
                  </a:lnTo>
                  <a:lnTo>
                    <a:pt x="507" y="523"/>
                  </a:lnTo>
                  <a:lnTo>
                    <a:pt x="507" y="524"/>
                  </a:lnTo>
                  <a:lnTo>
                    <a:pt x="506" y="526"/>
                  </a:lnTo>
                  <a:lnTo>
                    <a:pt x="505" y="527"/>
                  </a:lnTo>
                  <a:lnTo>
                    <a:pt x="504" y="528"/>
                  </a:lnTo>
                  <a:lnTo>
                    <a:pt x="504" y="529"/>
                  </a:lnTo>
                  <a:lnTo>
                    <a:pt x="504" y="530"/>
                  </a:lnTo>
                  <a:lnTo>
                    <a:pt x="504" y="531"/>
                  </a:lnTo>
                  <a:lnTo>
                    <a:pt x="503" y="532"/>
                  </a:lnTo>
                  <a:lnTo>
                    <a:pt x="503" y="534"/>
                  </a:lnTo>
                  <a:lnTo>
                    <a:pt x="503" y="538"/>
                  </a:lnTo>
                  <a:lnTo>
                    <a:pt x="504" y="540"/>
                  </a:lnTo>
                  <a:lnTo>
                    <a:pt x="503" y="541"/>
                  </a:lnTo>
                  <a:lnTo>
                    <a:pt x="503" y="542"/>
                  </a:lnTo>
                  <a:lnTo>
                    <a:pt x="503" y="544"/>
                  </a:lnTo>
                  <a:lnTo>
                    <a:pt x="502" y="545"/>
                  </a:lnTo>
                  <a:lnTo>
                    <a:pt x="502" y="546"/>
                  </a:lnTo>
                  <a:lnTo>
                    <a:pt x="501" y="548"/>
                  </a:lnTo>
                  <a:lnTo>
                    <a:pt x="499" y="551"/>
                  </a:lnTo>
                  <a:lnTo>
                    <a:pt x="496" y="555"/>
                  </a:lnTo>
                  <a:lnTo>
                    <a:pt x="494" y="557"/>
                  </a:lnTo>
                  <a:lnTo>
                    <a:pt x="490" y="562"/>
                  </a:lnTo>
                  <a:lnTo>
                    <a:pt x="486" y="567"/>
                  </a:lnTo>
                  <a:lnTo>
                    <a:pt x="485" y="568"/>
                  </a:lnTo>
                  <a:lnTo>
                    <a:pt x="484" y="571"/>
                  </a:lnTo>
                  <a:lnTo>
                    <a:pt x="481" y="575"/>
                  </a:lnTo>
                  <a:lnTo>
                    <a:pt x="477" y="581"/>
                  </a:lnTo>
                  <a:lnTo>
                    <a:pt x="477" y="582"/>
                  </a:lnTo>
                  <a:lnTo>
                    <a:pt x="475" y="584"/>
                  </a:lnTo>
                  <a:lnTo>
                    <a:pt x="474" y="585"/>
                  </a:lnTo>
                  <a:lnTo>
                    <a:pt x="473" y="587"/>
                  </a:lnTo>
                  <a:lnTo>
                    <a:pt x="471" y="588"/>
                  </a:lnTo>
                  <a:lnTo>
                    <a:pt x="470" y="589"/>
                  </a:lnTo>
                  <a:lnTo>
                    <a:pt x="468" y="590"/>
                  </a:lnTo>
                  <a:lnTo>
                    <a:pt x="466" y="591"/>
                  </a:lnTo>
                  <a:lnTo>
                    <a:pt x="465" y="592"/>
                  </a:lnTo>
                  <a:lnTo>
                    <a:pt x="463" y="592"/>
                  </a:lnTo>
                  <a:lnTo>
                    <a:pt x="462" y="593"/>
                  </a:lnTo>
                  <a:lnTo>
                    <a:pt x="460" y="593"/>
                  </a:lnTo>
                  <a:lnTo>
                    <a:pt x="459" y="593"/>
                  </a:lnTo>
                  <a:lnTo>
                    <a:pt x="457" y="593"/>
                  </a:lnTo>
                  <a:lnTo>
                    <a:pt x="455" y="593"/>
                  </a:lnTo>
                  <a:lnTo>
                    <a:pt x="454" y="593"/>
                  </a:lnTo>
                  <a:lnTo>
                    <a:pt x="448" y="593"/>
                  </a:lnTo>
                  <a:lnTo>
                    <a:pt x="448" y="593"/>
                  </a:lnTo>
                  <a:lnTo>
                    <a:pt x="448" y="593"/>
                  </a:lnTo>
                  <a:lnTo>
                    <a:pt x="447" y="593"/>
                  </a:lnTo>
                  <a:lnTo>
                    <a:pt x="447" y="593"/>
                  </a:lnTo>
                  <a:lnTo>
                    <a:pt x="445" y="592"/>
                  </a:lnTo>
                  <a:lnTo>
                    <a:pt x="444" y="592"/>
                  </a:lnTo>
                  <a:lnTo>
                    <a:pt x="442" y="591"/>
                  </a:lnTo>
                  <a:lnTo>
                    <a:pt x="441" y="590"/>
                  </a:lnTo>
                  <a:lnTo>
                    <a:pt x="439" y="589"/>
                  </a:lnTo>
                  <a:lnTo>
                    <a:pt x="438" y="588"/>
                  </a:lnTo>
                  <a:lnTo>
                    <a:pt x="437" y="587"/>
                  </a:lnTo>
                  <a:lnTo>
                    <a:pt x="437" y="586"/>
                  </a:lnTo>
                  <a:lnTo>
                    <a:pt x="436" y="585"/>
                  </a:lnTo>
                  <a:lnTo>
                    <a:pt x="435" y="584"/>
                  </a:lnTo>
                  <a:lnTo>
                    <a:pt x="435" y="583"/>
                  </a:lnTo>
                  <a:lnTo>
                    <a:pt x="434" y="581"/>
                  </a:lnTo>
                  <a:lnTo>
                    <a:pt x="432" y="575"/>
                  </a:lnTo>
                  <a:lnTo>
                    <a:pt x="431" y="574"/>
                  </a:lnTo>
                  <a:lnTo>
                    <a:pt x="430" y="573"/>
                  </a:lnTo>
                  <a:lnTo>
                    <a:pt x="430" y="572"/>
                  </a:lnTo>
                  <a:lnTo>
                    <a:pt x="429" y="571"/>
                  </a:lnTo>
                  <a:lnTo>
                    <a:pt x="426" y="567"/>
                  </a:lnTo>
                  <a:lnTo>
                    <a:pt x="425" y="565"/>
                  </a:lnTo>
                  <a:lnTo>
                    <a:pt x="424" y="565"/>
                  </a:lnTo>
                  <a:lnTo>
                    <a:pt x="423" y="564"/>
                  </a:lnTo>
                  <a:lnTo>
                    <a:pt x="421" y="562"/>
                  </a:lnTo>
                  <a:lnTo>
                    <a:pt x="414" y="557"/>
                  </a:lnTo>
                  <a:lnTo>
                    <a:pt x="412" y="556"/>
                  </a:lnTo>
                  <a:lnTo>
                    <a:pt x="411" y="555"/>
                  </a:lnTo>
                  <a:lnTo>
                    <a:pt x="410" y="554"/>
                  </a:lnTo>
                  <a:lnTo>
                    <a:pt x="409" y="552"/>
                  </a:lnTo>
                  <a:lnTo>
                    <a:pt x="408" y="551"/>
                  </a:lnTo>
                  <a:lnTo>
                    <a:pt x="407" y="549"/>
                  </a:lnTo>
                  <a:lnTo>
                    <a:pt x="405" y="547"/>
                  </a:lnTo>
                  <a:lnTo>
                    <a:pt x="402" y="542"/>
                  </a:lnTo>
                  <a:lnTo>
                    <a:pt x="402" y="541"/>
                  </a:lnTo>
                  <a:lnTo>
                    <a:pt x="401" y="539"/>
                  </a:lnTo>
                  <a:lnTo>
                    <a:pt x="400" y="538"/>
                  </a:lnTo>
                  <a:lnTo>
                    <a:pt x="399" y="537"/>
                  </a:lnTo>
                  <a:lnTo>
                    <a:pt x="398" y="536"/>
                  </a:lnTo>
                  <a:lnTo>
                    <a:pt x="396" y="536"/>
                  </a:lnTo>
                  <a:lnTo>
                    <a:pt x="394" y="535"/>
                  </a:lnTo>
                  <a:lnTo>
                    <a:pt x="393" y="535"/>
                  </a:lnTo>
                  <a:lnTo>
                    <a:pt x="392" y="535"/>
                  </a:lnTo>
                  <a:lnTo>
                    <a:pt x="390" y="535"/>
                  </a:lnTo>
                  <a:lnTo>
                    <a:pt x="390" y="535"/>
                  </a:lnTo>
                  <a:lnTo>
                    <a:pt x="388" y="535"/>
                  </a:lnTo>
                  <a:lnTo>
                    <a:pt x="383" y="536"/>
                  </a:lnTo>
                  <a:lnTo>
                    <a:pt x="382" y="536"/>
                  </a:lnTo>
                  <a:lnTo>
                    <a:pt x="380" y="537"/>
                  </a:lnTo>
                  <a:lnTo>
                    <a:pt x="379" y="537"/>
                  </a:lnTo>
                  <a:lnTo>
                    <a:pt x="378" y="537"/>
                  </a:lnTo>
                  <a:lnTo>
                    <a:pt x="376" y="537"/>
                  </a:lnTo>
                  <a:lnTo>
                    <a:pt x="372" y="536"/>
                  </a:lnTo>
                  <a:lnTo>
                    <a:pt x="370" y="536"/>
                  </a:lnTo>
                  <a:lnTo>
                    <a:pt x="362" y="534"/>
                  </a:lnTo>
                  <a:lnTo>
                    <a:pt x="360" y="534"/>
                  </a:lnTo>
                  <a:lnTo>
                    <a:pt x="359" y="533"/>
                  </a:lnTo>
                  <a:lnTo>
                    <a:pt x="357" y="532"/>
                  </a:lnTo>
                  <a:lnTo>
                    <a:pt x="355" y="532"/>
                  </a:lnTo>
                  <a:lnTo>
                    <a:pt x="354" y="531"/>
                  </a:lnTo>
                  <a:lnTo>
                    <a:pt x="352" y="530"/>
                  </a:lnTo>
                  <a:lnTo>
                    <a:pt x="347" y="526"/>
                  </a:lnTo>
                  <a:lnTo>
                    <a:pt x="345" y="525"/>
                  </a:lnTo>
                  <a:lnTo>
                    <a:pt x="344" y="524"/>
                  </a:lnTo>
                  <a:lnTo>
                    <a:pt x="342" y="523"/>
                  </a:lnTo>
                  <a:lnTo>
                    <a:pt x="341" y="522"/>
                  </a:lnTo>
                  <a:lnTo>
                    <a:pt x="339" y="522"/>
                  </a:lnTo>
                  <a:lnTo>
                    <a:pt x="337" y="522"/>
                  </a:lnTo>
                  <a:lnTo>
                    <a:pt x="333" y="522"/>
                  </a:lnTo>
                  <a:lnTo>
                    <a:pt x="331" y="521"/>
                  </a:lnTo>
                  <a:lnTo>
                    <a:pt x="330" y="521"/>
                  </a:lnTo>
                  <a:lnTo>
                    <a:pt x="325" y="520"/>
                  </a:lnTo>
                  <a:lnTo>
                    <a:pt x="324" y="520"/>
                  </a:lnTo>
                  <a:lnTo>
                    <a:pt x="323" y="519"/>
                  </a:lnTo>
                  <a:lnTo>
                    <a:pt x="320" y="519"/>
                  </a:lnTo>
                  <a:lnTo>
                    <a:pt x="315" y="519"/>
                  </a:lnTo>
                  <a:lnTo>
                    <a:pt x="311" y="520"/>
                  </a:lnTo>
                  <a:lnTo>
                    <a:pt x="307" y="520"/>
                  </a:lnTo>
                  <a:lnTo>
                    <a:pt x="301" y="521"/>
                  </a:lnTo>
                  <a:lnTo>
                    <a:pt x="298" y="522"/>
                  </a:lnTo>
                  <a:lnTo>
                    <a:pt x="293" y="524"/>
                  </a:lnTo>
                  <a:lnTo>
                    <a:pt x="283" y="527"/>
                  </a:lnTo>
                  <a:lnTo>
                    <a:pt x="280" y="527"/>
                  </a:lnTo>
                  <a:lnTo>
                    <a:pt x="278" y="528"/>
                  </a:lnTo>
                  <a:lnTo>
                    <a:pt x="277" y="528"/>
                  </a:lnTo>
                  <a:lnTo>
                    <a:pt x="276" y="528"/>
                  </a:lnTo>
                  <a:lnTo>
                    <a:pt x="274" y="528"/>
                  </a:lnTo>
                  <a:lnTo>
                    <a:pt x="273" y="527"/>
                  </a:lnTo>
                  <a:lnTo>
                    <a:pt x="272" y="527"/>
                  </a:lnTo>
                  <a:lnTo>
                    <a:pt x="271" y="526"/>
                  </a:lnTo>
                  <a:lnTo>
                    <a:pt x="271" y="526"/>
                  </a:lnTo>
                  <a:lnTo>
                    <a:pt x="270" y="525"/>
                  </a:lnTo>
                  <a:lnTo>
                    <a:pt x="269" y="524"/>
                  </a:lnTo>
                  <a:lnTo>
                    <a:pt x="269" y="523"/>
                  </a:lnTo>
                  <a:lnTo>
                    <a:pt x="266" y="519"/>
                  </a:lnTo>
                  <a:lnTo>
                    <a:pt x="266" y="518"/>
                  </a:lnTo>
                  <a:lnTo>
                    <a:pt x="265" y="517"/>
                  </a:lnTo>
                  <a:lnTo>
                    <a:pt x="264" y="516"/>
                  </a:lnTo>
                  <a:lnTo>
                    <a:pt x="262" y="514"/>
                  </a:lnTo>
                  <a:lnTo>
                    <a:pt x="261" y="513"/>
                  </a:lnTo>
                  <a:lnTo>
                    <a:pt x="259" y="512"/>
                  </a:lnTo>
                  <a:lnTo>
                    <a:pt x="257" y="511"/>
                  </a:lnTo>
                  <a:lnTo>
                    <a:pt x="255" y="510"/>
                  </a:lnTo>
                  <a:lnTo>
                    <a:pt x="253" y="510"/>
                  </a:lnTo>
                  <a:lnTo>
                    <a:pt x="251" y="509"/>
                  </a:lnTo>
                  <a:lnTo>
                    <a:pt x="248" y="508"/>
                  </a:lnTo>
                  <a:lnTo>
                    <a:pt x="246" y="508"/>
                  </a:lnTo>
                  <a:lnTo>
                    <a:pt x="244" y="508"/>
                  </a:lnTo>
                  <a:lnTo>
                    <a:pt x="243" y="508"/>
                  </a:lnTo>
                  <a:lnTo>
                    <a:pt x="243" y="508"/>
                  </a:lnTo>
                  <a:lnTo>
                    <a:pt x="242" y="508"/>
                  </a:lnTo>
                  <a:lnTo>
                    <a:pt x="242" y="508"/>
                  </a:lnTo>
                  <a:lnTo>
                    <a:pt x="240" y="509"/>
                  </a:lnTo>
                  <a:lnTo>
                    <a:pt x="239" y="509"/>
                  </a:lnTo>
                  <a:lnTo>
                    <a:pt x="237" y="509"/>
                  </a:lnTo>
                  <a:lnTo>
                    <a:pt x="237" y="509"/>
                  </a:lnTo>
                  <a:lnTo>
                    <a:pt x="236" y="509"/>
                  </a:lnTo>
                  <a:lnTo>
                    <a:pt x="235" y="508"/>
                  </a:lnTo>
                  <a:lnTo>
                    <a:pt x="234" y="505"/>
                  </a:lnTo>
                  <a:lnTo>
                    <a:pt x="232" y="500"/>
                  </a:lnTo>
                  <a:lnTo>
                    <a:pt x="231" y="498"/>
                  </a:lnTo>
                  <a:lnTo>
                    <a:pt x="230" y="496"/>
                  </a:lnTo>
                  <a:lnTo>
                    <a:pt x="228" y="495"/>
                  </a:lnTo>
                  <a:lnTo>
                    <a:pt x="228" y="494"/>
                  </a:lnTo>
                  <a:lnTo>
                    <a:pt x="227" y="494"/>
                  </a:lnTo>
                  <a:lnTo>
                    <a:pt x="227" y="494"/>
                  </a:lnTo>
                  <a:lnTo>
                    <a:pt x="226" y="494"/>
                  </a:lnTo>
                  <a:lnTo>
                    <a:pt x="226" y="494"/>
                  </a:lnTo>
                  <a:lnTo>
                    <a:pt x="225" y="494"/>
                  </a:lnTo>
                  <a:lnTo>
                    <a:pt x="224" y="494"/>
                  </a:lnTo>
                  <a:lnTo>
                    <a:pt x="222" y="494"/>
                  </a:lnTo>
                  <a:lnTo>
                    <a:pt x="221" y="494"/>
                  </a:lnTo>
                  <a:lnTo>
                    <a:pt x="220" y="495"/>
                  </a:lnTo>
                  <a:lnTo>
                    <a:pt x="219" y="496"/>
                  </a:lnTo>
                  <a:lnTo>
                    <a:pt x="217" y="497"/>
                  </a:lnTo>
                  <a:lnTo>
                    <a:pt x="214" y="500"/>
                  </a:lnTo>
                  <a:lnTo>
                    <a:pt x="213" y="500"/>
                  </a:lnTo>
                  <a:lnTo>
                    <a:pt x="213" y="501"/>
                  </a:lnTo>
                  <a:lnTo>
                    <a:pt x="212" y="501"/>
                  </a:lnTo>
                  <a:lnTo>
                    <a:pt x="211" y="501"/>
                  </a:lnTo>
                  <a:lnTo>
                    <a:pt x="211" y="500"/>
                  </a:lnTo>
                  <a:lnTo>
                    <a:pt x="210" y="500"/>
                  </a:lnTo>
                  <a:lnTo>
                    <a:pt x="209" y="499"/>
                  </a:lnTo>
                  <a:lnTo>
                    <a:pt x="209" y="498"/>
                  </a:lnTo>
                  <a:lnTo>
                    <a:pt x="208" y="497"/>
                  </a:lnTo>
                  <a:lnTo>
                    <a:pt x="208" y="495"/>
                  </a:lnTo>
                  <a:lnTo>
                    <a:pt x="208" y="494"/>
                  </a:lnTo>
                  <a:lnTo>
                    <a:pt x="208" y="494"/>
                  </a:lnTo>
                  <a:lnTo>
                    <a:pt x="208" y="493"/>
                  </a:lnTo>
                  <a:lnTo>
                    <a:pt x="208" y="491"/>
                  </a:lnTo>
                  <a:lnTo>
                    <a:pt x="209" y="490"/>
                  </a:lnTo>
                  <a:lnTo>
                    <a:pt x="210" y="488"/>
                  </a:lnTo>
                  <a:lnTo>
                    <a:pt x="210" y="487"/>
                  </a:lnTo>
                  <a:lnTo>
                    <a:pt x="210" y="486"/>
                  </a:lnTo>
                  <a:lnTo>
                    <a:pt x="210" y="485"/>
                  </a:lnTo>
                  <a:lnTo>
                    <a:pt x="210" y="485"/>
                  </a:lnTo>
                  <a:lnTo>
                    <a:pt x="210" y="484"/>
                  </a:lnTo>
                  <a:lnTo>
                    <a:pt x="210" y="482"/>
                  </a:lnTo>
                  <a:lnTo>
                    <a:pt x="209" y="481"/>
                  </a:lnTo>
                  <a:lnTo>
                    <a:pt x="207" y="477"/>
                  </a:lnTo>
                  <a:lnTo>
                    <a:pt x="205" y="474"/>
                  </a:lnTo>
                  <a:lnTo>
                    <a:pt x="203" y="471"/>
                  </a:lnTo>
                  <a:lnTo>
                    <a:pt x="200" y="468"/>
                  </a:lnTo>
                  <a:lnTo>
                    <a:pt x="199" y="466"/>
                  </a:lnTo>
                  <a:lnTo>
                    <a:pt x="196" y="463"/>
                  </a:lnTo>
                  <a:lnTo>
                    <a:pt x="191" y="458"/>
                  </a:lnTo>
                  <a:lnTo>
                    <a:pt x="189" y="457"/>
                  </a:lnTo>
                  <a:lnTo>
                    <a:pt x="187" y="455"/>
                  </a:lnTo>
                  <a:lnTo>
                    <a:pt x="177" y="447"/>
                  </a:lnTo>
                  <a:lnTo>
                    <a:pt x="176" y="447"/>
                  </a:lnTo>
                  <a:lnTo>
                    <a:pt x="175" y="446"/>
                  </a:lnTo>
                  <a:lnTo>
                    <a:pt x="174" y="445"/>
                  </a:lnTo>
                  <a:lnTo>
                    <a:pt x="173" y="444"/>
                  </a:lnTo>
                  <a:lnTo>
                    <a:pt x="172" y="441"/>
                  </a:lnTo>
                  <a:lnTo>
                    <a:pt x="171" y="440"/>
                  </a:lnTo>
                  <a:lnTo>
                    <a:pt x="169" y="436"/>
                  </a:lnTo>
                  <a:lnTo>
                    <a:pt x="168" y="434"/>
                  </a:lnTo>
                  <a:lnTo>
                    <a:pt x="167" y="433"/>
                  </a:lnTo>
                  <a:lnTo>
                    <a:pt x="166" y="431"/>
                  </a:lnTo>
                  <a:lnTo>
                    <a:pt x="164" y="429"/>
                  </a:lnTo>
                  <a:lnTo>
                    <a:pt x="163" y="427"/>
                  </a:lnTo>
                  <a:lnTo>
                    <a:pt x="162" y="426"/>
                  </a:lnTo>
                  <a:lnTo>
                    <a:pt x="160" y="425"/>
                  </a:lnTo>
                  <a:lnTo>
                    <a:pt x="159" y="425"/>
                  </a:lnTo>
                  <a:lnTo>
                    <a:pt x="159" y="424"/>
                  </a:lnTo>
                  <a:lnTo>
                    <a:pt x="158" y="424"/>
                  </a:lnTo>
                  <a:lnTo>
                    <a:pt x="158" y="424"/>
                  </a:lnTo>
                  <a:lnTo>
                    <a:pt x="157" y="424"/>
                  </a:lnTo>
                  <a:lnTo>
                    <a:pt x="156" y="424"/>
                  </a:lnTo>
                  <a:lnTo>
                    <a:pt x="156" y="425"/>
                  </a:lnTo>
                  <a:lnTo>
                    <a:pt x="155" y="425"/>
                  </a:lnTo>
                  <a:lnTo>
                    <a:pt x="153" y="426"/>
                  </a:lnTo>
                  <a:lnTo>
                    <a:pt x="153" y="427"/>
                  </a:lnTo>
                  <a:lnTo>
                    <a:pt x="152" y="427"/>
                  </a:lnTo>
                  <a:lnTo>
                    <a:pt x="151" y="427"/>
                  </a:lnTo>
                  <a:lnTo>
                    <a:pt x="150" y="427"/>
                  </a:lnTo>
                  <a:lnTo>
                    <a:pt x="149" y="427"/>
                  </a:lnTo>
                  <a:lnTo>
                    <a:pt x="148" y="427"/>
                  </a:lnTo>
                  <a:lnTo>
                    <a:pt x="147" y="427"/>
                  </a:lnTo>
                  <a:lnTo>
                    <a:pt x="145" y="426"/>
                  </a:lnTo>
                  <a:lnTo>
                    <a:pt x="144" y="425"/>
                  </a:lnTo>
                  <a:lnTo>
                    <a:pt x="142" y="424"/>
                  </a:lnTo>
                  <a:lnTo>
                    <a:pt x="141" y="423"/>
                  </a:lnTo>
                  <a:lnTo>
                    <a:pt x="139" y="422"/>
                  </a:lnTo>
                  <a:lnTo>
                    <a:pt x="138" y="421"/>
                  </a:lnTo>
                  <a:lnTo>
                    <a:pt x="138" y="420"/>
                  </a:lnTo>
                  <a:lnTo>
                    <a:pt x="137" y="419"/>
                  </a:lnTo>
                  <a:lnTo>
                    <a:pt x="136" y="418"/>
                  </a:lnTo>
                  <a:lnTo>
                    <a:pt x="135" y="416"/>
                  </a:lnTo>
                  <a:lnTo>
                    <a:pt x="135" y="414"/>
                  </a:lnTo>
                  <a:lnTo>
                    <a:pt x="134" y="412"/>
                  </a:lnTo>
                  <a:lnTo>
                    <a:pt x="134" y="410"/>
                  </a:lnTo>
                  <a:lnTo>
                    <a:pt x="134" y="408"/>
                  </a:lnTo>
                  <a:lnTo>
                    <a:pt x="133" y="406"/>
                  </a:lnTo>
                  <a:lnTo>
                    <a:pt x="133" y="404"/>
                  </a:lnTo>
                  <a:lnTo>
                    <a:pt x="134" y="403"/>
                  </a:lnTo>
                  <a:lnTo>
                    <a:pt x="134" y="401"/>
                  </a:lnTo>
                  <a:lnTo>
                    <a:pt x="134" y="400"/>
                  </a:lnTo>
                  <a:lnTo>
                    <a:pt x="134" y="397"/>
                  </a:lnTo>
                  <a:lnTo>
                    <a:pt x="136" y="391"/>
                  </a:lnTo>
                  <a:lnTo>
                    <a:pt x="136" y="390"/>
                  </a:lnTo>
                  <a:lnTo>
                    <a:pt x="136" y="388"/>
                  </a:lnTo>
                  <a:lnTo>
                    <a:pt x="136" y="387"/>
                  </a:lnTo>
                  <a:lnTo>
                    <a:pt x="137" y="385"/>
                  </a:lnTo>
                  <a:lnTo>
                    <a:pt x="136" y="383"/>
                  </a:lnTo>
                  <a:lnTo>
                    <a:pt x="136" y="382"/>
                  </a:lnTo>
                  <a:lnTo>
                    <a:pt x="136" y="380"/>
                  </a:lnTo>
                  <a:lnTo>
                    <a:pt x="135" y="377"/>
                  </a:lnTo>
                  <a:lnTo>
                    <a:pt x="135" y="375"/>
                  </a:lnTo>
                  <a:lnTo>
                    <a:pt x="134" y="373"/>
                  </a:lnTo>
                  <a:lnTo>
                    <a:pt x="133" y="372"/>
                  </a:lnTo>
                  <a:lnTo>
                    <a:pt x="133" y="371"/>
                  </a:lnTo>
                  <a:lnTo>
                    <a:pt x="132" y="369"/>
                  </a:lnTo>
                  <a:lnTo>
                    <a:pt x="131" y="368"/>
                  </a:lnTo>
                  <a:lnTo>
                    <a:pt x="130" y="368"/>
                  </a:lnTo>
                  <a:lnTo>
                    <a:pt x="129" y="368"/>
                  </a:lnTo>
                  <a:lnTo>
                    <a:pt x="129" y="367"/>
                  </a:lnTo>
                  <a:lnTo>
                    <a:pt x="128" y="367"/>
                  </a:lnTo>
                  <a:lnTo>
                    <a:pt x="127" y="367"/>
                  </a:lnTo>
                  <a:lnTo>
                    <a:pt x="126" y="367"/>
                  </a:lnTo>
                  <a:lnTo>
                    <a:pt x="126" y="367"/>
                  </a:lnTo>
                  <a:lnTo>
                    <a:pt x="125" y="367"/>
                  </a:lnTo>
                  <a:lnTo>
                    <a:pt x="121" y="368"/>
                  </a:lnTo>
                  <a:lnTo>
                    <a:pt x="119" y="368"/>
                  </a:lnTo>
                  <a:lnTo>
                    <a:pt x="112" y="371"/>
                  </a:lnTo>
                  <a:lnTo>
                    <a:pt x="110" y="371"/>
                  </a:lnTo>
                  <a:lnTo>
                    <a:pt x="108" y="372"/>
                  </a:lnTo>
                  <a:lnTo>
                    <a:pt x="105" y="373"/>
                  </a:lnTo>
                  <a:lnTo>
                    <a:pt x="102" y="375"/>
                  </a:lnTo>
                  <a:lnTo>
                    <a:pt x="101" y="375"/>
                  </a:lnTo>
                  <a:lnTo>
                    <a:pt x="100" y="375"/>
                  </a:lnTo>
                  <a:lnTo>
                    <a:pt x="99" y="375"/>
                  </a:lnTo>
                  <a:lnTo>
                    <a:pt x="98" y="375"/>
                  </a:lnTo>
                  <a:lnTo>
                    <a:pt x="97" y="375"/>
                  </a:lnTo>
                  <a:lnTo>
                    <a:pt x="92" y="374"/>
                  </a:lnTo>
                  <a:lnTo>
                    <a:pt x="91" y="374"/>
                  </a:lnTo>
                  <a:lnTo>
                    <a:pt x="90" y="374"/>
                  </a:lnTo>
                  <a:lnTo>
                    <a:pt x="87" y="373"/>
                  </a:lnTo>
                  <a:lnTo>
                    <a:pt x="81" y="370"/>
                  </a:lnTo>
                  <a:lnTo>
                    <a:pt x="80" y="369"/>
                  </a:lnTo>
                  <a:lnTo>
                    <a:pt x="78" y="368"/>
                  </a:lnTo>
                  <a:lnTo>
                    <a:pt x="77" y="367"/>
                  </a:lnTo>
                  <a:lnTo>
                    <a:pt x="75" y="365"/>
                  </a:lnTo>
                  <a:lnTo>
                    <a:pt x="73" y="364"/>
                  </a:lnTo>
                  <a:lnTo>
                    <a:pt x="72" y="363"/>
                  </a:lnTo>
                  <a:lnTo>
                    <a:pt x="71" y="362"/>
                  </a:lnTo>
                  <a:lnTo>
                    <a:pt x="68" y="361"/>
                  </a:lnTo>
                  <a:lnTo>
                    <a:pt x="68" y="361"/>
                  </a:lnTo>
                  <a:lnTo>
                    <a:pt x="66" y="360"/>
                  </a:lnTo>
                  <a:lnTo>
                    <a:pt x="65" y="359"/>
                  </a:lnTo>
                  <a:lnTo>
                    <a:pt x="64" y="358"/>
                  </a:lnTo>
                  <a:lnTo>
                    <a:pt x="63" y="357"/>
                  </a:lnTo>
                  <a:lnTo>
                    <a:pt x="62" y="355"/>
                  </a:lnTo>
                  <a:lnTo>
                    <a:pt x="61" y="353"/>
                  </a:lnTo>
                  <a:lnTo>
                    <a:pt x="60" y="351"/>
                  </a:lnTo>
                  <a:lnTo>
                    <a:pt x="59" y="350"/>
                  </a:lnTo>
                  <a:lnTo>
                    <a:pt x="55" y="346"/>
                  </a:lnTo>
                  <a:lnTo>
                    <a:pt x="54" y="345"/>
                  </a:lnTo>
                  <a:lnTo>
                    <a:pt x="54" y="344"/>
                  </a:lnTo>
                  <a:lnTo>
                    <a:pt x="53" y="343"/>
                  </a:lnTo>
                  <a:lnTo>
                    <a:pt x="53" y="342"/>
                  </a:lnTo>
                  <a:lnTo>
                    <a:pt x="53" y="340"/>
                  </a:lnTo>
                  <a:lnTo>
                    <a:pt x="52" y="338"/>
                  </a:lnTo>
                  <a:lnTo>
                    <a:pt x="52" y="337"/>
                  </a:lnTo>
                  <a:lnTo>
                    <a:pt x="52" y="336"/>
                  </a:lnTo>
                  <a:lnTo>
                    <a:pt x="52" y="335"/>
                  </a:lnTo>
                  <a:lnTo>
                    <a:pt x="51" y="334"/>
                  </a:lnTo>
                  <a:lnTo>
                    <a:pt x="50" y="333"/>
                  </a:lnTo>
                  <a:lnTo>
                    <a:pt x="50" y="332"/>
                  </a:lnTo>
                  <a:lnTo>
                    <a:pt x="48" y="328"/>
                  </a:lnTo>
                  <a:lnTo>
                    <a:pt x="47" y="327"/>
                  </a:lnTo>
                  <a:lnTo>
                    <a:pt x="46" y="324"/>
                  </a:lnTo>
                  <a:lnTo>
                    <a:pt x="46" y="323"/>
                  </a:lnTo>
                  <a:lnTo>
                    <a:pt x="45" y="321"/>
                  </a:lnTo>
                  <a:lnTo>
                    <a:pt x="45" y="320"/>
                  </a:lnTo>
                  <a:lnTo>
                    <a:pt x="45" y="317"/>
                  </a:lnTo>
                  <a:lnTo>
                    <a:pt x="45" y="315"/>
                  </a:lnTo>
                  <a:lnTo>
                    <a:pt x="45" y="313"/>
                  </a:lnTo>
                  <a:lnTo>
                    <a:pt x="44" y="311"/>
                  </a:lnTo>
                  <a:lnTo>
                    <a:pt x="43" y="309"/>
                  </a:lnTo>
                  <a:lnTo>
                    <a:pt x="41" y="305"/>
                  </a:lnTo>
                  <a:lnTo>
                    <a:pt x="39" y="302"/>
                  </a:lnTo>
                  <a:lnTo>
                    <a:pt x="39" y="301"/>
                  </a:lnTo>
                  <a:lnTo>
                    <a:pt x="38" y="300"/>
                  </a:lnTo>
                  <a:lnTo>
                    <a:pt x="38" y="300"/>
                  </a:lnTo>
                  <a:lnTo>
                    <a:pt x="38" y="299"/>
                  </a:lnTo>
                  <a:lnTo>
                    <a:pt x="37" y="299"/>
                  </a:lnTo>
                  <a:lnTo>
                    <a:pt x="35" y="299"/>
                  </a:lnTo>
                  <a:lnTo>
                    <a:pt x="34" y="299"/>
                  </a:lnTo>
                  <a:lnTo>
                    <a:pt x="33" y="299"/>
                  </a:lnTo>
                  <a:lnTo>
                    <a:pt x="32" y="299"/>
                  </a:lnTo>
                  <a:lnTo>
                    <a:pt x="32" y="300"/>
                  </a:lnTo>
                  <a:lnTo>
                    <a:pt x="31" y="300"/>
                  </a:lnTo>
                  <a:lnTo>
                    <a:pt x="31" y="301"/>
                  </a:lnTo>
                  <a:lnTo>
                    <a:pt x="31" y="302"/>
                  </a:lnTo>
                  <a:lnTo>
                    <a:pt x="31" y="303"/>
                  </a:lnTo>
                  <a:lnTo>
                    <a:pt x="31" y="305"/>
                  </a:lnTo>
                  <a:lnTo>
                    <a:pt x="33" y="315"/>
                  </a:lnTo>
                  <a:lnTo>
                    <a:pt x="34" y="316"/>
                  </a:lnTo>
                  <a:lnTo>
                    <a:pt x="34" y="317"/>
                  </a:lnTo>
                  <a:lnTo>
                    <a:pt x="34" y="319"/>
                  </a:lnTo>
                  <a:lnTo>
                    <a:pt x="34" y="320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22"/>
                  </a:lnTo>
                  <a:lnTo>
                    <a:pt x="32" y="323"/>
                  </a:lnTo>
                  <a:lnTo>
                    <a:pt x="30" y="324"/>
                  </a:lnTo>
                  <a:lnTo>
                    <a:pt x="30" y="325"/>
                  </a:lnTo>
                  <a:lnTo>
                    <a:pt x="29" y="326"/>
                  </a:lnTo>
                  <a:lnTo>
                    <a:pt x="28" y="326"/>
                  </a:lnTo>
                  <a:lnTo>
                    <a:pt x="27" y="326"/>
                  </a:lnTo>
                  <a:lnTo>
                    <a:pt x="27" y="326"/>
                  </a:lnTo>
                  <a:lnTo>
                    <a:pt x="26" y="326"/>
                  </a:lnTo>
                  <a:lnTo>
                    <a:pt x="25" y="326"/>
                  </a:lnTo>
                  <a:lnTo>
                    <a:pt x="24" y="325"/>
                  </a:lnTo>
                  <a:lnTo>
                    <a:pt x="24" y="325"/>
                  </a:lnTo>
                  <a:lnTo>
                    <a:pt x="23" y="325"/>
                  </a:lnTo>
                  <a:lnTo>
                    <a:pt x="23" y="326"/>
                  </a:lnTo>
                  <a:lnTo>
                    <a:pt x="22" y="326"/>
                  </a:lnTo>
                  <a:lnTo>
                    <a:pt x="21" y="327"/>
                  </a:lnTo>
                  <a:lnTo>
                    <a:pt x="20" y="327"/>
                  </a:lnTo>
                  <a:lnTo>
                    <a:pt x="18" y="329"/>
                  </a:lnTo>
                  <a:lnTo>
                    <a:pt x="17" y="329"/>
                  </a:lnTo>
                  <a:lnTo>
                    <a:pt x="16" y="330"/>
                  </a:lnTo>
                  <a:lnTo>
                    <a:pt x="16" y="330"/>
                  </a:lnTo>
                  <a:lnTo>
                    <a:pt x="15" y="331"/>
                  </a:lnTo>
                  <a:lnTo>
                    <a:pt x="15" y="332"/>
                  </a:lnTo>
                  <a:lnTo>
                    <a:pt x="14" y="334"/>
                  </a:lnTo>
                  <a:lnTo>
                    <a:pt x="13" y="335"/>
                  </a:lnTo>
                  <a:lnTo>
                    <a:pt x="13" y="336"/>
                  </a:lnTo>
                  <a:lnTo>
                    <a:pt x="12" y="336"/>
                  </a:lnTo>
                  <a:lnTo>
                    <a:pt x="9" y="340"/>
                  </a:lnTo>
                  <a:lnTo>
                    <a:pt x="8" y="340"/>
                  </a:lnTo>
                  <a:lnTo>
                    <a:pt x="7" y="341"/>
                  </a:lnTo>
                  <a:lnTo>
                    <a:pt x="6" y="344"/>
                  </a:lnTo>
                  <a:lnTo>
                    <a:pt x="5" y="346"/>
                  </a:lnTo>
                  <a:lnTo>
                    <a:pt x="4" y="346"/>
                  </a:lnTo>
                  <a:lnTo>
                    <a:pt x="4" y="346"/>
                  </a:lnTo>
                  <a:lnTo>
                    <a:pt x="3" y="346"/>
                  </a:lnTo>
                  <a:lnTo>
                    <a:pt x="3" y="347"/>
                  </a:lnTo>
                  <a:lnTo>
                    <a:pt x="2" y="347"/>
                  </a:lnTo>
                  <a:lnTo>
                    <a:pt x="2" y="346"/>
                  </a:lnTo>
                  <a:lnTo>
                    <a:pt x="1" y="346"/>
                  </a:lnTo>
                  <a:lnTo>
                    <a:pt x="0" y="345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3" name="Freeform 258">
              <a:extLst>
                <a:ext uri="{FF2B5EF4-FFF2-40B4-BE49-F238E27FC236}">
                  <a16:creationId xmlns:a16="http://schemas.microsoft.com/office/drawing/2014/main" id="{D1C30C73-EC2F-4CD5-BF9F-5ADC8DC08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6132" y="2300611"/>
              <a:ext cx="226228" cy="351571"/>
            </a:xfrm>
            <a:custGeom>
              <a:avLst/>
              <a:gdLst>
                <a:gd name="T0" fmla="*/ 92 w 222"/>
                <a:gd name="T1" fmla="*/ 339 h 345"/>
                <a:gd name="T2" fmla="*/ 91 w 222"/>
                <a:gd name="T3" fmla="*/ 332 h 345"/>
                <a:gd name="T4" fmla="*/ 93 w 222"/>
                <a:gd name="T5" fmla="*/ 316 h 345"/>
                <a:gd name="T6" fmla="*/ 92 w 222"/>
                <a:gd name="T7" fmla="*/ 311 h 345"/>
                <a:gd name="T8" fmla="*/ 87 w 222"/>
                <a:gd name="T9" fmla="*/ 308 h 345"/>
                <a:gd name="T10" fmla="*/ 79 w 222"/>
                <a:gd name="T11" fmla="*/ 308 h 345"/>
                <a:gd name="T12" fmla="*/ 70 w 222"/>
                <a:gd name="T13" fmla="*/ 311 h 345"/>
                <a:gd name="T14" fmla="*/ 62 w 222"/>
                <a:gd name="T15" fmla="*/ 317 h 345"/>
                <a:gd name="T16" fmla="*/ 50 w 222"/>
                <a:gd name="T17" fmla="*/ 327 h 345"/>
                <a:gd name="T18" fmla="*/ 45 w 222"/>
                <a:gd name="T19" fmla="*/ 332 h 345"/>
                <a:gd name="T20" fmla="*/ 32 w 222"/>
                <a:gd name="T21" fmla="*/ 333 h 345"/>
                <a:gd name="T22" fmla="*/ 29 w 222"/>
                <a:gd name="T23" fmla="*/ 331 h 345"/>
                <a:gd name="T24" fmla="*/ 28 w 222"/>
                <a:gd name="T25" fmla="*/ 326 h 345"/>
                <a:gd name="T26" fmla="*/ 28 w 222"/>
                <a:gd name="T27" fmla="*/ 315 h 345"/>
                <a:gd name="T28" fmla="*/ 27 w 222"/>
                <a:gd name="T29" fmla="*/ 313 h 345"/>
                <a:gd name="T30" fmla="*/ 18 w 222"/>
                <a:gd name="T31" fmla="*/ 315 h 345"/>
                <a:gd name="T32" fmla="*/ 13 w 222"/>
                <a:gd name="T33" fmla="*/ 315 h 345"/>
                <a:gd name="T34" fmla="*/ 7 w 222"/>
                <a:gd name="T35" fmla="*/ 308 h 345"/>
                <a:gd name="T36" fmla="*/ 1 w 222"/>
                <a:gd name="T37" fmla="*/ 299 h 345"/>
                <a:gd name="T38" fmla="*/ 0 w 222"/>
                <a:gd name="T39" fmla="*/ 295 h 345"/>
                <a:gd name="T40" fmla="*/ 3 w 222"/>
                <a:gd name="T41" fmla="*/ 284 h 345"/>
                <a:gd name="T42" fmla="*/ 5 w 222"/>
                <a:gd name="T43" fmla="*/ 276 h 345"/>
                <a:gd name="T44" fmla="*/ 6 w 222"/>
                <a:gd name="T45" fmla="*/ 269 h 345"/>
                <a:gd name="T46" fmla="*/ 14 w 222"/>
                <a:gd name="T47" fmla="*/ 259 h 345"/>
                <a:gd name="T48" fmla="*/ 17 w 222"/>
                <a:gd name="T49" fmla="*/ 251 h 345"/>
                <a:gd name="T50" fmla="*/ 16 w 222"/>
                <a:gd name="T51" fmla="*/ 246 h 345"/>
                <a:gd name="T52" fmla="*/ 13 w 222"/>
                <a:gd name="T53" fmla="*/ 241 h 345"/>
                <a:gd name="T54" fmla="*/ 4 w 222"/>
                <a:gd name="T55" fmla="*/ 230 h 345"/>
                <a:gd name="T56" fmla="*/ 3 w 222"/>
                <a:gd name="T57" fmla="*/ 226 h 345"/>
                <a:gd name="T58" fmla="*/ 6 w 222"/>
                <a:gd name="T59" fmla="*/ 211 h 345"/>
                <a:gd name="T60" fmla="*/ 11 w 222"/>
                <a:gd name="T61" fmla="*/ 201 h 345"/>
                <a:gd name="T62" fmla="*/ 24 w 222"/>
                <a:gd name="T63" fmla="*/ 185 h 345"/>
                <a:gd name="T64" fmla="*/ 28 w 222"/>
                <a:gd name="T65" fmla="*/ 176 h 345"/>
                <a:gd name="T66" fmla="*/ 28 w 222"/>
                <a:gd name="T67" fmla="*/ 162 h 345"/>
                <a:gd name="T68" fmla="*/ 29 w 222"/>
                <a:gd name="T69" fmla="*/ 148 h 345"/>
                <a:gd name="T70" fmla="*/ 33 w 222"/>
                <a:gd name="T71" fmla="*/ 137 h 345"/>
                <a:gd name="T72" fmla="*/ 35 w 222"/>
                <a:gd name="T73" fmla="*/ 125 h 345"/>
                <a:gd name="T74" fmla="*/ 48 w 222"/>
                <a:gd name="T75" fmla="*/ 107 h 345"/>
                <a:gd name="T76" fmla="*/ 56 w 222"/>
                <a:gd name="T77" fmla="*/ 100 h 345"/>
                <a:gd name="T78" fmla="*/ 65 w 222"/>
                <a:gd name="T79" fmla="*/ 93 h 345"/>
                <a:gd name="T80" fmla="*/ 74 w 222"/>
                <a:gd name="T81" fmla="*/ 88 h 345"/>
                <a:gd name="T82" fmla="*/ 86 w 222"/>
                <a:gd name="T83" fmla="*/ 76 h 345"/>
                <a:gd name="T84" fmla="*/ 91 w 222"/>
                <a:gd name="T85" fmla="*/ 74 h 345"/>
                <a:gd name="T86" fmla="*/ 100 w 222"/>
                <a:gd name="T87" fmla="*/ 75 h 345"/>
                <a:gd name="T88" fmla="*/ 105 w 222"/>
                <a:gd name="T89" fmla="*/ 74 h 345"/>
                <a:gd name="T90" fmla="*/ 107 w 222"/>
                <a:gd name="T91" fmla="*/ 69 h 345"/>
                <a:gd name="T92" fmla="*/ 109 w 222"/>
                <a:gd name="T93" fmla="*/ 48 h 345"/>
                <a:gd name="T94" fmla="*/ 114 w 222"/>
                <a:gd name="T95" fmla="*/ 46 h 345"/>
                <a:gd name="T96" fmla="*/ 124 w 222"/>
                <a:gd name="T97" fmla="*/ 38 h 345"/>
                <a:gd name="T98" fmla="*/ 137 w 222"/>
                <a:gd name="T99" fmla="*/ 34 h 345"/>
                <a:gd name="T100" fmla="*/ 156 w 222"/>
                <a:gd name="T101" fmla="*/ 34 h 345"/>
                <a:gd name="T102" fmla="*/ 166 w 222"/>
                <a:gd name="T103" fmla="*/ 33 h 345"/>
                <a:gd name="T104" fmla="*/ 176 w 222"/>
                <a:gd name="T105" fmla="*/ 32 h 345"/>
                <a:gd name="T106" fmla="*/ 185 w 222"/>
                <a:gd name="T107" fmla="*/ 34 h 345"/>
                <a:gd name="T108" fmla="*/ 195 w 222"/>
                <a:gd name="T109" fmla="*/ 32 h 345"/>
                <a:gd name="T110" fmla="*/ 206 w 222"/>
                <a:gd name="T111" fmla="*/ 23 h 345"/>
                <a:gd name="T112" fmla="*/ 214 w 222"/>
                <a:gd name="T113" fmla="*/ 14 h 345"/>
                <a:gd name="T114" fmla="*/ 218 w 222"/>
                <a:gd name="T115" fmla="*/ 2 h 345"/>
                <a:gd name="T116" fmla="*/ 221 w 222"/>
                <a:gd name="T117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2" h="345">
                  <a:moveTo>
                    <a:pt x="96" y="345"/>
                  </a:moveTo>
                  <a:lnTo>
                    <a:pt x="95" y="344"/>
                  </a:lnTo>
                  <a:lnTo>
                    <a:pt x="94" y="343"/>
                  </a:lnTo>
                  <a:lnTo>
                    <a:pt x="93" y="341"/>
                  </a:lnTo>
                  <a:lnTo>
                    <a:pt x="92" y="339"/>
                  </a:lnTo>
                  <a:lnTo>
                    <a:pt x="91" y="338"/>
                  </a:lnTo>
                  <a:lnTo>
                    <a:pt x="91" y="336"/>
                  </a:lnTo>
                  <a:lnTo>
                    <a:pt x="91" y="335"/>
                  </a:lnTo>
                  <a:lnTo>
                    <a:pt x="91" y="334"/>
                  </a:lnTo>
                  <a:lnTo>
                    <a:pt x="91" y="332"/>
                  </a:lnTo>
                  <a:lnTo>
                    <a:pt x="91" y="329"/>
                  </a:lnTo>
                  <a:lnTo>
                    <a:pt x="92" y="323"/>
                  </a:lnTo>
                  <a:lnTo>
                    <a:pt x="93" y="320"/>
                  </a:lnTo>
                  <a:lnTo>
                    <a:pt x="93" y="317"/>
                  </a:lnTo>
                  <a:lnTo>
                    <a:pt x="93" y="316"/>
                  </a:lnTo>
                  <a:lnTo>
                    <a:pt x="93" y="316"/>
                  </a:lnTo>
                  <a:lnTo>
                    <a:pt x="93" y="315"/>
                  </a:lnTo>
                  <a:lnTo>
                    <a:pt x="93" y="313"/>
                  </a:lnTo>
                  <a:lnTo>
                    <a:pt x="92" y="312"/>
                  </a:lnTo>
                  <a:lnTo>
                    <a:pt x="92" y="311"/>
                  </a:lnTo>
                  <a:lnTo>
                    <a:pt x="91" y="310"/>
                  </a:lnTo>
                  <a:lnTo>
                    <a:pt x="90" y="310"/>
                  </a:lnTo>
                  <a:lnTo>
                    <a:pt x="89" y="309"/>
                  </a:lnTo>
                  <a:lnTo>
                    <a:pt x="88" y="308"/>
                  </a:lnTo>
                  <a:lnTo>
                    <a:pt x="87" y="308"/>
                  </a:lnTo>
                  <a:lnTo>
                    <a:pt x="86" y="308"/>
                  </a:lnTo>
                  <a:lnTo>
                    <a:pt x="85" y="307"/>
                  </a:lnTo>
                  <a:lnTo>
                    <a:pt x="84" y="307"/>
                  </a:lnTo>
                  <a:lnTo>
                    <a:pt x="82" y="308"/>
                  </a:lnTo>
                  <a:lnTo>
                    <a:pt x="79" y="308"/>
                  </a:lnTo>
                  <a:lnTo>
                    <a:pt x="77" y="308"/>
                  </a:lnTo>
                  <a:lnTo>
                    <a:pt x="76" y="309"/>
                  </a:lnTo>
                  <a:lnTo>
                    <a:pt x="75" y="309"/>
                  </a:lnTo>
                  <a:lnTo>
                    <a:pt x="73" y="310"/>
                  </a:lnTo>
                  <a:lnTo>
                    <a:pt x="70" y="311"/>
                  </a:lnTo>
                  <a:lnTo>
                    <a:pt x="69" y="312"/>
                  </a:lnTo>
                  <a:lnTo>
                    <a:pt x="68" y="312"/>
                  </a:lnTo>
                  <a:lnTo>
                    <a:pt x="67" y="313"/>
                  </a:lnTo>
                  <a:lnTo>
                    <a:pt x="64" y="315"/>
                  </a:lnTo>
                  <a:lnTo>
                    <a:pt x="62" y="317"/>
                  </a:lnTo>
                  <a:lnTo>
                    <a:pt x="58" y="320"/>
                  </a:lnTo>
                  <a:lnTo>
                    <a:pt x="53" y="323"/>
                  </a:lnTo>
                  <a:lnTo>
                    <a:pt x="52" y="325"/>
                  </a:lnTo>
                  <a:lnTo>
                    <a:pt x="51" y="326"/>
                  </a:lnTo>
                  <a:lnTo>
                    <a:pt x="50" y="327"/>
                  </a:lnTo>
                  <a:lnTo>
                    <a:pt x="49" y="328"/>
                  </a:lnTo>
                  <a:lnTo>
                    <a:pt x="47" y="330"/>
                  </a:lnTo>
                  <a:lnTo>
                    <a:pt x="47" y="331"/>
                  </a:lnTo>
                  <a:lnTo>
                    <a:pt x="46" y="332"/>
                  </a:lnTo>
                  <a:lnTo>
                    <a:pt x="45" y="332"/>
                  </a:lnTo>
                  <a:lnTo>
                    <a:pt x="44" y="332"/>
                  </a:lnTo>
                  <a:lnTo>
                    <a:pt x="43" y="332"/>
                  </a:lnTo>
                  <a:lnTo>
                    <a:pt x="38" y="332"/>
                  </a:lnTo>
                  <a:lnTo>
                    <a:pt x="33" y="333"/>
                  </a:lnTo>
                  <a:lnTo>
                    <a:pt x="32" y="333"/>
                  </a:lnTo>
                  <a:lnTo>
                    <a:pt x="31" y="332"/>
                  </a:lnTo>
                  <a:lnTo>
                    <a:pt x="30" y="332"/>
                  </a:lnTo>
                  <a:lnTo>
                    <a:pt x="30" y="332"/>
                  </a:lnTo>
                  <a:lnTo>
                    <a:pt x="29" y="332"/>
                  </a:lnTo>
                  <a:lnTo>
                    <a:pt x="29" y="331"/>
                  </a:lnTo>
                  <a:lnTo>
                    <a:pt x="28" y="330"/>
                  </a:lnTo>
                  <a:lnTo>
                    <a:pt x="28" y="329"/>
                  </a:lnTo>
                  <a:lnTo>
                    <a:pt x="28" y="329"/>
                  </a:lnTo>
                  <a:lnTo>
                    <a:pt x="27" y="327"/>
                  </a:lnTo>
                  <a:lnTo>
                    <a:pt x="28" y="326"/>
                  </a:lnTo>
                  <a:lnTo>
                    <a:pt x="28" y="324"/>
                  </a:lnTo>
                  <a:lnTo>
                    <a:pt x="28" y="320"/>
                  </a:lnTo>
                  <a:lnTo>
                    <a:pt x="29" y="317"/>
                  </a:lnTo>
                  <a:lnTo>
                    <a:pt x="29" y="316"/>
                  </a:lnTo>
                  <a:lnTo>
                    <a:pt x="28" y="315"/>
                  </a:lnTo>
                  <a:lnTo>
                    <a:pt x="28" y="314"/>
                  </a:lnTo>
                  <a:lnTo>
                    <a:pt x="28" y="314"/>
                  </a:lnTo>
                  <a:lnTo>
                    <a:pt x="28" y="313"/>
                  </a:lnTo>
                  <a:lnTo>
                    <a:pt x="27" y="313"/>
                  </a:lnTo>
                  <a:lnTo>
                    <a:pt x="27" y="313"/>
                  </a:lnTo>
                  <a:lnTo>
                    <a:pt x="26" y="313"/>
                  </a:lnTo>
                  <a:lnTo>
                    <a:pt x="25" y="314"/>
                  </a:lnTo>
                  <a:lnTo>
                    <a:pt x="23" y="314"/>
                  </a:lnTo>
                  <a:lnTo>
                    <a:pt x="22" y="315"/>
                  </a:lnTo>
                  <a:lnTo>
                    <a:pt x="18" y="315"/>
                  </a:lnTo>
                  <a:lnTo>
                    <a:pt x="17" y="315"/>
                  </a:lnTo>
                  <a:lnTo>
                    <a:pt x="16" y="315"/>
                  </a:lnTo>
                  <a:lnTo>
                    <a:pt x="15" y="315"/>
                  </a:lnTo>
                  <a:lnTo>
                    <a:pt x="14" y="315"/>
                  </a:lnTo>
                  <a:lnTo>
                    <a:pt x="13" y="315"/>
                  </a:lnTo>
                  <a:lnTo>
                    <a:pt x="12" y="314"/>
                  </a:lnTo>
                  <a:lnTo>
                    <a:pt x="12" y="314"/>
                  </a:lnTo>
                  <a:lnTo>
                    <a:pt x="10" y="312"/>
                  </a:lnTo>
                  <a:lnTo>
                    <a:pt x="9" y="311"/>
                  </a:lnTo>
                  <a:lnTo>
                    <a:pt x="7" y="308"/>
                  </a:lnTo>
                  <a:lnTo>
                    <a:pt x="4" y="305"/>
                  </a:lnTo>
                  <a:lnTo>
                    <a:pt x="4" y="304"/>
                  </a:lnTo>
                  <a:lnTo>
                    <a:pt x="3" y="303"/>
                  </a:lnTo>
                  <a:lnTo>
                    <a:pt x="2" y="301"/>
                  </a:lnTo>
                  <a:lnTo>
                    <a:pt x="1" y="299"/>
                  </a:lnTo>
                  <a:lnTo>
                    <a:pt x="0" y="298"/>
                  </a:lnTo>
                  <a:lnTo>
                    <a:pt x="0" y="297"/>
                  </a:lnTo>
                  <a:lnTo>
                    <a:pt x="0" y="296"/>
                  </a:lnTo>
                  <a:lnTo>
                    <a:pt x="0" y="295"/>
                  </a:lnTo>
                  <a:lnTo>
                    <a:pt x="0" y="295"/>
                  </a:lnTo>
                  <a:lnTo>
                    <a:pt x="0" y="293"/>
                  </a:lnTo>
                  <a:lnTo>
                    <a:pt x="0" y="292"/>
                  </a:lnTo>
                  <a:lnTo>
                    <a:pt x="0" y="291"/>
                  </a:lnTo>
                  <a:lnTo>
                    <a:pt x="1" y="289"/>
                  </a:lnTo>
                  <a:lnTo>
                    <a:pt x="3" y="284"/>
                  </a:lnTo>
                  <a:lnTo>
                    <a:pt x="4" y="282"/>
                  </a:lnTo>
                  <a:lnTo>
                    <a:pt x="5" y="280"/>
                  </a:lnTo>
                  <a:lnTo>
                    <a:pt x="5" y="279"/>
                  </a:lnTo>
                  <a:lnTo>
                    <a:pt x="5" y="277"/>
                  </a:lnTo>
                  <a:lnTo>
                    <a:pt x="5" y="276"/>
                  </a:lnTo>
                  <a:lnTo>
                    <a:pt x="5" y="274"/>
                  </a:lnTo>
                  <a:lnTo>
                    <a:pt x="5" y="273"/>
                  </a:lnTo>
                  <a:lnTo>
                    <a:pt x="5" y="271"/>
                  </a:lnTo>
                  <a:lnTo>
                    <a:pt x="6" y="270"/>
                  </a:lnTo>
                  <a:lnTo>
                    <a:pt x="6" y="269"/>
                  </a:lnTo>
                  <a:lnTo>
                    <a:pt x="6" y="268"/>
                  </a:lnTo>
                  <a:lnTo>
                    <a:pt x="8" y="266"/>
                  </a:lnTo>
                  <a:lnTo>
                    <a:pt x="10" y="264"/>
                  </a:lnTo>
                  <a:lnTo>
                    <a:pt x="13" y="260"/>
                  </a:lnTo>
                  <a:lnTo>
                    <a:pt x="14" y="259"/>
                  </a:lnTo>
                  <a:lnTo>
                    <a:pt x="15" y="257"/>
                  </a:lnTo>
                  <a:lnTo>
                    <a:pt x="16" y="255"/>
                  </a:lnTo>
                  <a:lnTo>
                    <a:pt x="16" y="254"/>
                  </a:lnTo>
                  <a:lnTo>
                    <a:pt x="17" y="252"/>
                  </a:lnTo>
                  <a:lnTo>
                    <a:pt x="17" y="251"/>
                  </a:lnTo>
                  <a:lnTo>
                    <a:pt x="17" y="250"/>
                  </a:lnTo>
                  <a:lnTo>
                    <a:pt x="17" y="249"/>
                  </a:lnTo>
                  <a:lnTo>
                    <a:pt x="17" y="248"/>
                  </a:lnTo>
                  <a:lnTo>
                    <a:pt x="16" y="247"/>
                  </a:lnTo>
                  <a:lnTo>
                    <a:pt x="16" y="246"/>
                  </a:lnTo>
                  <a:lnTo>
                    <a:pt x="16" y="245"/>
                  </a:lnTo>
                  <a:lnTo>
                    <a:pt x="15" y="244"/>
                  </a:lnTo>
                  <a:lnTo>
                    <a:pt x="15" y="244"/>
                  </a:lnTo>
                  <a:lnTo>
                    <a:pt x="14" y="242"/>
                  </a:lnTo>
                  <a:lnTo>
                    <a:pt x="13" y="241"/>
                  </a:lnTo>
                  <a:lnTo>
                    <a:pt x="7" y="235"/>
                  </a:lnTo>
                  <a:lnTo>
                    <a:pt x="6" y="233"/>
                  </a:lnTo>
                  <a:lnTo>
                    <a:pt x="5" y="232"/>
                  </a:lnTo>
                  <a:lnTo>
                    <a:pt x="4" y="231"/>
                  </a:lnTo>
                  <a:lnTo>
                    <a:pt x="4" y="230"/>
                  </a:lnTo>
                  <a:lnTo>
                    <a:pt x="4" y="230"/>
                  </a:lnTo>
                  <a:lnTo>
                    <a:pt x="4" y="229"/>
                  </a:lnTo>
                  <a:lnTo>
                    <a:pt x="3" y="228"/>
                  </a:lnTo>
                  <a:lnTo>
                    <a:pt x="3" y="227"/>
                  </a:lnTo>
                  <a:lnTo>
                    <a:pt x="3" y="226"/>
                  </a:lnTo>
                  <a:lnTo>
                    <a:pt x="4" y="221"/>
                  </a:lnTo>
                  <a:lnTo>
                    <a:pt x="5" y="216"/>
                  </a:lnTo>
                  <a:lnTo>
                    <a:pt x="5" y="214"/>
                  </a:lnTo>
                  <a:lnTo>
                    <a:pt x="5" y="213"/>
                  </a:lnTo>
                  <a:lnTo>
                    <a:pt x="6" y="211"/>
                  </a:lnTo>
                  <a:lnTo>
                    <a:pt x="6" y="210"/>
                  </a:lnTo>
                  <a:lnTo>
                    <a:pt x="7" y="209"/>
                  </a:lnTo>
                  <a:lnTo>
                    <a:pt x="8" y="205"/>
                  </a:lnTo>
                  <a:lnTo>
                    <a:pt x="9" y="203"/>
                  </a:lnTo>
                  <a:lnTo>
                    <a:pt x="11" y="201"/>
                  </a:lnTo>
                  <a:lnTo>
                    <a:pt x="12" y="199"/>
                  </a:lnTo>
                  <a:lnTo>
                    <a:pt x="14" y="196"/>
                  </a:lnTo>
                  <a:lnTo>
                    <a:pt x="22" y="187"/>
                  </a:lnTo>
                  <a:lnTo>
                    <a:pt x="23" y="186"/>
                  </a:lnTo>
                  <a:lnTo>
                    <a:pt x="24" y="185"/>
                  </a:lnTo>
                  <a:lnTo>
                    <a:pt x="25" y="183"/>
                  </a:lnTo>
                  <a:lnTo>
                    <a:pt x="26" y="181"/>
                  </a:lnTo>
                  <a:lnTo>
                    <a:pt x="26" y="180"/>
                  </a:lnTo>
                  <a:lnTo>
                    <a:pt x="27" y="178"/>
                  </a:lnTo>
                  <a:lnTo>
                    <a:pt x="28" y="176"/>
                  </a:lnTo>
                  <a:lnTo>
                    <a:pt x="28" y="175"/>
                  </a:lnTo>
                  <a:lnTo>
                    <a:pt x="28" y="173"/>
                  </a:lnTo>
                  <a:lnTo>
                    <a:pt x="28" y="171"/>
                  </a:lnTo>
                  <a:lnTo>
                    <a:pt x="28" y="168"/>
                  </a:lnTo>
                  <a:lnTo>
                    <a:pt x="28" y="162"/>
                  </a:lnTo>
                  <a:lnTo>
                    <a:pt x="28" y="155"/>
                  </a:lnTo>
                  <a:lnTo>
                    <a:pt x="28" y="153"/>
                  </a:lnTo>
                  <a:lnTo>
                    <a:pt x="28" y="151"/>
                  </a:lnTo>
                  <a:lnTo>
                    <a:pt x="28" y="149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31" y="141"/>
                  </a:lnTo>
                  <a:lnTo>
                    <a:pt x="32" y="139"/>
                  </a:lnTo>
                  <a:lnTo>
                    <a:pt x="32" y="138"/>
                  </a:lnTo>
                  <a:lnTo>
                    <a:pt x="33" y="137"/>
                  </a:lnTo>
                  <a:lnTo>
                    <a:pt x="33" y="135"/>
                  </a:lnTo>
                  <a:lnTo>
                    <a:pt x="33" y="131"/>
                  </a:lnTo>
                  <a:lnTo>
                    <a:pt x="34" y="128"/>
                  </a:lnTo>
                  <a:lnTo>
                    <a:pt x="34" y="126"/>
                  </a:lnTo>
                  <a:lnTo>
                    <a:pt x="35" y="125"/>
                  </a:lnTo>
                  <a:lnTo>
                    <a:pt x="35" y="124"/>
                  </a:lnTo>
                  <a:lnTo>
                    <a:pt x="36" y="122"/>
                  </a:lnTo>
                  <a:lnTo>
                    <a:pt x="38" y="119"/>
                  </a:lnTo>
                  <a:lnTo>
                    <a:pt x="45" y="111"/>
                  </a:lnTo>
                  <a:lnTo>
                    <a:pt x="48" y="107"/>
                  </a:lnTo>
                  <a:lnTo>
                    <a:pt x="50" y="105"/>
                  </a:lnTo>
                  <a:lnTo>
                    <a:pt x="51" y="104"/>
                  </a:lnTo>
                  <a:lnTo>
                    <a:pt x="54" y="102"/>
                  </a:lnTo>
                  <a:lnTo>
                    <a:pt x="55" y="101"/>
                  </a:lnTo>
                  <a:lnTo>
                    <a:pt x="56" y="100"/>
                  </a:lnTo>
                  <a:lnTo>
                    <a:pt x="60" y="97"/>
                  </a:lnTo>
                  <a:lnTo>
                    <a:pt x="61" y="96"/>
                  </a:lnTo>
                  <a:lnTo>
                    <a:pt x="62" y="95"/>
                  </a:lnTo>
                  <a:lnTo>
                    <a:pt x="63" y="94"/>
                  </a:lnTo>
                  <a:lnTo>
                    <a:pt x="65" y="93"/>
                  </a:lnTo>
                  <a:lnTo>
                    <a:pt x="66" y="92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2" y="90"/>
                  </a:lnTo>
                  <a:lnTo>
                    <a:pt x="74" y="88"/>
                  </a:lnTo>
                  <a:lnTo>
                    <a:pt x="75" y="87"/>
                  </a:lnTo>
                  <a:lnTo>
                    <a:pt x="77" y="86"/>
                  </a:lnTo>
                  <a:lnTo>
                    <a:pt x="81" y="81"/>
                  </a:lnTo>
                  <a:lnTo>
                    <a:pt x="84" y="78"/>
                  </a:lnTo>
                  <a:lnTo>
                    <a:pt x="86" y="76"/>
                  </a:lnTo>
                  <a:lnTo>
                    <a:pt x="87" y="75"/>
                  </a:lnTo>
                  <a:lnTo>
                    <a:pt x="88" y="75"/>
                  </a:lnTo>
                  <a:lnTo>
                    <a:pt x="89" y="74"/>
                  </a:lnTo>
                  <a:lnTo>
                    <a:pt x="90" y="74"/>
                  </a:lnTo>
                  <a:lnTo>
                    <a:pt x="91" y="74"/>
                  </a:lnTo>
                  <a:lnTo>
                    <a:pt x="93" y="74"/>
                  </a:lnTo>
                  <a:lnTo>
                    <a:pt x="95" y="75"/>
                  </a:lnTo>
                  <a:lnTo>
                    <a:pt x="97" y="75"/>
                  </a:lnTo>
                  <a:lnTo>
                    <a:pt x="99" y="75"/>
                  </a:lnTo>
                  <a:lnTo>
                    <a:pt x="100" y="75"/>
                  </a:lnTo>
                  <a:lnTo>
                    <a:pt x="101" y="75"/>
                  </a:lnTo>
                  <a:lnTo>
                    <a:pt x="102" y="75"/>
                  </a:lnTo>
                  <a:lnTo>
                    <a:pt x="103" y="75"/>
                  </a:lnTo>
                  <a:lnTo>
                    <a:pt x="104" y="74"/>
                  </a:lnTo>
                  <a:lnTo>
                    <a:pt x="105" y="74"/>
                  </a:lnTo>
                  <a:lnTo>
                    <a:pt x="105" y="73"/>
                  </a:lnTo>
                  <a:lnTo>
                    <a:pt x="106" y="73"/>
                  </a:lnTo>
                  <a:lnTo>
                    <a:pt x="106" y="71"/>
                  </a:lnTo>
                  <a:lnTo>
                    <a:pt x="107" y="70"/>
                  </a:lnTo>
                  <a:lnTo>
                    <a:pt x="107" y="69"/>
                  </a:lnTo>
                  <a:lnTo>
                    <a:pt x="108" y="66"/>
                  </a:lnTo>
                  <a:lnTo>
                    <a:pt x="108" y="63"/>
                  </a:lnTo>
                  <a:lnTo>
                    <a:pt x="108" y="60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1" y="47"/>
                  </a:lnTo>
                  <a:lnTo>
                    <a:pt x="112" y="47"/>
                  </a:lnTo>
                  <a:lnTo>
                    <a:pt x="114" y="46"/>
                  </a:lnTo>
                  <a:lnTo>
                    <a:pt x="115" y="45"/>
                  </a:lnTo>
                  <a:lnTo>
                    <a:pt x="118" y="42"/>
                  </a:lnTo>
                  <a:lnTo>
                    <a:pt x="120" y="40"/>
                  </a:lnTo>
                  <a:lnTo>
                    <a:pt x="122" y="39"/>
                  </a:lnTo>
                  <a:lnTo>
                    <a:pt x="124" y="38"/>
                  </a:lnTo>
                  <a:lnTo>
                    <a:pt x="127" y="37"/>
                  </a:lnTo>
                  <a:lnTo>
                    <a:pt x="130" y="36"/>
                  </a:lnTo>
                  <a:lnTo>
                    <a:pt x="133" y="35"/>
                  </a:lnTo>
                  <a:lnTo>
                    <a:pt x="135" y="34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42" y="34"/>
                  </a:lnTo>
                  <a:lnTo>
                    <a:pt x="144" y="34"/>
                  </a:lnTo>
                  <a:lnTo>
                    <a:pt x="148" y="34"/>
                  </a:lnTo>
                  <a:lnTo>
                    <a:pt x="156" y="34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4"/>
                  </a:lnTo>
                  <a:lnTo>
                    <a:pt x="164" y="33"/>
                  </a:lnTo>
                  <a:lnTo>
                    <a:pt x="166" y="33"/>
                  </a:lnTo>
                  <a:lnTo>
                    <a:pt x="170" y="32"/>
                  </a:lnTo>
                  <a:lnTo>
                    <a:pt x="172" y="32"/>
                  </a:lnTo>
                  <a:lnTo>
                    <a:pt x="173" y="31"/>
                  </a:lnTo>
                  <a:lnTo>
                    <a:pt x="175" y="32"/>
                  </a:lnTo>
                  <a:lnTo>
                    <a:pt x="176" y="32"/>
                  </a:lnTo>
                  <a:lnTo>
                    <a:pt x="178" y="32"/>
                  </a:lnTo>
                  <a:lnTo>
                    <a:pt x="181" y="33"/>
                  </a:lnTo>
                  <a:lnTo>
                    <a:pt x="182" y="34"/>
                  </a:lnTo>
                  <a:lnTo>
                    <a:pt x="183" y="34"/>
                  </a:lnTo>
                  <a:lnTo>
                    <a:pt x="185" y="34"/>
                  </a:lnTo>
                  <a:lnTo>
                    <a:pt x="186" y="34"/>
                  </a:lnTo>
                  <a:lnTo>
                    <a:pt x="188" y="34"/>
                  </a:lnTo>
                  <a:lnTo>
                    <a:pt x="190" y="34"/>
                  </a:lnTo>
                  <a:lnTo>
                    <a:pt x="192" y="33"/>
                  </a:lnTo>
                  <a:lnTo>
                    <a:pt x="195" y="32"/>
                  </a:lnTo>
                  <a:lnTo>
                    <a:pt x="197" y="30"/>
                  </a:lnTo>
                  <a:lnTo>
                    <a:pt x="199" y="29"/>
                  </a:lnTo>
                  <a:lnTo>
                    <a:pt x="201" y="28"/>
                  </a:lnTo>
                  <a:lnTo>
                    <a:pt x="203" y="26"/>
                  </a:lnTo>
                  <a:lnTo>
                    <a:pt x="206" y="23"/>
                  </a:lnTo>
                  <a:lnTo>
                    <a:pt x="208" y="21"/>
                  </a:lnTo>
                  <a:lnTo>
                    <a:pt x="210" y="19"/>
                  </a:lnTo>
                  <a:lnTo>
                    <a:pt x="212" y="17"/>
                  </a:lnTo>
                  <a:lnTo>
                    <a:pt x="213" y="15"/>
                  </a:lnTo>
                  <a:lnTo>
                    <a:pt x="214" y="14"/>
                  </a:lnTo>
                  <a:lnTo>
                    <a:pt x="214" y="12"/>
                  </a:lnTo>
                  <a:lnTo>
                    <a:pt x="215" y="11"/>
                  </a:lnTo>
                  <a:lnTo>
                    <a:pt x="215" y="10"/>
                  </a:lnTo>
                  <a:lnTo>
                    <a:pt x="217" y="3"/>
                  </a:lnTo>
                  <a:lnTo>
                    <a:pt x="218" y="2"/>
                  </a:lnTo>
                  <a:lnTo>
                    <a:pt x="218" y="1"/>
                  </a:lnTo>
                  <a:lnTo>
                    <a:pt x="219" y="1"/>
                  </a:lnTo>
                  <a:lnTo>
                    <a:pt x="219" y="0"/>
                  </a:lnTo>
                  <a:lnTo>
                    <a:pt x="220" y="0"/>
                  </a:lnTo>
                  <a:lnTo>
                    <a:pt x="221" y="0"/>
                  </a:lnTo>
                  <a:lnTo>
                    <a:pt x="222" y="0"/>
                  </a:lnTo>
                </a:path>
              </a:pathLst>
            </a:custGeom>
            <a:noFill/>
            <a:ln w="98425">
              <a:solidFill>
                <a:srgbClr val="CCCCC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aphicFrame>
        <p:nvGraphicFramePr>
          <p:cNvPr id="304" name="Graf 14">
            <a:extLst>
              <a:ext uri="{FF2B5EF4-FFF2-40B4-BE49-F238E27FC236}">
                <a16:creationId xmlns:a16="http://schemas.microsoft.com/office/drawing/2014/main" id="{73CCFFFA-1AE7-4F16-B6E2-C516E9D9EB5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20983" y="953060"/>
          <a:ext cx="5111909" cy="5341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05" name="TextBox 2">
            <a:extLst>
              <a:ext uri="{FF2B5EF4-FFF2-40B4-BE49-F238E27FC236}">
                <a16:creationId xmlns:a16="http://schemas.microsoft.com/office/drawing/2014/main" id="{09B27148-086F-4881-84BF-39D4F2ABA63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80856" y="1095367"/>
            <a:ext cx="39859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ace ve FNB dle kraje bydliště pacienta:</a:t>
            </a:r>
          </a:p>
        </p:txBody>
      </p:sp>
      <p:grpSp>
        <p:nvGrpSpPr>
          <p:cNvPr id="306" name="Skupina 305">
            <a:extLst>
              <a:ext uri="{FF2B5EF4-FFF2-40B4-BE49-F238E27FC236}">
                <a16:creationId xmlns:a16="http://schemas.microsoft.com/office/drawing/2014/main" id="{9A5F0687-94D2-40E2-937B-FC026F3F3FF7}"/>
              </a:ext>
            </a:extLst>
          </p:cNvPr>
          <p:cNvGrpSpPr/>
          <p:nvPr/>
        </p:nvGrpSpPr>
        <p:grpSpPr>
          <a:xfrm>
            <a:off x="6094666" y="1903619"/>
            <a:ext cx="1315800" cy="596607"/>
            <a:chOff x="7037778" y="1452668"/>
            <a:chExt cx="917095" cy="597673"/>
          </a:xfrm>
        </p:grpSpPr>
        <p:sp>
          <p:nvSpPr>
            <p:cNvPr id="307" name="Text Box 58">
              <a:extLst>
                <a:ext uri="{FF2B5EF4-FFF2-40B4-BE49-F238E27FC236}">
                  <a16:creationId xmlns:a16="http://schemas.microsoft.com/office/drawing/2014/main" id="{7ACB7098-6860-4C13-9627-C19EA559BF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07625" y="1458587"/>
              <a:ext cx="747248" cy="5917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rPr>
                <a:t>≥ </a:t>
              </a: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,0 %</a:t>
              </a:r>
              <a:endParaRPr kumimoji="0" lang="en-US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,0</a:t>
              </a:r>
              <a:r>
                <a:rPr kumimoji="0" lang="en-US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–</a:t>
              </a: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4,9 %</a:t>
              </a:r>
              <a:endParaRPr kumimoji="0" lang="en-US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,0</a:t>
              </a:r>
              <a:r>
                <a:rPr kumimoji="0" lang="en-US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–</a:t>
              </a: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,9 % </a:t>
              </a: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lt; 1,0 %</a:t>
              </a:r>
              <a:endParaRPr kumimoji="0" lang="en-US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8" name="Rectangle 56">
              <a:extLst>
                <a:ext uri="{FF2B5EF4-FFF2-40B4-BE49-F238E27FC236}">
                  <a16:creationId xmlns:a16="http://schemas.microsoft.com/office/drawing/2014/main" id="{AE15863D-339F-4C02-8E3F-A38E51E1D2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7778" y="1908072"/>
              <a:ext cx="108000" cy="108193"/>
            </a:xfrm>
            <a:prstGeom prst="rect">
              <a:avLst/>
            </a:prstGeom>
            <a:solidFill>
              <a:srgbClr val="A2A2A2"/>
            </a:solidFill>
            <a:ln w="1651">
              <a:solidFill>
                <a:sysClr val="window" lastClr="FFFFFF">
                  <a:lumMod val="75000"/>
                </a:sysClr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9" name="Rectangle 56">
              <a:extLst>
                <a:ext uri="{FF2B5EF4-FFF2-40B4-BE49-F238E27FC236}">
                  <a16:creationId xmlns:a16="http://schemas.microsoft.com/office/drawing/2014/main" id="{900F39CF-3BD0-4344-B75B-C7F24DCCF5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7778" y="1756270"/>
              <a:ext cx="108000" cy="108193"/>
            </a:xfrm>
            <a:prstGeom prst="rect">
              <a:avLst/>
            </a:prstGeom>
            <a:solidFill>
              <a:srgbClr val="BED8E8"/>
            </a:solidFill>
            <a:ln w="1651">
              <a:solidFill>
                <a:sysClr val="window" lastClr="FFFFFF">
                  <a:lumMod val="75000"/>
                </a:sysClr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10" name="Rectangle 56">
              <a:extLst>
                <a:ext uri="{FF2B5EF4-FFF2-40B4-BE49-F238E27FC236}">
                  <a16:creationId xmlns:a16="http://schemas.microsoft.com/office/drawing/2014/main" id="{7A5F2C52-A472-40CE-9594-86A8BB180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7778" y="1604469"/>
              <a:ext cx="108000" cy="108193"/>
            </a:xfrm>
            <a:prstGeom prst="rect">
              <a:avLst/>
            </a:prstGeom>
            <a:solidFill>
              <a:srgbClr val="6BAFD6"/>
            </a:solidFill>
            <a:ln w="1651">
              <a:solidFill>
                <a:sysClr val="window" lastClr="FFFFFF">
                  <a:lumMod val="75000"/>
                </a:sysClr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11" name="Rectangle 56">
              <a:extLst>
                <a:ext uri="{FF2B5EF4-FFF2-40B4-BE49-F238E27FC236}">
                  <a16:creationId xmlns:a16="http://schemas.microsoft.com/office/drawing/2014/main" id="{A325AD35-BB1A-49A1-B5C1-BDA00715E6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7778" y="1452668"/>
              <a:ext cx="108000" cy="108193"/>
            </a:xfrm>
            <a:prstGeom prst="rect">
              <a:avLst/>
            </a:prstGeom>
            <a:solidFill>
              <a:srgbClr val="296AA2"/>
            </a:solidFill>
            <a:ln w="1651">
              <a:solidFill>
                <a:sysClr val="window" lastClr="FFFFFF">
                  <a:lumMod val="75000"/>
                </a:sysClr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altLang="cs-CZ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312" name="Freeform 224">
            <a:extLst>
              <a:ext uri="{FF2B5EF4-FFF2-40B4-BE49-F238E27FC236}">
                <a16:creationId xmlns:a16="http://schemas.microsoft.com/office/drawing/2014/main" id="{53A8B83E-66BD-429B-8ADE-ABA0876F31A4}"/>
              </a:ext>
            </a:extLst>
          </p:cNvPr>
          <p:cNvSpPr>
            <a:spLocks/>
          </p:cNvSpPr>
          <p:nvPr/>
        </p:nvSpPr>
        <p:spPr bwMode="auto">
          <a:xfrm>
            <a:off x="8292672" y="2087513"/>
            <a:ext cx="198714" cy="152857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3" name="Freeform 225">
            <a:extLst>
              <a:ext uri="{FF2B5EF4-FFF2-40B4-BE49-F238E27FC236}">
                <a16:creationId xmlns:a16="http://schemas.microsoft.com/office/drawing/2014/main" id="{3C0273FE-1DFA-49F9-9C95-6FD64AA36C87}"/>
              </a:ext>
            </a:extLst>
          </p:cNvPr>
          <p:cNvSpPr>
            <a:spLocks noEditPoints="1"/>
          </p:cNvSpPr>
          <p:nvPr/>
        </p:nvSpPr>
        <p:spPr bwMode="auto">
          <a:xfrm>
            <a:off x="7933968" y="1793008"/>
            <a:ext cx="915103" cy="740846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4" name="Freeform 226">
            <a:extLst>
              <a:ext uri="{FF2B5EF4-FFF2-40B4-BE49-F238E27FC236}">
                <a16:creationId xmlns:a16="http://schemas.microsoft.com/office/drawing/2014/main" id="{1F00DD0A-837C-470E-A278-AE1C05CE4B7C}"/>
              </a:ext>
            </a:extLst>
          </p:cNvPr>
          <p:cNvSpPr>
            <a:spLocks/>
          </p:cNvSpPr>
          <p:nvPr/>
        </p:nvSpPr>
        <p:spPr bwMode="auto">
          <a:xfrm>
            <a:off x="8215225" y="1793008"/>
            <a:ext cx="633847" cy="739827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5" name="Freeform 227">
            <a:extLst>
              <a:ext uri="{FF2B5EF4-FFF2-40B4-BE49-F238E27FC236}">
                <a16:creationId xmlns:a16="http://schemas.microsoft.com/office/drawing/2014/main" id="{05654E1A-8233-414A-88B9-575F5258DD54}"/>
              </a:ext>
            </a:extLst>
          </p:cNvPr>
          <p:cNvSpPr>
            <a:spLocks/>
          </p:cNvSpPr>
          <p:nvPr/>
        </p:nvSpPr>
        <p:spPr bwMode="auto">
          <a:xfrm>
            <a:off x="7933968" y="1793008"/>
            <a:ext cx="651170" cy="740846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6" name="Freeform 228">
            <a:extLst>
              <a:ext uri="{FF2B5EF4-FFF2-40B4-BE49-F238E27FC236}">
                <a16:creationId xmlns:a16="http://schemas.microsoft.com/office/drawing/2014/main" id="{36623548-00B5-44B8-9616-058FD46FB81A}"/>
              </a:ext>
            </a:extLst>
          </p:cNvPr>
          <p:cNvSpPr>
            <a:spLocks/>
          </p:cNvSpPr>
          <p:nvPr/>
        </p:nvSpPr>
        <p:spPr bwMode="auto">
          <a:xfrm>
            <a:off x="8292672" y="2087513"/>
            <a:ext cx="198714" cy="152857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7" name="Freeform 229">
            <a:extLst>
              <a:ext uri="{FF2B5EF4-FFF2-40B4-BE49-F238E27FC236}">
                <a16:creationId xmlns:a16="http://schemas.microsoft.com/office/drawing/2014/main" id="{DFF418A6-763D-4078-8376-4B39F95DD03A}"/>
              </a:ext>
            </a:extLst>
          </p:cNvPr>
          <p:cNvSpPr>
            <a:spLocks/>
          </p:cNvSpPr>
          <p:nvPr/>
        </p:nvSpPr>
        <p:spPr bwMode="auto">
          <a:xfrm>
            <a:off x="7979825" y="2464560"/>
            <a:ext cx="902875" cy="703142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8" name="Freeform 230">
            <a:extLst>
              <a:ext uri="{FF2B5EF4-FFF2-40B4-BE49-F238E27FC236}">
                <a16:creationId xmlns:a16="http://schemas.microsoft.com/office/drawing/2014/main" id="{21727D16-1FC3-463E-8DA7-4756866C9472}"/>
              </a:ext>
            </a:extLst>
          </p:cNvPr>
          <p:cNvSpPr>
            <a:spLocks/>
          </p:cNvSpPr>
          <p:nvPr/>
        </p:nvSpPr>
        <p:spPr bwMode="auto">
          <a:xfrm>
            <a:off x="8214206" y="2464560"/>
            <a:ext cx="668494" cy="600218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9" name="Freeform 231">
            <a:extLst>
              <a:ext uri="{FF2B5EF4-FFF2-40B4-BE49-F238E27FC236}">
                <a16:creationId xmlns:a16="http://schemas.microsoft.com/office/drawing/2014/main" id="{D7E050DE-F7C2-4053-9025-7D49E32C53FD}"/>
              </a:ext>
            </a:extLst>
          </p:cNvPr>
          <p:cNvSpPr>
            <a:spLocks/>
          </p:cNvSpPr>
          <p:nvPr/>
        </p:nvSpPr>
        <p:spPr bwMode="auto">
          <a:xfrm>
            <a:off x="7979825" y="2496150"/>
            <a:ext cx="541113" cy="671551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0" name="Freeform 232">
            <a:extLst>
              <a:ext uri="{FF2B5EF4-FFF2-40B4-BE49-F238E27FC236}">
                <a16:creationId xmlns:a16="http://schemas.microsoft.com/office/drawing/2014/main" id="{D4998C61-83F8-4D0A-9F75-E3FEDADD742C}"/>
              </a:ext>
            </a:extLst>
          </p:cNvPr>
          <p:cNvSpPr>
            <a:spLocks/>
          </p:cNvSpPr>
          <p:nvPr/>
        </p:nvSpPr>
        <p:spPr bwMode="auto">
          <a:xfrm>
            <a:off x="7498836" y="2129294"/>
            <a:ext cx="616523" cy="774475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1" name="Freeform 233">
            <a:extLst>
              <a:ext uri="{FF2B5EF4-FFF2-40B4-BE49-F238E27FC236}">
                <a16:creationId xmlns:a16="http://schemas.microsoft.com/office/drawing/2014/main" id="{B9823B80-DB67-475D-9A46-2131D26704AD}"/>
              </a:ext>
            </a:extLst>
          </p:cNvPr>
          <p:cNvSpPr>
            <a:spLocks/>
          </p:cNvSpPr>
          <p:nvPr/>
        </p:nvSpPr>
        <p:spPr bwMode="auto">
          <a:xfrm>
            <a:off x="7511064" y="2129294"/>
            <a:ext cx="604294" cy="774475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2" name="Freeform 234">
            <a:extLst>
              <a:ext uri="{FF2B5EF4-FFF2-40B4-BE49-F238E27FC236}">
                <a16:creationId xmlns:a16="http://schemas.microsoft.com/office/drawing/2014/main" id="{76ABBBA9-75C3-41FD-A59D-2B639BC15CF6}"/>
              </a:ext>
            </a:extLst>
          </p:cNvPr>
          <p:cNvSpPr>
            <a:spLocks/>
          </p:cNvSpPr>
          <p:nvPr/>
        </p:nvSpPr>
        <p:spPr bwMode="auto">
          <a:xfrm>
            <a:off x="7498836" y="2129294"/>
            <a:ext cx="402523" cy="249666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3" name="Freeform 235">
            <a:extLst>
              <a:ext uri="{FF2B5EF4-FFF2-40B4-BE49-F238E27FC236}">
                <a16:creationId xmlns:a16="http://schemas.microsoft.com/office/drawing/2014/main" id="{71DBF0B1-145A-4738-B61A-9E611E11DAF8}"/>
              </a:ext>
            </a:extLst>
          </p:cNvPr>
          <p:cNvSpPr>
            <a:spLocks/>
          </p:cNvSpPr>
          <p:nvPr/>
        </p:nvSpPr>
        <p:spPr bwMode="auto">
          <a:xfrm>
            <a:off x="7379607" y="1885742"/>
            <a:ext cx="511561" cy="372971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4" name="Freeform 236">
            <a:extLst>
              <a:ext uri="{FF2B5EF4-FFF2-40B4-BE49-F238E27FC236}">
                <a16:creationId xmlns:a16="http://schemas.microsoft.com/office/drawing/2014/main" id="{CCB39C93-4D80-4E94-AFB5-C29505EDDE76}"/>
              </a:ext>
            </a:extLst>
          </p:cNvPr>
          <p:cNvSpPr>
            <a:spLocks/>
          </p:cNvSpPr>
          <p:nvPr/>
        </p:nvSpPr>
        <p:spPr bwMode="auto">
          <a:xfrm>
            <a:off x="7744426" y="1500542"/>
            <a:ext cx="728618" cy="645056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5" name="Freeform 237">
            <a:extLst>
              <a:ext uri="{FF2B5EF4-FFF2-40B4-BE49-F238E27FC236}">
                <a16:creationId xmlns:a16="http://schemas.microsoft.com/office/drawing/2014/main" id="{CE7E39C9-35DD-45F8-861A-A9BB5CEA6F33}"/>
              </a:ext>
            </a:extLst>
          </p:cNvPr>
          <p:cNvSpPr>
            <a:spLocks/>
          </p:cNvSpPr>
          <p:nvPr/>
        </p:nvSpPr>
        <p:spPr bwMode="auto">
          <a:xfrm>
            <a:off x="7744426" y="1500542"/>
            <a:ext cx="728618" cy="645056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6" name="Freeform 238">
            <a:extLst>
              <a:ext uri="{FF2B5EF4-FFF2-40B4-BE49-F238E27FC236}">
                <a16:creationId xmlns:a16="http://schemas.microsoft.com/office/drawing/2014/main" id="{FAB9F056-B8EA-4C7D-88FE-8543E9F08AE2}"/>
              </a:ext>
            </a:extLst>
          </p:cNvPr>
          <p:cNvSpPr>
            <a:spLocks/>
          </p:cNvSpPr>
          <p:nvPr/>
        </p:nvSpPr>
        <p:spPr bwMode="auto">
          <a:xfrm>
            <a:off x="7869768" y="1500542"/>
            <a:ext cx="496275" cy="312847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7" name="Freeform 239">
            <a:extLst>
              <a:ext uri="{FF2B5EF4-FFF2-40B4-BE49-F238E27FC236}">
                <a16:creationId xmlns:a16="http://schemas.microsoft.com/office/drawing/2014/main" id="{0F0470AD-FE04-428C-8835-A6B999CE4944}"/>
              </a:ext>
            </a:extLst>
          </p:cNvPr>
          <p:cNvSpPr>
            <a:spLocks/>
          </p:cNvSpPr>
          <p:nvPr/>
        </p:nvSpPr>
        <p:spPr bwMode="auto">
          <a:xfrm>
            <a:off x="8344644" y="1522961"/>
            <a:ext cx="542132" cy="364818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8" name="Freeform 240">
            <a:extLst>
              <a:ext uri="{FF2B5EF4-FFF2-40B4-BE49-F238E27FC236}">
                <a16:creationId xmlns:a16="http://schemas.microsoft.com/office/drawing/2014/main" id="{80025827-F13E-4CC9-9B03-7D58AAFF0F2F}"/>
              </a:ext>
            </a:extLst>
          </p:cNvPr>
          <p:cNvSpPr>
            <a:spLocks/>
          </p:cNvSpPr>
          <p:nvPr/>
        </p:nvSpPr>
        <p:spPr bwMode="auto">
          <a:xfrm>
            <a:off x="8669720" y="1684990"/>
            <a:ext cx="629770" cy="488123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9" name="Freeform 241">
            <a:extLst>
              <a:ext uri="{FF2B5EF4-FFF2-40B4-BE49-F238E27FC236}">
                <a16:creationId xmlns:a16="http://schemas.microsoft.com/office/drawing/2014/main" id="{64BFC23E-80C3-4882-8586-3395D588EE9D}"/>
              </a:ext>
            </a:extLst>
          </p:cNvPr>
          <p:cNvSpPr>
            <a:spLocks/>
          </p:cNvSpPr>
          <p:nvPr/>
        </p:nvSpPr>
        <p:spPr bwMode="auto">
          <a:xfrm>
            <a:off x="8669720" y="1684990"/>
            <a:ext cx="629770" cy="488123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0" name="Freeform 242">
            <a:extLst>
              <a:ext uri="{FF2B5EF4-FFF2-40B4-BE49-F238E27FC236}">
                <a16:creationId xmlns:a16="http://schemas.microsoft.com/office/drawing/2014/main" id="{4F10AA89-78FC-40E6-A5AE-62C3FACF36D7}"/>
              </a:ext>
            </a:extLst>
          </p:cNvPr>
          <p:cNvSpPr>
            <a:spLocks/>
          </p:cNvSpPr>
          <p:nvPr/>
        </p:nvSpPr>
        <p:spPr bwMode="auto">
          <a:xfrm>
            <a:off x="8711500" y="1684990"/>
            <a:ext cx="175276" cy="198714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1" name="Freeform 243">
            <a:extLst>
              <a:ext uri="{FF2B5EF4-FFF2-40B4-BE49-F238E27FC236}">
                <a16:creationId xmlns:a16="http://schemas.microsoft.com/office/drawing/2014/main" id="{D494AF46-5D02-4717-802B-5AC4A3239186}"/>
              </a:ext>
            </a:extLst>
          </p:cNvPr>
          <p:cNvSpPr>
            <a:spLocks/>
          </p:cNvSpPr>
          <p:nvPr/>
        </p:nvSpPr>
        <p:spPr bwMode="auto">
          <a:xfrm>
            <a:off x="8781815" y="2062037"/>
            <a:ext cx="637923" cy="419847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2" name="Freeform 244">
            <a:extLst>
              <a:ext uri="{FF2B5EF4-FFF2-40B4-BE49-F238E27FC236}">
                <a16:creationId xmlns:a16="http://schemas.microsoft.com/office/drawing/2014/main" id="{68C0E1DF-F6EB-4F87-A04A-E7EF34FDB0E0}"/>
              </a:ext>
            </a:extLst>
          </p:cNvPr>
          <p:cNvSpPr>
            <a:spLocks/>
          </p:cNvSpPr>
          <p:nvPr/>
        </p:nvSpPr>
        <p:spPr bwMode="auto">
          <a:xfrm>
            <a:off x="8781815" y="2062037"/>
            <a:ext cx="637923" cy="419847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3" name="Freeform 245">
            <a:extLst>
              <a:ext uri="{FF2B5EF4-FFF2-40B4-BE49-F238E27FC236}">
                <a16:creationId xmlns:a16="http://schemas.microsoft.com/office/drawing/2014/main" id="{136845D4-708C-43F7-9E9D-550621C3A195}"/>
              </a:ext>
            </a:extLst>
          </p:cNvPr>
          <p:cNvSpPr>
            <a:spLocks/>
          </p:cNvSpPr>
          <p:nvPr/>
        </p:nvSpPr>
        <p:spPr bwMode="auto">
          <a:xfrm>
            <a:off x="8841938" y="2088532"/>
            <a:ext cx="114133" cy="36686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4" name="Freeform 246">
            <a:extLst>
              <a:ext uri="{FF2B5EF4-FFF2-40B4-BE49-F238E27FC236}">
                <a16:creationId xmlns:a16="http://schemas.microsoft.com/office/drawing/2014/main" id="{2ABB5745-88C3-454A-A1B3-D5825D910FA1}"/>
              </a:ext>
            </a:extLst>
          </p:cNvPr>
          <p:cNvSpPr>
            <a:spLocks/>
          </p:cNvSpPr>
          <p:nvPr/>
        </p:nvSpPr>
        <p:spPr bwMode="auto">
          <a:xfrm>
            <a:off x="8574948" y="2298455"/>
            <a:ext cx="659323" cy="612447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5" name="Freeform 247">
            <a:extLst>
              <a:ext uri="{FF2B5EF4-FFF2-40B4-BE49-F238E27FC236}">
                <a16:creationId xmlns:a16="http://schemas.microsoft.com/office/drawing/2014/main" id="{2837F3CE-A226-48FE-8FDF-ECFCCF7D6ED0}"/>
              </a:ext>
            </a:extLst>
          </p:cNvPr>
          <p:cNvSpPr>
            <a:spLocks/>
          </p:cNvSpPr>
          <p:nvPr/>
        </p:nvSpPr>
        <p:spPr bwMode="auto">
          <a:xfrm>
            <a:off x="8658510" y="2302531"/>
            <a:ext cx="575761" cy="60837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6" name="Freeform 248">
            <a:extLst>
              <a:ext uri="{FF2B5EF4-FFF2-40B4-BE49-F238E27FC236}">
                <a16:creationId xmlns:a16="http://schemas.microsoft.com/office/drawing/2014/main" id="{9D2CD10E-883E-43D9-B66F-027A5D9FE1DD}"/>
              </a:ext>
            </a:extLst>
          </p:cNvPr>
          <p:cNvSpPr>
            <a:spLocks/>
          </p:cNvSpPr>
          <p:nvPr/>
        </p:nvSpPr>
        <p:spPr bwMode="auto">
          <a:xfrm>
            <a:off x="8574948" y="2298455"/>
            <a:ext cx="266990" cy="403542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7" name="Freeform 249">
            <a:extLst>
              <a:ext uri="{FF2B5EF4-FFF2-40B4-BE49-F238E27FC236}">
                <a16:creationId xmlns:a16="http://schemas.microsoft.com/office/drawing/2014/main" id="{AD8914B2-D9BD-44DE-AFB3-C0C7AC6A363F}"/>
              </a:ext>
            </a:extLst>
          </p:cNvPr>
          <p:cNvSpPr>
            <a:spLocks/>
          </p:cNvSpPr>
          <p:nvPr/>
        </p:nvSpPr>
        <p:spPr bwMode="auto">
          <a:xfrm>
            <a:off x="8859262" y="2446217"/>
            <a:ext cx="928351" cy="66951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8" name="Freeform 250">
            <a:extLst>
              <a:ext uri="{FF2B5EF4-FFF2-40B4-BE49-F238E27FC236}">
                <a16:creationId xmlns:a16="http://schemas.microsoft.com/office/drawing/2014/main" id="{E674C926-7110-4458-9407-5587DA549BE4}"/>
              </a:ext>
            </a:extLst>
          </p:cNvPr>
          <p:cNvSpPr>
            <a:spLocks/>
          </p:cNvSpPr>
          <p:nvPr/>
        </p:nvSpPr>
        <p:spPr bwMode="auto">
          <a:xfrm>
            <a:off x="8995814" y="2446217"/>
            <a:ext cx="791799" cy="66951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9" name="Freeform 251">
            <a:extLst>
              <a:ext uri="{FF2B5EF4-FFF2-40B4-BE49-F238E27FC236}">
                <a16:creationId xmlns:a16="http://schemas.microsoft.com/office/drawing/2014/main" id="{B6704B55-D6E5-4348-A105-F41774E3276B}"/>
              </a:ext>
            </a:extLst>
          </p:cNvPr>
          <p:cNvSpPr>
            <a:spLocks/>
          </p:cNvSpPr>
          <p:nvPr/>
        </p:nvSpPr>
        <p:spPr bwMode="auto">
          <a:xfrm>
            <a:off x="8859262" y="2446217"/>
            <a:ext cx="438190" cy="521751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0" name="Freeform 252">
            <a:extLst>
              <a:ext uri="{FF2B5EF4-FFF2-40B4-BE49-F238E27FC236}">
                <a16:creationId xmlns:a16="http://schemas.microsoft.com/office/drawing/2014/main" id="{B6D754A6-4D2D-4D2C-B24E-1FD92247FAF3}"/>
              </a:ext>
            </a:extLst>
          </p:cNvPr>
          <p:cNvSpPr>
            <a:spLocks/>
          </p:cNvSpPr>
          <p:nvPr/>
        </p:nvSpPr>
        <p:spPr bwMode="auto">
          <a:xfrm>
            <a:off x="9361652" y="1895932"/>
            <a:ext cx="526847" cy="781608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1" name="Freeform 253">
            <a:extLst>
              <a:ext uri="{FF2B5EF4-FFF2-40B4-BE49-F238E27FC236}">
                <a16:creationId xmlns:a16="http://schemas.microsoft.com/office/drawing/2014/main" id="{E0962EDF-5579-4740-A293-30705DBEAB36}"/>
              </a:ext>
            </a:extLst>
          </p:cNvPr>
          <p:cNvSpPr>
            <a:spLocks/>
          </p:cNvSpPr>
          <p:nvPr/>
        </p:nvSpPr>
        <p:spPr bwMode="auto">
          <a:xfrm>
            <a:off x="9405471" y="1974399"/>
            <a:ext cx="483028" cy="703142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2" name="Freeform 254">
            <a:extLst>
              <a:ext uri="{FF2B5EF4-FFF2-40B4-BE49-F238E27FC236}">
                <a16:creationId xmlns:a16="http://schemas.microsoft.com/office/drawing/2014/main" id="{FB9AA7C9-044E-4896-B7B6-B601B578C237}"/>
              </a:ext>
            </a:extLst>
          </p:cNvPr>
          <p:cNvSpPr>
            <a:spLocks/>
          </p:cNvSpPr>
          <p:nvPr/>
        </p:nvSpPr>
        <p:spPr bwMode="auto">
          <a:xfrm>
            <a:off x="9361652" y="1895932"/>
            <a:ext cx="242533" cy="6888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3" name="Freeform 255">
            <a:extLst>
              <a:ext uri="{FF2B5EF4-FFF2-40B4-BE49-F238E27FC236}">
                <a16:creationId xmlns:a16="http://schemas.microsoft.com/office/drawing/2014/main" id="{3129AE37-EF34-4656-9B7C-F8D7F7A4B11F}"/>
              </a:ext>
            </a:extLst>
          </p:cNvPr>
          <p:cNvSpPr>
            <a:spLocks/>
          </p:cNvSpPr>
          <p:nvPr/>
        </p:nvSpPr>
        <p:spPr bwMode="auto">
          <a:xfrm>
            <a:off x="9549156" y="2489017"/>
            <a:ext cx="558437" cy="461628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4" name="Freeform 256">
            <a:extLst>
              <a:ext uri="{FF2B5EF4-FFF2-40B4-BE49-F238E27FC236}">
                <a16:creationId xmlns:a16="http://schemas.microsoft.com/office/drawing/2014/main" id="{ADB01C91-733D-4F61-B832-17ECD603B1C1}"/>
              </a:ext>
            </a:extLst>
          </p:cNvPr>
          <p:cNvSpPr>
            <a:spLocks/>
          </p:cNvSpPr>
          <p:nvPr/>
        </p:nvSpPr>
        <p:spPr bwMode="auto">
          <a:xfrm>
            <a:off x="9550175" y="1971342"/>
            <a:ext cx="744923" cy="604294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5" name="Freeform 257">
            <a:extLst>
              <a:ext uri="{FF2B5EF4-FFF2-40B4-BE49-F238E27FC236}">
                <a16:creationId xmlns:a16="http://schemas.microsoft.com/office/drawing/2014/main" id="{E6F1A0B6-1891-4404-8820-8F2422740BCE}"/>
              </a:ext>
            </a:extLst>
          </p:cNvPr>
          <p:cNvSpPr>
            <a:spLocks/>
          </p:cNvSpPr>
          <p:nvPr/>
        </p:nvSpPr>
        <p:spPr bwMode="auto">
          <a:xfrm>
            <a:off x="9648004" y="1971342"/>
            <a:ext cx="647094" cy="604294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6" name="Freeform 258">
            <a:extLst>
              <a:ext uri="{FF2B5EF4-FFF2-40B4-BE49-F238E27FC236}">
                <a16:creationId xmlns:a16="http://schemas.microsoft.com/office/drawing/2014/main" id="{DD59AB23-A67D-4BB7-B042-E8C416D79DFB}"/>
              </a:ext>
            </a:extLst>
          </p:cNvPr>
          <p:cNvSpPr>
            <a:spLocks/>
          </p:cNvSpPr>
          <p:nvPr/>
        </p:nvSpPr>
        <p:spPr bwMode="auto">
          <a:xfrm>
            <a:off x="9550175" y="1971342"/>
            <a:ext cx="226228" cy="351571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7" name="Freeform 259">
            <a:extLst>
              <a:ext uri="{FF2B5EF4-FFF2-40B4-BE49-F238E27FC236}">
                <a16:creationId xmlns:a16="http://schemas.microsoft.com/office/drawing/2014/main" id="{15C0226F-F117-4448-B166-65C43BE09D87}"/>
              </a:ext>
            </a:extLst>
          </p:cNvPr>
          <p:cNvSpPr>
            <a:spLocks/>
          </p:cNvSpPr>
          <p:nvPr/>
        </p:nvSpPr>
        <p:spPr bwMode="auto">
          <a:xfrm>
            <a:off x="8292672" y="2087513"/>
            <a:ext cx="198714" cy="152857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8" name="Freeform 260">
            <a:extLst>
              <a:ext uri="{FF2B5EF4-FFF2-40B4-BE49-F238E27FC236}">
                <a16:creationId xmlns:a16="http://schemas.microsoft.com/office/drawing/2014/main" id="{AD111CAE-CF8A-4EBD-9CD9-42FF3F12206B}"/>
              </a:ext>
            </a:extLst>
          </p:cNvPr>
          <p:cNvSpPr>
            <a:spLocks noEditPoints="1"/>
          </p:cNvSpPr>
          <p:nvPr/>
        </p:nvSpPr>
        <p:spPr bwMode="auto">
          <a:xfrm>
            <a:off x="7933968" y="1793008"/>
            <a:ext cx="915103" cy="740846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A2A2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9" name="Freeform 261">
            <a:extLst>
              <a:ext uri="{FF2B5EF4-FFF2-40B4-BE49-F238E27FC236}">
                <a16:creationId xmlns:a16="http://schemas.microsoft.com/office/drawing/2014/main" id="{C523D53A-FEDA-4E1D-AD96-53FD86701E30}"/>
              </a:ext>
            </a:extLst>
          </p:cNvPr>
          <p:cNvSpPr>
            <a:spLocks/>
          </p:cNvSpPr>
          <p:nvPr/>
        </p:nvSpPr>
        <p:spPr bwMode="auto">
          <a:xfrm>
            <a:off x="8215225" y="1793008"/>
            <a:ext cx="633847" cy="739827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0" name="Freeform 262">
            <a:extLst>
              <a:ext uri="{FF2B5EF4-FFF2-40B4-BE49-F238E27FC236}">
                <a16:creationId xmlns:a16="http://schemas.microsoft.com/office/drawing/2014/main" id="{42723E26-4515-4CD6-A669-3B1A1AF115C6}"/>
              </a:ext>
            </a:extLst>
          </p:cNvPr>
          <p:cNvSpPr>
            <a:spLocks/>
          </p:cNvSpPr>
          <p:nvPr/>
        </p:nvSpPr>
        <p:spPr bwMode="auto">
          <a:xfrm>
            <a:off x="7933968" y="1793008"/>
            <a:ext cx="651170" cy="740846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1" name="Freeform 263">
            <a:extLst>
              <a:ext uri="{FF2B5EF4-FFF2-40B4-BE49-F238E27FC236}">
                <a16:creationId xmlns:a16="http://schemas.microsoft.com/office/drawing/2014/main" id="{E5339B70-D697-4444-8927-432B416B10F2}"/>
              </a:ext>
            </a:extLst>
          </p:cNvPr>
          <p:cNvSpPr>
            <a:spLocks/>
          </p:cNvSpPr>
          <p:nvPr/>
        </p:nvSpPr>
        <p:spPr bwMode="auto">
          <a:xfrm>
            <a:off x="8292672" y="2087513"/>
            <a:ext cx="198714" cy="152857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A2A2A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2" name="Freeform 264">
            <a:extLst>
              <a:ext uri="{FF2B5EF4-FFF2-40B4-BE49-F238E27FC236}">
                <a16:creationId xmlns:a16="http://schemas.microsoft.com/office/drawing/2014/main" id="{8582F4E6-EC4E-4C27-A597-650615E6B6B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7979825" y="2464560"/>
            <a:ext cx="902875" cy="703142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BED8E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3" name="Freeform 265">
            <a:extLst>
              <a:ext uri="{FF2B5EF4-FFF2-40B4-BE49-F238E27FC236}">
                <a16:creationId xmlns:a16="http://schemas.microsoft.com/office/drawing/2014/main" id="{5E34EAAC-553E-4021-90B1-D2A1B9BEEE9E}"/>
              </a:ext>
            </a:extLst>
          </p:cNvPr>
          <p:cNvSpPr>
            <a:spLocks/>
          </p:cNvSpPr>
          <p:nvPr/>
        </p:nvSpPr>
        <p:spPr bwMode="auto">
          <a:xfrm>
            <a:off x="8214206" y="2464560"/>
            <a:ext cx="668494" cy="600218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4" name="Freeform 266">
            <a:extLst>
              <a:ext uri="{FF2B5EF4-FFF2-40B4-BE49-F238E27FC236}">
                <a16:creationId xmlns:a16="http://schemas.microsoft.com/office/drawing/2014/main" id="{68D0E2AD-ED45-498C-985A-DDCD0EF36FAD}"/>
              </a:ext>
            </a:extLst>
          </p:cNvPr>
          <p:cNvSpPr>
            <a:spLocks/>
          </p:cNvSpPr>
          <p:nvPr/>
        </p:nvSpPr>
        <p:spPr bwMode="auto">
          <a:xfrm>
            <a:off x="7979825" y="2496150"/>
            <a:ext cx="541113" cy="671551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5" name="Freeform 267">
            <a:extLst>
              <a:ext uri="{FF2B5EF4-FFF2-40B4-BE49-F238E27FC236}">
                <a16:creationId xmlns:a16="http://schemas.microsoft.com/office/drawing/2014/main" id="{C482F1E6-7486-4CA3-96FB-37FA28BDC83F}"/>
              </a:ext>
            </a:extLst>
          </p:cNvPr>
          <p:cNvSpPr>
            <a:spLocks/>
          </p:cNvSpPr>
          <p:nvPr/>
        </p:nvSpPr>
        <p:spPr bwMode="auto">
          <a:xfrm>
            <a:off x="7498836" y="2129294"/>
            <a:ext cx="616523" cy="774475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A2A2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6" name="Freeform 268">
            <a:extLst>
              <a:ext uri="{FF2B5EF4-FFF2-40B4-BE49-F238E27FC236}">
                <a16:creationId xmlns:a16="http://schemas.microsoft.com/office/drawing/2014/main" id="{B4EE9322-12FE-44BE-8AEA-E5C3DDF2B26E}"/>
              </a:ext>
            </a:extLst>
          </p:cNvPr>
          <p:cNvSpPr>
            <a:spLocks/>
          </p:cNvSpPr>
          <p:nvPr/>
        </p:nvSpPr>
        <p:spPr bwMode="auto">
          <a:xfrm>
            <a:off x="7511064" y="2129294"/>
            <a:ext cx="604294" cy="774475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7" name="Freeform 269">
            <a:extLst>
              <a:ext uri="{FF2B5EF4-FFF2-40B4-BE49-F238E27FC236}">
                <a16:creationId xmlns:a16="http://schemas.microsoft.com/office/drawing/2014/main" id="{8DB99D8C-1107-49E8-BFDA-ABCA98C59340}"/>
              </a:ext>
            </a:extLst>
          </p:cNvPr>
          <p:cNvSpPr>
            <a:spLocks/>
          </p:cNvSpPr>
          <p:nvPr/>
        </p:nvSpPr>
        <p:spPr bwMode="auto">
          <a:xfrm>
            <a:off x="7498836" y="2129294"/>
            <a:ext cx="402523" cy="249666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8" name="Freeform 270">
            <a:extLst>
              <a:ext uri="{FF2B5EF4-FFF2-40B4-BE49-F238E27FC236}">
                <a16:creationId xmlns:a16="http://schemas.microsoft.com/office/drawing/2014/main" id="{02465DE7-BFD1-4079-8944-84A70B5D8236}"/>
              </a:ext>
            </a:extLst>
          </p:cNvPr>
          <p:cNvSpPr>
            <a:spLocks/>
          </p:cNvSpPr>
          <p:nvPr/>
        </p:nvSpPr>
        <p:spPr bwMode="auto">
          <a:xfrm>
            <a:off x="7379607" y="1885742"/>
            <a:ext cx="511561" cy="372971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A2A2A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9" name="Freeform 271">
            <a:extLst>
              <a:ext uri="{FF2B5EF4-FFF2-40B4-BE49-F238E27FC236}">
                <a16:creationId xmlns:a16="http://schemas.microsoft.com/office/drawing/2014/main" id="{A1EF892A-43C6-41A0-BF5D-430513D0FD41}"/>
              </a:ext>
            </a:extLst>
          </p:cNvPr>
          <p:cNvSpPr>
            <a:spLocks/>
          </p:cNvSpPr>
          <p:nvPr/>
        </p:nvSpPr>
        <p:spPr bwMode="auto">
          <a:xfrm>
            <a:off x="7744426" y="1500542"/>
            <a:ext cx="728618" cy="645056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A2A2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0" name="Freeform 272">
            <a:extLst>
              <a:ext uri="{FF2B5EF4-FFF2-40B4-BE49-F238E27FC236}">
                <a16:creationId xmlns:a16="http://schemas.microsoft.com/office/drawing/2014/main" id="{40F5A6A0-70E3-4967-97A0-06A2DC9C721A}"/>
              </a:ext>
            </a:extLst>
          </p:cNvPr>
          <p:cNvSpPr>
            <a:spLocks/>
          </p:cNvSpPr>
          <p:nvPr/>
        </p:nvSpPr>
        <p:spPr bwMode="auto">
          <a:xfrm>
            <a:off x="7744426" y="1500542"/>
            <a:ext cx="728618" cy="645056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1" name="Freeform 273">
            <a:extLst>
              <a:ext uri="{FF2B5EF4-FFF2-40B4-BE49-F238E27FC236}">
                <a16:creationId xmlns:a16="http://schemas.microsoft.com/office/drawing/2014/main" id="{B19DC0EF-8F5C-4B3B-9672-AC93DE348000}"/>
              </a:ext>
            </a:extLst>
          </p:cNvPr>
          <p:cNvSpPr>
            <a:spLocks/>
          </p:cNvSpPr>
          <p:nvPr/>
        </p:nvSpPr>
        <p:spPr bwMode="auto">
          <a:xfrm>
            <a:off x="7869768" y="1500542"/>
            <a:ext cx="496275" cy="312847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2" name="Freeform 276">
            <a:extLst>
              <a:ext uri="{FF2B5EF4-FFF2-40B4-BE49-F238E27FC236}">
                <a16:creationId xmlns:a16="http://schemas.microsoft.com/office/drawing/2014/main" id="{5434B1B7-6F07-447F-B359-1FC766BB2EDF}"/>
              </a:ext>
            </a:extLst>
          </p:cNvPr>
          <p:cNvSpPr>
            <a:spLocks/>
          </p:cNvSpPr>
          <p:nvPr/>
        </p:nvSpPr>
        <p:spPr bwMode="auto">
          <a:xfrm>
            <a:off x="8669720" y="1684990"/>
            <a:ext cx="629770" cy="488123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solidFill>
            <a:srgbClr val="A2A2A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3" name="Freeform 274">
            <a:extLst>
              <a:ext uri="{FF2B5EF4-FFF2-40B4-BE49-F238E27FC236}">
                <a16:creationId xmlns:a16="http://schemas.microsoft.com/office/drawing/2014/main" id="{24D04307-9DD4-4D3B-8BB8-8C14832B5F1C}"/>
              </a:ext>
            </a:extLst>
          </p:cNvPr>
          <p:cNvSpPr>
            <a:spLocks/>
          </p:cNvSpPr>
          <p:nvPr/>
        </p:nvSpPr>
        <p:spPr bwMode="auto">
          <a:xfrm>
            <a:off x="8344644" y="1522961"/>
            <a:ext cx="542132" cy="364818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A2A2A2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4" name="Freeform 275">
            <a:extLst>
              <a:ext uri="{FF2B5EF4-FFF2-40B4-BE49-F238E27FC236}">
                <a16:creationId xmlns:a16="http://schemas.microsoft.com/office/drawing/2014/main" id="{96AFF39E-BA3D-4DCA-89E6-F3F456BFF167}"/>
              </a:ext>
            </a:extLst>
          </p:cNvPr>
          <p:cNvSpPr>
            <a:spLocks/>
          </p:cNvSpPr>
          <p:nvPr/>
        </p:nvSpPr>
        <p:spPr bwMode="auto">
          <a:xfrm>
            <a:off x="8701619" y="1706256"/>
            <a:ext cx="576000" cy="468000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A2A2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5" name="Freeform 277">
            <a:extLst>
              <a:ext uri="{FF2B5EF4-FFF2-40B4-BE49-F238E27FC236}">
                <a16:creationId xmlns:a16="http://schemas.microsoft.com/office/drawing/2014/main" id="{F92A16CE-F974-4637-92BA-74B2C6F88E49}"/>
              </a:ext>
            </a:extLst>
          </p:cNvPr>
          <p:cNvSpPr>
            <a:spLocks/>
          </p:cNvSpPr>
          <p:nvPr/>
        </p:nvSpPr>
        <p:spPr bwMode="auto">
          <a:xfrm>
            <a:off x="8711500" y="1684990"/>
            <a:ext cx="175276" cy="198714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6" name="Freeform 278">
            <a:extLst>
              <a:ext uri="{FF2B5EF4-FFF2-40B4-BE49-F238E27FC236}">
                <a16:creationId xmlns:a16="http://schemas.microsoft.com/office/drawing/2014/main" id="{787E67D3-1C83-4D47-8AD5-900A3EC8940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8781815" y="2062037"/>
            <a:ext cx="637923" cy="419847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ED8E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7" name="Freeform 279">
            <a:extLst>
              <a:ext uri="{FF2B5EF4-FFF2-40B4-BE49-F238E27FC236}">
                <a16:creationId xmlns:a16="http://schemas.microsoft.com/office/drawing/2014/main" id="{3D55714F-4EED-4DCA-9B60-2640B572276A}"/>
              </a:ext>
            </a:extLst>
          </p:cNvPr>
          <p:cNvSpPr>
            <a:spLocks/>
          </p:cNvSpPr>
          <p:nvPr/>
        </p:nvSpPr>
        <p:spPr bwMode="auto">
          <a:xfrm>
            <a:off x="8781815" y="2062037"/>
            <a:ext cx="637923" cy="419847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8" name="Freeform 280">
            <a:extLst>
              <a:ext uri="{FF2B5EF4-FFF2-40B4-BE49-F238E27FC236}">
                <a16:creationId xmlns:a16="http://schemas.microsoft.com/office/drawing/2014/main" id="{4DC1A0F2-1A8D-4CC9-8EA6-AE5017DEADA3}"/>
              </a:ext>
            </a:extLst>
          </p:cNvPr>
          <p:cNvSpPr>
            <a:spLocks/>
          </p:cNvSpPr>
          <p:nvPr/>
        </p:nvSpPr>
        <p:spPr bwMode="auto">
          <a:xfrm>
            <a:off x="8841938" y="2088532"/>
            <a:ext cx="114133" cy="36686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9" name="Freeform 281">
            <a:extLst>
              <a:ext uri="{FF2B5EF4-FFF2-40B4-BE49-F238E27FC236}">
                <a16:creationId xmlns:a16="http://schemas.microsoft.com/office/drawing/2014/main" id="{BC3A25BF-AA3B-4D78-B9DF-2FE133710273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8574948" y="2298455"/>
            <a:ext cx="659323" cy="612447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6BAF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0" name="Freeform 282">
            <a:extLst>
              <a:ext uri="{FF2B5EF4-FFF2-40B4-BE49-F238E27FC236}">
                <a16:creationId xmlns:a16="http://schemas.microsoft.com/office/drawing/2014/main" id="{BA438D0F-59C7-4786-9B89-4820B1EA5250}"/>
              </a:ext>
            </a:extLst>
          </p:cNvPr>
          <p:cNvSpPr>
            <a:spLocks/>
          </p:cNvSpPr>
          <p:nvPr/>
        </p:nvSpPr>
        <p:spPr bwMode="auto">
          <a:xfrm>
            <a:off x="8658510" y="2302531"/>
            <a:ext cx="575761" cy="60837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1" name="Freeform 283">
            <a:extLst>
              <a:ext uri="{FF2B5EF4-FFF2-40B4-BE49-F238E27FC236}">
                <a16:creationId xmlns:a16="http://schemas.microsoft.com/office/drawing/2014/main" id="{A612A1EB-9197-49C0-9595-5F876AD19C84}"/>
              </a:ext>
            </a:extLst>
          </p:cNvPr>
          <p:cNvSpPr>
            <a:spLocks/>
          </p:cNvSpPr>
          <p:nvPr/>
        </p:nvSpPr>
        <p:spPr bwMode="auto">
          <a:xfrm>
            <a:off x="8574948" y="2298455"/>
            <a:ext cx="266990" cy="403542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2" name="Freeform 284">
            <a:extLst>
              <a:ext uri="{FF2B5EF4-FFF2-40B4-BE49-F238E27FC236}">
                <a16:creationId xmlns:a16="http://schemas.microsoft.com/office/drawing/2014/main" id="{A588E7AA-8380-460F-BC73-5CE1812E6827}"/>
              </a:ext>
            </a:extLst>
          </p:cNvPr>
          <p:cNvSpPr>
            <a:spLocks/>
          </p:cNvSpPr>
          <p:nvPr/>
        </p:nvSpPr>
        <p:spPr bwMode="auto">
          <a:xfrm>
            <a:off x="8859262" y="2446217"/>
            <a:ext cx="928351" cy="66951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296A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3" name="Freeform 285">
            <a:extLst>
              <a:ext uri="{FF2B5EF4-FFF2-40B4-BE49-F238E27FC236}">
                <a16:creationId xmlns:a16="http://schemas.microsoft.com/office/drawing/2014/main" id="{48B19003-FF0D-48F7-B891-BF3B55CE44DD}"/>
              </a:ext>
            </a:extLst>
          </p:cNvPr>
          <p:cNvSpPr>
            <a:spLocks/>
          </p:cNvSpPr>
          <p:nvPr/>
        </p:nvSpPr>
        <p:spPr bwMode="auto">
          <a:xfrm>
            <a:off x="8995814" y="2446217"/>
            <a:ext cx="791799" cy="66951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4" name="Freeform 286">
            <a:extLst>
              <a:ext uri="{FF2B5EF4-FFF2-40B4-BE49-F238E27FC236}">
                <a16:creationId xmlns:a16="http://schemas.microsoft.com/office/drawing/2014/main" id="{22B8D189-5AEC-4C5C-A95D-814E13872D5F}"/>
              </a:ext>
            </a:extLst>
          </p:cNvPr>
          <p:cNvSpPr>
            <a:spLocks/>
          </p:cNvSpPr>
          <p:nvPr/>
        </p:nvSpPr>
        <p:spPr bwMode="auto">
          <a:xfrm>
            <a:off x="8859262" y="2446217"/>
            <a:ext cx="438190" cy="521751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5" name="Freeform 287">
            <a:extLst>
              <a:ext uri="{FF2B5EF4-FFF2-40B4-BE49-F238E27FC236}">
                <a16:creationId xmlns:a16="http://schemas.microsoft.com/office/drawing/2014/main" id="{C8049630-EE43-4FF8-98D4-98267C235E18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9361652" y="1895932"/>
            <a:ext cx="526847" cy="781608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BED8E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6" name="Freeform 288">
            <a:extLst>
              <a:ext uri="{FF2B5EF4-FFF2-40B4-BE49-F238E27FC236}">
                <a16:creationId xmlns:a16="http://schemas.microsoft.com/office/drawing/2014/main" id="{EC3B3B07-AA3C-42CC-A43B-E28F449ED404}"/>
              </a:ext>
            </a:extLst>
          </p:cNvPr>
          <p:cNvSpPr>
            <a:spLocks/>
          </p:cNvSpPr>
          <p:nvPr/>
        </p:nvSpPr>
        <p:spPr bwMode="auto">
          <a:xfrm>
            <a:off x="9405471" y="1974399"/>
            <a:ext cx="483028" cy="703142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7" name="Freeform 289">
            <a:extLst>
              <a:ext uri="{FF2B5EF4-FFF2-40B4-BE49-F238E27FC236}">
                <a16:creationId xmlns:a16="http://schemas.microsoft.com/office/drawing/2014/main" id="{E55BD2D0-CCD8-4EEB-830F-BF9A96B09EF3}"/>
              </a:ext>
            </a:extLst>
          </p:cNvPr>
          <p:cNvSpPr>
            <a:spLocks/>
          </p:cNvSpPr>
          <p:nvPr/>
        </p:nvSpPr>
        <p:spPr bwMode="auto">
          <a:xfrm>
            <a:off x="9361652" y="1895932"/>
            <a:ext cx="242533" cy="6888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8" name="Freeform 290">
            <a:extLst>
              <a:ext uri="{FF2B5EF4-FFF2-40B4-BE49-F238E27FC236}">
                <a16:creationId xmlns:a16="http://schemas.microsoft.com/office/drawing/2014/main" id="{98080B1F-A800-45D8-92DC-94F88D0CDB3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9549156" y="2489017"/>
            <a:ext cx="558437" cy="461628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6BAFD6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9" name="Freeform 291">
            <a:extLst>
              <a:ext uri="{FF2B5EF4-FFF2-40B4-BE49-F238E27FC236}">
                <a16:creationId xmlns:a16="http://schemas.microsoft.com/office/drawing/2014/main" id="{D27516A7-97C1-4D11-B4E4-A0CB5A319FB2}"/>
              </a:ext>
            </a:extLst>
          </p:cNvPr>
          <p:cNvSpPr>
            <a:spLocks/>
          </p:cNvSpPr>
          <p:nvPr/>
        </p:nvSpPr>
        <p:spPr bwMode="auto">
          <a:xfrm>
            <a:off x="9550175" y="1971342"/>
            <a:ext cx="744923" cy="604294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6BAF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0" name="Freeform 292">
            <a:extLst>
              <a:ext uri="{FF2B5EF4-FFF2-40B4-BE49-F238E27FC236}">
                <a16:creationId xmlns:a16="http://schemas.microsoft.com/office/drawing/2014/main" id="{AA5E918A-831E-4FAD-8A64-1F2584748916}"/>
              </a:ext>
            </a:extLst>
          </p:cNvPr>
          <p:cNvSpPr>
            <a:spLocks/>
          </p:cNvSpPr>
          <p:nvPr/>
        </p:nvSpPr>
        <p:spPr bwMode="auto">
          <a:xfrm>
            <a:off x="9648004" y="1971342"/>
            <a:ext cx="647094" cy="604294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solidFill>
            <a:srgbClr val="BED8E8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1" name="Freeform 293">
            <a:extLst>
              <a:ext uri="{FF2B5EF4-FFF2-40B4-BE49-F238E27FC236}">
                <a16:creationId xmlns:a16="http://schemas.microsoft.com/office/drawing/2014/main" id="{67183DF2-3495-4561-9EC7-BCD7EDA13C34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9550175" y="1971342"/>
            <a:ext cx="226228" cy="351571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solidFill>
            <a:srgbClr val="BED8E8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2" name="Rectangle 294">
            <a:extLst>
              <a:ext uri="{FF2B5EF4-FFF2-40B4-BE49-F238E27FC236}">
                <a16:creationId xmlns:a16="http://schemas.microsoft.com/office/drawing/2014/main" id="{D779044C-54D7-4CAE-BDE7-AF2FFC04C40C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315092" y="2320874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83" name="Rectangle 295">
            <a:extLst>
              <a:ext uri="{FF2B5EF4-FFF2-40B4-BE49-F238E27FC236}">
                <a16:creationId xmlns:a16="http://schemas.microsoft.com/office/drawing/2014/main" id="{957FB4C1-E131-4C57-B576-7750670B4506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64139" y="2776388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84" name="Rectangle 296">
            <a:extLst>
              <a:ext uri="{FF2B5EF4-FFF2-40B4-BE49-F238E27FC236}">
                <a16:creationId xmlns:a16="http://schemas.microsoft.com/office/drawing/2014/main" id="{7ABCCCFE-D6E4-43B9-8A60-4DA17D9B3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0540" y="2453350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85" name="Rectangle 297">
            <a:extLst>
              <a:ext uri="{FF2B5EF4-FFF2-40B4-BE49-F238E27FC236}">
                <a16:creationId xmlns:a16="http://schemas.microsoft.com/office/drawing/2014/main" id="{6AA802DF-D1FF-4D6D-BEDF-4A174A1E1978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9227875" y="2776388"/>
            <a:ext cx="26449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76 </a:t>
            </a:r>
            <a:r>
              <a:rPr kumimoji="0" lang="en-US" altLang="cs-CZ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86" name="Rectangle 298">
            <a:extLst>
              <a:ext uri="{FF2B5EF4-FFF2-40B4-BE49-F238E27FC236}">
                <a16:creationId xmlns:a16="http://schemas.microsoft.com/office/drawing/2014/main" id="{7EA75173-9CC9-450F-AB0F-68E888834A6D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782834" y="2559331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8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87" name="Rectangle 299">
            <a:extLst>
              <a:ext uri="{FF2B5EF4-FFF2-40B4-BE49-F238E27FC236}">
                <a16:creationId xmlns:a16="http://schemas.microsoft.com/office/drawing/2014/main" id="{CA211A3B-058D-427C-9888-C73E9A12BC85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9716280" y="2667350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88" name="Rectangle 300">
            <a:extLst>
              <a:ext uri="{FF2B5EF4-FFF2-40B4-BE49-F238E27FC236}">
                <a16:creationId xmlns:a16="http://schemas.microsoft.com/office/drawing/2014/main" id="{5D33D92B-5851-451C-81B0-F1466F45E7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7721" y="1839885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89" name="Rectangle 301">
            <a:extLst>
              <a:ext uri="{FF2B5EF4-FFF2-40B4-BE49-F238E27FC236}">
                <a16:creationId xmlns:a16="http://schemas.microsoft.com/office/drawing/2014/main" id="{B675B961-181A-4574-B059-E6DB46D187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5699" y="2262789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0" name="Rectangle 302">
            <a:extLst>
              <a:ext uri="{FF2B5EF4-FFF2-40B4-BE49-F238E27FC236}">
                <a16:creationId xmlns:a16="http://schemas.microsoft.com/office/drawing/2014/main" id="{323C76C8-3690-401D-B812-3364962ECF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2851" y="2447236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1" name="Rectangle 303">
            <a:extLst>
              <a:ext uri="{FF2B5EF4-FFF2-40B4-BE49-F238E27FC236}">
                <a16:creationId xmlns:a16="http://schemas.microsoft.com/office/drawing/2014/main" id="{C636A647-5BB0-4AF4-9BA6-8DEC6837E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7214" y="2230179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2" name="Rectangle 304">
            <a:extLst>
              <a:ext uri="{FF2B5EF4-FFF2-40B4-BE49-F238E27FC236}">
                <a16:creationId xmlns:a16="http://schemas.microsoft.com/office/drawing/2014/main" id="{EBA1041E-CB1A-4E17-AAD3-C5E2DAB4E3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7481" y="1891856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3" name="Rectangle 305">
            <a:extLst>
              <a:ext uri="{FF2B5EF4-FFF2-40B4-BE49-F238E27FC236}">
                <a16:creationId xmlns:a16="http://schemas.microsoft.com/office/drawing/2014/main" id="{DDCD4D64-0B29-4514-8861-0799B07BC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0110" y="1673780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4" name="Rectangle 306">
            <a:extLst>
              <a:ext uri="{FF2B5EF4-FFF2-40B4-BE49-F238E27FC236}">
                <a16:creationId xmlns:a16="http://schemas.microsoft.com/office/drawing/2014/main" id="{2F3BAAF4-0153-428D-A046-7C50D883DA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8321" y="2033503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95" name="Rectangle 307">
            <a:extLst>
              <a:ext uri="{FF2B5EF4-FFF2-40B4-BE49-F238E27FC236}">
                <a16:creationId xmlns:a16="http://schemas.microsoft.com/office/drawing/2014/main" id="{C851A973-4450-4D00-968D-F3D1BA60829C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326537" y="2093689"/>
            <a:ext cx="17793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 </a:t>
            </a:r>
            <a:r>
              <a:rPr kumimoji="0" lang="en-US" altLang="cs-CZ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</a:t>
            </a:r>
            <a:endParaRPr kumimoji="0" lang="cs-CZ" alt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396" name="Group 4">
            <a:extLst>
              <a:ext uri="{FF2B5EF4-FFF2-40B4-BE49-F238E27FC236}">
                <a16:creationId xmlns:a16="http://schemas.microsoft.com/office/drawing/2014/main" id="{1566EB26-B251-41ED-9041-F8B1531E494E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 bwMode="auto">
          <a:xfrm>
            <a:off x="3788430" y="2852111"/>
            <a:ext cx="5330998" cy="3043635"/>
            <a:chOff x="293" y="976"/>
            <a:chExt cx="5174" cy="2954"/>
          </a:xfrm>
        </p:grpSpPr>
        <p:sp>
          <p:nvSpPr>
            <p:cNvPr id="397" name="AutoShape 3">
              <a:extLst>
                <a:ext uri="{FF2B5EF4-FFF2-40B4-BE49-F238E27FC236}">
                  <a16:creationId xmlns:a16="http://schemas.microsoft.com/office/drawing/2014/main" id="{1EAC6801-4EC3-4C6C-AA6A-A61122C6EF4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3" y="981"/>
              <a:ext cx="5174" cy="29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8" name="Freeform 5">
              <a:extLst>
                <a:ext uri="{FF2B5EF4-FFF2-40B4-BE49-F238E27FC236}">
                  <a16:creationId xmlns:a16="http://schemas.microsoft.com/office/drawing/2014/main" id="{2870BAFD-31B4-4A0E-B3A3-09B5BA547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" y="2017"/>
              <a:ext cx="352" cy="270"/>
            </a:xfrm>
            <a:custGeom>
              <a:avLst/>
              <a:gdLst>
                <a:gd name="T0" fmla="*/ 226 w 352"/>
                <a:gd name="T1" fmla="*/ 3 h 270"/>
                <a:gd name="T2" fmla="*/ 233 w 352"/>
                <a:gd name="T3" fmla="*/ 11 h 270"/>
                <a:gd name="T4" fmla="*/ 258 w 352"/>
                <a:gd name="T5" fmla="*/ 28 h 270"/>
                <a:gd name="T6" fmla="*/ 270 w 352"/>
                <a:gd name="T7" fmla="*/ 34 h 270"/>
                <a:gd name="T8" fmla="*/ 280 w 352"/>
                <a:gd name="T9" fmla="*/ 50 h 270"/>
                <a:gd name="T10" fmla="*/ 299 w 352"/>
                <a:gd name="T11" fmla="*/ 58 h 270"/>
                <a:gd name="T12" fmla="*/ 318 w 352"/>
                <a:gd name="T13" fmla="*/ 69 h 270"/>
                <a:gd name="T14" fmla="*/ 332 w 352"/>
                <a:gd name="T15" fmla="*/ 85 h 270"/>
                <a:gd name="T16" fmla="*/ 349 w 352"/>
                <a:gd name="T17" fmla="*/ 101 h 270"/>
                <a:gd name="T18" fmla="*/ 352 w 352"/>
                <a:gd name="T19" fmla="*/ 109 h 270"/>
                <a:gd name="T20" fmla="*/ 348 w 352"/>
                <a:gd name="T21" fmla="*/ 120 h 270"/>
                <a:gd name="T22" fmla="*/ 324 w 352"/>
                <a:gd name="T23" fmla="*/ 136 h 270"/>
                <a:gd name="T24" fmla="*/ 314 w 352"/>
                <a:gd name="T25" fmla="*/ 145 h 270"/>
                <a:gd name="T26" fmla="*/ 314 w 352"/>
                <a:gd name="T27" fmla="*/ 153 h 270"/>
                <a:gd name="T28" fmla="*/ 322 w 352"/>
                <a:gd name="T29" fmla="*/ 167 h 270"/>
                <a:gd name="T30" fmla="*/ 325 w 352"/>
                <a:gd name="T31" fmla="*/ 191 h 270"/>
                <a:gd name="T32" fmla="*/ 318 w 352"/>
                <a:gd name="T33" fmla="*/ 201 h 270"/>
                <a:gd name="T34" fmla="*/ 303 w 352"/>
                <a:gd name="T35" fmla="*/ 211 h 270"/>
                <a:gd name="T36" fmla="*/ 288 w 352"/>
                <a:gd name="T37" fmla="*/ 209 h 270"/>
                <a:gd name="T38" fmla="*/ 262 w 352"/>
                <a:gd name="T39" fmla="*/ 198 h 270"/>
                <a:gd name="T40" fmla="*/ 253 w 352"/>
                <a:gd name="T41" fmla="*/ 199 h 270"/>
                <a:gd name="T42" fmla="*/ 250 w 352"/>
                <a:gd name="T43" fmla="*/ 199 h 270"/>
                <a:gd name="T44" fmla="*/ 228 w 352"/>
                <a:gd name="T45" fmla="*/ 200 h 270"/>
                <a:gd name="T46" fmla="*/ 217 w 352"/>
                <a:gd name="T47" fmla="*/ 209 h 270"/>
                <a:gd name="T48" fmla="*/ 202 w 352"/>
                <a:gd name="T49" fmla="*/ 215 h 270"/>
                <a:gd name="T50" fmla="*/ 172 w 352"/>
                <a:gd name="T51" fmla="*/ 236 h 270"/>
                <a:gd name="T52" fmla="*/ 152 w 352"/>
                <a:gd name="T53" fmla="*/ 245 h 270"/>
                <a:gd name="T54" fmla="*/ 129 w 352"/>
                <a:gd name="T55" fmla="*/ 251 h 270"/>
                <a:gd name="T56" fmla="*/ 119 w 352"/>
                <a:gd name="T57" fmla="*/ 264 h 270"/>
                <a:gd name="T58" fmla="*/ 113 w 352"/>
                <a:gd name="T59" fmla="*/ 270 h 270"/>
                <a:gd name="T60" fmla="*/ 89 w 352"/>
                <a:gd name="T61" fmla="*/ 268 h 270"/>
                <a:gd name="T62" fmla="*/ 79 w 352"/>
                <a:gd name="T63" fmla="*/ 263 h 270"/>
                <a:gd name="T64" fmla="*/ 74 w 352"/>
                <a:gd name="T65" fmla="*/ 256 h 270"/>
                <a:gd name="T66" fmla="*/ 76 w 352"/>
                <a:gd name="T67" fmla="*/ 243 h 270"/>
                <a:gd name="T68" fmla="*/ 74 w 352"/>
                <a:gd name="T69" fmla="*/ 237 h 270"/>
                <a:gd name="T70" fmla="*/ 74 w 352"/>
                <a:gd name="T71" fmla="*/ 224 h 270"/>
                <a:gd name="T72" fmla="*/ 63 w 352"/>
                <a:gd name="T73" fmla="*/ 216 h 270"/>
                <a:gd name="T74" fmla="*/ 53 w 352"/>
                <a:gd name="T75" fmla="*/ 208 h 270"/>
                <a:gd name="T76" fmla="*/ 52 w 352"/>
                <a:gd name="T77" fmla="*/ 199 h 270"/>
                <a:gd name="T78" fmla="*/ 54 w 352"/>
                <a:gd name="T79" fmla="*/ 188 h 270"/>
                <a:gd name="T80" fmla="*/ 38 w 352"/>
                <a:gd name="T81" fmla="*/ 170 h 270"/>
                <a:gd name="T82" fmla="*/ 24 w 352"/>
                <a:gd name="T83" fmla="*/ 149 h 270"/>
                <a:gd name="T84" fmla="*/ 17 w 352"/>
                <a:gd name="T85" fmla="*/ 136 h 270"/>
                <a:gd name="T86" fmla="*/ 22 w 352"/>
                <a:gd name="T87" fmla="*/ 125 h 270"/>
                <a:gd name="T88" fmla="*/ 33 w 352"/>
                <a:gd name="T89" fmla="*/ 116 h 270"/>
                <a:gd name="T90" fmla="*/ 27 w 352"/>
                <a:gd name="T91" fmla="*/ 105 h 270"/>
                <a:gd name="T92" fmla="*/ 7 w 352"/>
                <a:gd name="T93" fmla="*/ 88 h 270"/>
                <a:gd name="T94" fmla="*/ 0 w 352"/>
                <a:gd name="T95" fmla="*/ 82 h 270"/>
                <a:gd name="T96" fmla="*/ 6 w 352"/>
                <a:gd name="T97" fmla="*/ 78 h 270"/>
                <a:gd name="T98" fmla="*/ 37 w 352"/>
                <a:gd name="T99" fmla="*/ 67 h 270"/>
                <a:gd name="T100" fmla="*/ 54 w 352"/>
                <a:gd name="T101" fmla="*/ 60 h 270"/>
                <a:gd name="T102" fmla="*/ 67 w 352"/>
                <a:gd name="T103" fmla="*/ 66 h 270"/>
                <a:gd name="T104" fmla="*/ 85 w 352"/>
                <a:gd name="T105" fmla="*/ 67 h 270"/>
                <a:gd name="T106" fmla="*/ 91 w 352"/>
                <a:gd name="T107" fmla="*/ 61 h 270"/>
                <a:gd name="T108" fmla="*/ 97 w 352"/>
                <a:gd name="T109" fmla="*/ 46 h 270"/>
                <a:gd name="T110" fmla="*/ 108 w 352"/>
                <a:gd name="T111" fmla="*/ 38 h 270"/>
                <a:gd name="T112" fmla="*/ 124 w 352"/>
                <a:gd name="T113" fmla="*/ 38 h 270"/>
                <a:gd name="T114" fmla="*/ 139 w 352"/>
                <a:gd name="T115" fmla="*/ 31 h 270"/>
                <a:gd name="T116" fmla="*/ 150 w 352"/>
                <a:gd name="T117" fmla="*/ 23 h 270"/>
                <a:gd name="T118" fmla="*/ 170 w 352"/>
                <a:gd name="T119" fmla="*/ 19 h 270"/>
                <a:gd name="T120" fmla="*/ 181 w 352"/>
                <a:gd name="T121" fmla="*/ 9 h 270"/>
                <a:gd name="T122" fmla="*/ 204 w 352"/>
                <a:gd name="T123" fmla="*/ 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70">
                  <a:moveTo>
                    <a:pt x="226" y="0"/>
                  </a:moveTo>
                  <a:lnTo>
                    <a:pt x="226" y="0"/>
                  </a:lnTo>
                  <a:lnTo>
                    <a:pt x="226" y="0"/>
                  </a:lnTo>
                  <a:lnTo>
                    <a:pt x="226" y="1"/>
                  </a:lnTo>
                  <a:lnTo>
                    <a:pt x="226" y="2"/>
                  </a:lnTo>
                  <a:lnTo>
                    <a:pt x="226" y="3"/>
                  </a:lnTo>
                  <a:lnTo>
                    <a:pt x="226" y="4"/>
                  </a:lnTo>
                  <a:lnTo>
                    <a:pt x="227" y="6"/>
                  </a:lnTo>
                  <a:lnTo>
                    <a:pt x="228" y="7"/>
                  </a:lnTo>
                  <a:lnTo>
                    <a:pt x="229" y="9"/>
                  </a:lnTo>
                  <a:lnTo>
                    <a:pt x="231" y="10"/>
                  </a:lnTo>
                  <a:lnTo>
                    <a:pt x="233" y="11"/>
                  </a:lnTo>
                  <a:lnTo>
                    <a:pt x="239" y="15"/>
                  </a:lnTo>
                  <a:lnTo>
                    <a:pt x="243" y="18"/>
                  </a:lnTo>
                  <a:lnTo>
                    <a:pt x="250" y="24"/>
                  </a:lnTo>
                  <a:lnTo>
                    <a:pt x="253" y="26"/>
                  </a:lnTo>
                  <a:lnTo>
                    <a:pt x="256" y="27"/>
                  </a:lnTo>
                  <a:lnTo>
                    <a:pt x="258" y="28"/>
                  </a:lnTo>
                  <a:lnTo>
                    <a:pt x="264" y="29"/>
                  </a:lnTo>
                  <a:lnTo>
                    <a:pt x="266" y="30"/>
                  </a:lnTo>
                  <a:lnTo>
                    <a:pt x="267" y="31"/>
                  </a:lnTo>
                  <a:lnTo>
                    <a:pt x="268" y="32"/>
                  </a:lnTo>
                  <a:lnTo>
                    <a:pt x="269" y="33"/>
                  </a:lnTo>
                  <a:lnTo>
                    <a:pt x="270" y="34"/>
                  </a:lnTo>
                  <a:lnTo>
                    <a:pt x="272" y="40"/>
                  </a:lnTo>
                  <a:lnTo>
                    <a:pt x="273" y="42"/>
                  </a:lnTo>
                  <a:lnTo>
                    <a:pt x="275" y="45"/>
                  </a:lnTo>
                  <a:lnTo>
                    <a:pt x="276" y="46"/>
                  </a:lnTo>
                  <a:lnTo>
                    <a:pt x="278" y="48"/>
                  </a:lnTo>
                  <a:lnTo>
                    <a:pt x="280" y="50"/>
                  </a:lnTo>
                  <a:lnTo>
                    <a:pt x="281" y="51"/>
                  </a:lnTo>
                  <a:lnTo>
                    <a:pt x="283" y="53"/>
                  </a:lnTo>
                  <a:lnTo>
                    <a:pt x="285" y="54"/>
                  </a:lnTo>
                  <a:lnTo>
                    <a:pt x="287" y="55"/>
                  </a:lnTo>
                  <a:lnTo>
                    <a:pt x="291" y="56"/>
                  </a:lnTo>
                  <a:lnTo>
                    <a:pt x="299" y="58"/>
                  </a:lnTo>
                  <a:lnTo>
                    <a:pt x="303" y="60"/>
                  </a:lnTo>
                  <a:lnTo>
                    <a:pt x="309" y="64"/>
                  </a:lnTo>
                  <a:lnTo>
                    <a:pt x="312" y="65"/>
                  </a:lnTo>
                  <a:lnTo>
                    <a:pt x="314" y="67"/>
                  </a:lnTo>
                  <a:lnTo>
                    <a:pt x="317" y="68"/>
                  </a:lnTo>
                  <a:lnTo>
                    <a:pt x="318" y="69"/>
                  </a:lnTo>
                  <a:lnTo>
                    <a:pt x="319" y="71"/>
                  </a:lnTo>
                  <a:lnTo>
                    <a:pt x="325" y="79"/>
                  </a:lnTo>
                  <a:lnTo>
                    <a:pt x="326" y="80"/>
                  </a:lnTo>
                  <a:lnTo>
                    <a:pt x="328" y="82"/>
                  </a:lnTo>
                  <a:lnTo>
                    <a:pt x="330" y="83"/>
                  </a:lnTo>
                  <a:lnTo>
                    <a:pt x="332" y="85"/>
                  </a:lnTo>
                  <a:lnTo>
                    <a:pt x="339" y="91"/>
                  </a:lnTo>
                  <a:lnTo>
                    <a:pt x="342" y="92"/>
                  </a:lnTo>
                  <a:lnTo>
                    <a:pt x="344" y="93"/>
                  </a:lnTo>
                  <a:lnTo>
                    <a:pt x="346" y="96"/>
                  </a:lnTo>
                  <a:lnTo>
                    <a:pt x="348" y="99"/>
                  </a:lnTo>
                  <a:lnTo>
                    <a:pt x="349" y="101"/>
                  </a:lnTo>
                  <a:lnTo>
                    <a:pt x="350" y="102"/>
                  </a:lnTo>
                  <a:lnTo>
                    <a:pt x="351" y="103"/>
                  </a:lnTo>
                  <a:lnTo>
                    <a:pt x="351" y="104"/>
                  </a:lnTo>
                  <a:lnTo>
                    <a:pt x="352" y="106"/>
                  </a:lnTo>
                  <a:lnTo>
                    <a:pt x="352" y="107"/>
                  </a:lnTo>
                  <a:lnTo>
                    <a:pt x="352" y="109"/>
                  </a:lnTo>
                  <a:lnTo>
                    <a:pt x="352" y="112"/>
                  </a:lnTo>
                  <a:lnTo>
                    <a:pt x="352" y="113"/>
                  </a:lnTo>
                  <a:lnTo>
                    <a:pt x="351" y="115"/>
                  </a:lnTo>
                  <a:lnTo>
                    <a:pt x="350" y="117"/>
                  </a:lnTo>
                  <a:lnTo>
                    <a:pt x="349" y="119"/>
                  </a:lnTo>
                  <a:lnTo>
                    <a:pt x="348" y="120"/>
                  </a:lnTo>
                  <a:lnTo>
                    <a:pt x="347" y="121"/>
                  </a:lnTo>
                  <a:lnTo>
                    <a:pt x="346" y="123"/>
                  </a:lnTo>
                  <a:lnTo>
                    <a:pt x="344" y="124"/>
                  </a:lnTo>
                  <a:lnTo>
                    <a:pt x="340" y="126"/>
                  </a:lnTo>
                  <a:lnTo>
                    <a:pt x="335" y="129"/>
                  </a:lnTo>
                  <a:lnTo>
                    <a:pt x="324" y="136"/>
                  </a:lnTo>
                  <a:lnTo>
                    <a:pt x="321" y="137"/>
                  </a:lnTo>
                  <a:lnTo>
                    <a:pt x="319" y="138"/>
                  </a:lnTo>
                  <a:lnTo>
                    <a:pt x="317" y="140"/>
                  </a:lnTo>
                  <a:lnTo>
                    <a:pt x="315" y="142"/>
                  </a:lnTo>
                  <a:lnTo>
                    <a:pt x="314" y="144"/>
                  </a:lnTo>
                  <a:lnTo>
                    <a:pt x="314" y="145"/>
                  </a:lnTo>
                  <a:lnTo>
                    <a:pt x="314" y="146"/>
                  </a:lnTo>
                  <a:lnTo>
                    <a:pt x="313" y="147"/>
                  </a:lnTo>
                  <a:lnTo>
                    <a:pt x="313" y="149"/>
                  </a:lnTo>
                  <a:lnTo>
                    <a:pt x="313" y="150"/>
                  </a:lnTo>
                  <a:lnTo>
                    <a:pt x="314" y="152"/>
                  </a:lnTo>
                  <a:lnTo>
                    <a:pt x="314" y="153"/>
                  </a:lnTo>
                  <a:lnTo>
                    <a:pt x="314" y="154"/>
                  </a:lnTo>
                  <a:lnTo>
                    <a:pt x="317" y="157"/>
                  </a:lnTo>
                  <a:lnTo>
                    <a:pt x="319" y="159"/>
                  </a:lnTo>
                  <a:lnTo>
                    <a:pt x="321" y="161"/>
                  </a:lnTo>
                  <a:lnTo>
                    <a:pt x="322" y="164"/>
                  </a:lnTo>
                  <a:lnTo>
                    <a:pt x="322" y="167"/>
                  </a:lnTo>
                  <a:lnTo>
                    <a:pt x="323" y="173"/>
                  </a:lnTo>
                  <a:lnTo>
                    <a:pt x="325" y="181"/>
                  </a:lnTo>
                  <a:lnTo>
                    <a:pt x="325" y="184"/>
                  </a:lnTo>
                  <a:lnTo>
                    <a:pt x="325" y="186"/>
                  </a:lnTo>
                  <a:lnTo>
                    <a:pt x="325" y="188"/>
                  </a:lnTo>
                  <a:lnTo>
                    <a:pt x="325" y="191"/>
                  </a:lnTo>
                  <a:lnTo>
                    <a:pt x="324" y="193"/>
                  </a:lnTo>
                  <a:lnTo>
                    <a:pt x="323" y="194"/>
                  </a:lnTo>
                  <a:lnTo>
                    <a:pt x="322" y="196"/>
                  </a:lnTo>
                  <a:lnTo>
                    <a:pt x="321" y="198"/>
                  </a:lnTo>
                  <a:lnTo>
                    <a:pt x="319" y="200"/>
                  </a:lnTo>
                  <a:lnTo>
                    <a:pt x="318" y="201"/>
                  </a:lnTo>
                  <a:lnTo>
                    <a:pt x="312" y="205"/>
                  </a:lnTo>
                  <a:lnTo>
                    <a:pt x="311" y="206"/>
                  </a:lnTo>
                  <a:lnTo>
                    <a:pt x="308" y="209"/>
                  </a:lnTo>
                  <a:lnTo>
                    <a:pt x="306" y="210"/>
                  </a:lnTo>
                  <a:lnTo>
                    <a:pt x="305" y="211"/>
                  </a:lnTo>
                  <a:lnTo>
                    <a:pt x="303" y="211"/>
                  </a:lnTo>
                  <a:lnTo>
                    <a:pt x="302" y="212"/>
                  </a:lnTo>
                  <a:lnTo>
                    <a:pt x="300" y="212"/>
                  </a:lnTo>
                  <a:lnTo>
                    <a:pt x="297" y="212"/>
                  </a:lnTo>
                  <a:lnTo>
                    <a:pt x="293" y="211"/>
                  </a:lnTo>
                  <a:lnTo>
                    <a:pt x="291" y="210"/>
                  </a:lnTo>
                  <a:lnTo>
                    <a:pt x="288" y="209"/>
                  </a:lnTo>
                  <a:lnTo>
                    <a:pt x="285" y="208"/>
                  </a:lnTo>
                  <a:lnTo>
                    <a:pt x="277" y="204"/>
                  </a:lnTo>
                  <a:lnTo>
                    <a:pt x="274" y="202"/>
                  </a:lnTo>
                  <a:lnTo>
                    <a:pt x="268" y="200"/>
                  </a:lnTo>
                  <a:lnTo>
                    <a:pt x="264" y="198"/>
                  </a:lnTo>
                  <a:lnTo>
                    <a:pt x="262" y="198"/>
                  </a:lnTo>
                  <a:lnTo>
                    <a:pt x="260" y="198"/>
                  </a:lnTo>
                  <a:lnTo>
                    <a:pt x="258" y="198"/>
                  </a:lnTo>
                  <a:lnTo>
                    <a:pt x="257" y="198"/>
                  </a:lnTo>
                  <a:lnTo>
                    <a:pt x="255" y="198"/>
                  </a:lnTo>
                  <a:lnTo>
                    <a:pt x="254" y="199"/>
                  </a:lnTo>
                  <a:lnTo>
                    <a:pt x="253" y="199"/>
                  </a:lnTo>
                  <a:lnTo>
                    <a:pt x="253" y="200"/>
                  </a:lnTo>
                  <a:lnTo>
                    <a:pt x="253" y="200"/>
                  </a:lnTo>
                  <a:lnTo>
                    <a:pt x="253" y="200"/>
                  </a:lnTo>
                  <a:lnTo>
                    <a:pt x="252" y="200"/>
                  </a:lnTo>
                  <a:lnTo>
                    <a:pt x="251" y="199"/>
                  </a:lnTo>
                  <a:lnTo>
                    <a:pt x="250" y="199"/>
                  </a:lnTo>
                  <a:lnTo>
                    <a:pt x="248" y="199"/>
                  </a:lnTo>
                  <a:lnTo>
                    <a:pt x="245" y="198"/>
                  </a:lnTo>
                  <a:lnTo>
                    <a:pt x="239" y="198"/>
                  </a:lnTo>
                  <a:lnTo>
                    <a:pt x="234" y="199"/>
                  </a:lnTo>
                  <a:lnTo>
                    <a:pt x="232" y="199"/>
                  </a:lnTo>
                  <a:lnTo>
                    <a:pt x="228" y="200"/>
                  </a:lnTo>
                  <a:lnTo>
                    <a:pt x="225" y="202"/>
                  </a:lnTo>
                  <a:lnTo>
                    <a:pt x="223" y="203"/>
                  </a:lnTo>
                  <a:lnTo>
                    <a:pt x="223" y="204"/>
                  </a:lnTo>
                  <a:lnTo>
                    <a:pt x="221" y="204"/>
                  </a:lnTo>
                  <a:lnTo>
                    <a:pt x="218" y="207"/>
                  </a:lnTo>
                  <a:lnTo>
                    <a:pt x="217" y="209"/>
                  </a:lnTo>
                  <a:lnTo>
                    <a:pt x="215" y="210"/>
                  </a:lnTo>
                  <a:lnTo>
                    <a:pt x="212" y="212"/>
                  </a:lnTo>
                  <a:lnTo>
                    <a:pt x="211" y="213"/>
                  </a:lnTo>
                  <a:lnTo>
                    <a:pt x="209" y="214"/>
                  </a:lnTo>
                  <a:lnTo>
                    <a:pt x="207" y="215"/>
                  </a:lnTo>
                  <a:lnTo>
                    <a:pt x="202" y="215"/>
                  </a:lnTo>
                  <a:lnTo>
                    <a:pt x="199" y="216"/>
                  </a:lnTo>
                  <a:lnTo>
                    <a:pt x="196" y="218"/>
                  </a:lnTo>
                  <a:lnTo>
                    <a:pt x="193" y="220"/>
                  </a:lnTo>
                  <a:lnTo>
                    <a:pt x="191" y="221"/>
                  </a:lnTo>
                  <a:lnTo>
                    <a:pt x="186" y="226"/>
                  </a:lnTo>
                  <a:lnTo>
                    <a:pt x="172" y="236"/>
                  </a:lnTo>
                  <a:lnTo>
                    <a:pt x="170" y="238"/>
                  </a:lnTo>
                  <a:lnTo>
                    <a:pt x="168" y="238"/>
                  </a:lnTo>
                  <a:lnTo>
                    <a:pt x="166" y="239"/>
                  </a:lnTo>
                  <a:lnTo>
                    <a:pt x="164" y="240"/>
                  </a:lnTo>
                  <a:lnTo>
                    <a:pt x="158" y="242"/>
                  </a:lnTo>
                  <a:lnTo>
                    <a:pt x="152" y="245"/>
                  </a:lnTo>
                  <a:lnTo>
                    <a:pt x="147" y="247"/>
                  </a:lnTo>
                  <a:lnTo>
                    <a:pt x="143" y="248"/>
                  </a:lnTo>
                  <a:lnTo>
                    <a:pt x="141" y="248"/>
                  </a:lnTo>
                  <a:lnTo>
                    <a:pt x="132" y="249"/>
                  </a:lnTo>
                  <a:lnTo>
                    <a:pt x="130" y="250"/>
                  </a:lnTo>
                  <a:lnTo>
                    <a:pt x="129" y="251"/>
                  </a:lnTo>
                  <a:lnTo>
                    <a:pt x="127" y="252"/>
                  </a:lnTo>
                  <a:lnTo>
                    <a:pt x="126" y="253"/>
                  </a:lnTo>
                  <a:lnTo>
                    <a:pt x="125" y="254"/>
                  </a:lnTo>
                  <a:lnTo>
                    <a:pt x="124" y="256"/>
                  </a:lnTo>
                  <a:lnTo>
                    <a:pt x="122" y="259"/>
                  </a:lnTo>
                  <a:lnTo>
                    <a:pt x="119" y="264"/>
                  </a:lnTo>
                  <a:lnTo>
                    <a:pt x="118" y="267"/>
                  </a:lnTo>
                  <a:lnTo>
                    <a:pt x="117" y="268"/>
                  </a:lnTo>
                  <a:lnTo>
                    <a:pt x="116" y="268"/>
                  </a:lnTo>
                  <a:lnTo>
                    <a:pt x="115" y="269"/>
                  </a:lnTo>
                  <a:lnTo>
                    <a:pt x="114" y="269"/>
                  </a:lnTo>
                  <a:lnTo>
                    <a:pt x="113" y="270"/>
                  </a:lnTo>
                  <a:lnTo>
                    <a:pt x="111" y="270"/>
                  </a:lnTo>
                  <a:lnTo>
                    <a:pt x="108" y="270"/>
                  </a:lnTo>
                  <a:lnTo>
                    <a:pt x="105" y="270"/>
                  </a:lnTo>
                  <a:lnTo>
                    <a:pt x="102" y="270"/>
                  </a:lnTo>
                  <a:lnTo>
                    <a:pt x="94" y="269"/>
                  </a:lnTo>
                  <a:lnTo>
                    <a:pt x="89" y="268"/>
                  </a:lnTo>
                  <a:lnTo>
                    <a:pt x="86" y="268"/>
                  </a:lnTo>
                  <a:lnTo>
                    <a:pt x="85" y="267"/>
                  </a:lnTo>
                  <a:lnTo>
                    <a:pt x="84" y="266"/>
                  </a:lnTo>
                  <a:lnTo>
                    <a:pt x="82" y="265"/>
                  </a:lnTo>
                  <a:lnTo>
                    <a:pt x="80" y="264"/>
                  </a:lnTo>
                  <a:lnTo>
                    <a:pt x="79" y="263"/>
                  </a:lnTo>
                  <a:lnTo>
                    <a:pt x="77" y="262"/>
                  </a:lnTo>
                  <a:lnTo>
                    <a:pt x="76" y="261"/>
                  </a:lnTo>
                  <a:lnTo>
                    <a:pt x="75" y="260"/>
                  </a:lnTo>
                  <a:lnTo>
                    <a:pt x="75" y="259"/>
                  </a:lnTo>
                  <a:lnTo>
                    <a:pt x="74" y="257"/>
                  </a:lnTo>
                  <a:lnTo>
                    <a:pt x="74" y="256"/>
                  </a:lnTo>
                  <a:lnTo>
                    <a:pt x="74" y="254"/>
                  </a:lnTo>
                  <a:lnTo>
                    <a:pt x="74" y="252"/>
                  </a:lnTo>
                  <a:lnTo>
                    <a:pt x="75" y="250"/>
                  </a:lnTo>
                  <a:lnTo>
                    <a:pt x="76" y="246"/>
                  </a:lnTo>
                  <a:lnTo>
                    <a:pt x="76" y="245"/>
                  </a:lnTo>
                  <a:lnTo>
                    <a:pt x="76" y="243"/>
                  </a:lnTo>
                  <a:lnTo>
                    <a:pt x="76" y="242"/>
                  </a:lnTo>
                  <a:lnTo>
                    <a:pt x="76" y="241"/>
                  </a:lnTo>
                  <a:lnTo>
                    <a:pt x="75" y="240"/>
                  </a:lnTo>
                  <a:lnTo>
                    <a:pt x="75" y="238"/>
                  </a:lnTo>
                  <a:lnTo>
                    <a:pt x="75" y="238"/>
                  </a:lnTo>
                  <a:lnTo>
                    <a:pt x="74" y="237"/>
                  </a:lnTo>
                  <a:lnTo>
                    <a:pt x="74" y="235"/>
                  </a:lnTo>
                  <a:lnTo>
                    <a:pt x="75" y="230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4" y="225"/>
                  </a:lnTo>
                  <a:lnTo>
                    <a:pt x="74" y="224"/>
                  </a:lnTo>
                  <a:lnTo>
                    <a:pt x="73" y="223"/>
                  </a:lnTo>
                  <a:lnTo>
                    <a:pt x="73" y="221"/>
                  </a:lnTo>
                  <a:lnTo>
                    <a:pt x="72" y="220"/>
                  </a:lnTo>
                  <a:lnTo>
                    <a:pt x="70" y="219"/>
                  </a:lnTo>
                  <a:lnTo>
                    <a:pt x="68" y="218"/>
                  </a:lnTo>
                  <a:lnTo>
                    <a:pt x="63" y="216"/>
                  </a:lnTo>
                  <a:lnTo>
                    <a:pt x="61" y="215"/>
                  </a:lnTo>
                  <a:lnTo>
                    <a:pt x="59" y="214"/>
                  </a:lnTo>
                  <a:lnTo>
                    <a:pt x="57" y="213"/>
                  </a:lnTo>
                  <a:lnTo>
                    <a:pt x="55" y="211"/>
                  </a:lnTo>
                  <a:lnTo>
                    <a:pt x="54" y="209"/>
                  </a:lnTo>
                  <a:lnTo>
                    <a:pt x="53" y="208"/>
                  </a:lnTo>
                  <a:lnTo>
                    <a:pt x="52" y="206"/>
                  </a:lnTo>
                  <a:lnTo>
                    <a:pt x="52" y="205"/>
                  </a:lnTo>
                  <a:lnTo>
                    <a:pt x="52" y="204"/>
                  </a:lnTo>
                  <a:lnTo>
                    <a:pt x="52" y="203"/>
                  </a:lnTo>
                  <a:lnTo>
                    <a:pt x="52" y="201"/>
                  </a:lnTo>
                  <a:lnTo>
                    <a:pt x="52" y="199"/>
                  </a:lnTo>
                  <a:lnTo>
                    <a:pt x="52" y="198"/>
                  </a:lnTo>
                  <a:lnTo>
                    <a:pt x="53" y="194"/>
                  </a:lnTo>
                  <a:lnTo>
                    <a:pt x="54" y="193"/>
                  </a:lnTo>
                  <a:lnTo>
                    <a:pt x="54" y="191"/>
                  </a:lnTo>
                  <a:lnTo>
                    <a:pt x="54" y="190"/>
                  </a:lnTo>
                  <a:lnTo>
                    <a:pt x="54" y="188"/>
                  </a:lnTo>
                  <a:lnTo>
                    <a:pt x="53" y="186"/>
                  </a:lnTo>
                  <a:lnTo>
                    <a:pt x="53" y="184"/>
                  </a:lnTo>
                  <a:lnTo>
                    <a:pt x="52" y="182"/>
                  </a:lnTo>
                  <a:lnTo>
                    <a:pt x="50" y="181"/>
                  </a:lnTo>
                  <a:lnTo>
                    <a:pt x="42" y="174"/>
                  </a:lnTo>
                  <a:lnTo>
                    <a:pt x="38" y="170"/>
                  </a:lnTo>
                  <a:lnTo>
                    <a:pt x="35" y="167"/>
                  </a:lnTo>
                  <a:lnTo>
                    <a:pt x="32" y="164"/>
                  </a:lnTo>
                  <a:lnTo>
                    <a:pt x="30" y="161"/>
                  </a:lnTo>
                  <a:lnTo>
                    <a:pt x="29" y="159"/>
                  </a:lnTo>
                  <a:lnTo>
                    <a:pt x="27" y="156"/>
                  </a:lnTo>
                  <a:lnTo>
                    <a:pt x="24" y="149"/>
                  </a:lnTo>
                  <a:lnTo>
                    <a:pt x="23" y="147"/>
                  </a:lnTo>
                  <a:lnTo>
                    <a:pt x="22" y="146"/>
                  </a:lnTo>
                  <a:lnTo>
                    <a:pt x="18" y="141"/>
                  </a:lnTo>
                  <a:lnTo>
                    <a:pt x="18" y="139"/>
                  </a:lnTo>
                  <a:lnTo>
                    <a:pt x="17" y="137"/>
                  </a:lnTo>
                  <a:lnTo>
                    <a:pt x="17" y="136"/>
                  </a:lnTo>
                  <a:lnTo>
                    <a:pt x="16" y="136"/>
                  </a:lnTo>
                  <a:lnTo>
                    <a:pt x="17" y="134"/>
                  </a:lnTo>
                  <a:lnTo>
                    <a:pt x="18" y="132"/>
                  </a:lnTo>
                  <a:lnTo>
                    <a:pt x="18" y="129"/>
                  </a:lnTo>
                  <a:lnTo>
                    <a:pt x="20" y="127"/>
                  </a:lnTo>
                  <a:lnTo>
                    <a:pt x="22" y="125"/>
                  </a:lnTo>
                  <a:lnTo>
                    <a:pt x="24" y="124"/>
                  </a:lnTo>
                  <a:lnTo>
                    <a:pt x="30" y="121"/>
                  </a:lnTo>
                  <a:lnTo>
                    <a:pt x="31" y="120"/>
                  </a:lnTo>
                  <a:lnTo>
                    <a:pt x="32" y="118"/>
                  </a:lnTo>
                  <a:lnTo>
                    <a:pt x="33" y="117"/>
                  </a:lnTo>
                  <a:lnTo>
                    <a:pt x="33" y="116"/>
                  </a:lnTo>
                  <a:lnTo>
                    <a:pt x="33" y="114"/>
                  </a:lnTo>
                  <a:lnTo>
                    <a:pt x="32" y="113"/>
                  </a:lnTo>
                  <a:lnTo>
                    <a:pt x="32" y="113"/>
                  </a:lnTo>
                  <a:lnTo>
                    <a:pt x="31" y="111"/>
                  </a:lnTo>
                  <a:lnTo>
                    <a:pt x="28" y="107"/>
                  </a:lnTo>
                  <a:lnTo>
                    <a:pt x="27" y="105"/>
                  </a:lnTo>
                  <a:lnTo>
                    <a:pt x="22" y="101"/>
                  </a:lnTo>
                  <a:lnTo>
                    <a:pt x="18" y="96"/>
                  </a:lnTo>
                  <a:lnTo>
                    <a:pt x="15" y="93"/>
                  </a:lnTo>
                  <a:lnTo>
                    <a:pt x="12" y="91"/>
                  </a:lnTo>
                  <a:lnTo>
                    <a:pt x="9" y="89"/>
                  </a:lnTo>
                  <a:lnTo>
                    <a:pt x="7" y="88"/>
                  </a:lnTo>
                  <a:lnTo>
                    <a:pt x="3" y="86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1" y="82"/>
                  </a:lnTo>
                  <a:lnTo>
                    <a:pt x="1" y="81"/>
                  </a:lnTo>
                  <a:lnTo>
                    <a:pt x="2" y="80"/>
                  </a:lnTo>
                  <a:lnTo>
                    <a:pt x="3" y="79"/>
                  </a:lnTo>
                  <a:lnTo>
                    <a:pt x="5" y="79"/>
                  </a:lnTo>
                  <a:lnTo>
                    <a:pt x="6" y="78"/>
                  </a:lnTo>
                  <a:lnTo>
                    <a:pt x="7" y="77"/>
                  </a:lnTo>
                  <a:lnTo>
                    <a:pt x="16" y="73"/>
                  </a:lnTo>
                  <a:lnTo>
                    <a:pt x="21" y="71"/>
                  </a:lnTo>
                  <a:lnTo>
                    <a:pt x="28" y="69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41" y="65"/>
                  </a:lnTo>
                  <a:lnTo>
                    <a:pt x="47" y="62"/>
                  </a:lnTo>
                  <a:lnTo>
                    <a:pt x="50" y="61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6" y="60"/>
                  </a:lnTo>
                  <a:lnTo>
                    <a:pt x="58" y="61"/>
                  </a:lnTo>
                  <a:lnTo>
                    <a:pt x="59" y="61"/>
                  </a:lnTo>
                  <a:lnTo>
                    <a:pt x="61" y="62"/>
                  </a:lnTo>
                  <a:lnTo>
                    <a:pt x="65" y="65"/>
                  </a:lnTo>
                  <a:lnTo>
                    <a:pt x="67" y="66"/>
                  </a:lnTo>
                  <a:lnTo>
                    <a:pt x="70" y="67"/>
                  </a:lnTo>
                  <a:lnTo>
                    <a:pt x="73" y="67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5" y="67"/>
                  </a:lnTo>
                  <a:lnTo>
                    <a:pt x="86" y="67"/>
                  </a:lnTo>
                  <a:lnTo>
                    <a:pt x="87" y="66"/>
                  </a:lnTo>
                  <a:lnTo>
                    <a:pt x="88" y="66"/>
                  </a:lnTo>
                  <a:lnTo>
                    <a:pt x="90" y="64"/>
                  </a:lnTo>
                  <a:lnTo>
                    <a:pt x="91" y="63"/>
                  </a:lnTo>
                  <a:lnTo>
                    <a:pt x="91" y="61"/>
                  </a:lnTo>
                  <a:lnTo>
                    <a:pt x="92" y="58"/>
                  </a:lnTo>
                  <a:lnTo>
                    <a:pt x="93" y="56"/>
                  </a:lnTo>
                  <a:lnTo>
                    <a:pt x="94" y="52"/>
                  </a:lnTo>
                  <a:lnTo>
                    <a:pt x="95" y="49"/>
                  </a:lnTo>
                  <a:lnTo>
                    <a:pt x="96" y="48"/>
                  </a:lnTo>
                  <a:lnTo>
                    <a:pt x="97" y="46"/>
                  </a:lnTo>
                  <a:lnTo>
                    <a:pt x="98" y="45"/>
                  </a:lnTo>
                  <a:lnTo>
                    <a:pt x="99" y="43"/>
                  </a:lnTo>
                  <a:lnTo>
                    <a:pt x="101" y="42"/>
                  </a:lnTo>
                  <a:lnTo>
                    <a:pt x="103" y="40"/>
                  </a:lnTo>
                  <a:lnTo>
                    <a:pt x="105" y="39"/>
                  </a:lnTo>
                  <a:lnTo>
                    <a:pt x="108" y="38"/>
                  </a:lnTo>
                  <a:lnTo>
                    <a:pt x="111" y="37"/>
                  </a:lnTo>
                  <a:lnTo>
                    <a:pt x="114" y="37"/>
                  </a:lnTo>
                  <a:lnTo>
                    <a:pt x="118" y="37"/>
                  </a:lnTo>
                  <a:lnTo>
                    <a:pt x="121" y="37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7"/>
                  </a:lnTo>
                  <a:lnTo>
                    <a:pt x="125" y="37"/>
                  </a:lnTo>
                  <a:lnTo>
                    <a:pt x="126" y="36"/>
                  </a:lnTo>
                  <a:lnTo>
                    <a:pt x="128" y="35"/>
                  </a:lnTo>
                  <a:lnTo>
                    <a:pt x="135" y="33"/>
                  </a:lnTo>
                  <a:lnTo>
                    <a:pt x="139" y="31"/>
                  </a:lnTo>
                  <a:lnTo>
                    <a:pt x="140" y="30"/>
                  </a:lnTo>
                  <a:lnTo>
                    <a:pt x="143" y="28"/>
                  </a:lnTo>
                  <a:lnTo>
                    <a:pt x="145" y="26"/>
                  </a:lnTo>
                  <a:lnTo>
                    <a:pt x="148" y="24"/>
                  </a:lnTo>
                  <a:lnTo>
                    <a:pt x="149" y="23"/>
                  </a:lnTo>
                  <a:lnTo>
                    <a:pt x="150" y="23"/>
                  </a:lnTo>
                  <a:lnTo>
                    <a:pt x="152" y="23"/>
                  </a:lnTo>
                  <a:lnTo>
                    <a:pt x="154" y="23"/>
                  </a:lnTo>
                  <a:lnTo>
                    <a:pt x="160" y="22"/>
                  </a:lnTo>
                  <a:lnTo>
                    <a:pt x="164" y="21"/>
                  </a:lnTo>
                  <a:lnTo>
                    <a:pt x="167" y="20"/>
                  </a:lnTo>
                  <a:lnTo>
                    <a:pt x="170" y="19"/>
                  </a:lnTo>
                  <a:lnTo>
                    <a:pt x="172" y="17"/>
                  </a:lnTo>
                  <a:lnTo>
                    <a:pt x="173" y="17"/>
                  </a:lnTo>
                  <a:lnTo>
                    <a:pt x="177" y="12"/>
                  </a:lnTo>
                  <a:lnTo>
                    <a:pt x="178" y="11"/>
                  </a:lnTo>
                  <a:lnTo>
                    <a:pt x="180" y="10"/>
                  </a:lnTo>
                  <a:lnTo>
                    <a:pt x="181" y="9"/>
                  </a:lnTo>
                  <a:lnTo>
                    <a:pt x="187" y="7"/>
                  </a:lnTo>
                  <a:lnTo>
                    <a:pt x="189" y="6"/>
                  </a:lnTo>
                  <a:lnTo>
                    <a:pt x="191" y="5"/>
                  </a:lnTo>
                  <a:lnTo>
                    <a:pt x="195" y="5"/>
                  </a:lnTo>
                  <a:lnTo>
                    <a:pt x="200" y="5"/>
                  </a:lnTo>
                  <a:lnTo>
                    <a:pt x="204" y="4"/>
                  </a:lnTo>
                  <a:lnTo>
                    <a:pt x="207" y="4"/>
                  </a:lnTo>
                  <a:lnTo>
                    <a:pt x="215" y="2"/>
                  </a:lnTo>
                  <a:lnTo>
                    <a:pt x="223" y="0"/>
                  </a:lnTo>
                  <a:lnTo>
                    <a:pt x="225" y="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9" name="Freeform 6">
              <a:extLst>
                <a:ext uri="{FF2B5EF4-FFF2-40B4-BE49-F238E27FC236}">
                  <a16:creationId xmlns:a16="http://schemas.microsoft.com/office/drawing/2014/main" id="{FF238C8B-F017-426D-9E1C-0E677B42F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8" y="2331"/>
              <a:ext cx="641" cy="475"/>
            </a:xfrm>
            <a:custGeom>
              <a:avLst/>
              <a:gdLst>
                <a:gd name="T0" fmla="*/ 218 w 641"/>
                <a:gd name="T1" fmla="*/ 14 h 475"/>
                <a:gd name="T2" fmla="*/ 223 w 641"/>
                <a:gd name="T3" fmla="*/ 37 h 475"/>
                <a:gd name="T4" fmla="*/ 257 w 641"/>
                <a:gd name="T5" fmla="*/ 37 h 475"/>
                <a:gd name="T6" fmla="*/ 288 w 641"/>
                <a:gd name="T7" fmla="*/ 35 h 475"/>
                <a:gd name="T8" fmla="*/ 336 w 641"/>
                <a:gd name="T9" fmla="*/ 33 h 475"/>
                <a:gd name="T10" fmla="*/ 370 w 641"/>
                <a:gd name="T11" fmla="*/ 28 h 475"/>
                <a:gd name="T12" fmla="*/ 387 w 641"/>
                <a:gd name="T13" fmla="*/ 41 h 475"/>
                <a:gd name="T14" fmla="*/ 392 w 641"/>
                <a:gd name="T15" fmla="*/ 82 h 475"/>
                <a:gd name="T16" fmla="*/ 408 w 641"/>
                <a:gd name="T17" fmla="*/ 112 h 475"/>
                <a:gd name="T18" fmla="*/ 417 w 641"/>
                <a:gd name="T19" fmla="*/ 138 h 475"/>
                <a:gd name="T20" fmla="*/ 446 w 641"/>
                <a:gd name="T21" fmla="*/ 148 h 475"/>
                <a:gd name="T22" fmla="*/ 471 w 641"/>
                <a:gd name="T23" fmla="*/ 181 h 475"/>
                <a:gd name="T24" fmla="*/ 503 w 641"/>
                <a:gd name="T25" fmla="*/ 208 h 475"/>
                <a:gd name="T26" fmla="*/ 541 w 641"/>
                <a:gd name="T27" fmla="*/ 238 h 475"/>
                <a:gd name="T28" fmla="*/ 582 w 641"/>
                <a:gd name="T29" fmla="*/ 253 h 475"/>
                <a:gd name="T30" fmla="*/ 593 w 641"/>
                <a:gd name="T31" fmla="*/ 284 h 475"/>
                <a:gd name="T32" fmla="*/ 618 w 641"/>
                <a:gd name="T33" fmla="*/ 292 h 475"/>
                <a:gd name="T34" fmla="*/ 641 w 641"/>
                <a:gd name="T35" fmla="*/ 317 h 475"/>
                <a:gd name="T36" fmla="*/ 623 w 641"/>
                <a:gd name="T37" fmla="*/ 349 h 475"/>
                <a:gd name="T38" fmla="*/ 594 w 641"/>
                <a:gd name="T39" fmla="*/ 351 h 475"/>
                <a:gd name="T40" fmla="*/ 576 w 641"/>
                <a:gd name="T41" fmla="*/ 374 h 475"/>
                <a:gd name="T42" fmla="*/ 552 w 641"/>
                <a:gd name="T43" fmla="*/ 366 h 475"/>
                <a:gd name="T44" fmla="*/ 512 w 641"/>
                <a:gd name="T45" fmla="*/ 370 h 475"/>
                <a:gd name="T46" fmla="*/ 456 w 641"/>
                <a:gd name="T47" fmla="*/ 364 h 475"/>
                <a:gd name="T48" fmla="*/ 433 w 641"/>
                <a:gd name="T49" fmla="*/ 372 h 475"/>
                <a:gd name="T50" fmla="*/ 440 w 641"/>
                <a:gd name="T51" fmla="*/ 390 h 475"/>
                <a:gd name="T52" fmla="*/ 408 w 641"/>
                <a:gd name="T53" fmla="*/ 397 h 475"/>
                <a:gd name="T54" fmla="*/ 405 w 641"/>
                <a:gd name="T55" fmla="*/ 418 h 475"/>
                <a:gd name="T56" fmla="*/ 388 w 641"/>
                <a:gd name="T57" fmla="*/ 432 h 475"/>
                <a:gd name="T58" fmla="*/ 364 w 641"/>
                <a:gd name="T59" fmla="*/ 410 h 475"/>
                <a:gd name="T60" fmla="*/ 348 w 641"/>
                <a:gd name="T61" fmla="*/ 384 h 475"/>
                <a:gd name="T62" fmla="*/ 326 w 641"/>
                <a:gd name="T63" fmla="*/ 388 h 475"/>
                <a:gd name="T64" fmla="*/ 279 w 641"/>
                <a:gd name="T65" fmla="*/ 356 h 475"/>
                <a:gd name="T66" fmla="*/ 263 w 641"/>
                <a:gd name="T67" fmla="*/ 358 h 475"/>
                <a:gd name="T68" fmla="*/ 243 w 641"/>
                <a:gd name="T69" fmla="*/ 380 h 475"/>
                <a:gd name="T70" fmla="*/ 243 w 641"/>
                <a:gd name="T71" fmla="*/ 414 h 475"/>
                <a:gd name="T72" fmla="*/ 221 w 641"/>
                <a:gd name="T73" fmla="*/ 438 h 475"/>
                <a:gd name="T74" fmla="*/ 184 w 641"/>
                <a:gd name="T75" fmla="*/ 470 h 475"/>
                <a:gd name="T76" fmla="*/ 159 w 641"/>
                <a:gd name="T77" fmla="*/ 466 h 475"/>
                <a:gd name="T78" fmla="*/ 131 w 641"/>
                <a:gd name="T79" fmla="*/ 456 h 475"/>
                <a:gd name="T80" fmla="*/ 138 w 641"/>
                <a:gd name="T81" fmla="*/ 431 h 475"/>
                <a:gd name="T82" fmla="*/ 121 w 641"/>
                <a:gd name="T83" fmla="*/ 373 h 475"/>
                <a:gd name="T84" fmla="*/ 88 w 641"/>
                <a:gd name="T85" fmla="*/ 348 h 475"/>
                <a:gd name="T86" fmla="*/ 81 w 641"/>
                <a:gd name="T87" fmla="*/ 327 h 475"/>
                <a:gd name="T88" fmla="*/ 77 w 641"/>
                <a:gd name="T89" fmla="*/ 298 h 475"/>
                <a:gd name="T90" fmla="*/ 89 w 641"/>
                <a:gd name="T91" fmla="*/ 271 h 475"/>
                <a:gd name="T92" fmla="*/ 66 w 641"/>
                <a:gd name="T93" fmla="*/ 237 h 475"/>
                <a:gd name="T94" fmla="*/ 43 w 641"/>
                <a:gd name="T95" fmla="*/ 240 h 475"/>
                <a:gd name="T96" fmla="*/ 15 w 641"/>
                <a:gd name="T97" fmla="*/ 212 h 475"/>
                <a:gd name="T98" fmla="*/ 0 w 641"/>
                <a:gd name="T99" fmla="*/ 196 h 475"/>
                <a:gd name="T100" fmla="*/ 4 w 641"/>
                <a:gd name="T101" fmla="*/ 168 h 475"/>
                <a:gd name="T102" fmla="*/ 11 w 641"/>
                <a:gd name="T103" fmla="*/ 132 h 475"/>
                <a:gd name="T104" fmla="*/ 25 w 641"/>
                <a:gd name="T105" fmla="*/ 98 h 475"/>
                <a:gd name="T106" fmla="*/ 21 w 641"/>
                <a:gd name="T107" fmla="*/ 65 h 475"/>
                <a:gd name="T108" fmla="*/ 42 w 641"/>
                <a:gd name="T109" fmla="*/ 59 h 475"/>
                <a:gd name="T110" fmla="*/ 79 w 641"/>
                <a:gd name="T111" fmla="*/ 64 h 475"/>
                <a:gd name="T112" fmla="*/ 96 w 641"/>
                <a:gd name="T113" fmla="*/ 37 h 475"/>
                <a:gd name="T114" fmla="*/ 127 w 641"/>
                <a:gd name="T115" fmla="*/ 33 h 475"/>
                <a:gd name="T116" fmla="*/ 156 w 641"/>
                <a:gd name="T117" fmla="*/ 35 h 475"/>
                <a:gd name="T118" fmla="*/ 182 w 641"/>
                <a:gd name="T119" fmla="*/ 36 h 475"/>
                <a:gd name="T120" fmla="*/ 195 w 641"/>
                <a:gd name="T121" fmla="*/ 26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41" h="475">
                  <a:moveTo>
                    <a:pt x="194" y="0"/>
                  </a:moveTo>
                  <a:lnTo>
                    <a:pt x="196" y="0"/>
                  </a:lnTo>
                  <a:lnTo>
                    <a:pt x="199" y="1"/>
                  </a:lnTo>
                  <a:lnTo>
                    <a:pt x="203" y="2"/>
                  </a:lnTo>
                  <a:lnTo>
                    <a:pt x="207" y="3"/>
                  </a:lnTo>
                  <a:lnTo>
                    <a:pt x="208" y="4"/>
                  </a:lnTo>
                  <a:lnTo>
                    <a:pt x="211" y="6"/>
                  </a:lnTo>
                  <a:lnTo>
                    <a:pt x="213" y="8"/>
                  </a:lnTo>
                  <a:lnTo>
                    <a:pt x="215" y="10"/>
                  </a:lnTo>
                  <a:lnTo>
                    <a:pt x="216" y="11"/>
                  </a:lnTo>
                  <a:lnTo>
                    <a:pt x="217" y="13"/>
                  </a:lnTo>
                  <a:lnTo>
                    <a:pt x="218" y="14"/>
                  </a:lnTo>
                  <a:lnTo>
                    <a:pt x="218" y="15"/>
                  </a:lnTo>
                  <a:lnTo>
                    <a:pt x="218" y="17"/>
                  </a:lnTo>
                  <a:lnTo>
                    <a:pt x="218" y="22"/>
                  </a:lnTo>
                  <a:lnTo>
                    <a:pt x="217" y="28"/>
                  </a:lnTo>
                  <a:lnTo>
                    <a:pt x="218" y="30"/>
                  </a:lnTo>
                  <a:lnTo>
                    <a:pt x="218" y="32"/>
                  </a:lnTo>
                  <a:lnTo>
                    <a:pt x="218" y="34"/>
                  </a:lnTo>
                  <a:lnTo>
                    <a:pt x="219" y="35"/>
                  </a:lnTo>
                  <a:lnTo>
                    <a:pt x="219" y="36"/>
                  </a:lnTo>
                  <a:lnTo>
                    <a:pt x="221" y="37"/>
                  </a:lnTo>
                  <a:lnTo>
                    <a:pt x="222" y="37"/>
                  </a:lnTo>
                  <a:lnTo>
                    <a:pt x="223" y="37"/>
                  </a:lnTo>
                  <a:lnTo>
                    <a:pt x="225" y="38"/>
                  </a:lnTo>
                  <a:lnTo>
                    <a:pt x="226" y="38"/>
                  </a:lnTo>
                  <a:lnTo>
                    <a:pt x="229" y="38"/>
                  </a:lnTo>
                  <a:lnTo>
                    <a:pt x="232" y="38"/>
                  </a:lnTo>
                  <a:lnTo>
                    <a:pt x="235" y="37"/>
                  </a:lnTo>
                  <a:lnTo>
                    <a:pt x="240" y="37"/>
                  </a:lnTo>
                  <a:lnTo>
                    <a:pt x="242" y="37"/>
                  </a:lnTo>
                  <a:lnTo>
                    <a:pt x="244" y="36"/>
                  </a:lnTo>
                  <a:lnTo>
                    <a:pt x="247" y="37"/>
                  </a:lnTo>
                  <a:lnTo>
                    <a:pt x="252" y="37"/>
                  </a:lnTo>
                  <a:lnTo>
                    <a:pt x="255" y="37"/>
                  </a:lnTo>
                  <a:lnTo>
                    <a:pt x="257" y="37"/>
                  </a:lnTo>
                  <a:lnTo>
                    <a:pt x="263" y="40"/>
                  </a:lnTo>
                  <a:lnTo>
                    <a:pt x="267" y="41"/>
                  </a:lnTo>
                  <a:lnTo>
                    <a:pt x="269" y="41"/>
                  </a:lnTo>
                  <a:lnTo>
                    <a:pt x="271" y="41"/>
                  </a:lnTo>
                  <a:lnTo>
                    <a:pt x="272" y="41"/>
                  </a:lnTo>
                  <a:lnTo>
                    <a:pt x="274" y="41"/>
                  </a:lnTo>
                  <a:lnTo>
                    <a:pt x="277" y="40"/>
                  </a:lnTo>
                  <a:lnTo>
                    <a:pt x="278" y="40"/>
                  </a:lnTo>
                  <a:lnTo>
                    <a:pt x="280" y="39"/>
                  </a:lnTo>
                  <a:lnTo>
                    <a:pt x="282" y="38"/>
                  </a:lnTo>
                  <a:lnTo>
                    <a:pt x="286" y="36"/>
                  </a:lnTo>
                  <a:lnTo>
                    <a:pt x="288" y="35"/>
                  </a:lnTo>
                  <a:lnTo>
                    <a:pt x="293" y="32"/>
                  </a:lnTo>
                  <a:lnTo>
                    <a:pt x="298" y="30"/>
                  </a:lnTo>
                  <a:lnTo>
                    <a:pt x="300" y="29"/>
                  </a:lnTo>
                  <a:lnTo>
                    <a:pt x="302" y="28"/>
                  </a:lnTo>
                  <a:lnTo>
                    <a:pt x="305" y="28"/>
                  </a:lnTo>
                  <a:lnTo>
                    <a:pt x="307" y="28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24" y="30"/>
                  </a:lnTo>
                  <a:lnTo>
                    <a:pt x="328" y="31"/>
                  </a:lnTo>
                  <a:lnTo>
                    <a:pt x="332" y="32"/>
                  </a:lnTo>
                  <a:lnTo>
                    <a:pt x="336" y="33"/>
                  </a:lnTo>
                  <a:lnTo>
                    <a:pt x="339" y="34"/>
                  </a:lnTo>
                  <a:lnTo>
                    <a:pt x="343" y="35"/>
                  </a:lnTo>
                  <a:lnTo>
                    <a:pt x="345" y="36"/>
                  </a:lnTo>
                  <a:lnTo>
                    <a:pt x="347" y="37"/>
                  </a:lnTo>
                  <a:lnTo>
                    <a:pt x="348" y="37"/>
                  </a:lnTo>
                  <a:lnTo>
                    <a:pt x="351" y="37"/>
                  </a:lnTo>
                  <a:lnTo>
                    <a:pt x="354" y="36"/>
                  </a:lnTo>
                  <a:lnTo>
                    <a:pt x="356" y="35"/>
                  </a:lnTo>
                  <a:lnTo>
                    <a:pt x="360" y="34"/>
                  </a:lnTo>
                  <a:lnTo>
                    <a:pt x="364" y="32"/>
                  </a:lnTo>
                  <a:lnTo>
                    <a:pt x="366" y="30"/>
                  </a:lnTo>
                  <a:lnTo>
                    <a:pt x="370" y="28"/>
                  </a:lnTo>
                  <a:lnTo>
                    <a:pt x="372" y="26"/>
                  </a:lnTo>
                  <a:lnTo>
                    <a:pt x="377" y="23"/>
                  </a:lnTo>
                  <a:lnTo>
                    <a:pt x="378" y="23"/>
                  </a:lnTo>
                  <a:lnTo>
                    <a:pt x="379" y="24"/>
                  </a:lnTo>
                  <a:lnTo>
                    <a:pt x="381" y="25"/>
                  </a:lnTo>
                  <a:lnTo>
                    <a:pt x="382" y="26"/>
                  </a:lnTo>
                  <a:lnTo>
                    <a:pt x="383" y="28"/>
                  </a:lnTo>
                  <a:lnTo>
                    <a:pt x="384" y="30"/>
                  </a:lnTo>
                  <a:lnTo>
                    <a:pt x="384" y="32"/>
                  </a:lnTo>
                  <a:lnTo>
                    <a:pt x="386" y="37"/>
                  </a:lnTo>
                  <a:lnTo>
                    <a:pt x="386" y="39"/>
                  </a:lnTo>
                  <a:lnTo>
                    <a:pt x="387" y="41"/>
                  </a:lnTo>
                  <a:lnTo>
                    <a:pt x="387" y="43"/>
                  </a:lnTo>
                  <a:lnTo>
                    <a:pt x="387" y="49"/>
                  </a:lnTo>
                  <a:lnTo>
                    <a:pt x="387" y="50"/>
                  </a:lnTo>
                  <a:lnTo>
                    <a:pt x="387" y="52"/>
                  </a:lnTo>
                  <a:lnTo>
                    <a:pt x="388" y="57"/>
                  </a:lnTo>
                  <a:lnTo>
                    <a:pt x="388" y="59"/>
                  </a:lnTo>
                  <a:lnTo>
                    <a:pt x="389" y="73"/>
                  </a:lnTo>
                  <a:lnTo>
                    <a:pt x="389" y="75"/>
                  </a:lnTo>
                  <a:lnTo>
                    <a:pt x="389" y="77"/>
                  </a:lnTo>
                  <a:lnTo>
                    <a:pt x="390" y="79"/>
                  </a:lnTo>
                  <a:lnTo>
                    <a:pt x="390" y="80"/>
                  </a:lnTo>
                  <a:lnTo>
                    <a:pt x="392" y="82"/>
                  </a:lnTo>
                  <a:lnTo>
                    <a:pt x="395" y="84"/>
                  </a:lnTo>
                  <a:lnTo>
                    <a:pt x="396" y="86"/>
                  </a:lnTo>
                  <a:lnTo>
                    <a:pt x="398" y="88"/>
                  </a:lnTo>
                  <a:lnTo>
                    <a:pt x="399" y="89"/>
                  </a:lnTo>
                  <a:lnTo>
                    <a:pt x="399" y="92"/>
                  </a:lnTo>
                  <a:lnTo>
                    <a:pt x="400" y="94"/>
                  </a:lnTo>
                  <a:lnTo>
                    <a:pt x="400" y="96"/>
                  </a:lnTo>
                  <a:lnTo>
                    <a:pt x="401" y="101"/>
                  </a:lnTo>
                  <a:lnTo>
                    <a:pt x="401" y="102"/>
                  </a:lnTo>
                  <a:lnTo>
                    <a:pt x="402" y="104"/>
                  </a:lnTo>
                  <a:lnTo>
                    <a:pt x="403" y="105"/>
                  </a:lnTo>
                  <a:lnTo>
                    <a:pt x="408" y="112"/>
                  </a:lnTo>
                  <a:lnTo>
                    <a:pt x="409" y="113"/>
                  </a:lnTo>
                  <a:lnTo>
                    <a:pt x="409" y="114"/>
                  </a:lnTo>
                  <a:lnTo>
                    <a:pt x="410" y="115"/>
                  </a:lnTo>
                  <a:lnTo>
                    <a:pt x="410" y="117"/>
                  </a:lnTo>
                  <a:lnTo>
                    <a:pt x="410" y="121"/>
                  </a:lnTo>
                  <a:lnTo>
                    <a:pt x="410" y="123"/>
                  </a:lnTo>
                  <a:lnTo>
                    <a:pt x="411" y="125"/>
                  </a:lnTo>
                  <a:lnTo>
                    <a:pt x="412" y="129"/>
                  </a:lnTo>
                  <a:lnTo>
                    <a:pt x="413" y="132"/>
                  </a:lnTo>
                  <a:lnTo>
                    <a:pt x="414" y="134"/>
                  </a:lnTo>
                  <a:lnTo>
                    <a:pt x="415" y="136"/>
                  </a:lnTo>
                  <a:lnTo>
                    <a:pt x="417" y="138"/>
                  </a:lnTo>
                  <a:lnTo>
                    <a:pt x="418" y="139"/>
                  </a:lnTo>
                  <a:lnTo>
                    <a:pt x="420" y="140"/>
                  </a:lnTo>
                  <a:lnTo>
                    <a:pt x="422" y="141"/>
                  </a:lnTo>
                  <a:lnTo>
                    <a:pt x="423" y="141"/>
                  </a:lnTo>
                  <a:lnTo>
                    <a:pt x="424" y="142"/>
                  </a:lnTo>
                  <a:lnTo>
                    <a:pt x="426" y="142"/>
                  </a:lnTo>
                  <a:lnTo>
                    <a:pt x="434" y="143"/>
                  </a:lnTo>
                  <a:lnTo>
                    <a:pt x="437" y="144"/>
                  </a:lnTo>
                  <a:lnTo>
                    <a:pt x="441" y="145"/>
                  </a:lnTo>
                  <a:lnTo>
                    <a:pt x="443" y="146"/>
                  </a:lnTo>
                  <a:lnTo>
                    <a:pt x="445" y="147"/>
                  </a:lnTo>
                  <a:lnTo>
                    <a:pt x="446" y="148"/>
                  </a:lnTo>
                  <a:lnTo>
                    <a:pt x="447" y="149"/>
                  </a:lnTo>
                  <a:lnTo>
                    <a:pt x="448" y="150"/>
                  </a:lnTo>
                  <a:lnTo>
                    <a:pt x="449" y="151"/>
                  </a:lnTo>
                  <a:lnTo>
                    <a:pt x="450" y="152"/>
                  </a:lnTo>
                  <a:lnTo>
                    <a:pt x="451" y="155"/>
                  </a:lnTo>
                  <a:lnTo>
                    <a:pt x="453" y="160"/>
                  </a:lnTo>
                  <a:lnTo>
                    <a:pt x="453" y="161"/>
                  </a:lnTo>
                  <a:lnTo>
                    <a:pt x="454" y="162"/>
                  </a:lnTo>
                  <a:lnTo>
                    <a:pt x="458" y="168"/>
                  </a:lnTo>
                  <a:lnTo>
                    <a:pt x="466" y="176"/>
                  </a:lnTo>
                  <a:lnTo>
                    <a:pt x="468" y="178"/>
                  </a:lnTo>
                  <a:lnTo>
                    <a:pt x="471" y="181"/>
                  </a:lnTo>
                  <a:lnTo>
                    <a:pt x="473" y="182"/>
                  </a:lnTo>
                  <a:lnTo>
                    <a:pt x="474" y="183"/>
                  </a:lnTo>
                  <a:lnTo>
                    <a:pt x="477" y="186"/>
                  </a:lnTo>
                  <a:lnTo>
                    <a:pt x="478" y="187"/>
                  </a:lnTo>
                  <a:lnTo>
                    <a:pt x="482" y="192"/>
                  </a:lnTo>
                  <a:lnTo>
                    <a:pt x="487" y="196"/>
                  </a:lnTo>
                  <a:lnTo>
                    <a:pt x="488" y="196"/>
                  </a:lnTo>
                  <a:lnTo>
                    <a:pt x="491" y="198"/>
                  </a:lnTo>
                  <a:lnTo>
                    <a:pt x="498" y="203"/>
                  </a:lnTo>
                  <a:lnTo>
                    <a:pt x="500" y="205"/>
                  </a:lnTo>
                  <a:lnTo>
                    <a:pt x="502" y="207"/>
                  </a:lnTo>
                  <a:lnTo>
                    <a:pt x="503" y="208"/>
                  </a:lnTo>
                  <a:lnTo>
                    <a:pt x="506" y="212"/>
                  </a:lnTo>
                  <a:lnTo>
                    <a:pt x="507" y="214"/>
                  </a:lnTo>
                  <a:lnTo>
                    <a:pt x="509" y="216"/>
                  </a:lnTo>
                  <a:lnTo>
                    <a:pt x="511" y="217"/>
                  </a:lnTo>
                  <a:lnTo>
                    <a:pt x="514" y="219"/>
                  </a:lnTo>
                  <a:lnTo>
                    <a:pt x="524" y="227"/>
                  </a:lnTo>
                  <a:lnTo>
                    <a:pt x="525" y="228"/>
                  </a:lnTo>
                  <a:lnTo>
                    <a:pt x="527" y="230"/>
                  </a:lnTo>
                  <a:lnTo>
                    <a:pt x="529" y="231"/>
                  </a:lnTo>
                  <a:lnTo>
                    <a:pt x="533" y="234"/>
                  </a:lnTo>
                  <a:lnTo>
                    <a:pt x="537" y="236"/>
                  </a:lnTo>
                  <a:lnTo>
                    <a:pt x="541" y="238"/>
                  </a:lnTo>
                  <a:lnTo>
                    <a:pt x="548" y="241"/>
                  </a:lnTo>
                  <a:lnTo>
                    <a:pt x="551" y="241"/>
                  </a:lnTo>
                  <a:lnTo>
                    <a:pt x="554" y="241"/>
                  </a:lnTo>
                  <a:lnTo>
                    <a:pt x="559" y="242"/>
                  </a:lnTo>
                  <a:lnTo>
                    <a:pt x="567" y="244"/>
                  </a:lnTo>
                  <a:lnTo>
                    <a:pt x="569" y="244"/>
                  </a:lnTo>
                  <a:lnTo>
                    <a:pt x="570" y="245"/>
                  </a:lnTo>
                  <a:lnTo>
                    <a:pt x="572" y="246"/>
                  </a:lnTo>
                  <a:lnTo>
                    <a:pt x="573" y="246"/>
                  </a:lnTo>
                  <a:lnTo>
                    <a:pt x="578" y="251"/>
                  </a:lnTo>
                  <a:lnTo>
                    <a:pt x="580" y="252"/>
                  </a:lnTo>
                  <a:lnTo>
                    <a:pt x="582" y="253"/>
                  </a:lnTo>
                  <a:lnTo>
                    <a:pt x="583" y="254"/>
                  </a:lnTo>
                  <a:lnTo>
                    <a:pt x="585" y="254"/>
                  </a:lnTo>
                  <a:lnTo>
                    <a:pt x="587" y="255"/>
                  </a:lnTo>
                  <a:lnTo>
                    <a:pt x="588" y="254"/>
                  </a:lnTo>
                  <a:lnTo>
                    <a:pt x="588" y="255"/>
                  </a:lnTo>
                  <a:lnTo>
                    <a:pt x="588" y="256"/>
                  </a:lnTo>
                  <a:lnTo>
                    <a:pt x="589" y="268"/>
                  </a:lnTo>
                  <a:lnTo>
                    <a:pt x="590" y="275"/>
                  </a:lnTo>
                  <a:lnTo>
                    <a:pt x="591" y="277"/>
                  </a:lnTo>
                  <a:lnTo>
                    <a:pt x="591" y="280"/>
                  </a:lnTo>
                  <a:lnTo>
                    <a:pt x="592" y="282"/>
                  </a:lnTo>
                  <a:lnTo>
                    <a:pt x="593" y="284"/>
                  </a:lnTo>
                  <a:lnTo>
                    <a:pt x="593" y="285"/>
                  </a:lnTo>
                  <a:lnTo>
                    <a:pt x="595" y="286"/>
                  </a:lnTo>
                  <a:lnTo>
                    <a:pt x="596" y="286"/>
                  </a:lnTo>
                  <a:lnTo>
                    <a:pt x="598" y="286"/>
                  </a:lnTo>
                  <a:lnTo>
                    <a:pt x="601" y="286"/>
                  </a:lnTo>
                  <a:lnTo>
                    <a:pt x="603" y="287"/>
                  </a:lnTo>
                  <a:lnTo>
                    <a:pt x="605" y="287"/>
                  </a:lnTo>
                  <a:lnTo>
                    <a:pt x="609" y="290"/>
                  </a:lnTo>
                  <a:lnTo>
                    <a:pt x="611" y="291"/>
                  </a:lnTo>
                  <a:lnTo>
                    <a:pt x="612" y="291"/>
                  </a:lnTo>
                  <a:lnTo>
                    <a:pt x="614" y="291"/>
                  </a:lnTo>
                  <a:lnTo>
                    <a:pt x="618" y="292"/>
                  </a:lnTo>
                  <a:lnTo>
                    <a:pt x="621" y="292"/>
                  </a:lnTo>
                  <a:lnTo>
                    <a:pt x="624" y="293"/>
                  </a:lnTo>
                  <a:lnTo>
                    <a:pt x="627" y="293"/>
                  </a:lnTo>
                  <a:lnTo>
                    <a:pt x="628" y="294"/>
                  </a:lnTo>
                  <a:lnTo>
                    <a:pt x="629" y="295"/>
                  </a:lnTo>
                  <a:lnTo>
                    <a:pt x="631" y="297"/>
                  </a:lnTo>
                  <a:lnTo>
                    <a:pt x="632" y="298"/>
                  </a:lnTo>
                  <a:lnTo>
                    <a:pt x="635" y="304"/>
                  </a:lnTo>
                  <a:lnTo>
                    <a:pt x="638" y="309"/>
                  </a:lnTo>
                  <a:lnTo>
                    <a:pt x="639" y="311"/>
                  </a:lnTo>
                  <a:lnTo>
                    <a:pt x="640" y="315"/>
                  </a:lnTo>
                  <a:lnTo>
                    <a:pt x="641" y="317"/>
                  </a:lnTo>
                  <a:lnTo>
                    <a:pt x="641" y="318"/>
                  </a:lnTo>
                  <a:lnTo>
                    <a:pt x="641" y="320"/>
                  </a:lnTo>
                  <a:lnTo>
                    <a:pt x="641" y="321"/>
                  </a:lnTo>
                  <a:lnTo>
                    <a:pt x="641" y="333"/>
                  </a:lnTo>
                  <a:lnTo>
                    <a:pt x="640" y="336"/>
                  </a:lnTo>
                  <a:lnTo>
                    <a:pt x="639" y="341"/>
                  </a:lnTo>
                  <a:lnTo>
                    <a:pt x="639" y="340"/>
                  </a:lnTo>
                  <a:lnTo>
                    <a:pt x="639" y="341"/>
                  </a:lnTo>
                  <a:lnTo>
                    <a:pt x="631" y="345"/>
                  </a:lnTo>
                  <a:lnTo>
                    <a:pt x="627" y="347"/>
                  </a:lnTo>
                  <a:lnTo>
                    <a:pt x="626" y="348"/>
                  </a:lnTo>
                  <a:lnTo>
                    <a:pt x="623" y="349"/>
                  </a:lnTo>
                  <a:lnTo>
                    <a:pt x="621" y="350"/>
                  </a:lnTo>
                  <a:lnTo>
                    <a:pt x="619" y="351"/>
                  </a:lnTo>
                  <a:lnTo>
                    <a:pt x="616" y="351"/>
                  </a:lnTo>
                  <a:lnTo>
                    <a:pt x="615" y="352"/>
                  </a:lnTo>
                  <a:lnTo>
                    <a:pt x="612" y="352"/>
                  </a:lnTo>
                  <a:lnTo>
                    <a:pt x="609" y="352"/>
                  </a:lnTo>
                  <a:lnTo>
                    <a:pt x="606" y="352"/>
                  </a:lnTo>
                  <a:lnTo>
                    <a:pt x="601" y="350"/>
                  </a:lnTo>
                  <a:lnTo>
                    <a:pt x="598" y="350"/>
                  </a:lnTo>
                  <a:lnTo>
                    <a:pt x="596" y="350"/>
                  </a:lnTo>
                  <a:lnTo>
                    <a:pt x="595" y="350"/>
                  </a:lnTo>
                  <a:lnTo>
                    <a:pt x="594" y="351"/>
                  </a:lnTo>
                  <a:lnTo>
                    <a:pt x="593" y="351"/>
                  </a:lnTo>
                  <a:lnTo>
                    <a:pt x="592" y="352"/>
                  </a:lnTo>
                  <a:lnTo>
                    <a:pt x="591" y="353"/>
                  </a:lnTo>
                  <a:lnTo>
                    <a:pt x="587" y="355"/>
                  </a:lnTo>
                  <a:lnTo>
                    <a:pt x="585" y="357"/>
                  </a:lnTo>
                  <a:lnTo>
                    <a:pt x="584" y="358"/>
                  </a:lnTo>
                  <a:lnTo>
                    <a:pt x="584" y="359"/>
                  </a:lnTo>
                  <a:lnTo>
                    <a:pt x="582" y="366"/>
                  </a:lnTo>
                  <a:lnTo>
                    <a:pt x="580" y="369"/>
                  </a:lnTo>
                  <a:lnTo>
                    <a:pt x="578" y="372"/>
                  </a:lnTo>
                  <a:lnTo>
                    <a:pt x="577" y="373"/>
                  </a:lnTo>
                  <a:lnTo>
                    <a:pt x="576" y="374"/>
                  </a:lnTo>
                  <a:lnTo>
                    <a:pt x="576" y="375"/>
                  </a:lnTo>
                  <a:lnTo>
                    <a:pt x="575" y="375"/>
                  </a:lnTo>
                  <a:lnTo>
                    <a:pt x="574" y="375"/>
                  </a:lnTo>
                  <a:lnTo>
                    <a:pt x="573" y="375"/>
                  </a:lnTo>
                  <a:lnTo>
                    <a:pt x="572" y="375"/>
                  </a:lnTo>
                  <a:lnTo>
                    <a:pt x="570" y="374"/>
                  </a:lnTo>
                  <a:lnTo>
                    <a:pt x="569" y="373"/>
                  </a:lnTo>
                  <a:lnTo>
                    <a:pt x="564" y="370"/>
                  </a:lnTo>
                  <a:lnTo>
                    <a:pt x="562" y="369"/>
                  </a:lnTo>
                  <a:lnTo>
                    <a:pt x="560" y="368"/>
                  </a:lnTo>
                  <a:lnTo>
                    <a:pt x="558" y="367"/>
                  </a:lnTo>
                  <a:lnTo>
                    <a:pt x="552" y="366"/>
                  </a:lnTo>
                  <a:lnTo>
                    <a:pt x="549" y="366"/>
                  </a:lnTo>
                  <a:lnTo>
                    <a:pt x="546" y="364"/>
                  </a:lnTo>
                  <a:lnTo>
                    <a:pt x="540" y="362"/>
                  </a:lnTo>
                  <a:lnTo>
                    <a:pt x="539" y="361"/>
                  </a:lnTo>
                  <a:lnTo>
                    <a:pt x="538" y="361"/>
                  </a:lnTo>
                  <a:lnTo>
                    <a:pt x="537" y="361"/>
                  </a:lnTo>
                  <a:lnTo>
                    <a:pt x="536" y="361"/>
                  </a:lnTo>
                  <a:lnTo>
                    <a:pt x="534" y="362"/>
                  </a:lnTo>
                  <a:lnTo>
                    <a:pt x="533" y="362"/>
                  </a:lnTo>
                  <a:lnTo>
                    <a:pt x="518" y="367"/>
                  </a:lnTo>
                  <a:lnTo>
                    <a:pt x="514" y="369"/>
                  </a:lnTo>
                  <a:lnTo>
                    <a:pt x="512" y="370"/>
                  </a:lnTo>
                  <a:lnTo>
                    <a:pt x="507" y="371"/>
                  </a:lnTo>
                  <a:lnTo>
                    <a:pt x="504" y="372"/>
                  </a:lnTo>
                  <a:lnTo>
                    <a:pt x="499" y="372"/>
                  </a:lnTo>
                  <a:lnTo>
                    <a:pt x="495" y="372"/>
                  </a:lnTo>
                  <a:lnTo>
                    <a:pt x="493" y="372"/>
                  </a:lnTo>
                  <a:lnTo>
                    <a:pt x="491" y="372"/>
                  </a:lnTo>
                  <a:lnTo>
                    <a:pt x="473" y="369"/>
                  </a:lnTo>
                  <a:lnTo>
                    <a:pt x="469" y="368"/>
                  </a:lnTo>
                  <a:lnTo>
                    <a:pt x="466" y="367"/>
                  </a:lnTo>
                  <a:lnTo>
                    <a:pt x="462" y="366"/>
                  </a:lnTo>
                  <a:lnTo>
                    <a:pt x="457" y="365"/>
                  </a:lnTo>
                  <a:lnTo>
                    <a:pt x="456" y="364"/>
                  </a:lnTo>
                  <a:lnTo>
                    <a:pt x="454" y="362"/>
                  </a:lnTo>
                  <a:lnTo>
                    <a:pt x="452" y="360"/>
                  </a:lnTo>
                  <a:lnTo>
                    <a:pt x="451" y="360"/>
                  </a:lnTo>
                  <a:lnTo>
                    <a:pt x="449" y="360"/>
                  </a:lnTo>
                  <a:lnTo>
                    <a:pt x="445" y="361"/>
                  </a:lnTo>
                  <a:lnTo>
                    <a:pt x="443" y="363"/>
                  </a:lnTo>
                  <a:lnTo>
                    <a:pt x="440" y="364"/>
                  </a:lnTo>
                  <a:lnTo>
                    <a:pt x="437" y="365"/>
                  </a:lnTo>
                  <a:lnTo>
                    <a:pt x="436" y="366"/>
                  </a:lnTo>
                  <a:lnTo>
                    <a:pt x="434" y="368"/>
                  </a:lnTo>
                  <a:lnTo>
                    <a:pt x="434" y="370"/>
                  </a:lnTo>
                  <a:lnTo>
                    <a:pt x="433" y="372"/>
                  </a:lnTo>
                  <a:lnTo>
                    <a:pt x="433" y="373"/>
                  </a:lnTo>
                  <a:lnTo>
                    <a:pt x="433" y="374"/>
                  </a:lnTo>
                  <a:lnTo>
                    <a:pt x="434" y="375"/>
                  </a:lnTo>
                  <a:lnTo>
                    <a:pt x="434" y="377"/>
                  </a:lnTo>
                  <a:lnTo>
                    <a:pt x="437" y="380"/>
                  </a:lnTo>
                  <a:lnTo>
                    <a:pt x="439" y="383"/>
                  </a:lnTo>
                  <a:lnTo>
                    <a:pt x="440" y="385"/>
                  </a:lnTo>
                  <a:lnTo>
                    <a:pt x="441" y="387"/>
                  </a:lnTo>
                  <a:lnTo>
                    <a:pt x="441" y="388"/>
                  </a:lnTo>
                  <a:lnTo>
                    <a:pt x="441" y="388"/>
                  </a:lnTo>
                  <a:lnTo>
                    <a:pt x="441" y="389"/>
                  </a:lnTo>
                  <a:lnTo>
                    <a:pt x="440" y="390"/>
                  </a:lnTo>
                  <a:lnTo>
                    <a:pt x="439" y="391"/>
                  </a:lnTo>
                  <a:lnTo>
                    <a:pt x="437" y="392"/>
                  </a:lnTo>
                  <a:lnTo>
                    <a:pt x="435" y="393"/>
                  </a:lnTo>
                  <a:lnTo>
                    <a:pt x="433" y="393"/>
                  </a:lnTo>
                  <a:lnTo>
                    <a:pt x="431" y="394"/>
                  </a:lnTo>
                  <a:lnTo>
                    <a:pt x="428" y="394"/>
                  </a:lnTo>
                  <a:lnTo>
                    <a:pt x="423" y="394"/>
                  </a:lnTo>
                  <a:lnTo>
                    <a:pt x="417" y="395"/>
                  </a:lnTo>
                  <a:lnTo>
                    <a:pt x="411" y="395"/>
                  </a:lnTo>
                  <a:lnTo>
                    <a:pt x="410" y="396"/>
                  </a:lnTo>
                  <a:lnTo>
                    <a:pt x="409" y="396"/>
                  </a:lnTo>
                  <a:lnTo>
                    <a:pt x="408" y="397"/>
                  </a:lnTo>
                  <a:lnTo>
                    <a:pt x="407" y="397"/>
                  </a:lnTo>
                  <a:lnTo>
                    <a:pt x="407" y="399"/>
                  </a:lnTo>
                  <a:lnTo>
                    <a:pt x="406" y="400"/>
                  </a:lnTo>
                  <a:lnTo>
                    <a:pt x="405" y="403"/>
                  </a:lnTo>
                  <a:lnTo>
                    <a:pt x="405" y="405"/>
                  </a:lnTo>
                  <a:lnTo>
                    <a:pt x="405" y="407"/>
                  </a:lnTo>
                  <a:lnTo>
                    <a:pt x="405" y="408"/>
                  </a:lnTo>
                  <a:lnTo>
                    <a:pt x="406" y="411"/>
                  </a:lnTo>
                  <a:lnTo>
                    <a:pt x="406" y="413"/>
                  </a:lnTo>
                  <a:lnTo>
                    <a:pt x="406" y="415"/>
                  </a:lnTo>
                  <a:lnTo>
                    <a:pt x="406" y="417"/>
                  </a:lnTo>
                  <a:lnTo>
                    <a:pt x="405" y="418"/>
                  </a:lnTo>
                  <a:lnTo>
                    <a:pt x="404" y="420"/>
                  </a:lnTo>
                  <a:lnTo>
                    <a:pt x="401" y="423"/>
                  </a:lnTo>
                  <a:lnTo>
                    <a:pt x="400" y="425"/>
                  </a:lnTo>
                  <a:lnTo>
                    <a:pt x="400" y="426"/>
                  </a:lnTo>
                  <a:lnTo>
                    <a:pt x="400" y="428"/>
                  </a:lnTo>
                  <a:lnTo>
                    <a:pt x="400" y="429"/>
                  </a:lnTo>
                  <a:lnTo>
                    <a:pt x="396" y="431"/>
                  </a:lnTo>
                  <a:lnTo>
                    <a:pt x="395" y="431"/>
                  </a:lnTo>
                  <a:lnTo>
                    <a:pt x="393" y="431"/>
                  </a:lnTo>
                  <a:lnTo>
                    <a:pt x="391" y="432"/>
                  </a:lnTo>
                  <a:lnTo>
                    <a:pt x="389" y="432"/>
                  </a:lnTo>
                  <a:lnTo>
                    <a:pt x="388" y="432"/>
                  </a:lnTo>
                  <a:lnTo>
                    <a:pt x="386" y="432"/>
                  </a:lnTo>
                  <a:lnTo>
                    <a:pt x="385" y="432"/>
                  </a:lnTo>
                  <a:lnTo>
                    <a:pt x="382" y="431"/>
                  </a:lnTo>
                  <a:lnTo>
                    <a:pt x="381" y="430"/>
                  </a:lnTo>
                  <a:lnTo>
                    <a:pt x="379" y="430"/>
                  </a:lnTo>
                  <a:lnTo>
                    <a:pt x="377" y="428"/>
                  </a:lnTo>
                  <a:lnTo>
                    <a:pt x="375" y="427"/>
                  </a:lnTo>
                  <a:lnTo>
                    <a:pt x="374" y="426"/>
                  </a:lnTo>
                  <a:lnTo>
                    <a:pt x="372" y="424"/>
                  </a:lnTo>
                  <a:lnTo>
                    <a:pt x="371" y="422"/>
                  </a:lnTo>
                  <a:lnTo>
                    <a:pt x="367" y="416"/>
                  </a:lnTo>
                  <a:lnTo>
                    <a:pt x="364" y="410"/>
                  </a:lnTo>
                  <a:lnTo>
                    <a:pt x="361" y="402"/>
                  </a:lnTo>
                  <a:lnTo>
                    <a:pt x="358" y="398"/>
                  </a:lnTo>
                  <a:lnTo>
                    <a:pt x="356" y="395"/>
                  </a:lnTo>
                  <a:lnTo>
                    <a:pt x="354" y="390"/>
                  </a:lnTo>
                  <a:lnTo>
                    <a:pt x="354" y="388"/>
                  </a:lnTo>
                  <a:lnTo>
                    <a:pt x="354" y="387"/>
                  </a:lnTo>
                  <a:lnTo>
                    <a:pt x="353" y="386"/>
                  </a:lnTo>
                  <a:lnTo>
                    <a:pt x="352" y="386"/>
                  </a:lnTo>
                  <a:lnTo>
                    <a:pt x="352" y="385"/>
                  </a:lnTo>
                  <a:lnTo>
                    <a:pt x="350" y="384"/>
                  </a:lnTo>
                  <a:lnTo>
                    <a:pt x="349" y="384"/>
                  </a:lnTo>
                  <a:lnTo>
                    <a:pt x="348" y="384"/>
                  </a:lnTo>
                  <a:lnTo>
                    <a:pt x="347" y="384"/>
                  </a:lnTo>
                  <a:lnTo>
                    <a:pt x="344" y="385"/>
                  </a:lnTo>
                  <a:lnTo>
                    <a:pt x="343" y="386"/>
                  </a:lnTo>
                  <a:lnTo>
                    <a:pt x="340" y="388"/>
                  </a:lnTo>
                  <a:lnTo>
                    <a:pt x="337" y="390"/>
                  </a:lnTo>
                  <a:lnTo>
                    <a:pt x="335" y="390"/>
                  </a:lnTo>
                  <a:lnTo>
                    <a:pt x="334" y="391"/>
                  </a:lnTo>
                  <a:lnTo>
                    <a:pt x="333" y="391"/>
                  </a:lnTo>
                  <a:lnTo>
                    <a:pt x="332" y="390"/>
                  </a:lnTo>
                  <a:lnTo>
                    <a:pt x="331" y="390"/>
                  </a:lnTo>
                  <a:lnTo>
                    <a:pt x="329" y="389"/>
                  </a:lnTo>
                  <a:lnTo>
                    <a:pt x="326" y="388"/>
                  </a:lnTo>
                  <a:lnTo>
                    <a:pt x="324" y="387"/>
                  </a:lnTo>
                  <a:lnTo>
                    <a:pt x="322" y="385"/>
                  </a:lnTo>
                  <a:lnTo>
                    <a:pt x="319" y="382"/>
                  </a:lnTo>
                  <a:lnTo>
                    <a:pt x="313" y="377"/>
                  </a:lnTo>
                  <a:lnTo>
                    <a:pt x="310" y="375"/>
                  </a:lnTo>
                  <a:lnTo>
                    <a:pt x="308" y="372"/>
                  </a:lnTo>
                  <a:lnTo>
                    <a:pt x="304" y="370"/>
                  </a:lnTo>
                  <a:lnTo>
                    <a:pt x="301" y="367"/>
                  </a:lnTo>
                  <a:lnTo>
                    <a:pt x="298" y="366"/>
                  </a:lnTo>
                  <a:lnTo>
                    <a:pt x="285" y="360"/>
                  </a:lnTo>
                  <a:lnTo>
                    <a:pt x="281" y="358"/>
                  </a:lnTo>
                  <a:lnTo>
                    <a:pt x="279" y="356"/>
                  </a:lnTo>
                  <a:lnTo>
                    <a:pt x="278" y="356"/>
                  </a:lnTo>
                  <a:lnTo>
                    <a:pt x="278" y="355"/>
                  </a:lnTo>
                  <a:lnTo>
                    <a:pt x="278" y="354"/>
                  </a:lnTo>
                  <a:lnTo>
                    <a:pt x="277" y="354"/>
                  </a:lnTo>
                  <a:lnTo>
                    <a:pt x="276" y="354"/>
                  </a:lnTo>
                  <a:lnTo>
                    <a:pt x="275" y="353"/>
                  </a:lnTo>
                  <a:lnTo>
                    <a:pt x="275" y="353"/>
                  </a:lnTo>
                  <a:lnTo>
                    <a:pt x="274" y="353"/>
                  </a:lnTo>
                  <a:lnTo>
                    <a:pt x="273" y="354"/>
                  </a:lnTo>
                  <a:lnTo>
                    <a:pt x="270" y="354"/>
                  </a:lnTo>
                  <a:lnTo>
                    <a:pt x="266" y="356"/>
                  </a:lnTo>
                  <a:lnTo>
                    <a:pt x="263" y="358"/>
                  </a:lnTo>
                  <a:lnTo>
                    <a:pt x="260" y="361"/>
                  </a:lnTo>
                  <a:lnTo>
                    <a:pt x="257" y="363"/>
                  </a:lnTo>
                  <a:lnTo>
                    <a:pt x="255" y="366"/>
                  </a:lnTo>
                  <a:lnTo>
                    <a:pt x="252" y="368"/>
                  </a:lnTo>
                  <a:lnTo>
                    <a:pt x="252" y="370"/>
                  </a:lnTo>
                  <a:lnTo>
                    <a:pt x="251" y="371"/>
                  </a:lnTo>
                  <a:lnTo>
                    <a:pt x="248" y="374"/>
                  </a:lnTo>
                  <a:lnTo>
                    <a:pt x="247" y="374"/>
                  </a:lnTo>
                  <a:lnTo>
                    <a:pt x="245" y="376"/>
                  </a:lnTo>
                  <a:lnTo>
                    <a:pt x="244" y="377"/>
                  </a:lnTo>
                  <a:lnTo>
                    <a:pt x="244" y="378"/>
                  </a:lnTo>
                  <a:lnTo>
                    <a:pt x="243" y="380"/>
                  </a:lnTo>
                  <a:lnTo>
                    <a:pt x="243" y="382"/>
                  </a:lnTo>
                  <a:lnTo>
                    <a:pt x="243" y="385"/>
                  </a:lnTo>
                  <a:lnTo>
                    <a:pt x="243" y="388"/>
                  </a:lnTo>
                  <a:lnTo>
                    <a:pt x="242" y="389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9"/>
                  </a:lnTo>
                  <a:lnTo>
                    <a:pt x="240" y="401"/>
                  </a:lnTo>
                  <a:lnTo>
                    <a:pt x="241" y="403"/>
                  </a:lnTo>
                  <a:lnTo>
                    <a:pt x="241" y="406"/>
                  </a:lnTo>
                  <a:lnTo>
                    <a:pt x="241" y="410"/>
                  </a:lnTo>
                  <a:lnTo>
                    <a:pt x="243" y="414"/>
                  </a:lnTo>
                  <a:lnTo>
                    <a:pt x="244" y="420"/>
                  </a:lnTo>
                  <a:lnTo>
                    <a:pt x="245" y="422"/>
                  </a:lnTo>
                  <a:lnTo>
                    <a:pt x="245" y="424"/>
                  </a:lnTo>
                  <a:lnTo>
                    <a:pt x="245" y="425"/>
                  </a:lnTo>
                  <a:lnTo>
                    <a:pt x="244" y="427"/>
                  </a:lnTo>
                  <a:lnTo>
                    <a:pt x="243" y="428"/>
                  </a:lnTo>
                  <a:lnTo>
                    <a:pt x="242" y="429"/>
                  </a:lnTo>
                  <a:lnTo>
                    <a:pt x="241" y="431"/>
                  </a:lnTo>
                  <a:lnTo>
                    <a:pt x="238" y="433"/>
                  </a:lnTo>
                  <a:lnTo>
                    <a:pt x="234" y="434"/>
                  </a:lnTo>
                  <a:lnTo>
                    <a:pt x="229" y="435"/>
                  </a:lnTo>
                  <a:lnTo>
                    <a:pt x="221" y="438"/>
                  </a:lnTo>
                  <a:lnTo>
                    <a:pt x="219" y="438"/>
                  </a:lnTo>
                  <a:lnTo>
                    <a:pt x="218" y="439"/>
                  </a:lnTo>
                  <a:lnTo>
                    <a:pt x="215" y="441"/>
                  </a:lnTo>
                  <a:lnTo>
                    <a:pt x="210" y="445"/>
                  </a:lnTo>
                  <a:lnTo>
                    <a:pt x="205" y="448"/>
                  </a:lnTo>
                  <a:lnTo>
                    <a:pt x="197" y="455"/>
                  </a:lnTo>
                  <a:lnTo>
                    <a:pt x="195" y="456"/>
                  </a:lnTo>
                  <a:lnTo>
                    <a:pt x="193" y="458"/>
                  </a:lnTo>
                  <a:lnTo>
                    <a:pt x="190" y="461"/>
                  </a:lnTo>
                  <a:lnTo>
                    <a:pt x="187" y="465"/>
                  </a:lnTo>
                  <a:lnTo>
                    <a:pt x="186" y="467"/>
                  </a:lnTo>
                  <a:lnTo>
                    <a:pt x="184" y="470"/>
                  </a:lnTo>
                  <a:lnTo>
                    <a:pt x="183" y="472"/>
                  </a:lnTo>
                  <a:lnTo>
                    <a:pt x="182" y="474"/>
                  </a:lnTo>
                  <a:lnTo>
                    <a:pt x="180" y="475"/>
                  </a:lnTo>
                  <a:lnTo>
                    <a:pt x="179" y="475"/>
                  </a:lnTo>
                  <a:lnTo>
                    <a:pt x="178" y="475"/>
                  </a:lnTo>
                  <a:lnTo>
                    <a:pt x="176" y="475"/>
                  </a:lnTo>
                  <a:lnTo>
                    <a:pt x="175" y="475"/>
                  </a:lnTo>
                  <a:lnTo>
                    <a:pt x="173" y="474"/>
                  </a:lnTo>
                  <a:lnTo>
                    <a:pt x="169" y="470"/>
                  </a:lnTo>
                  <a:lnTo>
                    <a:pt x="166" y="468"/>
                  </a:lnTo>
                  <a:lnTo>
                    <a:pt x="162" y="468"/>
                  </a:lnTo>
                  <a:lnTo>
                    <a:pt x="159" y="466"/>
                  </a:lnTo>
                  <a:lnTo>
                    <a:pt x="154" y="465"/>
                  </a:lnTo>
                  <a:lnTo>
                    <a:pt x="150" y="464"/>
                  </a:lnTo>
                  <a:lnTo>
                    <a:pt x="148" y="463"/>
                  </a:lnTo>
                  <a:lnTo>
                    <a:pt x="140" y="462"/>
                  </a:lnTo>
                  <a:lnTo>
                    <a:pt x="138" y="462"/>
                  </a:lnTo>
                  <a:lnTo>
                    <a:pt x="137" y="462"/>
                  </a:lnTo>
                  <a:lnTo>
                    <a:pt x="136" y="461"/>
                  </a:lnTo>
                  <a:lnTo>
                    <a:pt x="135" y="460"/>
                  </a:lnTo>
                  <a:lnTo>
                    <a:pt x="133" y="459"/>
                  </a:lnTo>
                  <a:lnTo>
                    <a:pt x="132" y="458"/>
                  </a:lnTo>
                  <a:lnTo>
                    <a:pt x="131" y="457"/>
                  </a:lnTo>
                  <a:lnTo>
                    <a:pt x="131" y="456"/>
                  </a:lnTo>
                  <a:lnTo>
                    <a:pt x="131" y="456"/>
                  </a:lnTo>
                  <a:lnTo>
                    <a:pt x="130" y="454"/>
                  </a:lnTo>
                  <a:lnTo>
                    <a:pt x="130" y="452"/>
                  </a:lnTo>
                  <a:lnTo>
                    <a:pt x="131" y="450"/>
                  </a:lnTo>
                  <a:lnTo>
                    <a:pt x="132" y="447"/>
                  </a:lnTo>
                  <a:lnTo>
                    <a:pt x="133" y="444"/>
                  </a:lnTo>
                  <a:lnTo>
                    <a:pt x="135" y="439"/>
                  </a:lnTo>
                  <a:lnTo>
                    <a:pt x="135" y="437"/>
                  </a:lnTo>
                  <a:lnTo>
                    <a:pt x="136" y="434"/>
                  </a:lnTo>
                  <a:lnTo>
                    <a:pt x="137" y="433"/>
                  </a:lnTo>
                  <a:lnTo>
                    <a:pt x="138" y="432"/>
                  </a:lnTo>
                  <a:lnTo>
                    <a:pt x="138" y="431"/>
                  </a:lnTo>
                  <a:lnTo>
                    <a:pt x="138" y="429"/>
                  </a:lnTo>
                  <a:lnTo>
                    <a:pt x="138" y="427"/>
                  </a:lnTo>
                  <a:lnTo>
                    <a:pt x="138" y="426"/>
                  </a:lnTo>
                  <a:lnTo>
                    <a:pt x="138" y="422"/>
                  </a:lnTo>
                  <a:lnTo>
                    <a:pt x="138" y="418"/>
                  </a:lnTo>
                  <a:lnTo>
                    <a:pt x="138" y="416"/>
                  </a:lnTo>
                  <a:lnTo>
                    <a:pt x="135" y="408"/>
                  </a:lnTo>
                  <a:lnTo>
                    <a:pt x="132" y="400"/>
                  </a:lnTo>
                  <a:lnTo>
                    <a:pt x="128" y="390"/>
                  </a:lnTo>
                  <a:lnTo>
                    <a:pt x="125" y="379"/>
                  </a:lnTo>
                  <a:lnTo>
                    <a:pt x="123" y="377"/>
                  </a:lnTo>
                  <a:lnTo>
                    <a:pt x="121" y="373"/>
                  </a:lnTo>
                  <a:lnTo>
                    <a:pt x="118" y="367"/>
                  </a:lnTo>
                  <a:lnTo>
                    <a:pt x="116" y="366"/>
                  </a:lnTo>
                  <a:lnTo>
                    <a:pt x="116" y="365"/>
                  </a:lnTo>
                  <a:lnTo>
                    <a:pt x="115" y="363"/>
                  </a:lnTo>
                  <a:lnTo>
                    <a:pt x="113" y="361"/>
                  </a:lnTo>
                  <a:lnTo>
                    <a:pt x="107" y="356"/>
                  </a:lnTo>
                  <a:lnTo>
                    <a:pt x="105" y="355"/>
                  </a:lnTo>
                  <a:lnTo>
                    <a:pt x="104" y="354"/>
                  </a:lnTo>
                  <a:lnTo>
                    <a:pt x="100" y="353"/>
                  </a:lnTo>
                  <a:lnTo>
                    <a:pt x="96" y="351"/>
                  </a:lnTo>
                  <a:lnTo>
                    <a:pt x="91" y="349"/>
                  </a:lnTo>
                  <a:lnTo>
                    <a:pt x="88" y="348"/>
                  </a:lnTo>
                  <a:lnTo>
                    <a:pt x="87" y="347"/>
                  </a:lnTo>
                  <a:lnTo>
                    <a:pt x="85" y="346"/>
                  </a:lnTo>
                  <a:lnTo>
                    <a:pt x="84" y="345"/>
                  </a:lnTo>
                  <a:lnTo>
                    <a:pt x="83" y="343"/>
                  </a:lnTo>
                  <a:lnTo>
                    <a:pt x="83" y="343"/>
                  </a:lnTo>
                  <a:lnTo>
                    <a:pt x="83" y="341"/>
                  </a:lnTo>
                  <a:lnTo>
                    <a:pt x="83" y="340"/>
                  </a:lnTo>
                  <a:lnTo>
                    <a:pt x="84" y="336"/>
                  </a:lnTo>
                  <a:lnTo>
                    <a:pt x="84" y="335"/>
                  </a:lnTo>
                  <a:lnTo>
                    <a:pt x="83" y="333"/>
                  </a:lnTo>
                  <a:lnTo>
                    <a:pt x="82" y="332"/>
                  </a:lnTo>
                  <a:lnTo>
                    <a:pt x="81" y="327"/>
                  </a:lnTo>
                  <a:lnTo>
                    <a:pt x="79" y="320"/>
                  </a:lnTo>
                  <a:lnTo>
                    <a:pt x="76" y="314"/>
                  </a:lnTo>
                  <a:lnTo>
                    <a:pt x="75" y="312"/>
                  </a:lnTo>
                  <a:lnTo>
                    <a:pt x="74" y="310"/>
                  </a:lnTo>
                  <a:lnTo>
                    <a:pt x="74" y="309"/>
                  </a:lnTo>
                  <a:lnTo>
                    <a:pt x="74" y="308"/>
                  </a:lnTo>
                  <a:lnTo>
                    <a:pt x="74" y="306"/>
                  </a:lnTo>
                  <a:lnTo>
                    <a:pt x="74" y="305"/>
                  </a:lnTo>
                  <a:lnTo>
                    <a:pt x="74" y="303"/>
                  </a:lnTo>
                  <a:lnTo>
                    <a:pt x="75" y="301"/>
                  </a:lnTo>
                  <a:lnTo>
                    <a:pt x="76" y="300"/>
                  </a:lnTo>
                  <a:lnTo>
                    <a:pt x="77" y="298"/>
                  </a:lnTo>
                  <a:lnTo>
                    <a:pt x="82" y="293"/>
                  </a:lnTo>
                  <a:lnTo>
                    <a:pt x="82" y="291"/>
                  </a:lnTo>
                  <a:lnTo>
                    <a:pt x="83" y="290"/>
                  </a:lnTo>
                  <a:lnTo>
                    <a:pt x="84" y="288"/>
                  </a:lnTo>
                  <a:lnTo>
                    <a:pt x="86" y="283"/>
                  </a:lnTo>
                  <a:lnTo>
                    <a:pt x="88" y="279"/>
                  </a:lnTo>
                  <a:lnTo>
                    <a:pt x="89" y="277"/>
                  </a:lnTo>
                  <a:lnTo>
                    <a:pt x="89" y="275"/>
                  </a:lnTo>
                  <a:lnTo>
                    <a:pt x="89" y="275"/>
                  </a:lnTo>
                  <a:lnTo>
                    <a:pt x="89" y="274"/>
                  </a:lnTo>
                  <a:lnTo>
                    <a:pt x="89" y="272"/>
                  </a:lnTo>
                  <a:lnTo>
                    <a:pt x="89" y="271"/>
                  </a:lnTo>
                  <a:lnTo>
                    <a:pt x="86" y="264"/>
                  </a:lnTo>
                  <a:lnTo>
                    <a:pt x="79" y="250"/>
                  </a:lnTo>
                  <a:lnTo>
                    <a:pt x="77" y="246"/>
                  </a:lnTo>
                  <a:lnTo>
                    <a:pt x="75" y="243"/>
                  </a:lnTo>
                  <a:lnTo>
                    <a:pt x="74" y="241"/>
                  </a:lnTo>
                  <a:lnTo>
                    <a:pt x="72" y="240"/>
                  </a:lnTo>
                  <a:lnTo>
                    <a:pt x="71" y="239"/>
                  </a:lnTo>
                  <a:lnTo>
                    <a:pt x="70" y="238"/>
                  </a:lnTo>
                  <a:lnTo>
                    <a:pt x="70" y="238"/>
                  </a:lnTo>
                  <a:lnTo>
                    <a:pt x="69" y="237"/>
                  </a:lnTo>
                  <a:lnTo>
                    <a:pt x="68" y="237"/>
                  </a:lnTo>
                  <a:lnTo>
                    <a:pt x="66" y="237"/>
                  </a:lnTo>
                  <a:lnTo>
                    <a:pt x="63" y="237"/>
                  </a:lnTo>
                  <a:lnTo>
                    <a:pt x="59" y="238"/>
                  </a:lnTo>
                  <a:lnTo>
                    <a:pt x="57" y="239"/>
                  </a:lnTo>
                  <a:lnTo>
                    <a:pt x="55" y="240"/>
                  </a:lnTo>
                  <a:lnTo>
                    <a:pt x="51" y="241"/>
                  </a:lnTo>
                  <a:lnTo>
                    <a:pt x="49" y="242"/>
                  </a:lnTo>
                  <a:lnTo>
                    <a:pt x="48" y="242"/>
                  </a:lnTo>
                  <a:lnTo>
                    <a:pt x="47" y="242"/>
                  </a:lnTo>
                  <a:lnTo>
                    <a:pt x="46" y="242"/>
                  </a:lnTo>
                  <a:lnTo>
                    <a:pt x="45" y="241"/>
                  </a:lnTo>
                  <a:lnTo>
                    <a:pt x="44" y="241"/>
                  </a:lnTo>
                  <a:lnTo>
                    <a:pt x="43" y="240"/>
                  </a:lnTo>
                  <a:lnTo>
                    <a:pt x="38" y="235"/>
                  </a:lnTo>
                  <a:lnTo>
                    <a:pt x="36" y="232"/>
                  </a:lnTo>
                  <a:lnTo>
                    <a:pt x="34" y="230"/>
                  </a:lnTo>
                  <a:lnTo>
                    <a:pt x="27" y="226"/>
                  </a:lnTo>
                  <a:lnTo>
                    <a:pt x="26" y="225"/>
                  </a:lnTo>
                  <a:lnTo>
                    <a:pt x="25" y="223"/>
                  </a:lnTo>
                  <a:lnTo>
                    <a:pt x="23" y="221"/>
                  </a:lnTo>
                  <a:lnTo>
                    <a:pt x="22" y="220"/>
                  </a:lnTo>
                  <a:lnTo>
                    <a:pt x="17" y="215"/>
                  </a:lnTo>
                  <a:lnTo>
                    <a:pt x="17" y="213"/>
                  </a:lnTo>
                  <a:lnTo>
                    <a:pt x="16" y="212"/>
                  </a:lnTo>
                  <a:lnTo>
                    <a:pt x="15" y="212"/>
                  </a:lnTo>
                  <a:lnTo>
                    <a:pt x="14" y="211"/>
                  </a:lnTo>
                  <a:lnTo>
                    <a:pt x="11" y="210"/>
                  </a:lnTo>
                  <a:lnTo>
                    <a:pt x="9" y="209"/>
                  </a:lnTo>
                  <a:lnTo>
                    <a:pt x="8" y="208"/>
                  </a:lnTo>
                  <a:lnTo>
                    <a:pt x="6" y="207"/>
                  </a:lnTo>
                  <a:lnTo>
                    <a:pt x="5" y="207"/>
                  </a:lnTo>
                  <a:lnTo>
                    <a:pt x="3" y="206"/>
                  </a:lnTo>
                  <a:lnTo>
                    <a:pt x="3" y="205"/>
                  </a:lnTo>
                  <a:lnTo>
                    <a:pt x="2" y="204"/>
                  </a:lnTo>
                  <a:lnTo>
                    <a:pt x="2" y="202"/>
                  </a:lnTo>
                  <a:lnTo>
                    <a:pt x="1" y="199"/>
                  </a:lnTo>
                  <a:lnTo>
                    <a:pt x="0" y="196"/>
                  </a:lnTo>
                  <a:lnTo>
                    <a:pt x="0" y="193"/>
                  </a:lnTo>
                  <a:lnTo>
                    <a:pt x="0" y="191"/>
                  </a:lnTo>
                  <a:lnTo>
                    <a:pt x="0" y="190"/>
                  </a:lnTo>
                  <a:lnTo>
                    <a:pt x="0" y="188"/>
                  </a:lnTo>
                  <a:lnTo>
                    <a:pt x="1" y="187"/>
                  </a:lnTo>
                  <a:lnTo>
                    <a:pt x="3" y="183"/>
                  </a:lnTo>
                  <a:lnTo>
                    <a:pt x="4" y="181"/>
                  </a:lnTo>
                  <a:lnTo>
                    <a:pt x="5" y="178"/>
                  </a:lnTo>
                  <a:lnTo>
                    <a:pt x="5" y="175"/>
                  </a:lnTo>
                  <a:lnTo>
                    <a:pt x="5" y="173"/>
                  </a:lnTo>
                  <a:lnTo>
                    <a:pt x="5" y="171"/>
                  </a:lnTo>
                  <a:lnTo>
                    <a:pt x="4" y="168"/>
                  </a:lnTo>
                  <a:lnTo>
                    <a:pt x="2" y="161"/>
                  </a:lnTo>
                  <a:lnTo>
                    <a:pt x="2" y="157"/>
                  </a:lnTo>
                  <a:lnTo>
                    <a:pt x="2" y="151"/>
                  </a:lnTo>
                  <a:lnTo>
                    <a:pt x="2" y="148"/>
                  </a:lnTo>
                  <a:lnTo>
                    <a:pt x="2" y="147"/>
                  </a:lnTo>
                  <a:lnTo>
                    <a:pt x="2" y="146"/>
                  </a:lnTo>
                  <a:lnTo>
                    <a:pt x="3" y="144"/>
                  </a:lnTo>
                  <a:lnTo>
                    <a:pt x="6" y="140"/>
                  </a:lnTo>
                  <a:lnTo>
                    <a:pt x="8" y="139"/>
                  </a:lnTo>
                  <a:lnTo>
                    <a:pt x="9" y="137"/>
                  </a:lnTo>
                  <a:lnTo>
                    <a:pt x="10" y="134"/>
                  </a:lnTo>
                  <a:lnTo>
                    <a:pt x="11" y="132"/>
                  </a:lnTo>
                  <a:lnTo>
                    <a:pt x="11" y="129"/>
                  </a:lnTo>
                  <a:lnTo>
                    <a:pt x="13" y="121"/>
                  </a:lnTo>
                  <a:lnTo>
                    <a:pt x="13" y="117"/>
                  </a:lnTo>
                  <a:lnTo>
                    <a:pt x="14" y="115"/>
                  </a:lnTo>
                  <a:lnTo>
                    <a:pt x="16" y="111"/>
                  </a:lnTo>
                  <a:lnTo>
                    <a:pt x="17" y="109"/>
                  </a:lnTo>
                  <a:lnTo>
                    <a:pt x="18" y="107"/>
                  </a:lnTo>
                  <a:lnTo>
                    <a:pt x="19" y="106"/>
                  </a:lnTo>
                  <a:lnTo>
                    <a:pt x="23" y="103"/>
                  </a:lnTo>
                  <a:lnTo>
                    <a:pt x="24" y="101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6" y="96"/>
                  </a:lnTo>
                  <a:lnTo>
                    <a:pt x="27" y="92"/>
                  </a:lnTo>
                  <a:lnTo>
                    <a:pt x="28" y="90"/>
                  </a:lnTo>
                  <a:lnTo>
                    <a:pt x="28" y="88"/>
                  </a:lnTo>
                  <a:lnTo>
                    <a:pt x="28" y="85"/>
                  </a:lnTo>
                  <a:lnTo>
                    <a:pt x="28" y="80"/>
                  </a:lnTo>
                  <a:lnTo>
                    <a:pt x="28" y="78"/>
                  </a:lnTo>
                  <a:lnTo>
                    <a:pt x="27" y="77"/>
                  </a:lnTo>
                  <a:lnTo>
                    <a:pt x="26" y="74"/>
                  </a:lnTo>
                  <a:lnTo>
                    <a:pt x="25" y="71"/>
                  </a:lnTo>
                  <a:lnTo>
                    <a:pt x="23" y="68"/>
                  </a:lnTo>
                  <a:lnTo>
                    <a:pt x="21" y="65"/>
                  </a:lnTo>
                  <a:lnTo>
                    <a:pt x="20" y="65"/>
                  </a:lnTo>
                  <a:lnTo>
                    <a:pt x="20" y="64"/>
                  </a:lnTo>
                  <a:lnTo>
                    <a:pt x="20" y="63"/>
                  </a:lnTo>
                  <a:lnTo>
                    <a:pt x="20" y="62"/>
                  </a:lnTo>
                  <a:lnTo>
                    <a:pt x="21" y="62"/>
                  </a:lnTo>
                  <a:lnTo>
                    <a:pt x="22" y="60"/>
                  </a:lnTo>
                  <a:lnTo>
                    <a:pt x="24" y="60"/>
                  </a:lnTo>
                  <a:lnTo>
                    <a:pt x="25" y="60"/>
                  </a:lnTo>
                  <a:lnTo>
                    <a:pt x="27" y="59"/>
                  </a:lnTo>
                  <a:lnTo>
                    <a:pt x="30" y="59"/>
                  </a:lnTo>
                  <a:lnTo>
                    <a:pt x="33" y="59"/>
                  </a:lnTo>
                  <a:lnTo>
                    <a:pt x="42" y="59"/>
                  </a:lnTo>
                  <a:lnTo>
                    <a:pt x="45" y="59"/>
                  </a:lnTo>
                  <a:lnTo>
                    <a:pt x="47" y="60"/>
                  </a:lnTo>
                  <a:lnTo>
                    <a:pt x="50" y="60"/>
                  </a:lnTo>
                  <a:lnTo>
                    <a:pt x="55" y="63"/>
                  </a:lnTo>
                  <a:lnTo>
                    <a:pt x="58" y="64"/>
                  </a:lnTo>
                  <a:lnTo>
                    <a:pt x="59" y="65"/>
                  </a:lnTo>
                  <a:lnTo>
                    <a:pt x="60" y="66"/>
                  </a:lnTo>
                  <a:lnTo>
                    <a:pt x="64" y="66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71" y="66"/>
                  </a:lnTo>
                  <a:lnTo>
                    <a:pt x="79" y="64"/>
                  </a:lnTo>
                  <a:lnTo>
                    <a:pt x="82" y="63"/>
                  </a:lnTo>
                  <a:lnTo>
                    <a:pt x="84" y="62"/>
                  </a:lnTo>
                  <a:lnTo>
                    <a:pt x="85" y="61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8" y="59"/>
                  </a:lnTo>
                  <a:lnTo>
                    <a:pt x="89" y="58"/>
                  </a:lnTo>
                  <a:lnTo>
                    <a:pt x="90" y="56"/>
                  </a:lnTo>
                  <a:lnTo>
                    <a:pt x="91" y="53"/>
                  </a:lnTo>
                  <a:lnTo>
                    <a:pt x="94" y="42"/>
                  </a:lnTo>
                  <a:lnTo>
                    <a:pt x="95" y="40"/>
                  </a:lnTo>
                  <a:lnTo>
                    <a:pt x="96" y="37"/>
                  </a:lnTo>
                  <a:lnTo>
                    <a:pt x="97" y="36"/>
                  </a:lnTo>
                  <a:lnTo>
                    <a:pt x="99" y="34"/>
                  </a:lnTo>
                  <a:lnTo>
                    <a:pt x="100" y="32"/>
                  </a:lnTo>
                  <a:lnTo>
                    <a:pt x="101" y="32"/>
                  </a:lnTo>
                  <a:lnTo>
                    <a:pt x="101" y="33"/>
                  </a:lnTo>
                  <a:lnTo>
                    <a:pt x="102" y="33"/>
                  </a:lnTo>
                  <a:lnTo>
                    <a:pt x="103" y="33"/>
                  </a:lnTo>
                  <a:lnTo>
                    <a:pt x="104" y="34"/>
                  </a:lnTo>
                  <a:lnTo>
                    <a:pt x="107" y="34"/>
                  </a:lnTo>
                  <a:lnTo>
                    <a:pt x="112" y="34"/>
                  </a:lnTo>
                  <a:lnTo>
                    <a:pt x="121" y="34"/>
                  </a:lnTo>
                  <a:lnTo>
                    <a:pt x="127" y="33"/>
                  </a:lnTo>
                  <a:lnTo>
                    <a:pt x="130" y="32"/>
                  </a:lnTo>
                  <a:lnTo>
                    <a:pt x="136" y="31"/>
                  </a:lnTo>
                  <a:lnTo>
                    <a:pt x="137" y="31"/>
                  </a:lnTo>
                  <a:lnTo>
                    <a:pt x="138" y="31"/>
                  </a:lnTo>
                  <a:lnTo>
                    <a:pt x="141" y="31"/>
                  </a:lnTo>
                  <a:lnTo>
                    <a:pt x="145" y="32"/>
                  </a:lnTo>
                  <a:lnTo>
                    <a:pt x="149" y="32"/>
                  </a:lnTo>
                  <a:lnTo>
                    <a:pt x="150" y="32"/>
                  </a:lnTo>
                  <a:lnTo>
                    <a:pt x="151" y="33"/>
                  </a:lnTo>
                  <a:lnTo>
                    <a:pt x="154" y="34"/>
                  </a:lnTo>
                  <a:lnTo>
                    <a:pt x="155" y="35"/>
                  </a:lnTo>
                  <a:lnTo>
                    <a:pt x="156" y="35"/>
                  </a:lnTo>
                  <a:lnTo>
                    <a:pt x="157" y="35"/>
                  </a:lnTo>
                  <a:lnTo>
                    <a:pt x="158" y="34"/>
                  </a:lnTo>
                  <a:lnTo>
                    <a:pt x="160" y="33"/>
                  </a:lnTo>
                  <a:lnTo>
                    <a:pt x="162" y="32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8" y="30"/>
                  </a:lnTo>
                  <a:lnTo>
                    <a:pt x="169" y="30"/>
                  </a:lnTo>
                  <a:lnTo>
                    <a:pt x="171" y="31"/>
                  </a:lnTo>
                  <a:lnTo>
                    <a:pt x="174" y="32"/>
                  </a:lnTo>
                  <a:lnTo>
                    <a:pt x="177" y="34"/>
                  </a:lnTo>
                  <a:lnTo>
                    <a:pt x="182" y="36"/>
                  </a:lnTo>
                  <a:lnTo>
                    <a:pt x="184" y="36"/>
                  </a:lnTo>
                  <a:lnTo>
                    <a:pt x="184" y="37"/>
                  </a:lnTo>
                  <a:lnTo>
                    <a:pt x="184" y="37"/>
                  </a:lnTo>
                  <a:lnTo>
                    <a:pt x="186" y="37"/>
                  </a:lnTo>
                  <a:lnTo>
                    <a:pt x="187" y="36"/>
                  </a:lnTo>
                  <a:lnTo>
                    <a:pt x="188" y="35"/>
                  </a:lnTo>
                  <a:lnTo>
                    <a:pt x="190" y="34"/>
                  </a:lnTo>
                  <a:lnTo>
                    <a:pt x="192" y="32"/>
                  </a:lnTo>
                  <a:lnTo>
                    <a:pt x="194" y="30"/>
                  </a:lnTo>
                  <a:lnTo>
                    <a:pt x="195" y="29"/>
                  </a:lnTo>
                  <a:lnTo>
                    <a:pt x="195" y="27"/>
                  </a:lnTo>
                  <a:lnTo>
                    <a:pt x="195" y="26"/>
                  </a:lnTo>
                  <a:lnTo>
                    <a:pt x="196" y="23"/>
                  </a:lnTo>
                  <a:lnTo>
                    <a:pt x="196" y="21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6" y="14"/>
                  </a:lnTo>
                  <a:lnTo>
                    <a:pt x="195" y="11"/>
                  </a:lnTo>
                  <a:lnTo>
                    <a:pt x="194" y="1"/>
                  </a:lnTo>
                  <a:lnTo>
                    <a:pt x="193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0" name="Freeform 7">
              <a:extLst>
                <a:ext uri="{FF2B5EF4-FFF2-40B4-BE49-F238E27FC236}">
                  <a16:creationId xmlns:a16="http://schemas.microsoft.com/office/drawing/2014/main" id="{E3D290EE-31A2-4499-95D7-3BB2B1064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" y="2155"/>
              <a:ext cx="359" cy="354"/>
            </a:xfrm>
            <a:custGeom>
              <a:avLst/>
              <a:gdLst>
                <a:gd name="T0" fmla="*/ 241 w 359"/>
                <a:gd name="T1" fmla="*/ 9 h 354"/>
                <a:gd name="T2" fmla="*/ 243 w 359"/>
                <a:gd name="T3" fmla="*/ 4 h 354"/>
                <a:gd name="T4" fmla="*/ 249 w 359"/>
                <a:gd name="T5" fmla="*/ 5 h 354"/>
                <a:gd name="T6" fmla="*/ 258 w 359"/>
                <a:gd name="T7" fmla="*/ 6 h 354"/>
                <a:gd name="T8" fmla="*/ 266 w 359"/>
                <a:gd name="T9" fmla="*/ 18 h 354"/>
                <a:gd name="T10" fmla="*/ 296 w 359"/>
                <a:gd name="T11" fmla="*/ 46 h 354"/>
                <a:gd name="T12" fmla="*/ 305 w 359"/>
                <a:gd name="T13" fmla="*/ 57 h 354"/>
                <a:gd name="T14" fmla="*/ 312 w 359"/>
                <a:gd name="T15" fmla="*/ 64 h 354"/>
                <a:gd name="T16" fmla="*/ 329 w 359"/>
                <a:gd name="T17" fmla="*/ 60 h 354"/>
                <a:gd name="T18" fmla="*/ 335 w 359"/>
                <a:gd name="T19" fmla="*/ 71 h 354"/>
                <a:gd name="T20" fmla="*/ 347 w 359"/>
                <a:gd name="T21" fmla="*/ 86 h 354"/>
                <a:gd name="T22" fmla="*/ 352 w 359"/>
                <a:gd name="T23" fmla="*/ 95 h 354"/>
                <a:gd name="T24" fmla="*/ 350 w 359"/>
                <a:gd name="T25" fmla="*/ 114 h 354"/>
                <a:gd name="T26" fmla="*/ 359 w 359"/>
                <a:gd name="T27" fmla="*/ 136 h 354"/>
                <a:gd name="T28" fmla="*/ 349 w 359"/>
                <a:gd name="T29" fmla="*/ 151 h 354"/>
                <a:gd name="T30" fmla="*/ 339 w 359"/>
                <a:gd name="T31" fmla="*/ 158 h 354"/>
                <a:gd name="T32" fmla="*/ 327 w 359"/>
                <a:gd name="T33" fmla="*/ 179 h 354"/>
                <a:gd name="T34" fmla="*/ 315 w 359"/>
                <a:gd name="T35" fmla="*/ 211 h 354"/>
                <a:gd name="T36" fmla="*/ 284 w 359"/>
                <a:gd name="T37" fmla="*/ 229 h 354"/>
                <a:gd name="T38" fmla="*/ 258 w 359"/>
                <a:gd name="T39" fmla="*/ 252 h 354"/>
                <a:gd name="T40" fmla="*/ 234 w 359"/>
                <a:gd name="T41" fmla="*/ 284 h 354"/>
                <a:gd name="T42" fmla="*/ 218 w 359"/>
                <a:gd name="T43" fmla="*/ 300 h 354"/>
                <a:gd name="T44" fmla="*/ 214 w 359"/>
                <a:gd name="T45" fmla="*/ 315 h 354"/>
                <a:gd name="T46" fmla="*/ 197 w 359"/>
                <a:gd name="T47" fmla="*/ 321 h 354"/>
                <a:gd name="T48" fmla="*/ 174 w 359"/>
                <a:gd name="T49" fmla="*/ 309 h 354"/>
                <a:gd name="T50" fmla="*/ 157 w 359"/>
                <a:gd name="T51" fmla="*/ 283 h 354"/>
                <a:gd name="T52" fmla="*/ 142 w 359"/>
                <a:gd name="T53" fmla="*/ 277 h 354"/>
                <a:gd name="T54" fmla="*/ 120 w 359"/>
                <a:gd name="T55" fmla="*/ 288 h 354"/>
                <a:gd name="T56" fmla="*/ 93 w 359"/>
                <a:gd name="T57" fmla="*/ 292 h 354"/>
                <a:gd name="T58" fmla="*/ 71 w 359"/>
                <a:gd name="T59" fmla="*/ 308 h 354"/>
                <a:gd name="T60" fmla="*/ 68 w 359"/>
                <a:gd name="T61" fmla="*/ 328 h 354"/>
                <a:gd name="T62" fmla="*/ 56 w 359"/>
                <a:gd name="T63" fmla="*/ 339 h 354"/>
                <a:gd name="T64" fmla="*/ 33 w 359"/>
                <a:gd name="T65" fmla="*/ 353 h 354"/>
                <a:gd name="T66" fmla="*/ 20 w 359"/>
                <a:gd name="T67" fmla="*/ 354 h 354"/>
                <a:gd name="T68" fmla="*/ 2 w 359"/>
                <a:gd name="T69" fmla="*/ 345 h 354"/>
                <a:gd name="T70" fmla="*/ 3 w 359"/>
                <a:gd name="T71" fmla="*/ 324 h 354"/>
                <a:gd name="T72" fmla="*/ 9 w 359"/>
                <a:gd name="T73" fmla="*/ 291 h 354"/>
                <a:gd name="T74" fmla="*/ 10 w 359"/>
                <a:gd name="T75" fmla="*/ 263 h 354"/>
                <a:gd name="T76" fmla="*/ 19 w 359"/>
                <a:gd name="T77" fmla="*/ 228 h 354"/>
                <a:gd name="T78" fmla="*/ 30 w 359"/>
                <a:gd name="T79" fmla="*/ 215 h 354"/>
                <a:gd name="T80" fmla="*/ 27 w 359"/>
                <a:gd name="T81" fmla="*/ 173 h 354"/>
                <a:gd name="T82" fmla="*/ 20 w 359"/>
                <a:gd name="T83" fmla="*/ 151 h 354"/>
                <a:gd name="T84" fmla="*/ 19 w 359"/>
                <a:gd name="T85" fmla="*/ 144 h 354"/>
                <a:gd name="T86" fmla="*/ 13 w 359"/>
                <a:gd name="T87" fmla="*/ 120 h 354"/>
                <a:gd name="T88" fmla="*/ 19 w 359"/>
                <a:gd name="T89" fmla="*/ 110 h 354"/>
                <a:gd name="T90" fmla="*/ 41 w 359"/>
                <a:gd name="T91" fmla="*/ 106 h 354"/>
                <a:gd name="T92" fmla="*/ 79 w 359"/>
                <a:gd name="T93" fmla="*/ 113 h 354"/>
                <a:gd name="T94" fmla="*/ 93 w 359"/>
                <a:gd name="T95" fmla="*/ 111 h 354"/>
                <a:gd name="T96" fmla="*/ 104 w 359"/>
                <a:gd name="T97" fmla="*/ 89 h 354"/>
                <a:gd name="T98" fmla="*/ 120 w 359"/>
                <a:gd name="T99" fmla="*/ 55 h 354"/>
                <a:gd name="T100" fmla="*/ 129 w 359"/>
                <a:gd name="T101" fmla="*/ 47 h 354"/>
                <a:gd name="T102" fmla="*/ 149 w 359"/>
                <a:gd name="T103" fmla="*/ 51 h 354"/>
                <a:gd name="T104" fmla="*/ 159 w 359"/>
                <a:gd name="T105" fmla="*/ 30 h 354"/>
                <a:gd name="T106" fmla="*/ 179 w 359"/>
                <a:gd name="T107" fmla="*/ 14 h 354"/>
                <a:gd name="T108" fmla="*/ 193 w 359"/>
                <a:gd name="T109" fmla="*/ 6 h 354"/>
                <a:gd name="T110" fmla="*/ 219 w 359"/>
                <a:gd name="T111" fmla="*/ 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9" h="354">
                  <a:moveTo>
                    <a:pt x="232" y="0"/>
                  </a:moveTo>
                  <a:lnTo>
                    <a:pt x="232" y="0"/>
                  </a:lnTo>
                  <a:lnTo>
                    <a:pt x="235" y="2"/>
                  </a:lnTo>
                  <a:lnTo>
                    <a:pt x="236" y="4"/>
                  </a:lnTo>
                  <a:lnTo>
                    <a:pt x="238" y="6"/>
                  </a:lnTo>
                  <a:lnTo>
                    <a:pt x="240" y="9"/>
                  </a:lnTo>
                  <a:lnTo>
                    <a:pt x="240" y="9"/>
                  </a:lnTo>
                  <a:lnTo>
                    <a:pt x="241" y="9"/>
                  </a:lnTo>
                  <a:lnTo>
                    <a:pt x="242" y="9"/>
                  </a:lnTo>
                  <a:lnTo>
                    <a:pt x="242" y="9"/>
                  </a:lnTo>
                  <a:lnTo>
                    <a:pt x="243" y="9"/>
                  </a:lnTo>
                  <a:lnTo>
                    <a:pt x="243" y="9"/>
                  </a:lnTo>
                  <a:lnTo>
                    <a:pt x="243" y="8"/>
                  </a:lnTo>
                  <a:lnTo>
                    <a:pt x="242" y="6"/>
                  </a:lnTo>
                  <a:lnTo>
                    <a:pt x="242" y="5"/>
                  </a:lnTo>
                  <a:lnTo>
                    <a:pt x="243" y="4"/>
                  </a:lnTo>
                  <a:lnTo>
                    <a:pt x="243" y="3"/>
                  </a:lnTo>
                  <a:lnTo>
                    <a:pt x="244" y="3"/>
                  </a:lnTo>
                  <a:lnTo>
                    <a:pt x="245" y="2"/>
                  </a:lnTo>
                  <a:lnTo>
                    <a:pt x="245" y="2"/>
                  </a:lnTo>
                  <a:lnTo>
                    <a:pt x="246" y="3"/>
                  </a:lnTo>
                  <a:lnTo>
                    <a:pt x="247" y="3"/>
                  </a:lnTo>
                  <a:lnTo>
                    <a:pt x="248" y="5"/>
                  </a:lnTo>
                  <a:lnTo>
                    <a:pt x="249" y="5"/>
                  </a:lnTo>
                  <a:lnTo>
                    <a:pt x="249" y="5"/>
                  </a:lnTo>
                  <a:lnTo>
                    <a:pt x="250" y="5"/>
                  </a:lnTo>
                  <a:lnTo>
                    <a:pt x="251" y="5"/>
                  </a:lnTo>
                  <a:lnTo>
                    <a:pt x="252" y="5"/>
                  </a:lnTo>
                  <a:lnTo>
                    <a:pt x="253" y="5"/>
                  </a:lnTo>
                  <a:lnTo>
                    <a:pt x="256" y="6"/>
                  </a:lnTo>
                  <a:lnTo>
                    <a:pt x="257" y="6"/>
                  </a:lnTo>
                  <a:lnTo>
                    <a:pt x="258" y="6"/>
                  </a:lnTo>
                  <a:lnTo>
                    <a:pt x="260" y="6"/>
                  </a:lnTo>
                  <a:lnTo>
                    <a:pt x="259" y="6"/>
                  </a:lnTo>
                  <a:lnTo>
                    <a:pt x="259" y="7"/>
                  </a:lnTo>
                  <a:lnTo>
                    <a:pt x="259" y="8"/>
                  </a:lnTo>
                  <a:lnTo>
                    <a:pt x="259" y="8"/>
                  </a:lnTo>
                  <a:lnTo>
                    <a:pt x="261" y="10"/>
                  </a:lnTo>
                  <a:lnTo>
                    <a:pt x="261" y="12"/>
                  </a:lnTo>
                  <a:lnTo>
                    <a:pt x="266" y="18"/>
                  </a:lnTo>
                  <a:lnTo>
                    <a:pt x="279" y="34"/>
                  </a:lnTo>
                  <a:lnTo>
                    <a:pt x="281" y="35"/>
                  </a:lnTo>
                  <a:lnTo>
                    <a:pt x="282" y="36"/>
                  </a:lnTo>
                  <a:lnTo>
                    <a:pt x="283" y="37"/>
                  </a:lnTo>
                  <a:lnTo>
                    <a:pt x="288" y="41"/>
                  </a:lnTo>
                  <a:lnTo>
                    <a:pt x="290" y="43"/>
                  </a:lnTo>
                  <a:lnTo>
                    <a:pt x="294" y="44"/>
                  </a:lnTo>
                  <a:lnTo>
                    <a:pt x="296" y="46"/>
                  </a:lnTo>
                  <a:lnTo>
                    <a:pt x="299" y="48"/>
                  </a:lnTo>
                  <a:lnTo>
                    <a:pt x="302" y="50"/>
                  </a:lnTo>
                  <a:lnTo>
                    <a:pt x="303" y="51"/>
                  </a:lnTo>
                  <a:lnTo>
                    <a:pt x="304" y="51"/>
                  </a:lnTo>
                  <a:lnTo>
                    <a:pt x="305" y="53"/>
                  </a:lnTo>
                  <a:lnTo>
                    <a:pt x="305" y="54"/>
                  </a:lnTo>
                  <a:lnTo>
                    <a:pt x="305" y="55"/>
                  </a:lnTo>
                  <a:lnTo>
                    <a:pt x="305" y="57"/>
                  </a:lnTo>
                  <a:lnTo>
                    <a:pt x="305" y="60"/>
                  </a:lnTo>
                  <a:lnTo>
                    <a:pt x="306" y="62"/>
                  </a:lnTo>
                  <a:lnTo>
                    <a:pt x="306" y="62"/>
                  </a:lnTo>
                  <a:lnTo>
                    <a:pt x="307" y="63"/>
                  </a:lnTo>
                  <a:lnTo>
                    <a:pt x="308" y="64"/>
                  </a:lnTo>
                  <a:lnTo>
                    <a:pt x="309" y="64"/>
                  </a:lnTo>
                  <a:lnTo>
                    <a:pt x="311" y="64"/>
                  </a:lnTo>
                  <a:lnTo>
                    <a:pt x="312" y="64"/>
                  </a:lnTo>
                  <a:lnTo>
                    <a:pt x="313" y="64"/>
                  </a:lnTo>
                  <a:lnTo>
                    <a:pt x="316" y="62"/>
                  </a:lnTo>
                  <a:lnTo>
                    <a:pt x="318" y="61"/>
                  </a:lnTo>
                  <a:lnTo>
                    <a:pt x="321" y="60"/>
                  </a:lnTo>
                  <a:lnTo>
                    <a:pt x="324" y="59"/>
                  </a:lnTo>
                  <a:lnTo>
                    <a:pt x="326" y="59"/>
                  </a:lnTo>
                  <a:lnTo>
                    <a:pt x="327" y="59"/>
                  </a:lnTo>
                  <a:lnTo>
                    <a:pt x="329" y="60"/>
                  </a:lnTo>
                  <a:lnTo>
                    <a:pt x="330" y="61"/>
                  </a:lnTo>
                  <a:lnTo>
                    <a:pt x="331" y="62"/>
                  </a:lnTo>
                  <a:lnTo>
                    <a:pt x="333" y="63"/>
                  </a:lnTo>
                  <a:lnTo>
                    <a:pt x="334" y="65"/>
                  </a:lnTo>
                  <a:lnTo>
                    <a:pt x="334" y="66"/>
                  </a:lnTo>
                  <a:lnTo>
                    <a:pt x="335" y="67"/>
                  </a:lnTo>
                  <a:lnTo>
                    <a:pt x="335" y="69"/>
                  </a:lnTo>
                  <a:lnTo>
                    <a:pt x="335" y="71"/>
                  </a:lnTo>
                  <a:lnTo>
                    <a:pt x="335" y="74"/>
                  </a:lnTo>
                  <a:lnTo>
                    <a:pt x="335" y="76"/>
                  </a:lnTo>
                  <a:lnTo>
                    <a:pt x="336" y="77"/>
                  </a:lnTo>
                  <a:lnTo>
                    <a:pt x="337" y="78"/>
                  </a:lnTo>
                  <a:lnTo>
                    <a:pt x="338" y="79"/>
                  </a:lnTo>
                  <a:lnTo>
                    <a:pt x="339" y="80"/>
                  </a:lnTo>
                  <a:lnTo>
                    <a:pt x="342" y="83"/>
                  </a:lnTo>
                  <a:lnTo>
                    <a:pt x="347" y="86"/>
                  </a:lnTo>
                  <a:lnTo>
                    <a:pt x="350" y="88"/>
                  </a:lnTo>
                  <a:lnTo>
                    <a:pt x="351" y="89"/>
                  </a:lnTo>
                  <a:lnTo>
                    <a:pt x="352" y="89"/>
                  </a:lnTo>
                  <a:lnTo>
                    <a:pt x="352" y="91"/>
                  </a:lnTo>
                  <a:lnTo>
                    <a:pt x="352" y="92"/>
                  </a:lnTo>
                  <a:lnTo>
                    <a:pt x="352" y="93"/>
                  </a:lnTo>
                  <a:lnTo>
                    <a:pt x="352" y="94"/>
                  </a:lnTo>
                  <a:lnTo>
                    <a:pt x="352" y="95"/>
                  </a:lnTo>
                  <a:lnTo>
                    <a:pt x="351" y="97"/>
                  </a:lnTo>
                  <a:lnTo>
                    <a:pt x="350" y="99"/>
                  </a:lnTo>
                  <a:lnTo>
                    <a:pt x="350" y="100"/>
                  </a:lnTo>
                  <a:lnTo>
                    <a:pt x="350" y="100"/>
                  </a:lnTo>
                  <a:lnTo>
                    <a:pt x="350" y="104"/>
                  </a:lnTo>
                  <a:lnTo>
                    <a:pt x="349" y="110"/>
                  </a:lnTo>
                  <a:lnTo>
                    <a:pt x="349" y="111"/>
                  </a:lnTo>
                  <a:lnTo>
                    <a:pt x="350" y="114"/>
                  </a:lnTo>
                  <a:lnTo>
                    <a:pt x="352" y="119"/>
                  </a:lnTo>
                  <a:lnTo>
                    <a:pt x="352" y="121"/>
                  </a:lnTo>
                  <a:lnTo>
                    <a:pt x="352" y="123"/>
                  </a:lnTo>
                  <a:lnTo>
                    <a:pt x="356" y="128"/>
                  </a:lnTo>
                  <a:lnTo>
                    <a:pt x="357" y="129"/>
                  </a:lnTo>
                  <a:lnTo>
                    <a:pt x="357" y="130"/>
                  </a:lnTo>
                  <a:lnTo>
                    <a:pt x="358" y="134"/>
                  </a:lnTo>
                  <a:lnTo>
                    <a:pt x="359" y="136"/>
                  </a:lnTo>
                  <a:lnTo>
                    <a:pt x="359" y="138"/>
                  </a:lnTo>
                  <a:lnTo>
                    <a:pt x="358" y="140"/>
                  </a:lnTo>
                  <a:lnTo>
                    <a:pt x="357" y="143"/>
                  </a:lnTo>
                  <a:lnTo>
                    <a:pt x="356" y="145"/>
                  </a:lnTo>
                  <a:lnTo>
                    <a:pt x="354" y="146"/>
                  </a:lnTo>
                  <a:lnTo>
                    <a:pt x="352" y="148"/>
                  </a:lnTo>
                  <a:lnTo>
                    <a:pt x="351" y="150"/>
                  </a:lnTo>
                  <a:lnTo>
                    <a:pt x="349" y="151"/>
                  </a:lnTo>
                  <a:lnTo>
                    <a:pt x="347" y="151"/>
                  </a:lnTo>
                  <a:lnTo>
                    <a:pt x="344" y="152"/>
                  </a:lnTo>
                  <a:lnTo>
                    <a:pt x="343" y="152"/>
                  </a:lnTo>
                  <a:lnTo>
                    <a:pt x="341" y="153"/>
                  </a:lnTo>
                  <a:lnTo>
                    <a:pt x="341" y="154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39" y="158"/>
                  </a:lnTo>
                  <a:lnTo>
                    <a:pt x="337" y="160"/>
                  </a:lnTo>
                  <a:lnTo>
                    <a:pt x="336" y="162"/>
                  </a:lnTo>
                  <a:lnTo>
                    <a:pt x="334" y="164"/>
                  </a:lnTo>
                  <a:lnTo>
                    <a:pt x="331" y="168"/>
                  </a:lnTo>
                  <a:lnTo>
                    <a:pt x="329" y="171"/>
                  </a:lnTo>
                  <a:lnTo>
                    <a:pt x="329" y="174"/>
                  </a:lnTo>
                  <a:lnTo>
                    <a:pt x="328" y="177"/>
                  </a:lnTo>
                  <a:lnTo>
                    <a:pt x="327" y="179"/>
                  </a:lnTo>
                  <a:lnTo>
                    <a:pt x="326" y="183"/>
                  </a:lnTo>
                  <a:lnTo>
                    <a:pt x="325" y="187"/>
                  </a:lnTo>
                  <a:lnTo>
                    <a:pt x="321" y="202"/>
                  </a:lnTo>
                  <a:lnTo>
                    <a:pt x="321" y="203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15" y="211"/>
                  </a:lnTo>
                  <a:lnTo>
                    <a:pt x="310" y="215"/>
                  </a:lnTo>
                  <a:lnTo>
                    <a:pt x="306" y="218"/>
                  </a:lnTo>
                  <a:lnTo>
                    <a:pt x="304" y="221"/>
                  </a:lnTo>
                  <a:lnTo>
                    <a:pt x="299" y="224"/>
                  </a:lnTo>
                  <a:lnTo>
                    <a:pt x="297" y="225"/>
                  </a:lnTo>
                  <a:lnTo>
                    <a:pt x="295" y="226"/>
                  </a:lnTo>
                  <a:lnTo>
                    <a:pt x="292" y="227"/>
                  </a:lnTo>
                  <a:lnTo>
                    <a:pt x="284" y="229"/>
                  </a:lnTo>
                  <a:lnTo>
                    <a:pt x="283" y="230"/>
                  </a:lnTo>
                  <a:lnTo>
                    <a:pt x="281" y="231"/>
                  </a:lnTo>
                  <a:lnTo>
                    <a:pt x="278" y="233"/>
                  </a:lnTo>
                  <a:lnTo>
                    <a:pt x="276" y="235"/>
                  </a:lnTo>
                  <a:lnTo>
                    <a:pt x="272" y="238"/>
                  </a:lnTo>
                  <a:lnTo>
                    <a:pt x="269" y="241"/>
                  </a:lnTo>
                  <a:lnTo>
                    <a:pt x="263" y="247"/>
                  </a:lnTo>
                  <a:lnTo>
                    <a:pt x="258" y="252"/>
                  </a:lnTo>
                  <a:lnTo>
                    <a:pt x="255" y="256"/>
                  </a:lnTo>
                  <a:lnTo>
                    <a:pt x="248" y="264"/>
                  </a:lnTo>
                  <a:lnTo>
                    <a:pt x="244" y="268"/>
                  </a:lnTo>
                  <a:lnTo>
                    <a:pt x="242" y="270"/>
                  </a:lnTo>
                  <a:lnTo>
                    <a:pt x="240" y="273"/>
                  </a:lnTo>
                  <a:lnTo>
                    <a:pt x="238" y="276"/>
                  </a:lnTo>
                  <a:lnTo>
                    <a:pt x="235" y="282"/>
                  </a:lnTo>
                  <a:lnTo>
                    <a:pt x="234" y="284"/>
                  </a:lnTo>
                  <a:lnTo>
                    <a:pt x="233" y="286"/>
                  </a:lnTo>
                  <a:lnTo>
                    <a:pt x="231" y="288"/>
                  </a:lnTo>
                  <a:lnTo>
                    <a:pt x="227" y="291"/>
                  </a:lnTo>
                  <a:lnTo>
                    <a:pt x="225" y="293"/>
                  </a:lnTo>
                  <a:lnTo>
                    <a:pt x="223" y="294"/>
                  </a:lnTo>
                  <a:lnTo>
                    <a:pt x="220" y="296"/>
                  </a:lnTo>
                  <a:lnTo>
                    <a:pt x="219" y="298"/>
                  </a:lnTo>
                  <a:lnTo>
                    <a:pt x="218" y="300"/>
                  </a:lnTo>
                  <a:lnTo>
                    <a:pt x="217" y="301"/>
                  </a:lnTo>
                  <a:lnTo>
                    <a:pt x="217" y="303"/>
                  </a:lnTo>
                  <a:lnTo>
                    <a:pt x="216" y="304"/>
                  </a:lnTo>
                  <a:lnTo>
                    <a:pt x="215" y="310"/>
                  </a:lnTo>
                  <a:lnTo>
                    <a:pt x="215" y="312"/>
                  </a:lnTo>
                  <a:lnTo>
                    <a:pt x="215" y="313"/>
                  </a:lnTo>
                  <a:lnTo>
                    <a:pt x="214" y="314"/>
                  </a:lnTo>
                  <a:lnTo>
                    <a:pt x="214" y="315"/>
                  </a:lnTo>
                  <a:lnTo>
                    <a:pt x="211" y="317"/>
                  </a:lnTo>
                  <a:lnTo>
                    <a:pt x="208" y="320"/>
                  </a:lnTo>
                  <a:lnTo>
                    <a:pt x="205" y="321"/>
                  </a:lnTo>
                  <a:lnTo>
                    <a:pt x="204" y="322"/>
                  </a:lnTo>
                  <a:lnTo>
                    <a:pt x="203" y="322"/>
                  </a:lnTo>
                  <a:lnTo>
                    <a:pt x="200" y="322"/>
                  </a:lnTo>
                  <a:lnTo>
                    <a:pt x="198" y="321"/>
                  </a:lnTo>
                  <a:lnTo>
                    <a:pt x="197" y="321"/>
                  </a:lnTo>
                  <a:lnTo>
                    <a:pt x="195" y="320"/>
                  </a:lnTo>
                  <a:lnTo>
                    <a:pt x="189" y="315"/>
                  </a:lnTo>
                  <a:lnTo>
                    <a:pt x="187" y="315"/>
                  </a:lnTo>
                  <a:lnTo>
                    <a:pt x="181" y="313"/>
                  </a:lnTo>
                  <a:lnTo>
                    <a:pt x="177" y="311"/>
                  </a:lnTo>
                  <a:lnTo>
                    <a:pt x="176" y="310"/>
                  </a:lnTo>
                  <a:lnTo>
                    <a:pt x="175" y="310"/>
                  </a:lnTo>
                  <a:lnTo>
                    <a:pt x="174" y="309"/>
                  </a:lnTo>
                  <a:lnTo>
                    <a:pt x="173" y="308"/>
                  </a:lnTo>
                  <a:lnTo>
                    <a:pt x="172" y="306"/>
                  </a:lnTo>
                  <a:lnTo>
                    <a:pt x="169" y="301"/>
                  </a:lnTo>
                  <a:lnTo>
                    <a:pt x="165" y="294"/>
                  </a:lnTo>
                  <a:lnTo>
                    <a:pt x="163" y="291"/>
                  </a:lnTo>
                  <a:lnTo>
                    <a:pt x="160" y="287"/>
                  </a:lnTo>
                  <a:lnTo>
                    <a:pt x="159" y="285"/>
                  </a:lnTo>
                  <a:lnTo>
                    <a:pt x="157" y="283"/>
                  </a:lnTo>
                  <a:lnTo>
                    <a:pt x="155" y="281"/>
                  </a:lnTo>
                  <a:lnTo>
                    <a:pt x="151" y="280"/>
                  </a:lnTo>
                  <a:lnTo>
                    <a:pt x="149" y="278"/>
                  </a:lnTo>
                  <a:lnTo>
                    <a:pt x="147" y="277"/>
                  </a:lnTo>
                  <a:lnTo>
                    <a:pt x="147" y="277"/>
                  </a:lnTo>
                  <a:lnTo>
                    <a:pt x="145" y="277"/>
                  </a:lnTo>
                  <a:lnTo>
                    <a:pt x="144" y="277"/>
                  </a:lnTo>
                  <a:lnTo>
                    <a:pt x="142" y="277"/>
                  </a:lnTo>
                  <a:lnTo>
                    <a:pt x="140" y="278"/>
                  </a:lnTo>
                  <a:lnTo>
                    <a:pt x="138" y="280"/>
                  </a:lnTo>
                  <a:lnTo>
                    <a:pt x="134" y="282"/>
                  </a:lnTo>
                  <a:lnTo>
                    <a:pt x="133" y="283"/>
                  </a:lnTo>
                  <a:lnTo>
                    <a:pt x="130" y="285"/>
                  </a:lnTo>
                  <a:lnTo>
                    <a:pt x="128" y="286"/>
                  </a:lnTo>
                  <a:lnTo>
                    <a:pt x="124" y="287"/>
                  </a:lnTo>
                  <a:lnTo>
                    <a:pt x="120" y="288"/>
                  </a:lnTo>
                  <a:lnTo>
                    <a:pt x="116" y="288"/>
                  </a:lnTo>
                  <a:lnTo>
                    <a:pt x="112" y="287"/>
                  </a:lnTo>
                  <a:lnTo>
                    <a:pt x="110" y="287"/>
                  </a:lnTo>
                  <a:lnTo>
                    <a:pt x="108" y="287"/>
                  </a:lnTo>
                  <a:lnTo>
                    <a:pt x="105" y="288"/>
                  </a:lnTo>
                  <a:lnTo>
                    <a:pt x="102" y="289"/>
                  </a:lnTo>
                  <a:lnTo>
                    <a:pt x="96" y="291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5" y="296"/>
                  </a:lnTo>
                  <a:lnTo>
                    <a:pt x="79" y="301"/>
                  </a:lnTo>
                  <a:lnTo>
                    <a:pt x="76" y="303"/>
                  </a:lnTo>
                  <a:lnTo>
                    <a:pt x="73" y="304"/>
                  </a:lnTo>
                  <a:lnTo>
                    <a:pt x="73" y="305"/>
                  </a:lnTo>
                  <a:lnTo>
                    <a:pt x="72" y="306"/>
                  </a:lnTo>
                  <a:lnTo>
                    <a:pt x="71" y="308"/>
                  </a:lnTo>
                  <a:lnTo>
                    <a:pt x="71" y="310"/>
                  </a:lnTo>
                  <a:lnTo>
                    <a:pt x="71" y="311"/>
                  </a:lnTo>
                  <a:lnTo>
                    <a:pt x="71" y="316"/>
                  </a:lnTo>
                  <a:lnTo>
                    <a:pt x="71" y="317"/>
                  </a:lnTo>
                  <a:lnTo>
                    <a:pt x="70" y="320"/>
                  </a:lnTo>
                  <a:lnTo>
                    <a:pt x="70" y="324"/>
                  </a:lnTo>
                  <a:lnTo>
                    <a:pt x="69" y="327"/>
                  </a:lnTo>
                  <a:lnTo>
                    <a:pt x="68" y="328"/>
                  </a:lnTo>
                  <a:lnTo>
                    <a:pt x="68" y="330"/>
                  </a:lnTo>
                  <a:lnTo>
                    <a:pt x="67" y="331"/>
                  </a:lnTo>
                  <a:lnTo>
                    <a:pt x="66" y="332"/>
                  </a:lnTo>
                  <a:lnTo>
                    <a:pt x="63" y="334"/>
                  </a:lnTo>
                  <a:lnTo>
                    <a:pt x="61" y="335"/>
                  </a:lnTo>
                  <a:lnTo>
                    <a:pt x="60" y="336"/>
                  </a:lnTo>
                  <a:lnTo>
                    <a:pt x="58" y="338"/>
                  </a:lnTo>
                  <a:lnTo>
                    <a:pt x="56" y="339"/>
                  </a:lnTo>
                  <a:lnTo>
                    <a:pt x="51" y="344"/>
                  </a:lnTo>
                  <a:lnTo>
                    <a:pt x="47" y="347"/>
                  </a:lnTo>
                  <a:lnTo>
                    <a:pt x="45" y="349"/>
                  </a:lnTo>
                  <a:lnTo>
                    <a:pt x="38" y="351"/>
                  </a:lnTo>
                  <a:lnTo>
                    <a:pt x="37" y="352"/>
                  </a:lnTo>
                  <a:lnTo>
                    <a:pt x="35" y="353"/>
                  </a:lnTo>
                  <a:lnTo>
                    <a:pt x="34" y="353"/>
                  </a:lnTo>
                  <a:lnTo>
                    <a:pt x="33" y="353"/>
                  </a:lnTo>
                  <a:lnTo>
                    <a:pt x="31" y="354"/>
                  </a:lnTo>
                  <a:lnTo>
                    <a:pt x="30" y="353"/>
                  </a:lnTo>
                  <a:lnTo>
                    <a:pt x="25" y="353"/>
                  </a:lnTo>
                  <a:lnTo>
                    <a:pt x="23" y="353"/>
                  </a:lnTo>
                  <a:lnTo>
                    <a:pt x="22" y="353"/>
                  </a:lnTo>
                  <a:lnTo>
                    <a:pt x="22" y="353"/>
                  </a:lnTo>
                  <a:lnTo>
                    <a:pt x="21" y="353"/>
                  </a:lnTo>
                  <a:lnTo>
                    <a:pt x="20" y="354"/>
                  </a:lnTo>
                  <a:lnTo>
                    <a:pt x="20" y="353"/>
                  </a:lnTo>
                  <a:lnTo>
                    <a:pt x="19" y="352"/>
                  </a:lnTo>
                  <a:lnTo>
                    <a:pt x="17" y="351"/>
                  </a:lnTo>
                  <a:lnTo>
                    <a:pt x="13" y="349"/>
                  </a:lnTo>
                  <a:lnTo>
                    <a:pt x="6" y="347"/>
                  </a:lnTo>
                  <a:lnTo>
                    <a:pt x="4" y="346"/>
                  </a:lnTo>
                  <a:lnTo>
                    <a:pt x="3" y="346"/>
                  </a:lnTo>
                  <a:lnTo>
                    <a:pt x="2" y="345"/>
                  </a:lnTo>
                  <a:lnTo>
                    <a:pt x="1" y="344"/>
                  </a:lnTo>
                  <a:lnTo>
                    <a:pt x="0" y="341"/>
                  </a:lnTo>
                  <a:lnTo>
                    <a:pt x="0" y="340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2" y="329"/>
                  </a:lnTo>
                  <a:lnTo>
                    <a:pt x="3" y="327"/>
                  </a:lnTo>
                  <a:lnTo>
                    <a:pt x="3" y="324"/>
                  </a:lnTo>
                  <a:lnTo>
                    <a:pt x="3" y="319"/>
                  </a:lnTo>
                  <a:lnTo>
                    <a:pt x="3" y="311"/>
                  </a:lnTo>
                  <a:lnTo>
                    <a:pt x="4" y="308"/>
                  </a:lnTo>
                  <a:lnTo>
                    <a:pt x="4" y="305"/>
                  </a:lnTo>
                  <a:lnTo>
                    <a:pt x="4" y="303"/>
                  </a:lnTo>
                  <a:lnTo>
                    <a:pt x="5" y="302"/>
                  </a:lnTo>
                  <a:lnTo>
                    <a:pt x="8" y="295"/>
                  </a:lnTo>
                  <a:lnTo>
                    <a:pt x="9" y="291"/>
                  </a:lnTo>
                  <a:lnTo>
                    <a:pt x="10" y="287"/>
                  </a:lnTo>
                  <a:lnTo>
                    <a:pt x="11" y="285"/>
                  </a:lnTo>
                  <a:lnTo>
                    <a:pt x="11" y="282"/>
                  </a:lnTo>
                  <a:lnTo>
                    <a:pt x="11" y="279"/>
                  </a:lnTo>
                  <a:lnTo>
                    <a:pt x="11" y="277"/>
                  </a:lnTo>
                  <a:lnTo>
                    <a:pt x="10" y="270"/>
                  </a:lnTo>
                  <a:lnTo>
                    <a:pt x="10" y="266"/>
                  </a:lnTo>
                  <a:lnTo>
                    <a:pt x="10" y="263"/>
                  </a:lnTo>
                  <a:lnTo>
                    <a:pt x="11" y="252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2" y="246"/>
                  </a:lnTo>
                  <a:lnTo>
                    <a:pt x="15" y="238"/>
                  </a:lnTo>
                  <a:lnTo>
                    <a:pt x="17" y="233"/>
                  </a:lnTo>
                  <a:lnTo>
                    <a:pt x="18" y="229"/>
                  </a:lnTo>
                  <a:lnTo>
                    <a:pt x="19" y="228"/>
                  </a:lnTo>
                  <a:lnTo>
                    <a:pt x="20" y="226"/>
                  </a:lnTo>
                  <a:lnTo>
                    <a:pt x="22" y="225"/>
                  </a:lnTo>
                  <a:lnTo>
                    <a:pt x="22" y="224"/>
                  </a:lnTo>
                  <a:lnTo>
                    <a:pt x="27" y="220"/>
                  </a:lnTo>
                  <a:lnTo>
                    <a:pt x="28" y="219"/>
                  </a:lnTo>
                  <a:lnTo>
                    <a:pt x="29" y="218"/>
                  </a:lnTo>
                  <a:lnTo>
                    <a:pt x="29" y="217"/>
                  </a:lnTo>
                  <a:lnTo>
                    <a:pt x="30" y="215"/>
                  </a:lnTo>
                  <a:lnTo>
                    <a:pt x="30" y="214"/>
                  </a:lnTo>
                  <a:lnTo>
                    <a:pt x="31" y="212"/>
                  </a:lnTo>
                  <a:lnTo>
                    <a:pt x="31" y="209"/>
                  </a:lnTo>
                  <a:lnTo>
                    <a:pt x="31" y="205"/>
                  </a:lnTo>
                  <a:lnTo>
                    <a:pt x="30" y="200"/>
                  </a:lnTo>
                  <a:lnTo>
                    <a:pt x="30" y="195"/>
                  </a:lnTo>
                  <a:lnTo>
                    <a:pt x="29" y="183"/>
                  </a:lnTo>
                  <a:lnTo>
                    <a:pt x="27" y="173"/>
                  </a:lnTo>
                  <a:lnTo>
                    <a:pt x="26" y="163"/>
                  </a:lnTo>
                  <a:lnTo>
                    <a:pt x="25" y="156"/>
                  </a:lnTo>
                  <a:lnTo>
                    <a:pt x="24" y="155"/>
                  </a:lnTo>
                  <a:lnTo>
                    <a:pt x="24" y="153"/>
                  </a:lnTo>
                  <a:lnTo>
                    <a:pt x="23" y="152"/>
                  </a:lnTo>
                  <a:lnTo>
                    <a:pt x="22" y="152"/>
                  </a:lnTo>
                  <a:lnTo>
                    <a:pt x="21" y="151"/>
                  </a:lnTo>
                  <a:lnTo>
                    <a:pt x="20" y="151"/>
                  </a:lnTo>
                  <a:lnTo>
                    <a:pt x="18" y="151"/>
                  </a:lnTo>
                  <a:lnTo>
                    <a:pt x="17" y="151"/>
                  </a:lnTo>
                  <a:lnTo>
                    <a:pt x="18" y="151"/>
                  </a:lnTo>
                  <a:lnTo>
                    <a:pt x="18" y="150"/>
                  </a:lnTo>
                  <a:lnTo>
                    <a:pt x="19" y="148"/>
                  </a:lnTo>
                  <a:lnTo>
                    <a:pt x="19" y="147"/>
                  </a:lnTo>
                  <a:lnTo>
                    <a:pt x="19" y="145"/>
                  </a:lnTo>
                  <a:lnTo>
                    <a:pt x="19" y="144"/>
                  </a:lnTo>
                  <a:lnTo>
                    <a:pt x="19" y="140"/>
                  </a:lnTo>
                  <a:lnTo>
                    <a:pt x="19" y="138"/>
                  </a:lnTo>
                  <a:lnTo>
                    <a:pt x="18" y="134"/>
                  </a:lnTo>
                  <a:lnTo>
                    <a:pt x="17" y="132"/>
                  </a:lnTo>
                  <a:lnTo>
                    <a:pt x="15" y="126"/>
                  </a:lnTo>
                  <a:lnTo>
                    <a:pt x="14" y="124"/>
                  </a:lnTo>
                  <a:lnTo>
                    <a:pt x="14" y="122"/>
                  </a:lnTo>
                  <a:lnTo>
                    <a:pt x="13" y="120"/>
                  </a:lnTo>
                  <a:lnTo>
                    <a:pt x="14" y="117"/>
                  </a:lnTo>
                  <a:lnTo>
                    <a:pt x="14" y="116"/>
                  </a:lnTo>
                  <a:lnTo>
                    <a:pt x="14" y="115"/>
                  </a:lnTo>
                  <a:lnTo>
                    <a:pt x="15" y="114"/>
                  </a:lnTo>
                  <a:lnTo>
                    <a:pt x="16" y="113"/>
                  </a:lnTo>
                  <a:lnTo>
                    <a:pt x="17" y="112"/>
                  </a:lnTo>
                  <a:lnTo>
                    <a:pt x="18" y="111"/>
                  </a:lnTo>
                  <a:lnTo>
                    <a:pt x="19" y="110"/>
                  </a:lnTo>
                  <a:lnTo>
                    <a:pt x="21" y="109"/>
                  </a:lnTo>
                  <a:lnTo>
                    <a:pt x="22" y="109"/>
                  </a:lnTo>
                  <a:lnTo>
                    <a:pt x="25" y="108"/>
                  </a:lnTo>
                  <a:lnTo>
                    <a:pt x="28" y="107"/>
                  </a:lnTo>
                  <a:lnTo>
                    <a:pt x="30" y="106"/>
                  </a:lnTo>
                  <a:lnTo>
                    <a:pt x="32" y="106"/>
                  </a:lnTo>
                  <a:lnTo>
                    <a:pt x="34" y="106"/>
                  </a:lnTo>
                  <a:lnTo>
                    <a:pt x="41" y="106"/>
                  </a:lnTo>
                  <a:lnTo>
                    <a:pt x="48" y="107"/>
                  </a:lnTo>
                  <a:lnTo>
                    <a:pt x="52" y="107"/>
                  </a:lnTo>
                  <a:lnTo>
                    <a:pt x="55" y="107"/>
                  </a:lnTo>
                  <a:lnTo>
                    <a:pt x="58" y="108"/>
                  </a:lnTo>
                  <a:lnTo>
                    <a:pt x="61" y="109"/>
                  </a:lnTo>
                  <a:lnTo>
                    <a:pt x="72" y="112"/>
                  </a:lnTo>
                  <a:lnTo>
                    <a:pt x="75" y="113"/>
                  </a:lnTo>
                  <a:lnTo>
                    <a:pt x="79" y="113"/>
                  </a:lnTo>
                  <a:lnTo>
                    <a:pt x="81" y="113"/>
                  </a:lnTo>
                  <a:lnTo>
                    <a:pt x="84" y="113"/>
                  </a:lnTo>
                  <a:lnTo>
                    <a:pt x="86" y="113"/>
                  </a:lnTo>
                  <a:lnTo>
                    <a:pt x="88" y="112"/>
                  </a:lnTo>
                  <a:lnTo>
                    <a:pt x="90" y="112"/>
                  </a:lnTo>
                  <a:lnTo>
                    <a:pt x="90" y="111"/>
                  </a:lnTo>
                  <a:lnTo>
                    <a:pt x="92" y="111"/>
                  </a:lnTo>
                  <a:lnTo>
                    <a:pt x="93" y="111"/>
                  </a:lnTo>
                  <a:lnTo>
                    <a:pt x="94" y="110"/>
                  </a:lnTo>
                  <a:lnTo>
                    <a:pt x="95" y="108"/>
                  </a:lnTo>
                  <a:lnTo>
                    <a:pt x="97" y="106"/>
                  </a:lnTo>
                  <a:lnTo>
                    <a:pt x="99" y="102"/>
                  </a:lnTo>
                  <a:lnTo>
                    <a:pt x="101" y="99"/>
                  </a:lnTo>
                  <a:lnTo>
                    <a:pt x="102" y="95"/>
                  </a:lnTo>
                  <a:lnTo>
                    <a:pt x="103" y="91"/>
                  </a:lnTo>
                  <a:lnTo>
                    <a:pt x="104" y="89"/>
                  </a:lnTo>
                  <a:lnTo>
                    <a:pt x="106" y="86"/>
                  </a:lnTo>
                  <a:lnTo>
                    <a:pt x="113" y="77"/>
                  </a:lnTo>
                  <a:lnTo>
                    <a:pt x="115" y="72"/>
                  </a:lnTo>
                  <a:lnTo>
                    <a:pt x="117" y="67"/>
                  </a:lnTo>
                  <a:lnTo>
                    <a:pt x="119" y="65"/>
                  </a:lnTo>
                  <a:lnTo>
                    <a:pt x="120" y="62"/>
                  </a:lnTo>
                  <a:lnTo>
                    <a:pt x="120" y="59"/>
                  </a:lnTo>
                  <a:lnTo>
                    <a:pt x="120" y="55"/>
                  </a:lnTo>
                  <a:lnTo>
                    <a:pt x="121" y="53"/>
                  </a:lnTo>
                  <a:lnTo>
                    <a:pt x="121" y="51"/>
                  </a:lnTo>
                  <a:lnTo>
                    <a:pt x="123" y="49"/>
                  </a:lnTo>
                  <a:lnTo>
                    <a:pt x="124" y="48"/>
                  </a:lnTo>
                  <a:lnTo>
                    <a:pt x="124" y="47"/>
                  </a:lnTo>
                  <a:lnTo>
                    <a:pt x="126" y="47"/>
                  </a:lnTo>
                  <a:lnTo>
                    <a:pt x="127" y="47"/>
                  </a:lnTo>
                  <a:lnTo>
                    <a:pt x="129" y="47"/>
                  </a:lnTo>
                  <a:lnTo>
                    <a:pt x="131" y="48"/>
                  </a:lnTo>
                  <a:lnTo>
                    <a:pt x="139" y="51"/>
                  </a:lnTo>
                  <a:lnTo>
                    <a:pt x="141" y="52"/>
                  </a:lnTo>
                  <a:lnTo>
                    <a:pt x="142" y="53"/>
                  </a:lnTo>
                  <a:lnTo>
                    <a:pt x="145" y="53"/>
                  </a:lnTo>
                  <a:lnTo>
                    <a:pt x="147" y="52"/>
                  </a:lnTo>
                  <a:lnTo>
                    <a:pt x="148" y="52"/>
                  </a:lnTo>
                  <a:lnTo>
                    <a:pt x="149" y="51"/>
                  </a:lnTo>
                  <a:lnTo>
                    <a:pt x="151" y="50"/>
                  </a:lnTo>
                  <a:lnTo>
                    <a:pt x="153" y="48"/>
                  </a:lnTo>
                  <a:lnTo>
                    <a:pt x="155" y="46"/>
                  </a:lnTo>
                  <a:lnTo>
                    <a:pt x="156" y="44"/>
                  </a:lnTo>
                  <a:lnTo>
                    <a:pt x="157" y="41"/>
                  </a:lnTo>
                  <a:lnTo>
                    <a:pt x="159" y="37"/>
                  </a:lnTo>
                  <a:lnTo>
                    <a:pt x="159" y="33"/>
                  </a:lnTo>
                  <a:lnTo>
                    <a:pt x="159" y="30"/>
                  </a:lnTo>
                  <a:lnTo>
                    <a:pt x="160" y="30"/>
                  </a:lnTo>
                  <a:lnTo>
                    <a:pt x="161" y="29"/>
                  </a:lnTo>
                  <a:lnTo>
                    <a:pt x="166" y="26"/>
                  </a:lnTo>
                  <a:lnTo>
                    <a:pt x="171" y="23"/>
                  </a:lnTo>
                  <a:lnTo>
                    <a:pt x="173" y="22"/>
                  </a:lnTo>
                  <a:lnTo>
                    <a:pt x="174" y="21"/>
                  </a:lnTo>
                  <a:lnTo>
                    <a:pt x="175" y="21"/>
                  </a:lnTo>
                  <a:lnTo>
                    <a:pt x="179" y="14"/>
                  </a:lnTo>
                  <a:lnTo>
                    <a:pt x="181" y="12"/>
                  </a:lnTo>
                  <a:lnTo>
                    <a:pt x="182" y="10"/>
                  </a:lnTo>
                  <a:lnTo>
                    <a:pt x="183" y="9"/>
                  </a:lnTo>
                  <a:lnTo>
                    <a:pt x="185" y="9"/>
                  </a:lnTo>
                  <a:lnTo>
                    <a:pt x="186" y="8"/>
                  </a:lnTo>
                  <a:lnTo>
                    <a:pt x="189" y="7"/>
                  </a:lnTo>
                  <a:lnTo>
                    <a:pt x="191" y="6"/>
                  </a:lnTo>
                  <a:lnTo>
                    <a:pt x="193" y="6"/>
                  </a:lnTo>
                  <a:lnTo>
                    <a:pt x="193" y="6"/>
                  </a:lnTo>
                  <a:lnTo>
                    <a:pt x="196" y="6"/>
                  </a:lnTo>
                  <a:lnTo>
                    <a:pt x="204" y="8"/>
                  </a:lnTo>
                  <a:lnTo>
                    <a:pt x="205" y="8"/>
                  </a:lnTo>
                  <a:lnTo>
                    <a:pt x="209" y="7"/>
                  </a:lnTo>
                  <a:lnTo>
                    <a:pt x="213" y="6"/>
                  </a:lnTo>
                  <a:lnTo>
                    <a:pt x="215" y="5"/>
                  </a:lnTo>
                  <a:lnTo>
                    <a:pt x="219" y="4"/>
                  </a:lnTo>
                  <a:lnTo>
                    <a:pt x="230" y="0"/>
                  </a:lnTo>
                  <a:lnTo>
                    <a:pt x="232" y="0"/>
                  </a:lnTo>
                  <a:lnTo>
                    <a:pt x="232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1" name="Freeform 8">
              <a:extLst>
                <a:ext uri="{FF2B5EF4-FFF2-40B4-BE49-F238E27FC236}">
                  <a16:creationId xmlns:a16="http://schemas.microsoft.com/office/drawing/2014/main" id="{E3C96D71-3061-4590-8B34-86ED80A2A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8" y="1813"/>
              <a:ext cx="332" cy="372"/>
            </a:xfrm>
            <a:custGeom>
              <a:avLst/>
              <a:gdLst>
                <a:gd name="T0" fmla="*/ 127 w 332"/>
                <a:gd name="T1" fmla="*/ 6 h 372"/>
                <a:gd name="T2" fmla="*/ 132 w 332"/>
                <a:gd name="T3" fmla="*/ 1 h 372"/>
                <a:gd name="T4" fmla="*/ 148 w 332"/>
                <a:gd name="T5" fmla="*/ 7 h 372"/>
                <a:gd name="T6" fmla="*/ 205 w 332"/>
                <a:gd name="T7" fmla="*/ 17 h 372"/>
                <a:gd name="T8" fmla="*/ 241 w 332"/>
                <a:gd name="T9" fmla="*/ 11 h 372"/>
                <a:gd name="T10" fmla="*/ 257 w 332"/>
                <a:gd name="T11" fmla="*/ 11 h 372"/>
                <a:gd name="T12" fmla="*/ 287 w 332"/>
                <a:gd name="T13" fmla="*/ 18 h 372"/>
                <a:gd name="T14" fmla="*/ 303 w 332"/>
                <a:gd name="T15" fmla="*/ 25 h 372"/>
                <a:gd name="T16" fmla="*/ 321 w 332"/>
                <a:gd name="T17" fmla="*/ 28 h 372"/>
                <a:gd name="T18" fmla="*/ 332 w 332"/>
                <a:gd name="T19" fmla="*/ 48 h 372"/>
                <a:gd name="T20" fmla="*/ 327 w 332"/>
                <a:gd name="T21" fmla="*/ 70 h 372"/>
                <a:gd name="T22" fmla="*/ 303 w 332"/>
                <a:gd name="T23" fmla="*/ 102 h 372"/>
                <a:gd name="T24" fmla="*/ 285 w 332"/>
                <a:gd name="T25" fmla="*/ 113 h 372"/>
                <a:gd name="T26" fmla="*/ 276 w 332"/>
                <a:gd name="T27" fmla="*/ 134 h 372"/>
                <a:gd name="T28" fmla="*/ 299 w 332"/>
                <a:gd name="T29" fmla="*/ 147 h 372"/>
                <a:gd name="T30" fmla="*/ 328 w 332"/>
                <a:gd name="T31" fmla="*/ 160 h 372"/>
                <a:gd name="T32" fmla="*/ 310 w 332"/>
                <a:gd name="T33" fmla="*/ 179 h 372"/>
                <a:gd name="T34" fmla="*/ 295 w 332"/>
                <a:gd name="T35" fmla="*/ 198 h 372"/>
                <a:gd name="T36" fmla="*/ 284 w 332"/>
                <a:gd name="T37" fmla="*/ 214 h 372"/>
                <a:gd name="T38" fmla="*/ 276 w 332"/>
                <a:gd name="T39" fmla="*/ 229 h 372"/>
                <a:gd name="T40" fmla="*/ 276 w 332"/>
                <a:gd name="T41" fmla="*/ 245 h 372"/>
                <a:gd name="T42" fmla="*/ 264 w 332"/>
                <a:gd name="T43" fmla="*/ 266 h 372"/>
                <a:gd name="T44" fmla="*/ 254 w 332"/>
                <a:gd name="T45" fmla="*/ 289 h 372"/>
                <a:gd name="T46" fmla="*/ 228 w 332"/>
                <a:gd name="T47" fmla="*/ 313 h 372"/>
                <a:gd name="T48" fmla="*/ 217 w 332"/>
                <a:gd name="T49" fmla="*/ 329 h 372"/>
                <a:gd name="T50" fmla="*/ 208 w 332"/>
                <a:gd name="T51" fmla="*/ 343 h 372"/>
                <a:gd name="T52" fmla="*/ 187 w 332"/>
                <a:gd name="T53" fmla="*/ 347 h 372"/>
                <a:gd name="T54" fmla="*/ 180 w 332"/>
                <a:gd name="T55" fmla="*/ 344 h 372"/>
                <a:gd name="T56" fmla="*/ 178 w 332"/>
                <a:gd name="T57" fmla="*/ 351 h 372"/>
                <a:gd name="T58" fmla="*/ 171 w 332"/>
                <a:gd name="T59" fmla="*/ 346 h 372"/>
                <a:gd name="T60" fmla="*/ 148 w 332"/>
                <a:gd name="T61" fmla="*/ 348 h 372"/>
                <a:gd name="T62" fmla="*/ 124 w 332"/>
                <a:gd name="T63" fmla="*/ 349 h 372"/>
                <a:gd name="T64" fmla="*/ 109 w 332"/>
                <a:gd name="T65" fmla="*/ 363 h 372"/>
                <a:gd name="T66" fmla="*/ 92 w 332"/>
                <a:gd name="T67" fmla="*/ 368 h 372"/>
                <a:gd name="T68" fmla="*/ 72 w 332"/>
                <a:gd name="T69" fmla="*/ 352 h 372"/>
                <a:gd name="T70" fmla="*/ 52 w 332"/>
                <a:gd name="T71" fmla="*/ 340 h 372"/>
                <a:gd name="T72" fmla="*/ 22 w 332"/>
                <a:gd name="T73" fmla="*/ 303 h 372"/>
                <a:gd name="T74" fmla="*/ 7 w 332"/>
                <a:gd name="T75" fmla="*/ 273 h 372"/>
                <a:gd name="T76" fmla="*/ 14 w 332"/>
                <a:gd name="T77" fmla="*/ 255 h 372"/>
                <a:gd name="T78" fmla="*/ 44 w 332"/>
                <a:gd name="T79" fmla="*/ 257 h 372"/>
                <a:gd name="T80" fmla="*/ 58 w 332"/>
                <a:gd name="T81" fmla="*/ 248 h 372"/>
                <a:gd name="T82" fmla="*/ 58 w 332"/>
                <a:gd name="T83" fmla="*/ 229 h 372"/>
                <a:gd name="T84" fmla="*/ 58 w 332"/>
                <a:gd name="T85" fmla="*/ 205 h 372"/>
                <a:gd name="T86" fmla="*/ 67 w 332"/>
                <a:gd name="T87" fmla="*/ 186 h 372"/>
                <a:gd name="T88" fmla="*/ 54 w 332"/>
                <a:gd name="T89" fmla="*/ 163 h 372"/>
                <a:gd name="T90" fmla="*/ 34 w 332"/>
                <a:gd name="T91" fmla="*/ 143 h 372"/>
                <a:gd name="T92" fmla="*/ 18 w 332"/>
                <a:gd name="T93" fmla="*/ 125 h 372"/>
                <a:gd name="T94" fmla="*/ 14 w 332"/>
                <a:gd name="T95" fmla="*/ 120 h 372"/>
                <a:gd name="T96" fmla="*/ 0 w 332"/>
                <a:gd name="T97" fmla="*/ 115 h 372"/>
                <a:gd name="T98" fmla="*/ 14 w 332"/>
                <a:gd name="T99" fmla="*/ 93 h 372"/>
                <a:gd name="T100" fmla="*/ 39 w 332"/>
                <a:gd name="T101" fmla="*/ 83 h 372"/>
                <a:gd name="T102" fmla="*/ 63 w 332"/>
                <a:gd name="T103" fmla="*/ 67 h 372"/>
                <a:gd name="T104" fmla="*/ 72 w 332"/>
                <a:gd name="T105" fmla="*/ 50 h 372"/>
                <a:gd name="T106" fmla="*/ 92 w 332"/>
                <a:gd name="T107" fmla="*/ 47 h 372"/>
                <a:gd name="T108" fmla="*/ 95 w 332"/>
                <a:gd name="T109" fmla="*/ 33 h 372"/>
                <a:gd name="T110" fmla="*/ 99 w 332"/>
                <a:gd name="T111" fmla="*/ 14 h 372"/>
                <a:gd name="T112" fmla="*/ 116 w 332"/>
                <a:gd name="T113" fmla="*/ 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2" h="372">
                  <a:moveTo>
                    <a:pt x="121" y="0"/>
                  </a:moveTo>
                  <a:lnTo>
                    <a:pt x="122" y="1"/>
                  </a:lnTo>
                  <a:lnTo>
                    <a:pt x="122" y="1"/>
                  </a:lnTo>
                  <a:lnTo>
                    <a:pt x="122" y="1"/>
                  </a:lnTo>
                  <a:lnTo>
                    <a:pt x="123" y="2"/>
                  </a:lnTo>
                  <a:lnTo>
                    <a:pt x="123" y="3"/>
                  </a:lnTo>
                  <a:lnTo>
                    <a:pt x="125" y="4"/>
                  </a:lnTo>
                  <a:lnTo>
                    <a:pt x="127" y="6"/>
                  </a:lnTo>
                  <a:lnTo>
                    <a:pt x="128" y="6"/>
                  </a:lnTo>
                  <a:lnTo>
                    <a:pt x="128" y="6"/>
                  </a:lnTo>
                  <a:lnTo>
                    <a:pt x="128" y="6"/>
                  </a:lnTo>
                  <a:lnTo>
                    <a:pt x="128" y="5"/>
                  </a:lnTo>
                  <a:lnTo>
                    <a:pt x="129" y="3"/>
                  </a:lnTo>
                  <a:lnTo>
                    <a:pt x="129" y="2"/>
                  </a:lnTo>
                  <a:lnTo>
                    <a:pt x="130" y="2"/>
                  </a:lnTo>
                  <a:lnTo>
                    <a:pt x="132" y="1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3" y="1"/>
                  </a:lnTo>
                  <a:lnTo>
                    <a:pt x="134" y="1"/>
                  </a:lnTo>
                  <a:lnTo>
                    <a:pt x="139" y="4"/>
                  </a:lnTo>
                  <a:lnTo>
                    <a:pt x="144" y="6"/>
                  </a:lnTo>
                  <a:lnTo>
                    <a:pt x="146" y="6"/>
                  </a:lnTo>
                  <a:lnTo>
                    <a:pt x="148" y="7"/>
                  </a:lnTo>
                  <a:lnTo>
                    <a:pt x="158" y="11"/>
                  </a:lnTo>
                  <a:lnTo>
                    <a:pt x="162" y="11"/>
                  </a:lnTo>
                  <a:lnTo>
                    <a:pt x="166" y="12"/>
                  </a:lnTo>
                  <a:lnTo>
                    <a:pt x="171" y="13"/>
                  </a:lnTo>
                  <a:lnTo>
                    <a:pt x="176" y="14"/>
                  </a:lnTo>
                  <a:lnTo>
                    <a:pt x="187" y="15"/>
                  </a:lnTo>
                  <a:lnTo>
                    <a:pt x="199" y="16"/>
                  </a:lnTo>
                  <a:lnTo>
                    <a:pt x="205" y="17"/>
                  </a:lnTo>
                  <a:lnTo>
                    <a:pt x="212" y="17"/>
                  </a:lnTo>
                  <a:lnTo>
                    <a:pt x="217" y="17"/>
                  </a:lnTo>
                  <a:lnTo>
                    <a:pt x="222" y="16"/>
                  </a:lnTo>
                  <a:lnTo>
                    <a:pt x="227" y="15"/>
                  </a:lnTo>
                  <a:lnTo>
                    <a:pt x="230" y="14"/>
                  </a:lnTo>
                  <a:lnTo>
                    <a:pt x="236" y="13"/>
                  </a:lnTo>
                  <a:lnTo>
                    <a:pt x="239" y="11"/>
                  </a:lnTo>
                  <a:lnTo>
                    <a:pt x="241" y="11"/>
                  </a:lnTo>
                  <a:lnTo>
                    <a:pt x="244" y="8"/>
                  </a:lnTo>
                  <a:lnTo>
                    <a:pt x="245" y="7"/>
                  </a:lnTo>
                  <a:lnTo>
                    <a:pt x="247" y="7"/>
                  </a:lnTo>
                  <a:lnTo>
                    <a:pt x="249" y="7"/>
                  </a:lnTo>
                  <a:lnTo>
                    <a:pt x="251" y="7"/>
                  </a:lnTo>
                  <a:lnTo>
                    <a:pt x="252" y="7"/>
                  </a:lnTo>
                  <a:lnTo>
                    <a:pt x="255" y="10"/>
                  </a:lnTo>
                  <a:lnTo>
                    <a:pt x="257" y="11"/>
                  </a:lnTo>
                  <a:lnTo>
                    <a:pt x="259" y="11"/>
                  </a:lnTo>
                  <a:lnTo>
                    <a:pt x="262" y="11"/>
                  </a:lnTo>
                  <a:lnTo>
                    <a:pt x="267" y="11"/>
                  </a:lnTo>
                  <a:lnTo>
                    <a:pt x="270" y="12"/>
                  </a:lnTo>
                  <a:lnTo>
                    <a:pt x="274" y="13"/>
                  </a:lnTo>
                  <a:lnTo>
                    <a:pt x="276" y="14"/>
                  </a:lnTo>
                  <a:lnTo>
                    <a:pt x="282" y="16"/>
                  </a:lnTo>
                  <a:lnTo>
                    <a:pt x="287" y="18"/>
                  </a:lnTo>
                  <a:lnTo>
                    <a:pt x="291" y="21"/>
                  </a:lnTo>
                  <a:lnTo>
                    <a:pt x="294" y="23"/>
                  </a:lnTo>
                  <a:lnTo>
                    <a:pt x="295" y="23"/>
                  </a:lnTo>
                  <a:lnTo>
                    <a:pt x="295" y="23"/>
                  </a:lnTo>
                  <a:lnTo>
                    <a:pt x="298" y="24"/>
                  </a:lnTo>
                  <a:lnTo>
                    <a:pt x="299" y="24"/>
                  </a:lnTo>
                  <a:lnTo>
                    <a:pt x="300" y="25"/>
                  </a:lnTo>
                  <a:lnTo>
                    <a:pt x="303" y="25"/>
                  </a:lnTo>
                  <a:lnTo>
                    <a:pt x="306" y="25"/>
                  </a:lnTo>
                  <a:lnTo>
                    <a:pt x="309" y="25"/>
                  </a:lnTo>
                  <a:lnTo>
                    <a:pt x="313" y="25"/>
                  </a:lnTo>
                  <a:lnTo>
                    <a:pt x="316" y="26"/>
                  </a:lnTo>
                  <a:lnTo>
                    <a:pt x="318" y="26"/>
                  </a:lnTo>
                  <a:lnTo>
                    <a:pt x="319" y="26"/>
                  </a:lnTo>
                  <a:lnTo>
                    <a:pt x="320" y="27"/>
                  </a:lnTo>
                  <a:lnTo>
                    <a:pt x="321" y="28"/>
                  </a:lnTo>
                  <a:lnTo>
                    <a:pt x="321" y="29"/>
                  </a:lnTo>
                  <a:lnTo>
                    <a:pt x="322" y="30"/>
                  </a:lnTo>
                  <a:lnTo>
                    <a:pt x="324" y="34"/>
                  </a:lnTo>
                  <a:lnTo>
                    <a:pt x="325" y="37"/>
                  </a:lnTo>
                  <a:lnTo>
                    <a:pt x="329" y="43"/>
                  </a:lnTo>
                  <a:lnTo>
                    <a:pt x="330" y="44"/>
                  </a:lnTo>
                  <a:lnTo>
                    <a:pt x="331" y="45"/>
                  </a:lnTo>
                  <a:lnTo>
                    <a:pt x="332" y="48"/>
                  </a:lnTo>
                  <a:lnTo>
                    <a:pt x="332" y="52"/>
                  </a:lnTo>
                  <a:lnTo>
                    <a:pt x="332" y="56"/>
                  </a:lnTo>
                  <a:lnTo>
                    <a:pt x="332" y="57"/>
                  </a:lnTo>
                  <a:lnTo>
                    <a:pt x="332" y="59"/>
                  </a:lnTo>
                  <a:lnTo>
                    <a:pt x="331" y="61"/>
                  </a:lnTo>
                  <a:lnTo>
                    <a:pt x="330" y="64"/>
                  </a:lnTo>
                  <a:lnTo>
                    <a:pt x="329" y="68"/>
                  </a:lnTo>
                  <a:lnTo>
                    <a:pt x="327" y="70"/>
                  </a:lnTo>
                  <a:lnTo>
                    <a:pt x="324" y="76"/>
                  </a:lnTo>
                  <a:lnTo>
                    <a:pt x="321" y="82"/>
                  </a:lnTo>
                  <a:lnTo>
                    <a:pt x="318" y="86"/>
                  </a:lnTo>
                  <a:lnTo>
                    <a:pt x="316" y="90"/>
                  </a:lnTo>
                  <a:lnTo>
                    <a:pt x="314" y="92"/>
                  </a:lnTo>
                  <a:lnTo>
                    <a:pt x="312" y="94"/>
                  </a:lnTo>
                  <a:lnTo>
                    <a:pt x="306" y="100"/>
                  </a:lnTo>
                  <a:lnTo>
                    <a:pt x="303" y="102"/>
                  </a:lnTo>
                  <a:lnTo>
                    <a:pt x="301" y="103"/>
                  </a:lnTo>
                  <a:lnTo>
                    <a:pt x="298" y="105"/>
                  </a:lnTo>
                  <a:lnTo>
                    <a:pt x="296" y="106"/>
                  </a:lnTo>
                  <a:lnTo>
                    <a:pt x="291" y="108"/>
                  </a:lnTo>
                  <a:lnTo>
                    <a:pt x="289" y="109"/>
                  </a:lnTo>
                  <a:lnTo>
                    <a:pt x="287" y="110"/>
                  </a:lnTo>
                  <a:lnTo>
                    <a:pt x="286" y="112"/>
                  </a:lnTo>
                  <a:lnTo>
                    <a:pt x="285" y="113"/>
                  </a:lnTo>
                  <a:lnTo>
                    <a:pt x="283" y="115"/>
                  </a:lnTo>
                  <a:lnTo>
                    <a:pt x="278" y="123"/>
                  </a:lnTo>
                  <a:lnTo>
                    <a:pt x="276" y="125"/>
                  </a:lnTo>
                  <a:lnTo>
                    <a:pt x="276" y="127"/>
                  </a:lnTo>
                  <a:lnTo>
                    <a:pt x="276" y="130"/>
                  </a:lnTo>
                  <a:lnTo>
                    <a:pt x="276" y="131"/>
                  </a:lnTo>
                  <a:lnTo>
                    <a:pt x="276" y="133"/>
                  </a:lnTo>
                  <a:lnTo>
                    <a:pt x="276" y="134"/>
                  </a:lnTo>
                  <a:lnTo>
                    <a:pt x="276" y="135"/>
                  </a:lnTo>
                  <a:lnTo>
                    <a:pt x="277" y="136"/>
                  </a:lnTo>
                  <a:lnTo>
                    <a:pt x="278" y="136"/>
                  </a:lnTo>
                  <a:lnTo>
                    <a:pt x="280" y="137"/>
                  </a:lnTo>
                  <a:lnTo>
                    <a:pt x="282" y="139"/>
                  </a:lnTo>
                  <a:lnTo>
                    <a:pt x="287" y="142"/>
                  </a:lnTo>
                  <a:lnTo>
                    <a:pt x="294" y="145"/>
                  </a:lnTo>
                  <a:lnTo>
                    <a:pt x="299" y="147"/>
                  </a:lnTo>
                  <a:lnTo>
                    <a:pt x="309" y="149"/>
                  </a:lnTo>
                  <a:lnTo>
                    <a:pt x="311" y="150"/>
                  </a:lnTo>
                  <a:lnTo>
                    <a:pt x="315" y="152"/>
                  </a:lnTo>
                  <a:lnTo>
                    <a:pt x="318" y="153"/>
                  </a:lnTo>
                  <a:lnTo>
                    <a:pt x="321" y="155"/>
                  </a:lnTo>
                  <a:lnTo>
                    <a:pt x="322" y="157"/>
                  </a:lnTo>
                  <a:lnTo>
                    <a:pt x="327" y="159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1"/>
                  </a:lnTo>
                  <a:lnTo>
                    <a:pt x="328" y="161"/>
                  </a:lnTo>
                  <a:lnTo>
                    <a:pt x="318" y="170"/>
                  </a:lnTo>
                  <a:lnTo>
                    <a:pt x="316" y="171"/>
                  </a:lnTo>
                  <a:lnTo>
                    <a:pt x="313" y="174"/>
                  </a:lnTo>
                  <a:lnTo>
                    <a:pt x="311" y="176"/>
                  </a:lnTo>
                  <a:lnTo>
                    <a:pt x="310" y="179"/>
                  </a:lnTo>
                  <a:lnTo>
                    <a:pt x="310" y="181"/>
                  </a:lnTo>
                  <a:lnTo>
                    <a:pt x="308" y="185"/>
                  </a:lnTo>
                  <a:lnTo>
                    <a:pt x="307" y="187"/>
                  </a:lnTo>
                  <a:lnTo>
                    <a:pt x="306" y="188"/>
                  </a:lnTo>
                  <a:lnTo>
                    <a:pt x="305" y="189"/>
                  </a:lnTo>
                  <a:lnTo>
                    <a:pt x="304" y="191"/>
                  </a:lnTo>
                  <a:lnTo>
                    <a:pt x="298" y="195"/>
                  </a:lnTo>
                  <a:lnTo>
                    <a:pt x="295" y="198"/>
                  </a:lnTo>
                  <a:lnTo>
                    <a:pt x="292" y="200"/>
                  </a:lnTo>
                  <a:lnTo>
                    <a:pt x="291" y="201"/>
                  </a:lnTo>
                  <a:lnTo>
                    <a:pt x="290" y="203"/>
                  </a:lnTo>
                  <a:lnTo>
                    <a:pt x="288" y="207"/>
                  </a:lnTo>
                  <a:lnTo>
                    <a:pt x="287" y="210"/>
                  </a:lnTo>
                  <a:lnTo>
                    <a:pt x="287" y="211"/>
                  </a:lnTo>
                  <a:lnTo>
                    <a:pt x="286" y="213"/>
                  </a:lnTo>
                  <a:lnTo>
                    <a:pt x="284" y="214"/>
                  </a:lnTo>
                  <a:lnTo>
                    <a:pt x="281" y="216"/>
                  </a:lnTo>
                  <a:lnTo>
                    <a:pt x="280" y="217"/>
                  </a:lnTo>
                  <a:lnTo>
                    <a:pt x="279" y="219"/>
                  </a:lnTo>
                  <a:lnTo>
                    <a:pt x="278" y="221"/>
                  </a:lnTo>
                  <a:lnTo>
                    <a:pt x="277" y="223"/>
                  </a:lnTo>
                  <a:lnTo>
                    <a:pt x="276" y="225"/>
                  </a:lnTo>
                  <a:lnTo>
                    <a:pt x="276" y="227"/>
                  </a:lnTo>
                  <a:lnTo>
                    <a:pt x="276" y="229"/>
                  </a:lnTo>
                  <a:lnTo>
                    <a:pt x="276" y="232"/>
                  </a:lnTo>
                  <a:lnTo>
                    <a:pt x="276" y="234"/>
                  </a:lnTo>
                  <a:lnTo>
                    <a:pt x="276" y="236"/>
                  </a:lnTo>
                  <a:lnTo>
                    <a:pt x="276" y="239"/>
                  </a:lnTo>
                  <a:lnTo>
                    <a:pt x="277" y="241"/>
                  </a:lnTo>
                  <a:lnTo>
                    <a:pt x="277" y="242"/>
                  </a:lnTo>
                  <a:lnTo>
                    <a:pt x="276" y="243"/>
                  </a:lnTo>
                  <a:lnTo>
                    <a:pt x="276" y="245"/>
                  </a:lnTo>
                  <a:lnTo>
                    <a:pt x="276" y="246"/>
                  </a:lnTo>
                  <a:lnTo>
                    <a:pt x="272" y="257"/>
                  </a:lnTo>
                  <a:lnTo>
                    <a:pt x="271" y="259"/>
                  </a:lnTo>
                  <a:lnTo>
                    <a:pt x="270" y="260"/>
                  </a:lnTo>
                  <a:lnTo>
                    <a:pt x="269" y="261"/>
                  </a:lnTo>
                  <a:lnTo>
                    <a:pt x="266" y="263"/>
                  </a:lnTo>
                  <a:lnTo>
                    <a:pt x="265" y="265"/>
                  </a:lnTo>
                  <a:lnTo>
                    <a:pt x="264" y="266"/>
                  </a:lnTo>
                  <a:lnTo>
                    <a:pt x="264" y="267"/>
                  </a:lnTo>
                  <a:lnTo>
                    <a:pt x="263" y="271"/>
                  </a:lnTo>
                  <a:lnTo>
                    <a:pt x="260" y="278"/>
                  </a:lnTo>
                  <a:lnTo>
                    <a:pt x="259" y="282"/>
                  </a:lnTo>
                  <a:lnTo>
                    <a:pt x="258" y="284"/>
                  </a:lnTo>
                  <a:lnTo>
                    <a:pt x="256" y="287"/>
                  </a:lnTo>
                  <a:lnTo>
                    <a:pt x="255" y="288"/>
                  </a:lnTo>
                  <a:lnTo>
                    <a:pt x="254" y="289"/>
                  </a:lnTo>
                  <a:lnTo>
                    <a:pt x="251" y="293"/>
                  </a:lnTo>
                  <a:lnTo>
                    <a:pt x="245" y="296"/>
                  </a:lnTo>
                  <a:lnTo>
                    <a:pt x="237" y="301"/>
                  </a:lnTo>
                  <a:lnTo>
                    <a:pt x="235" y="303"/>
                  </a:lnTo>
                  <a:lnTo>
                    <a:pt x="233" y="305"/>
                  </a:lnTo>
                  <a:lnTo>
                    <a:pt x="232" y="306"/>
                  </a:lnTo>
                  <a:lnTo>
                    <a:pt x="231" y="307"/>
                  </a:lnTo>
                  <a:lnTo>
                    <a:pt x="228" y="313"/>
                  </a:lnTo>
                  <a:lnTo>
                    <a:pt x="227" y="316"/>
                  </a:lnTo>
                  <a:lnTo>
                    <a:pt x="225" y="317"/>
                  </a:lnTo>
                  <a:lnTo>
                    <a:pt x="222" y="320"/>
                  </a:lnTo>
                  <a:lnTo>
                    <a:pt x="221" y="322"/>
                  </a:lnTo>
                  <a:lnTo>
                    <a:pt x="219" y="324"/>
                  </a:lnTo>
                  <a:lnTo>
                    <a:pt x="219" y="327"/>
                  </a:lnTo>
                  <a:lnTo>
                    <a:pt x="218" y="329"/>
                  </a:lnTo>
                  <a:lnTo>
                    <a:pt x="217" y="329"/>
                  </a:lnTo>
                  <a:lnTo>
                    <a:pt x="216" y="335"/>
                  </a:lnTo>
                  <a:lnTo>
                    <a:pt x="215" y="337"/>
                  </a:lnTo>
                  <a:lnTo>
                    <a:pt x="214" y="339"/>
                  </a:lnTo>
                  <a:lnTo>
                    <a:pt x="213" y="340"/>
                  </a:lnTo>
                  <a:lnTo>
                    <a:pt x="212" y="340"/>
                  </a:lnTo>
                  <a:lnTo>
                    <a:pt x="211" y="341"/>
                  </a:lnTo>
                  <a:lnTo>
                    <a:pt x="210" y="342"/>
                  </a:lnTo>
                  <a:lnTo>
                    <a:pt x="208" y="343"/>
                  </a:lnTo>
                  <a:lnTo>
                    <a:pt x="207" y="344"/>
                  </a:lnTo>
                  <a:lnTo>
                    <a:pt x="202" y="346"/>
                  </a:lnTo>
                  <a:lnTo>
                    <a:pt x="195" y="348"/>
                  </a:lnTo>
                  <a:lnTo>
                    <a:pt x="193" y="348"/>
                  </a:lnTo>
                  <a:lnTo>
                    <a:pt x="192" y="348"/>
                  </a:lnTo>
                  <a:lnTo>
                    <a:pt x="191" y="348"/>
                  </a:lnTo>
                  <a:lnTo>
                    <a:pt x="188" y="347"/>
                  </a:lnTo>
                  <a:lnTo>
                    <a:pt x="187" y="347"/>
                  </a:lnTo>
                  <a:lnTo>
                    <a:pt x="186" y="347"/>
                  </a:lnTo>
                  <a:lnTo>
                    <a:pt x="185" y="347"/>
                  </a:lnTo>
                  <a:lnTo>
                    <a:pt x="184" y="347"/>
                  </a:lnTo>
                  <a:lnTo>
                    <a:pt x="184" y="347"/>
                  </a:lnTo>
                  <a:lnTo>
                    <a:pt x="183" y="347"/>
                  </a:lnTo>
                  <a:lnTo>
                    <a:pt x="182" y="345"/>
                  </a:lnTo>
                  <a:lnTo>
                    <a:pt x="181" y="345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79" y="345"/>
                  </a:lnTo>
                  <a:lnTo>
                    <a:pt x="178" y="345"/>
                  </a:lnTo>
                  <a:lnTo>
                    <a:pt x="178" y="346"/>
                  </a:lnTo>
                  <a:lnTo>
                    <a:pt x="177" y="347"/>
                  </a:lnTo>
                  <a:lnTo>
                    <a:pt x="177" y="348"/>
                  </a:lnTo>
                  <a:lnTo>
                    <a:pt x="178" y="350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77" y="351"/>
                  </a:lnTo>
                  <a:lnTo>
                    <a:pt x="177" y="351"/>
                  </a:lnTo>
                  <a:lnTo>
                    <a:pt x="176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3" y="348"/>
                  </a:lnTo>
                  <a:lnTo>
                    <a:pt x="171" y="346"/>
                  </a:lnTo>
                  <a:lnTo>
                    <a:pt x="170" y="344"/>
                  </a:lnTo>
                  <a:lnTo>
                    <a:pt x="167" y="342"/>
                  </a:lnTo>
                  <a:lnTo>
                    <a:pt x="167" y="342"/>
                  </a:lnTo>
                  <a:lnTo>
                    <a:pt x="167" y="342"/>
                  </a:lnTo>
                  <a:lnTo>
                    <a:pt x="165" y="342"/>
                  </a:lnTo>
                  <a:lnTo>
                    <a:pt x="154" y="346"/>
                  </a:lnTo>
                  <a:lnTo>
                    <a:pt x="150" y="347"/>
                  </a:lnTo>
                  <a:lnTo>
                    <a:pt x="148" y="348"/>
                  </a:lnTo>
                  <a:lnTo>
                    <a:pt x="144" y="349"/>
                  </a:lnTo>
                  <a:lnTo>
                    <a:pt x="140" y="350"/>
                  </a:lnTo>
                  <a:lnTo>
                    <a:pt x="139" y="350"/>
                  </a:lnTo>
                  <a:lnTo>
                    <a:pt x="131" y="348"/>
                  </a:lnTo>
                  <a:lnTo>
                    <a:pt x="128" y="348"/>
                  </a:lnTo>
                  <a:lnTo>
                    <a:pt x="128" y="348"/>
                  </a:lnTo>
                  <a:lnTo>
                    <a:pt x="126" y="348"/>
                  </a:lnTo>
                  <a:lnTo>
                    <a:pt x="124" y="349"/>
                  </a:lnTo>
                  <a:lnTo>
                    <a:pt x="121" y="350"/>
                  </a:lnTo>
                  <a:lnTo>
                    <a:pt x="120" y="351"/>
                  </a:lnTo>
                  <a:lnTo>
                    <a:pt x="118" y="351"/>
                  </a:lnTo>
                  <a:lnTo>
                    <a:pt x="117" y="352"/>
                  </a:lnTo>
                  <a:lnTo>
                    <a:pt x="116" y="354"/>
                  </a:lnTo>
                  <a:lnTo>
                    <a:pt x="114" y="356"/>
                  </a:lnTo>
                  <a:lnTo>
                    <a:pt x="110" y="363"/>
                  </a:lnTo>
                  <a:lnTo>
                    <a:pt x="109" y="363"/>
                  </a:lnTo>
                  <a:lnTo>
                    <a:pt x="108" y="364"/>
                  </a:lnTo>
                  <a:lnTo>
                    <a:pt x="106" y="365"/>
                  </a:lnTo>
                  <a:lnTo>
                    <a:pt x="101" y="368"/>
                  </a:lnTo>
                  <a:lnTo>
                    <a:pt x="96" y="371"/>
                  </a:lnTo>
                  <a:lnTo>
                    <a:pt x="95" y="372"/>
                  </a:lnTo>
                  <a:lnTo>
                    <a:pt x="94" y="372"/>
                  </a:lnTo>
                  <a:lnTo>
                    <a:pt x="94" y="371"/>
                  </a:lnTo>
                  <a:lnTo>
                    <a:pt x="92" y="368"/>
                  </a:lnTo>
                  <a:lnTo>
                    <a:pt x="90" y="366"/>
                  </a:lnTo>
                  <a:lnTo>
                    <a:pt x="88" y="364"/>
                  </a:lnTo>
                  <a:lnTo>
                    <a:pt x="86" y="363"/>
                  </a:lnTo>
                  <a:lnTo>
                    <a:pt x="83" y="361"/>
                  </a:lnTo>
                  <a:lnTo>
                    <a:pt x="81" y="358"/>
                  </a:lnTo>
                  <a:lnTo>
                    <a:pt x="78" y="356"/>
                  </a:lnTo>
                  <a:lnTo>
                    <a:pt x="75" y="354"/>
                  </a:lnTo>
                  <a:lnTo>
                    <a:pt x="72" y="352"/>
                  </a:lnTo>
                  <a:lnTo>
                    <a:pt x="69" y="351"/>
                  </a:lnTo>
                  <a:lnTo>
                    <a:pt x="62" y="348"/>
                  </a:lnTo>
                  <a:lnTo>
                    <a:pt x="59" y="347"/>
                  </a:lnTo>
                  <a:lnTo>
                    <a:pt x="58" y="346"/>
                  </a:lnTo>
                  <a:lnTo>
                    <a:pt x="57" y="345"/>
                  </a:lnTo>
                  <a:lnTo>
                    <a:pt x="54" y="343"/>
                  </a:lnTo>
                  <a:lnTo>
                    <a:pt x="53" y="341"/>
                  </a:lnTo>
                  <a:lnTo>
                    <a:pt x="52" y="340"/>
                  </a:lnTo>
                  <a:lnTo>
                    <a:pt x="47" y="331"/>
                  </a:lnTo>
                  <a:lnTo>
                    <a:pt x="45" y="329"/>
                  </a:lnTo>
                  <a:lnTo>
                    <a:pt x="43" y="327"/>
                  </a:lnTo>
                  <a:lnTo>
                    <a:pt x="40" y="323"/>
                  </a:lnTo>
                  <a:lnTo>
                    <a:pt x="33" y="316"/>
                  </a:lnTo>
                  <a:lnTo>
                    <a:pt x="29" y="312"/>
                  </a:lnTo>
                  <a:lnTo>
                    <a:pt x="26" y="309"/>
                  </a:lnTo>
                  <a:lnTo>
                    <a:pt x="22" y="303"/>
                  </a:lnTo>
                  <a:lnTo>
                    <a:pt x="15" y="295"/>
                  </a:lnTo>
                  <a:lnTo>
                    <a:pt x="14" y="293"/>
                  </a:lnTo>
                  <a:lnTo>
                    <a:pt x="12" y="290"/>
                  </a:lnTo>
                  <a:lnTo>
                    <a:pt x="10" y="286"/>
                  </a:lnTo>
                  <a:lnTo>
                    <a:pt x="8" y="282"/>
                  </a:lnTo>
                  <a:lnTo>
                    <a:pt x="7" y="279"/>
                  </a:lnTo>
                  <a:lnTo>
                    <a:pt x="6" y="276"/>
                  </a:lnTo>
                  <a:lnTo>
                    <a:pt x="7" y="273"/>
                  </a:lnTo>
                  <a:lnTo>
                    <a:pt x="7" y="270"/>
                  </a:lnTo>
                  <a:lnTo>
                    <a:pt x="9" y="262"/>
                  </a:lnTo>
                  <a:lnTo>
                    <a:pt x="10" y="260"/>
                  </a:lnTo>
                  <a:lnTo>
                    <a:pt x="11" y="259"/>
                  </a:lnTo>
                  <a:lnTo>
                    <a:pt x="11" y="257"/>
                  </a:lnTo>
                  <a:lnTo>
                    <a:pt x="12" y="256"/>
                  </a:lnTo>
                  <a:lnTo>
                    <a:pt x="13" y="255"/>
                  </a:lnTo>
                  <a:lnTo>
                    <a:pt x="14" y="255"/>
                  </a:lnTo>
                  <a:lnTo>
                    <a:pt x="16" y="254"/>
                  </a:lnTo>
                  <a:lnTo>
                    <a:pt x="18" y="254"/>
                  </a:lnTo>
                  <a:lnTo>
                    <a:pt x="20" y="254"/>
                  </a:lnTo>
                  <a:lnTo>
                    <a:pt x="23" y="254"/>
                  </a:lnTo>
                  <a:lnTo>
                    <a:pt x="31" y="256"/>
                  </a:lnTo>
                  <a:lnTo>
                    <a:pt x="38" y="257"/>
                  </a:lnTo>
                  <a:lnTo>
                    <a:pt x="41" y="257"/>
                  </a:lnTo>
                  <a:lnTo>
                    <a:pt x="44" y="257"/>
                  </a:lnTo>
                  <a:lnTo>
                    <a:pt x="46" y="256"/>
                  </a:lnTo>
                  <a:lnTo>
                    <a:pt x="48" y="255"/>
                  </a:lnTo>
                  <a:lnTo>
                    <a:pt x="51" y="254"/>
                  </a:lnTo>
                  <a:lnTo>
                    <a:pt x="53" y="253"/>
                  </a:lnTo>
                  <a:lnTo>
                    <a:pt x="55" y="252"/>
                  </a:lnTo>
                  <a:lnTo>
                    <a:pt x="56" y="251"/>
                  </a:lnTo>
                  <a:lnTo>
                    <a:pt x="57" y="249"/>
                  </a:lnTo>
                  <a:lnTo>
                    <a:pt x="58" y="248"/>
                  </a:lnTo>
                  <a:lnTo>
                    <a:pt x="59" y="246"/>
                  </a:lnTo>
                  <a:lnTo>
                    <a:pt x="60" y="244"/>
                  </a:lnTo>
                  <a:lnTo>
                    <a:pt x="60" y="242"/>
                  </a:lnTo>
                  <a:lnTo>
                    <a:pt x="60" y="240"/>
                  </a:lnTo>
                  <a:lnTo>
                    <a:pt x="60" y="238"/>
                  </a:lnTo>
                  <a:lnTo>
                    <a:pt x="59" y="238"/>
                  </a:lnTo>
                  <a:lnTo>
                    <a:pt x="59" y="232"/>
                  </a:lnTo>
                  <a:lnTo>
                    <a:pt x="58" y="229"/>
                  </a:lnTo>
                  <a:lnTo>
                    <a:pt x="56" y="222"/>
                  </a:lnTo>
                  <a:lnTo>
                    <a:pt x="55" y="219"/>
                  </a:lnTo>
                  <a:lnTo>
                    <a:pt x="55" y="217"/>
                  </a:lnTo>
                  <a:lnTo>
                    <a:pt x="55" y="215"/>
                  </a:lnTo>
                  <a:lnTo>
                    <a:pt x="56" y="213"/>
                  </a:lnTo>
                  <a:lnTo>
                    <a:pt x="56" y="211"/>
                  </a:lnTo>
                  <a:lnTo>
                    <a:pt x="56" y="209"/>
                  </a:lnTo>
                  <a:lnTo>
                    <a:pt x="58" y="205"/>
                  </a:lnTo>
                  <a:lnTo>
                    <a:pt x="60" y="201"/>
                  </a:lnTo>
                  <a:lnTo>
                    <a:pt x="63" y="196"/>
                  </a:lnTo>
                  <a:lnTo>
                    <a:pt x="64" y="194"/>
                  </a:lnTo>
                  <a:lnTo>
                    <a:pt x="66" y="193"/>
                  </a:lnTo>
                  <a:lnTo>
                    <a:pt x="67" y="192"/>
                  </a:lnTo>
                  <a:lnTo>
                    <a:pt x="67" y="190"/>
                  </a:lnTo>
                  <a:lnTo>
                    <a:pt x="67" y="188"/>
                  </a:lnTo>
                  <a:lnTo>
                    <a:pt x="67" y="186"/>
                  </a:lnTo>
                  <a:lnTo>
                    <a:pt x="67" y="185"/>
                  </a:lnTo>
                  <a:lnTo>
                    <a:pt x="66" y="182"/>
                  </a:lnTo>
                  <a:lnTo>
                    <a:pt x="65" y="181"/>
                  </a:lnTo>
                  <a:lnTo>
                    <a:pt x="64" y="179"/>
                  </a:lnTo>
                  <a:lnTo>
                    <a:pt x="60" y="173"/>
                  </a:lnTo>
                  <a:lnTo>
                    <a:pt x="58" y="169"/>
                  </a:lnTo>
                  <a:lnTo>
                    <a:pt x="56" y="166"/>
                  </a:lnTo>
                  <a:lnTo>
                    <a:pt x="54" y="163"/>
                  </a:lnTo>
                  <a:lnTo>
                    <a:pt x="51" y="160"/>
                  </a:lnTo>
                  <a:lnTo>
                    <a:pt x="50" y="159"/>
                  </a:lnTo>
                  <a:lnTo>
                    <a:pt x="46" y="156"/>
                  </a:lnTo>
                  <a:lnTo>
                    <a:pt x="43" y="154"/>
                  </a:lnTo>
                  <a:lnTo>
                    <a:pt x="42" y="152"/>
                  </a:lnTo>
                  <a:lnTo>
                    <a:pt x="39" y="148"/>
                  </a:lnTo>
                  <a:lnTo>
                    <a:pt x="35" y="145"/>
                  </a:lnTo>
                  <a:lnTo>
                    <a:pt x="34" y="143"/>
                  </a:lnTo>
                  <a:lnTo>
                    <a:pt x="33" y="141"/>
                  </a:lnTo>
                  <a:lnTo>
                    <a:pt x="30" y="136"/>
                  </a:lnTo>
                  <a:lnTo>
                    <a:pt x="28" y="134"/>
                  </a:lnTo>
                  <a:lnTo>
                    <a:pt x="26" y="131"/>
                  </a:lnTo>
                  <a:lnTo>
                    <a:pt x="25" y="129"/>
                  </a:lnTo>
                  <a:lnTo>
                    <a:pt x="24" y="128"/>
                  </a:lnTo>
                  <a:lnTo>
                    <a:pt x="23" y="127"/>
                  </a:lnTo>
                  <a:lnTo>
                    <a:pt x="18" y="125"/>
                  </a:lnTo>
                  <a:lnTo>
                    <a:pt x="17" y="125"/>
                  </a:lnTo>
                  <a:lnTo>
                    <a:pt x="17" y="124"/>
                  </a:lnTo>
                  <a:lnTo>
                    <a:pt x="16" y="124"/>
                  </a:lnTo>
                  <a:lnTo>
                    <a:pt x="15" y="122"/>
                  </a:lnTo>
                  <a:lnTo>
                    <a:pt x="15" y="121"/>
                  </a:lnTo>
                  <a:lnTo>
                    <a:pt x="15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2" y="119"/>
                  </a:lnTo>
                  <a:lnTo>
                    <a:pt x="3" y="119"/>
                  </a:lnTo>
                  <a:lnTo>
                    <a:pt x="1" y="119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8"/>
                  </a:lnTo>
                  <a:lnTo>
                    <a:pt x="0" y="117"/>
                  </a:lnTo>
                  <a:lnTo>
                    <a:pt x="0" y="115"/>
                  </a:lnTo>
                  <a:lnTo>
                    <a:pt x="1" y="113"/>
                  </a:lnTo>
                  <a:lnTo>
                    <a:pt x="2" y="109"/>
                  </a:lnTo>
                  <a:lnTo>
                    <a:pt x="3" y="108"/>
                  </a:lnTo>
                  <a:lnTo>
                    <a:pt x="3" y="106"/>
                  </a:lnTo>
                  <a:lnTo>
                    <a:pt x="6" y="102"/>
                  </a:lnTo>
                  <a:lnTo>
                    <a:pt x="9" y="99"/>
                  </a:lnTo>
                  <a:lnTo>
                    <a:pt x="12" y="96"/>
                  </a:lnTo>
                  <a:lnTo>
                    <a:pt x="14" y="93"/>
                  </a:lnTo>
                  <a:lnTo>
                    <a:pt x="17" y="91"/>
                  </a:lnTo>
                  <a:lnTo>
                    <a:pt x="20" y="90"/>
                  </a:lnTo>
                  <a:lnTo>
                    <a:pt x="22" y="89"/>
                  </a:lnTo>
                  <a:lnTo>
                    <a:pt x="24" y="88"/>
                  </a:lnTo>
                  <a:lnTo>
                    <a:pt x="26" y="87"/>
                  </a:lnTo>
                  <a:lnTo>
                    <a:pt x="29" y="86"/>
                  </a:lnTo>
                  <a:lnTo>
                    <a:pt x="33" y="85"/>
                  </a:lnTo>
                  <a:lnTo>
                    <a:pt x="39" y="83"/>
                  </a:lnTo>
                  <a:lnTo>
                    <a:pt x="43" y="82"/>
                  </a:lnTo>
                  <a:lnTo>
                    <a:pt x="46" y="80"/>
                  </a:lnTo>
                  <a:lnTo>
                    <a:pt x="48" y="79"/>
                  </a:lnTo>
                  <a:lnTo>
                    <a:pt x="51" y="78"/>
                  </a:lnTo>
                  <a:lnTo>
                    <a:pt x="54" y="76"/>
                  </a:lnTo>
                  <a:lnTo>
                    <a:pt x="57" y="74"/>
                  </a:lnTo>
                  <a:lnTo>
                    <a:pt x="59" y="71"/>
                  </a:lnTo>
                  <a:lnTo>
                    <a:pt x="63" y="67"/>
                  </a:lnTo>
                  <a:lnTo>
                    <a:pt x="66" y="64"/>
                  </a:lnTo>
                  <a:lnTo>
                    <a:pt x="67" y="62"/>
                  </a:lnTo>
                  <a:lnTo>
                    <a:pt x="68" y="60"/>
                  </a:lnTo>
                  <a:lnTo>
                    <a:pt x="69" y="57"/>
                  </a:lnTo>
                  <a:lnTo>
                    <a:pt x="71" y="54"/>
                  </a:lnTo>
                  <a:lnTo>
                    <a:pt x="71" y="53"/>
                  </a:lnTo>
                  <a:lnTo>
                    <a:pt x="71" y="51"/>
                  </a:lnTo>
                  <a:lnTo>
                    <a:pt x="72" y="50"/>
                  </a:lnTo>
                  <a:lnTo>
                    <a:pt x="74" y="50"/>
                  </a:lnTo>
                  <a:lnTo>
                    <a:pt x="76" y="49"/>
                  </a:lnTo>
                  <a:lnTo>
                    <a:pt x="80" y="49"/>
                  </a:lnTo>
                  <a:lnTo>
                    <a:pt x="84" y="49"/>
                  </a:lnTo>
                  <a:lnTo>
                    <a:pt x="88" y="49"/>
                  </a:lnTo>
                  <a:lnTo>
                    <a:pt x="89" y="48"/>
                  </a:lnTo>
                  <a:lnTo>
                    <a:pt x="91" y="47"/>
                  </a:lnTo>
                  <a:lnTo>
                    <a:pt x="92" y="47"/>
                  </a:lnTo>
                  <a:lnTo>
                    <a:pt x="93" y="46"/>
                  </a:lnTo>
                  <a:lnTo>
                    <a:pt x="94" y="45"/>
                  </a:lnTo>
                  <a:lnTo>
                    <a:pt x="94" y="44"/>
                  </a:lnTo>
                  <a:lnTo>
                    <a:pt x="95" y="43"/>
                  </a:lnTo>
                  <a:lnTo>
                    <a:pt x="95" y="42"/>
                  </a:lnTo>
                  <a:lnTo>
                    <a:pt x="95" y="38"/>
                  </a:lnTo>
                  <a:lnTo>
                    <a:pt x="95" y="34"/>
                  </a:lnTo>
                  <a:lnTo>
                    <a:pt x="95" y="33"/>
                  </a:lnTo>
                  <a:lnTo>
                    <a:pt x="95" y="26"/>
                  </a:lnTo>
                  <a:lnTo>
                    <a:pt x="95" y="24"/>
                  </a:lnTo>
                  <a:lnTo>
                    <a:pt x="95" y="23"/>
                  </a:lnTo>
                  <a:lnTo>
                    <a:pt x="95" y="22"/>
                  </a:lnTo>
                  <a:lnTo>
                    <a:pt x="96" y="19"/>
                  </a:lnTo>
                  <a:lnTo>
                    <a:pt x="96" y="18"/>
                  </a:lnTo>
                  <a:lnTo>
                    <a:pt x="98" y="15"/>
                  </a:lnTo>
                  <a:lnTo>
                    <a:pt x="99" y="14"/>
                  </a:lnTo>
                  <a:lnTo>
                    <a:pt x="100" y="12"/>
                  </a:lnTo>
                  <a:lnTo>
                    <a:pt x="102" y="11"/>
                  </a:lnTo>
                  <a:lnTo>
                    <a:pt x="104" y="10"/>
                  </a:lnTo>
                  <a:lnTo>
                    <a:pt x="106" y="7"/>
                  </a:lnTo>
                  <a:lnTo>
                    <a:pt x="110" y="4"/>
                  </a:lnTo>
                  <a:lnTo>
                    <a:pt x="112" y="3"/>
                  </a:lnTo>
                  <a:lnTo>
                    <a:pt x="115" y="2"/>
                  </a:lnTo>
                  <a:lnTo>
                    <a:pt x="116" y="1"/>
                  </a:lnTo>
                  <a:lnTo>
                    <a:pt x="118" y="1"/>
                  </a:lnTo>
                  <a:lnTo>
                    <a:pt x="120" y="0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2" name="Freeform 9">
              <a:extLst>
                <a:ext uri="{FF2B5EF4-FFF2-40B4-BE49-F238E27FC236}">
                  <a16:creationId xmlns:a16="http://schemas.microsoft.com/office/drawing/2014/main" id="{674FC72E-8D46-430E-A30D-08B88C760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0" y="2039"/>
              <a:ext cx="537" cy="324"/>
            </a:xfrm>
            <a:custGeom>
              <a:avLst/>
              <a:gdLst>
                <a:gd name="T0" fmla="*/ 460 w 537"/>
                <a:gd name="T1" fmla="*/ 15 h 324"/>
                <a:gd name="T2" fmla="*/ 497 w 537"/>
                <a:gd name="T3" fmla="*/ 22 h 324"/>
                <a:gd name="T4" fmla="*/ 512 w 537"/>
                <a:gd name="T5" fmla="*/ 23 h 324"/>
                <a:gd name="T6" fmla="*/ 533 w 537"/>
                <a:gd name="T7" fmla="*/ 36 h 324"/>
                <a:gd name="T8" fmla="*/ 534 w 537"/>
                <a:gd name="T9" fmla="*/ 50 h 324"/>
                <a:gd name="T10" fmla="*/ 525 w 537"/>
                <a:gd name="T11" fmla="*/ 62 h 324"/>
                <a:gd name="T12" fmla="*/ 511 w 537"/>
                <a:gd name="T13" fmla="*/ 71 h 324"/>
                <a:gd name="T14" fmla="*/ 516 w 537"/>
                <a:gd name="T15" fmla="*/ 83 h 324"/>
                <a:gd name="T16" fmla="*/ 509 w 537"/>
                <a:gd name="T17" fmla="*/ 107 h 324"/>
                <a:gd name="T18" fmla="*/ 494 w 537"/>
                <a:gd name="T19" fmla="*/ 123 h 324"/>
                <a:gd name="T20" fmla="*/ 490 w 537"/>
                <a:gd name="T21" fmla="*/ 135 h 324"/>
                <a:gd name="T22" fmla="*/ 486 w 537"/>
                <a:gd name="T23" fmla="*/ 148 h 324"/>
                <a:gd name="T24" fmla="*/ 506 w 537"/>
                <a:gd name="T25" fmla="*/ 165 h 324"/>
                <a:gd name="T26" fmla="*/ 483 w 537"/>
                <a:gd name="T27" fmla="*/ 156 h 324"/>
                <a:gd name="T28" fmla="*/ 466 w 537"/>
                <a:gd name="T29" fmla="*/ 148 h 324"/>
                <a:gd name="T30" fmla="*/ 442 w 537"/>
                <a:gd name="T31" fmla="*/ 165 h 324"/>
                <a:gd name="T32" fmla="*/ 441 w 537"/>
                <a:gd name="T33" fmla="*/ 184 h 324"/>
                <a:gd name="T34" fmla="*/ 417 w 537"/>
                <a:gd name="T35" fmla="*/ 189 h 324"/>
                <a:gd name="T36" fmla="*/ 402 w 537"/>
                <a:gd name="T37" fmla="*/ 208 h 324"/>
                <a:gd name="T38" fmla="*/ 385 w 537"/>
                <a:gd name="T39" fmla="*/ 216 h 324"/>
                <a:gd name="T40" fmla="*/ 364 w 537"/>
                <a:gd name="T41" fmla="*/ 231 h 324"/>
                <a:gd name="T42" fmla="*/ 329 w 537"/>
                <a:gd name="T43" fmla="*/ 237 h 324"/>
                <a:gd name="T44" fmla="*/ 295 w 537"/>
                <a:gd name="T45" fmla="*/ 248 h 324"/>
                <a:gd name="T46" fmla="*/ 273 w 537"/>
                <a:gd name="T47" fmla="*/ 277 h 324"/>
                <a:gd name="T48" fmla="*/ 243 w 537"/>
                <a:gd name="T49" fmla="*/ 285 h 324"/>
                <a:gd name="T50" fmla="*/ 221 w 537"/>
                <a:gd name="T51" fmla="*/ 284 h 324"/>
                <a:gd name="T52" fmla="*/ 205 w 537"/>
                <a:gd name="T53" fmla="*/ 323 h 324"/>
                <a:gd name="T54" fmla="*/ 190 w 537"/>
                <a:gd name="T55" fmla="*/ 315 h 324"/>
                <a:gd name="T56" fmla="*/ 165 w 537"/>
                <a:gd name="T57" fmla="*/ 314 h 324"/>
                <a:gd name="T58" fmla="*/ 152 w 537"/>
                <a:gd name="T59" fmla="*/ 302 h 324"/>
                <a:gd name="T60" fmla="*/ 128 w 537"/>
                <a:gd name="T61" fmla="*/ 280 h 324"/>
                <a:gd name="T62" fmla="*/ 119 w 537"/>
                <a:gd name="T63" fmla="*/ 261 h 324"/>
                <a:gd name="T64" fmla="*/ 133 w 537"/>
                <a:gd name="T65" fmla="*/ 251 h 324"/>
                <a:gd name="T66" fmla="*/ 146 w 537"/>
                <a:gd name="T67" fmla="*/ 248 h 324"/>
                <a:gd name="T68" fmla="*/ 146 w 537"/>
                <a:gd name="T69" fmla="*/ 204 h 324"/>
                <a:gd name="T70" fmla="*/ 112 w 537"/>
                <a:gd name="T71" fmla="*/ 185 h 324"/>
                <a:gd name="T72" fmla="*/ 93 w 537"/>
                <a:gd name="T73" fmla="*/ 157 h 324"/>
                <a:gd name="T74" fmla="*/ 75 w 537"/>
                <a:gd name="T75" fmla="*/ 170 h 324"/>
                <a:gd name="T76" fmla="*/ 34 w 537"/>
                <a:gd name="T77" fmla="*/ 173 h 324"/>
                <a:gd name="T78" fmla="*/ 15 w 537"/>
                <a:gd name="T79" fmla="*/ 159 h 324"/>
                <a:gd name="T80" fmla="*/ 8 w 537"/>
                <a:gd name="T81" fmla="*/ 109 h 324"/>
                <a:gd name="T82" fmla="*/ 0 w 537"/>
                <a:gd name="T83" fmla="*/ 87 h 324"/>
                <a:gd name="T84" fmla="*/ 9 w 537"/>
                <a:gd name="T85" fmla="*/ 72 h 324"/>
                <a:gd name="T86" fmla="*/ 44 w 537"/>
                <a:gd name="T87" fmla="*/ 53 h 324"/>
                <a:gd name="T88" fmla="*/ 46 w 537"/>
                <a:gd name="T89" fmla="*/ 68 h 324"/>
                <a:gd name="T90" fmla="*/ 76 w 537"/>
                <a:gd name="T91" fmla="*/ 71 h 324"/>
                <a:gd name="T92" fmla="*/ 117 w 537"/>
                <a:gd name="T93" fmla="*/ 63 h 324"/>
                <a:gd name="T94" fmla="*/ 147 w 537"/>
                <a:gd name="T95" fmla="*/ 48 h 324"/>
                <a:gd name="T96" fmla="*/ 153 w 537"/>
                <a:gd name="T97" fmla="*/ 56 h 324"/>
                <a:gd name="T98" fmla="*/ 149 w 537"/>
                <a:gd name="T99" fmla="*/ 78 h 324"/>
                <a:gd name="T100" fmla="*/ 166 w 537"/>
                <a:gd name="T101" fmla="*/ 75 h 324"/>
                <a:gd name="T102" fmla="*/ 194 w 537"/>
                <a:gd name="T103" fmla="*/ 67 h 324"/>
                <a:gd name="T104" fmla="*/ 215 w 537"/>
                <a:gd name="T105" fmla="*/ 55 h 324"/>
                <a:gd name="T106" fmla="*/ 237 w 537"/>
                <a:gd name="T107" fmla="*/ 61 h 324"/>
                <a:gd name="T108" fmla="*/ 260 w 537"/>
                <a:gd name="T109" fmla="*/ 73 h 324"/>
                <a:gd name="T110" fmla="*/ 286 w 537"/>
                <a:gd name="T111" fmla="*/ 82 h 324"/>
                <a:gd name="T112" fmla="*/ 313 w 537"/>
                <a:gd name="T113" fmla="*/ 72 h 324"/>
                <a:gd name="T114" fmla="*/ 341 w 537"/>
                <a:gd name="T115" fmla="*/ 65 h 324"/>
                <a:gd name="T116" fmla="*/ 372 w 537"/>
                <a:gd name="T117" fmla="*/ 64 h 324"/>
                <a:gd name="T118" fmla="*/ 406 w 537"/>
                <a:gd name="T119" fmla="*/ 55 h 324"/>
                <a:gd name="T120" fmla="*/ 409 w 537"/>
                <a:gd name="T121" fmla="*/ 29 h 324"/>
                <a:gd name="T122" fmla="*/ 412 w 537"/>
                <a:gd name="T123" fmla="*/ 1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7" h="324">
                  <a:moveTo>
                    <a:pt x="428" y="1"/>
                  </a:moveTo>
                  <a:lnTo>
                    <a:pt x="429" y="1"/>
                  </a:lnTo>
                  <a:lnTo>
                    <a:pt x="432" y="3"/>
                  </a:lnTo>
                  <a:lnTo>
                    <a:pt x="445" y="12"/>
                  </a:lnTo>
                  <a:lnTo>
                    <a:pt x="448" y="13"/>
                  </a:lnTo>
                  <a:lnTo>
                    <a:pt x="450" y="14"/>
                  </a:lnTo>
                  <a:lnTo>
                    <a:pt x="452" y="14"/>
                  </a:lnTo>
                  <a:lnTo>
                    <a:pt x="453" y="15"/>
                  </a:lnTo>
                  <a:lnTo>
                    <a:pt x="455" y="15"/>
                  </a:lnTo>
                  <a:lnTo>
                    <a:pt x="460" y="15"/>
                  </a:lnTo>
                  <a:lnTo>
                    <a:pt x="465" y="15"/>
                  </a:lnTo>
                  <a:lnTo>
                    <a:pt x="466" y="15"/>
                  </a:lnTo>
                  <a:lnTo>
                    <a:pt x="470" y="16"/>
                  </a:lnTo>
                  <a:lnTo>
                    <a:pt x="483" y="16"/>
                  </a:lnTo>
                  <a:lnTo>
                    <a:pt x="485" y="17"/>
                  </a:lnTo>
                  <a:lnTo>
                    <a:pt x="488" y="17"/>
                  </a:lnTo>
                  <a:lnTo>
                    <a:pt x="489" y="18"/>
                  </a:lnTo>
                  <a:lnTo>
                    <a:pt x="491" y="18"/>
                  </a:lnTo>
                  <a:lnTo>
                    <a:pt x="493" y="20"/>
                  </a:lnTo>
                  <a:lnTo>
                    <a:pt x="497" y="22"/>
                  </a:lnTo>
                  <a:lnTo>
                    <a:pt x="499" y="23"/>
                  </a:lnTo>
                  <a:lnTo>
                    <a:pt x="500" y="23"/>
                  </a:lnTo>
                  <a:lnTo>
                    <a:pt x="502" y="24"/>
                  </a:lnTo>
                  <a:lnTo>
                    <a:pt x="503" y="24"/>
                  </a:lnTo>
                  <a:lnTo>
                    <a:pt x="505" y="24"/>
                  </a:lnTo>
                  <a:lnTo>
                    <a:pt x="506" y="23"/>
                  </a:lnTo>
                  <a:lnTo>
                    <a:pt x="508" y="23"/>
                  </a:lnTo>
                  <a:lnTo>
                    <a:pt x="509" y="23"/>
                  </a:lnTo>
                  <a:lnTo>
                    <a:pt x="511" y="23"/>
                  </a:lnTo>
                  <a:lnTo>
                    <a:pt x="512" y="23"/>
                  </a:lnTo>
                  <a:lnTo>
                    <a:pt x="513" y="23"/>
                  </a:lnTo>
                  <a:lnTo>
                    <a:pt x="514" y="24"/>
                  </a:lnTo>
                  <a:lnTo>
                    <a:pt x="515" y="24"/>
                  </a:lnTo>
                  <a:lnTo>
                    <a:pt x="517" y="27"/>
                  </a:lnTo>
                  <a:lnTo>
                    <a:pt x="519" y="28"/>
                  </a:lnTo>
                  <a:lnTo>
                    <a:pt x="523" y="31"/>
                  </a:lnTo>
                  <a:lnTo>
                    <a:pt x="524" y="33"/>
                  </a:lnTo>
                  <a:lnTo>
                    <a:pt x="526" y="34"/>
                  </a:lnTo>
                  <a:lnTo>
                    <a:pt x="528" y="35"/>
                  </a:lnTo>
                  <a:lnTo>
                    <a:pt x="533" y="36"/>
                  </a:lnTo>
                  <a:lnTo>
                    <a:pt x="534" y="36"/>
                  </a:lnTo>
                  <a:lnTo>
                    <a:pt x="534" y="37"/>
                  </a:lnTo>
                  <a:lnTo>
                    <a:pt x="535" y="38"/>
                  </a:lnTo>
                  <a:lnTo>
                    <a:pt x="536" y="39"/>
                  </a:lnTo>
                  <a:lnTo>
                    <a:pt x="537" y="40"/>
                  </a:lnTo>
                  <a:lnTo>
                    <a:pt x="537" y="41"/>
                  </a:lnTo>
                  <a:lnTo>
                    <a:pt x="537" y="42"/>
                  </a:lnTo>
                  <a:lnTo>
                    <a:pt x="537" y="43"/>
                  </a:lnTo>
                  <a:lnTo>
                    <a:pt x="536" y="46"/>
                  </a:lnTo>
                  <a:lnTo>
                    <a:pt x="534" y="50"/>
                  </a:lnTo>
                  <a:lnTo>
                    <a:pt x="534" y="52"/>
                  </a:lnTo>
                  <a:lnTo>
                    <a:pt x="533" y="53"/>
                  </a:lnTo>
                  <a:lnTo>
                    <a:pt x="533" y="57"/>
                  </a:lnTo>
                  <a:lnTo>
                    <a:pt x="532" y="57"/>
                  </a:lnTo>
                  <a:lnTo>
                    <a:pt x="532" y="58"/>
                  </a:lnTo>
                  <a:lnTo>
                    <a:pt x="531" y="59"/>
                  </a:lnTo>
                  <a:lnTo>
                    <a:pt x="530" y="60"/>
                  </a:lnTo>
                  <a:lnTo>
                    <a:pt x="528" y="61"/>
                  </a:lnTo>
                  <a:lnTo>
                    <a:pt x="527" y="62"/>
                  </a:lnTo>
                  <a:lnTo>
                    <a:pt x="525" y="62"/>
                  </a:lnTo>
                  <a:lnTo>
                    <a:pt x="523" y="63"/>
                  </a:lnTo>
                  <a:lnTo>
                    <a:pt x="518" y="64"/>
                  </a:lnTo>
                  <a:lnTo>
                    <a:pt x="516" y="65"/>
                  </a:lnTo>
                  <a:lnTo>
                    <a:pt x="514" y="66"/>
                  </a:lnTo>
                  <a:lnTo>
                    <a:pt x="513" y="67"/>
                  </a:lnTo>
                  <a:lnTo>
                    <a:pt x="512" y="68"/>
                  </a:lnTo>
                  <a:lnTo>
                    <a:pt x="512" y="69"/>
                  </a:lnTo>
                  <a:lnTo>
                    <a:pt x="511" y="69"/>
                  </a:lnTo>
                  <a:lnTo>
                    <a:pt x="511" y="70"/>
                  </a:lnTo>
                  <a:lnTo>
                    <a:pt x="511" y="71"/>
                  </a:lnTo>
                  <a:lnTo>
                    <a:pt x="511" y="72"/>
                  </a:lnTo>
                  <a:lnTo>
                    <a:pt x="511" y="73"/>
                  </a:lnTo>
                  <a:lnTo>
                    <a:pt x="512" y="75"/>
                  </a:lnTo>
                  <a:lnTo>
                    <a:pt x="512" y="76"/>
                  </a:lnTo>
                  <a:lnTo>
                    <a:pt x="514" y="78"/>
                  </a:lnTo>
                  <a:lnTo>
                    <a:pt x="515" y="80"/>
                  </a:lnTo>
                  <a:lnTo>
                    <a:pt x="516" y="80"/>
                  </a:lnTo>
                  <a:lnTo>
                    <a:pt x="516" y="81"/>
                  </a:lnTo>
                  <a:lnTo>
                    <a:pt x="516" y="82"/>
                  </a:lnTo>
                  <a:lnTo>
                    <a:pt x="516" y="83"/>
                  </a:lnTo>
                  <a:lnTo>
                    <a:pt x="513" y="87"/>
                  </a:lnTo>
                  <a:lnTo>
                    <a:pt x="513" y="89"/>
                  </a:lnTo>
                  <a:lnTo>
                    <a:pt x="512" y="90"/>
                  </a:lnTo>
                  <a:lnTo>
                    <a:pt x="512" y="93"/>
                  </a:lnTo>
                  <a:lnTo>
                    <a:pt x="512" y="98"/>
                  </a:lnTo>
                  <a:lnTo>
                    <a:pt x="511" y="100"/>
                  </a:lnTo>
                  <a:lnTo>
                    <a:pt x="511" y="103"/>
                  </a:lnTo>
                  <a:lnTo>
                    <a:pt x="510" y="104"/>
                  </a:lnTo>
                  <a:lnTo>
                    <a:pt x="509" y="106"/>
                  </a:lnTo>
                  <a:lnTo>
                    <a:pt x="509" y="107"/>
                  </a:lnTo>
                  <a:lnTo>
                    <a:pt x="508" y="109"/>
                  </a:lnTo>
                  <a:lnTo>
                    <a:pt x="506" y="110"/>
                  </a:lnTo>
                  <a:lnTo>
                    <a:pt x="504" y="112"/>
                  </a:lnTo>
                  <a:lnTo>
                    <a:pt x="503" y="113"/>
                  </a:lnTo>
                  <a:lnTo>
                    <a:pt x="497" y="117"/>
                  </a:lnTo>
                  <a:lnTo>
                    <a:pt x="495" y="119"/>
                  </a:lnTo>
                  <a:lnTo>
                    <a:pt x="494" y="120"/>
                  </a:lnTo>
                  <a:lnTo>
                    <a:pt x="494" y="121"/>
                  </a:lnTo>
                  <a:lnTo>
                    <a:pt x="494" y="122"/>
                  </a:lnTo>
                  <a:lnTo>
                    <a:pt x="494" y="123"/>
                  </a:lnTo>
                  <a:lnTo>
                    <a:pt x="495" y="124"/>
                  </a:lnTo>
                  <a:lnTo>
                    <a:pt x="496" y="125"/>
                  </a:lnTo>
                  <a:lnTo>
                    <a:pt x="498" y="126"/>
                  </a:lnTo>
                  <a:lnTo>
                    <a:pt x="500" y="128"/>
                  </a:lnTo>
                  <a:lnTo>
                    <a:pt x="500" y="129"/>
                  </a:lnTo>
                  <a:lnTo>
                    <a:pt x="500" y="130"/>
                  </a:lnTo>
                  <a:lnTo>
                    <a:pt x="499" y="131"/>
                  </a:lnTo>
                  <a:lnTo>
                    <a:pt x="498" y="132"/>
                  </a:lnTo>
                  <a:lnTo>
                    <a:pt x="495" y="133"/>
                  </a:lnTo>
                  <a:lnTo>
                    <a:pt x="490" y="135"/>
                  </a:lnTo>
                  <a:lnTo>
                    <a:pt x="489" y="136"/>
                  </a:lnTo>
                  <a:lnTo>
                    <a:pt x="487" y="137"/>
                  </a:lnTo>
                  <a:lnTo>
                    <a:pt x="486" y="138"/>
                  </a:lnTo>
                  <a:lnTo>
                    <a:pt x="485" y="139"/>
                  </a:lnTo>
                  <a:lnTo>
                    <a:pt x="484" y="140"/>
                  </a:lnTo>
                  <a:lnTo>
                    <a:pt x="484" y="142"/>
                  </a:lnTo>
                  <a:lnTo>
                    <a:pt x="484" y="143"/>
                  </a:lnTo>
                  <a:lnTo>
                    <a:pt x="485" y="145"/>
                  </a:lnTo>
                  <a:lnTo>
                    <a:pt x="485" y="146"/>
                  </a:lnTo>
                  <a:lnTo>
                    <a:pt x="486" y="148"/>
                  </a:lnTo>
                  <a:lnTo>
                    <a:pt x="487" y="149"/>
                  </a:lnTo>
                  <a:lnTo>
                    <a:pt x="489" y="152"/>
                  </a:lnTo>
                  <a:lnTo>
                    <a:pt x="490" y="153"/>
                  </a:lnTo>
                  <a:lnTo>
                    <a:pt x="491" y="155"/>
                  </a:lnTo>
                  <a:lnTo>
                    <a:pt x="493" y="157"/>
                  </a:lnTo>
                  <a:lnTo>
                    <a:pt x="497" y="159"/>
                  </a:lnTo>
                  <a:lnTo>
                    <a:pt x="500" y="161"/>
                  </a:lnTo>
                  <a:lnTo>
                    <a:pt x="502" y="163"/>
                  </a:lnTo>
                  <a:lnTo>
                    <a:pt x="504" y="165"/>
                  </a:lnTo>
                  <a:lnTo>
                    <a:pt x="506" y="165"/>
                  </a:lnTo>
                  <a:lnTo>
                    <a:pt x="505" y="166"/>
                  </a:lnTo>
                  <a:lnTo>
                    <a:pt x="500" y="167"/>
                  </a:lnTo>
                  <a:lnTo>
                    <a:pt x="500" y="167"/>
                  </a:lnTo>
                  <a:lnTo>
                    <a:pt x="499" y="167"/>
                  </a:lnTo>
                  <a:lnTo>
                    <a:pt x="498" y="166"/>
                  </a:lnTo>
                  <a:lnTo>
                    <a:pt x="497" y="165"/>
                  </a:lnTo>
                  <a:lnTo>
                    <a:pt x="493" y="162"/>
                  </a:lnTo>
                  <a:lnTo>
                    <a:pt x="489" y="159"/>
                  </a:lnTo>
                  <a:lnTo>
                    <a:pt x="488" y="159"/>
                  </a:lnTo>
                  <a:lnTo>
                    <a:pt x="483" y="156"/>
                  </a:lnTo>
                  <a:lnTo>
                    <a:pt x="480" y="155"/>
                  </a:lnTo>
                  <a:lnTo>
                    <a:pt x="478" y="153"/>
                  </a:lnTo>
                  <a:lnTo>
                    <a:pt x="475" y="150"/>
                  </a:lnTo>
                  <a:lnTo>
                    <a:pt x="474" y="149"/>
                  </a:lnTo>
                  <a:lnTo>
                    <a:pt x="473" y="148"/>
                  </a:lnTo>
                  <a:lnTo>
                    <a:pt x="472" y="148"/>
                  </a:lnTo>
                  <a:lnTo>
                    <a:pt x="470" y="148"/>
                  </a:lnTo>
                  <a:lnTo>
                    <a:pt x="468" y="148"/>
                  </a:lnTo>
                  <a:lnTo>
                    <a:pt x="466" y="148"/>
                  </a:lnTo>
                  <a:lnTo>
                    <a:pt x="466" y="148"/>
                  </a:lnTo>
                  <a:lnTo>
                    <a:pt x="464" y="148"/>
                  </a:lnTo>
                  <a:lnTo>
                    <a:pt x="462" y="149"/>
                  </a:lnTo>
                  <a:lnTo>
                    <a:pt x="457" y="152"/>
                  </a:lnTo>
                  <a:lnTo>
                    <a:pt x="452" y="155"/>
                  </a:lnTo>
                  <a:lnTo>
                    <a:pt x="450" y="157"/>
                  </a:lnTo>
                  <a:lnTo>
                    <a:pt x="447" y="159"/>
                  </a:lnTo>
                  <a:lnTo>
                    <a:pt x="444" y="160"/>
                  </a:lnTo>
                  <a:lnTo>
                    <a:pt x="444" y="162"/>
                  </a:lnTo>
                  <a:lnTo>
                    <a:pt x="443" y="163"/>
                  </a:lnTo>
                  <a:lnTo>
                    <a:pt x="442" y="165"/>
                  </a:lnTo>
                  <a:lnTo>
                    <a:pt x="442" y="166"/>
                  </a:lnTo>
                  <a:lnTo>
                    <a:pt x="442" y="168"/>
                  </a:lnTo>
                  <a:lnTo>
                    <a:pt x="444" y="171"/>
                  </a:lnTo>
                  <a:lnTo>
                    <a:pt x="444" y="171"/>
                  </a:lnTo>
                  <a:lnTo>
                    <a:pt x="444" y="172"/>
                  </a:lnTo>
                  <a:lnTo>
                    <a:pt x="444" y="174"/>
                  </a:lnTo>
                  <a:lnTo>
                    <a:pt x="444" y="176"/>
                  </a:lnTo>
                  <a:lnTo>
                    <a:pt x="442" y="179"/>
                  </a:lnTo>
                  <a:lnTo>
                    <a:pt x="442" y="181"/>
                  </a:lnTo>
                  <a:lnTo>
                    <a:pt x="441" y="184"/>
                  </a:lnTo>
                  <a:lnTo>
                    <a:pt x="440" y="188"/>
                  </a:lnTo>
                  <a:lnTo>
                    <a:pt x="440" y="189"/>
                  </a:lnTo>
                  <a:lnTo>
                    <a:pt x="439" y="189"/>
                  </a:lnTo>
                  <a:lnTo>
                    <a:pt x="438" y="189"/>
                  </a:lnTo>
                  <a:lnTo>
                    <a:pt x="433" y="189"/>
                  </a:lnTo>
                  <a:lnTo>
                    <a:pt x="428" y="189"/>
                  </a:lnTo>
                  <a:lnTo>
                    <a:pt x="423" y="188"/>
                  </a:lnTo>
                  <a:lnTo>
                    <a:pt x="421" y="188"/>
                  </a:lnTo>
                  <a:lnTo>
                    <a:pt x="420" y="188"/>
                  </a:lnTo>
                  <a:lnTo>
                    <a:pt x="417" y="189"/>
                  </a:lnTo>
                  <a:lnTo>
                    <a:pt x="415" y="190"/>
                  </a:lnTo>
                  <a:lnTo>
                    <a:pt x="412" y="192"/>
                  </a:lnTo>
                  <a:lnTo>
                    <a:pt x="411" y="193"/>
                  </a:lnTo>
                  <a:lnTo>
                    <a:pt x="410" y="193"/>
                  </a:lnTo>
                  <a:lnTo>
                    <a:pt x="409" y="194"/>
                  </a:lnTo>
                  <a:lnTo>
                    <a:pt x="409" y="195"/>
                  </a:lnTo>
                  <a:lnTo>
                    <a:pt x="408" y="197"/>
                  </a:lnTo>
                  <a:lnTo>
                    <a:pt x="406" y="201"/>
                  </a:lnTo>
                  <a:lnTo>
                    <a:pt x="406" y="203"/>
                  </a:lnTo>
                  <a:lnTo>
                    <a:pt x="402" y="208"/>
                  </a:lnTo>
                  <a:lnTo>
                    <a:pt x="398" y="216"/>
                  </a:lnTo>
                  <a:lnTo>
                    <a:pt x="396" y="217"/>
                  </a:lnTo>
                  <a:lnTo>
                    <a:pt x="395" y="218"/>
                  </a:lnTo>
                  <a:lnTo>
                    <a:pt x="394" y="219"/>
                  </a:lnTo>
                  <a:lnTo>
                    <a:pt x="393" y="219"/>
                  </a:lnTo>
                  <a:lnTo>
                    <a:pt x="392" y="219"/>
                  </a:lnTo>
                  <a:lnTo>
                    <a:pt x="390" y="218"/>
                  </a:lnTo>
                  <a:lnTo>
                    <a:pt x="387" y="216"/>
                  </a:lnTo>
                  <a:lnTo>
                    <a:pt x="386" y="216"/>
                  </a:lnTo>
                  <a:lnTo>
                    <a:pt x="385" y="216"/>
                  </a:lnTo>
                  <a:lnTo>
                    <a:pt x="384" y="216"/>
                  </a:lnTo>
                  <a:lnTo>
                    <a:pt x="383" y="216"/>
                  </a:lnTo>
                  <a:lnTo>
                    <a:pt x="380" y="217"/>
                  </a:lnTo>
                  <a:lnTo>
                    <a:pt x="379" y="217"/>
                  </a:lnTo>
                  <a:lnTo>
                    <a:pt x="378" y="218"/>
                  </a:lnTo>
                  <a:lnTo>
                    <a:pt x="375" y="221"/>
                  </a:lnTo>
                  <a:lnTo>
                    <a:pt x="373" y="222"/>
                  </a:lnTo>
                  <a:lnTo>
                    <a:pt x="367" y="227"/>
                  </a:lnTo>
                  <a:lnTo>
                    <a:pt x="365" y="229"/>
                  </a:lnTo>
                  <a:lnTo>
                    <a:pt x="364" y="231"/>
                  </a:lnTo>
                  <a:lnTo>
                    <a:pt x="360" y="233"/>
                  </a:lnTo>
                  <a:lnTo>
                    <a:pt x="357" y="234"/>
                  </a:lnTo>
                  <a:lnTo>
                    <a:pt x="353" y="236"/>
                  </a:lnTo>
                  <a:lnTo>
                    <a:pt x="349" y="237"/>
                  </a:lnTo>
                  <a:lnTo>
                    <a:pt x="347" y="238"/>
                  </a:lnTo>
                  <a:lnTo>
                    <a:pt x="344" y="238"/>
                  </a:lnTo>
                  <a:lnTo>
                    <a:pt x="342" y="239"/>
                  </a:lnTo>
                  <a:lnTo>
                    <a:pt x="341" y="239"/>
                  </a:lnTo>
                  <a:lnTo>
                    <a:pt x="338" y="238"/>
                  </a:lnTo>
                  <a:lnTo>
                    <a:pt x="329" y="237"/>
                  </a:lnTo>
                  <a:lnTo>
                    <a:pt x="326" y="237"/>
                  </a:lnTo>
                  <a:lnTo>
                    <a:pt x="324" y="237"/>
                  </a:lnTo>
                  <a:lnTo>
                    <a:pt x="322" y="237"/>
                  </a:lnTo>
                  <a:lnTo>
                    <a:pt x="321" y="238"/>
                  </a:lnTo>
                  <a:lnTo>
                    <a:pt x="312" y="240"/>
                  </a:lnTo>
                  <a:lnTo>
                    <a:pt x="306" y="242"/>
                  </a:lnTo>
                  <a:lnTo>
                    <a:pt x="303" y="243"/>
                  </a:lnTo>
                  <a:lnTo>
                    <a:pt x="300" y="244"/>
                  </a:lnTo>
                  <a:lnTo>
                    <a:pt x="298" y="246"/>
                  </a:lnTo>
                  <a:lnTo>
                    <a:pt x="295" y="248"/>
                  </a:lnTo>
                  <a:lnTo>
                    <a:pt x="293" y="250"/>
                  </a:lnTo>
                  <a:lnTo>
                    <a:pt x="291" y="252"/>
                  </a:lnTo>
                  <a:lnTo>
                    <a:pt x="289" y="255"/>
                  </a:lnTo>
                  <a:lnTo>
                    <a:pt x="287" y="258"/>
                  </a:lnTo>
                  <a:lnTo>
                    <a:pt x="284" y="263"/>
                  </a:lnTo>
                  <a:lnTo>
                    <a:pt x="283" y="266"/>
                  </a:lnTo>
                  <a:lnTo>
                    <a:pt x="278" y="273"/>
                  </a:lnTo>
                  <a:lnTo>
                    <a:pt x="276" y="275"/>
                  </a:lnTo>
                  <a:lnTo>
                    <a:pt x="275" y="276"/>
                  </a:lnTo>
                  <a:lnTo>
                    <a:pt x="273" y="277"/>
                  </a:lnTo>
                  <a:lnTo>
                    <a:pt x="272" y="279"/>
                  </a:lnTo>
                  <a:lnTo>
                    <a:pt x="269" y="280"/>
                  </a:lnTo>
                  <a:lnTo>
                    <a:pt x="263" y="282"/>
                  </a:lnTo>
                  <a:lnTo>
                    <a:pt x="259" y="284"/>
                  </a:lnTo>
                  <a:lnTo>
                    <a:pt x="256" y="284"/>
                  </a:lnTo>
                  <a:lnTo>
                    <a:pt x="252" y="285"/>
                  </a:lnTo>
                  <a:lnTo>
                    <a:pt x="250" y="285"/>
                  </a:lnTo>
                  <a:lnTo>
                    <a:pt x="248" y="285"/>
                  </a:lnTo>
                  <a:lnTo>
                    <a:pt x="246" y="285"/>
                  </a:lnTo>
                  <a:lnTo>
                    <a:pt x="243" y="285"/>
                  </a:lnTo>
                  <a:lnTo>
                    <a:pt x="241" y="284"/>
                  </a:lnTo>
                  <a:lnTo>
                    <a:pt x="238" y="284"/>
                  </a:lnTo>
                  <a:lnTo>
                    <a:pt x="230" y="282"/>
                  </a:lnTo>
                  <a:lnTo>
                    <a:pt x="227" y="281"/>
                  </a:lnTo>
                  <a:lnTo>
                    <a:pt x="227" y="281"/>
                  </a:lnTo>
                  <a:lnTo>
                    <a:pt x="226" y="281"/>
                  </a:lnTo>
                  <a:lnTo>
                    <a:pt x="224" y="282"/>
                  </a:lnTo>
                  <a:lnTo>
                    <a:pt x="223" y="283"/>
                  </a:lnTo>
                  <a:lnTo>
                    <a:pt x="222" y="284"/>
                  </a:lnTo>
                  <a:lnTo>
                    <a:pt x="221" y="284"/>
                  </a:lnTo>
                  <a:lnTo>
                    <a:pt x="220" y="285"/>
                  </a:lnTo>
                  <a:lnTo>
                    <a:pt x="219" y="287"/>
                  </a:lnTo>
                  <a:lnTo>
                    <a:pt x="218" y="290"/>
                  </a:lnTo>
                  <a:lnTo>
                    <a:pt x="215" y="304"/>
                  </a:lnTo>
                  <a:lnTo>
                    <a:pt x="213" y="308"/>
                  </a:lnTo>
                  <a:lnTo>
                    <a:pt x="212" y="312"/>
                  </a:lnTo>
                  <a:lnTo>
                    <a:pt x="209" y="318"/>
                  </a:lnTo>
                  <a:lnTo>
                    <a:pt x="207" y="320"/>
                  </a:lnTo>
                  <a:lnTo>
                    <a:pt x="206" y="322"/>
                  </a:lnTo>
                  <a:lnTo>
                    <a:pt x="205" y="323"/>
                  </a:lnTo>
                  <a:lnTo>
                    <a:pt x="205" y="324"/>
                  </a:lnTo>
                  <a:lnTo>
                    <a:pt x="204" y="324"/>
                  </a:lnTo>
                  <a:lnTo>
                    <a:pt x="203" y="324"/>
                  </a:lnTo>
                  <a:lnTo>
                    <a:pt x="201" y="324"/>
                  </a:lnTo>
                  <a:lnTo>
                    <a:pt x="199" y="324"/>
                  </a:lnTo>
                  <a:lnTo>
                    <a:pt x="198" y="323"/>
                  </a:lnTo>
                  <a:lnTo>
                    <a:pt x="196" y="322"/>
                  </a:lnTo>
                  <a:lnTo>
                    <a:pt x="195" y="321"/>
                  </a:lnTo>
                  <a:lnTo>
                    <a:pt x="193" y="318"/>
                  </a:lnTo>
                  <a:lnTo>
                    <a:pt x="190" y="315"/>
                  </a:lnTo>
                  <a:lnTo>
                    <a:pt x="188" y="314"/>
                  </a:lnTo>
                  <a:lnTo>
                    <a:pt x="187" y="313"/>
                  </a:lnTo>
                  <a:lnTo>
                    <a:pt x="186" y="312"/>
                  </a:lnTo>
                  <a:lnTo>
                    <a:pt x="185" y="312"/>
                  </a:lnTo>
                  <a:lnTo>
                    <a:pt x="183" y="311"/>
                  </a:lnTo>
                  <a:lnTo>
                    <a:pt x="182" y="311"/>
                  </a:lnTo>
                  <a:lnTo>
                    <a:pt x="180" y="311"/>
                  </a:lnTo>
                  <a:lnTo>
                    <a:pt x="174" y="312"/>
                  </a:lnTo>
                  <a:lnTo>
                    <a:pt x="169" y="313"/>
                  </a:lnTo>
                  <a:lnTo>
                    <a:pt x="165" y="314"/>
                  </a:lnTo>
                  <a:lnTo>
                    <a:pt x="164" y="314"/>
                  </a:lnTo>
                  <a:lnTo>
                    <a:pt x="163" y="314"/>
                  </a:lnTo>
                  <a:lnTo>
                    <a:pt x="161" y="314"/>
                  </a:lnTo>
                  <a:lnTo>
                    <a:pt x="160" y="313"/>
                  </a:lnTo>
                  <a:lnTo>
                    <a:pt x="159" y="312"/>
                  </a:lnTo>
                  <a:lnTo>
                    <a:pt x="158" y="311"/>
                  </a:lnTo>
                  <a:lnTo>
                    <a:pt x="156" y="309"/>
                  </a:lnTo>
                  <a:lnTo>
                    <a:pt x="154" y="307"/>
                  </a:lnTo>
                  <a:lnTo>
                    <a:pt x="153" y="305"/>
                  </a:lnTo>
                  <a:lnTo>
                    <a:pt x="152" y="302"/>
                  </a:lnTo>
                  <a:lnTo>
                    <a:pt x="150" y="297"/>
                  </a:lnTo>
                  <a:lnTo>
                    <a:pt x="149" y="292"/>
                  </a:lnTo>
                  <a:lnTo>
                    <a:pt x="148" y="286"/>
                  </a:lnTo>
                  <a:lnTo>
                    <a:pt x="145" y="285"/>
                  </a:lnTo>
                  <a:lnTo>
                    <a:pt x="139" y="284"/>
                  </a:lnTo>
                  <a:lnTo>
                    <a:pt x="136" y="284"/>
                  </a:lnTo>
                  <a:lnTo>
                    <a:pt x="134" y="283"/>
                  </a:lnTo>
                  <a:lnTo>
                    <a:pt x="132" y="282"/>
                  </a:lnTo>
                  <a:lnTo>
                    <a:pt x="130" y="281"/>
                  </a:lnTo>
                  <a:lnTo>
                    <a:pt x="128" y="280"/>
                  </a:lnTo>
                  <a:lnTo>
                    <a:pt x="126" y="278"/>
                  </a:lnTo>
                  <a:lnTo>
                    <a:pt x="125" y="276"/>
                  </a:lnTo>
                  <a:lnTo>
                    <a:pt x="123" y="274"/>
                  </a:lnTo>
                  <a:lnTo>
                    <a:pt x="122" y="273"/>
                  </a:lnTo>
                  <a:lnTo>
                    <a:pt x="120" y="271"/>
                  </a:lnTo>
                  <a:lnTo>
                    <a:pt x="119" y="269"/>
                  </a:lnTo>
                  <a:lnTo>
                    <a:pt x="119" y="267"/>
                  </a:lnTo>
                  <a:lnTo>
                    <a:pt x="118" y="265"/>
                  </a:lnTo>
                  <a:lnTo>
                    <a:pt x="118" y="263"/>
                  </a:lnTo>
                  <a:lnTo>
                    <a:pt x="119" y="261"/>
                  </a:lnTo>
                  <a:lnTo>
                    <a:pt x="120" y="260"/>
                  </a:lnTo>
                  <a:lnTo>
                    <a:pt x="121" y="258"/>
                  </a:lnTo>
                  <a:lnTo>
                    <a:pt x="123" y="256"/>
                  </a:lnTo>
                  <a:lnTo>
                    <a:pt x="124" y="254"/>
                  </a:lnTo>
                  <a:lnTo>
                    <a:pt x="125" y="253"/>
                  </a:lnTo>
                  <a:lnTo>
                    <a:pt x="127" y="252"/>
                  </a:lnTo>
                  <a:lnTo>
                    <a:pt x="129" y="251"/>
                  </a:lnTo>
                  <a:lnTo>
                    <a:pt x="130" y="251"/>
                  </a:lnTo>
                  <a:lnTo>
                    <a:pt x="132" y="251"/>
                  </a:lnTo>
                  <a:lnTo>
                    <a:pt x="133" y="251"/>
                  </a:lnTo>
                  <a:lnTo>
                    <a:pt x="134" y="251"/>
                  </a:lnTo>
                  <a:lnTo>
                    <a:pt x="136" y="251"/>
                  </a:lnTo>
                  <a:lnTo>
                    <a:pt x="137" y="252"/>
                  </a:lnTo>
                  <a:lnTo>
                    <a:pt x="139" y="254"/>
                  </a:lnTo>
                  <a:lnTo>
                    <a:pt x="141" y="254"/>
                  </a:lnTo>
                  <a:lnTo>
                    <a:pt x="142" y="254"/>
                  </a:lnTo>
                  <a:lnTo>
                    <a:pt x="143" y="254"/>
                  </a:lnTo>
                  <a:lnTo>
                    <a:pt x="144" y="253"/>
                  </a:lnTo>
                  <a:lnTo>
                    <a:pt x="145" y="250"/>
                  </a:lnTo>
                  <a:lnTo>
                    <a:pt x="146" y="248"/>
                  </a:lnTo>
                  <a:lnTo>
                    <a:pt x="147" y="241"/>
                  </a:lnTo>
                  <a:lnTo>
                    <a:pt x="147" y="239"/>
                  </a:lnTo>
                  <a:lnTo>
                    <a:pt x="148" y="220"/>
                  </a:lnTo>
                  <a:lnTo>
                    <a:pt x="150" y="213"/>
                  </a:lnTo>
                  <a:lnTo>
                    <a:pt x="150" y="210"/>
                  </a:lnTo>
                  <a:lnTo>
                    <a:pt x="150" y="207"/>
                  </a:lnTo>
                  <a:lnTo>
                    <a:pt x="149" y="205"/>
                  </a:lnTo>
                  <a:lnTo>
                    <a:pt x="148" y="205"/>
                  </a:lnTo>
                  <a:lnTo>
                    <a:pt x="148" y="204"/>
                  </a:lnTo>
                  <a:lnTo>
                    <a:pt x="146" y="204"/>
                  </a:lnTo>
                  <a:lnTo>
                    <a:pt x="145" y="203"/>
                  </a:lnTo>
                  <a:lnTo>
                    <a:pt x="141" y="203"/>
                  </a:lnTo>
                  <a:lnTo>
                    <a:pt x="139" y="202"/>
                  </a:lnTo>
                  <a:lnTo>
                    <a:pt x="128" y="197"/>
                  </a:lnTo>
                  <a:lnTo>
                    <a:pt x="125" y="196"/>
                  </a:lnTo>
                  <a:lnTo>
                    <a:pt x="121" y="194"/>
                  </a:lnTo>
                  <a:lnTo>
                    <a:pt x="119" y="193"/>
                  </a:lnTo>
                  <a:lnTo>
                    <a:pt x="117" y="191"/>
                  </a:lnTo>
                  <a:lnTo>
                    <a:pt x="114" y="189"/>
                  </a:lnTo>
                  <a:lnTo>
                    <a:pt x="112" y="185"/>
                  </a:lnTo>
                  <a:lnTo>
                    <a:pt x="103" y="174"/>
                  </a:lnTo>
                  <a:lnTo>
                    <a:pt x="102" y="171"/>
                  </a:lnTo>
                  <a:lnTo>
                    <a:pt x="102" y="170"/>
                  </a:lnTo>
                  <a:lnTo>
                    <a:pt x="99" y="162"/>
                  </a:lnTo>
                  <a:lnTo>
                    <a:pt x="98" y="159"/>
                  </a:lnTo>
                  <a:lnTo>
                    <a:pt x="97" y="159"/>
                  </a:lnTo>
                  <a:lnTo>
                    <a:pt x="96" y="158"/>
                  </a:lnTo>
                  <a:lnTo>
                    <a:pt x="95" y="158"/>
                  </a:lnTo>
                  <a:lnTo>
                    <a:pt x="94" y="157"/>
                  </a:lnTo>
                  <a:lnTo>
                    <a:pt x="93" y="157"/>
                  </a:lnTo>
                  <a:lnTo>
                    <a:pt x="92" y="157"/>
                  </a:lnTo>
                  <a:lnTo>
                    <a:pt x="91" y="157"/>
                  </a:lnTo>
                  <a:lnTo>
                    <a:pt x="91" y="158"/>
                  </a:lnTo>
                  <a:lnTo>
                    <a:pt x="89" y="159"/>
                  </a:lnTo>
                  <a:lnTo>
                    <a:pt x="86" y="162"/>
                  </a:lnTo>
                  <a:lnTo>
                    <a:pt x="85" y="163"/>
                  </a:lnTo>
                  <a:lnTo>
                    <a:pt x="84" y="164"/>
                  </a:lnTo>
                  <a:lnTo>
                    <a:pt x="83" y="165"/>
                  </a:lnTo>
                  <a:lnTo>
                    <a:pt x="80" y="166"/>
                  </a:lnTo>
                  <a:lnTo>
                    <a:pt x="75" y="170"/>
                  </a:lnTo>
                  <a:lnTo>
                    <a:pt x="73" y="170"/>
                  </a:lnTo>
                  <a:lnTo>
                    <a:pt x="69" y="171"/>
                  </a:lnTo>
                  <a:lnTo>
                    <a:pt x="64" y="173"/>
                  </a:lnTo>
                  <a:lnTo>
                    <a:pt x="61" y="174"/>
                  </a:lnTo>
                  <a:lnTo>
                    <a:pt x="59" y="175"/>
                  </a:lnTo>
                  <a:lnTo>
                    <a:pt x="57" y="175"/>
                  </a:lnTo>
                  <a:lnTo>
                    <a:pt x="55" y="175"/>
                  </a:lnTo>
                  <a:lnTo>
                    <a:pt x="53" y="175"/>
                  </a:lnTo>
                  <a:lnTo>
                    <a:pt x="51" y="175"/>
                  </a:lnTo>
                  <a:lnTo>
                    <a:pt x="34" y="173"/>
                  </a:lnTo>
                  <a:lnTo>
                    <a:pt x="29" y="172"/>
                  </a:lnTo>
                  <a:lnTo>
                    <a:pt x="28" y="172"/>
                  </a:lnTo>
                  <a:lnTo>
                    <a:pt x="26" y="171"/>
                  </a:lnTo>
                  <a:lnTo>
                    <a:pt x="24" y="171"/>
                  </a:lnTo>
                  <a:lnTo>
                    <a:pt x="23" y="170"/>
                  </a:lnTo>
                  <a:lnTo>
                    <a:pt x="22" y="169"/>
                  </a:lnTo>
                  <a:lnTo>
                    <a:pt x="21" y="167"/>
                  </a:lnTo>
                  <a:lnTo>
                    <a:pt x="19" y="165"/>
                  </a:lnTo>
                  <a:lnTo>
                    <a:pt x="16" y="161"/>
                  </a:lnTo>
                  <a:lnTo>
                    <a:pt x="15" y="159"/>
                  </a:lnTo>
                  <a:lnTo>
                    <a:pt x="14" y="158"/>
                  </a:lnTo>
                  <a:lnTo>
                    <a:pt x="13" y="154"/>
                  </a:lnTo>
                  <a:lnTo>
                    <a:pt x="12" y="151"/>
                  </a:lnTo>
                  <a:lnTo>
                    <a:pt x="11" y="148"/>
                  </a:lnTo>
                  <a:lnTo>
                    <a:pt x="11" y="145"/>
                  </a:lnTo>
                  <a:lnTo>
                    <a:pt x="11" y="140"/>
                  </a:lnTo>
                  <a:lnTo>
                    <a:pt x="10" y="126"/>
                  </a:lnTo>
                  <a:lnTo>
                    <a:pt x="9" y="116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7" y="107"/>
                  </a:lnTo>
                  <a:lnTo>
                    <a:pt x="7" y="106"/>
                  </a:lnTo>
                  <a:lnTo>
                    <a:pt x="5" y="102"/>
                  </a:lnTo>
                  <a:lnTo>
                    <a:pt x="4" y="101"/>
                  </a:lnTo>
                  <a:lnTo>
                    <a:pt x="4" y="98"/>
                  </a:lnTo>
                  <a:lnTo>
                    <a:pt x="3" y="94"/>
                  </a:lnTo>
                  <a:lnTo>
                    <a:pt x="3" y="93"/>
                  </a:lnTo>
                  <a:lnTo>
                    <a:pt x="2" y="91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0" y="84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1" y="80"/>
                  </a:lnTo>
                  <a:lnTo>
                    <a:pt x="2" y="79"/>
                  </a:lnTo>
                  <a:lnTo>
                    <a:pt x="3" y="77"/>
                  </a:lnTo>
                  <a:lnTo>
                    <a:pt x="5" y="75"/>
                  </a:lnTo>
                  <a:lnTo>
                    <a:pt x="9" y="72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58"/>
                  </a:lnTo>
                  <a:lnTo>
                    <a:pt x="31" y="57"/>
                  </a:lnTo>
                  <a:lnTo>
                    <a:pt x="39" y="52"/>
                  </a:lnTo>
                  <a:lnTo>
                    <a:pt x="41" y="51"/>
                  </a:lnTo>
                  <a:lnTo>
                    <a:pt x="41" y="50"/>
                  </a:lnTo>
                  <a:lnTo>
                    <a:pt x="42" y="51"/>
                  </a:lnTo>
                  <a:lnTo>
                    <a:pt x="43" y="52"/>
                  </a:lnTo>
                  <a:lnTo>
                    <a:pt x="44" y="53"/>
                  </a:lnTo>
                  <a:lnTo>
                    <a:pt x="44" y="54"/>
                  </a:lnTo>
                  <a:lnTo>
                    <a:pt x="44" y="55"/>
                  </a:lnTo>
                  <a:lnTo>
                    <a:pt x="44" y="56"/>
                  </a:lnTo>
                  <a:lnTo>
                    <a:pt x="43" y="60"/>
                  </a:lnTo>
                  <a:lnTo>
                    <a:pt x="43" y="62"/>
                  </a:lnTo>
                  <a:lnTo>
                    <a:pt x="43" y="63"/>
                  </a:lnTo>
                  <a:lnTo>
                    <a:pt x="44" y="64"/>
                  </a:lnTo>
                  <a:lnTo>
                    <a:pt x="44" y="65"/>
                  </a:lnTo>
                  <a:lnTo>
                    <a:pt x="45" y="66"/>
                  </a:lnTo>
                  <a:lnTo>
                    <a:pt x="46" y="68"/>
                  </a:lnTo>
                  <a:lnTo>
                    <a:pt x="48" y="69"/>
                  </a:lnTo>
                  <a:lnTo>
                    <a:pt x="54" y="71"/>
                  </a:lnTo>
                  <a:lnTo>
                    <a:pt x="59" y="74"/>
                  </a:lnTo>
                  <a:lnTo>
                    <a:pt x="61" y="75"/>
                  </a:lnTo>
                  <a:lnTo>
                    <a:pt x="62" y="75"/>
                  </a:lnTo>
                  <a:lnTo>
                    <a:pt x="65" y="75"/>
                  </a:lnTo>
                  <a:lnTo>
                    <a:pt x="67" y="74"/>
                  </a:lnTo>
                  <a:lnTo>
                    <a:pt x="69" y="74"/>
                  </a:lnTo>
                  <a:lnTo>
                    <a:pt x="75" y="72"/>
                  </a:lnTo>
                  <a:lnTo>
                    <a:pt x="76" y="71"/>
                  </a:lnTo>
                  <a:lnTo>
                    <a:pt x="78" y="71"/>
                  </a:lnTo>
                  <a:lnTo>
                    <a:pt x="82" y="70"/>
                  </a:lnTo>
                  <a:lnTo>
                    <a:pt x="91" y="70"/>
                  </a:lnTo>
                  <a:lnTo>
                    <a:pt x="95" y="70"/>
                  </a:lnTo>
                  <a:lnTo>
                    <a:pt x="98" y="70"/>
                  </a:lnTo>
                  <a:lnTo>
                    <a:pt x="101" y="69"/>
                  </a:lnTo>
                  <a:lnTo>
                    <a:pt x="105" y="69"/>
                  </a:lnTo>
                  <a:lnTo>
                    <a:pt x="109" y="67"/>
                  </a:lnTo>
                  <a:lnTo>
                    <a:pt x="114" y="65"/>
                  </a:lnTo>
                  <a:lnTo>
                    <a:pt x="117" y="63"/>
                  </a:lnTo>
                  <a:lnTo>
                    <a:pt x="120" y="62"/>
                  </a:lnTo>
                  <a:lnTo>
                    <a:pt x="122" y="60"/>
                  </a:lnTo>
                  <a:lnTo>
                    <a:pt x="126" y="57"/>
                  </a:lnTo>
                  <a:lnTo>
                    <a:pt x="133" y="52"/>
                  </a:lnTo>
                  <a:lnTo>
                    <a:pt x="135" y="51"/>
                  </a:lnTo>
                  <a:lnTo>
                    <a:pt x="137" y="50"/>
                  </a:lnTo>
                  <a:lnTo>
                    <a:pt x="138" y="49"/>
                  </a:lnTo>
                  <a:lnTo>
                    <a:pt x="141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8" y="48"/>
                  </a:lnTo>
                  <a:lnTo>
                    <a:pt x="148" y="48"/>
                  </a:lnTo>
                  <a:lnTo>
                    <a:pt x="150" y="49"/>
                  </a:lnTo>
                  <a:lnTo>
                    <a:pt x="151" y="50"/>
                  </a:lnTo>
                  <a:lnTo>
                    <a:pt x="152" y="51"/>
                  </a:lnTo>
                  <a:lnTo>
                    <a:pt x="152" y="52"/>
                  </a:lnTo>
                  <a:lnTo>
                    <a:pt x="153" y="53"/>
                  </a:lnTo>
                  <a:lnTo>
                    <a:pt x="153" y="54"/>
                  </a:lnTo>
                  <a:lnTo>
                    <a:pt x="153" y="55"/>
                  </a:lnTo>
                  <a:lnTo>
                    <a:pt x="153" y="56"/>
                  </a:lnTo>
                  <a:lnTo>
                    <a:pt x="153" y="57"/>
                  </a:lnTo>
                  <a:lnTo>
                    <a:pt x="152" y="59"/>
                  </a:lnTo>
                  <a:lnTo>
                    <a:pt x="149" y="64"/>
                  </a:lnTo>
                  <a:lnTo>
                    <a:pt x="148" y="68"/>
                  </a:lnTo>
                  <a:lnTo>
                    <a:pt x="148" y="70"/>
                  </a:lnTo>
                  <a:lnTo>
                    <a:pt x="148" y="72"/>
                  </a:lnTo>
                  <a:lnTo>
                    <a:pt x="148" y="73"/>
                  </a:lnTo>
                  <a:lnTo>
                    <a:pt x="148" y="74"/>
                  </a:lnTo>
                  <a:lnTo>
                    <a:pt x="148" y="76"/>
                  </a:lnTo>
                  <a:lnTo>
                    <a:pt x="149" y="78"/>
                  </a:lnTo>
                  <a:lnTo>
                    <a:pt x="150" y="78"/>
                  </a:lnTo>
                  <a:lnTo>
                    <a:pt x="151" y="79"/>
                  </a:lnTo>
                  <a:lnTo>
                    <a:pt x="153" y="80"/>
                  </a:lnTo>
                  <a:lnTo>
                    <a:pt x="154" y="80"/>
                  </a:lnTo>
                  <a:lnTo>
                    <a:pt x="156" y="80"/>
                  </a:lnTo>
                  <a:lnTo>
                    <a:pt x="158" y="80"/>
                  </a:lnTo>
                  <a:lnTo>
                    <a:pt x="159" y="80"/>
                  </a:lnTo>
                  <a:lnTo>
                    <a:pt x="161" y="80"/>
                  </a:lnTo>
                  <a:lnTo>
                    <a:pt x="162" y="79"/>
                  </a:lnTo>
                  <a:lnTo>
                    <a:pt x="166" y="75"/>
                  </a:lnTo>
                  <a:lnTo>
                    <a:pt x="171" y="71"/>
                  </a:lnTo>
                  <a:lnTo>
                    <a:pt x="172" y="70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8" y="69"/>
                  </a:lnTo>
                  <a:lnTo>
                    <a:pt x="186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3" y="67"/>
                  </a:lnTo>
                  <a:lnTo>
                    <a:pt x="194" y="67"/>
                  </a:lnTo>
                  <a:lnTo>
                    <a:pt x="197" y="66"/>
                  </a:lnTo>
                  <a:lnTo>
                    <a:pt x="199" y="64"/>
                  </a:lnTo>
                  <a:lnTo>
                    <a:pt x="201" y="62"/>
                  </a:lnTo>
                  <a:lnTo>
                    <a:pt x="204" y="59"/>
                  </a:lnTo>
                  <a:lnTo>
                    <a:pt x="205" y="58"/>
                  </a:lnTo>
                  <a:lnTo>
                    <a:pt x="206" y="57"/>
                  </a:lnTo>
                  <a:lnTo>
                    <a:pt x="207" y="57"/>
                  </a:lnTo>
                  <a:lnTo>
                    <a:pt x="209" y="56"/>
                  </a:lnTo>
                  <a:lnTo>
                    <a:pt x="211" y="56"/>
                  </a:lnTo>
                  <a:lnTo>
                    <a:pt x="215" y="55"/>
                  </a:lnTo>
                  <a:lnTo>
                    <a:pt x="219" y="55"/>
                  </a:lnTo>
                  <a:lnTo>
                    <a:pt x="223" y="54"/>
                  </a:lnTo>
                  <a:lnTo>
                    <a:pt x="225" y="54"/>
                  </a:lnTo>
                  <a:lnTo>
                    <a:pt x="226" y="55"/>
                  </a:lnTo>
                  <a:lnTo>
                    <a:pt x="227" y="55"/>
                  </a:lnTo>
                  <a:lnTo>
                    <a:pt x="228" y="56"/>
                  </a:lnTo>
                  <a:lnTo>
                    <a:pt x="230" y="56"/>
                  </a:lnTo>
                  <a:lnTo>
                    <a:pt x="231" y="57"/>
                  </a:lnTo>
                  <a:lnTo>
                    <a:pt x="236" y="60"/>
                  </a:lnTo>
                  <a:lnTo>
                    <a:pt x="237" y="61"/>
                  </a:lnTo>
                  <a:lnTo>
                    <a:pt x="239" y="61"/>
                  </a:lnTo>
                  <a:lnTo>
                    <a:pt x="241" y="63"/>
                  </a:lnTo>
                  <a:lnTo>
                    <a:pt x="247" y="64"/>
                  </a:lnTo>
                  <a:lnTo>
                    <a:pt x="249" y="65"/>
                  </a:lnTo>
                  <a:lnTo>
                    <a:pt x="250" y="65"/>
                  </a:lnTo>
                  <a:lnTo>
                    <a:pt x="251" y="66"/>
                  </a:lnTo>
                  <a:lnTo>
                    <a:pt x="253" y="68"/>
                  </a:lnTo>
                  <a:lnTo>
                    <a:pt x="256" y="70"/>
                  </a:lnTo>
                  <a:lnTo>
                    <a:pt x="258" y="72"/>
                  </a:lnTo>
                  <a:lnTo>
                    <a:pt x="260" y="73"/>
                  </a:lnTo>
                  <a:lnTo>
                    <a:pt x="262" y="74"/>
                  </a:lnTo>
                  <a:lnTo>
                    <a:pt x="268" y="77"/>
                  </a:lnTo>
                  <a:lnTo>
                    <a:pt x="276" y="81"/>
                  </a:lnTo>
                  <a:lnTo>
                    <a:pt x="277" y="82"/>
                  </a:lnTo>
                  <a:lnTo>
                    <a:pt x="279" y="83"/>
                  </a:lnTo>
                  <a:lnTo>
                    <a:pt x="280" y="83"/>
                  </a:lnTo>
                  <a:lnTo>
                    <a:pt x="281" y="83"/>
                  </a:lnTo>
                  <a:lnTo>
                    <a:pt x="283" y="83"/>
                  </a:lnTo>
                  <a:lnTo>
                    <a:pt x="284" y="83"/>
                  </a:lnTo>
                  <a:lnTo>
                    <a:pt x="286" y="82"/>
                  </a:lnTo>
                  <a:lnTo>
                    <a:pt x="288" y="80"/>
                  </a:lnTo>
                  <a:lnTo>
                    <a:pt x="292" y="77"/>
                  </a:lnTo>
                  <a:lnTo>
                    <a:pt x="294" y="76"/>
                  </a:lnTo>
                  <a:lnTo>
                    <a:pt x="295" y="75"/>
                  </a:lnTo>
                  <a:lnTo>
                    <a:pt x="296" y="74"/>
                  </a:lnTo>
                  <a:lnTo>
                    <a:pt x="298" y="74"/>
                  </a:lnTo>
                  <a:lnTo>
                    <a:pt x="300" y="73"/>
                  </a:lnTo>
                  <a:lnTo>
                    <a:pt x="305" y="73"/>
                  </a:lnTo>
                  <a:lnTo>
                    <a:pt x="309" y="72"/>
                  </a:lnTo>
                  <a:lnTo>
                    <a:pt x="313" y="72"/>
                  </a:lnTo>
                  <a:lnTo>
                    <a:pt x="316" y="72"/>
                  </a:lnTo>
                  <a:lnTo>
                    <a:pt x="318" y="73"/>
                  </a:lnTo>
                  <a:lnTo>
                    <a:pt x="322" y="73"/>
                  </a:lnTo>
                  <a:lnTo>
                    <a:pt x="324" y="73"/>
                  </a:lnTo>
                  <a:lnTo>
                    <a:pt x="326" y="73"/>
                  </a:lnTo>
                  <a:lnTo>
                    <a:pt x="328" y="73"/>
                  </a:lnTo>
                  <a:lnTo>
                    <a:pt x="330" y="72"/>
                  </a:lnTo>
                  <a:lnTo>
                    <a:pt x="332" y="71"/>
                  </a:lnTo>
                  <a:lnTo>
                    <a:pt x="336" y="68"/>
                  </a:lnTo>
                  <a:lnTo>
                    <a:pt x="341" y="65"/>
                  </a:lnTo>
                  <a:lnTo>
                    <a:pt x="344" y="62"/>
                  </a:lnTo>
                  <a:lnTo>
                    <a:pt x="345" y="62"/>
                  </a:lnTo>
                  <a:lnTo>
                    <a:pt x="347" y="61"/>
                  </a:lnTo>
                  <a:lnTo>
                    <a:pt x="349" y="61"/>
                  </a:lnTo>
                  <a:lnTo>
                    <a:pt x="353" y="61"/>
                  </a:lnTo>
                  <a:lnTo>
                    <a:pt x="354" y="61"/>
                  </a:lnTo>
                  <a:lnTo>
                    <a:pt x="359" y="61"/>
                  </a:lnTo>
                  <a:lnTo>
                    <a:pt x="361" y="61"/>
                  </a:lnTo>
                  <a:lnTo>
                    <a:pt x="364" y="62"/>
                  </a:lnTo>
                  <a:lnTo>
                    <a:pt x="372" y="64"/>
                  </a:lnTo>
                  <a:lnTo>
                    <a:pt x="375" y="65"/>
                  </a:lnTo>
                  <a:lnTo>
                    <a:pt x="379" y="65"/>
                  </a:lnTo>
                  <a:lnTo>
                    <a:pt x="382" y="65"/>
                  </a:lnTo>
                  <a:lnTo>
                    <a:pt x="384" y="65"/>
                  </a:lnTo>
                  <a:lnTo>
                    <a:pt x="385" y="65"/>
                  </a:lnTo>
                  <a:lnTo>
                    <a:pt x="390" y="63"/>
                  </a:lnTo>
                  <a:lnTo>
                    <a:pt x="397" y="60"/>
                  </a:lnTo>
                  <a:lnTo>
                    <a:pt x="403" y="57"/>
                  </a:lnTo>
                  <a:lnTo>
                    <a:pt x="404" y="57"/>
                  </a:lnTo>
                  <a:lnTo>
                    <a:pt x="406" y="55"/>
                  </a:lnTo>
                  <a:lnTo>
                    <a:pt x="407" y="54"/>
                  </a:lnTo>
                  <a:lnTo>
                    <a:pt x="409" y="51"/>
                  </a:lnTo>
                  <a:lnTo>
                    <a:pt x="409" y="49"/>
                  </a:lnTo>
                  <a:lnTo>
                    <a:pt x="410" y="47"/>
                  </a:lnTo>
                  <a:lnTo>
                    <a:pt x="411" y="46"/>
                  </a:lnTo>
                  <a:lnTo>
                    <a:pt x="411" y="44"/>
                  </a:lnTo>
                  <a:lnTo>
                    <a:pt x="412" y="42"/>
                  </a:lnTo>
                  <a:lnTo>
                    <a:pt x="412" y="39"/>
                  </a:lnTo>
                  <a:lnTo>
                    <a:pt x="411" y="35"/>
                  </a:lnTo>
                  <a:lnTo>
                    <a:pt x="409" y="29"/>
                  </a:lnTo>
                  <a:lnTo>
                    <a:pt x="409" y="28"/>
                  </a:lnTo>
                  <a:lnTo>
                    <a:pt x="409" y="27"/>
                  </a:lnTo>
                  <a:lnTo>
                    <a:pt x="409" y="25"/>
                  </a:lnTo>
                  <a:lnTo>
                    <a:pt x="410" y="22"/>
                  </a:lnTo>
                  <a:lnTo>
                    <a:pt x="410" y="20"/>
                  </a:lnTo>
                  <a:lnTo>
                    <a:pt x="411" y="16"/>
                  </a:lnTo>
                  <a:lnTo>
                    <a:pt x="410" y="13"/>
                  </a:lnTo>
                  <a:lnTo>
                    <a:pt x="411" y="12"/>
                  </a:lnTo>
                  <a:lnTo>
                    <a:pt x="411" y="12"/>
                  </a:lnTo>
                  <a:lnTo>
                    <a:pt x="412" y="11"/>
                  </a:lnTo>
                  <a:lnTo>
                    <a:pt x="413" y="9"/>
                  </a:lnTo>
                  <a:lnTo>
                    <a:pt x="424" y="2"/>
                  </a:lnTo>
                  <a:lnTo>
                    <a:pt x="428" y="0"/>
                  </a:lnTo>
                  <a:lnTo>
                    <a:pt x="428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3" name="Freeform 10">
              <a:extLst>
                <a:ext uri="{FF2B5EF4-FFF2-40B4-BE49-F238E27FC236}">
                  <a16:creationId xmlns:a16="http://schemas.microsoft.com/office/drawing/2014/main" id="{E6F29655-54AF-4622-A4EA-17625DC14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6" y="2187"/>
              <a:ext cx="478" cy="399"/>
            </a:xfrm>
            <a:custGeom>
              <a:avLst/>
              <a:gdLst>
                <a:gd name="T0" fmla="*/ 357 w 478"/>
                <a:gd name="T1" fmla="*/ 8 h 399"/>
                <a:gd name="T2" fmla="*/ 379 w 478"/>
                <a:gd name="T3" fmla="*/ 18 h 399"/>
                <a:gd name="T4" fmla="*/ 395 w 478"/>
                <a:gd name="T5" fmla="*/ 21 h 399"/>
                <a:gd name="T6" fmla="*/ 418 w 478"/>
                <a:gd name="T7" fmla="*/ 30 h 399"/>
                <a:gd name="T8" fmla="*/ 430 w 478"/>
                <a:gd name="T9" fmla="*/ 36 h 399"/>
                <a:gd name="T10" fmla="*/ 432 w 478"/>
                <a:gd name="T11" fmla="*/ 54 h 399"/>
                <a:gd name="T12" fmla="*/ 453 w 478"/>
                <a:gd name="T13" fmla="*/ 72 h 399"/>
                <a:gd name="T14" fmla="*/ 476 w 478"/>
                <a:gd name="T15" fmla="*/ 90 h 399"/>
                <a:gd name="T16" fmla="*/ 475 w 478"/>
                <a:gd name="T17" fmla="*/ 103 h 399"/>
                <a:gd name="T18" fmla="*/ 477 w 478"/>
                <a:gd name="T19" fmla="*/ 122 h 399"/>
                <a:gd name="T20" fmla="*/ 468 w 478"/>
                <a:gd name="T21" fmla="*/ 152 h 399"/>
                <a:gd name="T22" fmla="*/ 457 w 478"/>
                <a:gd name="T23" fmla="*/ 168 h 399"/>
                <a:gd name="T24" fmla="*/ 454 w 478"/>
                <a:gd name="T25" fmla="*/ 203 h 399"/>
                <a:gd name="T26" fmla="*/ 434 w 478"/>
                <a:gd name="T27" fmla="*/ 221 h 399"/>
                <a:gd name="T28" fmla="*/ 413 w 478"/>
                <a:gd name="T29" fmla="*/ 227 h 399"/>
                <a:gd name="T30" fmla="*/ 398 w 478"/>
                <a:gd name="T31" fmla="*/ 242 h 399"/>
                <a:gd name="T32" fmla="*/ 402 w 478"/>
                <a:gd name="T33" fmla="*/ 264 h 399"/>
                <a:gd name="T34" fmla="*/ 401 w 478"/>
                <a:gd name="T35" fmla="*/ 276 h 399"/>
                <a:gd name="T36" fmla="*/ 385 w 478"/>
                <a:gd name="T37" fmla="*/ 282 h 399"/>
                <a:gd name="T38" fmla="*/ 360 w 478"/>
                <a:gd name="T39" fmla="*/ 290 h 399"/>
                <a:gd name="T40" fmla="*/ 336 w 478"/>
                <a:gd name="T41" fmla="*/ 308 h 399"/>
                <a:gd name="T42" fmla="*/ 285 w 478"/>
                <a:gd name="T43" fmla="*/ 326 h 399"/>
                <a:gd name="T44" fmla="*/ 268 w 478"/>
                <a:gd name="T45" fmla="*/ 328 h 399"/>
                <a:gd name="T46" fmla="*/ 251 w 478"/>
                <a:gd name="T47" fmla="*/ 329 h 399"/>
                <a:gd name="T48" fmla="*/ 240 w 478"/>
                <a:gd name="T49" fmla="*/ 350 h 399"/>
                <a:gd name="T50" fmla="*/ 214 w 478"/>
                <a:gd name="T51" fmla="*/ 390 h 399"/>
                <a:gd name="T52" fmla="*/ 200 w 478"/>
                <a:gd name="T53" fmla="*/ 395 h 399"/>
                <a:gd name="T54" fmla="*/ 170 w 478"/>
                <a:gd name="T55" fmla="*/ 385 h 399"/>
                <a:gd name="T56" fmla="*/ 133 w 478"/>
                <a:gd name="T57" fmla="*/ 361 h 399"/>
                <a:gd name="T58" fmla="*/ 110 w 478"/>
                <a:gd name="T59" fmla="*/ 340 h 399"/>
                <a:gd name="T60" fmla="*/ 88 w 478"/>
                <a:gd name="T61" fmla="*/ 320 h 399"/>
                <a:gd name="T62" fmla="*/ 69 w 478"/>
                <a:gd name="T63" fmla="*/ 293 h 399"/>
                <a:gd name="T64" fmla="*/ 45 w 478"/>
                <a:gd name="T65" fmla="*/ 285 h 399"/>
                <a:gd name="T66" fmla="*/ 33 w 478"/>
                <a:gd name="T67" fmla="*/ 269 h 399"/>
                <a:gd name="T68" fmla="*/ 24 w 478"/>
                <a:gd name="T69" fmla="*/ 248 h 399"/>
                <a:gd name="T70" fmla="*/ 17 w 478"/>
                <a:gd name="T71" fmla="*/ 228 h 399"/>
                <a:gd name="T72" fmla="*/ 9 w 478"/>
                <a:gd name="T73" fmla="*/ 196 h 399"/>
                <a:gd name="T74" fmla="*/ 5 w 478"/>
                <a:gd name="T75" fmla="*/ 172 h 399"/>
                <a:gd name="T76" fmla="*/ 11 w 478"/>
                <a:gd name="T77" fmla="*/ 154 h 399"/>
                <a:gd name="T78" fmla="*/ 10 w 478"/>
                <a:gd name="T79" fmla="*/ 146 h 399"/>
                <a:gd name="T80" fmla="*/ 23 w 478"/>
                <a:gd name="T81" fmla="*/ 144 h 399"/>
                <a:gd name="T82" fmla="*/ 35 w 478"/>
                <a:gd name="T83" fmla="*/ 166 h 399"/>
                <a:gd name="T84" fmla="*/ 59 w 478"/>
                <a:gd name="T85" fmla="*/ 164 h 399"/>
                <a:gd name="T86" fmla="*/ 73 w 478"/>
                <a:gd name="T87" fmla="*/ 176 h 399"/>
                <a:gd name="T88" fmla="*/ 86 w 478"/>
                <a:gd name="T89" fmla="*/ 164 h 399"/>
                <a:gd name="T90" fmla="*/ 98 w 478"/>
                <a:gd name="T91" fmla="*/ 134 h 399"/>
                <a:gd name="T92" fmla="*/ 122 w 478"/>
                <a:gd name="T93" fmla="*/ 137 h 399"/>
                <a:gd name="T94" fmla="*/ 149 w 478"/>
                <a:gd name="T95" fmla="*/ 128 h 399"/>
                <a:gd name="T96" fmla="*/ 169 w 478"/>
                <a:gd name="T97" fmla="*/ 100 h 399"/>
                <a:gd name="T98" fmla="*/ 200 w 478"/>
                <a:gd name="T99" fmla="*/ 89 h 399"/>
                <a:gd name="T100" fmla="*/ 231 w 478"/>
                <a:gd name="T101" fmla="*/ 86 h 399"/>
                <a:gd name="T102" fmla="*/ 254 w 478"/>
                <a:gd name="T103" fmla="*/ 69 h 399"/>
                <a:gd name="T104" fmla="*/ 268 w 478"/>
                <a:gd name="T105" fmla="*/ 71 h 399"/>
                <a:gd name="T106" fmla="*/ 283 w 478"/>
                <a:gd name="T107" fmla="*/ 46 h 399"/>
                <a:gd name="T108" fmla="*/ 302 w 478"/>
                <a:gd name="T109" fmla="*/ 41 h 399"/>
                <a:gd name="T110" fmla="*/ 318 w 478"/>
                <a:gd name="T111" fmla="*/ 28 h 399"/>
                <a:gd name="T112" fmla="*/ 318 w 478"/>
                <a:gd name="T113" fmla="*/ 14 h 399"/>
                <a:gd name="T114" fmla="*/ 340 w 478"/>
                <a:gd name="T115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8" h="399">
                  <a:moveTo>
                    <a:pt x="342" y="0"/>
                  </a:moveTo>
                  <a:lnTo>
                    <a:pt x="344" y="0"/>
                  </a:lnTo>
                  <a:lnTo>
                    <a:pt x="346" y="0"/>
                  </a:lnTo>
                  <a:lnTo>
                    <a:pt x="347" y="0"/>
                  </a:lnTo>
                  <a:lnTo>
                    <a:pt x="348" y="1"/>
                  </a:lnTo>
                  <a:lnTo>
                    <a:pt x="349" y="2"/>
                  </a:lnTo>
                  <a:lnTo>
                    <a:pt x="352" y="5"/>
                  </a:lnTo>
                  <a:lnTo>
                    <a:pt x="354" y="7"/>
                  </a:lnTo>
                  <a:lnTo>
                    <a:pt x="357" y="8"/>
                  </a:lnTo>
                  <a:lnTo>
                    <a:pt x="362" y="11"/>
                  </a:lnTo>
                  <a:lnTo>
                    <a:pt x="363" y="11"/>
                  </a:lnTo>
                  <a:lnTo>
                    <a:pt x="367" y="14"/>
                  </a:lnTo>
                  <a:lnTo>
                    <a:pt x="371" y="17"/>
                  </a:lnTo>
                  <a:lnTo>
                    <a:pt x="372" y="18"/>
                  </a:lnTo>
                  <a:lnTo>
                    <a:pt x="373" y="19"/>
                  </a:lnTo>
                  <a:lnTo>
                    <a:pt x="374" y="19"/>
                  </a:lnTo>
                  <a:lnTo>
                    <a:pt x="374" y="19"/>
                  </a:lnTo>
                  <a:lnTo>
                    <a:pt x="379" y="18"/>
                  </a:lnTo>
                  <a:lnTo>
                    <a:pt x="380" y="17"/>
                  </a:lnTo>
                  <a:lnTo>
                    <a:pt x="381" y="17"/>
                  </a:lnTo>
                  <a:lnTo>
                    <a:pt x="382" y="17"/>
                  </a:lnTo>
                  <a:lnTo>
                    <a:pt x="383" y="16"/>
                  </a:lnTo>
                  <a:lnTo>
                    <a:pt x="384" y="16"/>
                  </a:lnTo>
                  <a:lnTo>
                    <a:pt x="386" y="17"/>
                  </a:lnTo>
                  <a:lnTo>
                    <a:pt x="389" y="18"/>
                  </a:lnTo>
                  <a:lnTo>
                    <a:pt x="392" y="19"/>
                  </a:lnTo>
                  <a:lnTo>
                    <a:pt x="395" y="21"/>
                  </a:lnTo>
                  <a:lnTo>
                    <a:pt x="396" y="22"/>
                  </a:lnTo>
                  <a:lnTo>
                    <a:pt x="399" y="24"/>
                  </a:lnTo>
                  <a:lnTo>
                    <a:pt x="400" y="25"/>
                  </a:lnTo>
                  <a:lnTo>
                    <a:pt x="401" y="26"/>
                  </a:lnTo>
                  <a:lnTo>
                    <a:pt x="402" y="26"/>
                  </a:lnTo>
                  <a:lnTo>
                    <a:pt x="404" y="27"/>
                  </a:lnTo>
                  <a:lnTo>
                    <a:pt x="410" y="28"/>
                  </a:lnTo>
                  <a:lnTo>
                    <a:pt x="413" y="29"/>
                  </a:lnTo>
                  <a:lnTo>
                    <a:pt x="418" y="30"/>
                  </a:lnTo>
                  <a:lnTo>
                    <a:pt x="419" y="30"/>
                  </a:lnTo>
                  <a:lnTo>
                    <a:pt x="420" y="31"/>
                  </a:lnTo>
                  <a:lnTo>
                    <a:pt x="421" y="32"/>
                  </a:lnTo>
                  <a:lnTo>
                    <a:pt x="422" y="32"/>
                  </a:lnTo>
                  <a:lnTo>
                    <a:pt x="423" y="34"/>
                  </a:lnTo>
                  <a:lnTo>
                    <a:pt x="425" y="35"/>
                  </a:lnTo>
                  <a:lnTo>
                    <a:pt x="426" y="35"/>
                  </a:lnTo>
                  <a:lnTo>
                    <a:pt x="429" y="36"/>
                  </a:lnTo>
                  <a:lnTo>
                    <a:pt x="430" y="36"/>
                  </a:lnTo>
                  <a:lnTo>
                    <a:pt x="431" y="37"/>
                  </a:lnTo>
                  <a:lnTo>
                    <a:pt x="431" y="38"/>
                  </a:lnTo>
                  <a:lnTo>
                    <a:pt x="431" y="39"/>
                  </a:lnTo>
                  <a:lnTo>
                    <a:pt x="431" y="41"/>
                  </a:lnTo>
                  <a:lnTo>
                    <a:pt x="431" y="45"/>
                  </a:lnTo>
                  <a:lnTo>
                    <a:pt x="431" y="50"/>
                  </a:lnTo>
                  <a:lnTo>
                    <a:pt x="432" y="52"/>
                  </a:lnTo>
                  <a:lnTo>
                    <a:pt x="432" y="53"/>
                  </a:lnTo>
                  <a:lnTo>
                    <a:pt x="432" y="54"/>
                  </a:lnTo>
                  <a:lnTo>
                    <a:pt x="433" y="56"/>
                  </a:lnTo>
                  <a:lnTo>
                    <a:pt x="434" y="57"/>
                  </a:lnTo>
                  <a:lnTo>
                    <a:pt x="435" y="58"/>
                  </a:lnTo>
                  <a:lnTo>
                    <a:pt x="437" y="60"/>
                  </a:lnTo>
                  <a:lnTo>
                    <a:pt x="440" y="63"/>
                  </a:lnTo>
                  <a:lnTo>
                    <a:pt x="443" y="66"/>
                  </a:lnTo>
                  <a:lnTo>
                    <a:pt x="446" y="68"/>
                  </a:lnTo>
                  <a:lnTo>
                    <a:pt x="450" y="70"/>
                  </a:lnTo>
                  <a:lnTo>
                    <a:pt x="453" y="72"/>
                  </a:lnTo>
                  <a:lnTo>
                    <a:pt x="455" y="74"/>
                  </a:lnTo>
                  <a:lnTo>
                    <a:pt x="461" y="77"/>
                  </a:lnTo>
                  <a:lnTo>
                    <a:pt x="465" y="79"/>
                  </a:lnTo>
                  <a:lnTo>
                    <a:pt x="466" y="79"/>
                  </a:lnTo>
                  <a:lnTo>
                    <a:pt x="467" y="80"/>
                  </a:lnTo>
                  <a:lnTo>
                    <a:pt x="471" y="84"/>
                  </a:lnTo>
                  <a:lnTo>
                    <a:pt x="473" y="86"/>
                  </a:lnTo>
                  <a:lnTo>
                    <a:pt x="475" y="88"/>
                  </a:lnTo>
                  <a:lnTo>
                    <a:pt x="476" y="90"/>
                  </a:lnTo>
                  <a:lnTo>
                    <a:pt x="477" y="91"/>
                  </a:lnTo>
                  <a:lnTo>
                    <a:pt x="477" y="94"/>
                  </a:lnTo>
                  <a:lnTo>
                    <a:pt x="478" y="96"/>
                  </a:lnTo>
                  <a:lnTo>
                    <a:pt x="478" y="99"/>
                  </a:lnTo>
                  <a:lnTo>
                    <a:pt x="478" y="100"/>
                  </a:lnTo>
                  <a:lnTo>
                    <a:pt x="478" y="101"/>
                  </a:lnTo>
                  <a:lnTo>
                    <a:pt x="477" y="101"/>
                  </a:lnTo>
                  <a:lnTo>
                    <a:pt x="476" y="102"/>
                  </a:lnTo>
                  <a:lnTo>
                    <a:pt x="475" y="103"/>
                  </a:lnTo>
                  <a:lnTo>
                    <a:pt x="475" y="104"/>
                  </a:lnTo>
                  <a:lnTo>
                    <a:pt x="474" y="105"/>
                  </a:lnTo>
                  <a:lnTo>
                    <a:pt x="474" y="107"/>
                  </a:lnTo>
                  <a:lnTo>
                    <a:pt x="474" y="108"/>
                  </a:lnTo>
                  <a:lnTo>
                    <a:pt x="474" y="110"/>
                  </a:lnTo>
                  <a:lnTo>
                    <a:pt x="474" y="111"/>
                  </a:lnTo>
                  <a:lnTo>
                    <a:pt x="475" y="113"/>
                  </a:lnTo>
                  <a:lnTo>
                    <a:pt x="476" y="116"/>
                  </a:lnTo>
                  <a:lnTo>
                    <a:pt x="477" y="122"/>
                  </a:lnTo>
                  <a:lnTo>
                    <a:pt x="478" y="123"/>
                  </a:lnTo>
                  <a:lnTo>
                    <a:pt x="478" y="124"/>
                  </a:lnTo>
                  <a:lnTo>
                    <a:pt x="478" y="125"/>
                  </a:lnTo>
                  <a:lnTo>
                    <a:pt x="478" y="126"/>
                  </a:lnTo>
                  <a:lnTo>
                    <a:pt x="478" y="127"/>
                  </a:lnTo>
                  <a:lnTo>
                    <a:pt x="477" y="129"/>
                  </a:lnTo>
                  <a:lnTo>
                    <a:pt x="475" y="136"/>
                  </a:lnTo>
                  <a:lnTo>
                    <a:pt x="471" y="144"/>
                  </a:lnTo>
                  <a:lnTo>
                    <a:pt x="468" y="152"/>
                  </a:lnTo>
                  <a:lnTo>
                    <a:pt x="467" y="153"/>
                  </a:lnTo>
                  <a:lnTo>
                    <a:pt x="466" y="155"/>
                  </a:lnTo>
                  <a:lnTo>
                    <a:pt x="465" y="157"/>
                  </a:lnTo>
                  <a:lnTo>
                    <a:pt x="459" y="160"/>
                  </a:lnTo>
                  <a:lnTo>
                    <a:pt x="458" y="162"/>
                  </a:lnTo>
                  <a:lnTo>
                    <a:pt x="458" y="163"/>
                  </a:lnTo>
                  <a:lnTo>
                    <a:pt x="457" y="164"/>
                  </a:lnTo>
                  <a:lnTo>
                    <a:pt x="457" y="165"/>
                  </a:lnTo>
                  <a:lnTo>
                    <a:pt x="457" y="168"/>
                  </a:lnTo>
                  <a:lnTo>
                    <a:pt x="457" y="176"/>
                  </a:lnTo>
                  <a:lnTo>
                    <a:pt x="457" y="182"/>
                  </a:lnTo>
                  <a:lnTo>
                    <a:pt x="457" y="184"/>
                  </a:lnTo>
                  <a:lnTo>
                    <a:pt x="457" y="187"/>
                  </a:lnTo>
                  <a:lnTo>
                    <a:pt x="455" y="192"/>
                  </a:lnTo>
                  <a:lnTo>
                    <a:pt x="455" y="193"/>
                  </a:lnTo>
                  <a:lnTo>
                    <a:pt x="454" y="196"/>
                  </a:lnTo>
                  <a:lnTo>
                    <a:pt x="454" y="202"/>
                  </a:lnTo>
                  <a:lnTo>
                    <a:pt x="454" y="203"/>
                  </a:lnTo>
                  <a:lnTo>
                    <a:pt x="454" y="204"/>
                  </a:lnTo>
                  <a:lnTo>
                    <a:pt x="454" y="204"/>
                  </a:lnTo>
                  <a:lnTo>
                    <a:pt x="453" y="205"/>
                  </a:lnTo>
                  <a:lnTo>
                    <a:pt x="451" y="207"/>
                  </a:lnTo>
                  <a:lnTo>
                    <a:pt x="450" y="209"/>
                  </a:lnTo>
                  <a:lnTo>
                    <a:pt x="448" y="211"/>
                  </a:lnTo>
                  <a:lnTo>
                    <a:pt x="442" y="215"/>
                  </a:lnTo>
                  <a:lnTo>
                    <a:pt x="436" y="220"/>
                  </a:lnTo>
                  <a:lnTo>
                    <a:pt x="434" y="221"/>
                  </a:lnTo>
                  <a:lnTo>
                    <a:pt x="433" y="222"/>
                  </a:lnTo>
                  <a:lnTo>
                    <a:pt x="431" y="223"/>
                  </a:lnTo>
                  <a:lnTo>
                    <a:pt x="430" y="224"/>
                  </a:lnTo>
                  <a:lnTo>
                    <a:pt x="428" y="224"/>
                  </a:lnTo>
                  <a:lnTo>
                    <a:pt x="426" y="225"/>
                  </a:lnTo>
                  <a:lnTo>
                    <a:pt x="420" y="225"/>
                  </a:lnTo>
                  <a:lnTo>
                    <a:pt x="418" y="226"/>
                  </a:lnTo>
                  <a:lnTo>
                    <a:pt x="416" y="227"/>
                  </a:lnTo>
                  <a:lnTo>
                    <a:pt x="413" y="227"/>
                  </a:lnTo>
                  <a:lnTo>
                    <a:pt x="411" y="228"/>
                  </a:lnTo>
                  <a:lnTo>
                    <a:pt x="409" y="229"/>
                  </a:lnTo>
                  <a:lnTo>
                    <a:pt x="408" y="231"/>
                  </a:lnTo>
                  <a:lnTo>
                    <a:pt x="407" y="232"/>
                  </a:lnTo>
                  <a:lnTo>
                    <a:pt x="403" y="235"/>
                  </a:lnTo>
                  <a:lnTo>
                    <a:pt x="401" y="238"/>
                  </a:lnTo>
                  <a:lnTo>
                    <a:pt x="399" y="239"/>
                  </a:lnTo>
                  <a:lnTo>
                    <a:pt x="398" y="240"/>
                  </a:lnTo>
                  <a:lnTo>
                    <a:pt x="398" y="242"/>
                  </a:lnTo>
                  <a:lnTo>
                    <a:pt x="397" y="243"/>
                  </a:lnTo>
                  <a:lnTo>
                    <a:pt x="397" y="245"/>
                  </a:lnTo>
                  <a:lnTo>
                    <a:pt x="397" y="246"/>
                  </a:lnTo>
                  <a:lnTo>
                    <a:pt x="397" y="248"/>
                  </a:lnTo>
                  <a:lnTo>
                    <a:pt x="397" y="249"/>
                  </a:lnTo>
                  <a:lnTo>
                    <a:pt x="397" y="252"/>
                  </a:lnTo>
                  <a:lnTo>
                    <a:pt x="397" y="254"/>
                  </a:lnTo>
                  <a:lnTo>
                    <a:pt x="400" y="260"/>
                  </a:lnTo>
                  <a:lnTo>
                    <a:pt x="402" y="264"/>
                  </a:lnTo>
                  <a:lnTo>
                    <a:pt x="402" y="266"/>
                  </a:lnTo>
                  <a:lnTo>
                    <a:pt x="403" y="268"/>
                  </a:lnTo>
                  <a:lnTo>
                    <a:pt x="403" y="270"/>
                  </a:lnTo>
                  <a:lnTo>
                    <a:pt x="403" y="271"/>
                  </a:lnTo>
                  <a:lnTo>
                    <a:pt x="403" y="272"/>
                  </a:lnTo>
                  <a:lnTo>
                    <a:pt x="402" y="273"/>
                  </a:lnTo>
                  <a:lnTo>
                    <a:pt x="402" y="274"/>
                  </a:lnTo>
                  <a:lnTo>
                    <a:pt x="401" y="275"/>
                  </a:lnTo>
                  <a:lnTo>
                    <a:pt x="401" y="276"/>
                  </a:lnTo>
                  <a:lnTo>
                    <a:pt x="400" y="277"/>
                  </a:lnTo>
                  <a:lnTo>
                    <a:pt x="398" y="279"/>
                  </a:lnTo>
                  <a:lnTo>
                    <a:pt x="397" y="280"/>
                  </a:lnTo>
                  <a:lnTo>
                    <a:pt x="396" y="281"/>
                  </a:lnTo>
                  <a:lnTo>
                    <a:pt x="394" y="281"/>
                  </a:lnTo>
                  <a:lnTo>
                    <a:pt x="392" y="282"/>
                  </a:lnTo>
                  <a:lnTo>
                    <a:pt x="390" y="282"/>
                  </a:lnTo>
                  <a:lnTo>
                    <a:pt x="387" y="282"/>
                  </a:lnTo>
                  <a:lnTo>
                    <a:pt x="385" y="282"/>
                  </a:lnTo>
                  <a:lnTo>
                    <a:pt x="376" y="282"/>
                  </a:lnTo>
                  <a:lnTo>
                    <a:pt x="372" y="281"/>
                  </a:lnTo>
                  <a:lnTo>
                    <a:pt x="370" y="282"/>
                  </a:lnTo>
                  <a:lnTo>
                    <a:pt x="368" y="282"/>
                  </a:lnTo>
                  <a:lnTo>
                    <a:pt x="367" y="283"/>
                  </a:lnTo>
                  <a:lnTo>
                    <a:pt x="365" y="283"/>
                  </a:lnTo>
                  <a:lnTo>
                    <a:pt x="364" y="284"/>
                  </a:lnTo>
                  <a:lnTo>
                    <a:pt x="363" y="286"/>
                  </a:lnTo>
                  <a:lnTo>
                    <a:pt x="360" y="290"/>
                  </a:lnTo>
                  <a:lnTo>
                    <a:pt x="355" y="296"/>
                  </a:lnTo>
                  <a:lnTo>
                    <a:pt x="353" y="298"/>
                  </a:lnTo>
                  <a:lnTo>
                    <a:pt x="352" y="299"/>
                  </a:lnTo>
                  <a:lnTo>
                    <a:pt x="352" y="300"/>
                  </a:lnTo>
                  <a:lnTo>
                    <a:pt x="350" y="301"/>
                  </a:lnTo>
                  <a:lnTo>
                    <a:pt x="342" y="306"/>
                  </a:lnTo>
                  <a:lnTo>
                    <a:pt x="340" y="306"/>
                  </a:lnTo>
                  <a:lnTo>
                    <a:pt x="338" y="307"/>
                  </a:lnTo>
                  <a:lnTo>
                    <a:pt x="336" y="308"/>
                  </a:lnTo>
                  <a:lnTo>
                    <a:pt x="330" y="309"/>
                  </a:lnTo>
                  <a:lnTo>
                    <a:pt x="329" y="309"/>
                  </a:lnTo>
                  <a:lnTo>
                    <a:pt x="324" y="311"/>
                  </a:lnTo>
                  <a:lnTo>
                    <a:pt x="315" y="314"/>
                  </a:lnTo>
                  <a:lnTo>
                    <a:pt x="305" y="317"/>
                  </a:lnTo>
                  <a:lnTo>
                    <a:pt x="302" y="317"/>
                  </a:lnTo>
                  <a:lnTo>
                    <a:pt x="298" y="319"/>
                  </a:lnTo>
                  <a:lnTo>
                    <a:pt x="295" y="320"/>
                  </a:lnTo>
                  <a:lnTo>
                    <a:pt x="285" y="326"/>
                  </a:lnTo>
                  <a:lnTo>
                    <a:pt x="283" y="327"/>
                  </a:lnTo>
                  <a:lnTo>
                    <a:pt x="281" y="328"/>
                  </a:lnTo>
                  <a:lnTo>
                    <a:pt x="279" y="329"/>
                  </a:lnTo>
                  <a:lnTo>
                    <a:pt x="277" y="329"/>
                  </a:lnTo>
                  <a:lnTo>
                    <a:pt x="275" y="329"/>
                  </a:lnTo>
                  <a:lnTo>
                    <a:pt x="272" y="329"/>
                  </a:lnTo>
                  <a:lnTo>
                    <a:pt x="271" y="329"/>
                  </a:lnTo>
                  <a:lnTo>
                    <a:pt x="269" y="328"/>
                  </a:lnTo>
                  <a:lnTo>
                    <a:pt x="268" y="328"/>
                  </a:lnTo>
                  <a:lnTo>
                    <a:pt x="265" y="326"/>
                  </a:lnTo>
                  <a:lnTo>
                    <a:pt x="264" y="326"/>
                  </a:lnTo>
                  <a:lnTo>
                    <a:pt x="263" y="325"/>
                  </a:lnTo>
                  <a:lnTo>
                    <a:pt x="261" y="325"/>
                  </a:lnTo>
                  <a:lnTo>
                    <a:pt x="260" y="326"/>
                  </a:lnTo>
                  <a:lnTo>
                    <a:pt x="258" y="326"/>
                  </a:lnTo>
                  <a:lnTo>
                    <a:pt x="256" y="327"/>
                  </a:lnTo>
                  <a:lnTo>
                    <a:pt x="252" y="328"/>
                  </a:lnTo>
                  <a:lnTo>
                    <a:pt x="251" y="329"/>
                  </a:lnTo>
                  <a:lnTo>
                    <a:pt x="250" y="329"/>
                  </a:lnTo>
                  <a:lnTo>
                    <a:pt x="249" y="330"/>
                  </a:lnTo>
                  <a:lnTo>
                    <a:pt x="248" y="332"/>
                  </a:lnTo>
                  <a:lnTo>
                    <a:pt x="247" y="334"/>
                  </a:lnTo>
                  <a:lnTo>
                    <a:pt x="246" y="335"/>
                  </a:lnTo>
                  <a:lnTo>
                    <a:pt x="245" y="337"/>
                  </a:lnTo>
                  <a:lnTo>
                    <a:pt x="244" y="341"/>
                  </a:lnTo>
                  <a:lnTo>
                    <a:pt x="243" y="343"/>
                  </a:lnTo>
                  <a:lnTo>
                    <a:pt x="240" y="350"/>
                  </a:lnTo>
                  <a:lnTo>
                    <a:pt x="238" y="357"/>
                  </a:lnTo>
                  <a:lnTo>
                    <a:pt x="237" y="359"/>
                  </a:lnTo>
                  <a:lnTo>
                    <a:pt x="236" y="361"/>
                  </a:lnTo>
                  <a:lnTo>
                    <a:pt x="235" y="363"/>
                  </a:lnTo>
                  <a:lnTo>
                    <a:pt x="234" y="363"/>
                  </a:lnTo>
                  <a:lnTo>
                    <a:pt x="228" y="371"/>
                  </a:lnTo>
                  <a:lnTo>
                    <a:pt x="218" y="383"/>
                  </a:lnTo>
                  <a:lnTo>
                    <a:pt x="215" y="387"/>
                  </a:lnTo>
                  <a:lnTo>
                    <a:pt x="214" y="390"/>
                  </a:lnTo>
                  <a:lnTo>
                    <a:pt x="212" y="393"/>
                  </a:lnTo>
                  <a:lnTo>
                    <a:pt x="211" y="396"/>
                  </a:lnTo>
                  <a:lnTo>
                    <a:pt x="210" y="398"/>
                  </a:lnTo>
                  <a:lnTo>
                    <a:pt x="209" y="399"/>
                  </a:lnTo>
                  <a:lnTo>
                    <a:pt x="207" y="398"/>
                  </a:lnTo>
                  <a:lnTo>
                    <a:pt x="205" y="398"/>
                  </a:lnTo>
                  <a:lnTo>
                    <a:pt x="204" y="397"/>
                  </a:lnTo>
                  <a:lnTo>
                    <a:pt x="202" y="396"/>
                  </a:lnTo>
                  <a:lnTo>
                    <a:pt x="200" y="395"/>
                  </a:lnTo>
                  <a:lnTo>
                    <a:pt x="195" y="390"/>
                  </a:lnTo>
                  <a:lnTo>
                    <a:pt x="194" y="390"/>
                  </a:lnTo>
                  <a:lnTo>
                    <a:pt x="192" y="389"/>
                  </a:lnTo>
                  <a:lnTo>
                    <a:pt x="191" y="388"/>
                  </a:lnTo>
                  <a:lnTo>
                    <a:pt x="189" y="388"/>
                  </a:lnTo>
                  <a:lnTo>
                    <a:pt x="181" y="386"/>
                  </a:lnTo>
                  <a:lnTo>
                    <a:pt x="176" y="385"/>
                  </a:lnTo>
                  <a:lnTo>
                    <a:pt x="173" y="385"/>
                  </a:lnTo>
                  <a:lnTo>
                    <a:pt x="170" y="385"/>
                  </a:lnTo>
                  <a:lnTo>
                    <a:pt x="163" y="382"/>
                  </a:lnTo>
                  <a:lnTo>
                    <a:pt x="159" y="380"/>
                  </a:lnTo>
                  <a:lnTo>
                    <a:pt x="155" y="378"/>
                  </a:lnTo>
                  <a:lnTo>
                    <a:pt x="151" y="375"/>
                  </a:lnTo>
                  <a:lnTo>
                    <a:pt x="149" y="374"/>
                  </a:lnTo>
                  <a:lnTo>
                    <a:pt x="147" y="372"/>
                  </a:lnTo>
                  <a:lnTo>
                    <a:pt x="146" y="371"/>
                  </a:lnTo>
                  <a:lnTo>
                    <a:pt x="136" y="363"/>
                  </a:lnTo>
                  <a:lnTo>
                    <a:pt x="133" y="361"/>
                  </a:lnTo>
                  <a:lnTo>
                    <a:pt x="131" y="360"/>
                  </a:lnTo>
                  <a:lnTo>
                    <a:pt x="129" y="358"/>
                  </a:lnTo>
                  <a:lnTo>
                    <a:pt x="128" y="356"/>
                  </a:lnTo>
                  <a:lnTo>
                    <a:pt x="125" y="352"/>
                  </a:lnTo>
                  <a:lnTo>
                    <a:pt x="124" y="351"/>
                  </a:lnTo>
                  <a:lnTo>
                    <a:pt x="122" y="349"/>
                  </a:lnTo>
                  <a:lnTo>
                    <a:pt x="120" y="347"/>
                  </a:lnTo>
                  <a:lnTo>
                    <a:pt x="113" y="342"/>
                  </a:lnTo>
                  <a:lnTo>
                    <a:pt x="110" y="340"/>
                  </a:lnTo>
                  <a:lnTo>
                    <a:pt x="109" y="340"/>
                  </a:lnTo>
                  <a:lnTo>
                    <a:pt x="104" y="336"/>
                  </a:lnTo>
                  <a:lnTo>
                    <a:pt x="100" y="331"/>
                  </a:lnTo>
                  <a:lnTo>
                    <a:pt x="99" y="330"/>
                  </a:lnTo>
                  <a:lnTo>
                    <a:pt x="96" y="327"/>
                  </a:lnTo>
                  <a:lnTo>
                    <a:pt x="95" y="326"/>
                  </a:lnTo>
                  <a:lnTo>
                    <a:pt x="93" y="325"/>
                  </a:lnTo>
                  <a:lnTo>
                    <a:pt x="90" y="322"/>
                  </a:lnTo>
                  <a:lnTo>
                    <a:pt x="88" y="320"/>
                  </a:lnTo>
                  <a:lnTo>
                    <a:pt x="80" y="312"/>
                  </a:lnTo>
                  <a:lnTo>
                    <a:pt x="76" y="306"/>
                  </a:lnTo>
                  <a:lnTo>
                    <a:pt x="75" y="305"/>
                  </a:lnTo>
                  <a:lnTo>
                    <a:pt x="75" y="304"/>
                  </a:lnTo>
                  <a:lnTo>
                    <a:pt x="73" y="299"/>
                  </a:lnTo>
                  <a:lnTo>
                    <a:pt x="72" y="296"/>
                  </a:lnTo>
                  <a:lnTo>
                    <a:pt x="71" y="295"/>
                  </a:lnTo>
                  <a:lnTo>
                    <a:pt x="70" y="294"/>
                  </a:lnTo>
                  <a:lnTo>
                    <a:pt x="69" y="293"/>
                  </a:lnTo>
                  <a:lnTo>
                    <a:pt x="68" y="292"/>
                  </a:lnTo>
                  <a:lnTo>
                    <a:pt x="67" y="291"/>
                  </a:lnTo>
                  <a:lnTo>
                    <a:pt x="65" y="290"/>
                  </a:lnTo>
                  <a:lnTo>
                    <a:pt x="63" y="289"/>
                  </a:lnTo>
                  <a:lnTo>
                    <a:pt x="59" y="288"/>
                  </a:lnTo>
                  <a:lnTo>
                    <a:pt x="56" y="287"/>
                  </a:lnTo>
                  <a:lnTo>
                    <a:pt x="48" y="286"/>
                  </a:lnTo>
                  <a:lnTo>
                    <a:pt x="46" y="286"/>
                  </a:lnTo>
                  <a:lnTo>
                    <a:pt x="45" y="285"/>
                  </a:lnTo>
                  <a:lnTo>
                    <a:pt x="44" y="285"/>
                  </a:lnTo>
                  <a:lnTo>
                    <a:pt x="42" y="284"/>
                  </a:lnTo>
                  <a:lnTo>
                    <a:pt x="40" y="283"/>
                  </a:lnTo>
                  <a:lnTo>
                    <a:pt x="39" y="282"/>
                  </a:lnTo>
                  <a:lnTo>
                    <a:pt x="37" y="280"/>
                  </a:lnTo>
                  <a:lnTo>
                    <a:pt x="36" y="278"/>
                  </a:lnTo>
                  <a:lnTo>
                    <a:pt x="35" y="276"/>
                  </a:lnTo>
                  <a:lnTo>
                    <a:pt x="34" y="273"/>
                  </a:lnTo>
                  <a:lnTo>
                    <a:pt x="33" y="269"/>
                  </a:lnTo>
                  <a:lnTo>
                    <a:pt x="32" y="267"/>
                  </a:lnTo>
                  <a:lnTo>
                    <a:pt x="32" y="265"/>
                  </a:lnTo>
                  <a:lnTo>
                    <a:pt x="32" y="261"/>
                  </a:lnTo>
                  <a:lnTo>
                    <a:pt x="32" y="259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0" y="256"/>
                  </a:lnTo>
                  <a:lnTo>
                    <a:pt x="25" y="249"/>
                  </a:lnTo>
                  <a:lnTo>
                    <a:pt x="24" y="248"/>
                  </a:lnTo>
                  <a:lnTo>
                    <a:pt x="23" y="246"/>
                  </a:lnTo>
                  <a:lnTo>
                    <a:pt x="23" y="245"/>
                  </a:lnTo>
                  <a:lnTo>
                    <a:pt x="22" y="240"/>
                  </a:lnTo>
                  <a:lnTo>
                    <a:pt x="22" y="238"/>
                  </a:lnTo>
                  <a:lnTo>
                    <a:pt x="21" y="236"/>
                  </a:lnTo>
                  <a:lnTo>
                    <a:pt x="21" y="233"/>
                  </a:lnTo>
                  <a:lnTo>
                    <a:pt x="20" y="232"/>
                  </a:lnTo>
                  <a:lnTo>
                    <a:pt x="18" y="230"/>
                  </a:lnTo>
                  <a:lnTo>
                    <a:pt x="17" y="228"/>
                  </a:lnTo>
                  <a:lnTo>
                    <a:pt x="14" y="226"/>
                  </a:lnTo>
                  <a:lnTo>
                    <a:pt x="12" y="224"/>
                  </a:lnTo>
                  <a:lnTo>
                    <a:pt x="12" y="223"/>
                  </a:lnTo>
                  <a:lnTo>
                    <a:pt x="11" y="221"/>
                  </a:lnTo>
                  <a:lnTo>
                    <a:pt x="11" y="219"/>
                  </a:lnTo>
                  <a:lnTo>
                    <a:pt x="11" y="217"/>
                  </a:lnTo>
                  <a:lnTo>
                    <a:pt x="10" y="203"/>
                  </a:lnTo>
                  <a:lnTo>
                    <a:pt x="10" y="201"/>
                  </a:lnTo>
                  <a:lnTo>
                    <a:pt x="9" y="196"/>
                  </a:lnTo>
                  <a:lnTo>
                    <a:pt x="9" y="194"/>
                  </a:lnTo>
                  <a:lnTo>
                    <a:pt x="9" y="193"/>
                  </a:lnTo>
                  <a:lnTo>
                    <a:pt x="9" y="187"/>
                  </a:lnTo>
                  <a:lnTo>
                    <a:pt x="9" y="185"/>
                  </a:lnTo>
                  <a:lnTo>
                    <a:pt x="8" y="183"/>
                  </a:lnTo>
                  <a:lnTo>
                    <a:pt x="8" y="181"/>
                  </a:lnTo>
                  <a:lnTo>
                    <a:pt x="6" y="176"/>
                  </a:lnTo>
                  <a:lnTo>
                    <a:pt x="6" y="174"/>
                  </a:lnTo>
                  <a:lnTo>
                    <a:pt x="5" y="172"/>
                  </a:lnTo>
                  <a:lnTo>
                    <a:pt x="4" y="170"/>
                  </a:lnTo>
                  <a:lnTo>
                    <a:pt x="3" y="169"/>
                  </a:lnTo>
                  <a:lnTo>
                    <a:pt x="1" y="168"/>
                  </a:lnTo>
                  <a:lnTo>
                    <a:pt x="0" y="167"/>
                  </a:lnTo>
                  <a:lnTo>
                    <a:pt x="1" y="166"/>
                  </a:lnTo>
                  <a:lnTo>
                    <a:pt x="3" y="163"/>
                  </a:lnTo>
                  <a:lnTo>
                    <a:pt x="9" y="156"/>
                  </a:lnTo>
                  <a:lnTo>
                    <a:pt x="10" y="155"/>
                  </a:lnTo>
                  <a:lnTo>
                    <a:pt x="11" y="154"/>
                  </a:lnTo>
                  <a:lnTo>
                    <a:pt x="11" y="154"/>
                  </a:lnTo>
                  <a:lnTo>
                    <a:pt x="11" y="153"/>
                  </a:lnTo>
                  <a:lnTo>
                    <a:pt x="11" y="152"/>
                  </a:lnTo>
                  <a:lnTo>
                    <a:pt x="10" y="151"/>
                  </a:lnTo>
                  <a:lnTo>
                    <a:pt x="9" y="150"/>
                  </a:lnTo>
                  <a:lnTo>
                    <a:pt x="8" y="148"/>
                  </a:lnTo>
                  <a:lnTo>
                    <a:pt x="8" y="147"/>
                  </a:lnTo>
                  <a:lnTo>
                    <a:pt x="9" y="147"/>
                  </a:lnTo>
                  <a:lnTo>
                    <a:pt x="10" y="146"/>
                  </a:lnTo>
                  <a:lnTo>
                    <a:pt x="11" y="145"/>
                  </a:lnTo>
                  <a:lnTo>
                    <a:pt x="13" y="145"/>
                  </a:lnTo>
                  <a:lnTo>
                    <a:pt x="15" y="144"/>
                  </a:lnTo>
                  <a:lnTo>
                    <a:pt x="16" y="144"/>
                  </a:lnTo>
                  <a:lnTo>
                    <a:pt x="18" y="143"/>
                  </a:lnTo>
                  <a:lnTo>
                    <a:pt x="20" y="141"/>
                  </a:lnTo>
                  <a:lnTo>
                    <a:pt x="22" y="139"/>
                  </a:lnTo>
                  <a:lnTo>
                    <a:pt x="22" y="138"/>
                  </a:lnTo>
                  <a:lnTo>
                    <a:pt x="23" y="144"/>
                  </a:lnTo>
                  <a:lnTo>
                    <a:pt x="24" y="149"/>
                  </a:lnTo>
                  <a:lnTo>
                    <a:pt x="26" y="154"/>
                  </a:lnTo>
                  <a:lnTo>
                    <a:pt x="27" y="157"/>
                  </a:lnTo>
                  <a:lnTo>
                    <a:pt x="28" y="159"/>
                  </a:lnTo>
                  <a:lnTo>
                    <a:pt x="30" y="161"/>
                  </a:lnTo>
                  <a:lnTo>
                    <a:pt x="32" y="163"/>
                  </a:lnTo>
                  <a:lnTo>
                    <a:pt x="33" y="164"/>
                  </a:lnTo>
                  <a:lnTo>
                    <a:pt x="34" y="165"/>
                  </a:lnTo>
                  <a:lnTo>
                    <a:pt x="35" y="166"/>
                  </a:lnTo>
                  <a:lnTo>
                    <a:pt x="37" y="166"/>
                  </a:lnTo>
                  <a:lnTo>
                    <a:pt x="38" y="166"/>
                  </a:lnTo>
                  <a:lnTo>
                    <a:pt x="39" y="166"/>
                  </a:lnTo>
                  <a:lnTo>
                    <a:pt x="43" y="165"/>
                  </a:lnTo>
                  <a:lnTo>
                    <a:pt x="48" y="164"/>
                  </a:lnTo>
                  <a:lnTo>
                    <a:pt x="54" y="163"/>
                  </a:lnTo>
                  <a:lnTo>
                    <a:pt x="56" y="163"/>
                  </a:lnTo>
                  <a:lnTo>
                    <a:pt x="57" y="163"/>
                  </a:lnTo>
                  <a:lnTo>
                    <a:pt x="59" y="164"/>
                  </a:lnTo>
                  <a:lnTo>
                    <a:pt x="60" y="164"/>
                  </a:lnTo>
                  <a:lnTo>
                    <a:pt x="61" y="165"/>
                  </a:lnTo>
                  <a:lnTo>
                    <a:pt x="62" y="166"/>
                  </a:lnTo>
                  <a:lnTo>
                    <a:pt x="64" y="167"/>
                  </a:lnTo>
                  <a:lnTo>
                    <a:pt x="67" y="170"/>
                  </a:lnTo>
                  <a:lnTo>
                    <a:pt x="69" y="173"/>
                  </a:lnTo>
                  <a:lnTo>
                    <a:pt x="70" y="174"/>
                  </a:lnTo>
                  <a:lnTo>
                    <a:pt x="72" y="175"/>
                  </a:lnTo>
                  <a:lnTo>
                    <a:pt x="73" y="176"/>
                  </a:lnTo>
                  <a:lnTo>
                    <a:pt x="75" y="176"/>
                  </a:lnTo>
                  <a:lnTo>
                    <a:pt x="77" y="176"/>
                  </a:lnTo>
                  <a:lnTo>
                    <a:pt x="78" y="176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80" y="174"/>
                  </a:lnTo>
                  <a:lnTo>
                    <a:pt x="81" y="172"/>
                  </a:lnTo>
                  <a:lnTo>
                    <a:pt x="83" y="170"/>
                  </a:lnTo>
                  <a:lnTo>
                    <a:pt x="86" y="164"/>
                  </a:lnTo>
                  <a:lnTo>
                    <a:pt x="87" y="160"/>
                  </a:lnTo>
                  <a:lnTo>
                    <a:pt x="89" y="156"/>
                  </a:lnTo>
                  <a:lnTo>
                    <a:pt x="92" y="142"/>
                  </a:lnTo>
                  <a:lnTo>
                    <a:pt x="93" y="139"/>
                  </a:lnTo>
                  <a:lnTo>
                    <a:pt x="94" y="137"/>
                  </a:lnTo>
                  <a:lnTo>
                    <a:pt x="95" y="136"/>
                  </a:lnTo>
                  <a:lnTo>
                    <a:pt x="96" y="136"/>
                  </a:lnTo>
                  <a:lnTo>
                    <a:pt x="97" y="135"/>
                  </a:lnTo>
                  <a:lnTo>
                    <a:pt x="98" y="134"/>
                  </a:lnTo>
                  <a:lnTo>
                    <a:pt x="100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4" y="134"/>
                  </a:lnTo>
                  <a:lnTo>
                    <a:pt x="112" y="136"/>
                  </a:lnTo>
                  <a:lnTo>
                    <a:pt x="115" y="136"/>
                  </a:lnTo>
                  <a:lnTo>
                    <a:pt x="117" y="137"/>
                  </a:lnTo>
                  <a:lnTo>
                    <a:pt x="120" y="137"/>
                  </a:lnTo>
                  <a:lnTo>
                    <a:pt x="122" y="137"/>
                  </a:lnTo>
                  <a:lnTo>
                    <a:pt x="124" y="137"/>
                  </a:lnTo>
                  <a:lnTo>
                    <a:pt x="126" y="137"/>
                  </a:lnTo>
                  <a:lnTo>
                    <a:pt x="130" y="136"/>
                  </a:lnTo>
                  <a:lnTo>
                    <a:pt x="133" y="136"/>
                  </a:lnTo>
                  <a:lnTo>
                    <a:pt x="137" y="134"/>
                  </a:lnTo>
                  <a:lnTo>
                    <a:pt x="143" y="132"/>
                  </a:lnTo>
                  <a:lnTo>
                    <a:pt x="146" y="131"/>
                  </a:lnTo>
                  <a:lnTo>
                    <a:pt x="147" y="129"/>
                  </a:lnTo>
                  <a:lnTo>
                    <a:pt x="149" y="128"/>
                  </a:lnTo>
                  <a:lnTo>
                    <a:pt x="150" y="127"/>
                  </a:lnTo>
                  <a:lnTo>
                    <a:pt x="152" y="125"/>
                  </a:lnTo>
                  <a:lnTo>
                    <a:pt x="157" y="118"/>
                  </a:lnTo>
                  <a:lnTo>
                    <a:pt x="158" y="115"/>
                  </a:lnTo>
                  <a:lnTo>
                    <a:pt x="161" y="110"/>
                  </a:lnTo>
                  <a:lnTo>
                    <a:pt x="163" y="107"/>
                  </a:lnTo>
                  <a:lnTo>
                    <a:pt x="165" y="104"/>
                  </a:lnTo>
                  <a:lnTo>
                    <a:pt x="167" y="102"/>
                  </a:lnTo>
                  <a:lnTo>
                    <a:pt x="169" y="100"/>
                  </a:lnTo>
                  <a:lnTo>
                    <a:pt x="172" y="98"/>
                  </a:lnTo>
                  <a:lnTo>
                    <a:pt x="174" y="96"/>
                  </a:lnTo>
                  <a:lnTo>
                    <a:pt x="177" y="95"/>
                  </a:lnTo>
                  <a:lnTo>
                    <a:pt x="180" y="94"/>
                  </a:lnTo>
                  <a:lnTo>
                    <a:pt x="186" y="92"/>
                  </a:lnTo>
                  <a:lnTo>
                    <a:pt x="195" y="90"/>
                  </a:lnTo>
                  <a:lnTo>
                    <a:pt x="196" y="89"/>
                  </a:lnTo>
                  <a:lnTo>
                    <a:pt x="198" y="89"/>
                  </a:lnTo>
                  <a:lnTo>
                    <a:pt x="200" y="89"/>
                  </a:lnTo>
                  <a:lnTo>
                    <a:pt x="203" y="89"/>
                  </a:lnTo>
                  <a:lnTo>
                    <a:pt x="212" y="90"/>
                  </a:lnTo>
                  <a:lnTo>
                    <a:pt x="215" y="91"/>
                  </a:lnTo>
                  <a:lnTo>
                    <a:pt x="216" y="91"/>
                  </a:lnTo>
                  <a:lnTo>
                    <a:pt x="218" y="90"/>
                  </a:lnTo>
                  <a:lnTo>
                    <a:pt x="221" y="90"/>
                  </a:lnTo>
                  <a:lnTo>
                    <a:pt x="223" y="89"/>
                  </a:lnTo>
                  <a:lnTo>
                    <a:pt x="227" y="88"/>
                  </a:lnTo>
                  <a:lnTo>
                    <a:pt x="231" y="86"/>
                  </a:lnTo>
                  <a:lnTo>
                    <a:pt x="234" y="85"/>
                  </a:lnTo>
                  <a:lnTo>
                    <a:pt x="238" y="83"/>
                  </a:lnTo>
                  <a:lnTo>
                    <a:pt x="239" y="81"/>
                  </a:lnTo>
                  <a:lnTo>
                    <a:pt x="241" y="79"/>
                  </a:lnTo>
                  <a:lnTo>
                    <a:pt x="247" y="74"/>
                  </a:lnTo>
                  <a:lnTo>
                    <a:pt x="249" y="73"/>
                  </a:lnTo>
                  <a:lnTo>
                    <a:pt x="252" y="70"/>
                  </a:lnTo>
                  <a:lnTo>
                    <a:pt x="253" y="69"/>
                  </a:lnTo>
                  <a:lnTo>
                    <a:pt x="254" y="69"/>
                  </a:lnTo>
                  <a:lnTo>
                    <a:pt x="257" y="68"/>
                  </a:lnTo>
                  <a:lnTo>
                    <a:pt x="258" y="68"/>
                  </a:lnTo>
                  <a:lnTo>
                    <a:pt x="259" y="68"/>
                  </a:lnTo>
                  <a:lnTo>
                    <a:pt x="260" y="68"/>
                  </a:lnTo>
                  <a:lnTo>
                    <a:pt x="261" y="68"/>
                  </a:lnTo>
                  <a:lnTo>
                    <a:pt x="264" y="70"/>
                  </a:lnTo>
                  <a:lnTo>
                    <a:pt x="266" y="71"/>
                  </a:lnTo>
                  <a:lnTo>
                    <a:pt x="267" y="71"/>
                  </a:lnTo>
                  <a:lnTo>
                    <a:pt x="268" y="71"/>
                  </a:lnTo>
                  <a:lnTo>
                    <a:pt x="269" y="70"/>
                  </a:lnTo>
                  <a:lnTo>
                    <a:pt x="270" y="69"/>
                  </a:lnTo>
                  <a:lnTo>
                    <a:pt x="272" y="68"/>
                  </a:lnTo>
                  <a:lnTo>
                    <a:pt x="276" y="60"/>
                  </a:lnTo>
                  <a:lnTo>
                    <a:pt x="280" y="55"/>
                  </a:lnTo>
                  <a:lnTo>
                    <a:pt x="280" y="53"/>
                  </a:lnTo>
                  <a:lnTo>
                    <a:pt x="282" y="49"/>
                  </a:lnTo>
                  <a:lnTo>
                    <a:pt x="283" y="47"/>
                  </a:lnTo>
                  <a:lnTo>
                    <a:pt x="283" y="46"/>
                  </a:lnTo>
                  <a:lnTo>
                    <a:pt x="284" y="45"/>
                  </a:lnTo>
                  <a:lnTo>
                    <a:pt x="285" y="45"/>
                  </a:lnTo>
                  <a:lnTo>
                    <a:pt x="286" y="44"/>
                  </a:lnTo>
                  <a:lnTo>
                    <a:pt x="289" y="42"/>
                  </a:lnTo>
                  <a:lnTo>
                    <a:pt x="291" y="41"/>
                  </a:lnTo>
                  <a:lnTo>
                    <a:pt x="294" y="40"/>
                  </a:lnTo>
                  <a:lnTo>
                    <a:pt x="295" y="40"/>
                  </a:lnTo>
                  <a:lnTo>
                    <a:pt x="297" y="40"/>
                  </a:lnTo>
                  <a:lnTo>
                    <a:pt x="302" y="41"/>
                  </a:lnTo>
                  <a:lnTo>
                    <a:pt x="307" y="41"/>
                  </a:lnTo>
                  <a:lnTo>
                    <a:pt x="312" y="41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4" y="40"/>
                  </a:lnTo>
                  <a:lnTo>
                    <a:pt x="315" y="36"/>
                  </a:lnTo>
                  <a:lnTo>
                    <a:pt x="316" y="33"/>
                  </a:lnTo>
                  <a:lnTo>
                    <a:pt x="316" y="31"/>
                  </a:lnTo>
                  <a:lnTo>
                    <a:pt x="318" y="28"/>
                  </a:lnTo>
                  <a:lnTo>
                    <a:pt x="318" y="26"/>
                  </a:lnTo>
                  <a:lnTo>
                    <a:pt x="318" y="24"/>
                  </a:lnTo>
                  <a:lnTo>
                    <a:pt x="318" y="23"/>
                  </a:lnTo>
                  <a:lnTo>
                    <a:pt x="318" y="23"/>
                  </a:lnTo>
                  <a:lnTo>
                    <a:pt x="316" y="20"/>
                  </a:lnTo>
                  <a:lnTo>
                    <a:pt x="316" y="18"/>
                  </a:lnTo>
                  <a:lnTo>
                    <a:pt x="316" y="17"/>
                  </a:lnTo>
                  <a:lnTo>
                    <a:pt x="317" y="15"/>
                  </a:lnTo>
                  <a:lnTo>
                    <a:pt x="318" y="14"/>
                  </a:lnTo>
                  <a:lnTo>
                    <a:pt x="318" y="12"/>
                  </a:lnTo>
                  <a:lnTo>
                    <a:pt x="321" y="11"/>
                  </a:lnTo>
                  <a:lnTo>
                    <a:pt x="324" y="9"/>
                  </a:lnTo>
                  <a:lnTo>
                    <a:pt x="326" y="7"/>
                  </a:lnTo>
                  <a:lnTo>
                    <a:pt x="331" y="4"/>
                  </a:lnTo>
                  <a:lnTo>
                    <a:pt x="336" y="1"/>
                  </a:lnTo>
                  <a:lnTo>
                    <a:pt x="338" y="0"/>
                  </a:lnTo>
                  <a:lnTo>
                    <a:pt x="340" y="0"/>
                  </a:lnTo>
                  <a:lnTo>
                    <a:pt x="340" y="0"/>
                  </a:lnTo>
                  <a:lnTo>
                    <a:pt x="342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4" name="Freeform 11">
              <a:extLst>
                <a:ext uri="{FF2B5EF4-FFF2-40B4-BE49-F238E27FC236}">
                  <a16:creationId xmlns:a16="http://schemas.microsoft.com/office/drawing/2014/main" id="{1D324B06-7FE7-4169-B95B-AC1B2B1B4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4" y="1623"/>
              <a:ext cx="383" cy="358"/>
            </a:xfrm>
            <a:custGeom>
              <a:avLst/>
              <a:gdLst>
                <a:gd name="T0" fmla="*/ 197 w 383"/>
                <a:gd name="T1" fmla="*/ 5 h 358"/>
                <a:gd name="T2" fmla="*/ 207 w 383"/>
                <a:gd name="T3" fmla="*/ 10 h 358"/>
                <a:gd name="T4" fmla="*/ 227 w 383"/>
                <a:gd name="T5" fmla="*/ 6 h 358"/>
                <a:gd name="T6" fmla="*/ 250 w 383"/>
                <a:gd name="T7" fmla="*/ 8 h 358"/>
                <a:gd name="T8" fmla="*/ 264 w 383"/>
                <a:gd name="T9" fmla="*/ 6 h 358"/>
                <a:gd name="T10" fmla="*/ 272 w 383"/>
                <a:gd name="T11" fmla="*/ 31 h 358"/>
                <a:gd name="T12" fmla="*/ 285 w 383"/>
                <a:gd name="T13" fmla="*/ 40 h 358"/>
                <a:gd name="T14" fmla="*/ 309 w 383"/>
                <a:gd name="T15" fmla="*/ 33 h 358"/>
                <a:gd name="T16" fmla="*/ 350 w 383"/>
                <a:gd name="T17" fmla="*/ 34 h 358"/>
                <a:gd name="T18" fmla="*/ 362 w 383"/>
                <a:gd name="T19" fmla="*/ 48 h 358"/>
                <a:gd name="T20" fmla="*/ 351 w 383"/>
                <a:gd name="T21" fmla="*/ 57 h 358"/>
                <a:gd name="T22" fmla="*/ 341 w 383"/>
                <a:gd name="T23" fmla="*/ 88 h 358"/>
                <a:gd name="T24" fmla="*/ 360 w 383"/>
                <a:gd name="T25" fmla="*/ 110 h 358"/>
                <a:gd name="T26" fmla="*/ 368 w 383"/>
                <a:gd name="T27" fmla="*/ 134 h 358"/>
                <a:gd name="T28" fmla="*/ 362 w 383"/>
                <a:gd name="T29" fmla="*/ 151 h 358"/>
                <a:gd name="T30" fmla="*/ 381 w 383"/>
                <a:gd name="T31" fmla="*/ 173 h 358"/>
                <a:gd name="T32" fmla="*/ 378 w 383"/>
                <a:gd name="T33" fmla="*/ 192 h 358"/>
                <a:gd name="T34" fmla="*/ 349 w 383"/>
                <a:gd name="T35" fmla="*/ 201 h 358"/>
                <a:gd name="T36" fmla="*/ 321 w 383"/>
                <a:gd name="T37" fmla="*/ 210 h 358"/>
                <a:gd name="T38" fmla="*/ 317 w 383"/>
                <a:gd name="T39" fmla="*/ 231 h 358"/>
                <a:gd name="T40" fmla="*/ 321 w 383"/>
                <a:gd name="T41" fmla="*/ 251 h 358"/>
                <a:gd name="T42" fmla="*/ 328 w 383"/>
                <a:gd name="T43" fmla="*/ 259 h 358"/>
                <a:gd name="T44" fmla="*/ 304 w 383"/>
                <a:gd name="T45" fmla="*/ 289 h 358"/>
                <a:gd name="T46" fmla="*/ 289 w 383"/>
                <a:gd name="T47" fmla="*/ 324 h 358"/>
                <a:gd name="T48" fmla="*/ 284 w 383"/>
                <a:gd name="T49" fmla="*/ 347 h 358"/>
                <a:gd name="T50" fmla="*/ 267 w 383"/>
                <a:gd name="T51" fmla="*/ 354 h 358"/>
                <a:gd name="T52" fmla="*/ 213 w 383"/>
                <a:gd name="T53" fmla="*/ 336 h 358"/>
                <a:gd name="T54" fmla="*/ 193 w 383"/>
                <a:gd name="T55" fmla="*/ 319 h 358"/>
                <a:gd name="T56" fmla="*/ 176 w 383"/>
                <a:gd name="T57" fmla="*/ 307 h 358"/>
                <a:gd name="T58" fmla="*/ 152 w 383"/>
                <a:gd name="T59" fmla="*/ 311 h 358"/>
                <a:gd name="T60" fmla="*/ 137 w 383"/>
                <a:gd name="T61" fmla="*/ 303 h 358"/>
                <a:gd name="T62" fmla="*/ 127 w 383"/>
                <a:gd name="T63" fmla="*/ 306 h 358"/>
                <a:gd name="T64" fmla="*/ 126 w 383"/>
                <a:gd name="T65" fmla="*/ 334 h 358"/>
                <a:gd name="T66" fmla="*/ 115 w 383"/>
                <a:gd name="T67" fmla="*/ 342 h 358"/>
                <a:gd name="T68" fmla="*/ 101 w 383"/>
                <a:gd name="T69" fmla="*/ 358 h 358"/>
                <a:gd name="T70" fmla="*/ 86 w 383"/>
                <a:gd name="T71" fmla="*/ 349 h 358"/>
                <a:gd name="T72" fmla="*/ 65 w 383"/>
                <a:gd name="T73" fmla="*/ 353 h 358"/>
                <a:gd name="T74" fmla="*/ 52 w 383"/>
                <a:gd name="T75" fmla="*/ 350 h 358"/>
                <a:gd name="T76" fmla="*/ 18 w 383"/>
                <a:gd name="T77" fmla="*/ 335 h 358"/>
                <a:gd name="T78" fmla="*/ 0 w 383"/>
                <a:gd name="T79" fmla="*/ 321 h 358"/>
                <a:gd name="T80" fmla="*/ 13 w 383"/>
                <a:gd name="T81" fmla="*/ 299 h 358"/>
                <a:gd name="T82" fmla="*/ 40 w 383"/>
                <a:gd name="T83" fmla="*/ 280 h 358"/>
                <a:gd name="T84" fmla="*/ 56 w 383"/>
                <a:gd name="T85" fmla="*/ 247 h 358"/>
                <a:gd name="T86" fmla="*/ 46 w 383"/>
                <a:gd name="T87" fmla="*/ 220 h 358"/>
                <a:gd name="T88" fmla="*/ 30 w 383"/>
                <a:gd name="T89" fmla="*/ 215 h 358"/>
                <a:gd name="T90" fmla="*/ 21 w 383"/>
                <a:gd name="T91" fmla="*/ 207 h 358"/>
                <a:gd name="T92" fmla="*/ 40 w 383"/>
                <a:gd name="T93" fmla="*/ 188 h 358"/>
                <a:gd name="T94" fmla="*/ 85 w 383"/>
                <a:gd name="T95" fmla="*/ 183 h 358"/>
                <a:gd name="T96" fmla="*/ 103 w 383"/>
                <a:gd name="T97" fmla="*/ 183 h 358"/>
                <a:gd name="T98" fmla="*/ 112 w 383"/>
                <a:gd name="T99" fmla="*/ 155 h 358"/>
                <a:gd name="T100" fmla="*/ 110 w 383"/>
                <a:gd name="T101" fmla="*/ 124 h 358"/>
                <a:gd name="T102" fmla="*/ 108 w 383"/>
                <a:gd name="T103" fmla="*/ 97 h 358"/>
                <a:gd name="T104" fmla="*/ 120 w 383"/>
                <a:gd name="T105" fmla="*/ 94 h 358"/>
                <a:gd name="T106" fmla="*/ 143 w 383"/>
                <a:gd name="T107" fmla="*/ 98 h 358"/>
                <a:gd name="T108" fmla="*/ 156 w 383"/>
                <a:gd name="T109" fmla="*/ 74 h 358"/>
                <a:gd name="T110" fmla="*/ 182 w 383"/>
                <a:gd name="T111" fmla="*/ 65 h 358"/>
                <a:gd name="T112" fmla="*/ 185 w 383"/>
                <a:gd name="T113" fmla="*/ 42 h 358"/>
                <a:gd name="T114" fmla="*/ 185 w 383"/>
                <a:gd name="T115" fmla="*/ 4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3" h="358">
                  <a:moveTo>
                    <a:pt x="187" y="0"/>
                  </a:moveTo>
                  <a:lnTo>
                    <a:pt x="188" y="0"/>
                  </a:lnTo>
                  <a:lnTo>
                    <a:pt x="189" y="1"/>
                  </a:lnTo>
                  <a:lnTo>
                    <a:pt x="190" y="2"/>
                  </a:lnTo>
                  <a:lnTo>
                    <a:pt x="191" y="2"/>
                  </a:lnTo>
                  <a:lnTo>
                    <a:pt x="193" y="3"/>
                  </a:lnTo>
                  <a:lnTo>
                    <a:pt x="195" y="4"/>
                  </a:lnTo>
                  <a:lnTo>
                    <a:pt x="196" y="4"/>
                  </a:lnTo>
                  <a:lnTo>
                    <a:pt x="197" y="5"/>
                  </a:lnTo>
                  <a:lnTo>
                    <a:pt x="198" y="6"/>
                  </a:lnTo>
                  <a:lnTo>
                    <a:pt x="199" y="7"/>
                  </a:lnTo>
                  <a:lnTo>
                    <a:pt x="200" y="8"/>
                  </a:lnTo>
                  <a:lnTo>
                    <a:pt x="201" y="9"/>
                  </a:lnTo>
                  <a:lnTo>
                    <a:pt x="202" y="9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5" y="10"/>
                  </a:lnTo>
                  <a:lnTo>
                    <a:pt x="207" y="10"/>
                  </a:lnTo>
                  <a:lnTo>
                    <a:pt x="209" y="10"/>
                  </a:lnTo>
                  <a:lnTo>
                    <a:pt x="211" y="9"/>
                  </a:lnTo>
                  <a:lnTo>
                    <a:pt x="215" y="7"/>
                  </a:lnTo>
                  <a:lnTo>
                    <a:pt x="216" y="6"/>
                  </a:lnTo>
                  <a:lnTo>
                    <a:pt x="219" y="5"/>
                  </a:lnTo>
                  <a:lnTo>
                    <a:pt x="221" y="5"/>
                  </a:lnTo>
                  <a:lnTo>
                    <a:pt x="223" y="5"/>
                  </a:lnTo>
                  <a:lnTo>
                    <a:pt x="225" y="5"/>
                  </a:lnTo>
                  <a:lnTo>
                    <a:pt x="227" y="6"/>
                  </a:lnTo>
                  <a:lnTo>
                    <a:pt x="233" y="9"/>
                  </a:lnTo>
                  <a:lnTo>
                    <a:pt x="235" y="9"/>
                  </a:lnTo>
                  <a:lnTo>
                    <a:pt x="238" y="9"/>
                  </a:lnTo>
                  <a:lnTo>
                    <a:pt x="239" y="10"/>
                  </a:lnTo>
                  <a:lnTo>
                    <a:pt x="240" y="10"/>
                  </a:lnTo>
                  <a:lnTo>
                    <a:pt x="243" y="10"/>
                  </a:lnTo>
                  <a:lnTo>
                    <a:pt x="245" y="9"/>
                  </a:lnTo>
                  <a:lnTo>
                    <a:pt x="246" y="9"/>
                  </a:lnTo>
                  <a:lnTo>
                    <a:pt x="250" y="8"/>
                  </a:lnTo>
                  <a:lnTo>
                    <a:pt x="251" y="7"/>
                  </a:lnTo>
                  <a:lnTo>
                    <a:pt x="254" y="6"/>
                  </a:lnTo>
                  <a:lnTo>
                    <a:pt x="257" y="5"/>
                  </a:lnTo>
                  <a:lnTo>
                    <a:pt x="259" y="4"/>
                  </a:lnTo>
                  <a:lnTo>
                    <a:pt x="260" y="4"/>
                  </a:lnTo>
                  <a:lnTo>
                    <a:pt x="261" y="4"/>
                  </a:lnTo>
                  <a:lnTo>
                    <a:pt x="262" y="5"/>
                  </a:lnTo>
                  <a:lnTo>
                    <a:pt x="263" y="5"/>
                  </a:lnTo>
                  <a:lnTo>
                    <a:pt x="264" y="6"/>
                  </a:lnTo>
                  <a:lnTo>
                    <a:pt x="265" y="8"/>
                  </a:lnTo>
                  <a:lnTo>
                    <a:pt x="266" y="9"/>
                  </a:lnTo>
                  <a:lnTo>
                    <a:pt x="267" y="11"/>
                  </a:lnTo>
                  <a:lnTo>
                    <a:pt x="267" y="13"/>
                  </a:lnTo>
                  <a:lnTo>
                    <a:pt x="269" y="20"/>
                  </a:lnTo>
                  <a:lnTo>
                    <a:pt x="270" y="24"/>
                  </a:lnTo>
                  <a:lnTo>
                    <a:pt x="271" y="27"/>
                  </a:lnTo>
                  <a:lnTo>
                    <a:pt x="272" y="29"/>
                  </a:lnTo>
                  <a:lnTo>
                    <a:pt x="272" y="31"/>
                  </a:lnTo>
                  <a:lnTo>
                    <a:pt x="273" y="32"/>
                  </a:lnTo>
                  <a:lnTo>
                    <a:pt x="274" y="34"/>
                  </a:lnTo>
                  <a:lnTo>
                    <a:pt x="275" y="35"/>
                  </a:lnTo>
                  <a:lnTo>
                    <a:pt x="276" y="36"/>
                  </a:lnTo>
                  <a:lnTo>
                    <a:pt x="277" y="37"/>
                  </a:lnTo>
                  <a:lnTo>
                    <a:pt x="279" y="38"/>
                  </a:lnTo>
                  <a:lnTo>
                    <a:pt x="281" y="39"/>
                  </a:lnTo>
                  <a:lnTo>
                    <a:pt x="284" y="39"/>
                  </a:lnTo>
                  <a:lnTo>
                    <a:pt x="285" y="40"/>
                  </a:lnTo>
                  <a:lnTo>
                    <a:pt x="287" y="40"/>
                  </a:lnTo>
                  <a:lnTo>
                    <a:pt x="288" y="40"/>
                  </a:lnTo>
                  <a:lnTo>
                    <a:pt x="289" y="40"/>
                  </a:lnTo>
                  <a:lnTo>
                    <a:pt x="291" y="40"/>
                  </a:lnTo>
                  <a:lnTo>
                    <a:pt x="293" y="39"/>
                  </a:lnTo>
                  <a:lnTo>
                    <a:pt x="296" y="37"/>
                  </a:lnTo>
                  <a:lnTo>
                    <a:pt x="299" y="36"/>
                  </a:lnTo>
                  <a:lnTo>
                    <a:pt x="308" y="33"/>
                  </a:lnTo>
                  <a:lnTo>
                    <a:pt x="309" y="33"/>
                  </a:lnTo>
                  <a:lnTo>
                    <a:pt x="312" y="32"/>
                  </a:lnTo>
                  <a:lnTo>
                    <a:pt x="319" y="32"/>
                  </a:lnTo>
                  <a:lnTo>
                    <a:pt x="326" y="32"/>
                  </a:lnTo>
                  <a:lnTo>
                    <a:pt x="329" y="31"/>
                  </a:lnTo>
                  <a:lnTo>
                    <a:pt x="333" y="31"/>
                  </a:lnTo>
                  <a:lnTo>
                    <a:pt x="338" y="32"/>
                  </a:lnTo>
                  <a:lnTo>
                    <a:pt x="342" y="32"/>
                  </a:lnTo>
                  <a:lnTo>
                    <a:pt x="348" y="33"/>
                  </a:lnTo>
                  <a:lnTo>
                    <a:pt x="350" y="34"/>
                  </a:lnTo>
                  <a:lnTo>
                    <a:pt x="352" y="34"/>
                  </a:lnTo>
                  <a:lnTo>
                    <a:pt x="352" y="35"/>
                  </a:lnTo>
                  <a:lnTo>
                    <a:pt x="353" y="36"/>
                  </a:lnTo>
                  <a:lnTo>
                    <a:pt x="357" y="40"/>
                  </a:lnTo>
                  <a:lnTo>
                    <a:pt x="359" y="43"/>
                  </a:lnTo>
                  <a:lnTo>
                    <a:pt x="361" y="44"/>
                  </a:lnTo>
                  <a:lnTo>
                    <a:pt x="362" y="45"/>
                  </a:lnTo>
                  <a:lnTo>
                    <a:pt x="362" y="47"/>
                  </a:lnTo>
                  <a:lnTo>
                    <a:pt x="362" y="48"/>
                  </a:lnTo>
                  <a:lnTo>
                    <a:pt x="362" y="49"/>
                  </a:lnTo>
                  <a:lnTo>
                    <a:pt x="362" y="50"/>
                  </a:lnTo>
                  <a:lnTo>
                    <a:pt x="361" y="51"/>
                  </a:lnTo>
                  <a:lnTo>
                    <a:pt x="360" y="51"/>
                  </a:lnTo>
                  <a:lnTo>
                    <a:pt x="359" y="52"/>
                  </a:lnTo>
                  <a:lnTo>
                    <a:pt x="354" y="54"/>
                  </a:lnTo>
                  <a:lnTo>
                    <a:pt x="353" y="55"/>
                  </a:lnTo>
                  <a:lnTo>
                    <a:pt x="352" y="56"/>
                  </a:lnTo>
                  <a:lnTo>
                    <a:pt x="351" y="57"/>
                  </a:lnTo>
                  <a:lnTo>
                    <a:pt x="350" y="58"/>
                  </a:lnTo>
                  <a:lnTo>
                    <a:pt x="350" y="59"/>
                  </a:lnTo>
                  <a:lnTo>
                    <a:pt x="347" y="65"/>
                  </a:lnTo>
                  <a:lnTo>
                    <a:pt x="345" y="69"/>
                  </a:lnTo>
                  <a:lnTo>
                    <a:pt x="345" y="71"/>
                  </a:lnTo>
                  <a:lnTo>
                    <a:pt x="343" y="77"/>
                  </a:lnTo>
                  <a:lnTo>
                    <a:pt x="341" y="84"/>
                  </a:lnTo>
                  <a:lnTo>
                    <a:pt x="341" y="86"/>
                  </a:lnTo>
                  <a:lnTo>
                    <a:pt x="341" y="88"/>
                  </a:lnTo>
                  <a:lnTo>
                    <a:pt x="341" y="89"/>
                  </a:lnTo>
                  <a:lnTo>
                    <a:pt x="342" y="91"/>
                  </a:lnTo>
                  <a:lnTo>
                    <a:pt x="343" y="93"/>
                  </a:lnTo>
                  <a:lnTo>
                    <a:pt x="344" y="94"/>
                  </a:lnTo>
                  <a:lnTo>
                    <a:pt x="345" y="95"/>
                  </a:lnTo>
                  <a:lnTo>
                    <a:pt x="350" y="99"/>
                  </a:lnTo>
                  <a:lnTo>
                    <a:pt x="354" y="103"/>
                  </a:lnTo>
                  <a:lnTo>
                    <a:pt x="357" y="107"/>
                  </a:lnTo>
                  <a:lnTo>
                    <a:pt x="360" y="110"/>
                  </a:lnTo>
                  <a:lnTo>
                    <a:pt x="362" y="112"/>
                  </a:lnTo>
                  <a:lnTo>
                    <a:pt x="363" y="115"/>
                  </a:lnTo>
                  <a:lnTo>
                    <a:pt x="365" y="119"/>
                  </a:lnTo>
                  <a:lnTo>
                    <a:pt x="367" y="122"/>
                  </a:lnTo>
                  <a:lnTo>
                    <a:pt x="368" y="125"/>
                  </a:lnTo>
                  <a:lnTo>
                    <a:pt x="369" y="128"/>
                  </a:lnTo>
                  <a:lnTo>
                    <a:pt x="369" y="130"/>
                  </a:lnTo>
                  <a:lnTo>
                    <a:pt x="369" y="133"/>
                  </a:lnTo>
                  <a:lnTo>
                    <a:pt x="368" y="134"/>
                  </a:lnTo>
                  <a:lnTo>
                    <a:pt x="368" y="136"/>
                  </a:lnTo>
                  <a:lnTo>
                    <a:pt x="367" y="139"/>
                  </a:lnTo>
                  <a:lnTo>
                    <a:pt x="365" y="140"/>
                  </a:lnTo>
                  <a:lnTo>
                    <a:pt x="363" y="144"/>
                  </a:lnTo>
                  <a:lnTo>
                    <a:pt x="363" y="145"/>
                  </a:lnTo>
                  <a:lnTo>
                    <a:pt x="362" y="146"/>
                  </a:lnTo>
                  <a:lnTo>
                    <a:pt x="362" y="148"/>
                  </a:lnTo>
                  <a:lnTo>
                    <a:pt x="362" y="150"/>
                  </a:lnTo>
                  <a:lnTo>
                    <a:pt x="362" y="151"/>
                  </a:lnTo>
                  <a:lnTo>
                    <a:pt x="363" y="153"/>
                  </a:lnTo>
                  <a:lnTo>
                    <a:pt x="363" y="155"/>
                  </a:lnTo>
                  <a:lnTo>
                    <a:pt x="365" y="156"/>
                  </a:lnTo>
                  <a:lnTo>
                    <a:pt x="367" y="159"/>
                  </a:lnTo>
                  <a:lnTo>
                    <a:pt x="368" y="161"/>
                  </a:lnTo>
                  <a:lnTo>
                    <a:pt x="370" y="163"/>
                  </a:lnTo>
                  <a:lnTo>
                    <a:pt x="378" y="169"/>
                  </a:lnTo>
                  <a:lnTo>
                    <a:pt x="379" y="171"/>
                  </a:lnTo>
                  <a:lnTo>
                    <a:pt x="381" y="173"/>
                  </a:lnTo>
                  <a:lnTo>
                    <a:pt x="382" y="175"/>
                  </a:lnTo>
                  <a:lnTo>
                    <a:pt x="383" y="177"/>
                  </a:lnTo>
                  <a:lnTo>
                    <a:pt x="383" y="179"/>
                  </a:lnTo>
                  <a:lnTo>
                    <a:pt x="383" y="181"/>
                  </a:lnTo>
                  <a:lnTo>
                    <a:pt x="383" y="184"/>
                  </a:lnTo>
                  <a:lnTo>
                    <a:pt x="382" y="187"/>
                  </a:lnTo>
                  <a:lnTo>
                    <a:pt x="381" y="190"/>
                  </a:lnTo>
                  <a:lnTo>
                    <a:pt x="380" y="190"/>
                  </a:lnTo>
                  <a:lnTo>
                    <a:pt x="378" y="192"/>
                  </a:lnTo>
                  <a:lnTo>
                    <a:pt x="376" y="193"/>
                  </a:lnTo>
                  <a:lnTo>
                    <a:pt x="373" y="197"/>
                  </a:lnTo>
                  <a:lnTo>
                    <a:pt x="370" y="198"/>
                  </a:lnTo>
                  <a:lnTo>
                    <a:pt x="367" y="199"/>
                  </a:lnTo>
                  <a:lnTo>
                    <a:pt x="364" y="200"/>
                  </a:lnTo>
                  <a:lnTo>
                    <a:pt x="358" y="200"/>
                  </a:lnTo>
                  <a:lnTo>
                    <a:pt x="355" y="200"/>
                  </a:lnTo>
                  <a:lnTo>
                    <a:pt x="351" y="201"/>
                  </a:lnTo>
                  <a:lnTo>
                    <a:pt x="349" y="201"/>
                  </a:lnTo>
                  <a:lnTo>
                    <a:pt x="344" y="202"/>
                  </a:lnTo>
                  <a:lnTo>
                    <a:pt x="341" y="203"/>
                  </a:lnTo>
                  <a:lnTo>
                    <a:pt x="337" y="204"/>
                  </a:lnTo>
                  <a:lnTo>
                    <a:pt x="330" y="205"/>
                  </a:lnTo>
                  <a:lnTo>
                    <a:pt x="329" y="205"/>
                  </a:lnTo>
                  <a:lnTo>
                    <a:pt x="326" y="206"/>
                  </a:lnTo>
                  <a:lnTo>
                    <a:pt x="324" y="207"/>
                  </a:lnTo>
                  <a:lnTo>
                    <a:pt x="323" y="208"/>
                  </a:lnTo>
                  <a:lnTo>
                    <a:pt x="321" y="210"/>
                  </a:lnTo>
                  <a:lnTo>
                    <a:pt x="320" y="213"/>
                  </a:lnTo>
                  <a:lnTo>
                    <a:pt x="318" y="215"/>
                  </a:lnTo>
                  <a:lnTo>
                    <a:pt x="318" y="217"/>
                  </a:lnTo>
                  <a:lnTo>
                    <a:pt x="317" y="220"/>
                  </a:lnTo>
                  <a:lnTo>
                    <a:pt x="316" y="223"/>
                  </a:lnTo>
                  <a:lnTo>
                    <a:pt x="316" y="224"/>
                  </a:lnTo>
                  <a:lnTo>
                    <a:pt x="316" y="227"/>
                  </a:lnTo>
                  <a:lnTo>
                    <a:pt x="316" y="229"/>
                  </a:lnTo>
                  <a:lnTo>
                    <a:pt x="317" y="231"/>
                  </a:lnTo>
                  <a:lnTo>
                    <a:pt x="317" y="232"/>
                  </a:lnTo>
                  <a:lnTo>
                    <a:pt x="318" y="235"/>
                  </a:lnTo>
                  <a:lnTo>
                    <a:pt x="319" y="237"/>
                  </a:lnTo>
                  <a:lnTo>
                    <a:pt x="319" y="239"/>
                  </a:lnTo>
                  <a:lnTo>
                    <a:pt x="319" y="244"/>
                  </a:lnTo>
                  <a:lnTo>
                    <a:pt x="319" y="246"/>
                  </a:lnTo>
                  <a:lnTo>
                    <a:pt x="319" y="247"/>
                  </a:lnTo>
                  <a:lnTo>
                    <a:pt x="320" y="249"/>
                  </a:lnTo>
                  <a:lnTo>
                    <a:pt x="321" y="251"/>
                  </a:lnTo>
                  <a:lnTo>
                    <a:pt x="322" y="252"/>
                  </a:lnTo>
                  <a:lnTo>
                    <a:pt x="323" y="254"/>
                  </a:lnTo>
                  <a:lnTo>
                    <a:pt x="325" y="255"/>
                  </a:lnTo>
                  <a:lnTo>
                    <a:pt x="326" y="256"/>
                  </a:lnTo>
                  <a:lnTo>
                    <a:pt x="328" y="257"/>
                  </a:lnTo>
                  <a:lnTo>
                    <a:pt x="329" y="258"/>
                  </a:lnTo>
                  <a:lnTo>
                    <a:pt x="330" y="258"/>
                  </a:lnTo>
                  <a:lnTo>
                    <a:pt x="329" y="258"/>
                  </a:lnTo>
                  <a:lnTo>
                    <a:pt x="328" y="259"/>
                  </a:lnTo>
                  <a:lnTo>
                    <a:pt x="322" y="265"/>
                  </a:lnTo>
                  <a:lnTo>
                    <a:pt x="317" y="269"/>
                  </a:lnTo>
                  <a:lnTo>
                    <a:pt x="310" y="274"/>
                  </a:lnTo>
                  <a:lnTo>
                    <a:pt x="308" y="276"/>
                  </a:lnTo>
                  <a:lnTo>
                    <a:pt x="307" y="278"/>
                  </a:lnTo>
                  <a:lnTo>
                    <a:pt x="307" y="279"/>
                  </a:lnTo>
                  <a:lnTo>
                    <a:pt x="307" y="280"/>
                  </a:lnTo>
                  <a:lnTo>
                    <a:pt x="305" y="287"/>
                  </a:lnTo>
                  <a:lnTo>
                    <a:pt x="304" y="289"/>
                  </a:lnTo>
                  <a:lnTo>
                    <a:pt x="303" y="292"/>
                  </a:lnTo>
                  <a:lnTo>
                    <a:pt x="301" y="295"/>
                  </a:lnTo>
                  <a:lnTo>
                    <a:pt x="298" y="300"/>
                  </a:lnTo>
                  <a:lnTo>
                    <a:pt x="292" y="312"/>
                  </a:lnTo>
                  <a:lnTo>
                    <a:pt x="291" y="314"/>
                  </a:lnTo>
                  <a:lnTo>
                    <a:pt x="290" y="316"/>
                  </a:lnTo>
                  <a:lnTo>
                    <a:pt x="289" y="319"/>
                  </a:lnTo>
                  <a:lnTo>
                    <a:pt x="289" y="322"/>
                  </a:lnTo>
                  <a:lnTo>
                    <a:pt x="289" y="324"/>
                  </a:lnTo>
                  <a:lnTo>
                    <a:pt x="289" y="329"/>
                  </a:lnTo>
                  <a:lnTo>
                    <a:pt x="289" y="331"/>
                  </a:lnTo>
                  <a:lnTo>
                    <a:pt x="289" y="333"/>
                  </a:lnTo>
                  <a:lnTo>
                    <a:pt x="289" y="335"/>
                  </a:lnTo>
                  <a:lnTo>
                    <a:pt x="288" y="337"/>
                  </a:lnTo>
                  <a:lnTo>
                    <a:pt x="286" y="342"/>
                  </a:lnTo>
                  <a:lnTo>
                    <a:pt x="285" y="344"/>
                  </a:lnTo>
                  <a:lnTo>
                    <a:pt x="284" y="345"/>
                  </a:lnTo>
                  <a:lnTo>
                    <a:pt x="284" y="347"/>
                  </a:lnTo>
                  <a:lnTo>
                    <a:pt x="283" y="348"/>
                  </a:lnTo>
                  <a:lnTo>
                    <a:pt x="280" y="349"/>
                  </a:lnTo>
                  <a:lnTo>
                    <a:pt x="278" y="351"/>
                  </a:lnTo>
                  <a:lnTo>
                    <a:pt x="276" y="352"/>
                  </a:lnTo>
                  <a:lnTo>
                    <a:pt x="274" y="353"/>
                  </a:lnTo>
                  <a:lnTo>
                    <a:pt x="272" y="354"/>
                  </a:lnTo>
                  <a:lnTo>
                    <a:pt x="270" y="354"/>
                  </a:lnTo>
                  <a:lnTo>
                    <a:pt x="269" y="354"/>
                  </a:lnTo>
                  <a:lnTo>
                    <a:pt x="267" y="354"/>
                  </a:lnTo>
                  <a:lnTo>
                    <a:pt x="265" y="353"/>
                  </a:lnTo>
                  <a:lnTo>
                    <a:pt x="262" y="352"/>
                  </a:lnTo>
                  <a:lnTo>
                    <a:pt x="253" y="349"/>
                  </a:lnTo>
                  <a:lnTo>
                    <a:pt x="250" y="348"/>
                  </a:lnTo>
                  <a:lnTo>
                    <a:pt x="239" y="344"/>
                  </a:lnTo>
                  <a:lnTo>
                    <a:pt x="235" y="343"/>
                  </a:lnTo>
                  <a:lnTo>
                    <a:pt x="228" y="341"/>
                  </a:lnTo>
                  <a:lnTo>
                    <a:pt x="225" y="340"/>
                  </a:lnTo>
                  <a:lnTo>
                    <a:pt x="213" y="336"/>
                  </a:lnTo>
                  <a:lnTo>
                    <a:pt x="210" y="335"/>
                  </a:lnTo>
                  <a:lnTo>
                    <a:pt x="205" y="332"/>
                  </a:lnTo>
                  <a:lnTo>
                    <a:pt x="204" y="331"/>
                  </a:lnTo>
                  <a:lnTo>
                    <a:pt x="202" y="329"/>
                  </a:lnTo>
                  <a:lnTo>
                    <a:pt x="200" y="327"/>
                  </a:lnTo>
                  <a:lnTo>
                    <a:pt x="198" y="326"/>
                  </a:lnTo>
                  <a:lnTo>
                    <a:pt x="197" y="324"/>
                  </a:lnTo>
                  <a:lnTo>
                    <a:pt x="194" y="321"/>
                  </a:lnTo>
                  <a:lnTo>
                    <a:pt x="193" y="319"/>
                  </a:lnTo>
                  <a:lnTo>
                    <a:pt x="192" y="318"/>
                  </a:lnTo>
                  <a:lnTo>
                    <a:pt x="189" y="316"/>
                  </a:lnTo>
                  <a:lnTo>
                    <a:pt x="187" y="315"/>
                  </a:lnTo>
                  <a:lnTo>
                    <a:pt x="185" y="314"/>
                  </a:lnTo>
                  <a:lnTo>
                    <a:pt x="182" y="311"/>
                  </a:lnTo>
                  <a:lnTo>
                    <a:pt x="181" y="309"/>
                  </a:lnTo>
                  <a:lnTo>
                    <a:pt x="180" y="308"/>
                  </a:lnTo>
                  <a:lnTo>
                    <a:pt x="178" y="307"/>
                  </a:lnTo>
                  <a:lnTo>
                    <a:pt x="176" y="307"/>
                  </a:lnTo>
                  <a:lnTo>
                    <a:pt x="174" y="307"/>
                  </a:lnTo>
                  <a:lnTo>
                    <a:pt x="171" y="307"/>
                  </a:lnTo>
                  <a:lnTo>
                    <a:pt x="165" y="307"/>
                  </a:lnTo>
                  <a:lnTo>
                    <a:pt x="162" y="308"/>
                  </a:lnTo>
                  <a:lnTo>
                    <a:pt x="160" y="308"/>
                  </a:lnTo>
                  <a:lnTo>
                    <a:pt x="159" y="309"/>
                  </a:lnTo>
                  <a:lnTo>
                    <a:pt x="155" y="310"/>
                  </a:lnTo>
                  <a:lnTo>
                    <a:pt x="154" y="311"/>
                  </a:lnTo>
                  <a:lnTo>
                    <a:pt x="152" y="311"/>
                  </a:lnTo>
                  <a:lnTo>
                    <a:pt x="151" y="311"/>
                  </a:lnTo>
                  <a:lnTo>
                    <a:pt x="150" y="311"/>
                  </a:lnTo>
                  <a:lnTo>
                    <a:pt x="149" y="310"/>
                  </a:lnTo>
                  <a:lnTo>
                    <a:pt x="147" y="309"/>
                  </a:lnTo>
                  <a:lnTo>
                    <a:pt x="145" y="307"/>
                  </a:lnTo>
                  <a:lnTo>
                    <a:pt x="141" y="304"/>
                  </a:lnTo>
                  <a:lnTo>
                    <a:pt x="139" y="303"/>
                  </a:lnTo>
                  <a:lnTo>
                    <a:pt x="138" y="303"/>
                  </a:lnTo>
                  <a:lnTo>
                    <a:pt x="137" y="303"/>
                  </a:lnTo>
                  <a:lnTo>
                    <a:pt x="136" y="302"/>
                  </a:lnTo>
                  <a:lnTo>
                    <a:pt x="135" y="302"/>
                  </a:lnTo>
                  <a:lnTo>
                    <a:pt x="134" y="302"/>
                  </a:lnTo>
                  <a:lnTo>
                    <a:pt x="133" y="302"/>
                  </a:lnTo>
                  <a:lnTo>
                    <a:pt x="131" y="303"/>
                  </a:lnTo>
                  <a:lnTo>
                    <a:pt x="130" y="303"/>
                  </a:lnTo>
                  <a:lnTo>
                    <a:pt x="129" y="303"/>
                  </a:lnTo>
                  <a:lnTo>
                    <a:pt x="128" y="305"/>
                  </a:lnTo>
                  <a:lnTo>
                    <a:pt x="127" y="306"/>
                  </a:lnTo>
                  <a:lnTo>
                    <a:pt x="127" y="307"/>
                  </a:lnTo>
                  <a:lnTo>
                    <a:pt x="126" y="309"/>
                  </a:lnTo>
                  <a:lnTo>
                    <a:pt x="126" y="311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7" y="324"/>
                  </a:lnTo>
                  <a:lnTo>
                    <a:pt x="127" y="330"/>
                  </a:lnTo>
                  <a:lnTo>
                    <a:pt x="126" y="333"/>
                  </a:lnTo>
                  <a:lnTo>
                    <a:pt x="126" y="334"/>
                  </a:lnTo>
                  <a:lnTo>
                    <a:pt x="126" y="336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5" y="337"/>
                  </a:lnTo>
                  <a:lnTo>
                    <a:pt x="124" y="338"/>
                  </a:lnTo>
                  <a:lnTo>
                    <a:pt x="123" y="339"/>
                  </a:lnTo>
                  <a:lnTo>
                    <a:pt x="122" y="339"/>
                  </a:lnTo>
                  <a:lnTo>
                    <a:pt x="117" y="341"/>
                  </a:lnTo>
                  <a:lnTo>
                    <a:pt x="115" y="342"/>
                  </a:lnTo>
                  <a:lnTo>
                    <a:pt x="114" y="343"/>
                  </a:lnTo>
                  <a:lnTo>
                    <a:pt x="106" y="349"/>
                  </a:lnTo>
                  <a:lnTo>
                    <a:pt x="102" y="352"/>
                  </a:lnTo>
                  <a:lnTo>
                    <a:pt x="102" y="353"/>
                  </a:lnTo>
                  <a:lnTo>
                    <a:pt x="102" y="354"/>
                  </a:lnTo>
                  <a:lnTo>
                    <a:pt x="101" y="355"/>
                  </a:lnTo>
                  <a:lnTo>
                    <a:pt x="101" y="356"/>
                  </a:lnTo>
                  <a:lnTo>
                    <a:pt x="101" y="357"/>
                  </a:lnTo>
                  <a:lnTo>
                    <a:pt x="101" y="358"/>
                  </a:lnTo>
                  <a:lnTo>
                    <a:pt x="100" y="357"/>
                  </a:lnTo>
                  <a:lnTo>
                    <a:pt x="98" y="357"/>
                  </a:lnTo>
                  <a:lnTo>
                    <a:pt x="91" y="354"/>
                  </a:lnTo>
                  <a:lnTo>
                    <a:pt x="90" y="353"/>
                  </a:lnTo>
                  <a:lnTo>
                    <a:pt x="90" y="353"/>
                  </a:lnTo>
                  <a:lnTo>
                    <a:pt x="89" y="352"/>
                  </a:lnTo>
                  <a:lnTo>
                    <a:pt x="88" y="350"/>
                  </a:lnTo>
                  <a:lnTo>
                    <a:pt x="87" y="350"/>
                  </a:lnTo>
                  <a:lnTo>
                    <a:pt x="86" y="349"/>
                  </a:lnTo>
                  <a:lnTo>
                    <a:pt x="84" y="349"/>
                  </a:lnTo>
                  <a:lnTo>
                    <a:pt x="81" y="349"/>
                  </a:lnTo>
                  <a:lnTo>
                    <a:pt x="80" y="349"/>
                  </a:lnTo>
                  <a:lnTo>
                    <a:pt x="79" y="349"/>
                  </a:lnTo>
                  <a:lnTo>
                    <a:pt x="76" y="350"/>
                  </a:lnTo>
                  <a:lnTo>
                    <a:pt x="71" y="353"/>
                  </a:lnTo>
                  <a:lnTo>
                    <a:pt x="69" y="353"/>
                  </a:lnTo>
                  <a:lnTo>
                    <a:pt x="68" y="353"/>
                  </a:lnTo>
                  <a:lnTo>
                    <a:pt x="65" y="353"/>
                  </a:lnTo>
                  <a:lnTo>
                    <a:pt x="64" y="353"/>
                  </a:lnTo>
                  <a:lnTo>
                    <a:pt x="63" y="353"/>
                  </a:lnTo>
                  <a:lnTo>
                    <a:pt x="62" y="353"/>
                  </a:lnTo>
                  <a:lnTo>
                    <a:pt x="61" y="353"/>
                  </a:lnTo>
                  <a:lnTo>
                    <a:pt x="59" y="352"/>
                  </a:lnTo>
                  <a:lnTo>
                    <a:pt x="57" y="351"/>
                  </a:lnTo>
                  <a:lnTo>
                    <a:pt x="56" y="350"/>
                  </a:lnTo>
                  <a:lnTo>
                    <a:pt x="54" y="350"/>
                  </a:lnTo>
                  <a:lnTo>
                    <a:pt x="52" y="350"/>
                  </a:lnTo>
                  <a:lnTo>
                    <a:pt x="51" y="349"/>
                  </a:lnTo>
                  <a:lnTo>
                    <a:pt x="46" y="347"/>
                  </a:lnTo>
                  <a:lnTo>
                    <a:pt x="45" y="345"/>
                  </a:lnTo>
                  <a:lnTo>
                    <a:pt x="42" y="343"/>
                  </a:lnTo>
                  <a:lnTo>
                    <a:pt x="39" y="342"/>
                  </a:lnTo>
                  <a:lnTo>
                    <a:pt x="35" y="340"/>
                  </a:lnTo>
                  <a:lnTo>
                    <a:pt x="33" y="339"/>
                  </a:lnTo>
                  <a:lnTo>
                    <a:pt x="23" y="337"/>
                  </a:lnTo>
                  <a:lnTo>
                    <a:pt x="18" y="335"/>
                  </a:lnTo>
                  <a:lnTo>
                    <a:pt x="11" y="332"/>
                  </a:lnTo>
                  <a:lnTo>
                    <a:pt x="6" y="329"/>
                  </a:lnTo>
                  <a:lnTo>
                    <a:pt x="4" y="327"/>
                  </a:lnTo>
                  <a:lnTo>
                    <a:pt x="2" y="326"/>
                  </a:lnTo>
                  <a:lnTo>
                    <a:pt x="1" y="326"/>
                  </a:lnTo>
                  <a:lnTo>
                    <a:pt x="0" y="325"/>
                  </a:lnTo>
                  <a:lnTo>
                    <a:pt x="0" y="324"/>
                  </a:lnTo>
                  <a:lnTo>
                    <a:pt x="0" y="323"/>
                  </a:lnTo>
                  <a:lnTo>
                    <a:pt x="0" y="321"/>
                  </a:lnTo>
                  <a:lnTo>
                    <a:pt x="0" y="320"/>
                  </a:lnTo>
                  <a:lnTo>
                    <a:pt x="0" y="317"/>
                  </a:lnTo>
                  <a:lnTo>
                    <a:pt x="0" y="315"/>
                  </a:lnTo>
                  <a:lnTo>
                    <a:pt x="2" y="313"/>
                  </a:lnTo>
                  <a:lnTo>
                    <a:pt x="7" y="305"/>
                  </a:lnTo>
                  <a:lnTo>
                    <a:pt x="9" y="303"/>
                  </a:lnTo>
                  <a:lnTo>
                    <a:pt x="10" y="302"/>
                  </a:lnTo>
                  <a:lnTo>
                    <a:pt x="11" y="300"/>
                  </a:lnTo>
                  <a:lnTo>
                    <a:pt x="13" y="299"/>
                  </a:lnTo>
                  <a:lnTo>
                    <a:pt x="15" y="298"/>
                  </a:lnTo>
                  <a:lnTo>
                    <a:pt x="20" y="296"/>
                  </a:lnTo>
                  <a:lnTo>
                    <a:pt x="22" y="295"/>
                  </a:lnTo>
                  <a:lnTo>
                    <a:pt x="25" y="293"/>
                  </a:lnTo>
                  <a:lnTo>
                    <a:pt x="27" y="292"/>
                  </a:lnTo>
                  <a:lnTo>
                    <a:pt x="30" y="290"/>
                  </a:lnTo>
                  <a:lnTo>
                    <a:pt x="36" y="284"/>
                  </a:lnTo>
                  <a:lnTo>
                    <a:pt x="38" y="282"/>
                  </a:lnTo>
                  <a:lnTo>
                    <a:pt x="40" y="280"/>
                  </a:lnTo>
                  <a:lnTo>
                    <a:pt x="42" y="276"/>
                  </a:lnTo>
                  <a:lnTo>
                    <a:pt x="45" y="272"/>
                  </a:lnTo>
                  <a:lnTo>
                    <a:pt x="48" y="266"/>
                  </a:lnTo>
                  <a:lnTo>
                    <a:pt x="51" y="260"/>
                  </a:lnTo>
                  <a:lnTo>
                    <a:pt x="53" y="258"/>
                  </a:lnTo>
                  <a:lnTo>
                    <a:pt x="54" y="254"/>
                  </a:lnTo>
                  <a:lnTo>
                    <a:pt x="55" y="251"/>
                  </a:lnTo>
                  <a:lnTo>
                    <a:pt x="56" y="249"/>
                  </a:lnTo>
                  <a:lnTo>
                    <a:pt x="56" y="247"/>
                  </a:lnTo>
                  <a:lnTo>
                    <a:pt x="56" y="246"/>
                  </a:lnTo>
                  <a:lnTo>
                    <a:pt x="56" y="242"/>
                  </a:lnTo>
                  <a:lnTo>
                    <a:pt x="56" y="238"/>
                  </a:lnTo>
                  <a:lnTo>
                    <a:pt x="55" y="235"/>
                  </a:lnTo>
                  <a:lnTo>
                    <a:pt x="54" y="234"/>
                  </a:lnTo>
                  <a:lnTo>
                    <a:pt x="53" y="233"/>
                  </a:lnTo>
                  <a:lnTo>
                    <a:pt x="49" y="227"/>
                  </a:lnTo>
                  <a:lnTo>
                    <a:pt x="48" y="224"/>
                  </a:lnTo>
                  <a:lnTo>
                    <a:pt x="46" y="220"/>
                  </a:lnTo>
                  <a:lnTo>
                    <a:pt x="45" y="219"/>
                  </a:lnTo>
                  <a:lnTo>
                    <a:pt x="45" y="218"/>
                  </a:lnTo>
                  <a:lnTo>
                    <a:pt x="44" y="217"/>
                  </a:lnTo>
                  <a:lnTo>
                    <a:pt x="43" y="216"/>
                  </a:lnTo>
                  <a:lnTo>
                    <a:pt x="42" y="216"/>
                  </a:lnTo>
                  <a:lnTo>
                    <a:pt x="40" y="216"/>
                  </a:lnTo>
                  <a:lnTo>
                    <a:pt x="37" y="215"/>
                  </a:lnTo>
                  <a:lnTo>
                    <a:pt x="33" y="215"/>
                  </a:lnTo>
                  <a:lnTo>
                    <a:pt x="30" y="215"/>
                  </a:lnTo>
                  <a:lnTo>
                    <a:pt x="27" y="215"/>
                  </a:lnTo>
                  <a:lnTo>
                    <a:pt x="24" y="215"/>
                  </a:lnTo>
                  <a:lnTo>
                    <a:pt x="23" y="214"/>
                  </a:lnTo>
                  <a:lnTo>
                    <a:pt x="22" y="214"/>
                  </a:lnTo>
                  <a:lnTo>
                    <a:pt x="19" y="213"/>
                  </a:lnTo>
                  <a:lnTo>
                    <a:pt x="18" y="213"/>
                  </a:lnTo>
                  <a:lnTo>
                    <a:pt x="18" y="212"/>
                  </a:lnTo>
                  <a:lnTo>
                    <a:pt x="19" y="210"/>
                  </a:lnTo>
                  <a:lnTo>
                    <a:pt x="21" y="207"/>
                  </a:lnTo>
                  <a:lnTo>
                    <a:pt x="22" y="205"/>
                  </a:lnTo>
                  <a:lnTo>
                    <a:pt x="25" y="200"/>
                  </a:lnTo>
                  <a:lnTo>
                    <a:pt x="29" y="196"/>
                  </a:lnTo>
                  <a:lnTo>
                    <a:pt x="32" y="193"/>
                  </a:lnTo>
                  <a:lnTo>
                    <a:pt x="33" y="191"/>
                  </a:lnTo>
                  <a:lnTo>
                    <a:pt x="34" y="190"/>
                  </a:lnTo>
                  <a:lnTo>
                    <a:pt x="37" y="189"/>
                  </a:lnTo>
                  <a:lnTo>
                    <a:pt x="39" y="188"/>
                  </a:lnTo>
                  <a:lnTo>
                    <a:pt x="40" y="188"/>
                  </a:lnTo>
                  <a:lnTo>
                    <a:pt x="42" y="187"/>
                  </a:lnTo>
                  <a:lnTo>
                    <a:pt x="45" y="187"/>
                  </a:lnTo>
                  <a:lnTo>
                    <a:pt x="50" y="186"/>
                  </a:lnTo>
                  <a:lnTo>
                    <a:pt x="58" y="185"/>
                  </a:lnTo>
                  <a:lnTo>
                    <a:pt x="66" y="184"/>
                  </a:lnTo>
                  <a:lnTo>
                    <a:pt x="76" y="183"/>
                  </a:lnTo>
                  <a:lnTo>
                    <a:pt x="79" y="183"/>
                  </a:lnTo>
                  <a:lnTo>
                    <a:pt x="82" y="183"/>
                  </a:lnTo>
                  <a:lnTo>
                    <a:pt x="85" y="183"/>
                  </a:lnTo>
                  <a:lnTo>
                    <a:pt x="93" y="185"/>
                  </a:lnTo>
                  <a:lnTo>
                    <a:pt x="94" y="186"/>
                  </a:lnTo>
                  <a:lnTo>
                    <a:pt x="96" y="186"/>
                  </a:lnTo>
                  <a:lnTo>
                    <a:pt x="98" y="185"/>
                  </a:lnTo>
                  <a:lnTo>
                    <a:pt x="99" y="185"/>
                  </a:lnTo>
                  <a:lnTo>
                    <a:pt x="101" y="184"/>
                  </a:lnTo>
                  <a:lnTo>
                    <a:pt x="102" y="184"/>
                  </a:lnTo>
                  <a:lnTo>
                    <a:pt x="102" y="183"/>
                  </a:lnTo>
                  <a:lnTo>
                    <a:pt x="103" y="183"/>
                  </a:lnTo>
                  <a:lnTo>
                    <a:pt x="105" y="181"/>
                  </a:lnTo>
                  <a:lnTo>
                    <a:pt x="106" y="179"/>
                  </a:lnTo>
                  <a:lnTo>
                    <a:pt x="107" y="178"/>
                  </a:lnTo>
                  <a:lnTo>
                    <a:pt x="108" y="175"/>
                  </a:lnTo>
                  <a:lnTo>
                    <a:pt x="109" y="173"/>
                  </a:lnTo>
                  <a:lnTo>
                    <a:pt x="109" y="170"/>
                  </a:lnTo>
                  <a:lnTo>
                    <a:pt x="111" y="161"/>
                  </a:lnTo>
                  <a:lnTo>
                    <a:pt x="111" y="158"/>
                  </a:lnTo>
                  <a:lnTo>
                    <a:pt x="112" y="155"/>
                  </a:lnTo>
                  <a:lnTo>
                    <a:pt x="113" y="153"/>
                  </a:lnTo>
                  <a:lnTo>
                    <a:pt x="113" y="149"/>
                  </a:lnTo>
                  <a:lnTo>
                    <a:pt x="113" y="146"/>
                  </a:lnTo>
                  <a:lnTo>
                    <a:pt x="113" y="141"/>
                  </a:lnTo>
                  <a:lnTo>
                    <a:pt x="113" y="139"/>
                  </a:lnTo>
                  <a:lnTo>
                    <a:pt x="113" y="136"/>
                  </a:lnTo>
                  <a:lnTo>
                    <a:pt x="112" y="133"/>
                  </a:lnTo>
                  <a:lnTo>
                    <a:pt x="110" y="127"/>
                  </a:lnTo>
                  <a:lnTo>
                    <a:pt x="110" y="124"/>
                  </a:lnTo>
                  <a:lnTo>
                    <a:pt x="109" y="122"/>
                  </a:lnTo>
                  <a:lnTo>
                    <a:pt x="109" y="120"/>
                  </a:lnTo>
                  <a:lnTo>
                    <a:pt x="109" y="116"/>
                  </a:lnTo>
                  <a:lnTo>
                    <a:pt x="109" y="113"/>
                  </a:lnTo>
                  <a:lnTo>
                    <a:pt x="109" y="111"/>
                  </a:lnTo>
                  <a:lnTo>
                    <a:pt x="108" y="106"/>
                  </a:lnTo>
                  <a:lnTo>
                    <a:pt x="108" y="100"/>
                  </a:lnTo>
                  <a:lnTo>
                    <a:pt x="108" y="99"/>
                  </a:lnTo>
                  <a:lnTo>
                    <a:pt x="108" y="97"/>
                  </a:lnTo>
                  <a:lnTo>
                    <a:pt x="109" y="96"/>
                  </a:lnTo>
                  <a:lnTo>
                    <a:pt x="109" y="95"/>
                  </a:lnTo>
                  <a:lnTo>
                    <a:pt x="111" y="94"/>
                  </a:lnTo>
                  <a:lnTo>
                    <a:pt x="113" y="94"/>
                  </a:lnTo>
                  <a:lnTo>
                    <a:pt x="113" y="93"/>
                  </a:lnTo>
                  <a:lnTo>
                    <a:pt x="114" y="93"/>
                  </a:lnTo>
                  <a:lnTo>
                    <a:pt x="116" y="93"/>
                  </a:lnTo>
                  <a:lnTo>
                    <a:pt x="117" y="93"/>
                  </a:lnTo>
                  <a:lnTo>
                    <a:pt x="120" y="94"/>
                  </a:lnTo>
                  <a:lnTo>
                    <a:pt x="129" y="98"/>
                  </a:lnTo>
                  <a:lnTo>
                    <a:pt x="132" y="98"/>
                  </a:lnTo>
                  <a:lnTo>
                    <a:pt x="135" y="99"/>
                  </a:lnTo>
                  <a:lnTo>
                    <a:pt x="136" y="99"/>
                  </a:lnTo>
                  <a:lnTo>
                    <a:pt x="138" y="99"/>
                  </a:lnTo>
                  <a:lnTo>
                    <a:pt x="140" y="99"/>
                  </a:lnTo>
                  <a:lnTo>
                    <a:pt x="142" y="99"/>
                  </a:lnTo>
                  <a:lnTo>
                    <a:pt x="143" y="99"/>
                  </a:lnTo>
                  <a:lnTo>
                    <a:pt x="143" y="98"/>
                  </a:lnTo>
                  <a:lnTo>
                    <a:pt x="144" y="97"/>
                  </a:lnTo>
                  <a:lnTo>
                    <a:pt x="145" y="96"/>
                  </a:lnTo>
                  <a:lnTo>
                    <a:pt x="145" y="93"/>
                  </a:lnTo>
                  <a:lnTo>
                    <a:pt x="146" y="91"/>
                  </a:lnTo>
                  <a:lnTo>
                    <a:pt x="148" y="85"/>
                  </a:lnTo>
                  <a:lnTo>
                    <a:pt x="152" y="77"/>
                  </a:lnTo>
                  <a:lnTo>
                    <a:pt x="153" y="77"/>
                  </a:lnTo>
                  <a:lnTo>
                    <a:pt x="155" y="75"/>
                  </a:lnTo>
                  <a:lnTo>
                    <a:pt x="156" y="74"/>
                  </a:lnTo>
                  <a:lnTo>
                    <a:pt x="158" y="73"/>
                  </a:lnTo>
                  <a:lnTo>
                    <a:pt x="166" y="72"/>
                  </a:lnTo>
                  <a:lnTo>
                    <a:pt x="171" y="69"/>
                  </a:lnTo>
                  <a:lnTo>
                    <a:pt x="176" y="68"/>
                  </a:lnTo>
                  <a:lnTo>
                    <a:pt x="178" y="67"/>
                  </a:lnTo>
                  <a:lnTo>
                    <a:pt x="180" y="67"/>
                  </a:lnTo>
                  <a:lnTo>
                    <a:pt x="181" y="66"/>
                  </a:lnTo>
                  <a:lnTo>
                    <a:pt x="181" y="65"/>
                  </a:lnTo>
                  <a:lnTo>
                    <a:pt x="182" y="65"/>
                  </a:lnTo>
                  <a:lnTo>
                    <a:pt x="183" y="64"/>
                  </a:lnTo>
                  <a:lnTo>
                    <a:pt x="184" y="63"/>
                  </a:lnTo>
                  <a:lnTo>
                    <a:pt x="185" y="61"/>
                  </a:lnTo>
                  <a:lnTo>
                    <a:pt x="185" y="59"/>
                  </a:lnTo>
                  <a:lnTo>
                    <a:pt x="185" y="57"/>
                  </a:lnTo>
                  <a:lnTo>
                    <a:pt x="186" y="55"/>
                  </a:lnTo>
                  <a:lnTo>
                    <a:pt x="186" y="52"/>
                  </a:lnTo>
                  <a:lnTo>
                    <a:pt x="186" y="45"/>
                  </a:lnTo>
                  <a:lnTo>
                    <a:pt x="185" y="42"/>
                  </a:lnTo>
                  <a:lnTo>
                    <a:pt x="185" y="39"/>
                  </a:lnTo>
                  <a:lnTo>
                    <a:pt x="183" y="30"/>
                  </a:lnTo>
                  <a:lnTo>
                    <a:pt x="182" y="24"/>
                  </a:lnTo>
                  <a:lnTo>
                    <a:pt x="182" y="20"/>
                  </a:lnTo>
                  <a:lnTo>
                    <a:pt x="182" y="17"/>
                  </a:lnTo>
                  <a:lnTo>
                    <a:pt x="182" y="14"/>
                  </a:lnTo>
                  <a:lnTo>
                    <a:pt x="183" y="11"/>
                  </a:lnTo>
                  <a:lnTo>
                    <a:pt x="183" y="9"/>
                  </a:lnTo>
                  <a:lnTo>
                    <a:pt x="185" y="4"/>
                  </a:lnTo>
                  <a:lnTo>
                    <a:pt x="186" y="2"/>
                  </a:lnTo>
                  <a:lnTo>
                    <a:pt x="186" y="0"/>
                  </a:lnTo>
                  <a:lnTo>
                    <a:pt x="18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5" name="Freeform 12">
              <a:extLst>
                <a:ext uri="{FF2B5EF4-FFF2-40B4-BE49-F238E27FC236}">
                  <a16:creationId xmlns:a16="http://schemas.microsoft.com/office/drawing/2014/main" id="{59B72738-82BC-4E95-988E-E300EBD4F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0" y="1496"/>
              <a:ext cx="388" cy="509"/>
            </a:xfrm>
            <a:custGeom>
              <a:avLst/>
              <a:gdLst>
                <a:gd name="T0" fmla="*/ 219 w 388"/>
                <a:gd name="T1" fmla="*/ 10 h 509"/>
                <a:gd name="T2" fmla="*/ 239 w 388"/>
                <a:gd name="T3" fmla="*/ 25 h 509"/>
                <a:gd name="T4" fmla="*/ 252 w 388"/>
                <a:gd name="T5" fmla="*/ 19 h 509"/>
                <a:gd name="T6" fmla="*/ 274 w 388"/>
                <a:gd name="T7" fmla="*/ 23 h 509"/>
                <a:gd name="T8" fmla="*/ 308 w 388"/>
                <a:gd name="T9" fmla="*/ 58 h 509"/>
                <a:gd name="T10" fmla="*/ 336 w 388"/>
                <a:gd name="T11" fmla="*/ 72 h 509"/>
                <a:gd name="T12" fmla="*/ 343 w 388"/>
                <a:gd name="T13" fmla="*/ 95 h 509"/>
                <a:gd name="T14" fmla="*/ 360 w 388"/>
                <a:gd name="T15" fmla="*/ 103 h 509"/>
                <a:gd name="T16" fmla="*/ 379 w 388"/>
                <a:gd name="T17" fmla="*/ 113 h 509"/>
                <a:gd name="T18" fmla="*/ 362 w 388"/>
                <a:gd name="T19" fmla="*/ 135 h 509"/>
                <a:gd name="T20" fmla="*/ 370 w 388"/>
                <a:gd name="T21" fmla="*/ 161 h 509"/>
                <a:gd name="T22" fmla="*/ 374 w 388"/>
                <a:gd name="T23" fmla="*/ 195 h 509"/>
                <a:gd name="T24" fmla="*/ 387 w 388"/>
                <a:gd name="T25" fmla="*/ 224 h 509"/>
                <a:gd name="T26" fmla="*/ 379 w 388"/>
                <a:gd name="T27" fmla="*/ 254 h 509"/>
                <a:gd name="T28" fmla="*/ 363 w 388"/>
                <a:gd name="T29" fmla="*/ 275 h 509"/>
                <a:gd name="T30" fmla="*/ 355 w 388"/>
                <a:gd name="T31" fmla="*/ 288 h 509"/>
                <a:gd name="T32" fmla="*/ 366 w 388"/>
                <a:gd name="T33" fmla="*/ 318 h 509"/>
                <a:gd name="T34" fmla="*/ 332 w 388"/>
                <a:gd name="T35" fmla="*/ 328 h 509"/>
                <a:gd name="T36" fmla="*/ 319 w 388"/>
                <a:gd name="T37" fmla="*/ 339 h 509"/>
                <a:gd name="T38" fmla="*/ 303 w 388"/>
                <a:gd name="T39" fmla="*/ 359 h 509"/>
                <a:gd name="T40" fmla="*/ 279 w 388"/>
                <a:gd name="T41" fmla="*/ 374 h 509"/>
                <a:gd name="T42" fmla="*/ 260 w 388"/>
                <a:gd name="T43" fmla="*/ 411 h 509"/>
                <a:gd name="T44" fmla="*/ 247 w 388"/>
                <a:gd name="T45" fmla="*/ 438 h 509"/>
                <a:gd name="T46" fmla="*/ 209 w 388"/>
                <a:gd name="T47" fmla="*/ 435 h 509"/>
                <a:gd name="T48" fmla="*/ 160 w 388"/>
                <a:gd name="T49" fmla="*/ 419 h 509"/>
                <a:gd name="T50" fmla="*/ 139 w 388"/>
                <a:gd name="T51" fmla="*/ 419 h 509"/>
                <a:gd name="T52" fmla="*/ 126 w 388"/>
                <a:gd name="T53" fmla="*/ 436 h 509"/>
                <a:gd name="T54" fmla="*/ 104 w 388"/>
                <a:gd name="T55" fmla="*/ 453 h 509"/>
                <a:gd name="T56" fmla="*/ 93 w 388"/>
                <a:gd name="T57" fmla="*/ 489 h 509"/>
                <a:gd name="T58" fmla="*/ 67 w 388"/>
                <a:gd name="T59" fmla="*/ 508 h 509"/>
                <a:gd name="T60" fmla="*/ 49 w 388"/>
                <a:gd name="T61" fmla="*/ 502 h 509"/>
                <a:gd name="T62" fmla="*/ 47 w 388"/>
                <a:gd name="T63" fmla="*/ 480 h 509"/>
                <a:gd name="T64" fmla="*/ 70 w 388"/>
                <a:gd name="T65" fmla="*/ 443 h 509"/>
                <a:gd name="T66" fmla="*/ 71 w 388"/>
                <a:gd name="T67" fmla="*/ 419 h 509"/>
                <a:gd name="T68" fmla="*/ 41 w 388"/>
                <a:gd name="T69" fmla="*/ 393 h 509"/>
                <a:gd name="T70" fmla="*/ 14 w 388"/>
                <a:gd name="T71" fmla="*/ 385 h 509"/>
                <a:gd name="T72" fmla="*/ 3 w 388"/>
                <a:gd name="T73" fmla="*/ 374 h 509"/>
                <a:gd name="T74" fmla="*/ 0 w 388"/>
                <a:gd name="T75" fmla="*/ 354 h 509"/>
                <a:gd name="T76" fmla="*/ 8 w 388"/>
                <a:gd name="T77" fmla="*/ 334 h 509"/>
                <a:gd name="T78" fmla="*/ 39 w 388"/>
                <a:gd name="T79" fmla="*/ 327 h 509"/>
                <a:gd name="T80" fmla="*/ 65 w 388"/>
                <a:gd name="T81" fmla="*/ 317 h 509"/>
                <a:gd name="T82" fmla="*/ 62 w 388"/>
                <a:gd name="T83" fmla="*/ 296 h 509"/>
                <a:gd name="T84" fmla="*/ 46 w 388"/>
                <a:gd name="T85" fmla="*/ 275 h 509"/>
                <a:gd name="T86" fmla="*/ 53 w 388"/>
                <a:gd name="T87" fmla="*/ 257 h 509"/>
                <a:gd name="T88" fmla="*/ 38 w 388"/>
                <a:gd name="T89" fmla="*/ 230 h 509"/>
                <a:gd name="T90" fmla="*/ 25 w 388"/>
                <a:gd name="T91" fmla="*/ 211 h 509"/>
                <a:gd name="T92" fmla="*/ 37 w 388"/>
                <a:gd name="T93" fmla="*/ 182 h 509"/>
                <a:gd name="T94" fmla="*/ 46 w 388"/>
                <a:gd name="T95" fmla="*/ 172 h 509"/>
                <a:gd name="T96" fmla="*/ 37 w 388"/>
                <a:gd name="T97" fmla="*/ 158 h 509"/>
                <a:gd name="T98" fmla="*/ 62 w 388"/>
                <a:gd name="T99" fmla="*/ 126 h 509"/>
                <a:gd name="T100" fmla="*/ 81 w 388"/>
                <a:gd name="T101" fmla="*/ 109 h 509"/>
                <a:gd name="T102" fmla="*/ 88 w 388"/>
                <a:gd name="T103" fmla="*/ 80 h 509"/>
                <a:gd name="T104" fmla="*/ 112 w 388"/>
                <a:gd name="T105" fmla="*/ 79 h 509"/>
                <a:gd name="T106" fmla="*/ 142 w 388"/>
                <a:gd name="T107" fmla="*/ 85 h 509"/>
                <a:gd name="T108" fmla="*/ 158 w 388"/>
                <a:gd name="T109" fmla="*/ 71 h 509"/>
                <a:gd name="T110" fmla="*/ 164 w 388"/>
                <a:gd name="T111" fmla="*/ 55 h 509"/>
                <a:gd name="T112" fmla="*/ 193 w 388"/>
                <a:gd name="T113" fmla="*/ 37 h 509"/>
                <a:gd name="T114" fmla="*/ 202 w 388"/>
                <a:gd name="T115" fmla="*/ 10 h 509"/>
                <a:gd name="T116" fmla="*/ 202 w 388"/>
                <a:gd name="T117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8" h="509">
                  <a:moveTo>
                    <a:pt x="204" y="0"/>
                  </a:moveTo>
                  <a:lnTo>
                    <a:pt x="206" y="0"/>
                  </a:lnTo>
                  <a:lnTo>
                    <a:pt x="207" y="0"/>
                  </a:lnTo>
                  <a:lnTo>
                    <a:pt x="207" y="0"/>
                  </a:lnTo>
                  <a:lnTo>
                    <a:pt x="209" y="0"/>
                  </a:lnTo>
                  <a:lnTo>
                    <a:pt x="211" y="2"/>
                  </a:lnTo>
                  <a:lnTo>
                    <a:pt x="213" y="3"/>
                  </a:lnTo>
                  <a:lnTo>
                    <a:pt x="218" y="8"/>
                  </a:lnTo>
                  <a:lnTo>
                    <a:pt x="219" y="10"/>
                  </a:lnTo>
                  <a:lnTo>
                    <a:pt x="222" y="12"/>
                  </a:lnTo>
                  <a:lnTo>
                    <a:pt x="228" y="16"/>
                  </a:lnTo>
                  <a:lnTo>
                    <a:pt x="229" y="18"/>
                  </a:lnTo>
                  <a:lnTo>
                    <a:pt x="231" y="20"/>
                  </a:lnTo>
                  <a:lnTo>
                    <a:pt x="233" y="22"/>
                  </a:lnTo>
                  <a:lnTo>
                    <a:pt x="234" y="23"/>
                  </a:lnTo>
                  <a:lnTo>
                    <a:pt x="235" y="24"/>
                  </a:lnTo>
                  <a:lnTo>
                    <a:pt x="237" y="25"/>
                  </a:lnTo>
                  <a:lnTo>
                    <a:pt x="239" y="25"/>
                  </a:lnTo>
                  <a:lnTo>
                    <a:pt x="240" y="25"/>
                  </a:lnTo>
                  <a:lnTo>
                    <a:pt x="241" y="25"/>
                  </a:lnTo>
                  <a:lnTo>
                    <a:pt x="242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7" y="22"/>
                  </a:lnTo>
                  <a:lnTo>
                    <a:pt x="251" y="20"/>
                  </a:lnTo>
                  <a:lnTo>
                    <a:pt x="252" y="20"/>
                  </a:lnTo>
                  <a:lnTo>
                    <a:pt x="252" y="19"/>
                  </a:lnTo>
                  <a:lnTo>
                    <a:pt x="254" y="19"/>
                  </a:lnTo>
                  <a:lnTo>
                    <a:pt x="256" y="19"/>
                  </a:lnTo>
                  <a:lnTo>
                    <a:pt x="258" y="19"/>
                  </a:lnTo>
                  <a:lnTo>
                    <a:pt x="265" y="20"/>
                  </a:lnTo>
                  <a:lnTo>
                    <a:pt x="269" y="21"/>
                  </a:lnTo>
                  <a:lnTo>
                    <a:pt x="271" y="22"/>
                  </a:lnTo>
                  <a:lnTo>
                    <a:pt x="272" y="22"/>
                  </a:lnTo>
                  <a:lnTo>
                    <a:pt x="273" y="22"/>
                  </a:lnTo>
                  <a:lnTo>
                    <a:pt x="274" y="23"/>
                  </a:lnTo>
                  <a:lnTo>
                    <a:pt x="277" y="27"/>
                  </a:lnTo>
                  <a:lnTo>
                    <a:pt x="279" y="29"/>
                  </a:lnTo>
                  <a:lnTo>
                    <a:pt x="285" y="35"/>
                  </a:lnTo>
                  <a:lnTo>
                    <a:pt x="295" y="46"/>
                  </a:lnTo>
                  <a:lnTo>
                    <a:pt x="298" y="51"/>
                  </a:lnTo>
                  <a:lnTo>
                    <a:pt x="300" y="54"/>
                  </a:lnTo>
                  <a:lnTo>
                    <a:pt x="303" y="56"/>
                  </a:lnTo>
                  <a:lnTo>
                    <a:pt x="306" y="57"/>
                  </a:lnTo>
                  <a:lnTo>
                    <a:pt x="308" y="58"/>
                  </a:lnTo>
                  <a:lnTo>
                    <a:pt x="311" y="60"/>
                  </a:lnTo>
                  <a:lnTo>
                    <a:pt x="319" y="62"/>
                  </a:lnTo>
                  <a:lnTo>
                    <a:pt x="321" y="63"/>
                  </a:lnTo>
                  <a:lnTo>
                    <a:pt x="324" y="64"/>
                  </a:lnTo>
                  <a:lnTo>
                    <a:pt x="326" y="65"/>
                  </a:lnTo>
                  <a:lnTo>
                    <a:pt x="327" y="66"/>
                  </a:lnTo>
                  <a:lnTo>
                    <a:pt x="328" y="67"/>
                  </a:lnTo>
                  <a:lnTo>
                    <a:pt x="333" y="70"/>
                  </a:lnTo>
                  <a:lnTo>
                    <a:pt x="336" y="72"/>
                  </a:lnTo>
                  <a:lnTo>
                    <a:pt x="337" y="74"/>
                  </a:lnTo>
                  <a:lnTo>
                    <a:pt x="338" y="75"/>
                  </a:lnTo>
                  <a:lnTo>
                    <a:pt x="339" y="76"/>
                  </a:lnTo>
                  <a:lnTo>
                    <a:pt x="339" y="78"/>
                  </a:lnTo>
                  <a:lnTo>
                    <a:pt x="340" y="80"/>
                  </a:lnTo>
                  <a:lnTo>
                    <a:pt x="342" y="88"/>
                  </a:lnTo>
                  <a:lnTo>
                    <a:pt x="342" y="90"/>
                  </a:lnTo>
                  <a:lnTo>
                    <a:pt x="343" y="93"/>
                  </a:lnTo>
                  <a:lnTo>
                    <a:pt x="343" y="95"/>
                  </a:lnTo>
                  <a:lnTo>
                    <a:pt x="344" y="97"/>
                  </a:lnTo>
                  <a:lnTo>
                    <a:pt x="345" y="98"/>
                  </a:lnTo>
                  <a:lnTo>
                    <a:pt x="346" y="99"/>
                  </a:lnTo>
                  <a:lnTo>
                    <a:pt x="348" y="100"/>
                  </a:lnTo>
                  <a:lnTo>
                    <a:pt x="349" y="101"/>
                  </a:lnTo>
                  <a:lnTo>
                    <a:pt x="351" y="101"/>
                  </a:lnTo>
                  <a:lnTo>
                    <a:pt x="354" y="102"/>
                  </a:lnTo>
                  <a:lnTo>
                    <a:pt x="358" y="103"/>
                  </a:lnTo>
                  <a:lnTo>
                    <a:pt x="360" y="103"/>
                  </a:lnTo>
                  <a:lnTo>
                    <a:pt x="363" y="103"/>
                  </a:lnTo>
                  <a:lnTo>
                    <a:pt x="365" y="104"/>
                  </a:lnTo>
                  <a:lnTo>
                    <a:pt x="366" y="104"/>
                  </a:lnTo>
                  <a:lnTo>
                    <a:pt x="368" y="105"/>
                  </a:lnTo>
                  <a:lnTo>
                    <a:pt x="370" y="106"/>
                  </a:lnTo>
                  <a:lnTo>
                    <a:pt x="372" y="107"/>
                  </a:lnTo>
                  <a:lnTo>
                    <a:pt x="375" y="109"/>
                  </a:lnTo>
                  <a:lnTo>
                    <a:pt x="378" y="112"/>
                  </a:lnTo>
                  <a:lnTo>
                    <a:pt x="379" y="113"/>
                  </a:lnTo>
                  <a:lnTo>
                    <a:pt x="380" y="113"/>
                  </a:lnTo>
                  <a:lnTo>
                    <a:pt x="378" y="114"/>
                  </a:lnTo>
                  <a:lnTo>
                    <a:pt x="375" y="118"/>
                  </a:lnTo>
                  <a:lnTo>
                    <a:pt x="369" y="124"/>
                  </a:lnTo>
                  <a:lnTo>
                    <a:pt x="367" y="126"/>
                  </a:lnTo>
                  <a:lnTo>
                    <a:pt x="366" y="128"/>
                  </a:lnTo>
                  <a:lnTo>
                    <a:pt x="364" y="131"/>
                  </a:lnTo>
                  <a:lnTo>
                    <a:pt x="363" y="133"/>
                  </a:lnTo>
                  <a:lnTo>
                    <a:pt x="362" y="135"/>
                  </a:lnTo>
                  <a:lnTo>
                    <a:pt x="362" y="136"/>
                  </a:lnTo>
                  <a:lnTo>
                    <a:pt x="362" y="137"/>
                  </a:lnTo>
                  <a:lnTo>
                    <a:pt x="362" y="139"/>
                  </a:lnTo>
                  <a:lnTo>
                    <a:pt x="363" y="141"/>
                  </a:lnTo>
                  <a:lnTo>
                    <a:pt x="364" y="144"/>
                  </a:lnTo>
                  <a:lnTo>
                    <a:pt x="366" y="149"/>
                  </a:lnTo>
                  <a:lnTo>
                    <a:pt x="367" y="153"/>
                  </a:lnTo>
                  <a:lnTo>
                    <a:pt x="368" y="156"/>
                  </a:lnTo>
                  <a:lnTo>
                    <a:pt x="370" y="161"/>
                  </a:lnTo>
                  <a:lnTo>
                    <a:pt x="373" y="167"/>
                  </a:lnTo>
                  <a:lnTo>
                    <a:pt x="373" y="170"/>
                  </a:lnTo>
                  <a:lnTo>
                    <a:pt x="373" y="170"/>
                  </a:lnTo>
                  <a:lnTo>
                    <a:pt x="373" y="171"/>
                  </a:lnTo>
                  <a:lnTo>
                    <a:pt x="373" y="178"/>
                  </a:lnTo>
                  <a:lnTo>
                    <a:pt x="373" y="189"/>
                  </a:lnTo>
                  <a:lnTo>
                    <a:pt x="373" y="192"/>
                  </a:lnTo>
                  <a:lnTo>
                    <a:pt x="374" y="194"/>
                  </a:lnTo>
                  <a:lnTo>
                    <a:pt x="374" y="195"/>
                  </a:lnTo>
                  <a:lnTo>
                    <a:pt x="374" y="197"/>
                  </a:lnTo>
                  <a:lnTo>
                    <a:pt x="375" y="199"/>
                  </a:lnTo>
                  <a:lnTo>
                    <a:pt x="377" y="201"/>
                  </a:lnTo>
                  <a:lnTo>
                    <a:pt x="378" y="204"/>
                  </a:lnTo>
                  <a:lnTo>
                    <a:pt x="380" y="206"/>
                  </a:lnTo>
                  <a:lnTo>
                    <a:pt x="381" y="208"/>
                  </a:lnTo>
                  <a:lnTo>
                    <a:pt x="383" y="212"/>
                  </a:lnTo>
                  <a:lnTo>
                    <a:pt x="384" y="215"/>
                  </a:lnTo>
                  <a:lnTo>
                    <a:pt x="387" y="224"/>
                  </a:lnTo>
                  <a:lnTo>
                    <a:pt x="388" y="228"/>
                  </a:lnTo>
                  <a:lnTo>
                    <a:pt x="388" y="230"/>
                  </a:lnTo>
                  <a:lnTo>
                    <a:pt x="388" y="234"/>
                  </a:lnTo>
                  <a:lnTo>
                    <a:pt x="388" y="237"/>
                  </a:lnTo>
                  <a:lnTo>
                    <a:pt x="387" y="240"/>
                  </a:lnTo>
                  <a:lnTo>
                    <a:pt x="386" y="244"/>
                  </a:lnTo>
                  <a:lnTo>
                    <a:pt x="385" y="246"/>
                  </a:lnTo>
                  <a:lnTo>
                    <a:pt x="383" y="248"/>
                  </a:lnTo>
                  <a:lnTo>
                    <a:pt x="379" y="254"/>
                  </a:lnTo>
                  <a:lnTo>
                    <a:pt x="378" y="257"/>
                  </a:lnTo>
                  <a:lnTo>
                    <a:pt x="377" y="259"/>
                  </a:lnTo>
                  <a:lnTo>
                    <a:pt x="374" y="266"/>
                  </a:lnTo>
                  <a:lnTo>
                    <a:pt x="373" y="268"/>
                  </a:lnTo>
                  <a:lnTo>
                    <a:pt x="373" y="269"/>
                  </a:lnTo>
                  <a:lnTo>
                    <a:pt x="372" y="270"/>
                  </a:lnTo>
                  <a:lnTo>
                    <a:pt x="370" y="272"/>
                  </a:lnTo>
                  <a:lnTo>
                    <a:pt x="368" y="272"/>
                  </a:lnTo>
                  <a:lnTo>
                    <a:pt x="363" y="275"/>
                  </a:lnTo>
                  <a:lnTo>
                    <a:pt x="361" y="276"/>
                  </a:lnTo>
                  <a:lnTo>
                    <a:pt x="360" y="277"/>
                  </a:lnTo>
                  <a:lnTo>
                    <a:pt x="358" y="279"/>
                  </a:lnTo>
                  <a:lnTo>
                    <a:pt x="357" y="281"/>
                  </a:lnTo>
                  <a:lnTo>
                    <a:pt x="356" y="283"/>
                  </a:lnTo>
                  <a:lnTo>
                    <a:pt x="355" y="284"/>
                  </a:lnTo>
                  <a:lnTo>
                    <a:pt x="355" y="285"/>
                  </a:lnTo>
                  <a:lnTo>
                    <a:pt x="355" y="287"/>
                  </a:lnTo>
                  <a:lnTo>
                    <a:pt x="355" y="288"/>
                  </a:lnTo>
                  <a:lnTo>
                    <a:pt x="356" y="290"/>
                  </a:lnTo>
                  <a:lnTo>
                    <a:pt x="356" y="292"/>
                  </a:lnTo>
                  <a:lnTo>
                    <a:pt x="357" y="294"/>
                  </a:lnTo>
                  <a:lnTo>
                    <a:pt x="362" y="303"/>
                  </a:lnTo>
                  <a:lnTo>
                    <a:pt x="363" y="306"/>
                  </a:lnTo>
                  <a:lnTo>
                    <a:pt x="364" y="309"/>
                  </a:lnTo>
                  <a:lnTo>
                    <a:pt x="365" y="315"/>
                  </a:lnTo>
                  <a:lnTo>
                    <a:pt x="366" y="317"/>
                  </a:lnTo>
                  <a:lnTo>
                    <a:pt x="366" y="318"/>
                  </a:lnTo>
                  <a:lnTo>
                    <a:pt x="365" y="318"/>
                  </a:lnTo>
                  <a:lnTo>
                    <a:pt x="364" y="319"/>
                  </a:lnTo>
                  <a:lnTo>
                    <a:pt x="363" y="320"/>
                  </a:lnTo>
                  <a:lnTo>
                    <a:pt x="356" y="322"/>
                  </a:lnTo>
                  <a:lnTo>
                    <a:pt x="350" y="325"/>
                  </a:lnTo>
                  <a:lnTo>
                    <a:pt x="347" y="326"/>
                  </a:lnTo>
                  <a:lnTo>
                    <a:pt x="345" y="326"/>
                  </a:lnTo>
                  <a:lnTo>
                    <a:pt x="336" y="328"/>
                  </a:lnTo>
                  <a:lnTo>
                    <a:pt x="332" y="328"/>
                  </a:lnTo>
                  <a:lnTo>
                    <a:pt x="327" y="329"/>
                  </a:lnTo>
                  <a:lnTo>
                    <a:pt x="325" y="330"/>
                  </a:lnTo>
                  <a:lnTo>
                    <a:pt x="323" y="331"/>
                  </a:lnTo>
                  <a:lnTo>
                    <a:pt x="322" y="332"/>
                  </a:lnTo>
                  <a:lnTo>
                    <a:pt x="321" y="333"/>
                  </a:lnTo>
                  <a:lnTo>
                    <a:pt x="320" y="334"/>
                  </a:lnTo>
                  <a:lnTo>
                    <a:pt x="320" y="336"/>
                  </a:lnTo>
                  <a:lnTo>
                    <a:pt x="319" y="337"/>
                  </a:lnTo>
                  <a:lnTo>
                    <a:pt x="319" y="339"/>
                  </a:lnTo>
                  <a:lnTo>
                    <a:pt x="318" y="343"/>
                  </a:lnTo>
                  <a:lnTo>
                    <a:pt x="317" y="344"/>
                  </a:lnTo>
                  <a:lnTo>
                    <a:pt x="317" y="345"/>
                  </a:lnTo>
                  <a:lnTo>
                    <a:pt x="315" y="346"/>
                  </a:lnTo>
                  <a:lnTo>
                    <a:pt x="312" y="350"/>
                  </a:lnTo>
                  <a:lnTo>
                    <a:pt x="309" y="353"/>
                  </a:lnTo>
                  <a:lnTo>
                    <a:pt x="307" y="355"/>
                  </a:lnTo>
                  <a:lnTo>
                    <a:pt x="304" y="358"/>
                  </a:lnTo>
                  <a:lnTo>
                    <a:pt x="303" y="359"/>
                  </a:lnTo>
                  <a:lnTo>
                    <a:pt x="302" y="360"/>
                  </a:lnTo>
                  <a:lnTo>
                    <a:pt x="300" y="362"/>
                  </a:lnTo>
                  <a:lnTo>
                    <a:pt x="298" y="364"/>
                  </a:lnTo>
                  <a:lnTo>
                    <a:pt x="297" y="365"/>
                  </a:lnTo>
                  <a:lnTo>
                    <a:pt x="296" y="366"/>
                  </a:lnTo>
                  <a:lnTo>
                    <a:pt x="292" y="368"/>
                  </a:lnTo>
                  <a:lnTo>
                    <a:pt x="288" y="370"/>
                  </a:lnTo>
                  <a:lnTo>
                    <a:pt x="283" y="373"/>
                  </a:lnTo>
                  <a:lnTo>
                    <a:pt x="279" y="374"/>
                  </a:lnTo>
                  <a:lnTo>
                    <a:pt x="275" y="376"/>
                  </a:lnTo>
                  <a:lnTo>
                    <a:pt x="274" y="377"/>
                  </a:lnTo>
                  <a:lnTo>
                    <a:pt x="273" y="378"/>
                  </a:lnTo>
                  <a:lnTo>
                    <a:pt x="272" y="380"/>
                  </a:lnTo>
                  <a:lnTo>
                    <a:pt x="271" y="382"/>
                  </a:lnTo>
                  <a:lnTo>
                    <a:pt x="267" y="391"/>
                  </a:lnTo>
                  <a:lnTo>
                    <a:pt x="264" y="399"/>
                  </a:lnTo>
                  <a:lnTo>
                    <a:pt x="263" y="403"/>
                  </a:lnTo>
                  <a:lnTo>
                    <a:pt x="260" y="411"/>
                  </a:lnTo>
                  <a:lnTo>
                    <a:pt x="258" y="414"/>
                  </a:lnTo>
                  <a:lnTo>
                    <a:pt x="257" y="418"/>
                  </a:lnTo>
                  <a:lnTo>
                    <a:pt x="254" y="428"/>
                  </a:lnTo>
                  <a:lnTo>
                    <a:pt x="252" y="432"/>
                  </a:lnTo>
                  <a:lnTo>
                    <a:pt x="252" y="433"/>
                  </a:lnTo>
                  <a:lnTo>
                    <a:pt x="251" y="435"/>
                  </a:lnTo>
                  <a:lnTo>
                    <a:pt x="250" y="436"/>
                  </a:lnTo>
                  <a:lnTo>
                    <a:pt x="249" y="437"/>
                  </a:lnTo>
                  <a:lnTo>
                    <a:pt x="247" y="438"/>
                  </a:lnTo>
                  <a:lnTo>
                    <a:pt x="245" y="439"/>
                  </a:lnTo>
                  <a:lnTo>
                    <a:pt x="242" y="439"/>
                  </a:lnTo>
                  <a:lnTo>
                    <a:pt x="239" y="439"/>
                  </a:lnTo>
                  <a:lnTo>
                    <a:pt x="233" y="439"/>
                  </a:lnTo>
                  <a:lnTo>
                    <a:pt x="229" y="439"/>
                  </a:lnTo>
                  <a:lnTo>
                    <a:pt x="225" y="439"/>
                  </a:lnTo>
                  <a:lnTo>
                    <a:pt x="219" y="438"/>
                  </a:lnTo>
                  <a:lnTo>
                    <a:pt x="214" y="437"/>
                  </a:lnTo>
                  <a:lnTo>
                    <a:pt x="209" y="435"/>
                  </a:lnTo>
                  <a:lnTo>
                    <a:pt x="205" y="434"/>
                  </a:lnTo>
                  <a:lnTo>
                    <a:pt x="193" y="430"/>
                  </a:lnTo>
                  <a:lnTo>
                    <a:pt x="189" y="428"/>
                  </a:lnTo>
                  <a:lnTo>
                    <a:pt x="185" y="427"/>
                  </a:lnTo>
                  <a:lnTo>
                    <a:pt x="177" y="425"/>
                  </a:lnTo>
                  <a:lnTo>
                    <a:pt x="173" y="424"/>
                  </a:lnTo>
                  <a:lnTo>
                    <a:pt x="171" y="423"/>
                  </a:lnTo>
                  <a:lnTo>
                    <a:pt x="163" y="420"/>
                  </a:lnTo>
                  <a:lnTo>
                    <a:pt x="160" y="419"/>
                  </a:lnTo>
                  <a:lnTo>
                    <a:pt x="157" y="419"/>
                  </a:lnTo>
                  <a:lnTo>
                    <a:pt x="155" y="418"/>
                  </a:lnTo>
                  <a:lnTo>
                    <a:pt x="153" y="418"/>
                  </a:lnTo>
                  <a:lnTo>
                    <a:pt x="150" y="418"/>
                  </a:lnTo>
                  <a:lnTo>
                    <a:pt x="148" y="418"/>
                  </a:lnTo>
                  <a:lnTo>
                    <a:pt x="145" y="419"/>
                  </a:lnTo>
                  <a:lnTo>
                    <a:pt x="143" y="419"/>
                  </a:lnTo>
                  <a:lnTo>
                    <a:pt x="141" y="419"/>
                  </a:lnTo>
                  <a:lnTo>
                    <a:pt x="139" y="419"/>
                  </a:lnTo>
                  <a:lnTo>
                    <a:pt x="135" y="422"/>
                  </a:lnTo>
                  <a:lnTo>
                    <a:pt x="134" y="422"/>
                  </a:lnTo>
                  <a:lnTo>
                    <a:pt x="133" y="423"/>
                  </a:lnTo>
                  <a:lnTo>
                    <a:pt x="132" y="424"/>
                  </a:lnTo>
                  <a:lnTo>
                    <a:pt x="132" y="425"/>
                  </a:lnTo>
                  <a:lnTo>
                    <a:pt x="130" y="429"/>
                  </a:lnTo>
                  <a:lnTo>
                    <a:pt x="130" y="430"/>
                  </a:lnTo>
                  <a:lnTo>
                    <a:pt x="127" y="434"/>
                  </a:lnTo>
                  <a:lnTo>
                    <a:pt x="126" y="436"/>
                  </a:lnTo>
                  <a:lnTo>
                    <a:pt x="124" y="437"/>
                  </a:lnTo>
                  <a:lnTo>
                    <a:pt x="122" y="439"/>
                  </a:lnTo>
                  <a:lnTo>
                    <a:pt x="115" y="443"/>
                  </a:lnTo>
                  <a:lnTo>
                    <a:pt x="111" y="445"/>
                  </a:lnTo>
                  <a:lnTo>
                    <a:pt x="109" y="447"/>
                  </a:lnTo>
                  <a:lnTo>
                    <a:pt x="108" y="448"/>
                  </a:lnTo>
                  <a:lnTo>
                    <a:pt x="107" y="450"/>
                  </a:lnTo>
                  <a:lnTo>
                    <a:pt x="106" y="451"/>
                  </a:lnTo>
                  <a:lnTo>
                    <a:pt x="104" y="453"/>
                  </a:lnTo>
                  <a:lnTo>
                    <a:pt x="104" y="456"/>
                  </a:lnTo>
                  <a:lnTo>
                    <a:pt x="102" y="459"/>
                  </a:lnTo>
                  <a:lnTo>
                    <a:pt x="101" y="462"/>
                  </a:lnTo>
                  <a:lnTo>
                    <a:pt x="100" y="465"/>
                  </a:lnTo>
                  <a:lnTo>
                    <a:pt x="99" y="469"/>
                  </a:lnTo>
                  <a:lnTo>
                    <a:pt x="97" y="479"/>
                  </a:lnTo>
                  <a:lnTo>
                    <a:pt x="96" y="482"/>
                  </a:lnTo>
                  <a:lnTo>
                    <a:pt x="95" y="486"/>
                  </a:lnTo>
                  <a:lnTo>
                    <a:pt x="93" y="489"/>
                  </a:lnTo>
                  <a:lnTo>
                    <a:pt x="93" y="490"/>
                  </a:lnTo>
                  <a:lnTo>
                    <a:pt x="89" y="494"/>
                  </a:lnTo>
                  <a:lnTo>
                    <a:pt x="86" y="497"/>
                  </a:lnTo>
                  <a:lnTo>
                    <a:pt x="83" y="498"/>
                  </a:lnTo>
                  <a:lnTo>
                    <a:pt x="81" y="501"/>
                  </a:lnTo>
                  <a:lnTo>
                    <a:pt x="77" y="503"/>
                  </a:lnTo>
                  <a:lnTo>
                    <a:pt x="73" y="505"/>
                  </a:lnTo>
                  <a:lnTo>
                    <a:pt x="70" y="507"/>
                  </a:lnTo>
                  <a:lnTo>
                    <a:pt x="67" y="508"/>
                  </a:lnTo>
                  <a:lnTo>
                    <a:pt x="64" y="508"/>
                  </a:lnTo>
                  <a:lnTo>
                    <a:pt x="61" y="509"/>
                  </a:lnTo>
                  <a:lnTo>
                    <a:pt x="59" y="509"/>
                  </a:lnTo>
                  <a:lnTo>
                    <a:pt x="57" y="508"/>
                  </a:lnTo>
                  <a:lnTo>
                    <a:pt x="55" y="507"/>
                  </a:lnTo>
                  <a:lnTo>
                    <a:pt x="54" y="507"/>
                  </a:lnTo>
                  <a:lnTo>
                    <a:pt x="52" y="506"/>
                  </a:lnTo>
                  <a:lnTo>
                    <a:pt x="51" y="504"/>
                  </a:lnTo>
                  <a:lnTo>
                    <a:pt x="49" y="502"/>
                  </a:lnTo>
                  <a:lnTo>
                    <a:pt x="48" y="500"/>
                  </a:lnTo>
                  <a:lnTo>
                    <a:pt x="47" y="498"/>
                  </a:lnTo>
                  <a:lnTo>
                    <a:pt x="46" y="495"/>
                  </a:lnTo>
                  <a:lnTo>
                    <a:pt x="46" y="493"/>
                  </a:lnTo>
                  <a:lnTo>
                    <a:pt x="45" y="490"/>
                  </a:lnTo>
                  <a:lnTo>
                    <a:pt x="45" y="487"/>
                  </a:lnTo>
                  <a:lnTo>
                    <a:pt x="45" y="485"/>
                  </a:lnTo>
                  <a:lnTo>
                    <a:pt x="46" y="482"/>
                  </a:lnTo>
                  <a:lnTo>
                    <a:pt x="47" y="480"/>
                  </a:lnTo>
                  <a:lnTo>
                    <a:pt x="47" y="478"/>
                  </a:lnTo>
                  <a:lnTo>
                    <a:pt x="49" y="474"/>
                  </a:lnTo>
                  <a:lnTo>
                    <a:pt x="53" y="468"/>
                  </a:lnTo>
                  <a:lnTo>
                    <a:pt x="60" y="459"/>
                  </a:lnTo>
                  <a:lnTo>
                    <a:pt x="64" y="453"/>
                  </a:lnTo>
                  <a:lnTo>
                    <a:pt x="66" y="451"/>
                  </a:lnTo>
                  <a:lnTo>
                    <a:pt x="68" y="448"/>
                  </a:lnTo>
                  <a:lnTo>
                    <a:pt x="69" y="446"/>
                  </a:lnTo>
                  <a:lnTo>
                    <a:pt x="70" y="443"/>
                  </a:lnTo>
                  <a:lnTo>
                    <a:pt x="71" y="441"/>
                  </a:lnTo>
                  <a:lnTo>
                    <a:pt x="72" y="438"/>
                  </a:lnTo>
                  <a:lnTo>
                    <a:pt x="72" y="436"/>
                  </a:lnTo>
                  <a:lnTo>
                    <a:pt x="73" y="433"/>
                  </a:lnTo>
                  <a:lnTo>
                    <a:pt x="73" y="430"/>
                  </a:lnTo>
                  <a:lnTo>
                    <a:pt x="73" y="427"/>
                  </a:lnTo>
                  <a:lnTo>
                    <a:pt x="72" y="423"/>
                  </a:lnTo>
                  <a:lnTo>
                    <a:pt x="72" y="421"/>
                  </a:lnTo>
                  <a:lnTo>
                    <a:pt x="71" y="419"/>
                  </a:lnTo>
                  <a:lnTo>
                    <a:pt x="70" y="417"/>
                  </a:lnTo>
                  <a:lnTo>
                    <a:pt x="70" y="415"/>
                  </a:lnTo>
                  <a:lnTo>
                    <a:pt x="68" y="413"/>
                  </a:lnTo>
                  <a:lnTo>
                    <a:pt x="59" y="404"/>
                  </a:lnTo>
                  <a:lnTo>
                    <a:pt x="56" y="400"/>
                  </a:lnTo>
                  <a:lnTo>
                    <a:pt x="54" y="398"/>
                  </a:lnTo>
                  <a:lnTo>
                    <a:pt x="52" y="397"/>
                  </a:lnTo>
                  <a:lnTo>
                    <a:pt x="51" y="397"/>
                  </a:lnTo>
                  <a:lnTo>
                    <a:pt x="41" y="393"/>
                  </a:lnTo>
                  <a:lnTo>
                    <a:pt x="34" y="389"/>
                  </a:lnTo>
                  <a:lnTo>
                    <a:pt x="30" y="387"/>
                  </a:lnTo>
                  <a:lnTo>
                    <a:pt x="26" y="386"/>
                  </a:lnTo>
                  <a:lnTo>
                    <a:pt x="23" y="385"/>
                  </a:lnTo>
                  <a:lnTo>
                    <a:pt x="20" y="385"/>
                  </a:lnTo>
                  <a:lnTo>
                    <a:pt x="18" y="384"/>
                  </a:lnTo>
                  <a:lnTo>
                    <a:pt x="17" y="384"/>
                  </a:lnTo>
                  <a:lnTo>
                    <a:pt x="16" y="384"/>
                  </a:lnTo>
                  <a:lnTo>
                    <a:pt x="14" y="385"/>
                  </a:lnTo>
                  <a:lnTo>
                    <a:pt x="13" y="385"/>
                  </a:lnTo>
                  <a:lnTo>
                    <a:pt x="12" y="384"/>
                  </a:lnTo>
                  <a:lnTo>
                    <a:pt x="10" y="383"/>
                  </a:lnTo>
                  <a:lnTo>
                    <a:pt x="9" y="382"/>
                  </a:lnTo>
                  <a:lnTo>
                    <a:pt x="7" y="381"/>
                  </a:lnTo>
                  <a:lnTo>
                    <a:pt x="6" y="379"/>
                  </a:lnTo>
                  <a:lnTo>
                    <a:pt x="5" y="378"/>
                  </a:lnTo>
                  <a:lnTo>
                    <a:pt x="4" y="376"/>
                  </a:lnTo>
                  <a:lnTo>
                    <a:pt x="3" y="374"/>
                  </a:lnTo>
                  <a:lnTo>
                    <a:pt x="3" y="373"/>
                  </a:lnTo>
                  <a:lnTo>
                    <a:pt x="3" y="371"/>
                  </a:lnTo>
                  <a:lnTo>
                    <a:pt x="3" y="366"/>
                  </a:lnTo>
                  <a:lnTo>
                    <a:pt x="3" y="364"/>
                  </a:lnTo>
                  <a:lnTo>
                    <a:pt x="2" y="362"/>
                  </a:lnTo>
                  <a:lnTo>
                    <a:pt x="1" y="359"/>
                  </a:lnTo>
                  <a:lnTo>
                    <a:pt x="1" y="358"/>
                  </a:lnTo>
                  <a:lnTo>
                    <a:pt x="0" y="356"/>
                  </a:lnTo>
                  <a:lnTo>
                    <a:pt x="0" y="354"/>
                  </a:lnTo>
                  <a:lnTo>
                    <a:pt x="0" y="351"/>
                  </a:lnTo>
                  <a:lnTo>
                    <a:pt x="0" y="350"/>
                  </a:lnTo>
                  <a:lnTo>
                    <a:pt x="1" y="347"/>
                  </a:lnTo>
                  <a:lnTo>
                    <a:pt x="2" y="344"/>
                  </a:lnTo>
                  <a:lnTo>
                    <a:pt x="2" y="342"/>
                  </a:lnTo>
                  <a:lnTo>
                    <a:pt x="4" y="340"/>
                  </a:lnTo>
                  <a:lnTo>
                    <a:pt x="5" y="337"/>
                  </a:lnTo>
                  <a:lnTo>
                    <a:pt x="7" y="335"/>
                  </a:lnTo>
                  <a:lnTo>
                    <a:pt x="8" y="334"/>
                  </a:lnTo>
                  <a:lnTo>
                    <a:pt x="10" y="333"/>
                  </a:lnTo>
                  <a:lnTo>
                    <a:pt x="13" y="332"/>
                  </a:lnTo>
                  <a:lnTo>
                    <a:pt x="14" y="332"/>
                  </a:lnTo>
                  <a:lnTo>
                    <a:pt x="21" y="331"/>
                  </a:lnTo>
                  <a:lnTo>
                    <a:pt x="25" y="330"/>
                  </a:lnTo>
                  <a:lnTo>
                    <a:pt x="28" y="329"/>
                  </a:lnTo>
                  <a:lnTo>
                    <a:pt x="33" y="328"/>
                  </a:lnTo>
                  <a:lnTo>
                    <a:pt x="35" y="328"/>
                  </a:lnTo>
                  <a:lnTo>
                    <a:pt x="39" y="327"/>
                  </a:lnTo>
                  <a:lnTo>
                    <a:pt x="42" y="327"/>
                  </a:lnTo>
                  <a:lnTo>
                    <a:pt x="48" y="327"/>
                  </a:lnTo>
                  <a:lnTo>
                    <a:pt x="51" y="326"/>
                  </a:lnTo>
                  <a:lnTo>
                    <a:pt x="54" y="325"/>
                  </a:lnTo>
                  <a:lnTo>
                    <a:pt x="57" y="324"/>
                  </a:lnTo>
                  <a:lnTo>
                    <a:pt x="60" y="320"/>
                  </a:lnTo>
                  <a:lnTo>
                    <a:pt x="62" y="319"/>
                  </a:lnTo>
                  <a:lnTo>
                    <a:pt x="64" y="317"/>
                  </a:lnTo>
                  <a:lnTo>
                    <a:pt x="65" y="317"/>
                  </a:lnTo>
                  <a:lnTo>
                    <a:pt x="66" y="314"/>
                  </a:lnTo>
                  <a:lnTo>
                    <a:pt x="67" y="311"/>
                  </a:lnTo>
                  <a:lnTo>
                    <a:pt x="67" y="308"/>
                  </a:lnTo>
                  <a:lnTo>
                    <a:pt x="67" y="306"/>
                  </a:lnTo>
                  <a:lnTo>
                    <a:pt x="67" y="304"/>
                  </a:lnTo>
                  <a:lnTo>
                    <a:pt x="66" y="302"/>
                  </a:lnTo>
                  <a:lnTo>
                    <a:pt x="65" y="300"/>
                  </a:lnTo>
                  <a:lnTo>
                    <a:pt x="63" y="298"/>
                  </a:lnTo>
                  <a:lnTo>
                    <a:pt x="62" y="296"/>
                  </a:lnTo>
                  <a:lnTo>
                    <a:pt x="54" y="290"/>
                  </a:lnTo>
                  <a:lnTo>
                    <a:pt x="52" y="288"/>
                  </a:lnTo>
                  <a:lnTo>
                    <a:pt x="51" y="286"/>
                  </a:lnTo>
                  <a:lnTo>
                    <a:pt x="49" y="283"/>
                  </a:lnTo>
                  <a:lnTo>
                    <a:pt x="47" y="282"/>
                  </a:lnTo>
                  <a:lnTo>
                    <a:pt x="47" y="280"/>
                  </a:lnTo>
                  <a:lnTo>
                    <a:pt x="46" y="278"/>
                  </a:lnTo>
                  <a:lnTo>
                    <a:pt x="46" y="277"/>
                  </a:lnTo>
                  <a:lnTo>
                    <a:pt x="46" y="275"/>
                  </a:lnTo>
                  <a:lnTo>
                    <a:pt x="46" y="273"/>
                  </a:lnTo>
                  <a:lnTo>
                    <a:pt x="47" y="272"/>
                  </a:lnTo>
                  <a:lnTo>
                    <a:pt x="47" y="271"/>
                  </a:lnTo>
                  <a:lnTo>
                    <a:pt x="49" y="267"/>
                  </a:lnTo>
                  <a:lnTo>
                    <a:pt x="51" y="266"/>
                  </a:lnTo>
                  <a:lnTo>
                    <a:pt x="52" y="263"/>
                  </a:lnTo>
                  <a:lnTo>
                    <a:pt x="52" y="261"/>
                  </a:lnTo>
                  <a:lnTo>
                    <a:pt x="53" y="260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2" y="252"/>
                  </a:lnTo>
                  <a:lnTo>
                    <a:pt x="51" y="249"/>
                  </a:lnTo>
                  <a:lnTo>
                    <a:pt x="49" y="246"/>
                  </a:lnTo>
                  <a:lnTo>
                    <a:pt x="47" y="242"/>
                  </a:lnTo>
                  <a:lnTo>
                    <a:pt x="46" y="239"/>
                  </a:lnTo>
                  <a:lnTo>
                    <a:pt x="44" y="237"/>
                  </a:lnTo>
                  <a:lnTo>
                    <a:pt x="41" y="234"/>
                  </a:lnTo>
                  <a:lnTo>
                    <a:pt x="38" y="230"/>
                  </a:lnTo>
                  <a:lnTo>
                    <a:pt x="34" y="226"/>
                  </a:lnTo>
                  <a:lnTo>
                    <a:pt x="29" y="222"/>
                  </a:lnTo>
                  <a:lnTo>
                    <a:pt x="28" y="221"/>
                  </a:lnTo>
                  <a:lnTo>
                    <a:pt x="27" y="220"/>
                  </a:lnTo>
                  <a:lnTo>
                    <a:pt x="26" y="218"/>
                  </a:lnTo>
                  <a:lnTo>
                    <a:pt x="25" y="216"/>
                  </a:lnTo>
                  <a:lnTo>
                    <a:pt x="25" y="215"/>
                  </a:lnTo>
                  <a:lnTo>
                    <a:pt x="25" y="213"/>
                  </a:lnTo>
                  <a:lnTo>
                    <a:pt x="25" y="211"/>
                  </a:lnTo>
                  <a:lnTo>
                    <a:pt x="27" y="204"/>
                  </a:lnTo>
                  <a:lnTo>
                    <a:pt x="29" y="198"/>
                  </a:lnTo>
                  <a:lnTo>
                    <a:pt x="29" y="196"/>
                  </a:lnTo>
                  <a:lnTo>
                    <a:pt x="31" y="192"/>
                  </a:lnTo>
                  <a:lnTo>
                    <a:pt x="34" y="186"/>
                  </a:lnTo>
                  <a:lnTo>
                    <a:pt x="34" y="185"/>
                  </a:lnTo>
                  <a:lnTo>
                    <a:pt x="35" y="184"/>
                  </a:lnTo>
                  <a:lnTo>
                    <a:pt x="36" y="183"/>
                  </a:lnTo>
                  <a:lnTo>
                    <a:pt x="37" y="182"/>
                  </a:lnTo>
                  <a:lnTo>
                    <a:pt x="38" y="181"/>
                  </a:lnTo>
                  <a:lnTo>
                    <a:pt x="43" y="179"/>
                  </a:lnTo>
                  <a:lnTo>
                    <a:pt x="44" y="178"/>
                  </a:lnTo>
                  <a:lnTo>
                    <a:pt x="45" y="178"/>
                  </a:lnTo>
                  <a:lnTo>
                    <a:pt x="46" y="177"/>
                  </a:lnTo>
                  <a:lnTo>
                    <a:pt x="46" y="176"/>
                  </a:lnTo>
                  <a:lnTo>
                    <a:pt x="46" y="175"/>
                  </a:lnTo>
                  <a:lnTo>
                    <a:pt x="46" y="174"/>
                  </a:lnTo>
                  <a:lnTo>
                    <a:pt x="46" y="172"/>
                  </a:lnTo>
                  <a:lnTo>
                    <a:pt x="45" y="171"/>
                  </a:lnTo>
                  <a:lnTo>
                    <a:pt x="43" y="170"/>
                  </a:lnTo>
                  <a:lnTo>
                    <a:pt x="41" y="167"/>
                  </a:lnTo>
                  <a:lnTo>
                    <a:pt x="37" y="163"/>
                  </a:lnTo>
                  <a:lnTo>
                    <a:pt x="37" y="162"/>
                  </a:lnTo>
                  <a:lnTo>
                    <a:pt x="36" y="162"/>
                  </a:lnTo>
                  <a:lnTo>
                    <a:pt x="36" y="161"/>
                  </a:lnTo>
                  <a:lnTo>
                    <a:pt x="37" y="159"/>
                  </a:lnTo>
                  <a:lnTo>
                    <a:pt x="37" y="158"/>
                  </a:lnTo>
                  <a:lnTo>
                    <a:pt x="38" y="157"/>
                  </a:lnTo>
                  <a:lnTo>
                    <a:pt x="39" y="156"/>
                  </a:lnTo>
                  <a:lnTo>
                    <a:pt x="40" y="154"/>
                  </a:lnTo>
                  <a:lnTo>
                    <a:pt x="41" y="152"/>
                  </a:lnTo>
                  <a:lnTo>
                    <a:pt x="44" y="149"/>
                  </a:lnTo>
                  <a:lnTo>
                    <a:pt x="50" y="143"/>
                  </a:lnTo>
                  <a:lnTo>
                    <a:pt x="54" y="138"/>
                  </a:lnTo>
                  <a:lnTo>
                    <a:pt x="57" y="135"/>
                  </a:lnTo>
                  <a:lnTo>
                    <a:pt x="62" y="126"/>
                  </a:lnTo>
                  <a:lnTo>
                    <a:pt x="65" y="123"/>
                  </a:lnTo>
                  <a:lnTo>
                    <a:pt x="67" y="122"/>
                  </a:lnTo>
                  <a:lnTo>
                    <a:pt x="68" y="121"/>
                  </a:lnTo>
                  <a:lnTo>
                    <a:pt x="74" y="116"/>
                  </a:lnTo>
                  <a:lnTo>
                    <a:pt x="76" y="115"/>
                  </a:lnTo>
                  <a:lnTo>
                    <a:pt x="78" y="113"/>
                  </a:lnTo>
                  <a:lnTo>
                    <a:pt x="79" y="112"/>
                  </a:lnTo>
                  <a:lnTo>
                    <a:pt x="80" y="111"/>
                  </a:lnTo>
                  <a:lnTo>
                    <a:pt x="81" y="109"/>
                  </a:lnTo>
                  <a:lnTo>
                    <a:pt x="81" y="106"/>
                  </a:lnTo>
                  <a:lnTo>
                    <a:pt x="82" y="103"/>
                  </a:lnTo>
                  <a:lnTo>
                    <a:pt x="83" y="99"/>
                  </a:lnTo>
                  <a:lnTo>
                    <a:pt x="84" y="90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5" y="85"/>
                  </a:lnTo>
                  <a:lnTo>
                    <a:pt x="86" y="82"/>
                  </a:lnTo>
                  <a:lnTo>
                    <a:pt x="88" y="80"/>
                  </a:lnTo>
                  <a:lnTo>
                    <a:pt x="88" y="79"/>
                  </a:lnTo>
                  <a:lnTo>
                    <a:pt x="91" y="79"/>
                  </a:lnTo>
                  <a:lnTo>
                    <a:pt x="93" y="78"/>
                  </a:lnTo>
                  <a:lnTo>
                    <a:pt x="94" y="78"/>
                  </a:lnTo>
                  <a:lnTo>
                    <a:pt x="97" y="78"/>
                  </a:lnTo>
                  <a:lnTo>
                    <a:pt x="101" y="78"/>
                  </a:lnTo>
                  <a:lnTo>
                    <a:pt x="104" y="78"/>
                  </a:lnTo>
                  <a:lnTo>
                    <a:pt x="106" y="79"/>
                  </a:lnTo>
                  <a:lnTo>
                    <a:pt x="112" y="79"/>
                  </a:lnTo>
                  <a:lnTo>
                    <a:pt x="118" y="81"/>
                  </a:lnTo>
                  <a:lnTo>
                    <a:pt x="128" y="84"/>
                  </a:lnTo>
                  <a:lnTo>
                    <a:pt x="132" y="85"/>
                  </a:lnTo>
                  <a:lnTo>
                    <a:pt x="135" y="86"/>
                  </a:lnTo>
                  <a:lnTo>
                    <a:pt x="136" y="86"/>
                  </a:lnTo>
                  <a:lnTo>
                    <a:pt x="138" y="86"/>
                  </a:lnTo>
                  <a:lnTo>
                    <a:pt x="138" y="86"/>
                  </a:lnTo>
                  <a:lnTo>
                    <a:pt x="140" y="85"/>
                  </a:lnTo>
                  <a:lnTo>
                    <a:pt x="142" y="85"/>
                  </a:lnTo>
                  <a:lnTo>
                    <a:pt x="144" y="84"/>
                  </a:lnTo>
                  <a:lnTo>
                    <a:pt x="145" y="84"/>
                  </a:lnTo>
                  <a:lnTo>
                    <a:pt x="147" y="83"/>
                  </a:lnTo>
                  <a:lnTo>
                    <a:pt x="149" y="81"/>
                  </a:lnTo>
                  <a:lnTo>
                    <a:pt x="150" y="79"/>
                  </a:lnTo>
                  <a:lnTo>
                    <a:pt x="153" y="78"/>
                  </a:lnTo>
                  <a:lnTo>
                    <a:pt x="155" y="75"/>
                  </a:lnTo>
                  <a:lnTo>
                    <a:pt x="157" y="73"/>
                  </a:lnTo>
                  <a:lnTo>
                    <a:pt x="158" y="71"/>
                  </a:lnTo>
                  <a:lnTo>
                    <a:pt x="158" y="69"/>
                  </a:lnTo>
                  <a:lnTo>
                    <a:pt x="159" y="68"/>
                  </a:lnTo>
                  <a:lnTo>
                    <a:pt x="160" y="63"/>
                  </a:lnTo>
                  <a:lnTo>
                    <a:pt x="160" y="60"/>
                  </a:lnTo>
                  <a:lnTo>
                    <a:pt x="161" y="59"/>
                  </a:lnTo>
                  <a:lnTo>
                    <a:pt x="161" y="57"/>
                  </a:lnTo>
                  <a:lnTo>
                    <a:pt x="162" y="56"/>
                  </a:lnTo>
                  <a:lnTo>
                    <a:pt x="163" y="56"/>
                  </a:lnTo>
                  <a:lnTo>
                    <a:pt x="164" y="55"/>
                  </a:lnTo>
                  <a:lnTo>
                    <a:pt x="167" y="53"/>
                  </a:lnTo>
                  <a:lnTo>
                    <a:pt x="170" y="51"/>
                  </a:lnTo>
                  <a:lnTo>
                    <a:pt x="172" y="49"/>
                  </a:lnTo>
                  <a:lnTo>
                    <a:pt x="177" y="46"/>
                  </a:lnTo>
                  <a:lnTo>
                    <a:pt x="186" y="42"/>
                  </a:lnTo>
                  <a:lnTo>
                    <a:pt x="189" y="41"/>
                  </a:lnTo>
                  <a:lnTo>
                    <a:pt x="191" y="40"/>
                  </a:lnTo>
                  <a:lnTo>
                    <a:pt x="192" y="38"/>
                  </a:lnTo>
                  <a:lnTo>
                    <a:pt x="193" y="37"/>
                  </a:lnTo>
                  <a:lnTo>
                    <a:pt x="194" y="36"/>
                  </a:lnTo>
                  <a:lnTo>
                    <a:pt x="195" y="34"/>
                  </a:lnTo>
                  <a:lnTo>
                    <a:pt x="195" y="34"/>
                  </a:lnTo>
                  <a:lnTo>
                    <a:pt x="196" y="31"/>
                  </a:lnTo>
                  <a:lnTo>
                    <a:pt x="196" y="28"/>
                  </a:lnTo>
                  <a:lnTo>
                    <a:pt x="197" y="21"/>
                  </a:lnTo>
                  <a:lnTo>
                    <a:pt x="198" y="18"/>
                  </a:lnTo>
                  <a:lnTo>
                    <a:pt x="199" y="15"/>
                  </a:lnTo>
                  <a:lnTo>
                    <a:pt x="202" y="10"/>
                  </a:lnTo>
                  <a:lnTo>
                    <a:pt x="202" y="7"/>
                  </a:lnTo>
                  <a:lnTo>
                    <a:pt x="203" y="6"/>
                  </a:lnTo>
                  <a:lnTo>
                    <a:pt x="203" y="5"/>
                  </a:lnTo>
                  <a:lnTo>
                    <a:pt x="202" y="4"/>
                  </a:lnTo>
                  <a:lnTo>
                    <a:pt x="202" y="3"/>
                  </a:lnTo>
                  <a:lnTo>
                    <a:pt x="201" y="1"/>
                  </a:lnTo>
                  <a:lnTo>
                    <a:pt x="200" y="0"/>
                  </a:lnTo>
                  <a:lnTo>
                    <a:pt x="201" y="0"/>
                  </a:lnTo>
                  <a:lnTo>
                    <a:pt x="202" y="0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6" name="Freeform 13">
              <a:extLst>
                <a:ext uri="{FF2B5EF4-FFF2-40B4-BE49-F238E27FC236}">
                  <a16:creationId xmlns:a16="http://schemas.microsoft.com/office/drawing/2014/main" id="{E83D2E09-34B5-448C-BEF2-9D40C035F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" y="1813"/>
              <a:ext cx="477" cy="309"/>
            </a:xfrm>
            <a:custGeom>
              <a:avLst/>
              <a:gdLst>
                <a:gd name="T0" fmla="*/ 287 w 477"/>
                <a:gd name="T1" fmla="*/ 8 h 309"/>
                <a:gd name="T2" fmla="*/ 313 w 477"/>
                <a:gd name="T3" fmla="*/ 13 h 309"/>
                <a:gd name="T4" fmla="*/ 331 w 477"/>
                <a:gd name="T5" fmla="*/ 33 h 309"/>
                <a:gd name="T6" fmla="*/ 335 w 477"/>
                <a:gd name="T7" fmla="*/ 50 h 309"/>
                <a:gd name="T8" fmla="*/ 342 w 477"/>
                <a:gd name="T9" fmla="*/ 65 h 309"/>
                <a:gd name="T10" fmla="*/ 357 w 477"/>
                <a:gd name="T11" fmla="*/ 71 h 309"/>
                <a:gd name="T12" fmla="*/ 401 w 477"/>
                <a:gd name="T13" fmla="*/ 73 h 309"/>
                <a:gd name="T14" fmla="*/ 433 w 477"/>
                <a:gd name="T15" fmla="*/ 66 h 309"/>
                <a:gd name="T16" fmla="*/ 447 w 477"/>
                <a:gd name="T17" fmla="*/ 68 h 309"/>
                <a:gd name="T18" fmla="*/ 463 w 477"/>
                <a:gd name="T19" fmla="*/ 85 h 309"/>
                <a:gd name="T20" fmla="*/ 460 w 477"/>
                <a:gd name="T21" fmla="*/ 123 h 309"/>
                <a:gd name="T22" fmla="*/ 464 w 477"/>
                <a:gd name="T23" fmla="*/ 147 h 309"/>
                <a:gd name="T24" fmla="*/ 477 w 477"/>
                <a:gd name="T25" fmla="*/ 173 h 309"/>
                <a:gd name="T26" fmla="*/ 463 w 477"/>
                <a:gd name="T27" fmla="*/ 205 h 309"/>
                <a:gd name="T28" fmla="*/ 452 w 477"/>
                <a:gd name="T29" fmla="*/ 227 h 309"/>
                <a:gd name="T30" fmla="*/ 443 w 477"/>
                <a:gd name="T31" fmla="*/ 240 h 309"/>
                <a:gd name="T32" fmla="*/ 425 w 477"/>
                <a:gd name="T33" fmla="*/ 239 h 309"/>
                <a:gd name="T34" fmla="*/ 389 w 477"/>
                <a:gd name="T35" fmla="*/ 237 h 309"/>
                <a:gd name="T36" fmla="*/ 386 w 477"/>
                <a:gd name="T37" fmla="*/ 253 h 309"/>
                <a:gd name="T38" fmla="*/ 387 w 477"/>
                <a:gd name="T39" fmla="*/ 273 h 309"/>
                <a:gd name="T40" fmla="*/ 367 w 477"/>
                <a:gd name="T41" fmla="*/ 289 h 309"/>
                <a:gd name="T42" fmla="*/ 338 w 477"/>
                <a:gd name="T43" fmla="*/ 287 h 309"/>
                <a:gd name="T44" fmla="*/ 318 w 477"/>
                <a:gd name="T45" fmla="*/ 291 h 309"/>
                <a:gd name="T46" fmla="*/ 295 w 477"/>
                <a:gd name="T47" fmla="*/ 299 h 309"/>
                <a:gd name="T48" fmla="*/ 272 w 477"/>
                <a:gd name="T49" fmla="*/ 301 h 309"/>
                <a:gd name="T50" fmla="*/ 257 w 477"/>
                <a:gd name="T51" fmla="*/ 309 h 309"/>
                <a:gd name="T52" fmla="*/ 233 w 477"/>
                <a:gd name="T53" fmla="*/ 296 h 309"/>
                <a:gd name="T54" fmla="*/ 214 w 477"/>
                <a:gd name="T55" fmla="*/ 287 h 309"/>
                <a:gd name="T56" fmla="*/ 200 w 477"/>
                <a:gd name="T57" fmla="*/ 280 h 309"/>
                <a:gd name="T58" fmla="*/ 181 w 477"/>
                <a:gd name="T59" fmla="*/ 285 h 309"/>
                <a:gd name="T60" fmla="*/ 163 w 477"/>
                <a:gd name="T61" fmla="*/ 294 h 309"/>
                <a:gd name="T62" fmla="*/ 138 w 477"/>
                <a:gd name="T63" fmla="*/ 306 h 309"/>
                <a:gd name="T64" fmla="*/ 126 w 477"/>
                <a:gd name="T65" fmla="*/ 304 h 309"/>
                <a:gd name="T66" fmla="*/ 126 w 477"/>
                <a:gd name="T67" fmla="*/ 290 h 309"/>
                <a:gd name="T68" fmla="*/ 129 w 477"/>
                <a:gd name="T69" fmla="*/ 277 h 309"/>
                <a:gd name="T70" fmla="*/ 118 w 477"/>
                <a:gd name="T71" fmla="*/ 274 h 309"/>
                <a:gd name="T72" fmla="*/ 94 w 477"/>
                <a:gd name="T73" fmla="*/ 289 h 309"/>
                <a:gd name="T74" fmla="*/ 59 w 477"/>
                <a:gd name="T75" fmla="*/ 296 h 309"/>
                <a:gd name="T76" fmla="*/ 38 w 477"/>
                <a:gd name="T77" fmla="*/ 301 h 309"/>
                <a:gd name="T78" fmla="*/ 20 w 477"/>
                <a:gd name="T79" fmla="*/ 289 h 309"/>
                <a:gd name="T80" fmla="*/ 19 w 477"/>
                <a:gd name="T81" fmla="*/ 277 h 309"/>
                <a:gd name="T82" fmla="*/ 21 w 477"/>
                <a:gd name="T83" fmla="*/ 263 h 309"/>
                <a:gd name="T84" fmla="*/ 38 w 477"/>
                <a:gd name="T85" fmla="*/ 261 h 309"/>
                <a:gd name="T86" fmla="*/ 41 w 477"/>
                <a:gd name="T87" fmla="*/ 250 h 309"/>
                <a:gd name="T88" fmla="*/ 29 w 477"/>
                <a:gd name="T89" fmla="*/ 228 h 309"/>
                <a:gd name="T90" fmla="*/ 11 w 477"/>
                <a:gd name="T91" fmla="*/ 197 h 309"/>
                <a:gd name="T92" fmla="*/ 0 w 477"/>
                <a:gd name="T93" fmla="*/ 172 h 309"/>
                <a:gd name="T94" fmla="*/ 11 w 477"/>
                <a:gd name="T95" fmla="*/ 139 h 309"/>
                <a:gd name="T96" fmla="*/ 29 w 477"/>
                <a:gd name="T97" fmla="*/ 122 h 309"/>
                <a:gd name="T98" fmla="*/ 40 w 477"/>
                <a:gd name="T99" fmla="*/ 106 h 309"/>
                <a:gd name="T100" fmla="*/ 57 w 477"/>
                <a:gd name="T101" fmla="*/ 101 h 309"/>
                <a:gd name="T102" fmla="*/ 84 w 477"/>
                <a:gd name="T103" fmla="*/ 108 h 309"/>
                <a:gd name="T104" fmla="*/ 132 w 477"/>
                <a:gd name="T105" fmla="*/ 122 h 309"/>
                <a:gd name="T106" fmla="*/ 157 w 477"/>
                <a:gd name="T107" fmla="*/ 119 h 309"/>
                <a:gd name="T108" fmla="*/ 170 w 477"/>
                <a:gd name="T109" fmla="*/ 86 h 309"/>
                <a:gd name="T110" fmla="*/ 186 w 477"/>
                <a:gd name="T111" fmla="*/ 57 h 309"/>
                <a:gd name="T112" fmla="*/ 209 w 477"/>
                <a:gd name="T113" fmla="*/ 43 h 309"/>
                <a:gd name="T114" fmla="*/ 224 w 477"/>
                <a:gd name="T115" fmla="*/ 27 h 309"/>
                <a:gd name="T116" fmla="*/ 230 w 477"/>
                <a:gd name="T117" fmla="*/ 14 h 309"/>
                <a:gd name="T118" fmla="*/ 263 w 477"/>
                <a:gd name="T119" fmla="*/ 5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7" h="309">
                  <a:moveTo>
                    <a:pt x="274" y="4"/>
                  </a:moveTo>
                  <a:lnTo>
                    <a:pt x="274" y="5"/>
                  </a:lnTo>
                  <a:lnTo>
                    <a:pt x="274" y="5"/>
                  </a:lnTo>
                  <a:lnTo>
                    <a:pt x="275" y="5"/>
                  </a:lnTo>
                  <a:lnTo>
                    <a:pt x="277" y="6"/>
                  </a:lnTo>
                  <a:lnTo>
                    <a:pt x="280" y="6"/>
                  </a:lnTo>
                  <a:lnTo>
                    <a:pt x="283" y="7"/>
                  </a:lnTo>
                  <a:lnTo>
                    <a:pt x="287" y="8"/>
                  </a:lnTo>
                  <a:lnTo>
                    <a:pt x="297" y="8"/>
                  </a:lnTo>
                  <a:lnTo>
                    <a:pt x="300" y="8"/>
                  </a:lnTo>
                  <a:lnTo>
                    <a:pt x="302" y="9"/>
                  </a:lnTo>
                  <a:lnTo>
                    <a:pt x="306" y="10"/>
                  </a:lnTo>
                  <a:lnTo>
                    <a:pt x="308" y="11"/>
                  </a:lnTo>
                  <a:lnTo>
                    <a:pt x="311" y="11"/>
                  </a:lnTo>
                  <a:lnTo>
                    <a:pt x="312" y="12"/>
                  </a:lnTo>
                  <a:lnTo>
                    <a:pt x="313" y="13"/>
                  </a:lnTo>
                  <a:lnTo>
                    <a:pt x="314" y="14"/>
                  </a:lnTo>
                  <a:lnTo>
                    <a:pt x="315" y="15"/>
                  </a:lnTo>
                  <a:lnTo>
                    <a:pt x="318" y="20"/>
                  </a:lnTo>
                  <a:lnTo>
                    <a:pt x="318" y="22"/>
                  </a:lnTo>
                  <a:lnTo>
                    <a:pt x="320" y="23"/>
                  </a:lnTo>
                  <a:lnTo>
                    <a:pt x="324" y="25"/>
                  </a:lnTo>
                  <a:lnTo>
                    <a:pt x="328" y="29"/>
                  </a:lnTo>
                  <a:lnTo>
                    <a:pt x="331" y="33"/>
                  </a:lnTo>
                  <a:lnTo>
                    <a:pt x="332" y="34"/>
                  </a:lnTo>
                  <a:lnTo>
                    <a:pt x="333" y="35"/>
                  </a:lnTo>
                  <a:lnTo>
                    <a:pt x="334" y="37"/>
                  </a:lnTo>
                  <a:lnTo>
                    <a:pt x="335" y="38"/>
                  </a:lnTo>
                  <a:lnTo>
                    <a:pt x="335" y="39"/>
                  </a:lnTo>
                  <a:lnTo>
                    <a:pt x="335" y="42"/>
                  </a:lnTo>
                  <a:lnTo>
                    <a:pt x="335" y="47"/>
                  </a:lnTo>
                  <a:lnTo>
                    <a:pt x="335" y="50"/>
                  </a:lnTo>
                  <a:lnTo>
                    <a:pt x="336" y="53"/>
                  </a:lnTo>
                  <a:lnTo>
                    <a:pt x="336" y="55"/>
                  </a:lnTo>
                  <a:lnTo>
                    <a:pt x="337" y="57"/>
                  </a:lnTo>
                  <a:lnTo>
                    <a:pt x="338" y="59"/>
                  </a:lnTo>
                  <a:lnTo>
                    <a:pt x="339" y="61"/>
                  </a:lnTo>
                  <a:lnTo>
                    <a:pt x="340" y="62"/>
                  </a:lnTo>
                  <a:lnTo>
                    <a:pt x="341" y="64"/>
                  </a:lnTo>
                  <a:lnTo>
                    <a:pt x="342" y="65"/>
                  </a:lnTo>
                  <a:lnTo>
                    <a:pt x="344" y="67"/>
                  </a:lnTo>
                  <a:lnTo>
                    <a:pt x="346" y="68"/>
                  </a:lnTo>
                  <a:lnTo>
                    <a:pt x="347" y="68"/>
                  </a:lnTo>
                  <a:lnTo>
                    <a:pt x="349" y="69"/>
                  </a:lnTo>
                  <a:lnTo>
                    <a:pt x="352" y="70"/>
                  </a:lnTo>
                  <a:lnTo>
                    <a:pt x="353" y="71"/>
                  </a:lnTo>
                  <a:lnTo>
                    <a:pt x="355" y="71"/>
                  </a:lnTo>
                  <a:lnTo>
                    <a:pt x="357" y="71"/>
                  </a:lnTo>
                  <a:lnTo>
                    <a:pt x="359" y="71"/>
                  </a:lnTo>
                  <a:lnTo>
                    <a:pt x="361" y="71"/>
                  </a:lnTo>
                  <a:lnTo>
                    <a:pt x="373" y="69"/>
                  </a:lnTo>
                  <a:lnTo>
                    <a:pt x="375" y="69"/>
                  </a:lnTo>
                  <a:lnTo>
                    <a:pt x="378" y="70"/>
                  </a:lnTo>
                  <a:lnTo>
                    <a:pt x="388" y="71"/>
                  </a:lnTo>
                  <a:lnTo>
                    <a:pt x="394" y="72"/>
                  </a:lnTo>
                  <a:lnTo>
                    <a:pt x="401" y="73"/>
                  </a:lnTo>
                  <a:lnTo>
                    <a:pt x="404" y="74"/>
                  </a:lnTo>
                  <a:lnTo>
                    <a:pt x="407" y="74"/>
                  </a:lnTo>
                  <a:lnTo>
                    <a:pt x="409" y="74"/>
                  </a:lnTo>
                  <a:lnTo>
                    <a:pt x="411" y="74"/>
                  </a:lnTo>
                  <a:lnTo>
                    <a:pt x="414" y="73"/>
                  </a:lnTo>
                  <a:lnTo>
                    <a:pt x="421" y="70"/>
                  </a:lnTo>
                  <a:lnTo>
                    <a:pt x="428" y="68"/>
                  </a:lnTo>
                  <a:lnTo>
                    <a:pt x="433" y="66"/>
                  </a:lnTo>
                  <a:lnTo>
                    <a:pt x="436" y="65"/>
                  </a:lnTo>
                  <a:lnTo>
                    <a:pt x="438" y="65"/>
                  </a:lnTo>
                  <a:lnTo>
                    <a:pt x="440" y="65"/>
                  </a:lnTo>
                  <a:lnTo>
                    <a:pt x="442" y="65"/>
                  </a:lnTo>
                  <a:lnTo>
                    <a:pt x="443" y="65"/>
                  </a:lnTo>
                  <a:lnTo>
                    <a:pt x="444" y="66"/>
                  </a:lnTo>
                  <a:lnTo>
                    <a:pt x="445" y="67"/>
                  </a:lnTo>
                  <a:lnTo>
                    <a:pt x="447" y="68"/>
                  </a:lnTo>
                  <a:lnTo>
                    <a:pt x="449" y="68"/>
                  </a:lnTo>
                  <a:lnTo>
                    <a:pt x="452" y="71"/>
                  </a:lnTo>
                  <a:lnTo>
                    <a:pt x="456" y="75"/>
                  </a:lnTo>
                  <a:lnTo>
                    <a:pt x="457" y="77"/>
                  </a:lnTo>
                  <a:lnTo>
                    <a:pt x="459" y="79"/>
                  </a:lnTo>
                  <a:lnTo>
                    <a:pt x="462" y="82"/>
                  </a:lnTo>
                  <a:lnTo>
                    <a:pt x="463" y="84"/>
                  </a:lnTo>
                  <a:lnTo>
                    <a:pt x="463" y="85"/>
                  </a:lnTo>
                  <a:lnTo>
                    <a:pt x="464" y="87"/>
                  </a:lnTo>
                  <a:lnTo>
                    <a:pt x="464" y="88"/>
                  </a:lnTo>
                  <a:lnTo>
                    <a:pt x="464" y="90"/>
                  </a:lnTo>
                  <a:lnTo>
                    <a:pt x="464" y="101"/>
                  </a:lnTo>
                  <a:lnTo>
                    <a:pt x="463" y="106"/>
                  </a:lnTo>
                  <a:lnTo>
                    <a:pt x="462" y="111"/>
                  </a:lnTo>
                  <a:lnTo>
                    <a:pt x="461" y="119"/>
                  </a:lnTo>
                  <a:lnTo>
                    <a:pt x="460" y="123"/>
                  </a:lnTo>
                  <a:lnTo>
                    <a:pt x="460" y="125"/>
                  </a:lnTo>
                  <a:lnTo>
                    <a:pt x="460" y="129"/>
                  </a:lnTo>
                  <a:lnTo>
                    <a:pt x="461" y="133"/>
                  </a:lnTo>
                  <a:lnTo>
                    <a:pt x="461" y="136"/>
                  </a:lnTo>
                  <a:lnTo>
                    <a:pt x="462" y="139"/>
                  </a:lnTo>
                  <a:lnTo>
                    <a:pt x="462" y="142"/>
                  </a:lnTo>
                  <a:lnTo>
                    <a:pt x="463" y="144"/>
                  </a:lnTo>
                  <a:lnTo>
                    <a:pt x="464" y="147"/>
                  </a:lnTo>
                  <a:lnTo>
                    <a:pt x="466" y="150"/>
                  </a:lnTo>
                  <a:lnTo>
                    <a:pt x="470" y="156"/>
                  </a:lnTo>
                  <a:lnTo>
                    <a:pt x="471" y="158"/>
                  </a:lnTo>
                  <a:lnTo>
                    <a:pt x="474" y="162"/>
                  </a:lnTo>
                  <a:lnTo>
                    <a:pt x="475" y="165"/>
                  </a:lnTo>
                  <a:lnTo>
                    <a:pt x="477" y="170"/>
                  </a:lnTo>
                  <a:lnTo>
                    <a:pt x="477" y="171"/>
                  </a:lnTo>
                  <a:lnTo>
                    <a:pt x="477" y="173"/>
                  </a:lnTo>
                  <a:lnTo>
                    <a:pt x="477" y="176"/>
                  </a:lnTo>
                  <a:lnTo>
                    <a:pt x="477" y="180"/>
                  </a:lnTo>
                  <a:lnTo>
                    <a:pt x="475" y="183"/>
                  </a:lnTo>
                  <a:lnTo>
                    <a:pt x="472" y="192"/>
                  </a:lnTo>
                  <a:lnTo>
                    <a:pt x="470" y="196"/>
                  </a:lnTo>
                  <a:lnTo>
                    <a:pt x="467" y="199"/>
                  </a:lnTo>
                  <a:lnTo>
                    <a:pt x="465" y="204"/>
                  </a:lnTo>
                  <a:lnTo>
                    <a:pt x="463" y="205"/>
                  </a:lnTo>
                  <a:lnTo>
                    <a:pt x="459" y="209"/>
                  </a:lnTo>
                  <a:lnTo>
                    <a:pt x="456" y="213"/>
                  </a:lnTo>
                  <a:lnTo>
                    <a:pt x="455" y="215"/>
                  </a:lnTo>
                  <a:lnTo>
                    <a:pt x="454" y="217"/>
                  </a:lnTo>
                  <a:lnTo>
                    <a:pt x="453" y="219"/>
                  </a:lnTo>
                  <a:lnTo>
                    <a:pt x="452" y="221"/>
                  </a:lnTo>
                  <a:lnTo>
                    <a:pt x="452" y="223"/>
                  </a:lnTo>
                  <a:lnTo>
                    <a:pt x="452" y="227"/>
                  </a:lnTo>
                  <a:lnTo>
                    <a:pt x="451" y="229"/>
                  </a:lnTo>
                  <a:lnTo>
                    <a:pt x="451" y="232"/>
                  </a:lnTo>
                  <a:lnTo>
                    <a:pt x="450" y="233"/>
                  </a:lnTo>
                  <a:lnTo>
                    <a:pt x="448" y="236"/>
                  </a:lnTo>
                  <a:lnTo>
                    <a:pt x="447" y="237"/>
                  </a:lnTo>
                  <a:lnTo>
                    <a:pt x="446" y="238"/>
                  </a:lnTo>
                  <a:lnTo>
                    <a:pt x="444" y="239"/>
                  </a:lnTo>
                  <a:lnTo>
                    <a:pt x="443" y="240"/>
                  </a:lnTo>
                  <a:lnTo>
                    <a:pt x="443" y="241"/>
                  </a:lnTo>
                  <a:lnTo>
                    <a:pt x="442" y="241"/>
                  </a:lnTo>
                  <a:lnTo>
                    <a:pt x="437" y="241"/>
                  </a:lnTo>
                  <a:lnTo>
                    <a:pt x="432" y="241"/>
                  </a:lnTo>
                  <a:lnTo>
                    <a:pt x="430" y="241"/>
                  </a:lnTo>
                  <a:lnTo>
                    <a:pt x="429" y="240"/>
                  </a:lnTo>
                  <a:lnTo>
                    <a:pt x="427" y="240"/>
                  </a:lnTo>
                  <a:lnTo>
                    <a:pt x="425" y="239"/>
                  </a:lnTo>
                  <a:lnTo>
                    <a:pt x="422" y="238"/>
                  </a:lnTo>
                  <a:lnTo>
                    <a:pt x="409" y="229"/>
                  </a:lnTo>
                  <a:lnTo>
                    <a:pt x="406" y="227"/>
                  </a:lnTo>
                  <a:lnTo>
                    <a:pt x="405" y="227"/>
                  </a:lnTo>
                  <a:lnTo>
                    <a:pt x="405" y="226"/>
                  </a:lnTo>
                  <a:lnTo>
                    <a:pt x="401" y="228"/>
                  </a:lnTo>
                  <a:lnTo>
                    <a:pt x="390" y="235"/>
                  </a:lnTo>
                  <a:lnTo>
                    <a:pt x="389" y="237"/>
                  </a:lnTo>
                  <a:lnTo>
                    <a:pt x="388" y="238"/>
                  </a:lnTo>
                  <a:lnTo>
                    <a:pt x="388" y="238"/>
                  </a:lnTo>
                  <a:lnTo>
                    <a:pt x="387" y="239"/>
                  </a:lnTo>
                  <a:lnTo>
                    <a:pt x="388" y="242"/>
                  </a:lnTo>
                  <a:lnTo>
                    <a:pt x="387" y="246"/>
                  </a:lnTo>
                  <a:lnTo>
                    <a:pt x="387" y="248"/>
                  </a:lnTo>
                  <a:lnTo>
                    <a:pt x="386" y="251"/>
                  </a:lnTo>
                  <a:lnTo>
                    <a:pt x="386" y="253"/>
                  </a:lnTo>
                  <a:lnTo>
                    <a:pt x="386" y="254"/>
                  </a:lnTo>
                  <a:lnTo>
                    <a:pt x="386" y="255"/>
                  </a:lnTo>
                  <a:lnTo>
                    <a:pt x="388" y="261"/>
                  </a:lnTo>
                  <a:lnTo>
                    <a:pt x="389" y="265"/>
                  </a:lnTo>
                  <a:lnTo>
                    <a:pt x="389" y="268"/>
                  </a:lnTo>
                  <a:lnTo>
                    <a:pt x="388" y="270"/>
                  </a:lnTo>
                  <a:lnTo>
                    <a:pt x="388" y="272"/>
                  </a:lnTo>
                  <a:lnTo>
                    <a:pt x="387" y="273"/>
                  </a:lnTo>
                  <a:lnTo>
                    <a:pt x="386" y="275"/>
                  </a:lnTo>
                  <a:lnTo>
                    <a:pt x="386" y="277"/>
                  </a:lnTo>
                  <a:lnTo>
                    <a:pt x="384" y="280"/>
                  </a:lnTo>
                  <a:lnTo>
                    <a:pt x="383" y="281"/>
                  </a:lnTo>
                  <a:lnTo>
                    <a:pt x="381" y="283"/>
                  </a:lnTo>
                  <a:lnTo>
                    <a:pt x="380" y="283"/>
                  </a:lnTo>
                  <a:lnTo>
                    <a:pt x="374" y="286"/>
                  </a:lnTo>
                  <a:lnTo>
                    <a:pt x="367" y="289"/>
                  </a:lnTo>
                  <a:lnTo>
                    <a:pt x="362" y="291"/>
                  </a:lnTo>
                  <a:lnTo>
                    <a:pt x="361" y="291"/>
                  </a:lnTo>
                  <a:lnTo>
                    <a:pt x="359" y="291"/>
                  </a:lnTo>
                  <a:lnTo>
                    <a:pt x="356" y="291"/>
                  </a:lnTo>
                  <a:lnTo>
                    <a:pt x="352" y="291"/>
                  </a:lnTo>
                  <a:lnTo>
                    <a:pt x="349" y="290"/>
                  </a:lnTo>
                  <a:lnTo>
                    <a:pt x="341" y="288"/>
                  </a:lnTo>
                  <a:lnTo>
                    <a:pt x="338" y="287"/>
                  </a:lnTo>
                  <a:lnTo>
                    <a:pt x="336" y="287"/>
                  </a:lnTo>
                  <a:lnTo>
                    <a:pt x="331" y="287"/>
                  </a:lnTo>
                  <a:lnTo>
                    <a:pt x="330" y="287"/>
                  </a:lnTo>
                  <a:lnTo>
                    <a:pt x="326" y="287"/>
                  </a:lnTo>
                  <a:lnTo>
                    <a:pt x="324" y="287"/>
                  </a:lnTo>
                  <a:lnTo>
                    <a:pt x="322" y="288"/>
                  </a:lnTo>
                  <a:lnTo>
                    <a:pt x="321" y="288"/>
                  </a:lnTo>
                  <a:lnTo>
                    <a:pt x="318" y="291"/>
                  </a:lnTo>
                  <a:lnTo>
                    <a:pt x="313" y="294"/>
                  </a:lnTo>
                  <a:lnTo>
                    <a:pt x="309" y="297"/>
                  </a:lnTo>
                  <a:lnTo>
                    <a:pt x="307" y="298"/>
                  </a:lnTo>
                  <a:lnTo>
                    <a:pt x="305" y="299"/>
                  </a:lnTo>
                  <a:lnTo>
                    <a:pt x="303" y="299"/>
                  </a:lnTo>
                  <a:lnTo>
                    <a:pt x="301" y="299"/>
                  </a:lnTo>
                  <a:lnTo>
                    <a:pt x="299" y="299"/>
                  </a:lnTo>
                  <a:lnTo>
                    <a:pt x="295" y="299"/>
                  </a:lnTo>
                  <a:lnTo>
                    <a:pt x="293" y="298"/>
                  </a:lnTo>
                  <a:lnTo>
                    <a:pt x="290" y="298"/>
                  </a:lnTo>
                  <a:lnTo>
                    <a:pt x="286" y="298"/>
                  </a:lnTo>
                  <a:lnTo>
                    <a:pt x="282" y="299"/>
                  </a:lnTo>
                  <a:lnTo>
                    <a:pt x="277" y="299"/>
                  </a:lnTo>
                  <a:lnTo>
                    <a:pt x="275" y="300"/>
                  </a:lnTo>
                  <a:lnTo>
                    <a:pt x="273" y="300"/>
                  </a:lnTo>
                  <a:lnTo>
                    <a:pt x="272" y="301"/>
                  </a:lnTo>
                  <a:lnTo>
                    <a:pt x="271" y="302"/>
                  </a:lnTo>
                  <a:lnTo>
                    <a:pt x="269" y="303"/>
                  </a:lnTo>
                  <a:lnTo>
                    <a:pt x="265" y="306"/>
                  </a:lnTo>
                  <a:lnTo>
                    <a:pt x="263" y="308"/>
                  </a:lnTo>
                  <a:lnTo>
                    <a:pt x="261" y="309"/>
                  </a:lnTo>
                  <a:lnTo>
                    <a:pt x="260" y="309"/>
                  </a:lnTo>
                  <a:lnTo>
                    <a:pt x="258" y="309"/>
                  </a:lnTo>
                  <a:lnTo>
                    <a:pt x="257" y="309"/>
                  </a:lnTo>
                  <a:lnTo>
                    <a:pt x="256" y="309"/>
                  </a:lnTo>
                  <a:lnTo>
                    <a:pt x="254" y="308"/>
                  </a:lnTo>
                  <a:lnTo>
                    <a:pt x="253" y="307"/>
                  </a:lnTo>
                  <a:lnTo>
                    <a:pt x="245" y="303"/>
                  </a:lnTo>
                  <a:lnTo>
                    <a:pt x="239" y="300"/>
                  </a:lnTo>
                  <a:lnTo>
                    <a:pt x="237" y="299"/>
                  </a:lnTo>
                  <a:lnTo>
                    <a:pt x="235" y="298"/>
                  </a:lnTo>
                  <a:lnTo>
                    <a:pt x="233" y="296"/>
                  </a:lnTo>
                  <a:lnTo>
                    <a:pt x="230" y="294"/>
                  </a:lnTo>
                  <a:lnTo>
                    <a:pt x="228" y="292"/>
                  </a:lnTo>
                  <a:lnTo>
                    <a:pt x="227" y="291"/>
                  </a:lnTo>
                  <a:lnTo>
                    <a:pt x="226" y="291"/>
                  </a:lnTo>
                  <a:lnTo>
                    <a:pt x="224" y="290"/>
                  </a:lnTo>
                  <a:lnTo>
                    <a:pt x="218" y="289"/>
                  </a:lnTo>
                  <a:lnTo>
                    <a:pt x="216" y="287"/>
                  </a:lnTo>
                  <a:lnTo>
                    <a:pt x="214" y="287"/>
                  </a:lnTo>
                  <a:lnTo>
                    <a:pt x="213" y="286"/>
                  </a:lnTo>
                  <a:lnTo>
                    <a:pt x="208" y="283"/>
                  </a:lnTo>
                  <a:lnTo>
                    <a:pt x="207" y="282"/>
                  </a:lnTo>
                  <a:lnTo>
                    <a:pt x="205" y="282"/>
                  </a:lnTo>
                  <a:lnTo>
                    <a:pt x="204" y="281"/>
                  </a:lnTo>
                  <a:lnTo>
                    <a:pt x="203" y="281"/>
                  </a:lnTo>
                  <a:lnTo>
                    <a:pt x="202" y="280"/>
                  </a:lnTo>
                  <a:lnTo>
                    <a:pt x="200" y="280"/>
                  </a:lnTo>
                  <a:lnTo>
                    <a:pt x="196" y="281"/>
                  </a:lnTo>
                  <a:lnTo>
                    <a:pt x="192" y="281"/>
                  </a:lnTo>
                  <a:lnTo>
                    <a:pt x="188" y="282"/>
                  </a:lnTo>
                  <a:lnTo>
                    <a:pt x="186" y="282"/>
                  </a:lnTo>
                  <a:lnTo>
                    <a:pt x="184" y="283"/>
                  </a:lnTo>
                  <a:lnTo>
                    <a:pt x="183" y="283"/>
                  </a:lnTo>
                  <a:lnTo>
                    <a:pt x="182" y="284"/>
                  </a:lnTo>
                  <a:lnTo>
                    <a:pt x="181" y="285"/>
                  </a:lnTo>
                  <a:lnTo>
                    <a:pt x="178" y="288"/>
                  </a:lnTo>
                  <a:lnTo>
                    <a:pt x="176" y="290"/>
                  </a:lnTo>
                  <a:lnTo>
                    <a:pt x="174" y="292"/>
                  </a:lnTo>
                  <a:lnTo>
                    <a:pt x="171" y="293"/>
                  </a:lnTo>
                  <a:lnTo>
                    <a:pt x="170" y="293"/>
                  </a:lnTo>
                  <a:lnTo>
                    <a:pt x="169" y="294"/>
                  </a:lnTo>
                  <a:lnTo>
                    <a:pt x="167" y="294"/>
                  </a:lnTo>
                  <a:lnTo>
                    <a:pt x="163" y="294"/>
                  </a:lnTo>
                  <a:lnTo>
                    <a:pt x="155" y="295"/>
                  </a:lnTo>
                  <a:lnTo>
                    <a:pt x="152" y="295"/>
                  </a:lnTo>
                  <a:lnTo>
                    <a:pt x="150" y="295"/>
                  </a:lnTo>
                  <a:lnTo>
                    <a:pt x="149" y="296"/>
                  </a:lnTo>
                  <a:lnTo>
                    <a:pt x="148" y="297"/>
                  </a:lnTo>
                  <a:lnTo>
                    <a:pt x="143" y="301"/>
                  </a:lnTo>
                  <a:lnTo>
                    <a:pt x="139" y="305"/>
                  </a:lnTo>
                  <a:lnTo>
                    <a:pt x="138" y="306"/>
                  </a:lnTo>
                  <a:lnTo>
                    <a:pt x="136" y="306"/>
                  </a:lnTo>
                  <a:lnTo>
                    <a:pt x="135" y="306"/>
                  </a:lnTo>
                  <a:lnTo>
                    <a:pt x="133" y="306"/>
                  </a:lnTo>
                  <a:lnTo>
                    <a:pt x="131" y="306"/>
                  </a:lnTo>
                  <a:lnTo>
                    <a:pt x="130" y="306"/>
                  </a:lnTo>
                  <a:lnTo>
                    <a:pt x="128" y="305"/>
                  </a:lnTo>
                  <a:lnTo>
                    <a:pt x="127" y="304"/>
                  </a:lnTo>
                  <a:lnTo>
                    <a:pt x="126" y="304"/>
                  </a:lnTo>
                  <a:lnTo>
                    <a:pt x="125" y="302"/>
                  </a:lnTo>
                  <a:lnTo>
                    <a:pt x="125" y="302"/>
                  </a:lnTo>
                  <a:lnTo>
                    <a:pt x="125" y="300"/>
                  </a:lnTo>
                  <a:lnTo>
                    <a:pt x="125" y="299"/>
                  </a:lnTo>
                  <a:lnTo>
                    <a:pt x="125" y="298"/>
                  </a:lnTo>
                  <a:lnTo>
                    <a:pt x="125" y="296"/>
                  </a:lnTo>
                  <a:lnTo>
                    <a:pt x="125" y="294"/>
                  </a:lnTo>
                  <a:lnTo>
                    <a:pt x="126" y="290"/>
                  </a:lnTo>
                  <a:lnTo>
                    <a:pt x="129" y="285"/>
                  </a:lnTo>
                  <a:lnTo>
                    <a:pt x="130" y="283"/>
                  </a:lnTo>
                  <a:lnTo>
                    <a:pt x="130" y="282"/>
                  </a:lnTo>
                  <a:lnTo>
                    <a:pt x="130" y="281"/>
                  </a:lnTo>
                  <a:lnTo>
                    <a:pt x="130" y="280"/>
                  </a:lnTo>
                  <a:lnTo>
                    <a:pt x="130" y="279"/>
                  </a:lnTo>
                  <a:lnTo>
                    <a:pt x="129" y="278"/>
                  </a:lnTo>
                  <a:lnTo>
                    <a:pt x="129" y="277"/>
                  </a:lnTo>
                  <a:lnTo>
                    <a:pt x="128" y="276"/>
                  </a:lnTo>
                  <a:lnTo>
                    <a:pt x="127" y="275"/>
                  </a:lnTo>
                  <a:lnTo>
                    <a:pt x="127" y="275"/>
                  </a:lnTo>
                  <a:lnTo>
                    <a:pt x="125" y="274"/>
                  </a:lnTo>
                  <a:lnTo>
                    <a:pt x="125" y="274"/>
                  </a:lnTo>
                  <a:lnTo>
                    <a:pt x="124" y="274"/>
                  </a:lnTo>
                  <a:lnTo>
                    <a:pt x="121" y="274"/>
                  </a:lnTo>
                  <a:lnTo>
                    <a:pt x="118" y="274"/>
                  </a:lnTo>
                  <a:lnTo>
                    <a:pt x="115" y="275"/>
                  </a:lnTo>
                  <a:lnTo>
                    <a:pt x="114" y="276"/>
                  </a:lnTo>
                  <a:lnTo>
                    <a:pt x="112" y="277"/>
                  </a:lnTo>
                  <a:lnTo>
                    <a:pt x="110" y="278"/>
                  </a:lnTo>
                  <a:lnTo>
                    <a:pt x="103" y="283"/>
                  </a:lnTo>
                  <a:lnTo>
                    <a:pt x="99" y="286"/>
                  </a:lnTo>
                  <a:lnTo>
                    <a:pt x="97" y="288"/>
                  </a:lnTo>
                  <a:lnTo>
                    <a:pt x="94" y="289"/>
                  </a:lnTo>
                  <a:lnTo>
                    <a:pt x="91" y="291"/>
                  </a:lnTo>
                  <a:lnTo>
                    <a:pt x="86" y="293"/>
                  </a:lnTo>
                  <a:lnTo>
                    <a:pt x="82" y="295"/>
                  </a:lnTo>
                  <a:lnTo>
                    <a:pt x="78" y="295"/>
                  </a:lnTo>
                  <a:lnTo>
                    <a:pt x="75" y="296"/>
                  </a:lnTo>
                  <a:lnTo>
                    <a:pt x="72" y="296"/>
                  </a:lnTo>
                  <a:lnTo>
                    <a:pt x="68" y="296"/>
                  </a:lnTo>
                  <a:lnTo>
                    <a:pt x="59" y="296"/>
                  </a:lnTo>
                  <a:lnTo>
                    <a:pt x="55" y="297"/>
                  </a:lnTo>
                  <a:lnTo>
                    <a:pt x="53" y="297"/>
                  </a:lnTo>
                  <a:lnTo>
                    <a:pt x="52" y="298"/>
                  </a:lnTo>
                  <a:lnTo>
                    <a:pt x="46" y="300"/>
                  </a:lnTo>
                  <a:lnTo>
                    <a:pt x="44" y="300"/>
                  </a:lnTo>
                  <a:lnTo>
                    <a:pt x="42" y="301"/>
                  </a:lnTo>
                  <a:lnTo>
                    <a:pt x="39" y="301"/>
                  </a:lnTo>
                  <a:lnTo>
                    <a:pt x="38" y="301"/>
                  </a:lnTo>
                  <a:lnTo>
                    <a:pt x="36" y="300"/>
                  </a:lnTo>
                  <a:lnTo>
                    <a:pt x="31" y="297"/>
                  </a:lnTo>
                  <a:lnTo>
                    <a:pt x="25" y="295"/>
                  </a:lnTo>
                  <a:lnTo>
                    <a:pt x="23" y="294"/>
                  </a:lnTo>
                  <a:lnTo>
                    <a:pt x="22" y="292"/>
                  </a:lnTo>
                  <a:lnTo>
                    <a:pt x="21" y="291"/>
                  </a:lnTo>
                  <a:lnTo>
                    <a:pt x="21" y="290"/>
                  </a:lnTo>
                  <a:lnTo>
                    <a:pt x="20" y="289"/>
                  </a:lnTo>
                  <a:lnTo>
                    <a:pt x="20" y="288"/>
                  </a:lnTo>
                  <a:lnTo>
                    <a:pt x="20" y="286"/>
                  </a:lnTo>
                  <a:lnTo>
                    <a:pt x="21" y="282"/>
                  </a:lnTo>
                  <a:lnTo>
                    <a:pt x="21" y="281"/>
                  </a:lnTo>
                  <a:lnTo>
                    <a:pt x="21" y="280"/>
                  </a:lnTo>
                  <a:lnTo>
                    <a:pt x="21" y="279"/>
                  </a:lnTo>
                  <a:lnTo>
                    <a:pt x="20" y="278"/>
                  </a:lnTo>
                  <a:lnTo>
                    <a:pt x="19" y="277"/>
                  </a:lnTo>
                  <a:lnTo>
                    <a:pt x="18" y="276"/>
                  </a:lnTo>
                  <a:lnTo>
                    <a:pt x="18" y="274"/>
                  </a:lnTo>
                  <a:lnTo>
                    <a:pt x="18" y="270"/>
                  </a:lnTo>
                  <a:lnTo>
                    <a:pt x="18" y="267"/>
                  </a:lnTo>
                  <a:lnTo>
                    <a:pt x="18" y="266"/>
                  </a:lnTo>
                  <a:lnTo>
                    <a:pt x="19" y="265"/>
                  </a:lnTo>
                  <a:lnTo>
                    <a:pt x="20" y="263"/>
                  </a:lnTo>
                  <a:lnTo>
                    <a:pt x="21" y="263"/>
                  </a:lnTo>
                  <a:lnTo>
                    <a:pt x="22" y="262"/>
                  </a:lnTo>
                  <a:lnTo>
                    <a:pt x="23" y="261"/>
                  </a:lnTo>
                  <a:lnTo>
                    <a:pt x="24" y="261"/>
                  </a:lnTo>
                  <a:lnTo>
                    <a:pt x="25" y="261"/>
                  </a:lnTo>
                  <a:lnTo>
                    <a:pt x="28" y="261"/>
                  </a:lnTo>
                  <a:lnTo>
                    <a:pt x="34" y="261"/>
                  </a:lnTo>
                  <a:lnTo>
                    <a:pt x="36" y="261"/>
                  </a:lnTo>
                  <a:lnTo>
                    <a:pt x="38" y="261"/>
                  </a:lnTo>
                  <a:lnTo>
                    <a:pt x="39" y="261"/>
                  </a:lnTo>
                  <a:lnTo>
                    <a:pt x="40" y="260"/>
                  </a:lnTo>
                  <a:lnTo>
                    <a:pt x="41" y="260"/>
                  </a:lnTo>
                  <a:lnTo>
                    <a:pt x="41" y="259"/>
                  </a:lnTo>
                  <a:lnTo>
                    <a:pt x="42" y="258"/>
                  </a:lnTo>
                  <a:lnTo>
                    <a:pt x="42" y="257"/>
                  </a:lnTo>
                  <a:lnTo>
                    <a:pt x="42" y="255"/>
                  </a:lnTo>
                  <a:lnTo>
                    <a:pt x="41" y="250"/>
                  </a:lnTo>
                  <a:lnTo>
                    <a:pt x="40" y="243"/>
                  </a:lnTo>
                  <a:lnTo>
                    <a:pt x="40" y="242"/>
                  </a:lnTo>
                  <a:lnTo>
                    <a:pt x="40" y="242"/>
                  </a:lnTo>
                  <a:lnTo>
                    <a:pt x="38" y="239"/>
                  </a:lnTo>
                  <a:lnTo>
                    <a:pt x="34" y="235"/>
                  </a:lnTo>
                  <a:lnTo>
                    <a:pt x="31" y="231"/>
                  </a:lnTo>
                  <a:lnTo>
                    <a:pt x="30" y="230"/>
                  </a:lnTo>
                  <a:lnTo>
                    <a:pt x="29" y="228"/>
                  </a:lnTo>
                  <a:lnTo>
                    <a:pt x="25" y="222"/>
                  </a:lnTo>
                  <a:lnTo>
                    <a:pt x="24" y="219"/>
                  </a:lnTo>
                  <a:lnTo>
                    <a:pt x="22" y="213"/>
                  </a:lnTo>
                  <a:lnTo>
                    <a:pt x="21" y="211"/>
                  </a:lnTo>
                  <a:lnTo>
                    <a:pt x="19" y="207"/>
                  </a:lnTo>
                  <a:lnTo>
                    <a:pt x="17" y="205"/>
                  </a:lnTo>
                  <a:lnTo>
                    <a:pt x="17" y="204"/>
                  </a:lnTo>
                  <a:lnTo>
                    <a:pt x="11" y="197"/>
                  </a:lnTo>
                  <a:lnTo>
                    <a:pt x="10" y="195"/>
                  </a:lnTo>
                  <a:lnTo>
                    <a:pt x="9" y="193"/>
                  </a:lnTo>
                  <a:lnTo>
                    <a:pt x="8" y="192"/>
                  </a:lnTo>
                  <a:lnTo>
                    <a:pt x="7" y="190"/>
                  </a:lnTo>
                  <a:lnTo>
                    <a:pt x="4" y="181"/>
                  </a:lnTo>
                  <a:lnTo>
                    <a:pt x="0" y="174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2" y="169"/>
                  </a:lnTo>
                  <a:lnTo>
                    <a:pt x="3" y="165"/>
                  </a:lnTo>
                  <a:lnTo>
                    <a:pt x="4" y="162"/>
                  </a:lnTo>
                  <a:lnTo>
                    <a:pt x="6" y="152"/>
                  </a:lnTo>
                  <a:lnTo>
                    <a:pt x="7" y="148"/>
                  </a:lnTo>
                  <a:lnTo>
                    <a:pt x="8" y="145"/>
                  </a:lnTo>
                  <a:lnTo>
                    <a:pt x="9" y="142"/>
                  </a:lnTo>
                  <a:lnTo>
                    <a:pt x="11" y="139"/>
                  </a:lnTo>
                  <a:lnTo>
                    <a:pt x="11" y="136"/>
                  </a:lnTo>
                  <a:lnTo>
                    <a:pt x="13" y="134"/>
                  </a:lnTo>
                  <a:lnTo>
                    <a:pt x="14" y="133"/>
                  </a:lnTo>
                  <a:lnTo>
                    <a:pt x="15" y="131"/>
                  </a:lnTo>
                  <a:lnTo>
                    <a:pt x="16" y="130"/>
                  </a:lnTo>
                  <a:lnTo>
                    <a:pt x="18" y="128"/>
                  </a:lnTo>
                  <a:lnTo>
                    <a:pt x="22" y="126"/>
                  </a:lnTo>
                  <a:lnTo>
                    <a:pt x="29" y="122"/>
                  </a:lnTo>
                  <a:lnTo>
                    <a:pt x="31" y="120"/>
                  </a:lnTo>
                  <a:lnTo>
                    <a:pt x="33" y="119"/>
                  </a:lnTo>
                  <a:lnTo>
                    <a:pt x="34" y="117"/>
                  </a:lnTo>
                  <a:lnTo>
                    <a:pt x="37" y="113"/>
                  </a:lnTo>
                  <a:lnTo>
                    <a:pt x="37" y="112"/>
                  </a:lnTo>
                  <a:lnTo>
                    <a:pt x="39" y="108"/>
                  </a:lnTo>
                  <a:lnTo>
                    <a:pt x="39" y="107"/>
                  </a:lnTo>
                  <a:lnTo>
                    <a:pt x="40" y="106"/>
                  </a:lnTo>
                  <a:lnTo>
                    <a:pt x="41" y="105"/>
                  </a:lnTo>
                  <a:lnTo>
                    <a:pt x="42" y="105"/>
                  </a:lnTo>
                  <a:lnTo>
                    <a:pt x="46" y="102"/>
                  </a:lnTo>
                  <a:lnTo>
                    <a:pt x="48" y="102"/>
                  </a:lnTo>
                  <a:lnTo>
                    <a:pt x="50" y="102"/>
                  </a:lnTo>
                  <a:lnTo>
                    <a:pt x="52" y="102"/>
                  </a:lnTo>
                  <a:lnTo>
                    <a:pt x="55" y="101"/>
                  </a:lnTo>
                  <a:lnTo>
                    <a:pt x="57" y="101"/>
                  </a:lnTo>
                  <a:lnTo>
                    <a:pt x="60" y="101"/>
                  </a:lnTo>
                  <a:lnTo>
                    <a:pt x="62" y="101"/>
                  </a:lnTo>
                  <a:lnTo>
                    <a:pt x="64" y="102"/>
                  </a:lnTo>
                  <a:lnTo>
                    <a:pt x="67" y="102"/>
                  </a:lnTo>
                  <a:lnTo>
                    <a:pt x="70" y="103"/>
                  </a:lnTo>
                  <a:lnTo>
                    <a:pt x="78" y="106"/>
                  </a:lnTo>
                  <a:lnTo>
                    <a:pt x="80" y="107"/>
                  </a:lnTo>
                  <a:lnTo>
                    <a:pt x="84" y="108"/>
                  </a:lnTo>
                  <a:lnTo>
                    <a:pt x="92" y="110"/>
                  </a:lnTo>
                  <a:lnTo>
                    <a:pt x="96" y="111"/>
                  </a:lnTo>
                  <a:lnTo>
                    <a:pt x="100" y="113"/>
                  </a:lnTo>
                  <a:lnTo>
                    <a:pt x="112" y="117"/>
                  </a:lnTo>
                  <a:lnTo>
                    <a:pt x="116" y="118"/>
                  </a:lnTo>
                  <a:lnTo>
                    <a:pt x="121" y="120"/>
                  </a:lnTo>
                  <a:lnTo>
                    <a:pt x="126" y="121"/>
                  </a:lnTo>
                  <a:lnTo>
                    <a:pt x="132" y="122"/>
                  </a:lnTo>
                  <a:lnTo>
                    <a:pt x="136" y="122"/>
                  </a:lnTo>
                  <a:lnTo>
                    <a:pt x="140" y="122"/>
                  </a:lnTo>
                  <a:lnTo>
                    <a:pt x="146" y="122"/>
                  </a:lnTo>
                  <a:lnTo>
                    <a:pt x="149" y="122"/>
                  </a:lnTo>
                  <a:lnTo>
                    <a:pt x="152" y="122"/>
                  </a:lnTo>
                  <a:lnTo>
                    <a:pt x="154" y="121"/>
                  </a:lnTo>
                  <a:lnTo>
                    <a:pt x="156" y="120"/>
                  </a:lnTo>
                  <a:lnTo>
                    <a:pt x="157" y="119"/>
                  </a:lnTo>
                  <a:lnTo>
                    <a:pt x="158" y="118"/>
                  </a:lnTo>
                  <a:lnTo>
                    <a:pt x="159" y="116"/>
                  </a:lnTo>
                  <a:lnTo>
                    <a:pt x="159" y="115"/>
                  </a:lnTo>
                  <a:lnTo>
                    <a:pt x="161" y="111"/>
                  </a:lnTo>
                  <a:lnTo>
                    <a:pt x="164" y="101"/>
                  </a:lnTo>
                  <a:lnTo>
                    <a:pt x="165" y="97"/>
                  </a:lnTo>
                  <a:lnTo>
                    <a:pt x="167" y="94"/>
                  </a:lnTo>
                  <a:lnTo>
                    <a:pt x="170" y="86"/>
                  </a:lnTo>
                  <a:lnTo>
                    <a:pt x="171" y="82"/>
                  </a:lnTo>
                  <a:lnTo>
                    <a:pt x="174" y="74"/>
                  </a:lnTo>
                  <a:lnTo>
                    <a:pt x="178" y="65"/>
                  </a:lnTo>
                  <a:lnTo>
                    <a:pt x="179" y="63"/>
                  </a:lnTo>
                  <a:lnTo>
                    <a:pt x="180" y="61"/>
                  </a:lnTo>
                  <a:lnTo>
                    <a:pt x="181" y="60"/>
                  </a:lnTo>
                  <a:lnTo>
                    <a:pt x="182" y="59"/>
                  </a:lnTo>
                  <a:lnTo>
                    <a:pt x="186" y="57"/>
                  </a:lnTo>
                  <a:lnTo>
                    <a:pt x="190" y="56"/>
                  </a:lnTo>
                  <a:lnTo>
                    <a:pt x="195" y="53"/>
                  </a:lnTo>
                  <a:lnTo>
                    <a:pt x="199" y="51"/>
                  </a:lnTo>
                  <a:lnTo>
                    <a:pt x="203" y="49"/>
                  </a:lnTo>
                  <a:lnTo>
                    <a:pt x="204" y="48"/>
                  </a:lnTo>
                  <a:lnTo>
                    <a:pt x="205" y="47"/>
                  </a:lnTo>
                  <a:lnTo>
                    <a:pt x="207" y="45"/>
                  </a:lnTo>
                  <a:lnTo>
                    <a:pt x="209" y="43"/>
                  </a:lnTo>
                  <a:lnTo>
                    <a:pt x="210" y="42"/>
                  </a:lnTo>
                  <a:lnTo>
                    <a:pt x="211" y="41"/>
                  </a:lnTo>
                  <a:lnTo>
                    <a:pt x="214" y="38"/>
                  </a:lnTo>
                  <a:lnTo>
                    <a:pt x="216" y="36"/>
                  </a:lnTo>
                  <a:lnTo>
                    <a:pt x="219" y="33"/>
                  </a:lnTo>
                  <a:lnTo>
                    <a:pt x="222" y="29"/>
                  </a:lnTo>
                  <a:lnTo>
                    <a:pt x="224" y="28"/>
                  </a:lnTo>
                  <a:lnTo>
                    <a:pt x="224" y="27"/>
                  </a:lnTo>
                  <a:lnTo>
                    <a:pt x="225" y="26"/>
                  </a:lnTo>
                  <a:lnTo>
                    <a:pt x="226" y="22"/>
                  </a:lnTo>
                  <a:lnTo>
                    <a:pt x="226" y="20"/>
                  </a:lnTo>
                  <a:lnTo>
                    <a:pt x="227" y="19"/>
                  </a:lnTo>
                  <a:lnTo>
                    <a:pt x="227" y="17"/>
                  </a:lnTo>
                  <a:lnTo>
                    <a:pt x="228" y="16"/>
                  </a:lnTo>
                  <a:lnTo>
                    <a:pt x="229" y="15"/>
                  </a:lnTo>
                  <a:lnTo>
                    <a:pt x="230" y="14"/>
                  </a:lnTo>
                  <a:lnTo>
                    <a:pt x="232" y="13"/>
                  </a:lnTo>
                  <a:lnTo>
                    <a:pt x="234" y="12"/>
                  </a:lnTo>
                  <a:lnTo>
                    <a:pt x="239" y="11"/>
                  </a:lnTo>
                  <a:lnTo>
                    <a:pt x="243" y="11"/>
                  </a:lnTo>
                  <a:lnTo>
                    <a:pt x="252" y="9"/>
                  </a:lnTo>
                  <a:lnTo>
                    <a:pt x="254" y="9"/>
                  </a:lnTo>
                  <a:lnTo>
                    <a:pt x="257" y="8"/>
                  </a:lnTo>
                  <a:lnTo>
                    <a:pt x="263" y="5"/>
                  </a:lnTo>
                  <a:lnTo>
                    <a:pt x="270" y="3"/>
                  </a:lnTo>
                  <a:lnTo>
                    <a:pt x="271" y="2"/>
                  </a:lnTo>
                  <a:lnTo>
                    <a:pt x="272" y="1"/>
                  </a:lnTo>
                  <a:lnTo>
                    <a:pt x="273" y="1"/>
                  </a:lnTo>
                  <a:lnTo>
                    <a:pt x="273" y="1"/>
                  </a:lnTo>
                  <a:lnTo>
                    <a:pt x="273" y="0"/>
                  </a:lnTo>
                  <a:lnTo>
                    <a:pt x="274" y="4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7" name="Freeform 14">
              <a:extLst>
                <a:ext uri="{FF2B5EF4-FFF2-40B4-BE49-F238E27FC236}">
                  <a16:creationId xmlns:a16="http://schemas.microsoft.com/office/drawing/2014/main" id="{68168B16-77DE-4CE3-8DC8-CC99BEDB9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" y="1880"/>
              <a:ext cx="441" cy="492"/>
            </a:xfrm>
            <a:custGeom>
              <a:avLst/>
              <a:gdLst>
                <a:gd name="T0" fmla="*/ 280 w 441"/>
                <a:gd name="T1" fmla="*/ 20 h 492"/>
                <a:gd name="T2" fmla="*/ 291 w 441"/>
                <a:gd name="T3" fmla="*/ 59 h 492"/>
                <a:gd name="T4" fmla="*/ 266 w 441"/>
                <a:gd name="T5" fmla="*/ 106 h 492"/>
                <a:gd name="T6" fmla="*/ 285 w 441"/>
                <a:gd name="T7" fmla="*/ 124 h 492"/>
                <a:gd name="T8" fmla="*/ 321 w 441"/>
                <a:gd name="T9" fmla="*/ 123 h 492"/>
                <a:gd name="T10" fmla="*/ 344 w 441"/>
                <a:gd name="T11" fmla="*/ 163 h 492"/>
                <a:gd name="T12" fmla="*/ 353 w 441"/>
                <a:gd name="T13" fmla="*/ 194 h 492"/>
                <a:gd name="T14" fmla="*/ 332 w 441"/>
                <a:gd name="T15" fmla="*/ 200 h 492"/>
                <a:gd name="T16" fmla="*/ 293 w 441"/>
                <a:gd name="T17" fmla="*/ 238 h 492"/>
                <a:gd name="T18" fmla="*/ 295 w 441"/>
                <a:gd name="T19" fmla="*/ 260 h 492"/>
                <a:gd name="T20" fmla="*/ 305 w 441"/>
                <a:gd name="T21" fmla="*/ 317 h 492"/>
                <a:gd name="T22" fmla="*/ 344 w 441"/>
                <a:gd name="T23" fmla="*/ 334 h 492"/>
                <a:gd name="T24" fmla="*/ 377 w 441"/>
                <a:gd name="T25" fmla="*/ 321 h 492"/>
                <a:gd name="T26" fmla="*/ 393 w 441"/>
                <a:gd name="T27" fmla="*/ 330 h 492"/>
                <a:gd name="T28" fmla="*/ 439 w 441"/>
                <a:gd name="T29" fmla="*/ 363 h 492"/>
                <a:gd name="T30" fmla="*/ 433 w 441"/>
                <a:gd name="T31" fmla="*/ 413 h 492"/>
                <a:gd name="T32" fmla="*/ 414 w 441"/>
                <a:gd name="T33" fmla="*/ 415 h 492"/>
                <a:gd name="T34" fmla="*/ 419 w 441"/>
                <a:gd name="T35" fmla="*/ 439 h 492"/>
                <a:gd name="T36" fmla="*/ 430 w 441"/>
                <a:gd name="T37" fmla="*/ 452 h 492"/>
                <a:gd name="T38" fmla="*/ 426 w 441"/>
                <a:gd name="T39" fmla="*/ 463 h 492"/>
                <a:gd name="T40" fmla="*/ 387 w 441"/>
                <a:gd name="T41" fmla="*/ 488 h 492"/>
                <a:gd name="T42" fmla="*/ 341 w 441"/>
                <a:gd name="T43" fmla="*/ 479 h 492"/>
                <a:gd name="T44" fmla="*/ 308 w 441"/>
                <a:gd name="T45" fmla="*/ 492 h 492"/>
                <a:gd name="T46" fmla="*/ 265 w 441"/>
                <a:gd name="T47" fmla="*/ 489 h 492"/>
                <a:gd name="T48" fmla="*/ 257 w 441"/>
                <a:gd name="T49" fmla="*/ 466 h 492"/>
                <a:gd name="T50" fmla="*/ 232 w 441"/>
                <a:gd name="T51" fmla="*/ 451 h 492"/>
                <a:gd name="T52" fmla="*/ 229 w 441"/>
                <a:gd name="T53" fmla="*/ 485 h 492"/>
                <a:gd name="T54" fmla="*/ 206 w 441"/>
                <a:gd name="T55" fmla="*/ 481 h 492"/>
                <a:gd name="T56" fmla="*/ 180 w 441"/>
                <a:gd name="T57" fmla="*/ 482 h 492"/>
                <a:gd name="T58" fmla="*/ 140 w 441"/>
                <a:gd name="T59" fmla="*/ 483 h 492"/>
                <a:gd name="T60" fmla="*/ 132 w 441"/>
                <a:gd name="T61" fmla="*/ 461 h 492"/>
                <a:gd name="T62" fmla="*/ 133 w 441"/>
                <a:gd name="T63" fmla="*/ 424 h 492"/>
                <a:gd name="T64" fmla="*/ 152 w 441"/>
                <a:gd name="T65" fmla="*/ 400 h 492"/>
                <a:gd name="T66" fmla="*/ 160 w 441"/>
                <a:gd name="T67" fmla="*/ 360 h 492"/>
                <a:gd name="T68" fmla="*/ 167 w 441"/>
                <a:gd name="T69" fmla="*/ 335 h 492"/>
                <a:gd name="T70" fmla="*/ 211 w 441"/>
                <a:gd name="T71" fmla="*/ 349 h 492"/>
                <a:gd name="T72" fmla="*/ 234 w 441"/>
                <a:gd name="T73" fmla="*/ 328 h 492"/>
                <a:gd name="T74" fmla="*/ 223 w 441"/>
                <a:gd name="T75" fmla="*/ 289 h 492"/>
                <a:gd name="T76" fmla="*/ 249 w 441"/>
                <a:gd name="T77" fmla="*/ 263 h 492"/>
                <a:gd name="T78" fmla="*/ 260 w 441"/>
                <a:gd name="T79" fmla="*/ 241 h 492"/>
                <a:gd name="T80" fmla="*/ 234 w 441"/>
                <a:gd name="T81" fmla="*/ 216 h 492"/>
                <a:gd name="T82" fmla="*/ 190 w 441"/>
                <a:gd name="T83" fmla="*/ 188 h 492"/>
                <a:gd name="T84" fmla="*/ 167 w 441"/>
                <a:gd name="T85" fmla="*/ 165 h 492"/>
                <a:gd name="T86" fmla="*/ 135 w 441"/>
                <a:gd name="T87" fmla="*/ 139 h 492"/>
                <a:gd name="T88" fmla="*/ 90 w 441"/>
                <a:gd name="T89" fmla="*/ 146 h 492"/>
                <a:gd name="T90" fmla="*/ 58 w 441"/>
                <a:gd name="T91" fmla="*/ 160 h 492"/>
                <a:gd name="T92" fmla="*/ 35 w 441"/>
                <a:gd name="T93" fmla="*/ 165 h 492"/>
                <a:gd name="T94" fmla="*/ 26 w 441"/>
                <a:gd name="T95" fmla="*/ 142 h 492"/>
                <a:gd name="T96" fmla="*/ 0 w 441"/>
                <a:gd name="T97" fmla="*/ 139 h 492"/>
                <a:gd name="T98" fmla="*/ 16 w 441"/>
                <a:gd name="T99" fmla="*/ 117 h 492"/>
                <a:gd name="T100" fmla="*/ 7 w 441"/>
                <a:gd name="T101" fmla="*/ 96 h 492"/>
                <a:gd name="T102" fmla="*/ 31 w 441"/>
                <a:gd name="T103" fmla="*/ 77 h 492"/>
                <a:gd name="T104" fmla="*/ 36 w 441"/>
                <a:gd name="T105" fmla="*/ 46 h 492"/>
                <a:gd name="T106" fmla="*/ 56 w 441"/>
                <a:gd name="T107" fmla="*/ 54 h 492"/>
                <a:gd name="T108" fmla="*/ 86 w 441"/>
                <a:gd name="T109" fmla="*/ 52 h 492"/>
                <a:gd name="T110" fmla="*/ 110 w 441"/>
                <a:gd name="T111" fmla="*/ 75 h 492"/>
                <a:gd name="T112" fmla="*/ 175 w 441"/>
                <a:gd name="T113" fmla="*/ 97 h 492"/>
                <a:gd name="T114" fmla="*/ 194 w 441"/>
                <a:gd name="T115" fmla="*/ 76 h 492"/>
                <a:gd name="T116" fmla="*/ 210 w 441"/>
                <a:gd name="T117" fmla="*/ 3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1" h="492">
                  <a:moveTo>
                    <a:pt x="238" y="0"/>
                  </a:moveTo>
                  <a:lnTo>
                    <a:pt x="239" y="0"/>
                  </a:lnTo>
                  <a:lnTo>
                    <a:pt x="241" y="1"/>
                  </a:lnTo>
                  <a:lnTo>
                    <a:pt x="244" y="1"/>
                  </a:lnTo>
                  <a:lnTo>
                    <a:pt x="247" y="2"/>
                  </a:lnTo>
                  <a:lnTo>
                    <a:pt x="251" y="3"/>
                  </a:lnTo>
                  <a:lnTo>
                    <a:pt x="255" y="5"/>
                  </a:lnTo>
                  <a:lnTo>
                    <a:pt x="262" y="9"/>
                  </a:lnTo>
                  <a:lnTo>
                    <a:pt x="272" y="13"/>
                  </a:lnTo>
                  <a:lnTo>
                    <a:pt x="273" y="13"/>
                  </a:lnTo>
                  <a:lnTo>
                    <a:pt x="275" y="14"/>
                  </a:lnTo>
                  <a:lnTo>
                    <a:pt x="277" y="16"/>
                  </a:lnTo>
                  <a:lnTo>
                    <a:pt x="280" y="20"/>
                  </a:lnTo>
                  <a:lnTo>
                    <a:pt x="289" y="29"/>
                  </a:lnTo>
                  <a:lnTo>
                    <a:pt x="291" y="31"/>
                  </a:lnTo>
                  <a:lnTo>
                    <a:pt x="291" y="33"/>
                  </a:lnTo>
                  <a:lnTo>
                    <a:pt x="292" y="35"/>
                  </a:lnTo>
                  <a:lnTo>
                    <a:pt x="293" y="37"/>
                  </a:lnTo>
                  <a:lnTo>
                    <a:pt x="293" y="39"/>
                  </a:lnTo>
                  <a:lnTo>
                    <a:pt x="294" y="43"/>
                  </a:lnTo>
                  <a:lnTo>
                    <a:pt x="294" y="46"/>
                  </a:lnTo>
                  <a:lnTo>
                    <a:pt x="294" y="49"/>
                  </a:lnTo>
                  <a:lnTo>
                    <a:pt x="293" y="52"/>
                  </a:lnTo>
                  <a:lnTo>
                    <a:pt x="293" y="54"/>
                  </a:lnTo>
                  <a:lnTo>
                    <a:pt x="292" y="57"/>
                  </a:lnTo>
                  <a:lnTo>
                    <a:pt x="291" y="59"/>
                  </a:lnTo>
                  <a:lnTo>
                    <a:pt x="290" y="62"/>
                  </a:lnTo>
                  <a:lnTo>
                    <a:pt x="289" y="64"/>
                  </a:lnTo>
                  <a:lnTo>
                    <a:pt x="287" y="67"/>
                  </a:lnTo>
                  <a:lnTo>
                    <a:pt x="285" y="69"/>
                  </a:lnTo>
                  <a:lnTo>
                    <a:pt x="281" y="75"/>
                  </a:lnTo>
                  <a:lnTo>
                    <a:pt x="274" y="84"/>
                  </a:lnTo>
                  <a:lnTo>
                    <a:pt x="270" y="90"/>
                  </a:lnTo>
                  <a:lnTo>
                    <a:pt x="268" y="94"/>
                  </a:lnTo>
                  <a:lnTo>
                    <a:pt x="268" y="96"/>
                  </a:lnTo>
                  <a:lnTo>
                    <a:pt x="267" y="98"/>
                  </a:lnTo>
                  <a:lnTo>
                    <a:pt x="266" y="101"/>
                  </a:lnTo>
                  <a:lnTo>
                    <a:pt x="266" y="103"/>
                  </a:lnTo>
                  <a:lnTo>
                    <a:pt x="266" y="106"/>
                  </a:lnTo>
                  <a:lnTo>
                    <a:pt x="267" y="109"/>
                  </a:lnTo>
                  <a:lnTo>
                    <a:pt x="267" y="111"/>
                  </a:lnTo>
                  <a:lnTo>
                    <a:pt x="268" y="114"/>
                  </a:lnTo>
                  <a:lnTo>
                    <a:pt x="269" y="116"/>
                  </a:lnTo>
                  <a:lnTo>
                    <a:pt x="270" y="118"/>
                  </a:lnTo>
                  <a:lnTo>
                    <a:pt x="272" y="120"/>
                  </a:lnTo>
                  <a:lnTo>
                    <a:pt x="273" y="122"/>
                  </a:lnTo>
                  <a:lnTo>
                    <a:pt x="275" y="123"/>
                  </a:lnTo>
                  <a:lnTo>
                    <a:pt x="276" y="123"/>
                  </a:lnTo>
                  <a:lnTo>
                    <a:pt x="278" y="124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5" y="124"/>
                  </a:lnTo>
                  <a:lnTo>
                    <a:pt x="288" y="124"/>
                  </a:lnTo>
                  <a:lnTo>
                    <a:pt x="291" y="123"/>
                  </a:lnTo>
                  <a:lnTo>
                    <a:pt x="294" y="121"/>
                  </a:lnTo>
                  <a:lnTo>
                    <a:pt x="298" y="119"/>
                  </a:lnTo>
                  <a:lnTo>
                    <a:pt x="302" y="117"/>
                  </a:lnTo>
                  <a:lnTo>
                    <a:pt x="304" y="114"/>
                  </a:lnTo>
                  <a:lnTo>
                    <a:pt x="307" y="113"/>
                  </a:lnTo>
                  <a:lnTo>
                    <a:pt x="310" y="110"/>
                  </a:lnTo>
                  <a:lnTo>
                    <a:pt x="314" y="106"/>
                  </a:lnTo>
                  <a:lnTo>
                    <a:pt x="314" y="105"/>
                  </a:lnTo>
                  <a:lnTo>
                    <a:pt x="314" y="107"/>
                  </a:lnTo>
                  <a:lnTo>
                    <a:pt x="318" y="114"/>
                  </a:lnTo>
                  <a:lnTo>
                    <a:pt x="321" y="123"/>
                  </a:lnTo>
                  <a:lnTo>
                    <a:pt x="322" y="125"/>
                  </a:lnTo>
                  <a:lnTo>
                    <a:pt x="323" y="126"/>
                  </a:lnTo>
                  <a:lnTo>
                    <a:pt x="324" y="128"/>
                  </a:lnTo>
                  <a:lnTo>
                    <a:pt x="325" y="130"/>
                  </a:lnTo>
                  <a:lnTo>
                    <a:pt x="331" y="137"/>
                  </a:lnTo>
                  <a:lnTo>
                    <a:pt x="331" y="138"/>
                  </a:lnTo>
                  <a:lnTo>
                    <a:pt x="333" y="140"/>
                  </a:lnTo>
                  <a:lnTo>
                    <a:pt x="335" y="144"/>
                  </a:lnTo>
                  <a:lnTo>
                    <a:pt x="336" y="146"/>
                  </a:lnTo>
                  <a:lnTo>
                    <a:pt x="338" y="152"/>
                  </a:lnTo>
                  <a:lnTo>
                    <a:pt x="339" y="155"/>
                  </a:lnTo>
                  <a:lnTo>
                    <a:pt x="343" y="161"/>
                  </a:lnTo>
                  <a:lnTo>
                    <a:pt x="344" y="163"/>
                  </a:lnTo>
                  <a:lnTo>
                    <a:pt x="345" y="164"/>
                  </a:lnTo>
                  <a:lnTo>
                    <a:pt x="348" y="168"/>
                  </a:lnTo>
                  <a:lnTo>
                    <a:pt x="352" y="172"/>
                  </a:lnTo>
                  <a:lnTo>
                    <a:pt x="354" y="175"/>
                  </a:lnTo>
                  <a:lnTo>
                    <a:pt x="354" y="176"/>
                  </a:lnTo>
                  <a:lnTo>
                    <a:pt x="355" y="183"/>
                  </a:lnTo>
                  <a:lnTo>
                    <a:pt x="356" y="188"/>
                  </a:lnTo>
                  <a:lnTo>
                    <a:pt x="356" y="190"/>
                  </a:lnTo>
                  <a:lnTo>
                    <a:pt x="356" y="191"/>
                  </a:lnTo>
                  <a:lnTo>
                    <a:pt x="355" y="192"/>
                  </a:lnTo>
                  <a:lnTo>
                    <a:pt x="355" y="193"/>
                  </a:lnTo>
                  <a:lnTo>
                    <a:pt x="354" y="193"/>
                  </a:lnTo>
                  <a:lnTo>
                    <a:pt x="353" y="194"/>
                  </a:lnTo>
                  <a:lnTo>
                    <a:pt x="352" y="194"/>
                  </a:lnTo>
                  <a:lnTo>
                    <a:pt x="350" y="194"/>
                  </a:lnTo>
                  <a:lnTo>
                    <a:pt x="348" y="194"/>
                  </a:lnTo>
                  <a:lnTo>
                    <a:pt x="342" y="194"/>
                  </a:lnTo>
                  <a:lnTo>
                    <a:pt x="339" y="194"/>
                  </a:lnTo>
                  <a:lnTo>
                    <a:pt x="338" y="194"/>
                  </a:lnTo>
                  <a:lnTo>
                    <a:pt x="337" y="194"/>
                  </a:lnTo>
                  <a:lnTo>
                    <a:pt x="336" y="195"/>
                  </a:lnTo>
                  <a:lnTo>
                    <a:pt x="335" y="196"/>
                  </a:lnTo>
                  <a:lnTo>
                    <a:pt x="334" y="196"/>
                  </a:lnTo>
                  <a:lnTo>
                    <a:pt x="333" y="198"/>
                  </a:lnTo>
                  <a:lnTo>
                    <a:pt x="332" y="199"/>
                  </a:lnTo>
                  <a:lnTo>
                    <a:pt x="332" y="200"/>
                  </a:lnTo>
                  <a:lnTo>
                    <a:pt x="332" y="203"/>
                  </a:lnTo>
                  <a:lnTo>
                    <a:pt x="332" y="207"/>
                  </a:lnTo>
                  <a:lnTo>
                    <a:pt x="332" y="209"/>
                  </a:lnTo>
                  <a:lnTo>
                    <a:pt x="332" y="210"/>
                  </a:lnTo>
                  <a:lnTo>
                    <a:pt x="330" y="211"/>
                  </a:lnTo>
                  <a:lnTo>
                    <a:pt x="322" y="216"/>
                  </a:lnTo>
                  <a:lnTo>
                    <a:pt x="319" y="217"/>
                  </a:lnTo>
                  <a:lnTo>
                    <a:pt x="315" y="219"/>
                  </a:lnTo>
                  <a:lnTo>
                    <a:pt x="311" y="223"/>
                  </a:lnTo>
                  <a:lnTo>
                    <a:pt x="300" y="231"/>
                  </a:lnTo>
                  <a:lnTo>
                    <a:pt x="296" y="234"/>
                  </a:lnTo>
                  <a:lnTo>
                    <a:pt x="294" y="236"/>
                  </a:lnTo>
                  <a:lnTo>
                    <a:pt x="293" y="238"/>
                  </a:lnTo>
                  <a:lnTo>
                    <a:pt x="292" y="239"/>
                  </a:lnTo>
                  <a:lnTo>
                    <a:pt x="291" y="240"/>
                  </a:lnTo>
                  <a:lnTo>
                    <a:pt x="291" y="241"/>
                  </a:lnTo>
                  <a:lnTo>
                    <a:pt x="291" y="243"/>
                  </a:lnTo>
                  <a:lnTo>
                    <a:pt x="291" y="244"/>
                  </a:lnTo>
                  <a:lnTo>
                    <a:pt x="291" y="245"/>
                  </a:lnTo>
                  <a:lnTo>
                    <a:pt x="291" y="246"/>
                  </a:lnTo>
                  <a:lnTo>
                    <a:pt x="291" y="247"/>
                  </a:lnTo>
                  <a:lnTo>
                    <a:pt x="293" y="250"/>
                  </a:lnTo>
                  <a:lnTo>
                    <a:pt x="294" y="252"/>
                  </a:lnTo>
                  <a:lnTo>
                    <a:pt x="294" y="253"/>
                  </a:lnTo>
                  <a:lnTo>
                    <a:pt x="295" y="257"/>
                  </a:lnTo>
                  <a:lnTo>
                    <a:pt x="295" y="260"/>
                  </a:lnTo>
                  <a:lnTo>
                    <a:pt x="296" y="261"/>
                  </a:lnTo>
                  <a:lnTo>
                    <a:pt x="298" y="265"/>
                  </a:lnTo>
                  <a:lnTo>
                    <a:pt x="298" y="266"/>
                  </a:lnTo>
                  <a:lnTo>
                    <a:pt x="299" y="268"/>
                  </a:lnTo>
                  <a:lnTo>
                    <a:pt x="299" y="270"/>
                  </a:lnTo>
                  <a:lnTo>
                    <a:pt x="300" y="275"/>
                  </a:lnTo>
                  <a:lnTo>
                    <a:pt x="301" y="285"/>
                  </a:lnTo>
                  <a:lnTo>
                    <a:pt x="302" y="299"/>
                  </a:lnTo>
                  <a:lnTo>
                    <a:pt x="302" y="304"/>
                  </a:lnTo>
                  <a:lnTo>
                    <a:pt x="302" y="307"/>
                  </a:lnTo>
                  <a:lnTo>
                    <a:pt x="303" y="310"/>
                  </a:lnTo>
                  <a:lnTo>
                    <a:pt x="304" y="313"/>
                  </a:lnTo>
                  <a:lnTo>
                    <a:pt x="305" y="317"/>
                  </a:lnTo>
                  <a:lnTo>
                    <a:pt x="306" y="318"/>
                  </a:lnTo>
                  <a:lnTo>
                    <a:pt x="307" y="320"/>
                  </a:lnTo>
                  <a:lnTo>
                    <a:pt x="310" y="324"/>
                  </a:lnTo>
                  <a:lnTo>
                    <a:pt x="312" y="326"/>
                  </a:lnTo>
                  <a:lnTo>
                    <a:pt x="313" y="328"/>
                  </a:lnTo>
                  <a:lnTo>
                    <a:pt x="314" y="329"/>
                  </a:lnTo>
                  <a:lnTo>
                    <a:pt x="315" y="330"/>
                  </a:lnTo>
                  <a:lnTo>
                    <a:pt x="317" y="330"/>
                  </a:lnTo>
                  <a:lnTo>
                    <a:pt x="319" y="331"/>
                  </a:lnTo>
                  <a:lnTo>
                    <a:pt x="320" y="331"/>
                  </a:lnTo>
                  <a:lnTo>
                    <a:pt x="325" y="332"/>
                  </a:lnTo>
                  <a:lnTo>
                    <a:pt x="342" y="334"/>
                  </a:lnTo>
                  <a:lnTo>
                    <a:pt x="344" y="334"/>
                  </a:lnTo>
                  <a:lnTo>
                    <a:pt x="346" y="334"/>
                  </a:lnTo>
                  <a:lnTo>
                    <a:pt x="348" y="334"/>
                  </a:lnTo>
                  <a:lnTo>
                    <a:pt x="350" y="334"/>
                  </a:lnTo>
                  <a:lnTo>
                    <a:pt x="352" y="333"/>
                  </a:lnTo>
                  <a:lnTo>
                    <a:pt x="355" y="332"/>
                  </a:lnTo>
                  <a:lnTo>
                    <a:pt x="360" y="330"/>
                  </a:lnTo>
                  <a:lnTo>
                    <a:pt x="364" y="329"/>
                  </a:lnTo>
                  <a:lnTo>
                    <a:pt x="366" y="329"/>
                  </a:lnTo>
                  <a:lnTo>
                    <a:pt x="371" y="325"/>
                  </a:lnTo>
                  <a:lnTo>
                    <a:pt x="374" y="324"/>
                  </a:lnTo>
                  <a:lnTo>
                    <a:pt x="375" y="323"/>
                  </a:lnTo>
                  <a:lnTo>
                    <a:pt x="376" y="322"/>
                  </a:lnTo>
                  <a:lnTo>
                    <a:pt x="377" y="321"/>
                  </a:lnTo>
                  <a:lnTo>
                    <a:pt x="380" y="318"/>
                  </a:lnTo>
                  <a:lnTo>
                    <a:pt x="382" y="317"/>
                  </a:lnTo>
                  <a:lnTo>
                    <a:pt x="382" y="316"/>
                  </a:lnTo>
                  <a:lnTo>
                    <a:pt x="383" y="316"/>
                  </a:lnTo>
                  <a:lnTo>
                    <a:pt x="384" y="316"/>
                  </a:lnTo>
                  <a:lnTo>
                    <a:pt x="385" y="316"/>
                  </a:lnTo>
                  <a:lnTo>
                    <a:pt x="386" y="317"/>
                  </a:lnTo>
                  <a:lnTo>
                    <a:pt x="387" y="317"/>
                  </a:lnTo>
                  <a:lnTo>
                    <a:pt x="388" y="318"/>
                  </a:lnTo>
                  <a:lnTo>
                    <a:pt x="389" y="318"/>
                  </a:lnTo>
                  <a:lnTo>
                    <a:pt x="390" y="321"/>
                  </a:lnTo>
                  <a:lnTo>
                    <a:pt x="393" y="329"/>
                  </a:lnTo>
                  <a:lnTo>
                    <a:pt x="393" y="330"/>
                  </a:lnTo>
                  <a:lnTo>
                    <a:pt x="394" y="333"/>
                  </a:lnTo>
                  <a:lnTo>
                    <a:pt x="403" y="344"/>
                  </a:lnTo>
                  <a:lnTo>
                    <a:pt x="405" y="348"/>
                  </a:lnTo>
                  <a:lnTo>
                    <a:pt x="408" y="350"/>
                  </a:lnTo>
                  <a:lnTo>
                    <a:pt x="410" y="352"/>
                  </a:lnTo>
                  <a:lnTo>
                    <a:pt x="412" y="353"/>
                  </a:lnTo>
                  <a:lnTo>
                    <a:pt x="416" y="355"/>
                  </a:lnTo>
                  <a:lnTo>
                    <a:pt x="419" y="356"/>
                  </a:lnTo>
                  <a:lnTo>
                    <a:pt x="430" y="361"/>
                  </a:lnTo>
                  <a:lnTo>
                    <a:pt x="432" y="362"/>
                  </a:lnTo>
                  <a:lnTo>
                    <a:pt x="436" y="362"/>
                  </a:lnTo>
                  <a:lnTo>
                    <a:pt x="437" y="363"/>
                  </a:lnTo>
                  <a:lnTo>
                    <a:pt x="439" y="363"/>
                  </a:lnTo>
                  <a:lnTo>
                    <a:pt x="439" y="364"/>
                  </a:lnTo>
                  <a:lnTo>
                    <a:pt x="440" y="364"/>
                  </a:lnTo>
                  <a:lnTo>
                    <a:pt x="441" y="366"/>
                  </a:lnTo>
                  <a:lnTo>
                    <a:pt x="441" y="369"/>
                  </a:lnTo>
                  <a:lnTo>
                    <a:pt x="441" y="372"/>
                  </a:lnTo>
                  <a:lnTo>
                    <a:pt x="439" y="379"/>
                  </a:lnTo>
                  <a:lnTo>
                    <a:pt x="438" y="398"/>
                  </a:lnTo>
                  <a:lnTo>
                    <a:pt x="438" y="400"/>
                  </a:lnTo>
                  <a:lnTo>
                    <a:pt x="437" y="407"/>
                  </a:lnTo>
                  <a:lnTo>
                    <a:pt x="436" y="409"/>
                  </a:lnTo>
                  <a:lnTo>
                    <a:pt x="435" y="412"/>
                  </a:lnTo>
                  <a:lnTo>
                    <a:pt x="434" y="413"/>
                  </a:lnTo>
                  <a:lnTo>
                    <a:pt x="433" y="413"/>
                  </a:lnTo>
                  <a:lnTo>
                    <a:pt x="432" y="413"/>
                  </a:lnTo>
                  <a:lnTo>
                    <a:pt x="430" y="413"/>
                  </a:lnTo>
                  <a:lnTo>
                    <a:pt x="428" y="411"/>
                  </a:lnTo>
                  <a:lnTo>
                    <a:pt x="427" y="410"/>
                  </a:lnTo>
                  <a:lnTo>
                    <a:pt x="425" y="410"/>
                  </a:lnTo>
                  <a:lnTo>
                    <a:pt x="424" y="410"/>
                  </a:lnTo>
                  <a:lnTo>
                    <a:pt x="423" y="410"/>
                  </a:lnTo>
                  <a:lnTo>
                    <a:pt x="421" y="410"/>
                  </a:lnTo>
                  <a:lnTo>
                    <a:pt x="420" y="410"/>
                  </a:lnTo>
                  <a:lnTo>
                    <a:pt x="418" y="411"/>
                  </a:lnTo>
                  <a:lnTo>
                    <a:pt x="416" y="412"/>
                  </a:lnTo>
                  <a:lnTo>
                    <a:pt x="415" y="413"/>
                  </a:lnTo>
                  <a:lnTo>
                    <a:pt x="414" y="415"/>
                  </a:lnTo>
                  <a:lnTo>
                    <a:pt x="412" y="417"/>
                  </a:lnTo>
                  <a:lnTo>
                    <a:pt x="411" y="419"/>
                  </a:lnTo>
                  <a:lnTo>
                    <a:pt x="410" y="420"/>
                  </a:lnTo>
                  <a:lnTo>
                    <a:pt x="409" y="422"/>
                  </a:lnTo>
                  <a:lnTo>
                    <a:pt x="409" y="424"/>
                  </a:lnTo>
                  <a:lnTo>
                    <a:pt x="410" y="426"/>
                  </a:lnTo>
                  <a:lnTo>
                    <a:pt x="410" y="428"/>
                  </a:lnTo>
                  <a:lnTo>
                    <a:pt x="411" y="430"/>
                  </a:lnTo>
                  <a:lnTo>
                    <a:pt x="413" y="432"/>
                  </a:lnTo>
                  <a:lnTo>
                    <a:pt x="414" y="433"/>
                  </a:lnTo>
                  <a:lnTo>
                    <a:pt x="416" y="435"/>
                  </a:lnTo>
                  <a:lnTo>
                    <a:pt x="417" y="437"/>
                  </a:lnTo>
                  <a:lnTo>
                    <a:pt x="419" y="439"/>
                  </a:lnTo>
                  <a:lnTo>
                    <a:pt x="421" y="440"/>
                  </a:lnTo>
                  <a:lnTo>
                    <a:pt x="423" y="441"/>
                  </a:lnTo>
                  <a:lnTo>
                    <a:pt x="425" y="442"/>
                  </a:lnTo>
                  <a:lnTo>
                    <a:pt x="427" y="443"/>
                  </a:lnTo>
                  <a:lnTo>
                    <a:pt x="430" y="443"/>
                  </a:lnTo>
                  <a:lnTo>
                    <a:pt x="436" y="444"/>
                  </a:lnTo>
                  <a:lnTo>
                    <a:pt x="439" y="445"/>
                  </a:lnTo>
                  <a:lnTo>
                    <a:pt x="439" y="446"/>
                  </a:lnTo>
                  <a:lnTo>
                    <a:pt x="437" y="448"/>
                  </a:lnTo>
                  <a:lnTo>
                    <a:pt x="435" y="450"/>
                  </a:lnTo>
                  <a:lnTo>
                    <a:pt x="433" y="451"/>
                  </a:lnTo>
                  <a:lnTo>
                    <a:pt x="432" y="451"/>
                  </a:lnTo>
                  <a:lnTo>
                    <a:pt x="430" y="452"/>
                  </a:lnTo>
                  <a:lnTo>
                    <a:pt x="428" y="452"/>
                  </a:lnTo>
                  <a:lnTo>
                    <a:pt x="427" y="453"/>
                  </a:lnTo>
                  <a:lnTo>
                    <a:pt x="426" y="454"/>
                  </a:lnTo>
                  <a:lnTo>
                    <a:pt x="425" y="454"/>
                  </a:lnTo>
                  <a:lnTo>
                    <a:pt x="425" y="455"/>
                  </a:lnTo>
                  <a:lnTo>
                    <a:pt x="426" y="457"/>
                  </a:lnTo>
                  <a:lnTo>
                    <a:pt x="427" y="458"/>
                  </a:lnTo>
                  <a:lnTo>
                    <a:pt x="428" y="459"/>
                  </a:lnTo>
                  <a:lnTo>
                    <a:pt x="428" y="460"/>
                  </a:lnTo>
                  <a:lnTo>
                    <a:pt x="428" y="461"/>
                  </a:lnTo>
                  <a:lnTo>
                    <a:pt x="428" y="461"/>
                  </a:lnTo>
                  <a:lnTo>
                    <a:pt x="427" y="462"/>
                  </a:lnTo>
                  <a:lnTo>
                    <a:pt x="426" y="463"/>
                  </a:lnTo>
                  <a:lnTo>
                    <a:pt x="420" y="470"/>
                  </a:lnTo>
                  <a:lnTo>
                    <a:pt x="418" y="473"/>
                  </a:lnTo>
                  <a:lnTo>
                    <a:pt x="417" y="474"/>
                  </a:lnTo>
                  <a:lnTo>
                    <a:pt x="416" y="474"/>
                  </a:lnTo>
                  <a:lnTo>
                    <a:pt x="411" y="477"/>
                  </a:lnTo>
                  <a:lnTo>
                    <a:pt x="409" y="479"/>
                  </a:lnTo>
                  <a:lnTo>
                    <a:pt x="405" y="481"/>
                  </a:lnTo>
                  <a:lnTo>
                    <a:pt x="403" y="483"/>
                  </a:lnTo>
                  <a:lnTo>
                    <a:pt x="399" y="485"/>
                  </a:lnTo>
                  <a:lnTo>
                    <a:pt x="395" y="486"/>
                  </a:lnTo>
                  <a:lnTo>
                    <a:pt x="393" y="487"/>
                  </a:lnTo>
                  <a:lnTo>
                    <a:pt x="390" y="488"/>
                  </a:lnTo>
                  <a:lnTo>
                    <a:pt x="387" y="488"/>
                  </a:lnTo>
                  <a:lnTo>
                    <a:pt x="386" y="488"/>
                  </a:lnTo>
                  <a:lnTo>
                    <a:pt x="384" y="487"/>
                  </a:lnTo>
                  <a:lnTo>
                    <a:pt x="382" y="486"/>
                  </a:lnTo>
                  <a:lnTo>
                    <a:pt x="378" y="485"/>
                  </a:lnTo>
                  <a:lnTo>
                    <a:pt x="375" y="484"/>
                  </a:lnTo>
                  <a:lnTo>
                    <a:pt x="371" y="483"/>
                  </a:lnTo>
                  <a:lnTo>
                    <a:pt x="367" y="482"/>
                  </a:lnTo>
                  <a:lnTo>
                    <a:pt x="363" y="481"/>
                  </a:lnTo>
                  <a:lnTo>
                    <a:pt x="350" y="479"/>
                  </a:lnTo>
                  <a:lnTo>
                    <a:pt x="348" y="479"/>
                  </a:lnTo>
                  <a:lnTo>
                    <a:pt x="346" y="479"/>
                  </a:lnTo>
                  <a:lnTo>
                    <a:pt x="344" y="479"/>
                  </a:lnTo>
                  <a:lnTo>
                    <a:pt x="341" y="479"/>
                  </a:lnTo>
                  <a:lnTo>
                    <a:pt x="339" y="480"/>
                  </a:lnTo>
                  <a:lnTo>
                    <a:pt x="337" y="481"/>
                  </a:lnTo>
                  <a:lnTo>
                    <a:pt x="332" y="483"/>
                  </a:lnTo>
                  <a:lnTo>
                    <a:pt x="327" y="486"/>
                  </a:lnTo>
                  <a:lnTo>
                    <a:pt x="325" y="487"/>
                  </a:lnTo>
                  <a:lnTo>
                    <a:pt x="321" y="489"/>
                  </a:lnTo>
                  <a:lnTo>
                    <a:pt x="319" y="490"/>
                  </a:lnTo>
                  <a:lnTo>
                    <a:pt x="317" y="491"/>
                  </a:lnTo>
                  <a:lnTo>
                    <a:pt x="316" y="491"/>
                  </a:lnTo>
                  <a:lnTo>
                    <a:pt x="313" y="492"/>
                  </a:lnTo>
                  <a:lnTo>
                    <a:pt x="311" y="492"/>
                  </a:lnTo>
                  <a:lnTo>
                    <a:pt x="310" y="492"/>
                  </a:lnTo>
                  <a:lnTo>
                    <a:pt x="308" y="492"/>
                  </a:lnTo>
                  <a:lnTo>
                    <a:pt x="306" y="492"/>
                  </a:lnTo>
                  <a:lnTo>
                    <a:pt x="302" y="491"/>
                  </a:lnTo>
                  <a:lnTo>
                    <a:pt x="296" y="488"/>
                  </a:lnTo>
                  <a:lnTo>
                    <a:pt x="294" y="488"/>
                  </a:lnTo>
                  <a:lnTo>
                    <a:pt x="291" y="488"/>
                  </a:lnTo>
                  <a:lnTo>
                    <a:pt x="286" y="488"/>
                  </a:lnTo>
                  <a:lnTo>
                    <a:pt x="283" y="487"/>
                  </a:lnTo>
                  <a:lnTo>
                    <a:pt x="281" y="488"/>
                  </a:lnTo>
                  <a:lnTo>
                    <a:pt x="279" y="488"/>
                  </a:lnTo>
                  <a:lnTo>
                    <a:pt x="274" y="488"/>
                  </a:lnTo>
                  <a:lnTo>
                    <a:pt x="271" y="489"/>
                  </a:lnTo>
                  <a:lnTo>
                    <a:pt x="268" y="489"/>
                  </a:lnTo>
                  <a:lnTo>
                    <a:pt x="265" y="489"/>
                  </a:lnTo>
                  <a:lnTo>
                    <a:pt x="264" y="489"/>
                  </a:lnTo>
                  <a:lnTo>
                    <a:pt x="262" y="488"/>
                  </a:lnTo>
                  <a:lnTo>
                    <a:pt x="261" y="488"/>
                  </a:lnTo>
                  <a:lnTo>
                    <a:pt x="260" y="488"/>
                  </a:lnTo>
                  <a:lnTo>
                    <a:pt x="258" y="487"/>
                  </a:lnTo>
                  <a:lnTo>
                    <a:pt x="258" y="486"/>
                  </a:lnTo>
                  <a:lnTo>
                    <a:pt x="257" y="485"/>
                  </a:lnTo>
                  <a:lnTo>
                    <a:pt x="257" y="483"/>
                  </a:lnTo>
                  <a:lnTo>
                    <a:pt x="257" y="481"/>
                  </a:lnTo>
                  <a:lnTo>
                    <a:pt x="256" y="479"/>
                  </a:lnTo>
                  <a:lnTo>
                    <a:pt x="257" y="473"/>
                  </a:lnTo>
                  <a:lnTo>
                    <a:pt x="257" y="468"/>
                  </a:lnTo>
                  <a:lnTo>
                    <a:pt x="257" y="466"/>
                  </a:lnTo>
                  <a:lnTo>
                    <a:pt x="257" y="465"/>
                  </a:lnTo>
                  <a:lnTo>
                    <a:pt x="256" y="464"/>
                  </a:lnTo>
                  <a:lnTo>
                    <a:pt x="255" y="462"/>
                  </a:lnTo>
                  <a:lnTo>
                    <a:pt x="254" y="461"/>
                  </a:lnTo>
                  <a:lnTo>
                    <a:pt x="252" y="459"/>
                  </a:lnTo>
                  <a:lnTo>
                    <a:pt x="250" y="457"/>
                  </a:lnTo>
                  <a:lnTo>
                    <a:pt x="247" y="455"/>
                  </a:lnTo>
                  <a:lnTo>
                    <a:pt x="246" y="454"/>
                  </a:lnTo>
                  <a:lnTo>
                    <a:pt x="242" y="453"/>
                  </a:lnTo>
                  <a:lnTo>
                    <a:pt x="238" y="452"/>
                  </a:lnTo>
                  <a:lnTo>
                    <a:pt x="235" y="451"/>
                  </a:lnTo>
                  <a:lnTo>
                    <a:pt x="233" y="451"/>
                  </a:lnTo>
                  <a:lnTo>
                    <a:pt x="232" y="451"/>
                  </a:lnTo>
                  <a:lnTo>
                    <a:pt x="233" y="452"/>
                  </a:lnTo>
                  <a:lnTo>
                    <a:pt x="234" y="462"/>
                  </a:lnTo>
                  <a:lnTo>
                    <a:pt x="235" y="465"/>
                  </a:lnTo>
                  <a:lnTo>
                    <a:pt x="235" y="467"/>
                  </a:lnTo>
                  <a:lnTo>
                    <a:pt x="235" y="471"/>
                  </a:lnTo>
                  <a:lnTo>
                    <a:pt x="235" y="472"/>
                  </a:lnTo>
                  <a:lnTo>
                    <a:pt x="235" y="474"/>
                  </a:lnTo>
                  <a:lnTo>
                    <a:pt x="234" y="477"/>
                  </a:lnTo>
                  <a:lnTo>
                    <a:pt x="234" y="478"/>
                  </a:lnTo>
                  <a:lnTo>
                    <a:pt x="234" y="480"/>
                  </a:lnTo>
                  <a:lnTo>
                    <a:pt x="233" y="481"/>
                  </a:lnTo>
                  <a:lnTo>
                    <a:pt x="231" y="483"/>
                  </a:lnTo>
                  <a:lnTo>
                    <a:pt x="229" y="485"/>
                  </a:lnTo>
                  <a:lnTo>
                    <a:pt x="227" y="486"/>
                  </a:lnTo>
                  <a:lnTo>
                    <a:pt x="226" y="487"/>
                  </a:lnTo>
                  <a:lnTo>
                    <a:pt x="225" y="488"/>
                  </a:lnTo>
                  <a:lnTo>
                    <a:pt x="223" y="488"/>
                  </a:lnTo>
                  <a:lnTo>
                    <a:pt x="223" y="488"/>
                  </a:lnTo>
                  <a:lnTo>
                    <a:pt x="223" y="487"/>
                  </a:lnTo>
                  <a:lnTo>
                    <a:pt x="221" y="487"/>
                  </a:lnTo>
                  <a:lnTo>
                    <a:pt x="216" y="485"/>
                  </a:lnTo>
                  <a:lnTo>
                    <a:pt x="213" y="483"/>
                  </a:lnTo>
                  <a:lnTo>
                    <a:pt x="210" y="482"/>
                  </a:lnTo>
                  <a:lnTo>
                    <a:pt x="208" y="481"/>
                  </a:lnTo>
                  <a:lnTo>
                    <a:pt x="207" y="481"/>
                  </a:lnTo>
                  <a:lnTo>
                    <a:pt x="206" y="481"/>
                  </a:lnTo>
                  <a:lnTo>
                    <a:pt x="204" y="481"/>
                  </a:lnTo>
                  <a:lnTo>
                    <a:pt x="201" y="483"/>
                  </a:lnTo>
                  <a:lnTo>
                    <a:pt x="199" y="484"/>
                  </a:lnTo>
                  <a:lnTo>
                    <a:pt x="197" y="485"/>
                  </a:lnTo>
                  <a:lnTo>
                    <a:pt x="196" y="486"/>
                  </a:lnTo>
                  <a:lnTo>
                    <a:pt x="195" y="486"/>
                  </a:lnTo>
                  <a:lnTo>
                    <a:pt x="194" y="486"/>
                  </a:lnTo>
                  <a:lnTo>
                    <a:pt x="193" y="485"/>
                  </a:lnTo>
                  <a:lnTo>
                    <a:pt x="190" y="484"/>
                  </a:lnTo>
                  <a:lnTo>
                    <a:pt x="189" y="483"/>
                  </a:lnTo>
                  <a:lnTo>
                    <a:pt x="188" y="483"/>
                  </a:lnTo>
                  <a:lnTo>
                    <a:pt x="184" y="483"/>
                  </a:lnTo>
                  <a:lnTo>
                    <a:pt x="180" y="482"/>
                  </a:lnTo>
                  <a:lnTo>
                    <a:pt x="177" y="482"/>
                  </a:lnTo>
                  <a:lnTo>
                    <a:pt x="176" y="482"/>
                  </a:lnTo>
                  <a:lnTo>
                    <a:pt x="175" y="482"/>
                  </a:lnTo>
                  <a:lnTo>
                    <a:pt x="169" y="483"/>
                  </a:lnTo>
                  <a:lnTo>
                    <a:pt x="166" y="484"/>
                  </a:lnTo>
                  <a:lnTo>
                    <a:pt x="160" y="485"/>
                  </a:lnTo>
                  <a:lnTo>
                    <a:pt x="151" y="485"/>
                  </a:lnTo>
                  <a:lnTo>
                    <a:pt x="146" y="485"/>
                  </a:lnTo>
                  <a:lnTo>
                    <a:pt x="143" y="485"/>
                  </a:lnTo>
                  <a:lnTo>
                    <a:pt x="142" y="484"/>
                  </a:lnTo>
                  <a:lnTo>
                    <a:pt x="141" y="484"/>
                  </a:lnTo>
                  <a:lnTo>
                    <a:pt x="140" y="484"/>
                  </a:lnTo>
                  <a:lnTo>
                    <a:pt x="140" y="483"/>
                  </a:lnTo>
                  <a:lnTo>
                    <a:pt x="141" y="483"/>
                  </a:lnTo>
                  <a:lnTo>
                    <a:pt x="141" y="482"/>
                  </a:lnTo>
                  <a:lnTo>
                    <a:pt x="142" y="482"/>
                  </a:lnTo>
                  <a:lnTo>
                    <a:pt x="142" y="481"/>
                  </a:lnTo>
                  <a:lnTo>
                    <a:pt x="142" y="480"/>
                  </a:lnTo>
                  <a:lnTo>
                    <a:pt x="142" y="479"/>
                  </a:lnTo>
                  <a:lnTo>
                    <a:pt x="141" y="477"/>
                  </a:lnTo>
                  <a:lnTo>
                    <a:pt x="141" y="476"/>
                  </a:lnTo>
                  <a:lnTo>
                    <a:pt x="140" y="475"/>
                  </a:lnTo>
                  <a:lnTo>
                    <a:pt x="136" y="468"/>
                  </a:lnTo>
                  <a:lnTo>
                    <a:pt x="134" y="465"/>
                  </a:lnTo>
                  <a:lnTo>
                    <a:pt x="133" y="463"/>
                  </a:lnTo>
                  <a:lnTo>
                    <a:pt x="132" y="461"/>
                  </a:lnTo>
                  <a:lnTo>
                    <a:pt x="132" y="458"/>
                  </a:lnTo>
                  <a:lnTo>
                    <a:pt x="132" y="456"/>
                  </a:lnTo>
                  <a:lnTo>
                    <a:pt x="131" y="454"/>
                  </a:lnTo>
                  <a:lnTo>
                    <a:pt x="131" y="451"/>
                  </a:lnTo>
                  <a:lnTo>
                    <a:pt x="131" y="449"/>
                  </a:lnTo>
                  <a:lnTo>
                    <a:pt x="131" y="447"/>
                  </a:lnTo>
                  <a:lnTo>
                    <a:pt x="132" y="445"/>
                  </a:lnTo>
                  <a:lnTo>
                    <a:pt x="132" y="441"/>
                  </a:lnTo>
                  <a:lnTo>
                    <a:pt x="133" y="438"/>
                  </a:lnTo>
                  <a:lnTo>
                    <a:pt x="134" y="435"/>
                  </a:lnTo>
                  <a:lnTo>
                    <a:pt x="134" y="433"/>
                  </a:lnTo>
                  <a:lnTo>
                    <a:pt x="134" y="431"/>
                  </a:lnTo>
                  <a:lnTo>
                    <a:pt x="133" y="424"/>
                  </a:lnTo>
                  <a:lnTo>
                    <a:pt x="133" y="422"/>
                  </a:lnTo>
                  <a:lnTo>
                    <a:pt x="134" y="421"/>
                  </a:lnTo>
                  <a:lnTo>
                    <a:pt x="134" y="420"/>
                  </a:lnTo>
                  <a:lnTo>
                    <a:pt x="134" y="420"/>
                  </a:lnTo>
                  <a:lnTo>
                    <a:pt x="135" y="418"/>
                  </a:lnTo>
                  <a:lnTo>
                    <a:pt x="138" y="415"/>
                  </a:lnTo>
                  <a:lnTo>
                    <a:pt x="142" y="409"/>
                  </a:lnTo>
                  <a:lnTo>
                    <a:pt x="144" y="408"/>
                  </a:lnTo>
                  <a:lnTo>
                    <a:pt x="145" y="406"/>
                  </a:lnTo>
                  <a:lnTo>
                    <a:pt x="147" y="405"/>
                  </a:lnTo>
                  <a:lnTo>
                    <a:pt x="151" y="402"/>
                  </a:lnTo>
                  <a:lnTo>
                    <a:pt x="151" y="401"/>
                  </a:lnTo>
                  <a:lnTo>
                    <a:pt x="152" y="400"/>
                  </a:lnTo>
                  <a:lnTo>
                    <a:pt x="154" y="398"/>
                  </a:lnTo>
                  <a:lnTo>
                    <a:pt x="155" y="397"/>
                  </a:lnTo>
                  <a:lnTo>
                    <a:pt x="155" y="395"/>
                  </a:lnTo>
                  <a:lnTo>
                    <a:pt x="156" y="392"/>
                  </a:lnTo>
                  <a:lnTo>
                    <a:pt x="157" y="387"/>
                  </a:lnTo>
                  <a:lnTo>
                    <a:pt x="158" y="385"/>
                  </a:lnTo>
                  <a:lnTo>
                    <a:pt x="158" y="382"/>
                  </a:lnTo>
                  <a:lnTo>
                    <a:pt x="159" y="372"/>
                  </a:lnTo>
                  <a:lnTo>
                    <a:pt x="159" y="370"/>
                  </a:lnTo>
                  <a:lnTo>
                    <a:pt x="159" y="365"/>
                  </a:lnTo>
                  <a:lnTo>
                    <a:pt x="159" y="363"/>
                  </a:lnTo>
                  <a:lnTo>
                    <a:pt x="159" y="362"/>
                  </a:lnTo>
                  <a:lnTo>
                    <a:pt x="160" y="360"/>
                  </a:lnTo>
                  <a:lnTo>
                    <a:pt x="162" y="352"/>
                  </a:lnTo>
                  <a:lnTo>
                    <a:pt x="163" y="350"/>
                  </a:lnTo>
                  <a:lnTo>
                    <a:pt x="163" y="349"/>
                  </a:lnTo>
                  <a:lnTo>
                    <a:pt x="163" y="346"/>
                  </a:lnTo>
                  <a:lnTo>
                    <a:pt x="163" y="343"/>
                  </a:lnTo>
                  <a:lnTo>
                    <a:pt x="162" y="340"/>
                  </a:lnTo>
                  <a:lnTo>
                    <a:pt x="162" y="338"/>
                  </a:lnTo>
                  <a:lnTo>
                    <a:pt x="162" y="337"/>
                  </a:lnTo>
                  <a:lnTo>
                    <a:pt x="162" y="336"/>
                  </a:lnTo>
                  <a:lnTo>
                    <a:pt x="163" y="336"/>
                  </a:lnTo>
                  <a:lnTo>
                    <a:pt x="164" y="335"/>
                  </a:lnTo>
                  <a:lnTo>
                    <a:pt x="166" y="335"/>
                  </a:lnTo>
                  <a:lnTo>
                    <a:pt x="167" y="335"/>
                  </a:lnTo>
                  <a:lnTo>
                    <a:pt x="169" y="335"/>
                  </a:lnTo>
                  <a:lnTo>
                    <a:pt x="171" y="335"/>
                  </a:lnTo>
                  <a:lnTo>
                    <a:pt x="173" y="335"/>
                  </a:lnTo>
                  <a:lnTo>
                    <a:pt x="177" y="337"/>
                  </a:lnTo>
                  <a:lnTo>
                    <a:pt x="183" y="339"/>
                  </a:lnTo>
                  <a:lnTo>
                    <a:pt x="186" y="341"/>
                  </a:lnTo>
                  <a:lnTo>
                    <a:pt x="194" y="345"/>
                  </a:lnTo>
                  <a:lnTo>
                    <a:pt x="197" y="346"/>
                  </a:lnTo>
                  <a:lnTo>
                    <a:pt x="200" y="347"/>
                  </a:lnTo>
                  <a:lnTo>
                    <a:pt x="202" y="348"/>
                  </a:lnTo>
                  <a:lnTo>
                    <a:pt x="206" y="349"/>
                  </a:lnTo>
                  <a:lnTo>
                    <a:pt x="209" y="349"/>
                  </a:lnTo>
                  <a:lnTo>
                    <a:pt x="211" y="349"/>
                  </a:lnTo>
                  <a:lnTo>
                    <a:pt x="212" y="348"/>
                  </a:lnTo>
                  <a:lnTo>
                    <a:pt x="214" y="348"/>
                  </a:lnTo>
                  <a:lnTo>
                    <a:pt x="215" y="347"/>
                  </a:lnTo>
                  <a:lnTo>
                    <a:pt x="217" y="346"/>
                  </a:lnTo>
                  <a:lnTo>
                    <a:pt x="220" y="343"/>
                  </a:lnTo>
                  <a:lnTo>
                    <a:pt x="221" y="342"/>
                  </a:lnTo>
                  <a:lnTo>
                    <a:pt x="227" y="338"/>
                  </a:lnTo>
                  <a:lnTo>
                    <a:pt x="228" y="337"/>
                  </a:lnTo>
                  <a:lnTo>
                    <a:pt x="230" y="335"/>
                  </a:lnTo>
                  <a:lnTo>
                    <a:pt x="231" y="333"/>
                  </a:lnTo>
                  <a:lnTo>
                    <a:pt x="232" y="331"/>
                  </a:lnTo>
                  <a:lnTo>
                    <a:pt x="233" y="330"/>
                  </a:lnTo>
                  <a:lnTo>
                    <a:pt x="234" y="328"/>
                  </a:lnTo>
                  <a:lnTo>
                    <a:pt x="234" y="325"/>
                  </a:lnTo>
                  <a:lnTo>
                    <a:pt x="234" y="323"/>
                  </a:lnTo>
                  <a:lnTo>
                    <a:pt x="234" y="321"/>
                  </a:lnTo>
                  <a:lnTo>
                    <a:pt x="234" y="318"/>
                  </a:lnTo>
                  <a:lnTo>
                    <a:pt x="232" y="310"/>
                  </a:lnTo>
                  <a:lnTo>
                    <a:pt x="231" y="304"/>
                  </a:lnTo>
                  <a:lnTo>
                    <a:pt x="231" y="301"/>
                  </a:lnTo>
                  <a:lnTo>
                    <a:pt x="230" y="298"/>
                  </a:lnTo>
                  <a:lnTo>
                    <a:pt x="228" y="296"/>
                  </a:lnTo>
                  <a:lnTo>
                    <a:pt x="226" y="294"/>
                  </a:lnTo>
                  <a:lnTo>
                    <a:pt x="223" y="291"/>
                  </a:lnTo>
                  <a:lnTo>
                    <a:pt x="223" y="290"/>
                  </a:lnTo>
                  <a:lnTo>
                    <a:pt x="223" y="289"/>
                  </a:lnTo>
                  <a:lnTo>
                    <a:pt x="222" y="287"/>
                  </a:lnTo>
                  <a:lnTo>
                    <a:pt x="222" y="286"/>
                  </a:lnTo>
                  <a:lnTo>
                    <a:pt x="222" y="284"/>
                  </a:lnTo>
                  <a:lnTo>
                    <a:pt x="223" y="283"/>
                  </a:lnTo>
                  <a:lnTo>
                    <a:pt x="223" y="282"/>
                  </a:lnTo>
                  <a:lnTo>
                    <a:pt x="223" y="281"/>
                  </a:lnTo>
                  <a:lnTo>
                    <a:pt x="224" y="279"/>
                  </a:lnTo>
                  <a:lnTo>
                    <a:pt x="226" y="277"/>
                  </a:lnTo>
                  <a:lnTo>
                    <a:pt x="228" y="275"/>
                  </a:lnTo>
                  <a:lnTo>
                    <a:pt x="230" y="274"/>
                  </a:lnTo>
                  <a:lnTo>
                    <a:pt x="233" y="273"/>
                  </a:lnTo>
                  <a:lnTo>
                    <a:pt x="244" y="266"/>
                  </a:lnTo>
                  <a:lnTo>
                    <a:pt x="249" y="263"/>
                  </a:lnTo>
                  <a:lnTo>
                    <a:pt x="253" y="261"/>
                  </a:lnTo>
                  <a:lnTo>
                    <a:pt x="255" y="260"/>
                  </a:lnTo>
                  <a:lnTo>
                    <a:pt x="256" y="258"/>
                  </a:lnTo>
                  <a:lnTo>
                    <a:pt x="257" y="257"/>
                  </a:lnTo>
                  <a:lnTo>
                    <a:pt x="258" y="256"/>
                  </a:lnTo>
                  <a:lnTo>
                    <a:pt x="259" y="254"/>
                  </a:lnTo>
                  <a:lnTo>
                    <a:pt x="260" y="252"/>
                  </a:lnTo>
                  <a:lnTo>
                    <a:pt x="261" y="250"/>
                  </a:lnTo>
                  <a:lnTo>
                    <a:pt x="261" y="249"/>
                  </a:lnTo>
                  <a:lnTo>
                    <a:pt x="261" y="246"/>
                  </a:lnTo>
                  <a:lnTo>
                    <a:pt x="261" y="244"/>
                  </a:lnTo>
                  <a:lnTo>
                    <a:pt x="261" y="243"/>
                  </a:lnTo>
                  <a:lnTo>
                    <a:pt x="260" y="241"/>
                  </a:lnTo>
                  <a:lnTo>
                    <a:pt x="260" y="240"/>
                  </a:lnTo>
                  <a:lnTo>
                    <a:pt x="259" y="239"/>
                  </a:lnTo>
                  <a:lnTo>
                    <a:pt x="258" y="238"/>
                  </a:lnTo>
                  <a:lnTo>
                    <a:pt x="257" y="236"/>
                  </a:lnTo>
                  <a:lnTo>
                    <a:pt x="255" y="233"/>
                  </a:lnTo>
                  <a:lnTo>
                    <a:pt x="253" y="230"/>
                  </a:lnTo>
                  <a:lnTo>
                    <a:pt x="251" y="229"/>
                  </a:lnTo>
                  <a:lnTo>
                    <a:pt x="248" y="228"/>
                  </a:lnTo>
                  <a:lnTo>
                    <a:pt x="241" y="222"/>
                  </a:lnTo>
                  <a:lnTo>
                    <a:pt x="239" y="220"/>
                  </a:lnTo>
                  <a:lnTo>
                    <a:pt x="237" y="219"/>
                  </a:lnTo>
                  <a:lnTo>
                    <a:pt x="235" y="217"/>
                  </a:lnTo>
                  <a:lnTo>
                    <a:pt x="234" y="216"/>
                  </a:lnTo>
                  <a:lnTo>
                    <a:pt x="228" y="208"/>
                  </a:lnTo>
                  <a:lnTo>
                    <a:pt x="227" y="206"/>
                  </a:lnTo>
                  <a:lnTo>
                    <a:pt x="226" y="205"/>
                  </a:lnTo>
                  <a:lnTo>
                    <a:pt x="223" y="204"/>
                  </a:lnTo>
                  <a:lnTo>
                    <a:pt x="221" y="202"/>
                  </a:lnTo>
                  <a:lnTo>
                    <a:pt x="218" y="201"/>
                  </a:lnTo>
                  <a:lnTo>
                    <a:pt x="212" y="197"/>
                  </a:lnTo>
                  <a:lnTo>
                    <a:pt x="208" y="195"/>
                  </a:lnTo>
                  <a:lnTo>
                    <a:pt x="200" y="193"/>
                  </a:lnTo>
                  <a:lnTo>
                    <a:pt x="196" y="192"/>
                  </a:lnTo>
                  <a:lnTo>
                    <a:pt x="194" y="191"/>
                  </a:lnTo>
                  <a:lnTo>
                    <a:pt x="192" y="190"/>
                  </a:lnTo>
                  <a:lnTo>
                    <a:pt x="190" y="188"/>
                  </a:lnTo>
                  <a:lnTo>
                    <a:pt x="189" y="187"/>
                  </a:lnTo>
                  <a:lnTo>
                    <a:pt x="187" y="185"/>
                  </a:lnTo>
                  <a:lnTo>
                    <a:pt x="185" y="183"/>
                  </a:lnTo>
                  <a:lnTo>
                    <a:pt x="184" y="182"/>
                  </a:lnTo>
                  <a:lnTo>
                    <a:pt x="182" y="179"/>
                  </a:lnTo>
                  <a:lnTo>
                    <a:pt x="181" y="177"/>
                  </a:lnTo>
                  <a:lnTo>
                    <a:pt x="179" y="171"/>
                  </a:lnTo>
                  <a:lnTo>
                    <a:pt x="178" y="170"/>
                  </a:lnTo>
                  <a:lnTo>
                    <a:pt x="177" y="169"/>
                  </a:lnTo>
                  <a:lnTo>
                    <a:pt x="176" y="168"/>
                  </a:lnTo>
                  <a:lnTo>
                    <a:pt x="175" y="167"/>
                  </a:lnTo>
                  <a:lnTo>
                    <a:pt x="173" y="166"/>
                  </a:lnTo>
                  <a:lnTo>
                    <a:pt x="167" y="165"/>
                  </a:lnTo>
                  <a:lnTo>
                    <a:pt x="165" y="164"/>
                  </a:lnTo>
                  <a:lnTo>
                    <a:pt x="162" y="163"/>
                  </a:lnTo>
                  <a:lnTo>
                    <a:pt x="159" y="161"/>
                  </a:lnTo>
                  <a:lnTo>
                    <a:pt x="152" y="155"/>
                  </a:lnTo>
                  <a:lnTo>
                    <a:pt x="148" y="152"/>
                  </a:lnTo>
                  <a:lnTo>
                    <a:pt x="142" y="148"/>
                  </a:lnTo>
                  <a:lnTo>
                    <a:pt x="140" y="147"/>
                  </a:lnTo>
                  <a:lnTo>
                    <a:pt x="138" y="146"/>
                  </a:lnTo>
                  <a:lnTo>
                    <a:pt x="137" y="144"/>
                  </a:lnTo>
                  <a:lnTo>
                    <a:pt x="136" y="143"/>
                  </a:lnTo>
                  <a:lnTo>
                    <a:pt x="135" y="141"/>
                  </a:lnTo>
                  <a:lnTo>
                    <a:pt x="135" y="140"/>
                  </a:lnTo>
                  <a:lnTo>
                    <a:pt x="135" y="139"/>
                  </a:lnTo>
                  <a:lnTo>
                    <a:pt x="135" y="138"/>
                  </a:lnTo>
                  <a:lnTo>
                    <a:pt x="135" y="137"/>
                  </a:lnTo>
                  <a:lnTo>
                    <a:pt x="134" y="137"/>
                  </a:lnTo>
                  <a:lnTo>
                    <a:pt x="132" y="137"/>
                  </a:lnTo>
                  <a:lnTo>
                    <a:pt x="124" y="139"/>
                  </a:lnTo>
                  <a:lnTo>
                    <a:pt x="116" y="141"/>
                  </a:lnTo>
                  <a:lnTo>
                    <a:pt x="113" y="141"/>
                  </a:lnTo>
                  <a:lnTo>
                    <a:pt x="109" y="142"/>
                  </a:lnTo>
                  <a:lnTo>
                    <a:pt x="104" y="142"/>
                  </a:lnTo>
                  <a:lnTo>
                    <a:pt x="100" y="142"/>
                  </a:lnTo>
                  <a:lnTo>
                    <a:pt x="98" y="143"/>
                  </a:lnTo>
                  <a:lnTo>
                    <a:pt x="96" y="144"/>
                  </a:lnTo>
                  <a:lnTo>
                    <a:pt x="90" y="146"/>
                  </a:lnTo>
                  <a:lnTo>
                    <a:pt x="89" y="147"/>
                  </a:lnTo>
                  <a:lnTo>
                    <a:pt x="87" y="148"/>
                  </a:lnTo>
                  <a:lnTo>
                    <a:pt x="86" y="149"/>
                  </a:lnTo>
                  <a:lnTo>
                    <a:pt x="82" y="154"/>
                  </a:lnTo>
                  <a:lnTo>
                    <a:pt x="81" y="154"/>
                  </a:lnTo>
                  <a:lnTo>
                    <a:pt x="79" y="156"/>
                  </a:lnTo>
                  <a:lnTo>
                    <a:pt x="76" y="157"/>
                  </a:lnTo>
                  <a:lnTo>
                    <a:pt x="73" y="158"/>
                  </a:lnTo>
                  <a:lnTo>
                    <a:pt x="69" y="159"/>
                  </a:lnTo>
                  <a:lnTo>
                    <a:pt x="63" y="160"/>
                  </a:lnTo>
                  <a:lnTo>
                    <a:pt x="61" y="160"/>
                  </a:lnTo>
                  <a:lnTo>
                    <a:pt x="59" y="160"/>
                  </a:lnTo>
                  <a:lnTo>
                    <a:pt x="58" y="160"/>
                  </a:lnTo>
                  <a:lnTo>
                    <a:pt x="57" y="161"/>
                  </a:lnTo>
                  <a:lnTo>
                    <a:pt x="54" y="163"/>
                  </a:lnTo>
                  <a:lnTo>
                    <a:pt x="52" y="165"/>
                  </a:lnTo>
                  <a:lnTo>
                    <a:pt x="49" y="167"/>
                  </a:lnTo>
                  <a:lnTo>
                    <a:pt x="48" y="168"/>
                  </a:lnTo>
                  <a:lnTo>
                    <a:pt x="44" y="170"/>
                  </a:lnTo>
                  <a:lnTo>
                    <a:pt x="37" y="172"/>
                  </a:lnTo>
                  <a:lnTo>
                    <a:pt x="35" y="173"/>
                  </a:lnTo>
                  <a:lnTo>
                    <a:pt x="34" y="174"/>
                  </a:lnTo>
                  <a:lnTo>
                    <a:pt x="33" y="174"/>
                  </a:lnTo>
                  <a:lnTo>
                    <a:pt x="33" y="175"/>
                  </a:lnTo>
                  <a:lnTo>
                    <a:pt x="33" y="174"/>
                  </a:lnTo>
                  <a:lnTo>
                    <a:pt x="35" y="165"/>
                  </a:lnTo>
                  <a:lnTo>
                    <a:pt x="36" y="160"/>
                  </a:lnTo>
                  <a:lnTo>
                    <a:pt x="37" y="156"/>
                  </a:lnTo>
                  <a:lnTo>
                    <a:pt x="37" y="153"/>
                  </a:lnTo>
                  <a:lnTo>
                    <a:pt x="37" y="151"/>
                  </a:lnTo>
                  <a:lnTo>
                    <a:pt x="36" y="148"/>
                  </a:lnTo>
                  <a:lnTo>
                    <a:pt x="36" y="148"/>
                  </a:lnTo>
                  <a:lnTo>
                    <a:pt x="35" y="147"/>
                  </a:lnTo>
                  <a:lnTo>
                    <a:pt x="34" y="145"/>
                  </a:lnTo>
                  <a:lnTo>
                    <a:pt x="33" y="144"/>
                  </a:lnTo>
                  <a:lnTo>
                    <a:pt x="31" y="143"/>
                  </a:lnTo>
                  <a:lnTo>
                    <a:pt x="30" y="143"/>
                  </a:lnTo>
                  <a:lnTo>
                    <a:pt x="29" y="142"/>
                  </a:lnTo>
                  <a:lnTo>
                    <a:pt x="26" y="142"/>
                  </a:lnTo>
                  <a:lnTo>
                    <a:pt x="23" y="142"/>
                  </a:lnTo>
                  <a:lnTo>
                    <a:pt x="19" y="142"/>
                  </a:lnTo>
                  <a:lnTo>
                    <a:pt x="15" y="142"/>
                  </a:lnTo>
                  <a:lnTo>
                    <a:pt x="8" y="144"/>
                  </a:lnTo>
                  <a:lnTo>
                    <a:pt x="7" y="144"/>
                  </a:lnTo>
                  <a:lnTo>
                    <a:pt x="5" y="144"/>
                  </a:lnTo>
                  <a:lnTo>
                    <a:pt x="4" y="143"/>
                  </a:lnTo>
                  <a:lnTo>
                    <a:pt x="3" y="143"/>
                  </a:lnTo>
                  <a:lnTo>
                    <a:pt x="2" y="142"/>
                  </a:lnTo>
                  <a:lnTo>
                    <a:pt x="1" y="142"/>
                  </a:lnTo>
                  <a:lnTo>
                    <a:pt x="1" y="141"/>
                  </a:lnTo>
                  <a:lnTo>
                    <a:pt x="0" y="140"/>
                  </a:lnTo>
                  <a:lnTo>
                    <a:pt x="0" y="139"/>
                  </a:lnTo>
                  <a:lnTo>
                    <a:pt x="0" y="138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3" y="134"/>
                  </a:lnTo>
                  <a:lnTo>
                    <a:pt x="4" y="133"/>
                  </a:lnTo>
                  <a:lnTo>
                    <a:pt x="9" y="129"/>
                  </a:lnTo>
                  <a:lnTo>
                    <a:pt x="10" y="128"/>
                  </a:lnTo>
                  <a:lnTo>
                    <a:pt x="12" y="126"/>
                  </a:lnTo>
                  <a:lnTo>
                    <a:pt x="13" y="125"/>
                  </a:lnTo>
                  <a:lnTo>
                    <a:pt x="14" y="123"/>
                  </a:lnTo>
                  <a:lnTo>
                    <a:pt x="15" y="121"/>
                  </a:lnTo>
                  <a:lnTo>
                    <a:pt x="16" y="119"/>
                  </a:lnTo>
                  <a:lnTo>
                    <a:pt x="16" y="117"/>
                  </a:lnTo>
                  <a:lnTo>
                    <a:pt x="16" y="116"/>
                  </a:lnTo>
                  <a:lnTo>
                    <a:pt x="15" y="114"/>
                  </a:lnTo>
                  <a:lnTo>
                    <a:pt x="14" y="112"/>
                  </a:lnTo>
                  <a:lnTo>
                    <a:pt x="13" y="111"/>
                  </a:lnTo>
                  <a:lnTo>
                    <a:pt x="12" y="109"/>
                  </a:lnTo>
                  <a:lnTo>
                    <a:pt x="7" y="103"/>
                  </a:lnTo>
                  <a:lnTo>
                    <a:pt x="7" y="101"/>
                  </a:lnTo>
                  <a:lnTo>
                    <a:pt x="6" y="101"/>
                  </a:lnTo>
                  <a:lnTo>
                    <a:pt x="6" y="100"/>
                  </a:lnTo>
                  <a:lnTo>
                    <a:pt x="6" y="99"/>
                  </a:lnTo>
                  <a:lnTo>
                    <a:pt x="6" y="98"/>
                  </a:lnTo>
                  <a:lnTo>
                    <a:pt x="7" y="97"/>
                  </a:lnTo>
                  <a:lnTo>
                    <a:pt x="7" y="96"/>
                  </a:lnTo>
                  <a:lnTo>
                    <a:pt x="7" y="95"/>
                  </a:lnTo>
                  <a:lnTo>
                    <a:pt x="11" y="92"/>
                  </a:lnTo>
                  <a:lnTo>
                    <a:pt x="19" y="86"/>
                  </a:lnTo>
                  <a:lnTo>
                    <a:pt x="20" y="85"/>
                  </a:lnTo>
                  <a:lnTo>
                    <a:pt x="22" y="84"/>
                  </a:lnTo>
                  <a:lnTo>
                    <a:pt x="27" y="82"/>
                  </a:lnTo>
                  <a:lnTo>
                    <a:pt x="28" y="82"/>
                  </a:lnTo>
                  <a:lnTo>
                    <a:pt x="29" y="81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1" y="79"/>
                  </a:lnTo>
                  <a:lnTo>
                    <a:pt x="31" y="77"/>
                  </a:lnTo>
                  <a:lnTo>
                    <a:pt x="31" y="76"/>
                  </a:lnTo>
                  <a:lnTo>
                    <a:pt x="32" y="73"/>
                  </a:lnTo>
                  <a:lnTo>
                    <a:pt x="32" y="67"/>
                  </a:lnTo>
                  <a:lnTo>
                    <a:pt x="31" y="59"/>
                  </a:lnTo>
                  <a:lnTo>
                    <a:pt x="31" y="57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32" y="50"/>
                  </a:lnTo>
                  <a:lnTo>
                    <a:pt x="32" y="49"/>
                  </a:lnTo>
                  <a:lnTo>
                    <a:pt x="33" y="48"/>
                  </a:lnTo>
                  <a:lnTo>
                    <a:pt x="34" y="46"/>
                  </a:lnTo>
                  <a:lnTo>
                    <a:pt x="35" y="46"/>
                  </a:lnTo>
                  <a:lnTo>
                    <a:pt x="36" y="46"/>
                  </a:lnTo>
                  <a:lnTo>
                    <a:pt x="38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1" y="45"/>
                  </a:lnTo>
                  <a:lnTo>
                    <a:pt x="42" y="46"/>
                  </a:lnTo>
                  <a:lnTo>
                    <a:pt x="43" y="46"/>
                  </a:lnTo>
                  <a:lnTo>
                    <a:pt x="44" y="46"/>
                  </a:lnTo>
                  <a:lnTo>
                    <a:pt x="46" y="47"/>
                  </a:lnTo>
                  <a:lnTo>
                    <a:pt x="50" y="50"/>
                  </a:lnTo>
                  <a:lnTo>
                    <a:pt x="52" y="52"/>
                  </a:lnTo>
                  <a:lnTo>
                    <a:pt x="54" y="53"/>
                  </a:lnTo>
                  <a:lnTo>
                    <a:pt x="55" y="54"/>
                  </a:lnTo>
                  <a:lnTo>
                    <a:pt x="56" y="54"/>
                  </a:lnTo>
                  <a:lnTo>
                    <a:pt x="57" y="54"/>
                  </a:lnTo>
                  <a:lnTo>
                    <a:pt x="59" y="54"/>
                  </a:lnTo>
                  <a:lnTo>
                    <a:pt x="60" y="53"/>
                  </a:lnTo>
                  <a:lnTo>
                    <a:pt x="64" y="52"/>
                  </a:lnTo>
                  <a:lnTo>
                    <a:pt x="65" y="51"/>
                  </a:lnTo>
                  <a:lnTo>
                    <a:pt x="67" y="51"/>
                  </a:lnTo>
                  <a:lnTo>
                    <a:pt x="70" y="50"/>
                  </a:lnTo>
                  <a:lnTo>
                    <a:pt x="76" y="50"/>
                  </a:lnTo>
                  <a:lnTo>
                    <a:pt x="79" y="50"/>
                  </a:lnTo>
                  <a:lnTo>
                    <a:pt x="81" y="50"/>
                  </a:lnTo>
                  <a:lnTo>
                    <a:pt x="83" y="50"/>
                  </a:lnTo>
                  <a:lnTo>
                    <a:pt x="85" y="51"/>
                  </a:lnTo>
                  <a:lnTo>
                    <a:pt x="86" y="52"/>
                  </a:lnTo>
                  <a:lnTo>
                    <a:pt x="87" y="54"/>
                  </a:lnTo>
                  <a:lnTo>
                    <a:pt x="90" y="57"/>
                  </a:lnTo>
                  <a:lnTo>
                    <a:pt x="92" y="58"/>
                  </a:lnTo>
                  <a:lnTo>
                    <a:pt x="94" y="59"/>
                  </a:lnTo>
                  <a:lnTo>
                    <a:pt x="97" y="61"/>
                  </a:lnTo>
                  <a:lnTo>
                    <a:pt x="98" y="62"/>
                  </a:lnTo>
                  <a:lnTo>
                    <a:pt x="99" y="64"/>
                  </a:lnTo>
                  <a:lnTo>
                    <a:pt x="102" y="67"/>
                  </a:lnTo>
                  <a:lnTo>
                    <a:pt x="103" y="69"/>
                  </a:lnTo>
                  <a:lnTo>
                    <a:pt x="105" y="70"/>
                  </a:lnTo>
                  <a:lnTo>
                    <a:pt x="107" y="72"/>
                  </a:lnTo>
                  <a:lnTo>
                    <a:pt x="109" y="74"/>
                  </a:lnTo>
                  <a:lnTo>
                    <a:pt x="110" y="75"/>
                  </a:lnTo>
                  <a:lnTo>
                    <a:pt x="115" y="78"/>
                  </a:lnTo>
                  <a:lnTo>
                    <a:pt x="118" y="79"/>
                  </a:lnTo>
                  <a:lnTo>
                    <a:pt x="130" y="83"/>
                  </a:lnTo>
                  <a:lnTo>
                    <a:pt x="133" y="84"/>
                  </a:lnTo>
                  <a:lnTo>
                    <a:pt x="140" y="86"/>
                  </a:lnTo>
                  <a:lnTo>
                    <a:pt x="144" y="87"/>
                  </a:lnTo>
                  <a:lnTo>
                    <a:pt x="155" y="91"/>
                  </a:lnTo>
                  <a:lnTo>
                    <a:pt x="158" y="92"/>
                  </a:lnTo>
                  <a:lnTo>
                    <a:pt x="167" y="95"/>
                  </a:lnTo>
                  <a:lnTo>
                    <a:pt x="170" y="96"/>
                  </a:lnTo>
                  <a:lnTo>
                    <a:pt x="172" y="97"/>
                  </a:lnTo>
                  <a:lnTo>
                    <a:pt x="174" y="97"/>
                  </a:lnTo>
                  <a:lnTo>
                    <a:pt x="175" y="97"/>
                  </a:lnTo>
                  <a:lnTo>
                    <a:pt x="177" y="97"/>
                  </a:lnTo>
                  <a:lnTo>
                    <a:pt x="179" y="96"/>
                  </a:lnTo>
                  <a:lnTo>
                    <a:pt x="181" y="95"/>
                  </a:lnTo>
                  <a:lnTo>
                    <a:pt x="183" y="94"/>
                  </a:lnTo>
                  <a:lnTo>
                    <a:pt x="185" y="92"/>
                  </a:lnTo>
                  <a:lnTo>
                    <a:pt x="188" y="91"/>
                  </a:lnTo>
                  <a:lnTo>
                    <a:pt x="189" y="90"/>
                  </a:lnTo>
                  <a:lnTo>
                    <a:pt x="189" y="88"/>
                  </a:lnTo>
                  <a:lnTo>
                    <a:pt x="190" y="87"/>
                  </a:lnTo>
                  <a:lnTo>
                    <a:pt x="191" y="85"/>
                  </a:lnTo>
                  <a:lnTo>
                    <a:pt x="193" y="80"/>
                  </a:lnTo>
                  <a:lnTo>
                    <a:pt x="194" y="78"/>
                  </a:lnTo>
                  <a:lnTo>
                    <a:pt x="194" y="76"/>
                  </a:lnTo>
                  <a:lnTo>
                    <a:pt x="194" y="74"/>
                  </a:lnTo>
                  <a:lnTo>
                    <a:pt x="194" y="72"/>
                  </a:lnTo>
                  <a:lnTo>
                    <a:pt x="194" y="67"/>
                  </a:lnTo>
                  <a:lnTo>
                    <a:pt x="194" y="65"/>
                  </a:lnTo>
                  <a:lnTo>
                    <a:pt x="194" y="62"/>
                  </a:lnTo>
                  <a:lnTo>
                    <a:pt x="195" y="59"/>
                  </a:lnTo>
                  <a:lnTo>
                    <a:pt x="196" y="57"/>
                  </a:lnTo>
                  <a:lnTo>
                    <a:pt x="197" y="55"/>
                  </a:lnTo>
                  <a:lnTo>
                    <a:pt x="203" y="43"/>
                  </a:lnTo>
                  <a:lnTo>
                    <a:pt x="206" y="38"/>
                  </a:lnTo>
                  <a:lnTo>
                    <a:pt x="208" y="35"/>
                  </a:lnTo>
                  <a:lnTo>
                    <a:pt x="209" y="32"/>
                  </a:lnTo>
                  <a:lnTo>
                    <a:pt x="210" y="30"/>
                  </a:lnTo>
                  <a:lnTo>
                    <a:pt x="212" y="23"/>
                  </a:lnTo>
                  <a:lnTo>
                    <a:pt x="212" y="22"/>
                  </a:lnTo>
                  <a:lnTo>
                    <a:pt x="212" y="21"/>
                  </a:lnTo>
                  <a:lnTo>
                    <a:pt x="213" y="19"/>
                  </a:lnTo>
                  <a:lnTo>
                    <a:pt x="215" y="17"/>
                  </a:lnTo>
                  <a:lnTo>
                    <a:pt x="222" y="12"/>
                  </a:lnTo>
                  <a:lnTo>
                    <a:pt x="227" y="8"/>
                  </a:lnTo>
                  <a:lnTo>
                    <a:pt x="233" y="2"/>
                  </a:lnTo>
                  <a:lnTo>
                    <a:pt x="234" y="1"/>
                  </a:lnTo>
                  <a:lnTo>
                    <a:pt x="235" y="1"/>
                  </a:lnTo>
                  <a:lnTo>
                    <a:pt x="237" y="0"/>
                  </a:lnTo>
                  <a:lnTo>
                    <a:pt x="238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8" name="Freeform 15">
              <a:extLst>
                <a:ext uri="{FF2B5EF4-FFF2-40B4-BE49-F238E27FC236}">
                  <a16:creationId xmlns:a16="http://schemas.microsoft.com/office/drawing/2014/main" id="{BA31A070-459F-41F8-B629-5D4D6BCCA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2" y="1972"/>
              <a:ext cx="340" cy="507"/>
            </a:xfrm>
            <a:custGeom>
              <a:avLst/>
              <a:gdLst>
                <a:gd name="T0" fmla="*/ 151 w 340"/>
                <a:gd name="T1" fmla="*/ 4 h 507"/>
                <a:gd name="T2" fmla="*/ 172 w 340"/>
                <a:gd name="T3" fmla="*/ 4 h 507"/>
                <a:gd name="T4" fmla="*/ 193 w 340"/>
                <a:gd name="T5" fmla="*/ 25 h 507"/>
                <a:gd name="T6" fmla="*/ 177 w 340"/>
                <a:gd name="T7" fmla="*/ 46 h 507"/>
                <a:gd name="T8" fmla="*/ 196 w 340"/>
                <a:gd name="T9" fmla="*/ 50 h 507"/>
                <a:gd name="T10" fmla="*/ 214 w 340"/>
                <a:gd name="T11" fmla="*/ 61 h 507"/>
                <a:gd name="T12" fmla="*/ 189 w 340"/>
                <a:gd name="T13" fmla="*/ 85 h 507"/>
                <a:gd name="T14" fmla="*/ 176 w 340"/>
                <a:gd name="T15" fmla="*/ 109 h 507"/>
                <a:gd name="T16" fmla="*/ 147 w 340"/>
                <a:gd name="T17" fmla="*/ 107 h 507"/>
                <a:gd name="T18" fmla="*/ 114 w 340"/>
                <a:gd name="T19" fmla="*/ 114 h 507"/>
                <a:gd name="T20" fmla="*/ 87 w 340"/>
                <a:gd name="T21" fmla="*/ 129 h 507"/>
                <a:gd name="T22" fmla="*/ 117 w 340"/>
                <a:gd name="T23" fmla="*/ 156 h 507"/>
                <a:gd name="T24" fmla="*/ 104 w 340"/>
                <a:gd name="T25" fmla="*/ 174 h 507"/>
                <a:gd name="T26" fmla="*/ 115 w 340"/>
                <a:gd name="T27" fmla="*/ 204 h 507"/>
                <a:gd name="T28" fmla="*/ 140 w 340"/>
                <a:gd name="T29" fmla="*/ 236 h 507"/>
                <a:gd name="T30" fmla="*/ 141 w 340"/>
                <a:gd name="T31" fmla="*/ 256 h 507"/>
                <a:gd name="T32" fmla="*/ 161 w 340"/>
                <a:gd name="T33" fmla="*/ 272 h 507"/>
                <a:gd name="T34" fmla="*/ 162 w 340"/>
                <a:gd name="T35" fmla="*/ 291 h 507"/>
                <a:gd name="T36" fmla="*/ 168 w 340"/>
                <a:gd name="T37" fmla="*/ 310 h 507"/>
                <a:gd name="T38" fmla="*/ 201 w 340"/>
                <a:gd name="T39" fmla="*/ 314 h 507"/>
                <a:gd name="T40" fmla="*/ 218 w 340"/>
                <a:gd name="T41" fmla="*/ 294 h 507"/>
                <a:gd name="T42" fmla="*/ 277 w 340"/>
                <a:gd name="T43" fmla="*/ 266 h 507"/>
                <a:gd name="T44" fmla="*/ 307 w 340"/>
                <a:gd name="T45" fmla="*/ 249 h 507"/>
                <a:gd name="T46" fmla="*/ 338 w 340"/>
                <a:gd name="T47" fmla="*/ 245 h 507"/>
                <a:gd name="T48" fmla="*/ 336 w 340"/>
                <a:gd name="T49" fmla="*/ 273 h 507"/>
                <a:gd name="T50" fmla="*/ 328 w 340"/>
                <a:gd name="T51" fmla="*/ 310 h 507"/>
                <a:gd name="T52" fmla="*/ 311 w 340"/>
                <a:gd name="T53" fmla="*/ 339 h 507"/>
                <a:gd name="T54" fmla="*/ 309 w 340"/>
                <a:gd name="T55" fmla="*/ 369 h 507"/>
                <a:gd name="T56" fmla="*/ 318 w 340"/>
                <a:gd name="T57" fmla="*/ 391 h 507"/>
                <a:gd name="T58" fmla="*/ 303 w 340"/>
                <a:gd name="T59" fmla="*/ 419 h 507"/>
                <a:gd name="T60" fmla="*/ 274 w 340"/>
                <a:gd name="T61" fmla="*/ 423 h 507"/>
                <a:gd name="T62" fmla="*/ 237 w 340"/>
                <a:gd name="T63" fmla="*/ 421 h 507"/>
                <a:gd name="T64" fmla="*/ 244 w 340"/>
                <a:gd name="T65" fmla="*/ 444 h 507"/>
                <a:gd name="T66" fmla="*/ 232 w 340"/>
                <a:gd name="T67" fmla="*/ 470 h 507"/>
                <a:gd name="T68" fmla="*/ 218 w 340"/>
                <a:gd name="T69" fmla="*/ 506 h 507"/>
                <a:gd name="T70" fmla="*/ 185 w 340"/>
                <a:gd name="T71" fmla="*/ 498 h 507"/>
                <a:gd name="T72" fmla="*/ 179 w 340"/>
                <a:gd name="T73" fmla="*/ 471 h 507"/>
                <a:gd name="T74" fmla="*/ 133 w 340"/>
                <a:gd name="T75" fmla="*/ 455 h 507"/>
                <a:gd name="T76" fmla="*/ 116 w 340"/>
                <a:gd name="T77" fmla="*/ 435 h 507"/>
                <a:gd name="T78" fmla="*/ 69 w 340"/>
                <a:gd name="T79" fmla="*/ 444 h 507"/>
                <a:gd name="T80" fmla="*/ 46 w 340"/>
                <a:gd name="T81" fmla="*/ 437 h 507"/>
                <a:gd name="T82" fmla="*/ 62 w 340"/>
                <a:gd name="T83" fmla="*/ 403 h 507"/>
                <a:gd name="T84" fmla="*/ 61 w 340"/>
                <a:gd name="T85" fmla="*/ 387 h 507"/>
                <a:gd name="T86" fmla="*/ 78 w 340"/>
                <a:gd name="T87" fmla="*/ 343 h 507"/>
                <a:gd name="T88" fmla="*/ 95 w 340"/>
                <a:gd name="T89" fmla="*/ 329 h 507"/>
                <a:gd name="T90" fmla="*/ 93 w 340"/>
                <a:gd name="T91" fmla="*/ 302 h 507"/>
                <a:gd name="T92" fmla="*/ 93 w 340"/>
                <a:gd name="T93" fmla="*/ 275 h 507"/>
                <a:gd name="T94" fmla="*/ 76 w 340"/>
                <a:gd name="T95" fmla="*/ 257 h 507"/>
                <a:gd name="T96" fmla="*/ 65 w 340"/>
                <a:gd name="T97" fmla="*/ 242 h 507"/>
                <a:gd name="T98" fmla="*/ 46 w 340"/>
                <a:gd name="T99" fmla="*/ 240 h 507"/>
                <a:gd name="T100" fmla="*/ 24 w 340"/>
                <a:gd name="T101" fmla="*/ 220 h 507"/>
                <a:gd name="T102" fmla="*/ 13 w 340"/>
                <a:gd name="T103" fmla="*/ 185 h 507"/>
                <a:gd name="T104" fmla="*/ 25 w 340"/>
                <a:gd name="T105" fmla="*/ 165 h 507"/>
                <a:gd name="T106" fmla="*/ 57 w 340"/>
                <a:gd name="T107" fmla="*/ 134 h 507"/>
                <a:gd name="T108" fmla="*/ 75 w 340"/>
                <a:gd name="T109" fmla="*/ 102 h 507"/>
                <a:gd name="T110" fmla="*/ 82 w 340"/>
                <a:gd name="T111" fmla="*/ 73 h 507"/>
                <a:gd name="T112" fmla="*/ 93 w 340"/>
                <a:gd name="T113" fmla="*/ 51 h 507"/>
                <a:gd name="T114" fmla="*/ 116 w 340"/>
                <a:gd name="T115" fmla="*/ 22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0" h="507">
                  <a:moveTo>
                    <a:pt x="134" y="1"/>
                  </a:moveTo>
                  <a:lnTo>
                    <a:pt x="136" y="1"/>
                  </a:lnTo>
                  <a:lnTo>
                    <a:pt x="138" y="1"/>
                  </a:lnTo>
                  <a:lnTo>
                    <a:pt x="139" y="2"/>
                  </a:lnTo>
                  <a:lnTo>
                    <a:pt x="141" y="3"/>
                  </a:lnTo>
                  <a:lnTo>
                    <a:pt x="143" y="4"/>
                  </a:lnTo>
                  <a:lnTo>
                    <a:pt x="144" y="4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47" y="4"/>
                  </a:lnTo>
                  <a:lnTo>
                    <a:pt x="150" y="4"/>
                  </a:lnTo>
                  <a:lnTo>
                    <a:pt x="151" y="4"/>
                  </a:lnTo>
                  <a:lnTo>
                    <a:pt x="153" y="4"/>
                  </a:lnTo>
                  <a:lnTo>
                    <a:pt x="158" y="1"/>
                  </a:lnTo>
                  <a:lnTo>
                    <a:pt x="161" y="0"/>
                  </a:lnTo>
                  <a:lnTo>
                    <a:pt x="162" y="0"/>
                  </a:lnTo>
                  <a:lnTo>
                    <a:pt x="163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69" y="1"/>
                  </a:lnTo>
                  <a:lnTo>
                    <a:pt x="170" y="1"/>
                  </a:lnTo>
                  <a:lnTo>
                    <a:pt x="171" y="3"/>
                  </a:lnTo>
                  <a:lnTo>
                    <a:pt x="172" y="4"/>
                  </a:lnTo>
                  <a:lnTo>
                    <a:pt x="172" y="4"/>
                  </a:lnTo>
                  <a:lnTo>
                    <a:pt x="173" y="5"/>
                  </a:lnTo>
                  <a:lnTo>
                    <a:pt x="180" y="8"/>
                  </a:lnTo>
                  <a:lnTo>
                    <a:pt x="182" y="8"/>
                  </a:lnTo>
                  <a:lnTo>
                    <a:pt x="183" y="9"/>
                  </a:lnTo>
                  <a:lnTo>
                    <a:pt x="184" y="9"/>
                  </a:lnTo>
                  <a:lnTo>
                    <a:pt x="184" y="11"/>
                  </a:lnTo>
                  <a:lnTo>
                    <a:pt x="189" y="17"/>
                  </a:lnTo>
                  <a:lnTo>
                    <a:pt x="190" y="19"/>
                  </a:lnTo>
                  <a:lnTo>
                    <a:pt x="191" y="20"/>
                  </a:lnTo>
                  <a:lnTo>
                    <a:pt x="192" y="22"/>
                  </a:lnTo>
                  <a:lnTo>
                    <a:pt x="193" y="24"/>
                  </a:lnTo>
                  <a:lnTo>
                    <a:pt x="193" y="25"/>
                  </a:lnTo>
                  <a:lnTo>
                    <a:pt x="193" y="27"/>
                  </a:lnTo>
                  <a:lnTo>
                    <a:pt x="192" y="29"/>
                  </a:lnTo>
                  <a:lnTo>
                    <a:pt x="191" y="31"/>
                  </a:lnTo>
                  <a:lnTo>
                    <a:pt x="190" y="33"/>
                  </a:lnTo>
                  <a:lnTo>
                    <a:pt x="189" y="34"/>
                  </a:lnTo>
                  <a:lnTo>
                    <a:pt x="187" y="36"/>
                  </a:lnTo>
                  <a:lnTo>
                    <a:pt x="186" y="37"/>
                  </a:lnTo>
                  <a:lnTo>
                    <a:pt x="181" y="41"/>
                  </a:lnTo>
                  <a:lnTo>
                    <a:pt x="180" y="42"/>
                  </a:lnTo>
                  <a:lnTo>
                    <a:pt x="178" y="44"/>
                  </a:lnTo>
                  <a:lnTo>
                    <a:pt x="178" y="45"/>
                  </a:lnTo>
                  <a:lnTo>
                    <a:pt x="177" y="46"/>
                  </a:lnTo>
                  <a:lnTo>
                    <a:pt x="177" y="47"/>
                  </a:lnTo>
                  <a:lnTo>
                    <a:pt x="177" y="48"/>
                  </a:lnTo>
                  <a:lnTo>
                    <a:pt x="178" y="49"/>
                  </a:lnTo>
                  <a:lnTo>
                    <a:pt x="178" y="50"/>
                  </a:lnTo>
                  <a:lnTo>
                    <a:pt x="179" y="50"/>
                  </a:lnTo>
                  <a:lnTo>
                    <a:pt x="180" y="51"/>
                  </a:lnTo>
                  <a:lnTo>
                    <a:pt x="181" y="51"/>
                  </a:lnTo>
                  <a:lnTo>
                    <a:pt x="182" y="52"/>
                  </a:lnTo>
                  <a:lnTo>
                    <a:pt x="184" y="52"/>
                  </a:lnTo>
                  <a:lnTo>
                    <a:pt x="185" y="52"/>
                  </a:lnTo>
                  <a:lnTo>
                    <a:pt x="192" y="50"/>
                  </a:lnTo>
                  <a:lnTo>
                    <a:pt x="196" y="50"/>
                  </a:lnTo>
                  <a:lnTo>
                    <a:pt x="200" y="50"/>
                  </a:lnTo>
                  <a:lnTo>
                    <a:pt x="203" y="50"/>
                  </a:lnTo>
                  <a:lnTo>
                    <a:pt x="206" y="50"/>
                  </a:lnTo>
                  <a:lnTo>
                    <a:pt x="207" y="51"/>
                  </a:lnTo>
                  <a:lnTo>
                    <a:pt x="208" y="51"/>
                  </a:lnTo>
                  <a:lnTo>
                    <a:pt x="210" y="52"/>
                  </a:lnTo>
                  <a:lnTo>
                    <a:pt x="211" y="53"/>
                  </a:lnTo>
                  <a:lnTo>
                    <a:pt x="212" y="55"/>
                  </a:lnTo>
                  <a:lnTo>
                    <a:pt x="213" y="56"/>
                  </a:lnTo>
                  <a:lnTo>
                    <a:pt x="213" y="56"/>
                  </a:lnTo>
                  <a:lnTo>
                    <a:pt x="214" y="59"/>
                  </a:lnTo>
                  <a:lnTo>
                    <a:pt x="214" y="61"/>
                  </a:lnTo>
                  <a:lnTo>
                    <a:pt x="214" y="64"/>
                  </a:lnTo>
                  <a:lnTo>
                    <a:pt x="213" y="68"/>
                  </a:lnTo>
                  <a:lnTo>
                    <a:pt x="212" y="73"/>
                  </a:lnTo>
                  <a:lnTo>
                    <a:pt x="210" y="82"/>
                  </a:lnTo>
                  <a:lnTo>
                    <a:pt x="210" y="83"/>
                  </a:lnTo>
                  <a:lnTo>
                    <a:pt x="207" y="82"/>
                  </a:lnTo>
                  <a:lnTo>
                    <a:pt x="204" y="82"/>
                  </a:lnTo>
                  <a:lnTo>
                    <a:pt x="200" y="82"/>
                  </a:lnTo>
                  <a:lnTo>
                    <a:pt x="197" y="82"/>
                  </a:lnTo>
                  <a:lnTo>
                    <a:pt x="194" y="83"/>
                  </a:lnTo>
                  <a:lnTo>
                    <a:pt x="191" y="84"/>
                  </a:lnTo>
                  <a:lnTo>
                    <a:pt x="189" y="85"/>
                  </a:lnTo>
                  <a:lnTo>
                    <a:pt x="187" y="87"/>
                  </a:lnTo>
                  <a:lnTo>
                    <a:pt x="185" y="88"/>
                  </a:lnTo>
                  <a:lnTo>
                    <a:pt x="184" y="90"/>
                  </a:lnTo>
                  <a:lnTo>
                    <a:pt x="183" y="91"/>
                  </a:lnTo>
                  <a:lnTo>
                    <a:pt x="182" y="93"/>
                  </a:lnTo>
                  <a:lnTo>
                    <a:pt x="181" y="94"/>
                  </a:lnTo>
                  <a:lnTo>
                    <a:pt x="180" y="97"/>
                  </a:lnTo>
                  <a:lnTo>
                    <a:pt x="179" y="101"/>
                  </a:lnTo>
                  <a:lnTo>
                    <a:pt x="178" y="103"/>
                  </a:lnTo>
                  <a:lnTo>
                    <a:pt x="177" y="106"/>
                  </a:lnTo>
                  <a:lnTo>
                    <a:pt x="177" y="108"/>
                  </a:lnTo>
                  <a:lnTo>
                    <a:pt x="176" y="109"/>
                  </a:lnTo>
                  <a:lnTo>
                    <a:pt x="174" y="111"/>
                  </a:lnTo>
                  <a:lnTo>
                    <a:pt x="173" y="111"/>
                  </a:lnTo>
                  <a:lnTo>
                    <a:pt x="172" y="112"/>
                  </a:lnTo>
                  <a:lnTo>
                    <a:pt x="171" y="112"/>
                  </a:lnTo>
                  <a:lnTo>
                    <a:pt x="170" y="113"/>
                  </a:lnTo>
                  <a:lnTo>
                    <a:pt x="166" y="113"/>
                  </a:lnTo>
                  <a:lnTo>
                    <a:pt x="162" y="113"/>
                  </a:lnTo>
                  <a:lnTo>
                    <a:pt x="159" y="112"/>
                  </a:lnTo>
                  <a:lnTo>
                    <a:pt x="156" y="112"/>
                  </a:lnTo>
                  <a:lnTo>
                    <a:pt x="153" y="111"/>
                  </a:lnTo>
                  <a:lnTo>
                    <a:pt x="151" y="110"/>
                  </a:lnTo>
                  <a:lnTo>
                    <a:pt x="147" y="107"/>
                  </a:lnTo>
                  <a:lnTo>
                    <a:pt x="145" y="106"/>
                  </a:lnTo>
                  <a:lnTo>
                    <a:pt x="144" y="106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38" y="105"/>
                  </a:lnTo>
                  <a:lnTo>
                    <a:pt x="138" y="105"/>
                  </a:lnTo>
                  <a:lnTo>
                    <a:pt x="136" y="106"/>
                  </a:lnTo>
                  <a:lnTo>
                    <a:pt x="133" y="107"/>
                  </a:lnTo>
                  <a:lnTo>
                    <a:pt x="127" y="110"/>
                  </a:lnTo>
                  <a:lnTo>
                    <a:pt x="123" y="112"/>
                  </a:lnTo>
                  <a:lnTo>
                    <a:pt x="121" y="112"/>
                  </a:lnTo>
                  <a:lnTo>
                    <a:pt x="114" y="114"/>
                  </a:lnTo>
                  <a:lnTo>
                    <a:pt x="107" y="116"/>
                  </a:lnTo>
                  <a:lnTo>
                    <a:pt x="102" y="118"/>
                  </a:lnTo>
                  <a:lnTo>
                    <a:pt x="93" y="122"/>
                  </a:lnTo>
                  <a:lnTo>
                    <a:pt x="92" y="123"/>
                  </a:lnTo>
                  <a:lnTo>
                    <a:pt x="91" y="124"/>
                  </a:lnTo>
                  <a:lnTo>
                    <a:pt x="89" y="124"/>
                  </a:lnTo>
                  <a:lnTo>
                    <a:pt x="88" y="125"/>
                  </a:lnTo>
                  <a:lnTo>
                    <a:pt x="87" y="126"/>
                  </a:lnTo>
                  <a:lnTo>
                    <a:pt x="87" y="127"/>
                  </a:lnTo>
                  <a:lnTo>
                    <a:pt x="86" y="127"/>
                  </a:lnTo>
                  <a:lnTo>
                    <a:pt x="86" y="128"/>
                  </a:lnTo>
                  <a:lnTo>
                    <a:pt x="87" y="129"/>
                  </a:lnTo>
                  <a:lnTo>
                    <a:pt x="87" y="130"/>
                  </a:lnTo>
                  <a:lnTo>
                    <a:pt x="88" y="130"/>
                  </a:lnTo>
                  <a:lnTo>
                    <a:pt x="89" y="131"/>
                  </a:lnTo>
                  <a:lnTo>
                    <a:pt x="93" y="133"/>
                  </a:lnTo>
                  <a:lnTo>
                    <a:pt x="95" y="134"/>
                  </a:lnTo>
                  <a:lnTo>
                    <a:pt x="98" y="136"/>
                  </a:lnTo>
                  <a:lnTo>
                    <a:pt x="101" y="138"/>
                  </a:lnTo>
                  <a:lnTo>
                    <a:pt x="104" y="141"/>
                  </a:lnTo>
                  <a:lnTo>
                    <a:pt x="108" y="146"/>
                  </a:lnTo>
                  <a:lnTo>
                    <a:pt x="113" y="150"/>
                  </a:lnTo>
                  <a:lnTo>
                    <a:pt x="114" y="152"/>
                  </a:lnTo>
                  <a:lnTo>
                    <a:pt x="117" y="156"/>
                  </a:lnTo>
                  <a:lnTo>
                    <a:pt x="118" y="158"/>
                  </a:lnTo>
                  <a:lnTo>
                    <a:pt x="118" y="158"/>
                  </a:lnTo>
                  <a:lnTo>
                    <a:pt x="119" y="159"/>
                  </a:lnTo>
                  <a:lnTo>
                    <a:pt x="119" y="161"/>
                  </a:lnTo>
                  <a:lnTo>
                    <a:pt x="119" y="162"/>
                  </a:lnTo>
                  <a:lnTo>
                    <a:pt x="118" y="163"/>
                  </a:lnTo>
                  <a:lnTo>
                    <a:pt x="117" y="165"/>
                  </a:lnTo>
                  <a:lnTo>
                    <a:pt x="116" y="166"/>
                  </a:lnTo>
                  <a:lnTo>
                    <a:pt x="110" y="169"/>
                  </a:lnTo>
                  <a:lnTo>
                    <a:pt x="108" y="170"/>
                  </a:lnTo>
                  <a:lnTo>
                    <a:pt x="106" y="172"/>
                  </a:lnTo>
                  <a:lnTo>
                    <a:pt x="104" y="174"/>
                  </a:lnTo>
                  <a:lnTo>
                    <a:pt x="104" y="177"/>
                  </a:lnTo>
                  <a:lnTo>
                    <a:pt x="103" y="179"/>
                  </a:lnTo>
                  <a:lnTo>
                    <a:pt x="102" y="181"/>
                  </a:lnTo>
                  <a:lnTo>
                    <a:pt x="103" y="181"/>
                  </a:lnTo>
                  <a:lnTo>
                    <a:pt x="103" y="182"/>
                  </a:lnTo>
                  <a:lnTo>
                    <a:pt x="104" y="184"/>
                  </a:lnTo>
                  <a:lnTo>
                    <a:pt x="104" y="186"/>
                  </a:lnTo>
                  <a:lnTo>
                    <a:pt x="108" y="191"/>
                  </a:lnTo>
                  <a:lnTo>
                    <a:pt x="109" y="192"/>
                  </a:lnTo>
                  <a:lnTo>
                    <a:pt x="110" y="194"/>
                  </a:lnTo>
                  <a:lnTo>
                    <a:pt x="113" y="201"/>
                  </a:lnTo>
                  <a:lnTo>
                    <a:pt x="115" y="204"/>
                  </a:lnTo>
                  <a:lnTo>
                    <a:pt x="116" y="206"/>
                  </a:lnTo>
                  <a:lnTo>
                    <a:pt x="118" y="209"/>
                  </a:lnTo>
                  <a:lnTo>
                    <a:pt x="121" y="212"/>
                  </a:lnTo>
                  <a:lnTo>
                    <a:pt x="124" y="215"/>
                  </a:lnTo>
                  <a:lnTo>
                    <a:pt x="128" y="219"/>
                  </a:lnTo>
                  <a:lnTo>
                    <a:pt x="136" y="226"/>
                  </a:lnTo>
                  <a:lnTo>
                    <a:pt x="138" y="227"/>
                  </a:lnTo>
                  <a:lnTo>
                    <a:pt x="139" y="229"/>
                  </a:lnTo>
                  <a:lnTo>
                    <a:pt x="139" y="231"/>
                  </a:lnTo>
                  <a:lnTo>
                    <a:pt x="140" y="233"/>
                  </a:lnTo>
                  <a:lnTo>
                    <a:pt x="140" y="235"/>
                  </a:lnTo>
                  <a:lnTo>
                    <a:pt x="140" y="236"/>
                  </a:lnTo>
                  <a:lnTo>
                    <a:pt x="140" y="238"/>
                  </a:lnTo>
                  <a:lnTo>
                    <a:pt x="139" y="239"/>
                  </a:lnTo>
                  <a:lnTo>
                    <a:pt x="138" y="243"/>
                  </a:lnTo>
                  <a:lnTo>
                    <a:pt x="138" y="244"/>
                  </a:lnTo>
                  <a:lnTo>
                    <a:pt x="138" y="246"/>
                  </a:lnTo>
                  <a:lnTo>
                    <a:pt x="138" y="248"/>
                  </a:lnTo>
                  <a:lnTo>
                    <a:pt x="138" y="249"/>
                  </a:lnTo>
                  <a:lnTo>
                    <a:pt x="138" y="250"/>
                  </a:lnTo>
                  <a:lnTo>
                    <a:pt x="138" y="251"/>
                  </a:lnTo>
                  <a:lnTo>
                    <a:pt x="139" y="253"/>
                  </a:lnTo>
                  <a:lnTo>
                    <a:pt x="140" y="254"/>
                  </a:lnTo>
                  <a:lnTo>
                    <a:pt x="141" y="256"/>
                  </a:lnTo>
                  <a:lnTo>
                    <a:pt x="143" y="258"/>
                  </a:lnTo>
                  <a:lnTo>
                    <a:pt x="145" y="259"/>
                  </a:lnTo>
                  <a:lnTo>
                    <a:pt x="147" y="260"/>
                  </a:lnTo>
                  <a:lnTo>
                    <a:pt x="149" y="261"/>
                  </a:lnTo>
                  <a:lnTo>
                    <a:pt x="154" y="263"/>
                  </a:lnTo>
                  <a:lnTo>
                    <a:pt x="156" y="264"/>
                  </a:lnTo>
                  <a:lnTo>
                    <a:pt x="158" y="265"/>
                  </a:lnTo>
                  <a:lnTo>
                    <a:pt x="159" y="266"/>
                  </a:lnTo>
                  <a:lnTo>
                    <a:pt x="159" y="268"/>
                  </a:lnTo>
                  <a:lnTo>
                    <a:pt x="160" y="269"/>
                  </a:lnTo>
                  <a:lnTo>
                    <a:pt x="160" y="270"/>
                  </a:lnTo>
                  <a:lnTo>
                    <a:pt x="161" y="272"/>
                  </a:lnTo>
                  <a:lnTo>
                    <a:pt x="161" y="272"/>
                  </a:lnTo>
                  <a:lnTo>
                    <a:pt x="161" y="275"/>
                  </a:lnTo>
                  <a:lnTo>
                    <a:pt x="160" y="280"/>
                  </a:lnTo>
                  <a:lnTo>
                    <a:pt x="160" y="282"/>
                  </a:lnTo>
                  <a:lnTo>
                    <a:pt x="161" y="283"/>
                  </a:lnTo>
                  <a:lnTo>
                    <a:pt x="161" y="283"/>
                  </a:lnTo>
                  <a:lnTo>
                    <a:pt x="161" y="285"/>
                  </a:lnTo>
                  <a:lnTo>
                    <a:pt x="162" y="286"/>
                  </a:lnTo>
                  <a:lnTo>
                    <a:pt x="162" y="287"/>
                  </a:lnTo>
                  <a:lnTo>
                    <a:pt x="162" y="288"/>
                  </a:lnTo>
                  <a:lnTo>
                    <a:pt x="162" y="290"/>
                  </a:lnTo>
                  <a:lnTo>
                    <a:pt x="162" y="291"/>
                  </a:lnTo>
                  <a:lnTo>
                    <a:pt x="161" y="295"/>
                  </a:lnTo>
                  <a:lnTo>
                    <a:pt x="160" y="297"/>
                  </a:lnTo>
                  <a:lnTo>
                    <a:pt x="160" y="299"/>
                  </a:lnTo>
                  <a:lnTo>
                    <a:pt x="160" y="301"/>
                  </a:lnTo>
                  <a:lnTo>
                    <a:pt x="160" y="302"/>
                  </a:lnTo>
                  <a:lnTo>
                    <a:pt x="161" y="304"/>
                  </a:lnTo>
                  <a:lnTo>
                    <a:pt x="161" y="305"/>
                  </a:lnTo>
                  <a:lnTo>
                    <a:pt x="162" y="306"/>
                  </a:lnTo>
                  <a:lnTo>
                    <a:pt x="163" y="307"/>
                  </a:lnTo>
                  <a:lnTo>
                    <a:pt x="165" y="308"/>
                  </a:lnTo>
                  <a:lnTo>
                    <a:pt x="166" y="309"/>
                  </a:lnTo>
                  <a:lnTo>
                    <a:pt x="168" y="310"/>
                  </a:lnTo>
                  <a:lnTo>
                    <a:pt x="170" y="311"/>
                  </a:lnTo>
                  <a:lnTo>
                    <a:pt x="171" y="312"/>
                  </a:lnTo>
                  <a:lnTo>
                    <a:pt x="172" y="313"/>
                  </a:lnTo>
                  <a:lnTo>
                    <a:pt x="175" y="313"/>
                  </a:lnTo>
                  <a:lnTo>
                    <a:pt x="180" y="314"/>
                  </a:lnTo>
                  <a:lnTo>
                    <a:pt x="188" y="315"/>
                  </a:lnTo>
                  <a:lnTo>
                    <a:pt x="191" y="315"/>
                  </a:lnTo>
                  <a:lnTo>
                    <a:pt x="194" y="315"/>
                  </a:lnTo>
                  <a:lnTo>
                    <a:pt x="197" y="315"/>
                  </a:lnTo>
                  <a:lnTo>
                    <a:pt x="199" y="315"/>
                  </a:lnTo>
                  <a:lnTo>
                    <a:pt x="200" y="314"/>
                  </a:lnTo>
                  <a:lnTo>
                    <a:pt x="201" y="314"/>
                  </a:lnTo>
                  <a:lnTo>
                    <a:pt x="202" y="313"/>
                  </a:lnTo>
                  <a:lnTo>
                    <a:pt x="203" y="313"/>
                  </a:lnTo>
                  <a:lnTo>
                    <a:pt x="204" y="312"/>
                  </a:lnTo>
                  <a:lnTo>
                    <a:pt x="205" y="309"/>
                  </a:lnTo>
                  <a:lnTo>
                    <a:pt x="208" y="304"/>
                  </a:lnTo>
                  <a:lnTo>
                    <a:pt x="210" y="301"/>
                  </a:lnTo>
                  <a:lnTo>
                    <a:pt x="211" y="299"/>
                  </a:lnTo>
                  <a:lnTo>
                    <a:pt x="212" y="298"/>
                  </a:lnTo>
                  <a:lnTo>
                    <a:pt x="213" y="297"/>
                  </a:lnTo>
                  <a:lnTo>
                    <a:pt x="215" y="296"/>
                  </a:lnTo>
                  <a:lnTo>
                    <a:pt x="216" y="295"/>
                  </a:lnTo>
                  <a:lnTo>
                    <a:pt x="218" y="294"/>
                  </a:lnTo>
                  <a:lnTo>
                    <a:pt x="227" y="293"/>
                  </a:lnTo>
                  <a:lnTo>
                    <a:pt x="229" y="293"/>
                  </a:lnTo>
                  <a:lnTo>
                    <a:pt x="233" y="292"/>
                  </a:lnTo>
                  <a:lnTo>
                    <a:pt x="238" y="290"/>
                  </a:lnTo>
                  <a:lnTo>
                    <a:pt x="244" y="287"/>
                  </a:lnTo>
                  <a:lnTo>
                    <a:pt x="250" y="285"/>
                  </a:lnTo>
                  <a:lnTo>
                    <a:pt x="252" y="284"/>
                  </a:lnTo>
                  <a:lnTo>
                    <a:pt x="254" y="283"/>
                  </a:lnTo>
                  <a:lnTo>
                    <a:pt x="256" y="283"/>
                  </a:lnTo>
                  <a:lnTo>
                    <a:pt x="258" y="281"/>
                  </a:lnTo>
                  <a:lnTo>
                    <a:pt x="272" y="271"/>
                  </a:lnTo>
                  <a:lnTo>
                    <a:pt x="277" y="266"/>
                  </a:lnTo>
                  <a:lnTo>
                    <a:pt x="279" y="265"/>
                  </a:lnTo>
                  <a:lnTo>
                    <a:pt x="282" y="263"/>
                  </a:lnTo>
                  <a:lnTo>
                    <a:pt x="285" y="261"/>
                  </a:lnTo>
                  <a:lnTo>
                    <a:pt x="288" y="260"/>
                  </a:lnTo>
                  <a:lnTo>
                    <a:pt x="293" y="260"/>
                  </a:lnTo>
                  <a:lnTo>
                    <a:pt x="295" y="259"/>
                  </a:lnTo>
                  <a:lnTo>
                    <a:pt x="297" y="258"/>
                  </a:lnTo>
                  <a:lnTo>
                    <a:pt x="298" y="257"/>
                  </a:lnTo>
                  <a:lnTo>
                    <a:pt x="301" y="255"/>
                  </a:lnTo>
                  <a:lnTo>
                    <a:pt x="303" y="254"/>
                  </a:lnTo>
                  <a:lnTo>
                    <a:pt x="304" y="252"/>
                  </a:lnTo>
                  <a:lnTo>
                    <a:pt x="307" y="249"/>
                  </a:lnTo>
                  <a:lnTo>
                    <a:pt x="309" y="249"/>
                  </a:lnTo>
                  <a:lnTo>
                    <a:pt x="309" y="248"/>
                  </a:lnTo>
                  <a:lnTo>
                    <a:pt x="311" y="247"/>
                  </a:lnTo>
                  <a:lnTo>
                    <a:pt x="314" y="245"/>
                  </a:lnTo>
                  <a:lnTo>
                    <a:pt x="318" y="244"/>
                  </a:lnTo>
                  <a:lnTo>
                    <a:pt x="320" y="244"/>
                  </a:lnTo>
                  <a:lnTo>
                    <a:pt x="325" y="243"/>
                  </a:lnTo>
                  <a:lnTo>
                    <a:pt x="331" y="243"/>
                  </a:lnTo>
                  <a:lnTo>
                    <a:pt x="334" y="244"/>
                  </a:lnTo>
                  <a:lnTo>
                    <a:pt x="336" y="244"/>
                  </a:lnTo>
                  <a:lnTo>
                    <a:pt x="337" y="244"/>
                  </a:lnTo>
                  <a:lnTo>
                    <a:pt x="338" y="245"/>
                  </a:lnTo>
                  <a:lnTo>
                    <a:pt x="339" y="245"/>
                  </a:lnTo>
                  <a:lnTo>
                    <a:pt x="339" y="246"/>
                  </a:lnTo>
                  <a:lnTo>
                    <a:pt x="339" y="248"/>
                  </a:lnTo>
                  <a:lnTo>
                    <a:pt x="340" y="251"/>
                  </a:lnTo>
                  <a:lnTo>
                    <a:pt x="340" y="254"/>
                  </a:lnTo>
                  <a:lnTo>
                    <a:pt x="340" y="257"/>
                  </a:lnTo>
                  <a:lnTo>
                    <a:pt x="340" y="258"/>
                  </a:lnTo>
                  <a:lnTo>
                    <a:pt x="339" y="260"/>
                  </a:lnTo>
                  <a:lnTo>
                    <a:pt x="337" y="268"/>
                  </a:lnTo>
                  <a:lnTo>
                    <a:pt x="336" y="270"/>
                  </a:lnTo>
                  <a:lnTo>
                    <a:pt x="336" y="271"/>
                  </a:lnTo>
                  <a:lnTo>
                    <a:pt x="336" y="273"/>
                  </a:lnTo>
                  <a:lnTo>
                    <a:pt x="336" y="278"/>
                  </a:lnTo>
                  <a:lnTo>
                    <a:pt x="336" y="280"/>
                  </a:lnTo>
                  <a:lnTo>
                    <a:pt x="335" y="290"/>
                  </a:lnTo>
                  <a:lnTo>
                    <a:pt x="335" y="293"/>
                  </a:lnTo>
                  <a:lnTo>
                    <a:pt x="334" y="295"/>
                  </a:lnTo>
                  <a:lnTo>
                    <a:pt x="333" y="300"/>
                  </a:lnTo>
                  <a:lnTo>
                    <a:pt x="332" y="303"/>
                  </a:lnTo>
                  <a:lnTo>
                    <a:pt x="332" y="305"/>
                  </a:lnTo>
                  <a:lnTo>
                    <a:pt x="331" y="306"/>
                  </a:lnTo>
                  <a:lnTo>
                    <a:pt x="329" y="308"/>
                  </a:lnTo>
                  <a:lnTo>
                    <a:pt x="328" y="309"/>
                  </a:lnTo>
                  <a:lnTo>
                    <a:pt x="328" y="310"/>
                  </a:lnTo>
                  <a:lnTo>
                    <a:pt x="324" y="313"/>
                  </a:lnTo>
                  <a:lnTo>
                    <a:pt x="322" y="314"/>
                  </a:lnTo>
                  <a:lnTo>
                    <a:pt x="321" y="316"/>
                  </a:lnTo>
                  <a:lnTo>
                    <a:pt x="319" y="317"/>
                  </a:lnTo>
                  <a:lnTo>
                    <a:pt x="315" y="323"/>
                  </a:lnTo>
                  <a:lnTo>
                    <a:pt x="312" y="326"/>
                  </a:lnTo>
                  <a:lnTo>
                    <a:pt x="311" y="328"/>
                  </a:lnTo>
                  <a:lnTo>
                    <a:pt x="311" y="328"/>
                  </a:lnTo>
                  <a:lnTo>
                    <a:pt x="311" y="329"/>
                  </a:lnTo>
                  <a:lnTo>
                    <a:pt x="310" y="330"/>
                  </a:lnTo>
                  <a:lnTo>
                    <a:pt x="310" y="332"/>
                  </a:lnTo>
                  <a:lnTo>
                    <a:pt x="311" y="339"/>
                  </a:lnTo>
                  <a:lnTo>
                    <a:pt x="311" y="341"/>
                  </a:lnTo>
                  <a:lnTo>
                    <a:pt x="311" y="343"/>
                  </a:lnTo>
                  <a:lnTo>
                    <a:pt x="310" y="346"/>
                  </a:lnTo>
                  <a:lnTo>
                    <a:pt x="309" y="349"/>
                  </a:lnTo>
                  <a:lnTo>
                    <a:pt x="309" y="353"/>
                  </a:lnTo>
                  <a:lnTo>
                    <a:pt x="308" y="355"/>
                  </a:lnTo>
                  <a:lnTo>
                    <a:pt x="308" y="357"/>
                  </a:lnTo>
                  <a:lnTo>
                    <a:pt x="308" y="359"/>
                  </a:lnTo>
                  <a:lnTo>
                    <a:pt x="308" y="362"/>
                  </a:lnTo>
                  <a:lnTo>
                    <a:pt x="309" y="364"/>
                  </a:lnTo>
                  <a:lnTo>
                    <a:pt x="309" y="366"/>
                  </a:lnTo>
                  <a:lnTo>
                    <a:pt x="309" y="369"/>
                  </a:lnTo>
                  <a:lnTo>
                    <a:pt x="310" y="371"/>
                  </a:lnTo>
                  <a:lnTo>
                    <a:pt x="311" y="373"/>
                  </a:lnTo>
                  <a:lnTo>
                    <a:pt x="313" y="376"/>
                  </a:lnTo>
                  <a:lnTo>
                    <a:pt x="317" y="383"/>
                  </a:lnTo>
                  <a:lnTo>
                    <a:pt x="318" y="384"/>
                  </a:lnTo>
                  <a:lnTo>
                    <a:pt x="318" y="385"/>
                  </a:lnTo>
                  <a:lnTo>
                    <a:pt x="319" y="387"/>
                  </a:lnTo>
                  <a:lnTo>
                    <a:pt x="319" y="388"/>
                  </a:lnTo>
                  <a:lnTo>
                    <a:pt x="319" y="389"/>
                  </a:lnTo>
                  <a:lnTo>
                    <a:pt x="319" y="390"/>
                  </a:lnTo>
                  <a:lnTo>
                    <a:pt x="318" y="390"/>
                  </a:lnTo>
                  <a:lnTo>
                    <a:pt x="318" y="391"/>
                  </a:lnTo>
                  <a:lnTo>
                    <a:pt x="317" y="391"/>
                  </a:lnTo>
                  <a:lnTo>
                    <a:pt x="316" y="391"/>
                  </a:lnTo>
                  <a:lnTo>
                    <a:pt x="315" y="393"/>
                  </a:lnTo>
                  <a:lnTo>
                    <a:pt x="313" y="395"/>
                  </a:lnTo>
                  <a:lnTo>
                    <a:pt x="312" y="396"/>
                  </a:lnTo>
                  <a:lnTo>
                    <a:pt x="311" y="399"/>
                  </a:lnTo>
                  <a:lnTo>
                    <a:pt x="310" y="401"/>
                  </a:lnTo>
                  <a:lnTo>
                    <a:pt x="307" y="412"/>
                  </a:lnTo>
                  <a:lnTo>
                    <a:pt x="306" y="415"/>
                  </a:lnTo>
                  <a:lnTo>
                    <a:pt x="305" y="417"/>
                  </a:lnTo>
                  <a:lnTo>
                    <a:pt x="304" y="418"/>
                  </a:lnTo>
                  <a:lnTo>
                    <a:pt x="303" y="419"/>
                  </a:lnTo>
                  <a:lnTo>
                    <a:pt x="303" y="419"/>
                  </a:lnTo>
                  <a:lnTo>
                    <a:pt x="301" y="420"/>
                  </a:lnTo>
                  <a:lnTo>
                    <a:pt x="300" y="421"/>
                  </a:lnTo>
                  <a:lnTo>
                    <a:pt x="298" y="422"/>
                  </a:lnTo>
                  <a:lnTo>
                    <a:pt x="295" y="423"/>
                  </a:lnTo>
                  <a:lnTo>
                    <a:pt x="287" y="425"/>
                  </a:lnTo>
                  <a:lnTo>
                    <a:pt x="284" y="426"/>
                  </a:lnTo>
                  <a:lnTo>
                    <a:pt x="282" y="426"/>
                  </a:lnTo>
                  <a:lnTo>
                    <a:pt x="280" y="425"/>
                  </a:lnTo>
                  <a:lnTo>
                    <a:pt x="276" y="425"/>
                  </a:lnTo>
                  <a:lnTo>
                    <a:pt x="275" y="424"/>
                  </a:lnTo>
                  <a:lnTo>
                    <a:pt x="274" y="423"/>
                  </a:lnTo>
                  <a:lnTo>
                    <a:pt x="271" y="422"/>
                  </a:lnTo>
                  <a:lnTo>
                    <a:pt x="266" y="419"/>
                  </a:lnTo>
                  <a:lnTo>
                    <a:pt x="263" y="419"/>
                  </a:lnTo>
                  <a:lnTo>
                    <a:pt x="261" y="418"/>
                  </a:lnTo>
                  <a:lnTo>
                    <a:pt x="258" y="418"/>
                  </a:lnTo>
                  <a:lnTo>
                    <a:pt x="249" y="418"/>
                  </a:lnTo>
                  <a:lnTo>
                    <a:pt x="246" y="418"/>
                  </a:lnTo>
                  <a:lnTo>
                    <a:pt x="243" y="418"/>
                  </a:lnTo>
                  <a:lnTo>
                    <a:pt x="241" y="419"/>
                  </a:lnTo>
                  <a:lnTo>
                    <a:pt x="240" y="419"/>
                  </a:lnTo>
                  <a:lnTo>
                    <a:pt x="238" y="419"/>
                  </a:lnTo>
                  <a:lnTo>
                    <a:pt x="237" y="421"/>
                  </a:lnTo>
                  <a:lnTo>
                    <a:pt x="236" y="421"/>
                  </a:lnTo>
                  <a:lnTo>
                    <a:pt x="236" y="422"/>
                  </a:lnTo>
                  <a:lnTo>
                    <a:pt x="236" y="423"/>
                  </a:lnTo>
                  <a:lnTo>
                    <a:pt x="236" y="424"/>
                  </a:lnTo>
                  <a:lnTo>
                    <a:pt x="237" y="424"/>
                  </a:lnTo>
                  <a:lnTo>
                    <a:pt x="239" y="427"/>
                  </a:lnTo>
                  <a:lnTo>
                    <a:pt x="241" y="430"/>
                  </a:lnTo>
                  <a:lnTo>
                    <a:pt x="242" y="433"/>
                  </a:lnTo>
                  <a:lnTo>
                    <a:pt x="243" y="436"/>
                  </a:lnTo>
                  <a:lnTo>
                    <a:pt x="244" y="437"/>
                  </a:lnTo>
                  <a:lnTo>
                    <a:pt x="244" y="439"/>
                  </a:lnTo>
                  <a:lnTo>
                    <a:pt x="244" y="444"/>
                  </a:lnTo>
                  <a:lnTo>
                    <a:pt x="244" y="447"/>
                  </a:lnTo>
                  <a:lnTo>
                    <a:pt x="244" y="449"/>
                  </a:lnTo>
                  <a:lnTo>
                    <a:pt x="243" y="451"/>
                  </a:lnTo>
                  <a:lnTo>
                    <a:pt x="242" y="455"/>
                  </a:lnTo>
                  <a:lnTo>
                    <a:pt x="241" y="457"/>
                  </a:lnTo>
                  <a:lnTo>
                    <a:pt x="241" y="459"/>
                  </a:lnTo>
                  <a:lnTo>
                    <a:pt x="240" y="460"/>
                  </a:lnTo>
                  <a:lnTo>
                    <a:pt x="239" y="462"/>
                  </a:lnTo>
                  <a:lnTo>
                    <a:pt x="235" y="465"/>
                  </a:lnTo>
                  <a:lnTo>
                    <a:pt x="234" y="466"/>
                  </a:lnTo>
                  <a:lnTo>
                    <a:pt x="233" y="468"/>
                  </a:lnTo>
                  <a:lnTo>
                    <a:pt x="232" y="470"/>
                  </a:lnTo>
                  <a:lnTo>
                    <a:pt x="230" y="474"/>
                  </a:lnTo>
                  <a:lnTo>
                    <a:pt x="229" y="476"/>
                  </a:lnTo>
                  <a:lnTo>
                    <a:pt x="229" y="480"/>
                  </a:lnTo>
                  <a:lnTo>
                    <a:pt x="227" y="488"/>
                  </a:lnTo>
                  <a:lnTo>
                    <a:pt x="227" y="491"/>
                  </a:lnTo>
                  <a:lnTo>
                    <a:pt x="226" y="493"/>
                  </a:lnTo>
                  <a:lnTo>
                    <a:pt x="225" y="496"/>
                  </a:lnTo>
                  <a:lnTo>
                    <a:pt x="224" y="498"/>
                  </a:lnTo>
                  <a:lnTo>
                    <a:pt x="222" y="499"/>
                  </a:lnTo>
                  <a:lnTo>
                    <a:pt x="219" y="503"/>
                  </a:lnTo>
                  <a:lnTo>
                    <a:pt x="218" y="505"/>
                  </a:lnTo>
                  <a:lnTo>
                    <a:pt x="218" y="506"/>
                  </a:lnTo>
                  <a:lnTo>
                    <a:pt x="218" y="507"/>
                  </a:lnTo>
                  <a:lnTo>
                    <a:pt x="217" y="507"/>
                  </a:lnTo>
                  <a:lnTo>
                    <a:pt x="215" y="507"/>
                  </a:lnTo>
                  <a:lnTo>
                    <a:pt x="202" y="506"/>
                  </a:lnTo>
                  <a:lnTo>
                    <a:pt x="198" y="506"/>
                  </a:lnTo>
                  <a:lnTo>
                    <a:pt x="195" y="505"/>
                  </a:lnTo>
                  <a:lnTo>
                    <a:pt x="193" y="505"/>
                  </a:lnTo>
                  <a:lnTo>
                    <a:pt x="191" y="504"/>
                  </a:lnTo>
                  <a:lnTo>
                    <a:pt x="189" y="502"/>
                  </a:lnTo>
                  <a:lnTo>
                    <a:pt x="187" y="501"/>
                  </a:lnTo>
                  <a:lnTo>
                    <a:pt x="186" y="499"/>
                  </a:lnTo>
                  <a:lnTo>
                    <a:pt x="185" y="498"/>
                  </a:lnTo>
                  <a:lnTo>
                    <a:pt x="184" y="496"/>
                  </a:lnTo>
                  <a:lnTo>
                    <a:pt x="184" y="494"/>
                  </a:lnTo>
                  <a:lnTo>
                    <a:pt x="184" y="491"/>
                  </a:lnTo>
                  <a:lnTo>
                    <a:pt x="184" y="489"/>
                  </a:lnTo>
                  <a:lnTo>
                    <a:pt x="184" y="482"/>
                  </a:lnTo>
                  <a:lnTo>
                    <a:pt x="184" y="480"/>
                  </a:lnTo>
                  <a:lnTo>
                    <a:pt x="184" y="478"/>
                  </a:lnTo>
                  <a:lnTo>
                    <a:pt x="184" y="476"/>
                  </a:lnTo>
                  <a:lnTo>
                    <a:pt x="183" y="476"/>
                  </a:lnTo>
                  <a:lnTo>
                    <a:pt x="182" y="474"/>
                  </a:lnTo>
                  <a:lnTo>
                    <a:pt x="181" y="473"/>
                  </a:lnTo>
                  <a:lnTo>
                    <a:pt x="179" y="471"/>
                  </a:lnTo>
                  <a:lnTo>
                    <a:pt x="177" y="470"/>
                  </a:lnTo>
                  <a:lnTo>
                    <a:pt x="175" y="469"/>
                  </a:lnTo>
                  <a:lnTo>
                    <a:pt x="172" y="468"/>
                  </a:lnTo>
                  <a:lnTo>
                    <a:pt x="171" y="467"/>
                  </a:lnTo>
                  <a:lnTo>
                    <a:pt x="169" y="467"/>
                  </a:lnTo>
                  <a:lnTo>
                    <a:pt x="162" y="466"/>
                  </a:lnTo>
                  <a:lnTo>
                    <a:pt x="160" y="465"/>
                  </a:lnTo>
                  <a:lnTo>
                    <a:pt x="154" y="464"/>
                  </a:lnTo>
                  <a:lnTo>
                    <a:pt x="150" y="463"/>
                  </a:lnTo>
                  <a:lnTo>
                    <a:pt x="139" y="458"/>
                  </a:lnTo>
                  <a:lnTo>
                    <a:pt x="136" y="456"/>
                  </a:lnTo>
                  <a:lnTo>
                    <a:pt x="133" y="455"/>
                  </a:lnTo>
                  <a:lnTo>
                    <a:pt x="132" y="454"/>
                  </a:lnTo>
                  <a:lnTo>
                    <a:pt x="129" y="453"/>
                  </a:lnTo>
                  <a:lnTo>
                    <a:pt x="128" y="452"/>
                  </a:lnTo>
                  <a:lnTo>
                    <a:pt x="127" y="451"/>
                  </a:lnTo>
                  <a:lnTo>
                    <a:pt x="126" y="449"/>
                  </a:lnTo>
                  <a:lnTo>
                    <a:pt x="125" y="445"/>
                  </a:lnTo>
                  <a:lnTo>
                    <a:pt x="123" y="443"/>
                  </a:lnTo>
                  <a:lnTo>
                    <a:pt x="122" y="442"/>
                  </a:lnTo>
                  <a:lnTo>
                    <a:pt x="119" y="438"/>
                  </a:lnTo>
                  <a:lnTo>
                    <a:pt x="118" y="437"/>
                  </a:lnTo>
                  <a:lnTo>
                    <a:pt x="117" y="436"/>
                  </a:lnTo>
                  <a:lnTo>
                    <a:pt x="116" y="435"/>
                  </a:lnTo>
                  <a:lnTo>
                    <a:pt x="115" y="435"/>
                  </a:lnTo>
                  <a:lnTo>
                    <a:pt x="114" y="434"/>
                  </a:lnTo>
                  <a:lnTo>
                    <a:pt x="113" y="434"/>
                  </a:lnTo>
                  <a:lnTo>
                    <a:pt x="111" y="434"/>
                  </a:lnTo>
                  <a:lnTo>
                    <a:pt x="110" y="434"/>
                  </a:lnTo>
                  <a:lnTo>
                    <a:pt x="108" y="435"/>
                  </a:lnTo>
                  <a:lnTo>
                    <a:pt x="100" y="438"/>
                  </a:lnTo>
                  <a:lnTo>
                    <a:pt x="93" y="440"/>
                  </a:lnTo>
                  <a:lnTo>
                    <a:pt x="90" y="441"/>
                  </a:lnTo>
                  <a:lnTo>
                    <a:pt x="82" y="442"/>
                  </a:lnTo>
                  <a:lnTo>
                    <a:pt x="72" y="444"/>
                  </a:lnTo>
                  <a:lnTo>
                    <a:pt x="69" y="444"/>
                  </a:lnTo>
                  <a:lnTo>
                    <a:pt x="66" y="445"/>
                  </a:lnTo>
                  <a:lnTo>
                    <a:pt x="64" y="445"/>
                  </a:lnTo>
                  <a:lnTo>
                    <a:pt x="61" y="445"/>
                  </a:lnTo>
                  <a:lnTo>
                    <a:pt x="59" y="445"/>
                  </a:lnTo>
                  <a:lnTo>
                    <a:pt x="57" y="444"/>
                  </a:lnTo>
                  <a:lnTo>
                    <a:pt x="55" y="444"/>
                  </a:lnTo>
                  <a:lnTo>
                    <a:pt x="53" y="443"/>
                  </a:lnTo>
                  <a:lnTo>
                    <a:pt x="50" y="442"/>
                  </a:lnTo>
                  <a:lnTo>
                    <a:pt x="49" y="442"/>
                  </a:lnTo>
                  <a:lnTo>
                    <a:pt x="48" y="441"/>
                  </a:lnTo>
                  <a:lnTo>
                    <a:pt x="47" y="439"/>
                  </a:lnTo>
                  <a:lnTo>
                    <a:pt x="46" y="437"/>
                  </a:lnTo>
                  <a:lnTo>
                    <a:pt x="44" y="435"/>
                  </a:lnTo>
                  <a:lnTo>
                    <a:pt x="44" y="433"/>
                  </a:lnTo>
                  <a:lnTo>
                    <a:pt x="44" y="431"/>
                  </a:lnTo>
                  <a:lnTo>
                    <a:pt x="44" y="430"/>
                  </a:lnTo>
                  <a:lnTo>
                    <a:pt x="44" y="428"/>
                  </a:lnTo>
                  <a:lnTo>
                    <a:pt x="45" y="427"/>
                  </a:lnTo>
                  <a:lnTo>
                    <a:pt x="46" y="425"/>
                  </a:lnTo>
                  <a:lnTo>
                    <a:pt x="47" y="422"/>
                  </a:lnTo>
                  <a:lnTo>
                    <a:pt x="51" y="418"/>
                  </a:lnTo>
                  <a:lnTo>
                    <a:pt x="57" y="410"/>
                  </a:lnTo>
                  <a:lnTo>
                    <a:pt x="60" y="407"/>
                  </a:lnTo>
                  <a:lnTo>
                    <a:pt x="62" y="403"/>
                  </a:lnTo>
                  <a:lnTo>
                    <a:pt x="65" y="400"/>
                  </a:lnTo>
                  <a:lnTo>
                    <a:pt x="66" y="398"/>
                  </a:lnTo>
                  <a:lnTo>
                    <a:pt x="66" y="396"/>
                  </a:lnTo>
                  <a:lnTo>
                    <a:pt x="67" y="395"/>
                  </a:lnTo>
                  <a:lnTo>
                    <a:pt x="67" y="394"/>
                  </a:lnTo>
                  <a:lnTo>
                    <a:pt x="67" y="393"/>
                  </a:lnTo>
                  <a:lnTo>
                    <a:pt x="67" y="392"/>
                  </a:lnTo>
                  <a:lnTo>
                    <a:pt x="66" y="391"/>
                  </a:lnTo>
                  <a:lnTo>
                    <a:pt x="65" y="391"/>
                  </a:lnTo>
                  <a:lnTo>
                    <a:pt x="63" y="390"/>
                  </a:lnTo>
                  <a:lnTo>
                    <a:pt x="62" y="389"/>
                  </a:lnTo>
                  <a:lnTo>
                    <a:pt x="61" y="387"/>
                  </a:lnTo>
                  <a:lnTo>
                    <a:pt x="62" y="386"/>
                  </a:lnTo>
                  <a:lnTo>
                    <a:pt x="62" y="385"/>
                  </a:lnTo>
                  <a:lnTo>
                    <a:pt x="66" y="370"/>
                  </a:lnTo>
                  <a:lnTo>
                    <a:pt x="67" y="366"/>
                  </a:lnTo>
                  <a:lnTo>
                    <a:pt x="68" y="362"/>
                  </a:lnTo>
                  <a:lnTo>
                    <a:pt x="69" y="360"/>
                  </a:lnTo>
                  <a:lnTo>
                    <a:pt x="70" y="357"/>
                  </a:lnTo>
                  <a:lnTo>
                    <a:pt x="70" y="354"/>
                  </a:lnTo>
                  <a:lnTo>
                    <a:pt x="72" y="351"/>
                  </a:lnTo>
                  <a:lnTo>
                    <a:pt x="75" y="347"/>
                  </a:lnTo>
                  <a:lnTo>
                    <a:pt x="77" y="345"/>
                  </a:lnTo>
                  <a:lnTo>
                    <a:pt x="78" y="343"/>
                  </a:lnTo>
                  <a:lnTo>
                    <a:pt x="80" y="341"/>
                  </a:lnTo>
                  <a:lnTo>
                    <a:pt x="81" y="339"/>
                  </a:lnTo>
                  <a:lnTo>
                    <a:pt x="81" y="338"/>
                  </a:lnTo>
                  <a:lnTo>
                    <a:pt x="82" y="337"/>
                  </a:lnTo>
                  <a:lnTo>
                    <a:pt x="82" y="336"/>
                  </a:lnTo>
                  <a:lnTo>
                    <a:pt x="84" y="335"/>
                  </a:lnTo>
                  <a:lnTo>
                    <a:pt x="85" y="335"/>
                  </a:lnTo>
                  <a:lnTo>
                    <a:pt x="88" y="334"/>
                  </a:lnTo>
                  <a:lnTo>
                    <a:pt x="90" y="334"/>
                  </a:lnTo>
                  <a:lnTo>
                    <a:pt x="92" y="333"/>
                  </a:lnTo>
                  <a:lnTo>
                    <a:pt x="93" y="331"/>
                  </a:lnTo>
                  <a:lnTo>
                    <a:pt x="95" y="329"/>
                  </a:lnTo>
                  <a:lnTo>
                    <a:pt x="97" y="328"/>
                  </a:lnTo>
                  <a:lnTo>
                    <a:pt x="98" y="326"/>
                  </a:lnTo>
                  <a:lnTo>
                    <a:pt x="99" y="323"/>
                  </a:lnTo>
                  <a:lnTo>
                    <a:pt x="100" y="321"/>
                  </a:lnTo>
                  <a:lnTo>
                    <a:pt x="100" y="319"/>
                  </a:lnTo>
                  <a:lnTo>
                    <a:pt x="99" y="317"/>
                  </a:lnTo>
                  <a:lnTo>
                    <a:pt x="98" y="313"/>
                  </a:lnTo>
                  <a:lnTo>
                    <a:pt x="98" y="312"/>
                  </a:lnTo>
                  <a:lnTo>
                    <a:pt x="97" y="311"/>
                  </a:lnTo>
                  <a:lnTo>
                    <a:pt x="93" y="306"/>
                  </a:lnTo>
                  <a:lnTo>
                    <a:pt x="93" y="304"/>
                  </a:lnTo>
                  <a:lnTo>
                    <a:pt x="93" y="302"/>
                  </a:lnTo>
                  <a:lnTo>
                    <a:pt x="91" y="297"/>
                  </a:lnTo>
                  <a:lnTo>
                    <a:pt x="90" y="294"/>
                  </a:lnTo>
                  <a:lnTo>
                    <a:pt x="90" y="293"/>
                  </a:lnTo>
                  <a:lnTo>
                    <a:pt x="91" y="287"/>
                  </a:lnTo>
                  <a:lnTo>
                    <a:pt x="91" y="283"/>
                  </a:lnTo>
                  <a:lnTo>
                    <a:pt x="91" y="283"/>
                  </a:lnTo>
                  <a:lnTo>
                    <a:pt x="91" y="282"/>
                  </a:lnTo>
                  <a:lnTo>
                    <a:pt x="92" y="280"/>
                  </a:lnTo>
                  <a:lnTo>
                    <a:pt x="93" y="278"/>
                  </a:lnTo>
                  <a:lnTo>
                    <a:pt x="93" y="277"/>
                  </a:lnTo>
                  <a:lnTo>
                    <a:pt x="93" y="276"/>
                  </a:lnTo>
                  <a:lnTo>
                    <a:pt x="93" y="275"/>
                  </a:lnTo>
                  <a:lnTo>
                    <a:pt x="93" y="274"/>
                  </a:lnTo>
                  <a:lnTo>
                    <a:pt x="93" y="272"/>
                  </a:lnTo>
                  <a:lnTo>
                    <a:pt x="92" y="272"/>
                  </a:lnTo>
                  <a:lnTo>
                    <a:pt x="91" y="271"/>
                  </a:lnTo>
                  <a:lnTo>
                    <a:pt x="88" y="269"/>
                  </a:lnTo>
                  <a:lnTo>
                    <a:pt x="83" y="266"/>
                  </a:lnTo>
                  <a:lnTo>
                    <a:pt x="80" y="263"/>
                  </a:lnTo>
                  <a:lnTo>
                    <a:pt x="79" y="262"/>
                  </a:lnTo>
                  <a:lnTo>
                    <a:pt x="78" y="261"/>
                  </a:lnTo>
                  <a:lnTo>
                    <a:pt x="77" y="260"/>
                  </a:lnTo>
                  <a:lnTo>
                    <a:pt x="76" y="259"/>
                  </a:lnTo>
                  <a:lnTo>
                    <a:pt x="76" y="257"/>
                  </a:lnTo>
                  <a:lnTo>
                    <a:pt x="76" y="254"/>
                  </a:lnTo>
                  <a:lnTo>
                    <a:pt x="76" y="252"/>
                  </a:lnTo>
                  <a:lnTo>
                    <a:pt x="76" y="250"/>
                  </a:lnTo>
                  <a:lnTo>
                    <a:pt x="75" y="249"/>
                  </a:lnTo>
                  <a:lnTo>
                    <a:pt x="75" y="248"/>
                  </a:lnTo>
                  <a:lnTo>
                    <a:pt x="74" y="246"/>
                  </a:lnTo>
                  <a:lnTo>
                    <a:pt x="72" y="245"/>
                  </a:lnTo>
                  <a:lnTo>
                    <a:pt x="71" y="244"/>
                  </a:lnTo>
                  <a:lnTo>
                    <a:pt x="70" y="243"/>
                  </a:lnTo>
                  <a:lnTo>
                    <a:pt x="68" y="242"/>
                  </a:lnTo>
                  <a:lnTo>
                    <a:pt x="67" y="242"/>
                  </a:lnTo>
                  <a:lnTo>
                    <a:pt x="65" y="242"/>
                  </a:lnTo>
                  <a:lnTo>
                    <a:pt x="62" y="243"/>
                  </a:lnTo>
                  <a:lnTo>
                    <a:pt x="59" y="244"/>
                  </a:lnTo>
                  <a:lnTo>
                    <a:pt x="57" y="245"/>
                  </a:lnTo>
                  <a:lnTo>
                    <a:pt x="54" y="247"/>
                  </a:lnTo>
                  <a:lnTo>
                    <a:pt x="53" y="247"/>
                  </a:lnTo>
                  <a:lnTo>
                    <a:pt x="52" y="247"/>
                  </a:lnTo>
                  <a:lnTo>
                    <a:pt x="50" y="247"/>
                  </a:lnTo>
                  <a:lnTo>
                    <a:pt x="49" y="247"/>
                  </a:lnTo>
                  <a:lnTo>
                    <a:pt x="48" y="246"/>
                  </a:lnTo>
                  <a:lnTo>
                    <a:pt x="47" y="245"/>
                  </a:lnTo>
                  <a:lnTo>
                    <a:pt x="46" y="243"/>
                  </a:lnTo>
                  <a:lnTo>
                    <a:pt x="46" y="240"/>
                  </a:lnTo>
                  <a:lnTo>
                    <a:pt x="46" y="238"/>
                  </a:lnTo>
                  <a:lnTo>
                    <a:pt x="46" y="237"/>
                  </a:lnTo>
                  <a:lnTo>
                    <a:pt x="46" y="236"/>
                  </a:lnTo>
                  <a:lnTo>
                    <a:pt x="45" y="234"/>
                  </a:lnTo>
                  <a:lnTo>
                    <a:pt x="44" y="234"/>
                  </a:lnTo>
                  <a:lnTo>
                    <a:pt x="43" y="233"/>
                  </a:lnTo>
                  <a:lnTo>
                    <a:pt x="40" y="231"/>
                  </a:lnTo>
                  <a:lnTo>
                    <a:pt x="37" y="229"/>
                  </a:lnTo>
                  <a:lnTo>
                    <a:pt x="35" y="227"/>
                  </a:lnTo>
                  <a:lnTo>
                    <a:pt x="31" y="226"/>
                  </a:lnTo>
                  <a:lnTo>
                    <a:pt x="29" y="224"/>
                  </a:lnTo>
                  <a:lnTo>
                    <a:pt x="24" y="220"/>
                  </a:lnTo>
                  <a:lnTo>
                    <a:pt x="23" y="219"/>
                  </a:lnTo>
                  <a:lnTo>
                    <a:pt x="22" y="218"/>
                  </a:lnTo>
                  <a:lnTo>
                    <a:pt x="20" y="217"/>
                  </a:lnTo>
                  <a:lnTo>
                    <a:pt x="7" y="201"/>
                  </a:lnTo>
                  <a:lnTo>
                    <a:pt x="2" y="195"/>
                  </a:lnTo>
                  <a:lnTo>
                    <a:pt x="2" y="193"/>
                  </a:lnTo>
                  <a:lnTo>
                    <a:pt x="0" y="191"/>
                  </a:lnTo>
                  <a:lnTo>
                    <a:pt x="0" y="190"/>
                  </a:lnTo>
                  <a:lnTo>
                    <a:pt x="0" y="189"/>
                  </a:lnTo>
                  <a:lnTo>
                    <a:pt x="1" y="189"/>
                  </a:lnTo>
                  <a:lnTo>
                    <a:pt x="8" y="187"/>
                  </a:lnTo>
                  <a:lnTo>
                    <a:pt x="13" y="185"/>
                  </a:lnTo>
                  <a:lnTo>
                    <a:pt x="14" y="184"/>
                  </a:lnTo>
                  <a:lnTo>
                    <a:pt x="16" y="183"/>
                  </a:lnTo>
                  <a:lnTo>
                    <a:pt x="17" y="182"/>
                  </a:lnTo>
                  <a:lnTo>
                    <a:pt x="18" y="181"/>
                  </a:lnTo>
                  <a:lnTo>
                    <a:pt x="19" y="181"/>
                  </a:lnTo>
                  <a:lnTo>
                    <a:pt x="20" y="180"/>
                  </a:lnTo>
                  <a:lnTo>
                    <a:pt x="21" y="178"/>
                  </a:lnTo>
                  <a:lnTo>
                    <a:pt x="22" y="176"/>
                  </a:lnTo>
                  <a:lnTo>
                    <a:pt x="23" y="170"/>
                  </a:lnTo>
                  <a:lnTo>
                    <a:pt x="24" y="170"/>
                  </a:lnTo>
                  <a:lnTo>
                    <a:pt x="25" y="168"/>
                  </a:lnTo>
                  <a:lnTo>
                    <a:pt x="25" y="165"/>
                  </a:lnTo>
                  <a:lnTo>
                    <a:pt x="27" y="163"/>
                  </a:lnTo>
                  <a:lnTo>
                    <a:pt x="28" y="161"/>
                  </a:lnTo>
                  <a:lnTo>
                    <a:pt x="31" y="158"/>
                  </a:lnTo>
                  <a:lnTo>
                    <a:pt x="33" y="157"/>
                  </a:lnTo>
                  <a:lnTo>
                    <a:pt x="34" y="154"/>
                  </a:lnTo>
                  <a:lnTo>
                    <a:pt x="37" y="148"/>
                  </a:lnTo>
                  <a:lnTo>
                    <a:pt x="38" y="147"/>
                  </a:lnTo>
                  <a:lnTo>
                    <a:pt x="39" y="146"/>
                  </a:lnTo>
                  <a:lnTo>
                    <a:pt x="41" y="144"/>
                  </a:lnTo>
                  <a:lnTo>
                    <a:pt x="43" y="142"/>
                  </a:lnTo>
                  <a:lnTo>
                    <a:pt x="51" y="137"/>
                  </a:lnTo>
                  <a:lnTo>
                    <a:pt x="57" y="134"/>
                  </a:lnTo>
                  <a:lnTo>
                    <a:pt x="60" y="130"/>
                  </a:lnTo>
                  <a:lnTo>
                    <a:pt x="61" y="129"/>
                  </a:lnTo>
                  <a:lnTo>
                    <a:pt x="62" y="128"/>
                  </a:lnTo>
                  <a:lnTo>
                    <a:pt x="64" y="125"/>
                  </a:lnTo>
                  <a:lnTo>
                    <a:pt x="65" y="123"/>
                  </a:lnTo>
                  <a:lnTo>
                    <a:pt x="66" y="119"/>
                  </a:lnTo>
                  <a:lnTo>
                    <a:pt x="69" y="112"/>
                  </a:lnTo>
                  <a:lnTo>
                    <a:pt x="70" y="108"/>
                  </a:lnTo>
                  <a:lnTo>
                    <a:pt x="70" y="107"/>
                  </a:lnTo>
                  <a:lnTo>
                    <a:pt x="71" y="106"/>
                  </a:lnTo>
                  <a:lnTo>
                    <a:pt x="72" y="104"/>
                  </a:lnTo>
                  <a:lnTo>
                    <a:pt x="75" y="102"/>
                  </a:lnTo>
                  <a:lnTo>
                    <a:pt x="76" y="101"/>
                  </a:lnTo>
                  <a:lnTo>
                    <a:pt x="77" y="100"/>
                  </a:lnTo>
                  <a:lnTo>
                    <a:pt x="78" y="98"/>
                  </a:lnTo>
                  <a:lnTo>
                    <a:pt x="82" y="87"/>
                  </a:lnTo>
                  <a:lnTo>
                    <a:pt x="82" y="86"/>
                  </a:lnTo>
                  <a:lnTo>
                    <a:pt x="82" y="84"/>
                  </a:lnTo>
                  <a:lnTo>
                    <a:pt x="83" y="83"/>
                  </a:lnTo>
                  <a:lnTo>
                    <a:pt x="83" y="82"/>
                  </a:lnTo>
                  <a:lnTo>
                    <a:pt x="82" y="80"/>
                  </a:lnTo>
                  <a:lnTo>
                    <a:pt x="82" y="77"/>
                  </a:lnTo>
                  <a:lnTo>
                    <a:pt x="82" y="75"/>
                  </a:lnTo>
                  <a:lnTo>
                    <a:pt x="82" y="73"/>
                  </a:lnTo>
                  <a:lnTo>
                    <a:pt x="82" y="70"/>
                  </a:lnTo>
                  <a:lnTo>
                    <a:pt x="82" y="68"/>
                  </a:lnTo>
                  <a:lnTo>
                    <a:pt x="82" y="66"/>
                  </a:lnTo>
                  <a:lnTo>
                    <a:pt x="83" y="64"/>
                  </a:lnTo>
                  <a:lnTo>
                    <a:pt x="84" y="62"/>
                  </a:lnTo>
                  <a:lnTo>
                    <a:pt x="85" y="60"/>
                  </a:lnTo>
                  <a:lnTo>
                    <a:pt x="86" y="58"/>
                  </a:lnTo>
                  <a:lnTo>
                    <a:pt x="87" y="57"/>
                  </a:lnTo>
                  <a:lnTo>
                    <a:pt x="90" y="55"/>
                  </a:lnTo>
                  <a:lnTo>
                    <a:pt x="92" y="54"/>
                  </a:lnTo>
                  <a:lnTo>
                    <a:pt x="93" y="52"/>
                  </a:lnTo>
                  <a:lnTo>
                    <a:pt x="93" y="51"/>
                  </a:lnTo>
                  <a:lnTo>
                    <a:pt x="94" y="48"/>
                  </a:lnTo>
                  <a:lnTo>
                    <a:pt x="96" y="44"/>
                  </a:lnTo>
                  <a:lnTo>
                    <a:pt x="97" y="42"/>
                  </a:lnTo>
                  <a:lnTo>
                    <a:pt x="98" y="41"/>
                  </a:lnTo>
                  <a:lnTo>
                    <a:pt x="101" y="39"/>
                  </a:lnTo>
                  <a:lnTo>
                    <a:pt x="104" y="36"/>
                  </a:lnTo>
                  <a:lnTo>
                    <a:pt x="110" y="32"/>
                  </a:lnTo>
                  <a:lnTo>
                    <a:pt x="111" y="30"/>
                  </a:lnTo>
                  <a:lnTo>
                    <a:pt x="112" y="29"/>
                  </a:lnTo>
                  <a:lnTo>
                    <a:pt x="113" y="28"/>
                  </a:lnTo>
                  <a:lnTo>
                    <a:pt x="114" y="26"/>
                  </a:lnTo>
                  <a:lnTo>
                    <a:pt x="116" y="22"/>
                  </a:lnTo>
                  <a:lnTo>
                    <a:pt x="116" y="20"/>
                  </a:lnTo>
                  <a:lnTo>
                    <a:pt x="117" y="17"/>
                  </a:lnTo>
                  <a:lnTo>
                    <a:pt x="119" y="15"/>
                  </a:lnTo>
                  <a:lnTo>
                    <a:pt x="122" y="12"/>
                  </a:lnTo>
                  <a:lnTo>
                    <a:pt x="124" y="11"/>
                  </a:lnTo>
                  <a:lnTo>
                    <a:pt x="134" y="2"/>
                  </a:lnTo>
                  <a:lnTo>
                    <a:pt x="135" y="2"/>
                  </a:lnTo>
                  <a:lnTo>
                    <a:pt x="135" y="1"/>
                  </a:lnTo>
                  <a:lnTo>
                    <a:pt x="134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9" name="Freeform 16">
              <a:extLst>
                <a:ext uri="{FF2B5EF4-FFF2-40B4-BE49-F238E27FC236}">
                  <a16:creationId xmlns:a16="http://schemas.microsoft.com/office/drawing/2014/main" id="{E1B81B70-D937-497C-9FC7-17A1827FB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2" y="2359"/>
              <a:ext cx="704" cy="451"/>
            </a:xfrm>
            <a:custGeom>
              <a:avLst/>
              <a:gdLst>
                <a:gd name="T0" fmla="*/ 412 w 704"/>
                <a:gd name="T1" fmla="*/ 16 h 451"/>
                <a:gd name="T2" fmla="*/ 397 w 704"/>
                <a:gd name="T3" fmla="*/ 52 h 451"/>
                <a:gd name="T4" fmla="*/ 432 w 704"/>
                <a:gd name="T5" fmla="*/ 55 h 451"/>
                <a:gd name="T6" fmla="*/ 469 w 704"/>
                <a:gd name="T7" fmla="*/ 51 h 451"/>
                <a:gd name="T8" fmla="*/ 504 w 704"/>
                <a:gd name="T9" fmla="*/ 77 h 451"/>
                <a:gd name="T10" fmla="*/ 534 w 704"/>
                <a:gd name="T11" fmla="*/ 91 h 451"/>
                <a:gd name="T12" fmla="*/ 545 w 704"/>
                <a:gd name="T13" fmla="*/ 118 h 451"/>
                <a:gd name="T14" fmla="*/ 571 w 704"/>
                <a:gd name="T15" fmla="*/ 150 h 451"/>
                <a:gd name="T16" fmla="*/ 569 w 704"/>
                <a:gd name="T17" fmla="*/ 178 h 451"/>
                <a:gd name="T18" fmla="*/ 591 w 704"/>
                <a:gd name="T19" fmla="*/ 195 h 451"/>
                <a:gd name="T20" fmla="*/ 617 w 704"/>
                <a:gd name="T21" fmla="*/ 213 h 451"/>
                <a:gd name="T22" fmla="*/ 641 w 704"/>
                <a:gd name="T23" fmla="*/ 215 h 451"/>
                <a:gd name="T24" fmla="*/ 649 w 704"/>
                <a:gd name="T25" fmla="*/ 262 h 451"/>
                <a:gd name="T26" fmla="*/ 642 w 704"/>
                <a:gd name="T27" fmla="*/ 286 h 451"/>
                <a:gd name="T28" fmla="*/ 653 w 704"/>
                <a:gd name="T29" fmla="*/ 319 h 451"/>
                <a:gd name="T30" fmla="*/ 687 w 704"/>
                <a:gd name="T31" fmla="*/ 345 h 451"/>
                <a:gd name="T32" fmla="*/ 704 w 704"/>
                <a:gd name="T33" fmla="*/ 404 h 451"/>
                <a:gd name="T34" fmla="*/ 677 w 704"/>
                <a:gd name="T35" fmla="*/ 419 h 451"/>
                <a:gd name="T36" fmla="*/ 636 w 704"/>
                <a:gd name="T37" fmla="*/ 408 h 451"/>
                <a:gd name="T38" fmla="*/ 607 w 704"/>
                <a:gd name="T39" fmla="*/ 420 h 451"/>
                <a:gd name="T40" fmla="*/ 565 w 704"/>
                <a:gd name="T41" fmla="*/ 394 h 451"/>
                <a:gd name="T42" fmla="*/ 557 w 704"/>
                <a:gd name="T43" fmla="*/ 410 h 451"/>
                <a:gd name="T44" fmla="*/ 520 w 704"/>
                <a:gd name="T45" fmla="*/ 424 h 451"/>
                <a:gd name="T46" fmla="*/ 494 w 704"/>
                <a:gd name="T47" fmla="*/ 406 h 451"/>
                <a:gd name="T48" fmla="*/ 465 w 704"/>
                <a:gd name="T49" fmla="*/ 384 h 451"/>
                <a:gd name="T50" fmla="*/ 430 w 704"/>
                <a:gd name="T51" fmla="*/ 384 h 451"/>
                <a:gd name="T52" fmla="*/ 408 w 704"/>
                <a:gd name="T53" fmla="*/ 413 h 451"/>
                <a:gd name="T54" fmla="*/ 345 w 704"/>
                <a:gd name="T55" fmla="*/ 417 h 451"/>
                <a:gd name="T56" fmla="*/ 308 w 704"/>
                <a:gd name="T57" fmla="*/ 417 h 451"/>
                <a:gd name="T58" fmla="*/ 298 w 704"/>
                <a:gd name="T59" fmla="*/ 383 h 451"/>
                <a:gd name="T60" fmla="*/ 258 w 704"/>
                <a:gd name="T61" fmla="*/ 402 h 451"/>
                <a:gd name="T62" fmla="*/ 241 w 704"/>
                <a:gd name="T63" fmla="*/ 427 h 451"/>
                <a:gd name="T64" fmla="*/ 214 w 704"/>
                <a:gd name="T65" fmla="*/ 438 h 451"/>
                <a:gd name="T66" fmla="*/ 190 w 704"/>
                <a:gd name="T67" fmla="*/ 451 h 451"/>
                <a:gd name="T68" fmla="*/ 159 w 704"/>
                <a:gd name="T69" fmla="*/ 435 h 451"/>
                <a:gd name="T70" fmla="*/ 141 w 704"/>
                <a:gd name="T71" fmla="*/ 428 h 451"/>
                <a:gd name="T72" fmla="*/ 113 w 704"/>
                <a:gd name="T73" fmla="*/ 426 h 451"/>
                <a:gd name="T74" fmla="*/ 94 w 704"/>
                <a:gd name="T75" fmla="*/ 431 h 451"/>
                <a:gd name="T76" fmla="*/ 72 w 704"/>
                <a:gd name="T77" fmla="*/ 438 h 451"/>
                <a:gd name="T78" fmla="*/ 66 w 704"/>
                <a:gd name="T79" fmla="*/ 408 h 451"/>
                <a:gd name="T80" fmla="*/ 50 w 704"/>
                <a:gd name="T81" fmla="*/ 389 h 451"/>
                <a:gd name="T82" fmla="*/ 56 w 704"/>
                <a:gd name="T83" fmla="*/ 318 h 451"/>
                <a:gd name="T84" fmla="*/ 37 w 704"/>
                <a:gd name="T85" fmla="*/ 303 h 451"/>
                <a:gd name="T86" fmla="*/ 22 w 704"/>
                <a:gd name="T87" fmla="*/ 292 h 451"/>
                <a:gd name="T88" fmla="*/ 14 w 704"/>
                <a:gd name="T89" fmla="*/ 280 h 451"/>
                <a:gd name="T90" fmla="*/ 22 w 704"/>
                <a:gd name="T91" fmla="*/ 267 h 451"/>
                <a:gd name="T92" fmla="*/ 24 w 704"/>
                <a:gd name="T93" fmla="*/ 247 h 451"/>
                <a:gd name="T94" fmla="*/ 27 w 704"/>
                <a:gd name="T95" fmla="*/ 236 h 451"/>
                <a:gd name="T96" fmla="*/ 1 w 704"/>
                <a:gd name="T97" fmla="*/ 228 h 451"/>
                <a:gd name="T98" fmla="*/ 26 w 704"/>
                <a:gd name="T99" fmla="*/ 190 h 451"/>
                <a:gd name="T100" fmla="*/ 65 w 704"/>
                <a:gd name="T101" fmla="*/ 187 h 451"/>
                <a:gd name="T102" fmla="*/ 90 w 704"/>
                <a:gd name="T103" fmla="*/ 166 h 451"/>
                <a:gd name="T104" fmla="*/ 124 w 704"/>
                <a:gd name="T105" fmla="*/ 149 h 451"/>
                <a:gd name="T106" fmla="*/ 157 w 704"/>
                <a:gd name="T107" fmla="*/ 128 h 451"/>
                <a:gd name="T108" fmla="*/ 164 w 704"/>
                <a:gd name="T109" fmla="*/ 101 h 451"/>
                <a:gd name="T110" fmla="*/ 207 w 704"/>
                <a:gd name="T111" fmla="*/ 84 h 451"/>
                <a:gd name="T112" fmla="*/ 238 w 704"/>
                <a:gd name="T113" fmla="*/ 73 h 451"/>
                <a:gd name="T114" fmla="*/ 266 w 704"/>
                <a:gd name="T115" fmla="*/ 106 h 451"/>
                <a:gd name="T116" fmla="*/ 299 w 704"/>
                <a:gd name="T117" fmla="*/ 116 h 451"/>
                <a:gd name="T118" fmla="*/ 314 w 704"/>
                <a:gd name="T119" fmla="*/ 90 h 451"/>
                <a:gd name="T120" fmla="*/ 349 w 704"/>
                <a:gd name="T121" fmla="*/ 48 h 451"/>
                <a:gd name="T122" fmla="*/ 395 w 704"/>
                <a:gd name="T123" fmla="*/ 17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" h="451">
                  <a:moveTo>
                    <a:pt x="411" y="0"/>
                  </a:moveTo>
                  <a:lnTo>
                    <a:pt x="412" y="2"/>
                  </a:lnTo>
                  <a:lnTo>
                    <a:pt x="413" y="3"/>
                  </a:lnTo>
                  <a:lnTo>
                    <a:pt x="415" y="4"/>
                  </a:lnTo>
                  <a:lnTo>
                    <a:pt x="416" y="4"/>
                  </a:lnTo>
                  <a:lnTo>
                    <a:pt x="417" y="5"/>
                  </a:lnTo>
                  <a:lnTo>
                    <a:pt x="417" y="6"/>
                  </a:lnTo>
                  <a:lnTo>
                    <a:pt x="417" y="7"/>
                  </a:lnTo>
                  <a:lnTo>
                    <a:pt x="417" y="8"/>
                  </a:lnTo>
                  <a:lnTo>
                    <a:pt x="416" y="9"/>
                  </a:lnTo>
                  <a:lnTo>
                    <a:pt x="416" y="11"/>
                  </a:lnTo>
                  <a:lnTo>
                    <a:pt x="415" y="13"/>
                  </a:lnTo>
                  <a:lnTo>
                    <a:pt x="412" y="16"/>
                  </a:lnTo>
                  <a:lnTo>
                    <a:pt x="410" y="20"/>
                  </a:lnTo>
                  <a:lnTo>
                    <a:pt x="407" y="23"/>
                  </a:lnTo>
                  <a:lnTo>
                    <a:pt x="401" y="31"/>
                  </a:lnTo>
                  <a:lnTo>
                    <a:pt x="397" y="35"/>
                  </a:lnTo>
                  <a:lnTo>
                    <a:pt x="396" y="38"/>
                  </a:lnTo>
                  <a:lnTo>
                    <a:pt x="395" y="40"/>
                  </a:lnTo>
                  <a:lnTo>
                    <a:pt x="394" y="41"/>
                  </a:lnTo>
                  <a:lnTo>
                    <a:pt x="394" y="43"/>
                  </a:lnTo>
                  <a:lnTo>
                    <a:pt x="394" y="44"/>
                  </a:lnTo>
                  <a:lnTo>
                    <a:pt x="394" y="46"/>
                  </a:lnTo>
                  <a:lnTo>
                    <a:pt x="394" y="48"/>
                  </a:lnTo>
                  <a:lnTo>
                    <a:pt x="396" y="50"/>
                  </a:lnTo>
                  <a:lnTo>
                    <a:pt x="397" y="52"/>
                  </a:lnTo>
                  <a:lnTo>
                    <a:pt x="398" y="54"/>
                  </a:lnTo>
                  <a:lnTo>
                    <a:pt x="399" y="55"/>
                  </a:lnTo>
                  <a:lnTo>
                    <a:pt x="400" y="55"/>
                  </a:lnTo>
                  <a:lnTo>
                    <a:pt x="403" y="56"/>
                  </a:lnTo>
                  <a:lnTo>
                    <a:pt x="405" y="57"/>
                  </a:lnTo>
                  <a:lnTo>
                    <a:pt x="407" y="57"/>
                  </a:lnTo>
                  <a:lnTo>
                    <a:pt x="409" y="58"/>
                  </a:lnTo>
                  <a:lnTo>
                    <a:pt x="411" y="58"/>
                  </a:lnTo>
                  <a:lnTo>
                    <a:pt x="414" y="58"/>
                  </a:lnTo>
                  <a:lnTo>
                    <a:pt x="416" y="58"/>
                  </a:lnTo>
                  <a:lnTo>
                    <a:pt x="419" y="57"/>
                  </a:lnTo>
                  <a:lnTo>
                    <a:pt x="422" y="57"/>
                  </a:lnTo>
                  <a:lnTo>
                    <a:pt x="432" y="55"/>
                  </a:lnTo>
                  <a:lnTo>
                    <a:pt x="440" y="54"/>
                  </a:lnTo>
                  <a:lnTo>
                    <a:pt x="443" y="53"/>
                  </a:lnTo>
                  <a:lnTo>
                    <a:pt x="450" y="51"/>
                  </a:lnTo>
                  <a:lnTo>
                    <a:pt x="458" y="48"/>
                  </a:lnTo>
                  <a:lnTo>
                    <a:pt x="460" y="47"/>
                  </a:lnTo>
                  <a:lnTo>
                    <a:pt x="461" y="47"/>
                  </a:lnTo>
                  <a:lnTo>
                    <a:pt x="463" y="47"/>
                  </a:lnTo>
                  <a:lnTo>
                    <a:pt x="464" y="47"/>
                  </a:lnTo>
                  <a:lnTo>
                    <a:pt x="465" y="48"/>
                  </a:lnTo>
                  <a:lnTo>
                    <a:pt x="466" y="48"/>
                  </a:lnTo>
                  <a:lnTo>
                    <a:pt x="467" y="49"/>
                  </a:lnTo>
                  <a:lnTo>
                    <a:pt x="468" y="50"/>
                  </a:lnTo>
                  <a:lnTo>
                    <a:pt x="469" y="51"/>
                  </a:lnTo>
                  <a:lnTo>
                    <a:pt x="472" y="55"/>
                  </a:lnTo>
                  <a:lnTo>
                    <a:pt x="473" y="56"/>
                  </a:lnTo>
                  <a:lnTo>
                    <a:pt x="475" y="58"/>
                  </a:lnTo>
                  <a:lnTo>
                    <a:pt x="476" y="62"/>
                  </a:lnTo>
                  <a:lnTo>
                    <a:pt x="477" y="64"/>
                  </a:lnTo>
                  <a:lnTo>
                    <a:pt x="478" y="65"/>
                  </a:lnTo>
                  <a:lnTo>
                    <a:pt x="479" y="66"/>
                  </a:lnTo>
                  <a:lnTo>
                    <a:pt x="482" y="67"/>
                  </a:lnTo>
                  <a:lnTo>
                    <a:pt x="483" y="68"/>
                  </a:lnTo>
                  <a:lnTo>
                    <a:pt x="486" y="69"/>
                  </a:lnTo>
                  <a:lnTo>
                    <a:pt x="489" y="71"/>
                  </a:lnTo>
                  <a:lnTo>
                    <a:pt x="500" y="76"/>
                  </a:lnTo>
                  <a:lnTo>
                    <a:pt x="504" y="77"/>
                  </a:lnTo>
                  <a:lnTo>
                    <a:pt x="510" y="78"/>
                  </a:lnTo>
                  <a:lnTo>
                    <a:pt x="512" y="79"/>
                  </a:lnTo>
                  <a:lnTo>
                    <a:pt x="519" y="80"/>
                  </a:lnTo>
                  <a:lnTo>
                    <a:pt x="521" y="80"/>
                  </a:lnTo>
                  <a:lnTo>
                    <a:pt x="522" y="81"/>
                  </a:lnTo>
                  <a:lnTo>
                    <a:pt x="525" y="82"/>
                  </a:lnTo>
                  <a:lnTo>
                    <a:pt x="527" y="83"/>
                  </a:lnTo>
                  <a:lnTo>
                    <a:pt x="529" y="84"/>
                  </a:lnTo>
                  <a:lnTo>
                    <a:pt x="531" y="86"/>
                  </a:lnTo>
                  <a:lnTo>
                    <a:pt x="532" y="87"/>
                  </a:lnTo>
                  <a:lnTo>
                    <a:pt x="533" y="89"/>
                  </a:lnTo>
                  <a:lnTo>
                    <a:pt x="534" y="89"/>
                  </a:lnTo>
                  <a:lnTo>
                    <a:pt x="534" y="91"/>
                  </a:lnTo>
                  <a:lnTo>
                    <a:pt x="534" y="93"/>
                  </a:lnTo>
                  <a:lnTo>
                    <a:pt x="534" y="95"/>
                  </a:lnTo>
                  <a:lnTo>
                    <a:pt x="534" y="102"/>
                  </a:lnTo>
                  <a:lnTo>
                    <a:pt x="534" y="104"/>
                  </a:lnTo>
                  <a:lnTo>
                    <a:pt x="534" y="107"/>
                  </a:lnTo>
                  <a:lnTo>
                    <a:pt x="534" y="109"/>
                  </a:lnTo>
                  <a:lnTo>
                    <a:pt x="535" y="111"/>
                  </a:lnTo>
                  <a:lnTo>
                    <a:pt x="536" y="112"/>
                  </a:lnTo>
                  <a:lnTo>
                    <a:pt x="537" y="114"/>
                  </a:lnTo>
                  <a:lnTo>
                    <a:pt x="539" y="115"/>
                  </a:lnTo>
                  <a:lnTo>
                    <a:pt x="541" y="117"/>
                  </a:lnTo>
                  <a:lnTo>
                    <a:pt x="543" y="118"/>
                  </a:lnTo>
                  <a:lnTo>
                    <a:pt x="545" y="118"/>
                  </a:lnTo>
                  <a:lnTo>
                    <a:pt x="548" y="119"/>
                  </a:lnTo>
                  <a:lnTo>
                    <a:pt x="552" y="119"/>
                  </a:lnTo>
                  <a:lnTo>
                    <a:pt x="565" y="120"/>
                  </a:lnTo>
                  <a:lnTo>
                    <a:pt x="567" y="120"/>
                  </a:lnTo>
                  <a:lnTo>
                    <a:pt x="568" y="120"/>
                  </a:lnTo>
                  <a:lnTo>
                    <a:pt x="568" y="123"/>
                  </a:lnTo>
                  <a:lnTo>
                    <a:pt x="568" y="129"/>
                  </a:lnTo>
                  <a:lnTo>
                    <a:pt x="568" y="133"/>
                  </a:lnTo>
                  <a:lnTo>
                    <a:pt x="570" y="140"/>
                  </a:lnTo>
                  <a:lnTo>
                    <a:pt x="571" y="143"/>
                  </a:lnTo>
                  <a:lnTo>
                    <a:pt x="571" y="145"/>
                  </a:lnTo>
                  <a:lnTo>
                    <a:pt x="571" y="147"/>
                  </a:lnTo>
                  <a:lnTo>
                    <a:pt x="571" y="150"/>
                  </a:lnTo>
                  <a:lnTo>
                    <a:pt x="570" y="153"/>
                  </a:lnTo>
                  <a:lnTo>
                    <a:pt x="569" y="155"/>
                  </a:lnTo>
                  <a:lnTo>
                    <a:pt x="567" y="159"/>
                  </a:lnTo>
                  <a:lnTo>
                    <a:pt x="566" y="160"/>
                  </a:lnTo>
                  <a:lnTo>
                    <a:pt x="566" y="162"/>
                  </a:lnTo>
                  <a:lnTo>
                    <a:pt x="566" y="163"/>
                  </a:lnTo>
                  <a:lnTo>
                    <a:pt x="566" y="165"/>
                  </a:lnTo>
                  <a:lnTo>
                    <a:pt x="566" y="168"/>
                  </a:lnTo>
                  <a:lnTo>
                    <a:pt x="567" y="171"/>
                  </a:lnTo>
                  <a:lnTo>
                    <a:pt x="568" y="174"/>
                  </a:lnTo>
                  <a:lnTo>
                    <a:pt x="568" y="176"/>
                  </a:lnTo>
                  <a:lnTo>
                    <a:pt x="569" y="177"/>
                  </a:lnTo>
                  <a:lnTo>
                    <a:pt x="569" y="178"/>
                  </a:lnTo>
                  <a:lnTo>
                    <a:pt x="571" y="179"/>
                  </a:lnTo>
                  <a:lnTo>
                    <a:pt x="572" y="179"/>
                  </a:lnTo>
                  <a:lnTo>
                    <a:pt x="574" y="180"/>
                  </a:lnTo>
                  <a:lnTo>
                    <a:pt x="575" y="181"/>
                  </a:lnTo>
                  <a:lnTo>
                    <a:pt x="577" y="182"/>
                  </a:lnTo>
                  <a:lnTo>
                    <a:pt x="580" y="183"/>
                  </a:lnTo>
                  <a:lnTo>
                    <a:pt x="581" y="184"/>
                  </a:lnTo>
                  <a:lnTo>
                    <a:pt x="582" y="184"/>
                  </a:lnTo>
                  <a:lnTo>
                    <a:pt x="583" y="185"/>
                  </a:lnTo>
                  <a:lnTo>
                    <a:pt x="583" y="187"/>
                  </a:lnTo>
                  <a:lnTo>
                    <a:pt x="588" y="192"/>
                  </a:lnTo>
                  <a:lnTo>
                    <a:pt x="589" y="193"/>
                  </a:lnTo>
                  <a:lnTo>
                    <a:pt x="591" y="195"/>
                  </a:lnTo>
                  <a:lnTo>
                    <a:pt x="592" y="197"/>
                  </a:lnTo>
                  <a:lnTo>
                    <a:pt x="593" y="198"/>
                  </a:lnTo>
                  <a:lnTo>
                    <a:pt x="600" y="202"/>
                  </a:lnTo>
                  <a:lnTo>
                    <a:pt x="602" y="204"/>
                  </a:lnTo>
                  <a:lnTo>
                    <a:pt x="604" y="207"/>
                  </a:lnTo>
                  <a:lnTo>
                    <a:pt x="609" y="212"/>
                  </a:lnTo>
                  <a:lnTo>
                    <a:pt x="610" y="213"/>
                  </a:lnTo>
                  <a:lnTo>
                    <a:pt x="611" y="213"/>
                  </a:lnTo>
                  <a:lnTo>
                    <a:pt x="612" y="214"/>
                  </a:lnTo>
                  <a:lnTo>
                    <a:pt x="613" y="214"/>
                  </a:lnTo>
                  <a:lnTo>
                    <a:pt x="614" y="214"/>
                  </a:lnTo>
                  <a:lnTo>
                    <a:pt x="615" y="214"/>
                  </a:lnTo>
                  <a:lnTo>
                    <a:pt x="617" y="213"/>
                  </a:lnTo>
                  <a:lnTo>
                    <a:pt x="621" y="212"/>
                  </a:lnTo>
                  <a:lnTo>
                    <a:pt x="623" y="211"/>
                  </a:lnTo>
                  <a:lnTo>
                    <a:pt x="625" y="210"/>
                  </a:lnTo>
                  <a:lnTo>
                    <a:pt x="629" y="209"/>
                  </a:lnTo>
                  <a:lnTo>
                    <a:pt x="632" y="209"/>
                  </a:lnTo>
                  <a:lnTo>
                    <a:pt x="634" y="209"/>
                  </a:lnTo>
                  <a:lnTo>
                    <a:pt x="635" y="209"/>
                  </a:lnTo>
                  <a:lnTo>
                    <a:pt x="636" y="210"/>
                  </a:lnTo>
                  <a:lnTo>
                    <a:pt x="636" y="210"/>
                  </a:lnTo>
                  <a:lnTo>
                    <a:pt x="637" y="211"/>
                  </a:lnTo>
                  <a:lnTo>
                    <a:pt x="638" y="212"/>
                  </a:lnTo>
                  <a:lnTo>
                    <a:pt x="640" y="213"/>
                  </a:lnTo>
                  <a:lnTo>
                    <a:pt x="641" y="215"/>
                  </a:lnTo>
                  <a:lnTo>
                    <a:pt x="643" y="218"/>
                  </a:lnTo>
                  <a:lnTo>
                    <a:pt x="645" y="222"/>
                  </a:lnTo>
                  <a:lnTo>
                    <a:pt x="652" y="236"/>
                  </a:lnTo>
                  <a:lnTo>
                    <a:pt x="655" y="243"/>
                  </a:lnTo>
                  <a:lnTo>
                    <a:pt x="655" y="244"/>
                  </a:lnTo>
                  <a:lnTo>
                    <a:pt x="655" y="246"/>
                  </a:lnTo>
                  <a:lnTo>
                    <a:pt x="655" y="247"/>
                  </a:lnTo>
                  <a:lnTo>
                    <a:pt x="655" y="247"/>
                  </a:lnTo>
                  <a:lnTo>
                    <a:pt x="655" y="249"/>
                  </a:lnTo>
                  <a:lnTo>
                    <a:pt x="654" y="251"/>
                  </a:lnTo>
                  <a:lnTo>
                    <a:pt x="652" y="255"/>
                  </a:lnTo>
                  <a:lnTo>
                    <a:pt x="650" y="260"/>
                  </a:lnTo>
                  <a:lnTo>
                    <a:pt x="649" y="262"/>
                  </a:lnTo>
                  <a:lnTo>
                    <a:pt x="648" y="263"/>
                  </a:lnTo>
                  <a:lnTo>
                    <a:pt x="648" y="265"/>
                  </a:lnTo>
                  <a:lnTo>
                    <a:pt x="643" y="270"/>
                  </a:lnTo>
                  <a:lnTo>
                    <a:pt x="642" y="272"/>
                  </a:lnTo>
                  <a:lnTo>
                    <a:pt x="641" y="273"/>
                  </a:lnTo>
                  <a:lnTo>
                    <a:pt x="640" y="275"/>
                  </a:lnTo>
                  <a:lnTo>
                    <a:pt x="640" y="277"/>
                  </a:lnTo>
                  <a:lnTo>
                    <a:pt x="640" y="278"/>
                  </a:lnTo>
                  <a:lnTo>
                    <a:pt x="640" y="280"/>
                  </a:lnTo>
                  <a:lnTo>
                    <a:pt x="640" y="281"/>
                  </a:lnTo>
                  <a:lnTo>
                    <a:pt x="640" y="282"/>
                  </a:lnTo>
                  <a:lnTo>
                    <a:pt x="641" y="284"/>
                  </a:lnTo>
                  <a:lnTo>
                    <a:pt x="642" y="286"/>
                  </a:lnTo>
                  <a:lnTo>
                    <a:pt x="645" y="292"/>
                  </a:lnTo>
                  <a:lnTo>
                    <a:pt x="647" y="299"/>
                  </a:lnTo>
                  <a:lnTo>
                    <a:pt x="648" y="304"/>
                  </a:lnTo>
                  <a:lnTo>
                    <a:pt x="649" y="305"/>
                  </a:lnTo>
                  <a:lnTo>
                    <a:pt x="650" y="307"/>
                  </a:lnTo>
                  <a:lnTo>
                    <a:pt x="650" y="308"/>
                  </a:lnTo>
                  <a:lnTo>
                    <a:pt x="649" y="312"/>
                  </a:lnTo>
                  <a:lnTo>
                    <a:pt x="649" y="313"/>
                  </a:lnTo>
                  <a:lnTo>
                    <a:pt x="649" y="315"/>
                  </a:lnTo>
                  <a:lnTo>
                    <a:pt x="649" y="315"/>
                  </a:lnTo>
                  <a:lnTo>
                    <a:pt x="650" y="317"/>
                  </a:lnTo>
                  <a:lnTo>
                    <a:pt x="651" y="318"/>
                  </a:lnTo>
                  <a:lnTo>
                    <a:pt x="653" y="319"/>
                  </a:lnTo>
                  <a:lnTo>
                    <a:pt x="654" y="320"/>
                  </a:lnTo>
                  <a:lnTo>
                    <a:pt x="657" y="321"/>
                  </a:lnTo>
                  <a:lnTo>
                    <a:pt x="662" y="323"/>
                  </a:lnTo>
                  <a:lnTo>
                    <a:pt x="666" y="325"/>
                  </a:lnTo>
                  <a:lnTo>
                    <a:pt x="670" y="326"/>
                  </a:lnTo>
                  <a:lnTo>
                    <a:pt x="671" y="327"/>
                  </a:lnTo>
                  <a:lnTo>
                    <a:pt x="673" y="328"/>
                  </a:lnTo>
                  <a:lnTo>
                    <a:pt x="679" y="333"/>
                  </a:lnTo>
                  <a:lnTo>
                    <a:pt x="681" y="335"/>
                  </a:lnTo>
                  <a:lnTo>
                    <a:pt x="682" y="337"/>
                  </a:lnTo>
                  <a:lnTo>
                    <a:pt x="682" y="338"/>
                  </a:lnTo>
                  <a:lnTo>
                    <a:pt x="684" y="339"/>
                  </a:lnTo>
                  <a:lnTo>
                    <a:pt x="687" y="345"/>
                  </a:lnTo>
                  <a:lnTo>
                    <a:pt x="689" y="349"/>
                  </a:lnTo>
                  <a:lnTo>
                    <a:pt x="691" y="351"/>
                  </a:lnTo>
                  <a:lnTo>
                    <a:pt x="694" y="362"/>
                  </a:lnTo>
                  <a:lnTo>
                    <a:pt x="698" y="372"/>
                  </a:lnTo>
                  <a:lnTo>
                    <a:pt x="701" y="380"/>
                  </a:lnTo>
                  <a:lnTo>
                    <a:pt x="704" y="388"/>
                  </a:lnTo>
                  <a:lnTo>
                    <a:pt x="704" y="390"/>
                  </a:lnTo>
                  <a:lnTo>
                    <a:pt x="704" y="394"/>
                  </a:lnTo>
                  <a:lnTo>
                    <a:pt x="704" y="398"/>
                  </a:lnTo>
                  <a:lnTo>
                    <a:pt x="704" y="399"/>
                  </a:lnTo>
                  <a:lnTo>
                    <a:pt x="704" y="401"/>
                  </a:lnTo>
                  <a:lnTo>
                    <a:pt x="704" y="403"/>
                  </a:lnTo>
                  <a:lnTo>
                    <a:pt x="704" y="404"/>
                  </a:lnTo>
                  <a:lnTo>
                    <a:pt x="703" y="405"/>
                  </a:lnTo>
                  <a:lnTo>
                    <a:pt x="702" y="406"/>
                  </a:lnTo>
                  <a:lnTo>
                    <a:pt x="699" y="409"/>
                  </a:lnTo>
                  <a:lnTo>
                    <a:pt x="696" y="411"/>
                  </a:lnTo>
                  <a:lnTo>
                    <a:pt x="694" y="413"/>
                  </a:lnTo>
                  <a:lnTo>
                    <a:pt x="689" y="416"/>
                  </a:lnTo>
                  <a:lnTo>
                    <a:pt x="688" y="417"/>
                  </a:lnTo>
                  <a:lnTo>
                    <a:pt x="687" y="417"/>
                  </a:lnTo>
                  <a:lnTo>
                    <a:pt x="684" y="417"/>
                  </a:lnTo>
                  <a:lnTo>
                    <a:pt x="683" y="417"/>
                  </a:lnTo>
                  <a:lnTo>
                    <a:pt x="680" y="418"/>
                  </a:lnTo>
                  <a:lnTo>
                    <a:pt x="678" y="419"/>
                  </a:lnTo>
                  <a:lnTo>
                    <a:pt x="677" y="419"/>
                  </a:lnTo>
                  <a:lnTo>
                    <a:pt x="675" y="419"/>
                  </a:lnTo>
                  <a:lnTo>
                    <a:pt x="672" y="419"/>
                  </a:lnTo>
                  <a:lnTo>
                    <a:pt x="669" y="418"/>
                  </a:lnTo>
                  <a:lnTo>
                    <a:pt x="660" y="417"/>
                  </a:lnTo>
                  <a:lnTo>
                    <a:pt x="659" y="417"/>
                  </a:lnTo>
                  <a:lnTo>
                    <a:pt x="655" y="417"/>
                  </a:lnTo>
                  <a:lnTo>
                    <a:pt x="652" y="417"/>
                  </a:lnTo>
                  <a:lnTo>
                    <a:pt x="648" y="416"/>
                  </a:lnTo>
                  <a:lnTo>
                    <a:pt x="646" y="415"/>
                  </a:lnTo>
                  <a:lnTo>
                    <a:pt x="643" y="413"/>
                  </a:lnTo>
                  <a:lnTo>
                    <a:pt x="639" y="409"/>
                  </a:lnTo>
                  <a:lnTo>
                    <a:pt x="638" y="409"/>
                  </a:lnTo>
                  <a:lnTo>
                    <a:pt x="636" y="408"/>
                  </a:lnTo>
                  <a:lnTo>
                    <a:pt x="635" y="408"/>
                  </a:lnTo>
                  <a:lnTo>
                    <a:pt x="629" y="407"/>
                  </a:lnTo>
                  <a:lnTo>
                    <a:pt x="624" y="406"/>
                  </a:lnTo>
                  <a:lnTo>
                    <a:pt x="621" y="406"/>
                  </a:lnTo>
                  <a:lnTo>
                    <a:pt x="620" y="406"/>
                  </a:lnTo>
                  <a:lnTo>
                    <a:pt x="618" y="406"/>
                  </a:lnTo>
                  <a:lnTo>
                    <a:pt x="616" y="407"/>
                  </a:lnTo>
                  <a:lnTo>
                    <a:pt x="615" y="408"/>
                  </a:lnTo>
                  <a:lnTo>
                    <a:pt x="614" y="410"/>
                  </a:lnTo>
                  <a:lnTo>
                    <a:pt x="612" y="412"/>
                  </a:lnTo>
                  <a:lnTo>
                    <a:pt x="609" y="416"/>
                  </a:lnTo>
                  <a:lnTo>
                    <a:pt x="608" y="417"/>
                  </a:lnTo>
                  <a:lnTo>
                    <a:pt x="607" y="420"/>
                  </a:lnTo>
                  <a:lnTo>
                    <a:pt x="603" y="417"/>
                  </a:lnTo>
                  <a:lnTo>
                    <a:pt x="597" y="413"/>
                  </a:lnTo>
                  <a:lnTo>
                    <a:pt x="592" y="408"/>
                  </a:lnTo>
                  <a:lnTo>
                    <a:pt x="590" y="406"/>
                  </a:lnTo>
                  <a:lnTo>
                    <a:pt x="588" y="406"/>
                  </a:lnTo>
                  <a:lnTo>
                    <a:pt x="586" y="404"/>
                  </a:lnTo>
                  <a:lnTo>
                    <a:pt x="583" y="403"/>
                  </a:lnTo>
                  <a:lnTo>
                    <a:pt x="577" y="401"/>
                  </a:lnTo>
                  <a:lnTo>
                    <a:pt x="575" y="400"/>
                  </a:lnTo>
                  <a:lnTo>
                    <a:pt x="570" y="396"/>
                  </a:lnTo>
                  <a:lnTo>
                    <a:pt x="568" y="395"/>
                  </a:lnTo>
                  <a:lnTo>
                    <a:pt x="566" y="394"/>
                  </a:lnTo>
                  <a:lnTo>
                    <a:pt x="565" y="394"/>
                  </a:lnTo>
                  <a:lnTo>
                    <a:pt x="564" y="394"/>
                  </a:lnTo>
                  <a:lnTo>
                    <a:pt x="563" y="394"/>
                  </a:lnTo>
                  <a:lnTo>
                    <a:pt x="562" y="395"/>
                  </a:lnTo>
                  <a:lnTo>
                    <a:pt x="561" y="396"/>
                  </a:lnTo>
                  <a:lnTo>
                    <a:pt x="561" y="397"/>
                  </a:lnTo>
                  <a:lnTo>
                    <a:pt x="560" y="398"/>
                  </a:lnTo>
                  <a:lnTo>
                    <a:pt x="560" y="399"/>
                  </a:lnTo>
                  <a:lnTo>
                    <a:pt x="560" y="405"/>
                  </a:lnTo>
                  <a:lnTo>
                    <a:pt x="560" y="408"/>
                  </a:lnTo>
                  <a:lnTo>
                    <a:pt x="560" y="409"/>
                  </a:lnTo>
                  <a:lnTo>
                    <a:pt x="559" y="410"/>
                  </a:lnTo>
                  <a:lnTo>
                    <a:pt x="558" y="410"/>
                  </a:lnTo>
                  <a:lnTo>
                    <a:pt x="557" y="410"/>
                  </a:lnTo>
                  <a:lnTo>
                    <a:pt x="553" y="410"/>
                  </a:lnTo>
                  <a:lnTo>
                    <a:pt x="550" y="410"/>
                  </a:lnTo>
                  <a:lnTo>
                    <a:pt x="548" y="410"/>
                  </a:lnTo>
                  <a:lnTo>
                    <a:pt x="545" y="411"/>
                  </a:lnTo>
                  <a:lnTo>
                    <a:pt x="543" y="412"/>
                  </a:lnTo>
                  <a:lnTo>
                    <a:pt x="541" y="414"/>
                  </a:lnTo>
                  <a:lnTo>
                    <a:pt x="538" y="415"/>
                  </a:lnTo>
                  <a:lnTo>
                    <a:pt x="531" y="420"/>
                  </a:lnTo>
                  <a:lnTo>
                    <a:pt x="530" y="421"/>
                  </a:lnTo>
                  <a:lnTo>
                    <a:pt x="528" y="422"/>
                  </a:lnTo>
                  <a:lnTo>
                    <a:pt x="527" y="422"/>
                  </a:lnTo>
                  <a:lnTo>
                    <a:pt x="522" y="424"/>
                  </a:lnTo>
                  <a:lnTo>
                    <a:pt x="520" y="424"/>
                  </a:lnTo>
                  <a:lnTo>
                    <a:pt x="518" y="424"/>
                  </a:lnTo>
                  <a:lnTo>
                    <a:pt x="506" y="422"/>
                  </a:lnTo>
                  <a:lnTo>
                    <a:pt x="505" y="421"/>
                  </a:lnTo>
                  <a:lnTo>
                    <a:pt x="504" y="421"/>
                  </a:lnTo>
                  <a:lnTo>
                    <a:pt x="503" y="420"/>
                  </a:lnTo>
                  <a:lnTo>
                    <a:pt x="503" y="419"/>
                  </a:lnTo>
                  <a:lnTo>
                    <a:pt x="502" y="418"/>
                  </a:lnTo>
                  <a:lnTo>
                    <a:pt x="500" y="414"/>
                  </a:lnTo>
                  <a:lnTo>
                    <a:pt x="500" y="413"/>
                  </a:lnTo>
                  <a:lnTo>
                    <a:pt x="499" y="411"/>
                  </a:lnTo>
                  <a:lnTo>
                    <a:pt x="498" y="410"/>
                  </a:lnTo>
                  <a:lnTo>
                    <a:pt x="495" y="407"/>
                  </a:lnTo>
                  <a:lnTo>
                    <a:pt x="494" y="406"/>
                  </a:lnTo>
                  <a:lnTo>
                    <a:pt x="492" y="406"/>
                  </a:lnTo>
                  <a:lnTo>
                    <a:pt x="489" y="404"/>
                  </a:lnTo>
                  <a:lnTo>
                    <a:pt x="485" y="401"/>
                  </a:lnTo>
                  <a:lnTo>
                    <a:pt x="480" y="400"/>
                  </a:lnTo>
                  <a:lnTo>
                    <a:pt x="478" y="399"/>
                  </a:lnTo>
                  <a:lnTo>
                    <a:pt x="477" y="398"/>
                  </a:lnTo>
                  <a:lnTo>
                    <a:pt x="476" y="396"/>
                  </a:lnTo>
                  <a:lnTo>
                    <a:pt x="474" y="395"/>
                  </a:lnTo>
                  <a:lnTo>
                    <a:pt x="471" y="391"/>
                  </a:lnTo>
                  <a:lnTo>
                    <a:pt x="469" y="388"/>
                  </a:lnTo>
                  <a:lnTo>
                    <a:pt x="467" y="387"/>
                  </a:lnTo>
                  <a:lnTo>
                    <a:pt x="466" y="385"/>
                  </a:lnTo>
                  <a:lnTo>
                    <a:pt x="465" y="384"/>
                  </a:lnTo>
                  <a:lnTo>
                    <a:pt x="463" y="383"/>
                  </a:lnTo>
                  <a:lnTo>
                    <a:pt x="460" y="383"/>
                  </a:lnTo>
                  <a:lnTo>
                    <a:pt x="458" y="382"/>
                  </a:lnTo>
                  <a:lnTo>
                    <a:pt x="455" y="381"/>
                  </a:lnTo>
                  <a:lnTo>
                    <a:pt x="453" y="381"/>
                  </a:lnTo>
                  <a:lnTo>
                    <a:pt x="451" y="380"/>
                  </a:lnTo>
                  <a:lnTo>
                    <a:pt x="449" y="380"/>
                  </a:lnTo>
                  <a:lnTo>
                    <a:pt x="445" y="380"/>
                  </a:lnTo>
                  <a:lnTo>
                    <a:pt x="443" y="381"/>
                  </a:lnTo>
                  <a:lnTo>
                    <a:pt x="439" y="382"/>
                  </a:lnTo>
                  <a:lnTo>
                    <a:pt x="432" y="383"/>
                  </a:lnTo>
                  <a:lnTo>
                    <a:pt x="431" y="383"/>
                  </a:lnTo>
                  <a:lnTo>
                    <a:pt x="430" y="384"/>
                  </a:lnTo>
                  <a:lnTo>
                    <a:pt x="428" y="384"/>
                  </a:lnTo>
                  <a:lnTo>
                    <a:pt x="427" y="386"/>
                  </a:lnTo>
                  <a:lnTo>
                    <a:pt x="425" y="387"/>
                  </a:lnTo>
                  <a:lnTo>
                    <a:pt x="423" y="389"/>
                  </a:lnTo>
                  <a:lnTo>
                    <a:pt x="422" y="391"/>
                  </a:lnTo>
                  <a:lnTo>
                    <a:pt x="420" y="395"/>
                  </a:lnTo>
                  <a:lnTo>
                    <a:pt x="418" y="400"/>
                  </a:lnTo>
                  <a:lnTo>
                    <a:pt x="416" y="403"/>
                  </a:lnTo>
                  <a:lnTo>
                    <a:pt x="413" y="406"/>
                  </a:lnTo>
                  <a:lnTo>
                    <a:pt x="411" y="410"/>
                  </a:lnTo>
                  <a:lnTo>
                    <a:pt x="410" y="411"/>
                  </a:lnTo>
                  <a:lnTo>
                    <a:pt x="409" y="412"/>
                  </a:lnTo>
                  <a:lnTo>
                    <a:pt x="408" y="413"/>
                  </a:lnTo>
                  <a:lnTo>
                    <a:pt x="407" y="414"/>
                  </a:lnTo>
                  <a:lnTo>
                    <a:pt x="405" y="414"/>
                  </a:lnTo>
                  <a:lnTo>
                    <a:pt x="404" y="414"/>
                  </a:lnTo>
                  <a:lnTo>
                    <a:pt x="399" y="414"/>
                  </a:lnTo>
                  <a:lnTo>
                    <a:pt x="396" y="414"/>
                  </a:lnTo>
                  <a:lnTo>
                    <a:pt x="392" y="415"/>
                  </a:lnTo>
                  <a:lnTo>
                    <a:pt x="384" y="416"/>
                  </a:lnTo>
                  <a:lnTo>
                    <a:pt x="375" y="416"/>
                  </a:lnTo>
                  <a:lnTo>
                    <a:pt x="364" y="417"/>
                  </a:lnTo>
                  <a:lnTo>
                    <a:pt x="361" y="417"/>
                  </a:lnTo>
                  <a:lnTo>
                    <a:pt x="352" y="417"/>
                  </a:lnTo>
                  <a:lnTo>
                    <a:pt x="349" y="417"/>
                  </a:lnTo>
                  <a:lnTo>
                    <a:pt x="345" y="417"/>
                  </a:lnTo>
                  <a:lnTo>
                    <a:pt x="341" y="418"/>
                  </a:lnTo>
                  <a:lnTo>
                    <a:pt x="338" y="418"/>
                  </a:lnTo>
                  <a:lnTo>
                    <a:pt x="334" y="418"/>
                  </a:lnTo>
                  <a:lnTo>
                    <a:pt x="329" y="417"/>
                  </a:lnTo>
                  <a:lnTo>
                    <a:pt x="328" y="417"/>
                  </a:lnTo>
                  <a:lnTo>
                    <a:pt x="326" y="417"/>
                  </a:lnTo>
                  <a:lnTo>
                    <a:pt x="322" y="418"/>
                  </a:lnTo>
                  <a:lnTo>
                    <a:pt x="320" y="419"/>
                  </a:lnTo>
                  <a:lnTo>
                    <a:pt x="318" y="419"/>
                  </a:lnTo>
                  <a:lnTo>
                    <a:pt x="315" y="419"/>
                  </a:lnTo>
                  <a:lnTo>
                    <a:pt x="312" y="419"/>
                  </a:lnTo>
                  <a:lnTo>
                    <a:pt x="310" y="418"/>
                  </a:lnTo>
                  <a:lnTo>
                    <a:pt x="308" y="417"/>
                  </a:lnTo>
                  <a:lnTo>
                    <a:pt x="306" y="417"/>
                  </a:lnTo>
                  <a:lnTo>
                    <a:pt x="305" y="416"/>
                  </a:lnTo>
                  <a:lnTo>
                    <a:pt x="304" y="415"/>
                  </a:lnTo>
                  <a:lnTo>
                    <a:pt x="303" y="413"/>
                  </a:lnTo>
                  <a:lnTo>
                    <a:pt x="302" y="412"/>
                  </a:lnTo>
                  <a:lnTo>
                    <a:pt x="301" y="410"/>
                  </a:lnTo>
                  <a:lnTo>
                    <a:pt x="300" y="408"/>
                  </a:lnTo>
                  <a:lnTo>
                    <a:pt x="300" y="406"/>
                  </a:lnTo>
                  <a:lnTo>
                    <a:pt x="300" y="404"/>
                  </a:lnTo>
                  <a:lnTo>
                    <a:pt x="299" y="398"/>
                  </a:lnTo>
                  <a:lnTo>
                    <a:pt x="299" y="388"/>
                  </a:lnTo>
                  <a:lnTo>
                    <a:pt x="299" y="385"/>
                  </a:lnTo>
                  <a:lnTo>
                    <a:pt x="298" y="383"/>
                  </a:lnTo>
                  <a:lnTo>
                    <a:pt x="298" y="383"/>
                  </a:lnTo>
                  <a:lnTo>
                    <a:pt x="297" y="382"/>
                  </a:lnTo>
                  <a:lnTo>
                    <a:pt x="296" y="382"/>
                  </a:lnTo>
                  <a:lnTo>
                    <a:pt x="287" y="384"/>
                  </a:lnTo>
                  <a:lnTo>
                    <a:pt x="284" y="385"/>
                  </a:lnTo>
                  <a:lnTo>
                    <a:pt x="282" y="386"/>
                  </a:lnTo>
                  <a:lnTo>
                    <a:pt x="276" y="389"/>
                  </a:lnTo>
                  <a:lnTo>
                    <a:pt x="264" y="394"/>
                  </a:lnTo>
                  <a:lnTo>
                    <a:pt x="262" y="396"/>
                  </a:lnTo>
                  <a:lnTo>
                    <a:pt x="261" y="397"/>
                  </a:lnTo>
                  <a:lnTo>
                    <a:pt x="259" y="398"/>
                  </a:lnTo>
                  <a:lnTo>
                    <a:pt x="258" y="400"/>
                  </a:lnTo>
                  <a:lnTo>
                    <a:pt x="258" y="402"/>
                  </a:lnTo>
                  <a:lnTo>
                    <a:pt x="257" y="406"/>
                  </a:lnTo>
                  <a:lnTo>
                    <a:pt x="256" y="407"/>
                  </a:lnTo>
                  <a:lnTo>
                    <a:pt x="254" y="413"/>
                  </a:lnTo>
                  <a:lnTo>
                    <a:pt x="253" y="416"/>
                  </a:lnTo>
                  <a:lnTo>
                    <a:pt x="252" y="417"/>
                  </a:lnTo>
                  <a:lnTo>
                    <a:pt x="250" y="420"/>
                  </a:lnTo>
                  <a:lnTo>
                    <a:pt x="249" y="423"/>
                  </a:lnTo>
                  <a:lnTo>
                    <a:pt x="248" y="425"/>
                  </a:lnTo>
                  <a:lnTo>
                    <a:pt x="247" y="425"/>
                  </a:lnTo>
                  <a:lnTo>
                    <a:pt x="246" y="426"/>
                  </a:lnTo>
                  <a:lnTo>
                    <a:pt x="245" y="427"/>
                  </a:lnTo>
                  <a:lnTo>
                    <a:pt x="244" y="427"/>
                  </a:lnTo>
                  <a:lnTo>
                    <a:pt x="241" y="427"/>
                  </a:lnTo>
                  <a:lnTo>
                    <a:pt x="240" y="427"/>
                  </a:lnTo>
                  <a:lnTo>
                    <a:pt x="238" y="427"/>
                  </a:lnTo>
                  <a:lnTo>
                    <a:pt x="238" y="428"/>
                  </a:lnTo>
                  <a:lnTo>
                    <a:pt x="237" y="428"/>
                  </a:lnTo>
                  <a:lnTo>
                    <a:pt x="236" y="428"/>
                  </a:lnTo>
                  <a:lnTo>
                    <a:pt x="232" y="432"/>
                  </a:lnTo>
                  <a:lnTo>
                    <a:pt x="230" y="434"/>
                  </a:lnTo>
                  <a:lnTo>
                    <a:pt x="228" y="435"/>
                  </a:lnTo>
                  <a:lnTo>
                    <a:pt x="227" y="436"/>
                  </a:lnTo>
                  <a:lnTo>
                    <a:pt x="224" y="437"/>
                  </a:lnTo>
                  <a:lnTo>
                    <a:pt x="222" y="437"/>
                  </a:lnTo>
                  <a:lnTo>
                    <a:pt x="219" y="438"/>
                  </a:lnTo>
                  <a:lnTo>
                    <a:pt x="214" y="438"/>
                  </a:lnTo>
                  <a:lnTo>
                    <a:pt x="211" y="438"/>
                  </a:lnTo>
                  <a:lnTo>
                    <a:pt x="209" y="438"/>
                  </a:lnTo>
                  <a:lnTo>
                    <a:pt x="208" y="439"/>
                  </a:lnTo>
                  <a:lnTo>
                    <a:pt x="205" y="440"/>
                  </a:lnTo>
                  <a:lnTo>
                    <a:pt x="204" y="440"/>
                  </a:lnTo>
                  <a:lnTo>
                    <a:pt x="203" y="441"/>
                  </a:lnTo>
                  <a:lnTo>
                    <a:pt x="201" y="442"/>
                  </a:lnTo>
                  <a:lnTo>
                    <a:pt x="200" y="444"/>
                  </a:lnTo>
                  <a:lnTo>
                    <a:pt x="199" y="446"/>
                  </a:lnTo>
                  <a:lnTo>
                    <a:pt x="196" y="451"/>
                  </a:lnTo>
                  <a:lnTo>
                    <a:pt x="195" y="451"/>
                  </a:lnTo>
                  <a:lnTo>
                    <a:pt x="194" y="451"/>
                  </a:lnTo>
                  <a:lnTo>
                    <a:pt x="190" y="451"/>
                  </a:lnTo>
                  <a:lnTo>
                    <a:pt x="187" y="450"/>
                  </a:lnTo>
                  <a:lnTo>
                    <a:pt x="182" y="449"/>
                  </a:lnTo>
                  <a:lnTo>
                    <a:pt x="179" y="447"/>
                  </a:lnTo>
                  <a:lnTo>
                    <a:pt x="172" y="444"/>
                  </a:lnTo>
                  <a:lnTo>
                    <a:pt x="170" y="443"/>
                  </a:lnTo>
                  <a:lnTo>
                    <a:pt x="169" y="442"/>
                  </a:lnTo>
                  <a:lnTo>
                    <a:pt x="168" y="441"/>
                  </a:lnTo>
                  <a:lnTo>
                    <a:pt x="167" y="440"/>
                  </a:lnTo>
                  <a:lnTo>
                    <a:pt x="167" y="439"/>
                  </a:lnTo>
                  <a:lnTo>
                    <a:pt x="166" y="439"/>
                  </a:lnTo>
                  <a:lnTo>
                    <a:pt x="164" y="438"/>
                  </a:lnTo>
                  <a:lnTo>
                    <a:pt x="161" y="436"/>
                  </a:lnTo>
                  <a:lnTo>
                    <a:pt x="159" y="435"/>
                  </a:lnTo>
                  <a:lnTo>
                    <a:pt x="159" y="434"/>
                  </a:lnTo>
                  <a:lnTo>
                    <a:pt x="158" y="433"/>
                  </a:lnTo>
                  <a:lnTo>
                    <a:pt x="154" y="429"/>
                  </a:lnTo>
                  <a:lnTo>
                    <a:pt x="152" y="428"/>
                  </a:lnTo>
                  <a:lnTo>
                    <a:pt x="151" y="427"/>
                  </a:lnTo>
                  <a:lnTo>
                    <a:pt x="150" y="427"/>
                  </a:lnTo>
                  <a:lnTo>
                    <a:pt x="149" y="426"/>
                  </a:lnTo>
                  <a:lnTo>
                    <a:pt x="147" y="426"/>
                  </a:lnTo>
                  <a:lnTo>
                    <a:pt x="147" y="426"/>
                  </a:lnTo>
                  <a:lnTo>
                    <a:pt x="145" y="426"/>
                  </a:lnTo>
                  <a:lnTo>
                    <a:pt x="144" y="426"/>
                  </a:lnTo>
                  <a:lnTo>
                    <a:pt x="142" y="427"/>
                  </a:lnTo>
                  <a:lnTo>
                    <a:pt x="141" y="428"/>
                  </a:lnTo>
                  <a:lnTo>
                    <a:pt x="136" y="432"/>
                  </a:lnTo>
                  <a:lnTo>
                    <a:pt x="134" y="433"/>
                  </a:lnTo>
                  <a:lnTo>
                    <a:pt x="132" y="435"/>
                  </a:lnTo>
                  <a:lnTo>
                    <a:pt x="129" y="436"/>
                  </a:lnTo>
                  <a:lnTo>
                    <a:pt x="127" y="437"/>
                  </a:lnTo>
                  <a:lnTo>
                    <a:pt x="126" y="437"/>
                  </a:lnTo>
                  <a:lnTo>
                    <a:pt x="124" y="437"/>
                  </a:lnTo>
                  <a:lnTo>
                    <a:pt x="122" y="437"/>
                  </a:lnTo>
                  <a:lnTo>
                    <a:pt x="121" y="436"/>
                  </a:lnTo>
                  <a:lnTo>
                    <a:pt x="120" y="436"/>
                  </a:lnTo>
                  <a:lnTo>
                    <a:pt x="120" y="435"/>
                  </a:lnTo>
                  <a:lnTo>
                    <a:pt x="119" y="434"/>
                  </a:lnTo>
                  <a:lnTo>
                    <a:pt x="113" y="426"/>
                  </a:lnTo>
                  <a:lnTo>
                    <a:pt x="111" y="421"/>
                  </a:lnTo>
                  <a:lnTo>
                    <a:pt x="110" y="420"/>
                  </a:lnTo>
                  <a:lnTo>
                    <a:pt x="110" y="421"/>
                  </a:lnTo>
                  <a:lnTo>
                    <a:pt x="107" y="423"/>
                  </a:lnTo>
                  <a:lnTo>
                    <a:pt x="106" y="425"/>
                  </a:lnTo>
                  <a:lnTo>
                    <a:pt x="104" y="427"/>
                  </a:lnTo>
                  <a:lnTo>
                    <a:pt x="103" y="428"/>
                  </a:lnTo>
                  <a:lnTo>
                    <a:pt x="102" y="429"/>
                  </a:lnTo>
                  <a:lnTo>
                    <a:pt x="102" y="430"/>
                  </a:lnTo>
                  <a:lnTo>
                    <a:pt x="100" y="431"/>
                  </a:lnTo>
                  <a:lnTo>
                    <a:pt x="99" y="431"/>
                  </a:lnTo>
                  <a:lnTo>
                    <a:pt x="98" y="431"/>
                  </a:lnTo>
                  <a:lnTo>
                    <a:pt x="94" y="431"/>
                  </a:lnTo>
                  <a:lnTo>
                    <a:pt x="91" y="430"/>
                  </a:lnTo>
                  <a:lnTo>
                    <a:pt x="90" y="430"/>
                  </a:lnTo>
                  <a:lnTo>
                    <a:pt x="89" y="431"/>
                  </a:lnTo>
                  <a:lnTo>
                    <a:pt x="88" y="431"/>
                  </a:lnTo>
                  <a:lnTo>
                    <a:pt x="87" y="432"/>
                  </a:lnTo>
                  <a:lnTo>
                    <a:pt x="85" y="435"/>
                  </a:lnTo>
                  <a:lnTo>
                    <a:pt x="82" y="438"/>
                  </a:lnTo>
                  <a:lnTo>
                    <a:pt x="81" y="439"/>
                  </a:lnTo>
                  <a:lnTo>
                    <a:pt x="80" y="440"/>
                  </a:lnTo>
                  <a:lnTo>
                    <a:pt x="79" y="440"/>
                  </a:lnTo>
                  <a:lnTo>
                    <a:pt x="78" y="440"/>
                  </a:lnTo>
                  <a:lnTo>
                    <a:pt x="75" y="439"/>
                  </a:lnTo>
                  <a:lnTo>
                    <a:pt x="72" y="438"/>
                  </a:lnTo>
                  <a:lnTo>
                    <a:pt x="70" y="437"/>
                  </a:lnTo>
                  <a:lnTo>
                    <a:pt x="68" y="437"/>
                  </a:lnTo>
                  <a:lnTo>
                    <a:pt x="68" y="436"/>
                  </a:lnTo>
                  <a:lnTo>
                    <a:pt x="67" y="435"/>
                  </a:lnTo>
                  <a:lnTo>
                    <a:pt x="68" y="434"/>
                  </a:lnTo>
                  <a:lnTo>
                    <a:pt x="68" y="432"/>
                  </a:lnTo>
                  <a:lnTo>
                    <a:pt x="68" y="428"/>
                  </a:lnTo>
                  <a:lnTo>
                    <a:pt x="68" y="425"/>
                  </a:lnTo>
                  <a:lnTo>
                    <a:pt x="68" y="420"/>
                  </a:lnTo>
                  <a:lnTo>
                    <a:pt x="68" y="417"/>
                  </a:lnTo>
                  <a:lnTo>
                    <a:pt x="68" y="415"/>
                  </a:lnTo>
                  <a:lnTo>
                    <a:pt x="67" y="412"/>
                  </a:lnTo>
                  <a:lnTo>
                    <a:pt x="66" y="408"/>
                  </a:lnTo>
                  <a:lnTo>
                    <a:pt x="65" y="406"/>
                  </a:lnTo>
                  <a:lnTo>
                    <a:pt x="64" y="403"/>
                  </a:lnTo>
                  <a:lnTo>
                    <a:pt x="62" y="401"/>
                  </a:lnTo>
                  <a:lnTo>
                    <a:pt x="61" y="399"/>
                  </a:lnTo>
                  <a:lnTo>
                    <a:pt x="60" y="398"/>
                  </a:lnTo>
                  <a:lnTo>
                    <a:pt x="57" y="396"/>
                  </a:lnTo>
                  <a:lnTo>
                    <a:pt x="56" y="394"/>
                  </a:lnTo>
                  <a:lnTo>
                    <a:pt x="52" y="393"/>
                  </a:lnTo>
                  <a:lnTo>
                    <a:pt x="51" y="393"/>
                  </a:lnTo>
                  <a:lnTo>
                    <a:pt x="51" y="392"/>
                  </a:lnTo>
                  <a:lnTo>
                    <a:pt x="50" y="391"/>
                  </a:lnTo>
                  <a:lnTo>
                    <a:pt x="50" y="390"/>
                  </a:lnTo>
                  <a:lnTo>
                    <a:pt x="50" y="389"/>
                  </a:lnTo>
                  <a:lnTo>
                    <a:pt x="50" y="386"/>
                  </a:lnTo>
                  <a:lnTo>
                    <a:pt x="49" y="376"/>
                  </a:lnTo>
                  <a:lnTo>
                    <a:pt x="49" y="374"/>
                  </a:lnTo>
                  <a:lnTo>
                    <a:pt x="50" y="368"/>
                  </a:lnTo>
                  <a:lnTo>
                    <a:pt x="51" y="359"/>
                  </a:lnTo>
                  <a:lnTo>
                    <a:pt x="51" y="354"/>
                  </a:lnTo>
                  <a:lnTo>
                    <a:pt x="52" y="350"/>
                  </a:lnTo>
                  <a:lnTo>
                    <a:pt x="54" y="340"/>
                  </a:lnTo>
                  <a:lnTo>
                    <a:pt x="55" y="337"/>
                  </a:lnTo>
                  <a:lnTo>
                    <a:pt x="56" y="333"/>
                  </a:lnTo>
                  <a:lnTo>
                    <a:pt x="56" y="329"/>
                  </a:lnTo>
                  <a:lnTo>
                    <a:pt x="56" y="324"/>
                  </a:lnTo>
                  <a:lnTo>
                    <a:pt x="56" y="318"/>
                  </a:lnTo>
                  <a:lnTo>
                    <a:pt x="56" y="316"/>
                  </a:lnTo>
                  <a:lnTo>
                    <a:pt x="56" y="315"/>
                  </a:lnTo>
                  <a:lnTo>
                    <a:pt x="55" y="313"/>
                  </a:lnTo>
                  <a:lnTo>
                    <a:pt x="54" y="312"/>
                  </a:lnTo>
                  <a:lnTo>
                    <a:pt x="53" y="311"/>
                  </a:lnTo>
                  <a:lnTo>
                    <a:pt x="52" y="309"/>
                  </a:lnTo>
                  <a:lnTo>
                    <a:pt x="51" y="308"/>
                  </a:lnTo>
                  <a:lnTo>
                    <a:pt x="49" y="307"/>
                  </a:lnTo>
                  <a:lnTo>
                    <a:pt x="47" y="305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39" y="303"/>
                  </a:lnTo>
                  <a:lnTo>
                    <a:pt x="37" y="303"/>
                  </a:lnTo>
                  <a:lnTo>
                    <a:pt x="34" y="303"/>
                  </a:lnTo>
                  <a:lnTo>
                    <a:pt x="29" y="303"/>
                  </a:lnTo>
                  <a:lnTo>
                    <a:pt x="26" y="303"/>
                  </a:lnTo>
                  <a:lnTo>
                    <a:pt x="24" y="303"/>
                  </a:lnTo>
                  <a:lnTo>
                    <a:pt x="22" y="302"/>
                  </a:lnTo>
                  <a:lnTo>
                    <a:pt x="22" y="301"/>
                  </a:lnTo>
                  <a:lnTo>
                    <a:pt x="21" y="300"/>
                  </a:lnTo>
                  <a:lnTo>
                    <a:pt x="21" y="299"/>
                  </a:lnTo>
                  <a:lnTo>
                    <a:pt x="21" y="298"/>
                  </a:lnTo>
                  <a:lnTo>
                    <a:pt x="22" y="296"/>
                  </a:lnTo>
                  <a:lnTo>
                    <a:pt x="22" y="294"/>
                  </a:lnTo>
                  <a:lnTo>
                    <a:pt x="22" y="293"/>
                  </a:lnTo>
                  <a:lnTo>
                    <a:pt x="22" y="292"/>
                  </a:lnTo>
                  <a:lnTo>
                    <a:pt x="21" y="292"/>
                  </a:lnTo>
                  <a:lnTo>
                    <a:pt x="20" y="291"/>
                  </a:lnTo>
                  <a:lnTo>
                    <a:pt x="19" y="289"/>
                  </a:lnTo>
                  <a:lnTo>
                    <a:pt x="16" y="288"/>
                  </a:lnTo>
                  <a:lnTo>
                    <a:pt x="12" y="285"/>
                  </a:lnTo>
                  <a:lnTo>
                    <a:pt x="3" y="280"/>
                  </a:lnTo>
                  <a:lnTo>
                    <a:pt x="1" y="279"/>
                  </a:lnTo>
                  <a:lnTo>
                    <a:pt x="0" y="278"/>
                  </a:lnTo>
                  <a:lnTo>
                    <a:pt x="1" y="278"/>
                  </a:lnTo>
                  <a:lnTo>
                    <a:pt x="3" y="279"/>
                  </a:lnTo>
                  <a:lnTo>
                    <a:pt x="8" y="280"/>
                  </a:lnTo>
                  <a:lnTo>
                    <a:pt x="11" y="280"/>
                  </a:lnTo>
                  <a:lnTo>
                    <a:pt x="14" y="280"/>
                  </a:lnTo>
                  <a:lnTo>
                    <a:pt x="18" y="280"/>
                  </a:lnTo>
                  <a:lnTo>
                    <a:pt x="21" y="279"/>
                  </a:lnTo>
                  <a:lnTo>
                    <a:pt x="22" y="279"/>
                  </a:lnTo>
                  <a:lnTo>
                    <a:pt x="22" y="278"/>
                  </a:lnTo>
                  <a:lnTo>
                    <a:pt x="23" y="277"/>
                  </a:lnTo>
                  <a:lnTo>
                    <a:pt x="24" y="277"/>
                  </a:lnTo>
                  <a:lnTo>
                    <a:pt x="24" y="276"/>
                  </a:lnTo>
                  <a:lnTo>
                    <a:pt x="25" y="275"/>
                  </a:lnTo>
                  <a:lnTo>
                    <a:pt x="25" y="274"/>
                  </a:lnTo>
                  <a:lnTo>
                    <a:pt x="25" y="272"/>
                  </a:lnTo>
                  <a:lnTo>
                    <a:pt x="24" y="270"/>
                  </a:lnTo>
                  <a:lnTo>
                    <a:pt x="23" y="269"/>
                  </a:lnTo>
                  <a:lnTo>
                    <a:pt x="22" y="267"/>
                  </a:lnTo>
                  <a:lnTo>
                    <a:pt x="21" y="266"/>
                  </a:lnTo>
                  <a:lnTo>
                    <a:pt x="17" y="261"/>
                  </a:lnTo>
                  <a:lnTo>
                    <a:pt x="16" y="260"/>
                  </a:lnTo>
                  <a:lnTo>
                    <a:pt x="15" y="259"/>
                  </a:lnTo>
                  <a:lnTo>
                    <a:pt x="14" y="258"/>
                  </a:lnTo>
                  <a:lnTo>
                    <a:pt x="14" y="257"/>
                  </a:lnTo>
                  <a:lnTo>
                    <a:pt x="14" y="255"/>
                  </a:lnTo>
                  <a:lnTo>
                    <a:pt x="14" y="253"/>
                  </a:lnTo>
                  <a:lnTo>
                    <a:pt x="14" y="252"/>
                  </a:lnTo>
                  <a:lnTo>
                    <a:pt x="15" y="252"/>
                  </a:lnTo>
                  <a:lnTo>
                    <a:pt x="15" y="251"/>
                  </a:lnTo>
                  <a:lnTo>
                    <a:pt x="16" y="250"/>
                  </a:lnTo>
                  <a:lnTo>
                    <a:pt x="24" y="247"/>
                  </a:lnTo>
                  <a:lnTo>
                    <a:pt x="28" y="245"/>
                  </a:lnTo>
                  <a:lnTo>
                    <a:pt x="31" y="244"/>
                  </a:lnTo>
                  <a:lnTo>
                    <a:pt x="32" y="243"/>
                  </a:lnTo>
                  <a:lnTo>
                    <a:pt x="32" y="242"/>
                  </a:lnTo>
                  <a:lnTo>
                    <a:pt x="33" y="241"/>
                  </a:lnTo>
                  <a:lnTo>
                    <a:pt x="33" y="240"/>
                  </a:lnTo>
                  <a:lnTo>
                    <a:pt x="33" y="239"/>
                  </a:lnTo>
                  <a:lnTo>
                    <a:pt x="33" y="238"/>
                  </a:lnTo>
                  <a:lnTo>
                    <a:pt x="32" y="237"/>
                  </a:lnTo>
                  <a:lnTo>
                    <a:pt x="31" y="236"/>
                  </a:lnTo>
                  <a:lnTo>
                    <a:pt x="29" y="236"/>
                  </a:lnTo>
                  <a:lnTo>
                    <a:pt x="28" y="236"/>
                  </a:lnTo>
                  <a:lnTo>
                    <a:pt x="27" y="236"/>
                  </a:lnTo>
                  <a:lnTo>
                    <a:pt x="22" y="235"/>
                  </a:lnTo>
                  <a:lnTo>
                    <a:pt x="21" y="234"/>
                  </a:lnTo>
                  <a:lnTo>
                    <a:pt x="20" y="234"/>
                  </a:lnTo>
                  <a:lnTo>
                    <a:pt x="14" y="235"/>
                  </a:lnTo>
                  <a:lnTo>
                    <a:pt x="9" y="236"/>
                  </a:lnTo>
                  <a:lnTo>
                    <a:pt x="7" y="236"/>
                  </a:lnTo>
                  <a:lnTo>
                    <a:pt x="6" y="236"/>
                  </a:lnTo>
                  <a:lnTo>
                    <a:pt x="4" y="236"/>
                  </a:lnTo>
                  <a:lnTo>
                    <a:pt x="3" y="235"/>
                  </a:lnTo>
                  <a:lnTo>
                    <a:pt x="2" y="233"/>
                  </a:lnTo>
                  <a:lnTo>
                    <a:pt x="1" y="232"/>
                  </a:lnTo>
                  <a:lnTo>
                    <a:pt x="1" y="230"/>
                  </a:lnTo>
                  <a:lnTo>
                    <a:pt x="1" y="228"/>
                  </a:lnTo>
                  <a:lnTo>
                    <a:pt x="1" y="226"/>
                  </a:lnTo>
                  <a:lnTo>
                    <a:pt x="1" y="224"/>
                  </a:lnTo>
                  <a:lnTo>
                    <a:pt x="1" y="223"/>
                  </a:lnTo>
                  <a:lnTo>
                    <a:pt x="1" y="221"/>
                  </a:lnTo>
                  <a:lnTo>
                    <a:pt x="2" y="219"/>
                  </a:lnTo>
                  <a:lnTo>
                    <a:pt x="3" y="217"/>
                  </a:lnTo>
                  <a:lnTo>
                    <a:pt x="4" y="214"/>
                  </a:lnTo>
                  <a:lnTo>
                    <a:pt x="7" y="211"/>
                  </a:lnTo>
                  <a:lnTo>
                    <a:pt x="12" y="203"/>
                  </a:lnTo>
                  <a:lnTo>
                    <a:pt x="17" y="198"/>
                  </a:lnTo>
                  <a:lnTo>
                    <a:pt x="20" y="194"/>
                  </a:lnTo>
                  <a:lnTo>
                    <a:pt x="22" y="191"/>
                  </a:lnTo>
                  <a:lnTo>
                    <a:pt x="26" y="190"/>
                  </a:lnTo>
                  <a:lnTo>
                    <a:pt x="29" y="187"/>
                  </a:lnTo>
                  <a:lnTo>
                    <a:pt x="34" y="184"/>
                  </a:lnTo>
                  <a:lnTo>
                    <a:pt x="38" y="182"/>
                  </a:lnTo>
                  <a:lnTo>
                    <a:pt x="42" y="180"/>
                  </a:lnTo>
                  <a:lnTo>
                    <a:pt x="45" y="179"/>
                  </a:lnTo>
                  <a:lnTo>
                    <a:pt x="47" y="179"/>
                  </a:lnTo>
                  <a:lnTo>
                    <a:pt x="49" y="179"/>
                  </a:lnTo>
                  <a:lnTo>
                    <a:pt x="51" y="179"/>
                  </a:lnTo>
                  <a:lnTo>
                    <a:pt x="52" y="179"/>
                  </a:lnTo>
                  <a:lnTo>
                    <a:pt x="54" y="180"/>
                  </a:lnTo>
                  <a:lnTo>
                    <a:pt x="61" y="185"/>
                  </a:lnTo>
                  <a:lnTo>
                    <a:pt x="63" y="186"/>
                  </a:lnTo>
                  <a:lnTo>
                    <a:pt x="65" y="187"/>
                  </a:lnTo>
                  <a:lnTo>
                    <a:pt x="67" y="187"/>
                  </a:lnTo>
                  <a:lnTo>
                    <a:pt x="68" y="187"/>
                  </a:lnTo>
                  <a:lnTo>
                    <a:pt x="68" y="187"/>
                  </a:lnTo>
                  <a:lnTo>
                    <a:pt x="70" y="187"/>
                  </a:lnTo>
                  <a:lnTo>
                    <a:pt x="71" y="186"/>
                  </a:lnTo>
                  <a:lnTo>
                    <a:pt x="72" y="185"/>
                  </a:lnTo>
                  <a:lnTo>
                    <a:pt x="74" y="183"/>
                  </a:lnTo>
                  <a:lnTo>
                    <a:pt x="76" y="181"/>
                  </a:lnTo>
                  <a:lnTo>
                    <a:pt x="79" y="177"/>
                  </a:lnTo>
                  <a:lnTo>
                    <a:pt x="80" y="174"/>
                  </a:lnTo>
                  <a:lnTo>
                    <a:pt x="84" y="170"/>
                  </a:lnTo>
                  <a:lnTo>
                    <a:pt x="87" y="168"/>
                  </a:lnTo>
                  <a:lnTo>
                    <a:pt x="90" y="166"/>
                  </a:lnTo>
                  <a:lnTo>
                    <a:pt x="92" y="163"/>
                  </a:lnTo>
                  <a:lnTo>
                    <a:pt x="98" y="159"/>
                  </a:lnTo>
                  <a:lnTo>
                    <a:pt x="108" y="152"/>
                  </a:lnTo>
                  <a:lnTo>
                    <a:pt x="110" y="150"/>
                  </a:lnTo>
                  <a:lnTo>
                    <a:pt x="111" y="150"/>
                  </a:lnTo>
                  <a:lnTo>
                    <a:pt x="112" y="149"/>
                  </a:lnTo>
                  <a:lnTo>
                    <a:pt x="113" y="149"/>
                  </a:lnTo>
                  <a:lnTo>
                    <a:pt x="113" y="149"/>
                  </a:lnTo>
                  <a:lnTo>
                    <a:pt x="114" y="149"/>
                  </a:lnTo>
                  <a:lnTo>
                    <a:pt x="116" y="149"/>
                  </a:lnTo>
                  <a:lnTo>
                    <a:pt x="121" y="149"/>
                  </a:lnTo>
                  <a:lnTo>
                    <a:pt x="122" y="150"/>
                  </a:lnTo>
                  <a:lnTo>
                    <a:pt x="124" y="149"/>
                  </a:lnTo>
                  <a:lnTo>
                    <a:pt x="125" y="149"/>
                  </a:lnTo>
                  <a:lnTo>
                    <a:pt x="126" y="149"/>
                  </a:lnTo>
                  <a:lnTo>
                    <a:pt x="128" y="148"/>
                  </a:lnTo>
                  <a:lnTo>
                    <a:pt x="129" y="147"/>
                  </a:lnTo>
                  <a:lnTo>
                    <a:pt x="136" y="145"/>
                  </a:lnTo>
                  <a:lnTo>
                    <a:pt x="138" y="143"/>
                  </a:lnTo>
                  <a:lnTo>
                    <a:pt x="142" y="140"/>
                  </a:lnTo>
                  <a:lnTo>
                    <a:pt x="147" y="135"/>
                  </a:lnTo>
                  <a:lnTo>
                    <a:pt x="149" y="134"/>
                  </a:lnTo>
                  <a:lnTo>
                    <a:pt x="151" y="132"/>
                  </a:lnTo>
                  <a:lnTo>
                    <a:pt x="152" y="131"/>
                  </a:lnTo>
                  <a:lnTo>
                    <a:pt x="154" y="130"/>
                  </a:lnTo>
                  <a:lnTo>
                    <a:pt x="157" y="128"/>
                  </a:lnTo>
                  <a:lnTo>
                    <a:pt x="158" y="127"/>
                  </a:lnTo>
                  <a:lnTo>
                    <a:pt x="159" y="126"/>
                  </a:lnTo>
                  <a:lnTo>
                    <a:pt x="159" y="124"/>
                  </a:lnTo>
                  <a:lnTo>
                    <a:pt x="160" y="123"/>
                  </a:lnTo>
                  <a:lnTo>
                    <a:pt x="161" y="120"/>
                  </a:lnTo>
                  <a:lnTo>
                    <a:pt x="161" y="116"/>
                  </a:lnTo>
                  <a:lnTo>
                    <a:pt x="162" y="113"/>
                  </a:lnTo>
                  <a:lnTo>
                    <a:pt x="162" y="112"/>
                  </a:lnTo>
                  <a:lnTo>
                    <a:pt x="162" y="107"/>
                  </a:lnTo>
                  <a:lnTo>
                    <a:pt x="162" y="106"/>
                  </a:lnTo>
                  <a:lnTo>
                    <a:pt x="162" y="104"/>
                  </a:lnTo>
                  <a:lnTo>
                    <a:pt x="163" y="102"/>
                  </a:lnTo>
                  <a:lnTo>
                    <a:pt x="164" y="101"/>
                  </a:lnTo>
                  <a:lnTo>
                    <a:pt x="164" y="100"/>
                  </a:lnTo>
                  <a:lnTo>
                    <a:pt x="167" y="99"/>
                  </a:lnTo>
                  <a:lnTo>
                    <a:pt x="170" y="97"/>
                  </a:lnTo>
                  <a:lnTo>
                    <a:pt x="176" y="92"/>
                  </a:lnTo>
                  <a:lnTo>
                    <a:pt x="180" y="90"/>
                  </a:lnTo>
                  <a:lnTo>
                    <a:pt x="184" y="88"/>
                  </a:lnTo>
                  <a:lnTo>
                    <a:pt x="187" y="87"/>
                  </a:lnTo>
                  <a:lnTo>
                    <a:pt x="193" y="85"/>
                  </a:lnTo>
                  <a:lnTo>
                    <a:pt x="196" y="84"/>
                  </a:lnTo>
                  <a:lnTo>
                    <a:pt x="199" y="83"/>
                  </a:lnTo>
                  <a:lnTo>
                    <a:pt x="201" y="83"/>
                  </a:lnTo>
                  <a:lnTo>
                    <a:pt x="203" y="83"/>
                  </a:lnTo>
                  <a:lnTo>
                    <a:pt x="207" y="84"/>
                  </a:lnTo>
                  <a:lnTo>
                    <a:pt x="211" y="84"/>
                  </a:lnTo>
                  <a:lnTo>
                    <a:pt x="215" y="83"/>
                  </a:lnTo>
                  <a:lnTo>
                    <a:pt x="219" y="82"/>
                  </a:lnTo>
                  <a:lnTo>
                    <a:pt x="221" y="81"/>
                  </a:lnTo>
                  <a:lnTo>
                    <a:pt x="224" y="79"/>
                  </a:lnTo>
                  <a:lnTo>
                    <a:pt x="225" y="78"/>
                  </a:lnTo>
                  <a:lnTo>
                    <a:pt x="229" y="76"/>
                  </a:lnTo>
                  <a:lnTo>
                    <a:pt x="231" y="74"/>
                  </a:lnTo>
                  <a:lnTo>
                    <a:pt x="233" y="73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8" y="73"/>
                  </a:lnTo>
                  <a:lnTo>
                    <a:pt x="238" y="73"/>
                  </a:lnTo>
                  <a:lnTo>
                    <a:pt x="240" y="74"/>
                  </a:lnTo>
                  <a:lnTo>
                    <a:pt x="242" y="76"/>
                  </a:lnTo>
                  <a:lnTo>
                    <a:pt x="246" y="77"/>
                  </a:lnTo>
                  <a:lnTo>
                    <a:pt x="248" y="79"/>
                  </a:lnTo>
                  <a:lnTo>
                    <a:pt x="250" y="81"/>
                  </a:lnTo>
                  <a:lnTo>
                    <a:pt x="251" y="83"/>
                  </a:lnTo>
                  <a:lnTo>
                    <a:pt x="254" y="87"/>
                  </a:lnTo>
                  <a:lnTo>
                    <a:pt x="256" y="90"/>
                  </a:lnTo>
                  <a:lnTo>
                    <a:pt x="260" y="97"/>
                  </a:lnTo>
                  <a:lnTo>
                    <a:pt x="263" y="102"/>
                  </a:lnTo>
                  <a:lnTo>
                    <a:pt x="264" y="104"/>
                  </a:lnTo>
                  <a:lnTo>
                    <a:pt x="265" y="105"/>
                  </a:lnTo>
                  <a:lnTo>
                    <a:pt x="266" y="106"/>
                  </a:lnTo>
                  <a:lnTo>
                    <a:pt x="267" y="106"/>
                  </a:lnTo>
                  <a:lnTo>
                    <a:pt x="268" y="107"/>
                  </a:lnTo>
                  <a:lnTo>
                    <a:pt x="272" y="109"/>
                  </a:lnTo>
                  <a:lnTo>
                    <a:pt x="278" y="111"/>
                  </a:lnTo>
                  <a:lnTo>
                    <a:pt x="280" y="111"/>
                  </a:lnTo>
                  <a:lnTo>
                    <a:pt x="286" y="116"/>
                  </a:lnTo>
                  <a:lnTo>
                    <a:pt x="288" y="117"/>
                  </a:lnTo>
                  <a:lnTo>
                    <a:pt x="289" y="117"/>
                  </a:lnTo>
                  <a:lnTo>
                    <a:pt x="291" y="118"/>
                  </a:lnTo>
                  <a:lnTo>
                    <a:pt x="294" y="118"/>
                  </a:lnTo>
                  <a:lnTo>
                    <a:pt x="295" y="118"/>
                  </a:lnTo>
                  <a:lnTo>
                    <a:pt x="296" y="117"/>
                  </a:lnTo>
                  <a:lnTo>
                    <a:pt x="299" y="116"/>
                  </a:lnTo>
                  <a:lnTo>
                    <a:pt x="302" y="113"/>
                  </a:lnTo>
                  <a:lnTo>
                    <a:pt x="305" y="111"/>
                  </a:lnTo>
                  <a:lnTo>
                    <a:pt x="305" y="110"/>
                  </a:lnTo>
                  <a:lnTo>
                    <a:pt x="306" y="109"/>
                  </a:lnTo>
                  <a:lnTo>
                    <a:pt x="306" y="108"/>
                  </a:lnTo>
                  <a:lnTo>
                    <a:pt x="306" y="106"/>
                  </a:lnTo>
                  <a:lnTo>
                    <a:pt x="307" y="100"/>
                  </a:lnTo>
                  <a:lnTo>
                    <a:pt x="308" y="99"/>
                  </a:lnTo>
                  <a:lnTo>
                    <a:pt x="308" y="97"/>
                  </a:lnTo>
                  <a:lnTo>
                    <a:pt x="309" y="96"/>
                  </a:lnTo>
                  <a:lnTo>
                    <a:pt x="310" y="94"/>
                  </a:lnTo>
                  <a:lnTo>
                    <a:pt x="311" y="92"/>
                  </a:lnTo>
                  <a:lnTo>
                    <a:pt x="314" y="90"/>
                  </a:lnTo>
                  <a:lnTo>
                    <a:pt x="316" y="89"/>
                  </a:lnTo>
                  <a:lnTo>
                    <a:pt x="318" y="87"/>
                  </a:lnTo>
                  <a:lnTo>
                    <a:pt x="322" y="84"/>
                  </a:lnTo>
                  <a:lnTo>
                    <a:pt x="324" y="82"/>
                  </a:lnTo>
                  <a:lnTo>
                    <a:pt x="325" y="80"/>
                  </a:lnTo>
                  <a:lnTo>
                    <a:pt x="326" y="78"/>
                  </a:lnTo>
                  <a:lnTo>
                    <a:pt x="329" y="72"/>
                  </a:lnTo>
                  <a:lnTo>
                    <a:pt x="331" y="69"/>
                  </a:lnTo>
                  <a:lnTo>
                    <a:pt x="333" y="66"/>
                  </a:lnTo>
                  <a:lnTo>
                    <a:pt x="335" y="64"/>
                  </a:lnTo>
                  <a:lnTo>
                    <a:pt x="339" y="60"/>
                  </a:lnTo>
                  <a:lnTo>
                    <a:pt x="346" y="52"/>
                  </a:lnTo>
                  <a:lnTo>
                    <a:pt x="349" y="48"/>
                  </a:lnTo>
                  <a:lnTo>
                    <a:pt x="354" y="43"/>
                  </a:lnTo>
                  <a:lnTo>
                    <a:pt x="360" y="37"/>
                  </a:lnTo>
                  <a:lnTo>
                    <a:pt x="363" y="34"/>
                  </a:lnTo>
                  <a:lnTo>
                    <a:pt x="367" y="31"/>
                  </a:lnTo>
                  <a:lnTo>
                    <a:pt x="369" y="29"/>
                  </a:lnTo>
                  <a:lnTo>
                    <a:pt x="372" y="27"/>
                  </a:lnTo>
                  <a:lnTo>
                    <a:pt x="374" y="26"/>
                  </a:lnTo>
                  <a:lnTo>
                    <a:pt x="375" y="25"/>
                  </a:lnTo>
                  <a:lnTo>
                    <a:pt x="383" y="23"/>
                  </a:lnTo>
                  <a:lnTo>
                    <a:pt x="386" y="22"/>
                  </a:lnTo>
                  <a:lnTo>
                    <a:pt x="388" y="21"/>
                  </a:lnTo>
                  <a:lnTo>
                    <a:pt x="390" y="20"/>
                  </a:lnTo>
                  <a:lnTo>
                    <a:pt x="395" y="17"/>
                  </a:lnTo>
                  <a:lnTo>
                    <a:pt x="397" y="14"/>
                  </a:lnTo>
                  <a:lnTo>
                    <a:pt x="401" y="11"/>
                  </a:lnTo>
                  <a:lnTo>
                    <a:pt x="406" y="7"/>
                  </a:lnTo>
                  <a:lnTo>
                    <a:pt x="411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0" name="Freeform 17">
              <a:extLst>
                <a:ext uri="{FF2B5EF4-FFF2-40B4-BE49-F238E27FC236}">
                  <a16:creationId xmlns:a16="http://schemas.microsoft.com/office/drawing/2014/main" id="{F2E4D5CF-C98D-484B-9C09-8BDFDD8C6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3" y="1909"/>
              <a:ext cx="449" cy="397"/>
            </a:xfrm>
            <a:custGeom>
              <a:avLst/>
              <a:gdLst>
                <a:gd name="T0" fmla="*/ 325 w 449"/>
                <a:gd name="T1" fmla="*/ 4 h 397"/>
                <a:gd name="T2" fmla="*/ 335 w 449"/>
                <a:gd name="T3" fmla="*/ 23 h 397"/>
                <a:gd name="T4" fmla="*/ 350 w 449"/>
                <a:gd name="T5" fmla="*/ 24 h 397"/>
                <a:gd name="T6" fmla="*/ 370 w 449"/>
                <a:gd name="T7" fmla="*/ 25 h 397"/>
                <a:gd name="T8" fmla="*/ 381 w 449"/>
                <a:gd name="T9" fmla="*/ 35 h 397"/>
                <a:gd name="T10" fmla="*/ 401 w 449"/>
                <a:gd name="T11" fmla="*/ 60 h 397"/>
                <a:gd name="T12" fmla="*/ 421 w 449"/>
                <a:gd name="T13" fmla="*/ 86 h 397"/>
                <a:gd name="T14" fmla="*/ 415 w 449"/>
                <a:gd name="T15" fmla="*/ 105 h 397"/>
                <a:gd name="T16" fmla="*/ 413 w 449"/>
                <a:gd name="T17" fmla="*/ 133 h 397"/>
                <a:gd name="T18" fmla="*/ 412 w 449"/>
                <a:gd name="T19" fmla="*/ 153 h 397"/>
                <a:gd name="T20" fmla="*/ 393 w 449"/>
                <a:gd name="T21" fmla="*/ 161 h 397"/>
                <a:gd name="T22" fmla="*/ 366 w 449"/>
                <a:gd name="T23" fmla="*/ 161 h 397"/>
                <a:gd name="T24" fmla="*/ 365 w 449"/>
                <a:gd name="T25" fmla="*/ 190 h 397"/>
                <a:gd name="T26" fmla="*/ 398 w 449"/>
                <a:gd name="T27" fmla="*/ 231 h 397"/>
                <a:gd name="T28" fmla="*/ 417 w 449"/>
                <a:gd name="T29" fmla="*/ 252 h 397"/>
                <a:gd name="T30" fmla="*/ 445 w 449"/>
                <a:gd name="T31" fmla="*/ 270 h 397"/>
                <a:gd name="T32" fmla="*/ 443 w 449"/>
                <a:gd name="T33" fmla="*/ 294 h 397"/>
                <a:gd name="T34" fmla="*/ 421 w 449"/>
                <a:gd name="T35" fmla="*/ 294 h 397"/>
                <a:gd name="T36" fmla="*/ 410 w 449"/>
                <a:gd name="T37" fmla="*/ 301 h 397"/>
                <a:gd name="T38" fmla="*/ 393 w 449"/>
                <a:gd name="T39" fmla="*/ 337 h 397"/>
                <a:gd name="T40" fmla="*/ 380 w 449"/>
                <a:gd name="T41" fmla="*/ 357 h 397"/>
                <a:gd name="T42" fmla="*/ 351 w 449"/>
                <a:gd name="T43" fmla="*/ 355 h 397"/>
                <a:gd name="T44" fmla="*/ 318 w 449"/>
                <a:gd name="T45" fmla="*/ 353 h 397"/>
                <a:gd name="T46" fmla="*/ 304 w 449"/>
                <a:gd name="T47" fmla="*/ 361 h 397"/>
                <a:gd name="T48" fmla="*/ 309 w 449"/>
                <a:gd name="T49" fmla="*/ 384 h 397"/>
                <a:gd name="T50" fmla="*/ 305 w 449"/>
                <a:gd name="T51" fmla="*/ 395 h 397"/>
                <a:gd name="T52" fmla="*/ 268 w 449"/>
                <a:gd name="T53" fmla="*/ 379 h 397"/>
                <a:gd name="T54" fmla="*/ 261 w 449"/>
                <a:gd name="T55" fmla="*/ 375 h 397"/>
                <a:gd name="T56" fmla="*/ 260 w 449"/>
                <a:gd name="T57" fmla="*/ 354 h 397"/>
                <a:gd name="T58" fmla="*/ 233 w 449"/>
                <a:gd name="T59" fmla="*/ 350 h 397"/>
                <a:gd name="T60" fmla="*/ 223 w 449"/>
                <a:gd name="T61" fmla="*/ 349 h 397"/>
                <a:gd name="T62" fmla="*/ 197 w 449"/>
                <a:gd name="T63" fmla="*/ 315 h 397"/>
                <a:gd name="T64" fmla="*/ 179 w 449"/>
                <a:gd name="T65" fmla="*/ 311 h 397"/>
                <a:gd name="T66" fmla="*/ 143 w 449"/>
                <a:gd name="T67" fmla="*/ 314 h 397"/>
                <a:gd name="T68" fmla="*/ 118 w 449"/>
                <a:gd name="T69" fmla="*/ 304 h 397"/>
                <a:gd name="T70" fmla="*/ 85 w 449"/>
                <a:gd name="T71" fmla="*/ 281 h 397"/>
                <a:gd name="T72" fmla="*/ 86 w 449"/>
                <a:gd name="T73" fmla="*/ 273 h 397"/>
                <a:gd name="T74" fmla="*/ 86 w 449"/>
                <a:gd name="T75" fmla="*/ 263 h 397"/>
                <a:gd name="T76" fmla="*/ 55 w 449"/>
                <a:gd name="T77" fmla="*/ 261 h 397"/>
                <a:gd name="T78" fmla="*/ 20 w 449"/>
                <a:gd name="T79" fmla="*/ 267 h 397"/>
                <a:gd name="T80" fmla="*/ 1 w 449"/>
                <a:gd name="T81" fmla="*/ 263 h 397"/>
                <a:gd name="T82" fmla="*/ 3 w 449"/>
                <a:gd name="T83" fmla="*/ 249 h 397"/>
                <a:gd name="T84" fmla="*/ 16 w 449"/>
                <a:gd name="T85" fmla="*/ 224 h 397"/>
                <a:gd name="T86" fmla="*/ 5 w 449"/>
                <a:gd name="T87" fmla="*/ 200 h 397"/>
                <a:gd name="T88" fmla="*/ 17 w 449"/>
                <a:gd name="T89" fmla="*/ 185 h 397"/>
                <a:gd name="T90" fmla="*/ 39 w 449"/>
                <a:gd name="T91" fmla="*/ 178 h 397"/>
                <a:gd name="T92" fmla="*/ 53 w 449"/>
                <a:gd name="T93" fmla="*/ 160 h 397"/>
                <a:gd name="T94" fmla="*/ 64 w 449"/>
                <a:gd name="T95" fmla="*/ 151 h 397"/>
                <a:gd name="T96" fmla="*/ 69 w 449"/>
                <a:gd name="T97" fmla="*/ 131 h 397"/>
                <a:gd name="T98" fmla="*/ 81 w 449"/>
                <a:gd name="T99" fmla="*/ 108 h 397"/>
                <a:gd name="T100" fmla="*/ 110 w 449"/>
                <a:gd name="T101" fmla="*/ 85 h 397"/>
                <a:gd name="T102" fmla="*/ 142 w 449"/>
                <a:gd name="T103" fmla="*/ 83 h 397"/>
                <a:gd name="T104" fmla="*/ 170 w 449"/>
                <a:gd name="T105" fmla="*/ 64 h 397"/>
                <a:gd name="T106" fmla="*/ 202 w 449"/>
                <a:gd name="T107" fmla="*/ 37 h 397"/>
                <a:gd name="T108" fmla="*/ 216 w 449"/>
                <a:gd name="T109" fmla="*/ 41 h 397"/>
                <a:gd name="T110" fmla="*/ 256 w 449"/>
                <a:gd name="T111" fmla="*/ 43 h 397"/>
                <a:gd name="T112" fmla="*/ 281 w 449"/>
                <a:gd name="T113" fmla="*/ 31 h 397"/>
                <a:gd name="T114" fmla="*/ 315 w 449"/>
                <a:gd name="T115" fmla="*/ 1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9" h="397">
                  <a:moveTo>
                    <a:pt x="317" y="0"/>
                  </a:moveTo>
                  <a:lnTo>
                    <a:pt x="318" y="0"/>
                  </a:lnTo>
                  <a:lnTo>
                    <a:pt x="319" y="1"/>
                  </a:lnTo>
                  <a:lnTo>
                    <a:pt x="320" y="2"/>
                  </a:lnTo>
                  <a:lnTo>
                    <a:pt x="322" y="4"/>
                  </a:lnTo>
                  <a:lnTo>
                    <a:pt x="323" y="5"/>
                  </a:lnTo>
                  <a:lnTo>
                    <a:pt x="324" y="5"/>
                  </a:lnTo>
                  <a:lnTo>
                    <a:pt x="324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6" y="5"/>
                  </a:lnTo>
                  <a:lnTo>
                    <a:pt x="327" y="6"/>
                  </a:lnTo>
                  <a:lnTo>
                    <a:pt x="328" y="6"/>
                  </a:lnTo>
                  <a:lnTo>
                    <a:pt x="329" y="8"/>
                  </a:lnTo>
                  <a:lnTo>
                    <a:pt x="332" y="15"/>
                  </a:lnTo>
                  <a:lnTo>
                    <a:pt x="333" y="17"/>
                  </a:lnTo>
                  <a:lnTo>
                    <a:pt x="334" y="21"/>
                  </a:lnTo>
                  <a:lnTo>
                    <a:pt x="335" y="23"/>
                  </a:lnTo>
                  <a:lnTo>
                    <a:pt x="335" y="24"/>
                  </a:lnTo>
                  <a:lnTo>
                    <a:pt x="335" y="25"/>
                  </a:lnTo>
                  <a:lnTo>
                    <a:pt x="336" y="26"/>
                  </a:lnTo>
                  <a:lnTo>
                    <a:pt x="337" y="26"/>
                  </a:lnTo>
                  <a:lnTo>
                    <a:pt x="338" y="26"/>
                  </a:lnTo>
                  <a:lnTo>
                    <a:pt x="341" y="26"/>
                  </a:lnTo>
                  <a:lnTo>
                    <a:pt x="344" y="25"/>
                  </a:lnTo>
                  <a:lnTo>
                    <a:pt x="347" y="25"/>
                  </a:lnTo>
                  <a:lnTo>
                    <a:pt x="350" y="24"/>
                  </a:lnTo>
                  <a:lnTo>
                    <a:pt x="353" y="23"/>
                  </a:lnTo>
                  <a:lnTo>
                    <a:pt x="355" y="23"/>
                  </a:lnTo>
                  <a:lnTo>
                    <a:pt x="356" y="23"/>
                  </a:lnTo>
                  <a:lnTo>
                    <a:pt x="358" y="23"/>
                  </a:lnTo>
                  <a:lnTo>
                    <a:pt x="367" y="23"/>
                  </a:lnTo>
                  <a:lnTo>
                    <a:pt x="369" y="24"/>
                  </a:lnTo>
                  <a:lnTo>
                    <a:pt x="369" y="24"/>
                  </a:lnTo>
                  <a:lnTo>
                    <a:pt x="370" y="24"/>
                  </a:lnTo>
                  <a:lnTo>
                    <a:pt x="370" y="25"/>
                  </a:lnTo>
                  <a:lnTo>
                    <a:pt x="370" y="26"/>
                  </a:lnTo>
                  <a:lnTo>
                    <a:pt x="371" y="28"/>
                  </a:lnTo>
                  <a:lnTo>
                    <a:pt x="372" y="28"/>
                  </a:lnTo>
                  <a:lnTo>
                    <a:pt x="372" y="29"/>
                  </a:lnTo>
                  <a:lnTo>
                    <a:pt x="373" y="29"/>
                  </a:lnTo>
                  <a:lnTo>
                    <a:pt x="378" y="31"/>
                  </a:lnTo>
                  <a:lnTo>
                    <a:pt x="379" y="32"/>
                  </a:lnTo>
                  <a:lnTo>
                    <a:pt x="380" y="33"/>
                  </a:lnTo>
                  <a:lnTo>
                    <a:pt x="381" y="35"/>
                  </a:lnTo>
                  <a:lnTo>
                    <a:pt x="383" y="38"/>
                  </a:lnTo>
                  <a:lnTo>
                    <a:pt x="385" y="40"/>
                  </a:lnTo>
                  <a:lnTo>
                    <a:pt x="388" y="45"/>
                  </a:lnTo>
                  <a:lnTo>
                    <a:pt x="389" y="47"/>
                  </a:lnTo>
                  <a:lnTo>
                    <a:pt x="390" y="49"/>
                  </a:lnTo>
                  <a:lnTo>
                    <a:pt x="394" y="52"/>
                  </a:lnTo>
                  <a:lnTo>
                    <a:pt x="397" y="56"/>
                  </a:lnTo>
                  <a:lnTo>
                    <a:pt x="398" y="58"/>
                  </a:lnTo>
                  <a:lnTo>
                    <a:pt x="401" y="60"/>
                  </a:lnTo>
                  <a:lnTo>
                    <a:pt x="405" y="63"/>
                  </a:lnTo>
                  <a:lnTo>
                    <a:pt x="406" y="64"/>
                  </a:lnTo>
                  <a:lnTo>
                    <a:pt x="409" y="67"/>
                  </a:lnTo>
                  <a:lnTo>
                    <a:pt x="411" y="70"/>
                  </a:lnTo>
                  <a:lnTo>
                    <a:pt x="413" y="73"/>
                  </a:lnTo>
                  <a:lnTo>
                    <a:pt x="415" y="77"/>
                  </a:lnTo>
                  <a:lnTo>
                    <a:pt x="419" y="83"/>
                  </a:lnTo>
                  <a:lnTo>
                    <a:pt x="420" y="85"/>
                  </a:lnTo>
                  <a:lnTo>
                    <a:pt x="421" y="86"/>
                  </a:lnTo>
                  <a:lnTo>
                    <a:pt x="422" y="89"/>
                  </a:lnTo>
                  <a:lnTo>
                    <a:pt x="422" y="90"/>
                  </a:lnTo>
                  <a:lnTo>
                    <a:pt x="422" y="92"/>
                  </a:lnTo>
                  <a:lnTo>
                    <a:pt x="422" y="94"/>
                  </a:lnTo>
                  <a:lnTo>
                    <a:pt x="422" y="96"/>
                  </a:lnTo>
                  <a:lnTo>
                    <a:pt x="421" y="97"/>
                  </a:lnTo>
                  <a:lnTo>
                    <a:pt x="419" y="98"/>
                  </a:lnTo>
                  <a:lnTo>
                    <a:pt x="418" y="100"/>
                  </a:lnTo>
                  <a:lnTo>
                    <a:pt x="415" y="105"/>
                  </a:lnTo>
                  <a:lnTo>
                    <a:pt x="413" y="109"/>
                  </a:lnTo>
                  <a:lnTo>
                    <a:pt x="411" y="113"/>
                  </a:lnTo>
                  <a:lnTo>
                    <a:pt x="411" y="115"/>
                  </a:lnTo>
                  <a:lnTo>
                    <a:pt x="411" y="117"/>
                  </a:lnTo>
                  <a:lnTo>
                    <a:pt x="410" y="119"/>
                  </a:lnTo>
                  <a:lnTo>
                    <a:pt x="410" y="121"/>
                  </a:lnTo>
                  <a:lnTo>
                    <a:pt x="410" y="123"/>
                  </a:lnTo>
                  <a:lnTo>
                    <a:pt x="411" y="126"/>
                  </a:lnTo>
                  <a:lnTo>
                    <a:pt x="413" y="133"/>
                  </a:lnTo>
                  <a:lnTo>
                    <a:pt x="414" y="136"/>
                  </a:lnTo>
                  <a:lnTo>
                    <a:pt x="414" y="142"/>
                  </a:lnTo>
                  <a:lnTo>
                    <a:pt x="415" y="142"/>
                  </a:lnTo>
                  <a:lnTo>
                    <a:pt x="415" y="144"/>
                  </a:lnTo>
                  <a:lnTo>
                    <a:pt x="415" y="146"/>
                  </a:lnTo>
                  <a:lnTo>
                    <a:pt x="415" y="148"/>
                  </a:lnTo>
                  <a:lnTo>
                    <a:pt x="414" y="150"/>
                  </a:lnTo>
                  <a:lnTo>
                    <a:pt x="413" y="152"/>
                  </a:lnTo>
                  <a:lnTo>
                    <a:pt x="412" y="153"/>
                  </a:lnTo>
                  <a:lnTo>
                    <a:pt x="411" y="155"/>
                  </a:lnTo>
                  <a:lnTo>
                    <a:pt x="410" y="156"/>
                  </a:lnTo>
                  <a:lnTo>
                    <a:pt x="408" y="157"/>
                  </a:lnTo>
                  <a:lnTo>
                    <a:pt x="406" y="158"/>
                  </a:lnTo>
                  <a:lnTo>
                    <a:pt x="403" y="159"/>
                  </a:lnTo>
                  <a:lnTo>
                    <a:pt x="401" y="160"/>
                  </a:lnTo>
                  <a:lnTo>
                    <a:pt x="399" y="161"/>
                  </a:lnTo>
                  <a:lnTo>
                    <a:pt x="396" y="161"/>
                  </a:lnTo>
                  <a:lnTo>
                    <a:pt x="393" y="161"/>
                  </a:lnTo>
                  <a:lnTo>
                    <a:pt x="386" y="160"/>
                  </a:lnTo>
                  <a:lnTo>
                    <a:pt x="378" y="158"/>
                  </a:lnTo>
                  <a:lnTo>
                    <a:pt x="375" y="158"/>
                  </a:lnTo>
                  <a:lnTo>
                    <a:pt x="373" y="158"/>
                  </a:lnTo>
                  <a:lnTo>
                    <a:pt x="371" y="158"/>
                  </a:lnTo>
                  <a:lnTo>
                    <a:pt x="369" y="159"/>
                  </a:lnTo>
                  <a:lnTo>
                    <a:pt x="368" y="159"/>
                  </a:lnTo>
                  <a:lnTo>
                    <a:pt x="367" y="160"/>
                  </a:lnTo>
                  <a:lnTo>
                    <a:pt x="366" y="161"/>
                  </a:lnTo>
                  <a:lnTo>
                    <a:pt x="366" y="163"/>
                  </a:lnTo>
                  <a:lnTo>
                    <a:pt x="365" y="164"/>
                  </a:lnTo>
                  <a:lnTo>
                    <a:pt x="364" y="166"/>
                  </a:lnTo>
                  <a:lnTo>
                    <a:pt x="362" y="174"/>
                  </a:lnTo>
                  <a:lnTo>
                    <a:pt x="362" y="177"/>
                  </a:lnTo>
                  <a:lnTo>
                    <a:pt x="361" y="180"/>
                  </a:lnTo>
                  <a:lnTo>
                    <a:pt x="362" y="183"/>
                  </a:lnTo>
                  <a:lnTo>
                    <a:pt x="363" y="186"/>
                  </a:lnTo>
                  <a:lnTo>
                    <a:pt x="365" y="190"/>
                  </a:lnTo>
                  <a:lnTo>
                    <a:pt x="367" y="194"/>
                  </a:lnTo>
                  <a:lnTo>
                    <a:pt x="369" y="197"/>
                  </a:lnTo>
                  <a:lnTo>
                    <a:pt x="370" y="199"/>
                  </a:lnTo>
                  <a:lnTo>
                    <a:pt x="377" y="207"/>
                  </a:lnTo>
                  <a:lnTo>
                    <a:pt x="381" y="213"/>
                  </a:lnTo>
                  <a:lnTo>
                    <a:pt x="384" y="216"/>
                  </a:lnTo>
                  <a:lnTo>
                    <a:pt x="388" y="220"/>
                  </a:lnTo>
                  <a:lnTo>
                    <a:pt x="395" y="227"/>
                  </a:lnTo>
                  <a:lnTo>
                    <a:pt x="398" y="231"/>
                  </a:lnTo>
                  <a:lnTo>
                    <a:pt x="400" y="233"/>
                  </a:lnTo>
                  <a:lnTo>
                    <a:pt x="402" y="235"/>
                  </a:lnTo>
                  <a:lnTo>
                    <a:pt x="407" y="244"/>
                  </a:lnTo>
                  <a:lnTo>
                    <a:pt x="408" y="245"/>
                  </a:lnTo>
                  <a:lnTo>
                    <a:pt x="409" y="247"/>
                  </a:lnTo>
                  <a:lnTo>
                    <a:pt x="412" y="249"/>
                  </a:lnTo>
                  <a:lnTo>
                    <a:pt x="413" y="250"/>
                  </a:lnTo>
                  <a:lnTo>
                    <a:pt x="414" y="251"/>
                  </a:lnTo>
                  <a:lnTo>
                    <a:pt x="417" y="252"/>
                  </a:lnTo>
                  <a:lnTo>
                    <a:pt x="424" y="255"/>
                  </a:lnTo>
                  <a:lnTo>
                    <a:pt x="427" y="256"/>
                  </a:lnTo>
                  <a:lnTo>
                    <a:pt x="430" y="258"/>
                  </a:lnTo>
                  <a:lnTo>
                    <a:pt x="433" y="260"/>
                  </a:lnTo>
                  <a:lnTo>
                    <a:pt x="436" y="262"/>
                  </a:lnTo>
                  <a:lnTo>
                    <a:pt x="438" y="265"/>
                  </a:lnTo>
                  <a:lnTo>
                    <a:pt x="441" y="267"/>
                  </a:lnTo>
                  <a:lnTo>
                    <a:pt x="443" y="268"/>
                  </a:lnTo>
                  <a:lnTo>
                    <a:pt x="445" y="270"/>
                  </a:lnTo>
                  <a:lnTo>
                    <a:pt x="447" y="272"/>
                  </a:lnTo>
                  <a:lnTo>
                    <a:pt x="449" y="275"/>
                  </a:lnTo>
                  <a:lnTo>
                    <a:pt x="449" y="276"/>
                  </a:lnTo>
                  <a:lnTo>
                    <a:pt x="449" y="279"/>
                  </a:lnTo>
                  <a:lnTo>
                    <a:pt x="449" y="283"/>
                  </a:lnTo>
                  <a:lnTo>
                    <a:pt x="447" y="287"/>
                  </a:lnTo>
                  <a:lnTo>
                    <a:pt x="446" y="290"/>
                  </a:lnTo>
                  <a:lnTo>
                    <a:pt x="445" y="292"/>
                  </a:lnTo>
                  <a:lnTo>
                    <a:pt x="443" y="294"/>
                  </a:lnTo>
                  <a:lnTo>
                    <a:pt x="441" y="296"/>
                  </a:lnTo>
                  <a:lnTo>
                    <a:pt x="439" y="297"/>
                  </a:lnTo>
                  <a:lnTo>
                    <a:pt x="438" y="298"/>
                  </a:lnTo>
                  <a:lnTo>
                    <a:pt x="437" y="298"/>
                  </a:lnTo>
                  <a:lnTo>
                    <a:pt x="435" y="299"/>
                  </a:lnTo>
                  <a:lnTo>
                    <a:pt x="432" y="299"/>
                  </a:lnTo>
                  <a:lnTo>
                    <a:pt x="431" y="298"/>
                  </a:lnTo>
                  <a:lnTo>
                    <a:pt x="429" y="297"/>
                  </a:lnTo>
                  <a:lnTo>
                    <a:pt x="421" y="294"/>
                  </a:lnTo>
                  <a:lnTo>
                    <a:pt x="419" y="293"/>
                  </a:lnTo>
                  <a:lnTo>
                    <a:pt x="417" y="293"/>
                  </a:lnTo>
                  <a:lnTo>
                    <a:pt x="416" y="293"/>
                  </a:lnTo>
                  <a:lnTo>
                    <a:pt x="414" y="293"/>
                  </a:lnTo>
                  <a:lnTo>
                    <a:pt x="414" y="294"/>
                  </a:lnTo>
                  <a:lnTo>
                    <a:pt x="413" y="295"/>
                  </a:lnTo>
                  <a:lnTo>
                    <a:pt x="411" y="297"/>
                  </a:lnTo>
                  <a:lnTo>
                    <a:pt x="411" y="299"/>
                  </a:lnTo>
                  <a:lnTo>
                    <a:pt x="410" y="301"/>
                  </a:lnTo>
                  <a:lnTo>
                    <a:pt x="410" y="305"/>
                  </a:lnTo>
                  <a:lnTo>
                    <a:pt x="410" y="308"/>
                  </a:lnTo>
                  <a:lnTo>
                    <a:pt x="409" y="311"/>
                  </a:lnTo>
                  <a:lnTo>
                    <a:pt x="407" y="313"/>
                  </a:lnTo>
                  <a:lnTo>
                    <a:pt x="405" y="318"/>
                  </a:lnTo>
                  <a:lnTo>
                    <a:pt x="403" y="323"/>
                  </a:lnTo>
                  <a:lnTo>
                    <a:pt x="396" y="332"/>
                  </a:lnTo>
                  <a:lnTo>
                    <a:pt x="394" y="335"/>
                  </a:lnTo>
                  <a:lnTo>
                    <a:pt x="393" y="337"/>
                  </a:lnTo>
                  <a:lnTo>
                    <a:pt x="392" y="341"/>
                  </a:lnTo>
                  <a:lnTo>
                    <a:pt x="391" y="345"/>
                  </a:lnTo>
                  <a:lnTo>
                    <a:pt x="389" y="348"/>
                  </a:lnTo>
                  <a:lnTo>
                    <a:pt x="387" y="352"/>
                  </a:lnTo>
                  <a:lnTo>
                    <a:pt x="385" y="354"/>
                  </a:lnTo>
                  <a:lnTo>
                    <a:pt x="384" y="356"/>
                  </a:lnTo>
                  <a:lnTo>
                    <a:pt x="383" y="357"/>
                  </a:lnTo>
                  <a:lnTo>
                    <a:pt x="382" y="357"/>
                  </a:lnTo>
                  <a:lnTo>
                    <a:pt x="380" y="357"/>
                  </a:lnTo>
                  <a:lnTo>
                    <a:pt x="380" y="358"/>
                  </a:lnTo>
                  <a:lnTo>
                    <a:pt x="378" y="358"/>
                  </a:lnTo>
                  <a:lnTo>
                    <a:pt x="376" y="359"/>
                  </a:lnTo>
                  <a:lnTo>
                    <a:pt x="374" y="359"/>
                  </a:lnTo>
                  <a:lnTo>
                    <a:pt x="371" y="359"/>
                  </a:lnTo>
                  <a:lnTo>
                    <a:pt x="369" y="359"/>
                  </a:lnTo>
                  <a:lnTo>
                    <a:pt x="365" y="359"/>
                  </a:lnTo>
                  <a:lnTo>
                    <a:pt x="362" y="358"/>
                  </a:lnTo>
                  <a:lnTo>
                    <a:pt x="351" y="355"/>
                  </a:lnTo>
                  <a:lnTo>
                    <a:pt x="348" y="354"/>
                  </a:lnTo>
                  <a:lnTo>
                    <a:pt x="345" y="353"/>
                  </a:lnTo>
                  <a:lnTo>
                    <a:pt x="342" y="353"/>
                  </a:lnTo>
                  <a:lnTo>
                    <a:pt x="338" y="353"/>
                  </a:lnTo>
                  <a:lnTo>
                    <a:pt x="331" y="352"/>
                  </a:lnTo>
                  <a:lnTo>
                    <a:pt x="324" y="352"/>
                  </a:lnTo>
                  <a:lnTo>
                    <a:pt x="322" y="352"/>
                  </a:lnTo>
                  <a:lnTo>
                    <a:pt x="320" y="352"/>
                  </a:lnTo>
                  <a:lnTo>
                    <a:pt x="318" y="353"/>
                  </a:lnTo>
                  <a:lnTo>
                    <a:pt x="315" y="354"/>
                  </a:lnTo>
                  <a:lnTo>
                    <a:pt x="312" y="355"/>
                  </a:lnTo>
                  <a:lnTo>
                    <a:pt x="311" y="355"/>
                  </a:lnTo>
                  <a:lnTo>
                    <a:pt x="309" y="356"/>
                  </a:lnTo>
                  <a:lnTo>
                    <a:pt x="308" y="357"/>
                  </a:lnTo>
                  <a:lnTo>
                    <a:pt x="307" y="358"/>
                  </a:lnTo>
                  <a:lnTo>
                    <a:pt x="306" y="359"/>
                  </a:lnTo>
                  <a:lnTo>
                    <a:pt x="305" y="360"/>
                  </a:lnTo>
                  <a:lnTo>
                    <a:pt x="304" y="361"/>
                  </a:lnTo>
                  <a:lnTo>
                    <a:pt x="304" y="362"/>
                  </a:lnTo>
                  <a:lnTo>
                    <a:pt x="304" y="363"/>
                  </a:lnTo>
                  <a:lnTo>
                    <a:pt x="303" y="366"/>
                  </a:lnTo>
                  <a:lnTo>
                    <a:pt x="304" y="368"/>
                  </a:lnTo>
                  <a:lnTo>
                    <a:pt x="304" y="370"/>
                  </a:lnTo>
                  <a:lnTo>
                    <a:pt x="305" y="372"/>
                  </a:lnTo>
                  <a:lnTo>
                    <a:pt x="307" y="378"/>
                  </a:lnTo>
                  <a:lnTo>
                    <a:pt x="308" y="380"/>
                  </a:lnTo>
                  <a:lnTo>
                    <a:pt x="309" y="384"/>
                  </a:lnTo>
                  <a:lnTo>
                    <a:pt x="309" y="386"/>
                  </a:lnTo>
                  <a:lnTo>
                    <a:pt x="309" y="390"/>
                  </a:lnTo>
                  <a:lnTo>
                    <a:pt x="309" y="391"/>
                  </a:lnTo>
                  <a:lnTo>
                    <a:pt x="309" y="393"/>
                  </a:lnTo>
                  <a:lnTo>
                    <a:pt x="309" y="394"/>
                  </a:lnTo>
                  <a:lnTo>
                    <a:pt x="308" y="396"/>
                  </a:lnTo>
                  <a:lnTo>
                    <a:pt x="308" y="397"/>
                  </a:lnTo>
                  <a:lnTo>
                    <a:pt x="307" y="397"/>
                  </a:lnTo>
                  <a:lnTo>
                    <a:pt x="305" y="395"/>
                  </a:lnTo>
                  <a:lnTo>
                    <a:pt x="299" y="391"/>
                  </a:lnTo>
                  <a:lnTo>
                    <a:pt x="292" y="385"/>
                  </a:lnTo>
                  <a:lnTo>
                    <a:pt x="289" y="383"/>
                  </a:lnTo>
                  <a:lnTo>
                    <a:pt x="288" y="382"/>
                  </a:lnTo>
                  <a:lnTo>
                    <a:pt x="285" y="381"/>
                  </a:lnTo>
                  <a:lnTo>
                    <a:pt x="277" y="380"/>
                  </a:lnTo>
                  <a:lnTo>
                    <a:pt x="272" y="379"/>
                  </a:lnTo>
                  <a:lnTo>
                    <a:pt x="270" y="379"/>
                  </a:lnTo>
                  <a:lnTo>
                    <a:pt x="268" y="379"/>
                  </a:lnTo>
                  <a:lnTo>
                    <a:pt x="265" y="380"/>
                  </a:lnTo>
                  <a:lnTo>
                    <a:pt x="263" y="380"/>
                  </a:lnTo>
                  <a:lnTo>
                    <a:pt x="262" y="380"/>
                  </a:lnTo>
                  <a:lnTo>
                    <a:pt x="261" y="380"/>
                  </a:lnTo>
                  <a:lnTo>
                    <a:pt x="260" y="380"/>
                  </a:lnTo>
                  <a:lnTo>
                    <a:pt x="259" y="379"/>
                  </a:lnTo>
                  <a:lnTo>
                    <a:pt x="259" y="378"/>
                  </a:lnTo>
                  <a:lnTo>
                    <a:pt x="260" y="376"/>
                  </a:lnTo>
                  <a:lnTo>
                    <a:pt x="261" y="375"/>
                  </a:lnTo>
                  <a:lnTo>
                    <a:pt x="261" y="374"/>
                  </a:lnTo>
                  <a:lnTo>
                    <a:pt x="262" y="369"/>
                  </a:lnTo>
                  <a:lnTo>
                    <a:pt x="263" y="364"/>
                  </a:lnTo>
                  <a:lnTo>
                    <a:pt x="263" y="361"/>
                  </a:lnTo>
                  <a:lnTo>
                    <a:pt x="263" y="359"/>
                  </a:lnTo>
                  <a:lnTo>
                    <a:pt x="262" y="357"/>
                  </a:lnTo>
                  <a:lnTo>
                    <a:pt x="262" y="356"/>
                  </a:lnTo>
                  <a:lnTo>
                    <a:pt x="261" y="355"/>
                  </a:lnTo>
                  <a:lnTo>
                    <a:pt x="260" y="354"/>
                  </a:lnTo>
                  <a:lnTo>
                    <a:pt x="258" y="353"/>
                  </a:lnTo>
                  <a:lnTo>
                    <a:pt x="257" y="352"/>
                  </a:lnTo>
                  <a:lnTo>
                    <a:pt x="255" y="351"/>
                  </a:lnTo>
                  <a:lnTo>
                    <a:pt x="244" y="348"/>
                  </a:lnTo>
                  <a:lnTo>
                    <a:pt x="243" y="348"/>
                  </a:lnTo>
                  <a:lnTo>
                    <a:pt x="239" y="349"/>
                  </a:lnTo>
                  <a:lnTo>
                    <a:pt x="235" y="350"/>
                  </a:lnTo>
                  <a:lnTo>
                    <a:pt x="233" y="350"/>
                  </a:lnTo>
                  <a:lnTo>
                    <a:pt x="233" y="350"/>
                  </a:lnTo>
                  <a:lnTo>
                    <a:pt x="232" y="350"/>
                  </a:lnTo>
                  <a:lnTo>
                    <a:pt x="228" y="353"/>
                  </a:lnTo>
                  <a:lnTo>
                    <a:pt x="227" y="354"/>
                  </a:lnTo>
                  <a:lnTo>
                    <a:pt x="226" y="354"/>
                  </a:lnTo>
                  <a:lnTo>
                    <a:pt x="224" y="355"/>
                  </a:lnTo>
                  <a:lnTo>
                    <a:pt x="224" y="354"/>
                  </a:lnTo>
                  <a:lnTo>
                    <a:pt x="224" y="353"/>
                  </a:lnTo>
                  <a:lnTo>
                    <a:pt x="223" y="351"/>
                  </a:lnTo>
                  <a:lnTo>
                    <a:pt x="223" y="349"/>
                  </a:lnTo>
                  <a:lnTo>
                    <a:pt x="222" y="347"/>
                  </a:lnTo>
                  <a:lnTo>
                    <a:pt x="221" y="346"/>
                  </a:lnTo>
                  <a:lnTo>
                    <a:pt x="219" y="343"/>
                  </a:lnTo>
                  <a:lnTo>
                    <a:pt x="217" y="340"/>
                  </a:lnTo>
                  <a:lnTo>
                    <a:pt x="210" y="330"/>
                  </a:lnTo>
                  <a:lnTo>
                    <a:pt x="200" y="319"/>
                  </a:lnTo>
                  <a:lnTo>
                    <a:pt x="199" y="317"/>
                  </a:lnTo>
                  <a:lnTo>
                    <a:pt x="198" y="316"/>
                  </a:lnTo>
                  <a:lnTo>
                    <a:pt x="197" y="315"/>
                  </a:lnTo>
                  <a:lnTo>
                    <a:pt x="195" y="313"/>
                  </a:lnTo>
                  <a:lnTo>
                    <a:pt x="192" y="312"/>
                  </a:lnTo>
                  <a:lnTo>
                    <a:pt x="191" y="312"/>
                  </a:lnTo>
                  <a:lnTo>
                    <a:pt x="189" y="311"/>
                  </a:lnTo>
                  <a:lnTo>
                    <a:pt x="187" y="311"/>
                  </a:lnTo>
                  <a:lnTo>
                    <a:pt x="187" y="311"/>
                  </a:lnTo>
                  <a:lnTo>
                    <a:pt x="185" y="311"/>
                  </a:lnTo>
                  <a:lnTo>
                    <a:pt x="183" y="310"/>
                  </a:lnTo>
                  <a:lnTo>
                    <a:pt x="179" y="311"/>
                  </a:lnTo>
                  <a:lnTo>
                    <a:pt x="176" y="311"/>
                  </a:lnTo>
                  <a:lnTo>
                    <a:pt x="166" y="313"/>
                  </a:lnTo>
                  <a:lnTo>
                    <a:pt x="164" y="314"/>
                  </a:lnTo>
                  <a:lnTo>
                    <a:pt x="161" y="314"/>
                  </a:lnTo>
                  <a:lnTo>
                    <a:pt x="158" y="315"/>
                  </a:lnTo>
                  <a:lnTo>
                    <a:pt x="155" y="315"/>
                  </a:lnTo>
                  <a:lnTo>
                    <a:pt x="152" y="315"/>
                  </a:lnTo>
                  <a:lnTo>
                    <a:pt x="149" y="315"/>
                  </a:lnTo>
                  <a:lnTo>
                    <a:pt x="143" y="314"/>
                  </a:lnTo>
                  <a:lnTo>
                    <a:pt x="141" y="314"/>
                  </a:lnTo>
                  <a:lnTo>
                    <a:pt x="138" y="313"/>
                  </a:lnTo>
                  <a:lnTo>
                    <a:pt x="135" y="313"/>
                  </a:lnTo>
                  <a:lnTo>
                    <a:pt x="132" y="312"/>
                  </a:lnTo>
                  <a:lnTo>
                    <a:pt x="130" y="312"/>
                  </a:lnTo>
                  <a:lnTo>
                    <a:pt x="129" y="311"/>
                  </a:lnTo>
                  <a:lnTo>
                    <a:pt x="125" y="310"/>
                  </a:lnTo>
                  <a:lnTo>
                    <a:pt x="121" y="307"/>
                  </a:lnTo>
                  <a:lnTo>
                    <a:pt x="118" y="304"/>
                  </a:lnTo>
                  <a:lnTo>
                    <a:pt x="111" y="299"/>
                  </a:lnTo>
                  <a:lnTo>
                    <a:pt x="107" y="296"/>
                  </a:lnTo>
                  <a:lnTo>
                    <a:pt x="102" y="293"/>
                  </a:lnTo>
                  <a:lnTo>
                    <a:pt x="95" y="289"/>
                  </a:lnTo>
                  <a:lnTo>
                    <a:pt x="91" y="288"/>
                  </a:lnTo>
                  <a:lnTo>
                    <a:pt x="90" y="287"/>
                  </a:lnTo>
                  <a:lnTo>
                    <a:pt x="88" y="285"/>
                  </a:lnTo>
                  <a:lnTo>
                    <a:pt x="85" y="283"/>
                  </a:lnTo>
                  <a:lnTo>
                    <a:pt x="85" y="281"/>
                  </a:lnTo>
                  <a:lnTo>
                    <a:pt x="84" y="280"/>
                  </a:lnTo>
                  <a:lnTo>
                    <a:pt x="83" y="279"/>
                  </a:lnTo>
                  <a:lnTo>
                    <a:pt x="83" y="278"/>
                  </a:lnTo>
                  <a:lnTo>
                    <a:pt x="83" y="278"/>
                  </a:lnTo>
                  <a:lnTo>
                    <a:pt x="83" y="277"/>
                  </a:lnTo>
                  <a:lnTo>
                    <a:pt x="84" y="276"/>
                  </a:lnTo>
                  <a:lnTo>
                    <a:pt x="84" y="275"/>
                  </a:lnTo>
                  <a:lnTo>
                    <a:pt x="85" y="274"/>
                  </a:lnTo>
                  <a:lnTo>
                    <a:pt x="86" y="273"/>
                  </a:lnTo>
                  <a:lnTo>
                    <a:pt x="88" y="272"/>
                  </a:lnTo>
                  <a:lnTo>
                    <a:pt x="93" y="270"/>
                  </a:lnTo>
                  <a:lnTo>
                    <a:pt x="94" y="269"/>
                  </a:lnTo>
                  <a:lnTo>
                    <a:pt x="94" y="268"/>
                  </a:lnTo>
                  <a:lnTo>
                    <a:pt x="94" y="267"/>
                  </a:lnTo>
                  <a:lnTo>
                    <a:pt x="93" y="267"/>
                  </a:lnTo>
                  <a:lnTo>
                    <a:pt x="92" y="267"/>
                  </a:lnTo>
                  <a:lnTo>
                    <a:pt x="89" y="265"/>
                  </a:lnTo>
                  <a:lnTo>
                    <a:pt x="86" y="263"/>
                  </a:lnTo>
                  <a:lnTo>
                    <a:pt x="85" y="263"/>
                  </a:lnTo>
                  <a:lnTo>
                    <a:pt x="83" y="262"/>
                  </a:lnTo>
                  <a:lnTo>
                    <a:pt x="81" y="262"/>
                  </a:lnTo>
                  <a:lnTo>
                    <a:pt x="79" y="262"/>
                  </a:lnTo>
                  <a:lnTo>
                    <a:pt x="75" y="262"/>
                  </a:lnTo>
                  <a:lnTo>
                    <a:pt x="68" y="263"/>
                  </a:lnTo>
                  <a:lnTo>
                    <a:pt x="64" y="263"/>
                  </a:lnTo>
                  <a:lnTo>
                    <a:pt x="62" y="262"/>
                  </a:lnTo>
                  <a:lnTo>
                    <a:pt x="55" y="261"/>
                  </a:lnTo>
                  <a:lnTo>
                    <a:pt x="51" y="260"/>
                  </a:lnTo>
                  <a:lnTo>
                    <a:pt x="48" y="260"/>
                  </a:lnTo>
                  <a:lnTo>
                    <a:pt x="44" y="260"/>
                  </a:lnTo>
                  <a:lnTo>
                    <a:pt x="39" y="261"/>
                  </a:lnTo>
                  <a:lnTo>
                    <a:pt x="35" y="262"/>
                  </a:lnTo>
                  <a:lnTo>
                    <a:pt x="32" y="263"/>
                  </a:lnTo>
                  <a:lnTo>
                    <a:pt x="26" y="266"/>
                  </a:lnTo>
                  <a:lnTo>
                    <a:pt x="23" y="267"/>
                  </a:lnTo>
                  <a:lnTo>
                    <a:pt x="20" y="267"/>
                  </a:lnTo>
                  <a:lnTo>
                    <a:pt x="19" y="267"/>
                  </a:lnTo>
                  <a:lnTo>
                    <a:pt x="17" y="267"/>
                  </a:lnTo>
                  <a:lnTo>
                    <a:pt x="17" y="267"/>
                  </a:lnTo>
                  <a:lnTo>
                    <a:pt x="15" y="267"/>
                  </a:lnTo>
                  <a:lnTo>
                    <a:pt x="6" y="266"/>
                  </a:lnTo>
                  <a:lnTo>
                    <a:pt x="4" y="265"/>
                  </a:lnTo>
                  <a:lnTo>
                    <a:pt x="3" y="264"/>
                  </a:lnTo>
                  <a:lnTo>
                    <a:pt x="2" y="264"/>
                  </a:lnTo>
                  <a:lnTo>
                    <a:pt x="1" y="263"/>
                  </a:lnTo>
                  <a:lnTo>
                    <a:pt x="1" y="262"/>
                  </a:lnTo>
                  <a:lnTo>
                    <a:pt x="0" y="261"/>
                  </a:lnTo>
                  <a:lnTo>
                    <a:pt x="0" y="260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1" y="253"/>
                  </a:lnTo>
                  <a:lnTo>
                    <a:pt x="2" y="251"/>
                  </a:lnTo>
                  <a:lnTo>
                    <a:pt x="3" y="249"/>
                  </a:lnTo>
                  <a:lnTo>
                    <a:pt x="5" y="244"/>
                  </a:lnTo>
                  <a:lnTo>
                    <a:pt x="7" y="241"/>
                  </a:lnTo>
                  <a:lnTo>
                    <a:pt x="9" y="237"/>
                  </a:lnTo>
                  <a:lnTo>
                    <a:pt x="14" y="233"/>
                  </a:lnTo>
                  <a:lnTo>
                    <a:pt x="15" y="231"/>
                  </a:lnTo>
                  <a:lnTo>
                    <a:pt x="16" y="229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4"/>
                  </a:lnTo>
                  <a:lnTo>
                    <a:pt x="16" y="222"/>
                  </a:lnTo>
                  <a:lnTo>
                    <a:pt x="16" y="220"/>
                  </a:lnTo>
                  <a:lnTo>
                    <a:pt x="15" y="217"/>
                  </a:lnTo>
                  <a:lnTo>
                    <a:pt x="14" y="215"/>
                  </a:lnTo>
                  <a:lnTo>
                    <a:pt x="12" y="212"/>
                  </a:lnTo>
                  <a:lnTo>
                    <a:pt x="10" y="209"/>
                  </a:lnTo>
                  <a:lnTo>
                    <a:pt x="9" y="207"/>
                  </a:lnTo>
                  <a:lnTo>
                    <a:pt x="5" y="202"/>
                  </a:lnTo>
                  <a:lnTo>
                    <a:pt x="5" y="200"/>
                  </a:lnTo>
                  <a:lnTo>
                    <a:pt x="4" y="199"/>
                  </a:lnTo>
                  <a:lnTo>
                    <a:pt x="4" y="199"/>
                  </a:lnTo>
                  <a:lnTo>
                    <a:pt x="4" y="198"/>
                  </a:lnTo>
                  <a:lnTo>
                    <a:pt x="5" y="196"/>
                  </a:lnTo>
                  <a:lnTo>
                    <a:pt x="5" y="194"/>
                  </a:lnTo>
                  <a:lnTo>
                    <a:pt x="7" y="192"/>
                  </a:lnTo>
                  <a:lnTo>
                    <a:pt x="10" y="190"/>
                  </a:lnTo>
                  <a:lnTo>
                    <a:pt x="13" y="187"/>
                  </a:lnTo>
                  <a:lnTo>
                    <a:pt x="17" y="185"/>
                  </a:lnTo>
                  <a:lnTo>
                    <a:pt x="19" y="183"/>
                  </a:lnTo>
                  <a:lnTo>
                    <a:pt x="21" y="182"/>
                  </a:lnTo>
                  <a:lnTo>
                    <a:pt x="23" y="181"/>
                  </a:lnTo>
                  <a:lnTo>
                    <a:pt x="26" y="180"/>
                  </a:lnTo>
                  <a:lnTo>
                    <a:pt x="28" y="180"/>
                  </a:lnTo>
                  <a:lnTo>
                    <a:pt x="30" y="179"/>
                  </a:lnTo>
                  <a:lnTo>
                    <a:pt x="35" y="179"/>
                  </a:lnTo>
                  <a:lnTo>
                    <a:pt x="37" y="178"/>
                  </a:lnTo>
                  <a:lnTo>
                    <a:pt x="39" y="178"/>
                  </a:lnTo>
                  <a:lnTo>
                    <a:pt x="40" y="178"/>
                  </a:lnTo>
                  <a:lnTo>
                    <a:pt x="42" y="177"/>
                  </a:lnTo>
                  <a:lnTo>
                    <a:pt x="43" y="176"/>
                  </a:lnTo>
                  <a:lnTo>
                    <a:pt x="44" y="176"/>
                  </a:lnTo>
                  <a:lnTo>
                    <a:pt x="46" y="175"/>
                  </a:lnTo>
                  <a:lnTo>
                    <a:pt x="49" y="171"/>
                  </a:lnTo>
                  <a:lnTo>
                    <a:pt x="51" y="168"/>
                  </a:lnTo>
                  <a:lnTo>
                    <a:pt x="51" y="166"/>
                  </a:lnTo>
                  <a:lnTo>
                    <a:pt x="53" y="160"/>
                  </a:lnTo>
                  <a:lnTo>
                    <a:pt x="54" y="159"/>
                  </a:lnTo>
                  <a:lnTo>
                    <a:pt x="55" y="157"/>
                  </a:lnTo>
                  <a:lnTo>
                    <a:pt x="56" y="156"/>
                  </a:lnTo>
                  <a:lnTo>
                    <a:pt x="57" y="155"/>
                  </a:lnTo>
                  <a:lnTo>
                    <a:pt x="62" y="153"/>
                  </a:lnTo>
                  <a:lnTo>
                    <a:pt x="62" y="153"/>
                  </a:lnTo>
                  <a:lnTo>
                    <a:pt x="63" y="152"/>
                  </a:lnTo>
                  <a:lnTo>
                    <a:pt x="64" y="152"/>
                  </a:lnTo>
                  <a:lnTo>
                    <a:pt x="64" y="151"/>
                  </a:lnTo>
                  <a:lnTo>
                    <a:pt x="65" y="150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6" y="143"/>
                  </a:lnTo>
                  <a:lnTo>
                    <a:pt x="66" y="139"/>
                  </a:lnTo>
                  <a:lnTo>
                    <a:pt x="67" y="138"/>
                  </a:lnTo>
                  <a:lnTo>
                    <a:pt x="67" y="136"/>
                  </a:lnTo>
                  <a:lnTo>
                    <a:pt x="68" y="132"/>
                  </a:lnTo>
                  <a:lnTo>
                    <a:pt x="69" y="131"/>
                  </a:lnTo>
                  <a:lnTo>
                    <a:pt x="69" y="128"/>
                  </a:lnTo>
                  <a:lnTo>
                    <a:pt x="70" y="122"/>
                  </a:lnTo>
                  <a:lnTo>
                    <a:pt x="70" y="120"/>
                  </a:lnTo>
                  <a:lnTo>
                    <a:pt x="71" y="117"/>
                  </a:lnTo>
                  <a:lnTo>
                    <a:pt x="72" y="116"/>
                  </a:lnTo>
                  <a:lnTo>
                    <a:pt x="72" y="114"/>
                  </a:lnTo>
                  <a:lnTo>
                    <a:pt x="73" y="113"/>
                  </a:lnTo>
                  <a:lnTo>
                    <a:pt x="75" y="111"/>
                  </a:lnTo>
                  <a:lnTo>
                    <a:pt x="81" y="108"/>
                  </a:lnTo>
                  <a:lnTo>
                    <a:pt x="84" y="105"/>
                  </a:lnTo>
                  <a:lnTo>
                    <a:pt x="87" y="102"/>
                  </a:lnTo>
                  <a:lnTo>
                    <a:pt x="91" y="97"/>
                  </a:lnTo>
                  <a:lnTo>
                    <a:pt x="93" y="97"/>
                  </a:lnTo>
                  <a:lnTo>
                    <a:pt x="97" y="93"/>
                  </a:lnTo>
                  <a:lnTo>
                    <a:pt x="101" y="90"/>
                  </a:lnTo>
                  <a:lnTo>
                    <a:pt x="105" y="87"/>
                  </a:lnTo>
                  <a:lnTo>
                    <a:pt x="108" y="86"/>
                  </a:lnTo>
                  <a:lnTo>
                    <a:pt x="110" y="85"/>
                  </a:lnTo>
                  <a:lnTo>
                    <a:pt x="113" y="85"/>
                  </a:lnTo>
                  <a:lnTo>
                    <a:pt x="117" y="84"/>
                  </a:lnTo>
                  <a:lnTo>
                    <a:pt x="119" y="84"/>
                  </a:lnTo>
                  <a:lnTo>
                    <a:pt x="122" y="84"/>
                  </a:lnTo>
                  <a:lnTo>
                    <a:pt x="129" y="85"/>
                  </a:lnTo>
                  <a:lnTo>
                    <a:pt x="131" y="85"/>
                  </a:lnTo>
                  <a:lnTo>
                    <a:pt x="134" y="85"/>
                  </a:lnTo>
                  <a:lnTo>
                    <a:pt x="138" y="84"/>
                  </a:lnTo>
                  <a:lnTo>
                    <a:pt x="142" y="83"/>
                  </a:lnTo>
                  <a:lnTo>
                    <a:pt x="146" y="82"/>
                  </a:lnTo>
                  <a:lnTo>
                    <a:pt x="151" y="80"/>
                  </a:lnTo>
                  <a:lnTo>
                    <a:pt x="155" y="78"/>
                  </a:lnTo>
                  <a:lnTo>
                    <a:pt x="157" y="77"/>
                  </a:lnTo>
                  <a:lnTo>
                    <a:pt x="159" y="75"/>
                  </a:lnTo>
                  <a:lnTo>
                    <a:pt x="161" y="74"/>
                  </a:lnTo>
                  <a:lnTo>
                    <a:pt x="164" y="72"/>
                  </a:lnTo>
                  <a:lnTo>
                    <a:pt x="166" y="69"/>
                  </a:lnTo>
                  <a:lnTo>
                    <a:pt x="170" y="64"/>
                  </a:lnTo>
                  <a:lnTo>
                    <a:pt x="172" y="63"/>
                  </a:lnTo>
                  <a:lnTo>
                    <a:pt x="173" y="62"/>
                  </a:lnTo>
                  <a:lnTo>
                    <a:pt x="178" y="57"/>
                  </a:lnTo>
                  <a:lnTo>
                    <a:pt x="184" y="51"/>
                  </a:lnTo>
                  <a:lnTo>
                    <a:pt x="195" y="41"/>
                  </a:lnTo>
                  <a:lnTo>
                    <a:pt x="198" y="40"/>
                  </a:lnTo>
                  <a:lnTo>
                    <a:pt x="199" y="38"/>
                  </a:lnTo>
                  <a:lnTo>
                    <a:pt x="201" y="37"/>
                  </a:lnTo>
                  <a:lnTo>
                    <a:pt x="202" y="37"/>
                  </a:lnTo>
                  <a:lnTo>
                    <a:pt x="203" y="36"/>
                  </a:lnTo>
                  <a:lnTo>
                    <a:pt x="204" y="36"/>
                  </a:lnTo>
                  <a:lnTo>
                    <a:pt x="205" y="36"/>
                  </a:lnTo>
                  <a:lnTo>
                    <a:pt x="206" y="37"/>
                  </a:lnTo>
                  <a:lnTo>
                    <a:pt x="208" y="38"/>
                  </a:lnTo>
                  <a:lnTo>
                    <a:pt x="210" y="40"/>
                  </a:lnTo>
                  <a:lnTo>
                    <a:pt x="212" y="40"/>
                  </a:lnTo>
                  <a:lnTo>
                    <a:pt x="214" y="40"/>
                  </a:lnTo>
                  <a:lnTo>
                    <a:pt x="216" y="41"/>
                  </a:lnTo>
                  <a:lnTo>
                    <a:pt x="221" y="42"/>
                  </a:lnTo>
                  <a:lnTo>
                    <a:pt x="225" y="43"/>
                  </a:lnTo>
                  <a:lnTo>
                    <a:pt x="228" y="44"/>
                  </a:lnTo>
                  <a:lnTo>
                    <a:pt x="231" y="44"/>
                  </a:lnTo>
                  <a:lnTo>
                    <a:pt x="234" y="44"/>
                  </a:lnTo>
                  <a:lnTo>
                    <a:pt x="238" y="44"/>
                  </a:lnTo>
                  <a:lnTo>
                    <a:pt x="247" y="44"/>
                  </a:lnTo>
                  <a:lnTo>
                    <a:pt x="253" y="43"/>
                  </a:lnTo>
                  <a:lnTo>
                    <a:pt x="256" y="43"/>
                  </a:lnTo>
                  <a:lnTo>
                    <a:pt x="259" y="42"/>
                  </a:lnTo>
                  <a:lnTo>
                    <a:pt x="262" y="42"/>
                  </a:lnTo>
                  <a:lnTo>
                    <a:pt x="265" y="41"/>
                  </a:lnTo>
                  <a:lnTo>
                    <a:pt x="266" y="40"/>
                  </a:lnTo>
                  <a:lnTo>
                    <a:pt x="267" y="40"/>
                  </a:lnTo>
                  <a:lnTo>
                    <a:pt x="272" y="36"/>
                  </a:lnTo>
                  <a:lnTo>
                    <a:pt x="276" y="33"/>
                  </a:lnTo>
                  <a:lnTo>
                    <a:pt x="278" y="32"/>
                  </a:lnTo>
                  <a:lnTo>
                    <a:pt x="281" y="31"/>
                  </a:lnTo>
                  <a:lnTo>
                    <a:pt x="283" y="30"/>
                  </a:lnTo>
                  <a:lnTo>
                    <a:pt x="285" y="29"/>
                  </a:lnTo>
                  <a:lnTo>
                    <a:pt x="288" y="28"/>
                  </a:lnTo>
                  <a:lnTo>
                    <a:pt x="290" y="26"/>
                  </a:lnTo>
                  <a:lnTo>
                    <a:pt x="294" y="22"/>
                  </a:lnTo>
                  <a:lnTo>
                    <a:pt x="308" y="8"/>
                  </a:lnTo>
                  <a:lnTo>
                    <a:pt x="312" y="4"/>
                  </a:lnTo>
                  <a:lnTo>
                    <a:pt x="313" y="3"/>
                  </a:lnTo>
                  <a:lnTo>
                    <a:pt x="315" y="1"/>
                  </a:lnTo>
                  <a:lnTo>
                    <a:pt x="316" y="0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1" name="Freeform 18">
              <a:extLst>
                <a:ext uri="{FF2B5EF4-FFF2-40B4-BE49-F238E27FC236}">
                  <a16:creationId xmlns:a16="http://schemas.microsoft.com/office/drawing/2014/main" id="{84B2D144-EBD3-410F-BA68-0FF7403D3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0" y="3017"/>
              <a:ext cx="534" cy="776"/>
            </a:xfrm>
            <a:custGeom>
              <a:avLst/>
              <a:gdLst>
                <a:gd name="T0" fmla="*/ 146 w 534"/>
                <a:gd name="T1" fmla="*/ 19 h 776"/>
                <a:gd name="T2" fmla="*/ 162 w 534"/>
                <a:gd name="T3" fmla="*/ 70 h 776"/>
                <a:gd name="T4" fmla="*/ 189 w 534"/>
                <a:gd name="T5" fmla="*/ 65 h 776"/>
                <a:gd name="T6" fmla="*/ 208 w 534"/>
                <a:gd name="T7" fmla="*/ 91 h 776"/>
                <a:gd name="T8" fmla="*/ 236 w 534"/>
                <a:gd name="T9" fmla="*/ 115 h 776"/>
                <a:gd name="T10" fmla="*/ 285 w 534"/>
                <a:gd name="T11" fmla="*/ 135 h 776"/>
                <a:gd name="T12" fmla="*/ 308 w 534"/>
                <a:gd name="T13" fmla="*/ 173 h 776"/>
                <a:gd name="T14" fmla="*/ 335 w 534"/>
                <a:gd name="T15" fmla="*/ 202 h 776"/>
                <a:gd name="T16" fmla="*/ 365 w 534"/>
                <a:gd name="T17" fmla="*/ 231 h 776"/>
                <a:gd name="T18" fmla="*/ 353 w 534"/>
                <a:gd name="T19" fmla="*/ 255 h 776"/>
                <a:gd name="T20" fmla="*/ 336 w 534"/>
                <a:gd name="T21" fmla="*/ 275 h 776"/>
                <a:gd name="T22" fmla="*/ 328 w 534"/>
                <a:gd name="T23" fmla="*/ 303 h 776"/>
                <a:gd name="T24" fmla="*/ 353 w 534"/>
                <a:gd name="T25" fmla="*/ 314 h 776"/>
                <a:gd name="T26" fmla="*/ 365 w 534"/>
                <a:gd name="T27" fmla="*/ 333 h 776"/>
                <a:gd name="T28" fmla="*/ 355 w 534"/>
                <a:gd name="T29" fmla="*/ 361 h 776"/>
                <a:gd name="T30" fmla="*/ 369 w 534"/>
                <a:gd name="T31" fmla="*/ 387 h 776"/>
                <a:gd name="T32" fmla="*/ 396 w 534"/>
                <a:gd name="T33" fmla="*/ 405 h 776"/>
                <a:gd name="T34" fmla="*/ 398 w 534"/>
                <a:gd name="T35" fmla="*/ 439 h 776"/>
                <a:gd name="T36" fmla="*/ 416 w 534"/>
                <a:gd name="T37" fmla="*/ 455 h 776"/>
                <a:gd name="T38" fmla="*/ 434 w 534"/>
                <a:gd name="T39" fmla="*/ 461 h 776"/>
                <a:gd name="T40" fmla="*/ 422 w 534"/>
                <a:gd name="T41" fmla="*/ 482 h 776"/>
                <a:gd name="T42" fmla="*/ 441 w 534"/>
                <a:gd name="T43" fmla="*/ 497 h 776"/>
                <a:gd name="T44" fmla="*/ 457 w 534"/>
                <a:gd name="T45" fmla="*/ 546 h 776"/>
                <a:gd name="T46" fmla="*/ 484 w 534"/>
                <a:gd name="T47" fmla="*/ 570 h 776"/>
                <a:gd name="T48" fmla="*/ 513 w 534"/>
                <a:gd name="T49" fmla="*/ 586 h 776"/>
                <a:gd name="T50" fmla="*/ 529 w 534"/>
                <a:gd name="T51" fmla="*/ 638 h 776"/>
                <a:gd name="T52" fmla="*/ 529 w 534"/>
                <a:gd name="T53" fmla="*/ 663 h 776"/>
                <a:gd name="T54" fmla="*/ 478 w 534"/>
                <a:gd name="T55" fmla="*/ 651 h 776"/>
                <a:gd name="T56" fmla="*/ 456 w 534"/>
                <a:gd name="T57" fmla="*/ 687 h 776"/>
                <a:gd name="T58" fmla="*/ 435 w 534"/>
                <a:gd name="T59" fmla="*/ 729 h 776"/>
                <a:gd name="T60" fmla="*/ 398 w 534"/>
                <a:gd name="T61" fmla="*/ 764 h 776"/>
                <a:gd name="T62" fmla="*/ 385 w 534"/>
                <a:gd name="T63" fmla="*/ 769 h 776"/>
                <a:gd name="T64" fmla="*/ 371 w 534"/>
                <a:gd name="T65" fmla="*/ 722 h 776"/>
                <a:gd name="T66" fmla="*/ 361 w 534"/>
                <a:gd name="T67" fmla="*/ 715 h 776"/>
                <a:gd name="T68" fmla="*/ 315 w 534"/>
                <a:gd name="T69" fmla="*/ 661 h 776"/>
                <a:gd name="T70" fmla="*/ 287 w 534"/>
                <a:gd name="T71" fmla="*/ 633 h 776"/>
                <a:gd name="T72" fmla="*/ 275 w 534"/>
                <a:gd name="T73" fmla="*/ 620 h 776"/>
                <a:gd name="T74" fmla="*/ 219 w 534"/>
                <a:gd name="T75" fmla="*/ 633 h 776"/>
                <a:gd name="T76" fmla="*/ 202 w 534"/>
                <a:gd name="T77" fmla="*/ 593 h 776"/>
                <a:gd name="T78" fmla="*/ 187 w 534"/>
                <a:gd name="T79" fmla="*/ 568 h 776"/>
                <a:gd name="T80" fmla="*/ 146 w 534"/>
                <a:gd name="T81" fmla="*/ 537 h 776"/>
                <a:gd name="T82" fmla="*/ 137 w 534"/>
                <a:gd name="T83" fmla="*/ 518 h 776"/>
                <a:gd name="T84" fmla="*/ 87 w 534"/>
                <a:gd name="T85" fmla="*/ 487 h 776"/>
                <a:gd name="T86" fmla="*/ 58 w 534"/>
                <a:gd name="T87" fmla="*/ 460 h 776"/>
                <a:gd name="T88" fmla="*/ 29 w 534"/>
                <a:gd name="T89" fmla="*/ 435 h 776"/>
                <a:gd name="T90" fmla="*/ 1 w 534"/>
                <a:gd name="T91" fmla="*/ 408 h 776"/>
                <a:gd name="T92" fmla="*/ 12 w 534"/>
                <a:gd name="T93" fmla="*/ 385 h 776"/>
                <a:gd name="T94" fmla="*/ 44 w 534"/>
                <a:gd name="T95" fmla="*/ 360 h 776"/>
                <a:gd name="T96" fmla="*/ 45 w 534"/>
                <a:gd name="T97" fmla="*/ 331 h 776"/>
                <a:gd name="T98" fmla="*/ 26 w 534"/>
                <a:gd name="T99" fmla="*/ 303 h 776"/>
                <a:gd name="T100" fmla="*/ 28 w 534"/>
                <a:gd name="T101" fmla="*/ 257 h 776"/>
                <a:gd name="T102" fmla="*/ 17 w 534"/>
                <a:gd name="T103" fmla="*/ 238 h 776"/>
                <a:gd name="T104" fmla="*/ 27 w 534"/>
                <a:gd name="T105" fmla="*/ 225 h 776"/>
                <a:gd name="T106" fmla="*/ 46 w 534"/>
                <a:gd name="T107" fmla="*/ 213 h 776"/>
                <a:gd name="T108" fmla="*/ 50 w 534"/>
                <a:gd name="T109" fmla="*/ 189 h 776"/>
                <a:gd name="T110" fmla="*/ 70 w 534"/>
                <a:gd name="T111" fmla="*/ 154 h 776"/>
                <a:gd name="T112" fmla="*/ 67 w 534"/>
                <a:gd name="T113" fmla="*/ 112 h 776"/>
                <a:gd name="T114" fmla="*/ 84 w 534"/>
                <a:gd name="T115" fmla="*/ 105 h 776"/>
                <a:gd name="T116" fmla="*/ 113 w 534"/>
                <a:gd name="T117" fmla="*/ 110 h 776"/>
                <a:gd name="T118" fmla="*/ 98 w 534"/>
                <a:gd name="T119" fmla="*/ 72 h 776"/>
                <a:gd name="T120" fmla="*/ 101 w 534"/>
                <a:gd name="T121" fmla="*/ 30 h 776"/>
                <a:gd name="T122" fmla="*/ 130 w 534"/>
                <a:gd name="T123" fmla="*/ 7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4" h="776">
                  <a:moveTo>
                    <a:pt x="136" y="1"/>
                  </a:moveTo>
                  <a:lnTo>
                    <a:pt x="137" y="1"/>
                  </a:lnTo>
                  <a:lnTo>
                    <a:pt x="137" y="3"/>
                  </a:lnTo>
                  <a:lnTo>
                    <a:pt x="138" y="3"/>
                  </a:lnTo>
                  <a:lnTo>
                    <a:pt x="142" y="4"/>
                  </a:lnTo>
                  <a:lnTo>
                    <a:pt x="143" y="3"/>
                  </a:lnTo>
                  <a:lnTo>
                    <a:pt x="143" y="4"/>
                  </a:lnTo>
                  <a:lnTo>
                    <a:pt x="144" y="5"/>
                  </a:lnTo>
                  <a:lnTo>
                    <a:pt x="144" y="6"/>
                  </a:lnTo>
                  <a:lnTo>
                    <a:pt x="144" y="8"/>
                  </a:lnTo>
                  <a:lnTo>
                    <a:pt x="145" y="14"/>
                  </a:lnTo>
                  <a:lnTo>
                    <a:pt x="146" y="19"/>
                  </a:lnTo>
                  <a:lnTo>
                    <a:pt x="148" y="24"/>
                  </a:lnTo>
                  <a:lnTo>
                    <a:pt x="149" y="33"/>
                  </a:lnTo>
                  <a:lnTo>
                    <a:pt x="151" y="36"/>
                  </a:lnTo>
                  <a:lnTo>
                    <a:pt x="152" y="41"/>
                  </a:lnTo>
                  <a:lnTo>
                    <a:pt x="155" y="47"/>
                  </a:lnTo>
                  <a:lnTo>
                    <a:pt x="158" y="53"/>
                  </a:lnTo>
                  <a:lnTo>
                    <a:pt x="159" y="57"/>
                  </a:lnTo>
                  <a:lnTo>
                    <a:pt x="160" y="64"/>
                  </a:lnTo>
                  <a:lnTo>
                    <a:pt x="160" y="65"/>
                  </a:lnTo>
                  <a:lnTo>
                    <a:pt x="161" y="67"/>
                  </a:lnTo>
                  <a:lnTo>
                    <a:pt x="161" y="69"/>
                  </a:lnTo>
                  <a:lnTo>
                    <a:pt x="162" y="70"/>
                  </a:lnTo>
                  <a:lnTo>
                    <a:pt x="163" y="71"/>
                  </a:lnTo>
                  <a:lnTo>
                    <a:pt x="164" y="71"/>
                  </a:lnTo>
                  <a:lnTo>
                    <a:pt x="165" y="72"/>
                  </a:lnTo>
                  <a:lnTo>
                    <a:pt x="166" y="72"/>
                  </a:lnTo>
                  <a:lnTo>
                    <a:pt x="168" y="72"/>
                  </a:lnTo>
                  <a:lnTo>
                    <a:pt x="170" y="71"/>
                  </a:lnTo>
                  <a:lnTo>
                    <a:pt x="174" y="68"/>
                  </a:lnTo>
                  <a:lnTo>
                    <a:pt x="177" y="67"/>
                  </a:lnTo>
                  <a:lnTo>
                    <a:pt x="180" y="65"/>
                  </a:lnTo>
                  <a:lnTo>
                    <a:pt x="183" y="65"/>
                  </a:lnTo>
                  <a:lnTo>
                    <a:pt x="186" y="65"/>
                  </a:lnTo>
                  <a:lnTo>
                    <a:pt x="189" y="65"/>
                  </a:lnTo>
                  <a:lnTo>
                    <a:pt x="191" y="65"/>
                  </a:lnTo>
                  <a:lnTo>
                    <a:pt x="193" y="66"/>
                  </a:lnTo>
                  <a:lnTo>
                    <a:pt x="194" y="67"/>
                  </a:lnTo>
                  <a:lnTo>
                    <a:pt x="196" y="69"/>
                  </a:lnTo>
                  <a:lnTo>
                    <a:pt x="198" y="71"/>
                  </a:lnTo>
                  <a:lnTo>
                    <a:pt x="200" y="73"/>
                  </a:lnTo>
                  <a:lnTo>
                    <a:pt x="202" y="76"/>
                  </a:lnTo>
                  <a:lnTo>
                    <a:pt x="203" y="77"/>
                  </a:lnTo>
                  <a:lnTo>
                    <a:pt x="205" y="81"/>
                  </a:lnTo>
                  <a:lnTo>
                    <a:pt x="205" y="84"/>
                  </a:lnTo>
                  <a:lnTo>
                    <a:pt x="207" y="88"/>
                  </a:lnTo>
                  <a:lnTo>
                    <a:pt x="208" y="91"/>
                  </a:lnTo>
                  <a:lnTo>
                    <a:pt x="210" y="93"/>
                  </a:lnTo>
                  <a:lnTo>
                    <a:pt x="216" y="101"/>
                  </a:lnTo>
                  <a:lnTo>
                    <a:pt x="217" y="103"/>
                  </a:lnTo>
                  <a:lnTo>
                    <a:pt x="220" y="106"/>
                  </a:lnTo>
                  <a:lnTo>
                    <a:pt x="222" y="108"/>
                  </a:lnTo>
                  <a:lnTo>
                    <a:pt x="224" y="110"/>
                  </a:lnTo>
                  <a:lnTo>
                    <a:pt x="226" y="111"/>
                  </a:lnTo>
                  <a:lnTo>
                    <a:pt x="228" y="112"/>
                  </a:lnTo>
                  <a:lnTo>
                    <a:pt x="229" y="113"/>
                  </a:lnTo>
                  <a:lnTo>
                    <a:pt x="231" y="114"/>
                  </a:lnTo>
                  <a:lnTo>
                    <a:pt x="233" y="115"/>
                  </a:lnTo>
                  <a:lnTo>
                    <a:pt x="236" y="115"/>
                  </a:lnTo>
                  <a:lnTo>
                    <a:pt x="244" y="117"/>
                  </a:lnTo>
                  <a:lnTo>
                    <a:pt x="249" y="119"/>
                  </a:lnTo>
                  <a:lnTo>
                    <a:pt x="264" y="123"/>
                  </a:lnTo>
                  <a:lnTo>
                    <a:pt x="273" y="126"/>
                  </a:lnTo>
                  <a:lnTo>
                    <a:pt x="275" y="127"/>
                  </a:lnTo>
                  <a:lnTo>
                    <a:pt x="278" y="128"/>
                  </a:lnTo>
                  <a:lnTo>
                    <a:pt x="280" y="129"/>
                  </a:lnTo>
                  <a:lnTo>
                    <a:pt x="281" y="130"/>
                  </a:lnTo>
                  <a:lnTo>
                    <a:pt x="282" y="131"/>
                  </a:lnTo>
                  <a:lnTo>
                    <a:pt x="283" y="132"/>
                  </a:lnTo>
                  <a:lnTo>
                    <a:pt x="284" y="133"/>
                  </a:lnTo>
                  <a:lnTo>
                    <a:pt x="285" y="135"/>
                  </a:lnTo>
                  <a:lnTo>
                    <a:pt x="286" y="139"/>
                  </a:lnTo>
                  <a:lnTo>
                    <a:pt x="288" y="145"/>
                  </a:lnTo>
                  <a:lnTo>
                    <a:pt x="289" y="148"/>
                  </a:lnTo>
                  <a:lnTo>
                    <a:pt x="290" y="151"/>
                  </a:lnTo>
                  <a:lnTo>
                    <a:pt x="292" y="153"/>
                  </a:lnTo>
                  <a:lnTo>
                    <a:pt x="293" y="155"/>
                  </a:lnTo>
                  <a:lnTo>
                    <a:pt x="295" y="156"/>
                  </a:lnTo>
                  <a:lnTo>
                    <a:pt x="300" y="164"/>
                  </a:lnTo>
                  <a:lnTo>
                    <a:pt x="306" y="168"/>
                  </a:lnTo>
                  <a:lnTo>
                    <a:pt x="308" y="170"/>
                  </a:lnTo>
                  <a:lnTo>
                    <a:pt x="308" y="172"/>
                  </a:lnTo>
                  <a:lnTo>
                    <a:pt x="308" y="173"/>
                  </a:lnTo>
                  <a:lnTo>
                    <a:pt x="311" y="179"/>
                  </a:lnTo>
                  <a:lnTo>
                    <a:pt x="312" y="181"/>
                  </a:lnTo>
                  <a:lnTo>
                    <a:pt x="313" y="183"/>
                  </a:lnTo>
                  <a:lnTo>
                    <a:pt x="315" y="184"/>
                  </a:lnTo>
                  <a:lnTo>
                    <a:pt x="319" y="190"/>
                  </a:lnTo>
                  <a:lnTo>
                    <a:pt x="321" y="191"/>
                  </a:lnTo>
                  <a:lnTo>
                    <a:pt x="322" y="192"/>
                  </a:lnTo>
                  <a:lnTo>
                    <a:pt x="324" y="193"/>
                  </a:lnTo>
                  <a:lnTo>
                    <a:pt x="328" y="196"/>
                  </a:lnTo>
                  <a:lnTo>
                    <a:pt x="330" y="197"/>
                  </a:lnTo>
                  <a:lnTo>
                    <a:pt x="331" y="198"/>
                  </a:lnTo>
                  <a:lnTo>
                    <a:pt x="335" y="202"/>
                  </a:lnTo>
                  <a:lnTo>
                    <a:pt x="338" y="204"/>
                  </a:lnTo>
                  <a:lnTo>
                    <a:pt x="341" y="207"/>
                  </a:lnTo>
                  <a:lnTo>
                    <a:pt x="344" y="209"/>
                  </a:lnTo>
                  <a:lnTo>
                    <a:pt x="348" y="211"/>
                  </a:lnTo>
                  <a:lnTo>
                    <a:pt x="353" y="213"/>
                  </a:lnTo>
                  <a:lnTo>
                    <a:pt x="358" y="215"/>
                  </a:lnTo>
                  <a:lnTo>
                    <a:pt x="365" y="218"/>
                  </a:lnTo>
                  <a:lnTo>
                    <a:pt x="366" y="219"/>
                  </a:lnTo>
                  <a:lnTo>
                    <a:pt x="366" y="220"/>
                  </a:lnTo>
                  <a:lnTo>
                    <a:pt x="366" y="221"/>
                  </a:lnTo>
                  <a:lnTo>
                    <a:pt x="366" y="227"/>
                  </a:lnTo>
                  <a:lnTo>
                    <a:pt x="365" y="231"/>
                  </a:lnTo>
                  <a:lnTo>
                    <a:pt x="365" y="235"/>
                  </a:lnTo>
                  <a:lnTo>
                    <a:pt x="365" y="239"/>
                  </a:lnTo>
                  <a:lnTo>
                    <a:pt x="364" y="242"/>
                  </a:lnTo>
                  <a:lnTo>
                    <a:pt x="363" y="246"/>
                  </a:lnTo>
                  <a:lnTo>
                    <a:pt x="362" y="248"/>
                  </a:lnTo>
                  <a:lnTo>
                    <a:pt x="361" y="250"/>
                  </a:lnTo>
                  <a:lnTo>
                    <a:pt x="359" y="252"/>
                  </a:lnTo>
                  <a:lnTo>
                    <a:pt x="358" y="253"/>
                  </a:lnTo>
                  <a:lnTo>
                    <a:pt x="357" y="254"/>
                  </a:lnTo>
                  <a:lnTo>
                    <a:pt x="356" y="254"/>
                  </a:lnTo>
                  <a:lnTo>
                    <a:pt x="354" y="255"/>
                  </a:lnTo>
                  <a:lnTo>
                    <a:pt x="353" y="255"/>
                  </a:lnTo>
                  <a:lnTo>
                    <a:pt x="348" y="255"/>
                  </a:lnTo>
                  <a:lnTo>
                    <a:pt x="347" y="255"/>
                  </a:lnTo>
                  <a:lnTo>
                    <a:pt x="345" y="255"/>
                  </a:lnTo>
                  <a:lnTo>
                    <a:pt x="343" y="256"/>
                  </a:lnTo>
                  <a:lnTo>
                    <a:pt x="342" y="257"/>
                  </a:lnTo>
                  <a:lnTo>
                    <a:pt x="341" y="258"/>
                  </a:lnTo>
                  <a:lnTo>
                    <a:pt x="340" y="259"/>
                  </a:lnTo>
                  <a:lnTo>
                    <a:pt x="339" y="261"/>
                  </a:lnTo>
                  <a:lnTo>
                    <a:pt x="337" y="264"/>
                  </a:lnTo>
                  <a:lnTo>
                    <a:pt x="337" y="267"/>
                  </a:lnTo>
                  <a:lnTo>
                    <a:pt x="337" y="269"/>
                  </a:lnTo>
                  <a:lnTo>
                    <a:pt x="336" y="275"/>
                  </a:lnTo>
                  <a:lnTo>
                    <a:pt x="336" y="282"/>
                  </a:lnTo>
                  <a:lnTo>
                    <a:pt x="335" y="285"/>
                  </a:lnTo>
                  <a:lnTo>
                    <a:pt x="334" y="287"/>
                  </a:lnTo>
                  <a:lnTo>
                    <a:pt x="333" y="289"/>
                  </a:lnTo>
                  <a:lnTo>
                    <a:pt x="332" y="290"/>
                  </a:lnTo>
                  <a:lnTo>
                    <a:pt x="330" y="294"/>
                  </a:lnTo>
                  <a:lnTo>
                    <a:pt x="329" y="295"/>
                  </a:lnTo>
                  <a:lnTo>
                    <a:pt x="328" y="296"/>
                  </a:lnTo>
                  <a:lnTo>
                    <a:pt x="328" y="297"/>
                  </a:lnTo>
                  <a:lnTo>
                    <a:pt x="328" y="299"/>
                  </a:lnTo>
                  <a:lnTo>
                    <a:pt x="328" y="302"/>
                  </a:lnTo>
                  <a:lnTo>
                    <a:pt x="328" y="303"/>
                  </a:lnTo>
                  <a:lnTo>
                    <a:pt x="329" y="303"/>
                  </a:lnTo>
                  <a:lnTo>
                    <a:pt x="329" y="304"/>
                  </a:lnTo>
                  <a:lnTo>
                    <a:pt x="331" y="305"/>
                  </a:lnTo>
                  <a:lnTo>
                    <a:pt x="331" y="306"/>
                  </a:lnTo>
                  <a:lnTo>
                    <a:pt x="332" y="307"/>
                  </a:lnTo>
                  <a:lnTo>
                    <a:pt x="334" y="307"/>
                  </a:lnTo>
                  <a:lnTo>
                    <a:pt x="336" y="308"/>
                  </a:lnTo>
                  <a:lnTo>
                    <a:pt x="342" y="309"/>
                  </a:lnTo>
                  <a:lnTo>
                    <a:pt x="346" y="310"/>
                  </a:lnTo>
                  <a:lnTo>
                    <a:pt x="350" y="312"/>
                  </a:lnTo>
                  <a:lnTo>
                    <a:pt x="352" y="313"/>
                  </a:lnTo>
                  <a:lnTo>
                    <a:pt x="353" y="314"/>
                  </a:lnTo>
                  <a:lnTo>
                    <a:pt x="354" y="314"/>
                  </a:lnTo>
                  <a:lnTo>
                    <a:pt x="356" y="315"/>
                  </a:lnTo>
                  <a:lnTo>
                    <a:pt x="357" y="317"/>
                  </a:lnTo>
                  <a:lnTo>
                    <a:pt x="359" y="318"/>
                  </a:lnTo>
                  <a:lnTo>
                    <a:pt x="360" y="320"/>
                  </a:lnTo>
                  <a:lnTo>
                    <a:pt x="361" y="322"/>
                  </a:lnTo>
                  <a:lnTo>
                    <a:pt x="364" y="326"/>
                  </a:lnTo>
                  <a:lnTo>
                    <a:pt x="365" y="327"/>
                  </a:lnTo>
                  <a:lnTo>
                    <a:pt x="365" y="328"/>
                  </a:lnTo>
                  <a:lnTo>
                    <a:pt x="365" y="330"/>
                  </a:lnTo>
                  <a:lnTo>
                    <a:pt x="365" y="332"/>
                  </a:lnTo>
                  <a:lnTo>
                    <a:pt x="365" y="333"/>
                  </a:lnTo>
                  <a:lnTo>
                    <a:pt x="365" y="335"/>
                  </a:lnTo>
                  <a:lnTo>
                    <a:pt x="365" y="337"/>
                  </a:lnTo>
                  <a:lnTo>
                    <a:pt x="364" y="342"/>
                  </a:lnTo>
                  <a:lnTo>
                    <a:pt x="363" y="344"/>
                  </a:lnTo>
                  <a:lnTo>
                    <a:pt x="362" y="346"/>
                  </a:lnTo>
                  <a:lnTo>
                    <a:pt x="361" y="348"/>
                  </a:lnTo>
                  <a:lnTo>
                    <a:pt x="356" y="356"/>
                  </a:lnTo>
                  <a:lnTo>
                    <a:pt x="355" y="358"/>
                  </a:lnTo>
                  <a:lnTo>
                    <a:pt x="355" y="359"/>
                  </a:lnTo>
                  <a:lnTo>
                    <a:pt x="354" y="360"/>
                  </a:lnTo>
                  <a:lnTo>
                    <a:pt x="355" y="360"/>
                  </a:lnTo>
                  <a:lnTo>
                    <a:pt x="355" y="361"/>
                  </a:lnTo>
                  <a:lnTo>
                    <a:pt x="356" y="362"/>
                  </a:lnTo>
                  <a:lnTo>
                    <a:pt x="358" y="365"/>
                  </a:lnTo>
                  <a:lnTo>
                    <a:pt x="360" y="367"/>
                  </a:lnTo>
                  <a:lnTo>
                    <a:pt x="362" y="370"/>
                  </a:lnTo>
                  <a:lnTo>
                    <a:pt x="363" y="371"/>
                  </a:lnTo>
                  <a:lnTo>
                    <a:pt x="364" y="374"/>
                  </a:lnTo>
                  <a:lnTo>
                    <a:pt x="365" y="376"/>
                  </a:lnTo>
                  <a:lnTo>
                    <a:pt x="366" y="382"/>
                  </a:lnTo>
                  <a:lnTo>
                    <a:pt x="367" y="384"/>
                  </a:lnTo>
                  <a:lnTo>
                    <a:pt x="367" y="385"/>
                  </a:lnTo>
                  <a:lnTo>
                    <a:pt x="368" y="386"/>
                  </a:lnTo>
                  <a:lnTo>
                    <a:pt x="369" y="387"/>
                  </a:lnTo>
                  <a:lnTo>
                    <a:pt x="370" y="389"/>
                  </a:lnTo>
                  <a:lnTo>
                    <a:pt x="372" y="390"/>
                  </a:lnTo>
                  <a:lnTo>
                    <a:pt x="375" y="391"/>
                  </a:lnTo>
                  <a:lnTo>
                    <a:pt x="381" y="393"/>
                  </a:lnTo>
                  <a:lnTo>
                    <a:pt x="382" y="394"/>
                  </a:lnTo>
                  <a:lnTo>
                    <a:pt x="383" y="394"/>
                  </a:lnTo>
                  <a:lnTo>
                    <a:pt x="385" y="395"/>
                  </a:lnTo>
                  <a:lnTo>
                    <a:pt x="387" y="398"/>
                  </a:lnTo>
                  <a:lnTo>
                    <a:pt x="389" y="400"/>
                  </a:lnTo>
                  <a:lnTo>
                    <a:pt x="390" y="401"/>
                  </a:lnTo>
                  <a:lnTo>
                    <a:pt x="394" y="404"/>
                  </a:lnTo>
                  <a:lnTo>
                    <a:pt x="396" y="405"/>
                  </a:lnTo>
                  <a:lnTo>
                    <a:pt x="398" y="406"/>
                  </a:lnTo>
                  <a:lnTo>
                    <a:pt x="399" y="407"/>
                  </a:lnTo>
                  <a:lnTo>
                    <a:pt x="399" y="408"/>
                  </a:lnTo>
                  <a:lnTo>
                    <a:pt x="399" y="410"/>
                  </a:lnTo>
                  <a:lnTo>
                    <a:pt x="399" y="411"/>
                  </a:lnTo>
                  <a:lnTo>
                    <a:pt x="399" y="413"/>
                  </a:lnTo>
                  <a:lnTo>
                    <a:pt x="399" y="418"/>
                  </a:lnTo>
                  <a:lnTo>
                    <a:pt x="397" y="429"/>
                  </a:lnTo>
                  <a:lnTo>
                    <a:pt x="397" y="432"/>
                  </a:lnTo>
                  <a:lnTo>
                    <a:pt x="397" y="434"/>
                  </a:lnTo>
                  <a:lnTo>
                    <a:pt x="397" y="437"/>
                  </a:lnTo>
                  <a:lnTo>
                    <a:pt x="398" y="439"/>
                  </a:lnTo>
                  <a:lnTo>
                    <a:pt x="399" y="440"/>
                  </a:lnTo>
                  <a:lnTo>
                    <a:pt x="399" y="443"/>
                  </a:lnTo>
                  <a:lnTo>
                    <a:pt x="401" y="445"/>
                  </a:lnTo>
                  <a:lnTo>
                    <a:pt x="402" y="447"/>
                  </a:lnTo>
                  <a:lnTo>
                    <a:pt x="404" y="449"/>
                  </a:lnTo>
                  <a:lnTo>
                    <a:pt x="407" y="450"/>
                  </a:lnTo>
                  <a:lnTo>
                    <a:pt x="409" y="451"/>
                  </a:lnTo>
                  <a:lnTo>
                    <a:pt x="410" y="452"/>
                  </a:lnTo>
                  <a:lnTo>
                    <a:pt x="412" y="453"/>
                  </a:lnTo>
                  <a:lnTo>
                    <a:pt x="413" y="454"/>
                  </a:lnTo>
                  <a:lnTo>
                    <a:pt x="415" y="455"/>
                  </a:lnTo>
                  <a:lnTo>
                    <a:pt x="416" y="455"/>
                  </a:lnTo>
                  <a:lnTo>
                    <a:pt x="419" y="455"/>
                  </a:lnTo>
                  <a:lnTo>
                    <a:pt x="421" y="455"/>
                  </a:lnTo>
                  <a:lnTo>
                    <a:pt x="428" y="454"/>
                  </a:lnTo>
                  <a:lnTo>
                    <a:pt x="430" y="454"/>
                  </a:lnTo>
                  <a:lnTo>
                    <a:pt x="431" y="454"/>
                  </a:lnTo>
                  <a:lnTo>
                    <a:pt x="433" y="454"/>
                  </a:lnTo>
                  <a:lnTo>
                    <a:pt x="433" y="454"/>
                  </a:lnTo>
                  <a:lnTo>
                    <a:pt x="434" y="455"/>
                  </a:lnTo>
                  <a:lnTo>
                    <a:pt x="435" y="456"/>
                  </a:lnTo>
                  <a:lnTo>
                    <a:pt x="435" y="457"/>
                  </a:lnTo>
                  <a:lnTo>
                    <a:pt x="435" y="459"/>
                  </a:lnTo>
                  <a:lnTo>
                    <a:pt x="434" y="461"/>
                  </a:lnTo>
                  <a:lnTo>
                    <a:pt x="433" y="462"/>
                  </a:lnTo>
                  <a:lnTo>
                    <a:pt x="433" y="463"/>
                  </a:lnTo>
                  <a:lnTo>
                    <a:pt x="432" y="464"/>
                  </a:lnTo>
                  <a:lnTo>
                    <a:pt x="427" y="468"/>
                  </a:lnTo>
                  <a:lnTo>
                    <a:pt x="426" y="469"/>
                  </a:lnTo>
                  <a:lnTo>
                    <a:pt x="424" y="471"/>
                  </a:lnTo>
                  <a:lnTo>
                    <a:pt x="423" y="473"/>
                  </a:lnTo>
                  <a:lnTo>
                    <a:pt x="422" y="474"/>
                  </a:lnTo>
                  <a:lnTo>
                    <a:pt x="422" y="477"/>
                  </a:lnTo>
                  <a:lnTo>
                    <a:pt x="421" y="479"/>
                  </a:lnTo>
                  <a:lnTo>
                    <a:pt x="422" y="481"/>
                  </a:lnTo>
                  <a:lnTo>
                    <a:pt x="422" y="482"/>
                  </a:lnTo>
                  <a:lnTo>
                    <a:pt x="423" y="483"/>
                  </a:lnTo>
                  <a:lnTo>
                    <a:pt x="424" y="484"/>
                  </a:lnTo>
                  <a:lnTo>
                    <a:pt x="425" y="485"/>
                  </a:lnTo>
                  <a:lnTo>
                    <a:pt x="427" y="486"/>
                  </a:lnTo>
                  <a:lnTo>
                    <a:pt x="428" y="487"/>
                  </a:lnTo>
                  <a:lnTo>
                    <a:pt x="434" y="490"/>
                  </a:lnTo>
                  <a:lnTo>
                    <a:pt x="437" y="492"/>
                  </a:lnTo>
                  <a:lnTo>
                    <a:pt x="438" y="493"/>
                  </a:lnTo>
                  <a:lnTo>
                    <a:pt x="439" y="494"/>
                  </a:lnTo>
                  <a:lnTo>
                    <a:pt x="440" y="495"/>
                  </a:lnTo>
                  <a:lnTo>
                    <a:pt x="441" y="496"/>
                  </a:lnTo>
                  <a:lnTo>
                    <a:pt x="441" y="497"/>
                  </a:lnTo>
                  <a:lnTo>
                    <a:pt x="442" y="499"/>
                  </a:lnTo>
                  <a:lnTo>
                    <a:pt x="443" y="505"/>
                  </a:lnTo>
                  <a:lnTo>
                    <a:pt x="444" y="511"/>
                  </a:lnTo>
                  <a:lnTo>
                    <a:pt x="446" y="515"/>
                  </a:lnTo>
                  <a:lnTo>
                    <a:pt x="449" y="521"/>
                  </a:lnTo>
                  <a:lnTo>
                    <a:pt x="451" y="524"/>
                  </a:lnTo>
                  <a:lnTo>
                    <a:pt x="451" y="528"/>
                  </a:lnTo>
                  <a:lnTo>
                    <a:pt x="453" y="535"/>
                  </a:lnTo>
                  <a:lnTo>
                    <a:pt x="454" y="539"/>
                  </a:lnTo>
                  <a:lnTo>
                    <a:pt x="455" y="541"/>
                  </a:lnTo>
                  <a:lnTo>
                    <a:pt x="456" y="543"/>
                  </a:lnTo>
                  <a:lnTo>
                    <a:pt x="457" y="546"/>
                  </a:lnTo>
                  <a:lnTo>
                    <a:pt x="459" y="549"/>
                  </a:lnTo>
                  <a:lnTo>
                    <a:pt x="461" y="552"/>
                  </a:lnTo>
                  <a:lnTo>
                    <a:pt x="463" y="554"/>
                  </a:lnTo>
                  <a:lnTo>
                    <a:pt x="465" y="556"/>
                  </a:lnTo>
                  <a:lnTo>
                    <a:pt x="467" y="559"/>
                  </a:lnTo>
                  <a:lnTo>
                    <a:pt x="468" y="561"/>
                  </a:lnTo>
                  <a:lnTo>
                    <a:pt x="470" y="563"/>
                  </a:lnTo>
                  <a:lnTo>
                    <a:pt x="473" y="564"/>
                  </a:lnTo>
                  <a:lnTo>
                    <a:pt x="475" y="565"/>
                  </a:lnTo>
                  <a:lnTo>
                    <a:pt x="478" y="567"/>
                  </a:lnTo>
                  <a:lnTo>
                    <a:pt x="480" y="569"/>
                  </a:lnTo>
                  <a:lnTo>
                    <a:pt x="484" y="570"/>
                  </a:lnTo>
                  <a:lnTo>
                    <a:pt x="488" y="572"/>
                  </a:lnTo>
                  <a:lnTo>
                    <a:pt x="491" y="573"/>
                  </a:lnTo>
                  <a:lnTo>
                    <a:pt x="494" y="574"/>
                  </a:lnTo>
                  <a:lnTo>
                    <a:pt x="503" y="575"/>
                  </a:lnTo>
                  <a:lnTo>
                    <a:pt x="504" y="576"/>
                  </a:lnTo>
                  <a:lnTo>
                    <a:pt x="506" y="577"/>
                  </a:lnTo>
                  <a:lnTo>
                    <a:pt x="508" y="578"/>
                  </a:lnTo>
                  <a:lnTo>
                    <a:pt x="510" y="579"/>
                  </a:lnTo>
                  <a:lnTo>
                    <a:pt x="511" y="581"/>
                  </a:lnTo>
                  <a:lnTo>
                    <a:pt x="512" y="583"/>
                  </a:lnTo>
                  <a:lnTo>
                    <a:pt x="512" y="585"/>
                  </a:lnTo>
                  <a:lnTo>
                    <a:pt x="513" y="586"/>
                  </a:lnTo>
                  <a:lnTo>
                    <a:pt x="514" y="589"/>
                  </a:lnTo>
                  <a:lnTo>
                    <a:pt x="515" y="592"/>
                  </a:lnTo>
                  <a:lnTo>
                    <a:pt x="517" y="599"/>
                  </a:lnTo>
                  <a:lnTo>
                    <a:pt x="517" y="602"/>
                  </a:lnTo>
                  <a:lnTo>
                    <a:pt x="518" y="604"/>
                  </a:lnTo>
                  <a:lnTo>
                    <a:pt x="520" y="609"/>
                  </a:lnTo>
                  <a:lnTo>
                    <a:pt x="525" y="619"/>
                  </a:lnTo>
                  <a:lnTo>
                    <a:pt x="526" y="622"/>
                  </a:lnTo>
                  <a:lnTo>
                    <a:pt x="527" y="625"/>
                  </a:lnTo>
                  <a:lnTo>
                    <a:pt x="528" y="627"/>
                  </a:lnTo>
                  <a:lnTo>
                    <a:pt x="528" y="629"/>
                  </a:lnTo>
                  <a:lnTo>
                    <a:pt x="529" y="638"/>
                  </a:lnTo>
                  <a:lnTo>
                    <a:pt x="530" y="643"/>
                  </a:lnTo>
                  <a:lnTo>
                    <a:pt x="531" y="647"/>
                  </a:lnTo>
                  <a:lnTo>
                    <a:pt x="533" y="654"/>
                  </a:lnTo>
                  <a:lnTo>
                    <a:pt x="534" y="658"/>
                  </a:lnTo>
                  <a:lnTo>
                    <a:pt x="534" y="661"/>
                  </a:lnTo>
                  <a:lnTo>
                    <a:pt x="534" y="663"/>
                  </a:lnTo>
                  <a:lnTo>
                    <a:pt x="534" y="664"/>
                  </a:lnTo>
                  <a:lnTo>
                    <a:pt x="533" y="664"/>
                  </a:lnTo>
                  <a:lnTo>
                    <a:pt x="533" y="665"/>
                  </a:lnTo>
                  <a:lnTo>
                    <a:pt x="532" y="665"/>
                  </a:lnTo>
                  <a:lnTo>
                    <a:pt x="531" y="664"/>
                  </a:lnTo>
                  <a:lnTo>
                    <a:pt x="529" y="663"/>
                  </a:lnTo>
                  <a:lnTo>
                    <a:pt x="523" y="659"/>
                  </a:lnTo>
                  <a:lnTo>
                    <a:pt x="520" y="658"/>
                  </a:lnTo>
                  <a:lnTo>
                    <a:pt x="517" y="656"/>
                  </a:lnTo>
                  <a:lnTo>
                    <a:pt x="513" y="655"/>
                  </a:lnTo>
                  <a:lnTo>
                    <a:pt x="512" y="655"/>
                  </a:lnTo>
                  <a:lnTo>
                    <a:pt x="509" y="654"/>
                  </a:lnTo>
                  <a:lnTo>
                    <a:pt x="497" y="653"/>
                  </a:lnTo>
                  <a:lnTo>
                    <a:pt x="490" y="651"/>
                  </a:lnTo>
                  <a:lnTo>
                    <a:pt x="486" y="651"/>
                  </a:lnTo>
                  <a:lnTo>
                    <a:pt x="484" y="650"/>
                  </a:lnTo>
                  <a:lnTo>
                    <a:pt x="480" y="650"/>
                  </a:lnTo>
                  <a:lnTo>
                    <a:pt x="478" y="651"/>
                  </a:lnTo>
                  <a:lnTo>
                    <a:pt x="475" y="651"/>
                  </a:lnTo>
                  <a:lnTo>
                    <a:pt x="473" y="652"/>
                  </a:lnTo>
                  <a:lnTo>
                    <a:pt x="471" y="653"/>
                  </a:lnTo>
                  <a:lnTo>
                    <a:pt x="468" y="654"/>
                  </a:lnTo>
                  <a:lnTo>
                    <a:pt x="467" y="654"/>
                  </a:lnTo>
                  <a:lnTo>
                    <a:pt x="466" y="656"/>
                  </a:lnTo>
                  <a:lnTo>
                    <a:pt x="464" y="658"/>
                  </a:lnTo>
                  <a:lnTo>
                    <a:pt x="463" y="660"/>
                  </a:lnTo>
                  <a:lnTo>
                    <a:pt x="462" y="664"/>
                  </a:lnTo>
                  <a:lnTo>
                    <a:pt x="461" y="666"/>
                  </a:lnTo>
                  <a:lnTo>
                    <a:pt x="459" y="674"/>
                  </a:lnTo>
                  <a:lnTo>
                    <a:pt x="456" y="687"/>
                  </a:lnTo>
                  <a:lnTo>
                    <a:pt x="456" y="690"/>
                  </a:lnTo>
                  <a:lnTo>
                    <a:pt x="456" y="699"/>
                  </a:lnTo>
                  <a:lnTo>
                    <a:pt x="455" y="701"/>
                  </a:lnTo>
                  <a:lnTo>
                    <a:pt x="454" y="704"/>
                  </a:lnTo>
                  <a:lnTo>
                    <a:pt x="453" y="706"/>
                  </a:lnTo>
                  <a:lnTo>
                    <a:pt x="452" y="708"/>
                  </a:lnTo>
                  <a:lnTo>
                    <a:pt x="451" y="710"/>
                  </a:lnTo>
                  <a:lnTo>
                    <a:pt x="447" y="715"/>
                  </a:lnTo>
                  <a:lnTo>
                    <a:pt x="444" y="719"/>
                  </a:lnTo>
                  <a:lnTo>
                    <a:pt x="441" y="723"/>
                  </a:lnTo>
                  <a:lnTo>
                    <a:pt x="438" y="726"/>
                  </a:lnTo>
                  <a:lnTo>
                    <a:pt x="435" y="729"/>
                  </a:lnTo>
                  <a:lnTo>
                    <a:pt x="433" y="731"/>
                  </a:lnTo>
                  <a:lnTo>
                    <a:pt x="430" y="733"/>
                  </a:lnTo>
                  <a:lnTo>
                    <a:pt x="422" y="737"/>
                  </a:lnTo>
                  <a:lnTo>
                    <a:pt x="419" y="741"/>
                  </a:lnTo>
                  <a:lnTo>
                    <a:pt x="414" y="745"/>
                  </a:lnTo>
                  <a:lnTo>
                    <a:pt x="410" y="747"/>
                  </a:lnTo>
                  <a:lnTo>
                    <a:pt x="408" y="750"/>
                  </a:lnTo>
                  <a:lnTo>
                    <a:pt x="405" y="753"/>
                  </a:lnTo>
                  <a:lnTo>
                    <a:pt x="403" y="756"/>
                  </a:lnTo>
                  <a:lnTo>
                    <a:pt x="401" y="758"/>
                  </a:lnTo>
                  <a:lnTo>
                    <a:pt x="399" y="762"/>
                  </a:lnTo>
                  <a:lnTo>
                    <a:pt x="398" y="764"/>
                  </a:lnTo>
                  <a:lnTo>
                    <a:pt x="396" y="768"/>
                  </a:lnTo>
                  <a:lnTo>
                    <a:pt x="395" y="770"/>
                  </a:lnTo>
                  <a:lnTo>
                    <a:pt x="393" y="773"/>
                  </a:lnTo>
                  <a:lnTo>
                    <a:pt x="393" y="775"/>
                  </a:lnTo>
                  <a:lnTo>
                    <a:pt x="393" y="776"/>
                  </a:lnTo>
                  <a:lnTo>
                    <a:pt x="392" y="776"/>
                  </a:lnTo>
                  <a:lnTo>
                    <a:pt x="391" y="775"/>
                  </a:lnTo>
                  <a:lnTo>
                    <a:pt x="390" y="775"/>
                  </a:lnTo>
                  <a:lnTo>
                    <a:pt x="388" y="774"/>
                  </a:lnTo>
                  <a:lnTo>
                    <a:pt x="387" y="772"/>
                  </a:lnTo>
                  <a:lnTo>
                    <a:pt x="386" y="771"/>
                  </a:lnTo>
                  <a:lnTo>
                    <a:pt x="385" y="769"/>
                  </a:lnTo>
                  <a:lnTo>
                    <a:pt x="383" y="768"/>
                  </a:lnTo>
                  <a:lnTo>
                    <a:pt x="381" y="766"/>
                  </a:lnTo>
                  <a:lnTo>
                    <a:pt x="380" y="764"/>
                  </a:lnTo>
                  <a:lnTo>
                    <a:pt x="377" y="760"/>
                  </a:lnTo>
                  <a:lnTo>
                    <a:pt x="376" y="756"/>
                  </a:lnTo>
                  <a:lnTo>
                    <a:pt x="374" y="751"/>
                  </a:lnTo>
                  <a:lnTo>
                    <a:pt x="373" y="746"/>
                  </a:lnTo>
                  <a:lnTo>
                    <a:pt x="372" y="743"/>
                  </a:lnTo>
                  <a:lnTo>
                    <a:pt x="372" y="739"/>
                  </a:lnTo>
                  <a:lnTo>
                    <a:pt x="371" y="735"/>
                  </a:lnTo>
                  <a:lnTo>
                    <a:pt x="371" y="730"/>
                  </a:lnTo>
                  <a:lnTo>
                    <a:pt x="371" y="722"/>
                  </a:lnTo>
                  <a:lnTo>
                    <a:pt x="372" y="717"/>
                  </a:lnTo>
                  <a:lnTo>
                    <a:pt x="373" y="712"/>
                  </a:lnTo>
                  <a:lnTo>
                    <a:pt x="373" y="711"/>
                  </a:lnTo>
                  <a:lnTo>
                    <a:pt x="372" y="711"/>
                  </a:lnTo>
                  <a:lnTo>
                    <a:pt x="371" y="711"/>
                  </a:lnTo>
                  <a:lnTo>
                    <a:pt x="370" y="711"/>
                  </a:lnTo>
                  <a:lnTo>
                    <a:pt x="366" y="714"/>
                  </a:lnTo>
                  <a:lnTo>
                    <a:pt x="365" y="715"/>
                  </a:lnTo>
                  <a:lnTo>
                    <a:pt x="365" y="715"/>
                  </a:lnTo>
                  <a:lnTo>
                    <a:pt x="364" y="715"/>
                  </a:lnTo>
                  <a:lnTo>
                    <a:pt x="362" y="715"/>
                  </a:lnTo>
                  <a:lnTo>
                    <a:pt x="361" y="715"/>
                  </a:lnTo>
                  <a:lnTo>
                    <a:pt x="360" y="714"/>
                  </a:lnTo>
                  <a:lnTo>
                    <a:pt x="359" y="713"/>
                  </a:lnTo>
                  <a:lnTo>
                    <a:pt x="357" y="711"/>
                  </a:lnTo>
                  <a:lnTo>
                    <a:pt x="353" y="704"/>
                  </a:lnTo>
                  <a:lnTo>
                    <a:pt x="349" y="700"/>
                  </a:lnTo>
                  <a:lnTo>
                    <a:pt x="347" y="698"/>
                  </a:lnTo>
                  <a:lnTo>
                    <a:pt x="342" y="693"/>
                  </a:lnTo>
                  <a:lnTo>
                    <a:pt x="340" y="690"/>
                  </a:lnTo>
                  <a:lnTo>
                    <a:pt x="328" y="677"/>
                  </a:lnTo>
                  <a:lnTo>
                    <a:pt x="321" y="668"/>
                  </a:lnTo>
                  <a:lnTo>
                    <a:pt x="318" y="664"/>
                  </a:lnTo>
                  <a:lnTo>
                    <a:pt x="315" y="661"/>
                  </a:lnTo>
                  <a:lnTo>
                    <a:pt x="311" y="658"/>
                  </a:lnTo>
                  <a:lnTo>
                    <a:pt x="310" y="657"/>
                  </a:lnTo>
                  <a:lnTo>
                    <a:pt x="309" y="656"/>
                  </a:lnTo>
                  <a:lnTo>
                    <a:pt x="306" y="654"/>
                  </a:lnTo>
                  <a:lnTo>
                    <a:pt x="296" y="650"/>
                  </a:lnTo>
                  <a:lnTo>
                    <a:pt x="295" y="649"/>
                  </a:lnTo>
                  <a:lnTo>
                    <a:pt x="294" y="648"/>
                  </a:lnTo>
                  <a:lnTo>
                    <a:pt x="292" y="646"/>
                  </a:lnTo>
                  <a:lnTo>
                    <a:pt x="291" y="644"/>
                  </a:lnTo>
                  <a:lnTo>
                    <a:pt x="290" y="643"/>
                  </a:lnTo>
                  <a:lnTo>
                    <a:pt x="289" y="641"/>
                  </a:lnTo>
                  <a:lnTo>
                    <a:pt x="287" y="633"/>
                  </a:lnTo>
                  <a:lnTo>
                    <a:pt x="286" y="632"/>
                  </a:lnTo>
                  <a:lnTo>
                    <a:pt x="286" y="628"/>
                  </a:lnTo>
                  <a:lnTo>
                    <a:pt x="286" y="624"/>
                  </a:lnTo>
                  <a:lnTo>
                    <a:pt x="285" y="622"/>
                  </a:lnTo>
                  <a:lnTo>
                    <a:pt x="285" y="620"/>
                  </a:lnTo>
                  <a:lnTo>
                    <a:pt x="285" y="620"/>
                  </a:lnTo>
                  <a:lnTo>
                    <a:pt x="284" y="620"/>
                  </a:lnTo>
                  <a:lnTo>
                    <a:pt x="283" y="619"/>
                  </a:lnTo>
                  <a:lnTo>
                    <a:pt x="281" y="619"/>
                  </a:lnTo>
                  <a:lnTo>
                    <a:pt x="279" y="620"/>
                  </a:lnTo>
                  <a:lnTo>
                    <a:pt x="277" y="620"/>
                  </a:lnTo>
                  <a:lnTo>
                    <a:pt x="275" y="620"/>
                  </a:lnTo>
                  <a:lnTo>
                    <a:pt x="267" y="624"/>
                  </a:lnTo>
                  <a:lnTo>
                    <a:pt x="261" y="626"/>
                  </a:lnTo>
                  <a:lnTo>
                    <a:pt x="254" y="628"/>
                  </a:lnTo>
                  <a:lnTo>
                    <a:pt x="242" y="631"/>
                  </a:lnTo>
                  <a:lnTo>
                    <a:pt x="234" y="633"/>
                  </a:lnTo>
                  <a:lnTo>
                    <a:pt x="230" y="634"/>
                  </a:lnTo>
                  <a:lnTo>
                    <a:pt x="228" y="634"/>
                  </a:lnTo>
                  <a:lnTo>
                    <a:pt x="227" y="634"/>
                  </a:lnTo>
                  <a:lnTo>
                    <a:pt x="225" y="634"/>
                  </a:lnTo>
                  <a:lnTo>
                    <a:pt x="223" y="634"/>
                  </a:lnTo>
                  <a:lnTo>
                    <a:pt x="221" y="633"/>
                  </a:lnTo>
                  <a:lnTo>
                    <a:pt x="219" y="633"/>
                  </a:lnTo>
                  <a:lnTo>
                    <a:pt x="218" y="632"/>
                  </a:lnTo>
                  <a:lnTo>
                    <a:pt x="217" y="632"/>
                  </a:lnTo>
                  <a:lnTo>
                    <a:pt x="216" y="631"/>
                  </a:lnTo>
                  <a:lnTo>
                    <a:pt x="215" y="629"/>
                  </a:lnTo>
                  <a:lnTo>
                    <a:pt x="212" y="623"/>
                  </a:lnTo>
                  <a:lnTo>
                    <a:pt x="206" y="614"/>
                  </a:lnTo>
                  <a:lnTo>
                    <a:pt x="205" y="611"/>
                  </a:lnTo>
                  <a:lnTo>
                    <a:pt x="205" y="609"/>
                  </a:lnTo>
                  <a:lnTo>
                    <a:pt x="205" y="608"/>
                  </a:lnTo>
                  <a:lnTo>
                    <a:pt x="204" y="601"/>
                  </a:lnTo>
                  <a:lnTo>
                    <a:pt x="203" y="596"/>
                  </a:lnTo>
                  <a:lnTo>
                    <a:pt x="202" y="593"/>
                  </a:lnTo>
                  <a:lnTo>
                    <a:pt x="202" y="589"/>
                  </a:lnTo>
                  <a:lnTo>
                    <a:pt x="202" y="587"/>
                  </a:lnTo>
                  <a:lnTo>
                    <a:pt x="203" y="585"/>
                  </a:lnTo>
                  <a:lnTo>
                    <a:pt x="203" y="584"/>
                  </a:lnTo>
                  <a:lnTo>
                    <a:pt x="203" y="582"/>
                  </a:lnTo>
                  <a:lnTo>
                    <a:pt x="202" y="581"/>
                  </a:lnTo>
                  <a:lnTo>
                    <a:pt x="201" y="579"/>
                  </a:lnTo>
                  <a:lnTo>
                    <a:pt x="201" y="578"/>
                  </a:lnTo>
                  <a:lnTo>
                    <a:pt x="199" y="577"/>
                  </a:lnTo>
                  <a:lnTo>
                    <a:pt x="196" y="575"/>
                  </a:lnTo>
                  <a:lnTo>
                    <a:pt x="194" y="574"/>
                  </a:lnTo>
                  <a:lnTo>
                    <a:pt x="187" y="568"/>
                  </a:lnTo>
                  <a:lnTo>
                    <a:pt x="183" y="563"/>
                  </a:lnTo>
                  <a:lnTo>
                    <a:pt x="176" y="555"/>
                  </a:lnTo>
                  <a:lnTo>
                    <a:pt x="174" y="554"/>
                  </a:lnTo>
                  <a:lnTo>
                    <a:pt x="173" y="553"/>
                  </a:lnTo>
                  <a:lnTo>
                    <a:pt x="170" y="552"/>
                  </a:lnTo>
                  <a:lnTo>
                    <a:pt x="164" y="548"/>
                  </a:lnTo>
                  <a:lnTo>
                    <a:pt x="161" y="546"/>
                  </a:lnTo>
                  <a:lnTo>
                    <a:pt x="157" y="543"/>
                  </a:lnTo>
                  <a:lnTo>
                    <a:pt x="151" y="540"/>
                  </a:lnTo>
                  <a:lnTo>
                    <a:pt x="149" y="539"/>
                  </a:lnTo>
                  <a:lnTo>
                    <a:pt x="148" y="538"/>
                  </a:lnTo>
                  <a:lnTo>
                    <a:pt x="146" y="537"/>
                  </a:lnTo>
                  <a:lnTo>
                    <a:pt x="140" y="535"/>
                  </a:lnTo>
                  <a:lnTo>
                    <a:pt x="138" y="535"/>
                  </a:lnTo>
                  <a:lnTo>
                    <a:pt x="138" y="534"/>
                  </a:lnTo>
                  <a:lnTo>
                    <a:pt x="137" y="533"/>
                  </a:lnTo>
                  <a:lnTo>
                    <a:pt x="137" y="532"/>
                  </a:lnTo>
                  <a:lnTo>
                    <a:pt x="137" y="531"/>
                  </a:lnTo>
                  <a:lnTo>
                    <a:pt x="137" y="530"/>
                  </a:lnTo>
                  <a:lnTo>
                    <a:pt x="137" y="527"/>
                  </a:lnTo>
                  <a:lnTo>
                    <a:pt x="137" y="525"/>
                  </a:lnTo>
                  <a:lnTo>
                    <a:pt x="137" y="520"/>
                  </a:lnTo>
                  <a:lnTo>
                    <a:pt x="137" y="519"/>
                  </a:lnTo>
                  <a:lnTo>
                    <a:pt x="137" y="518"/>
                  </a:lnTo>
                  <a:lnTo>
                    <a:pt x="136" y="517"/>
                  </a:lnTo>
                  <a:lnTo>
                    <a:pt x="135" y="515"/>
                  </a:lnTo>
                  <a:lnTo>
                    <a:pt x="133" y="514"/>
                  </a:lnTo>
                  <a:lnTo>
                    <a:pt x="131" y="513"/>
                  </a:lnTo>
                  <a:lnTo>
                    <a:pt x="124" y="509"/>
                  </a:lnTo>
                  <a:lnTo>
                    <a:pt x="120" y="507"/>
                  </a:lnTo>
                  <a:lnTo>
                    <a:pt x="115" y="504"/>
                  </a:lnTo>
                  <a:lnTo>
                    <a:pt x="108" y="499"/>
                  </a:lnTo>
                  <a:lnTo>
                    <a:pt x="103" y="496"/>
                  </a:lnTo>
                  <a:lnTo>
                    <a:pt x="99" y="494"/>
                  </a:lnTo>
                  <a:lnTo>
                    <a:pt x="89" y="488"/>
                  </a:lnTo>
                  <a:lnTo>
                    <a:pt x="87" y="487"/>
                  </a:lnTo>
                  <a:lnTo>
                    <a:pt x="85" y="486"/>
                  </a:lnTo>
                  <a:lnTo>
                    <a:pt x="84" y="485"/>
                  </a:lnTo>
                  <a:lnTo>
                    <a:pt x="82" y="484"/>
                  </a:lnTo>
                  <a:lnTo>
                    <a:pt x="80" y="481"/>
                  </a:lnTo>
                  <a:lnTo>
                    <a:pt x="75" y="475"/>
                  </a:lnTo>
                  <a:lnTo>
                    <a:pt x="69" y="467"/>
                  </a:lnTo>
                  <a:lnTo>
                    <a:pt x="69" y="466"/>
                  </a:lnTo>
                  <a:lnTo>
                    <a:pt x="68" y="465"/>
                  </a:lnTo>
                  <a:lnTo>
                    <a:pt x="66" y="464"/>
                  </a:lnTo>
                  <a:lnTo>
                    <a:pt x="62" y="462"/>
                  </a:lnTo>
                  <a:lnTo>
                    <a:pt x="59" y="461"/>
                  </a:lnTo>
                  <a:lnTo>
                    <a:pt x="58" y="460"/>
                  </a:lnTo>
                  <a:lnTo>
                    <a:pt x="54" y="456"/>
                  </a:lnTo>
                  <a:lnTo>
                    <a:pt x="52" y="454"/>
                  </a:lnTo>
                  <a:lnTo>
                    <a:pt x="50" y="453"/>
                  </a:lnTo>
                  <a:lnTo>
                    <a:pt x="46" y="450"/>
                  </a:lnTo>
                  <a:lnTo>
                    <a:pt x="44" y="449"/>
                  </a:lnTo>
                  <a:lnTo>
                    <a:pt x="43" y="448"/>
                  </a:lnTo>
                  <a:lnTo>
                    <a:pt x="41" y="447"/>
                  </a:lnTo>
                  <a:lnTo>
                    <a:pt x="37" y="441"/>
                  </a:lnTo>
                  <a:lnTo>
                    <a:pt x="35" y="439"/>
                  </a:lnTo>
                  <a:lnTo>
                    <a:pt x="34" y="438"/>
                  </a:lnTo>
                  <a:lnTo>
                    <a:pt x="32" y="436"/>
                  </a:lnTo>
                  <a:lnTo>
                    <a:pt x="29" y="435"/>
                  </a:lnTo>
                  <a:lnTo>
                    <a:pt x="26" y="433"/>
                  </a:lnTo>
                  <a:lnTo>
                    <a:pt x="17" y="428"/>
                  </a:lnTo>
                  <a:lnTo>
                    <a:pt x="15" y="427"/>
                  </a:lnTo>
                  <a:lnTo>
                    <a:pt x="12" y="425"/>
                  </a:lnTo>
                  <a:lnTo>
                    <a:pt x="10" y="422"/>
                  </a:lnTo>
                  <a:lnTo>
                    <a:pt x="8" y="420"/>
                  </a:lnTo>
                  <a:lnTo>
                    <a:pt x="6" y="418"/>
                  </a:lnTo>
                  <a:lnTo>
                    <a:pt x="5" y="416"/>
                  </a:lnTo>
                  <a:lnTo>
                    <a:pt x="4" y="415"/>
                  </a:lnTo>
                  <a:lnTo>
                    <a:pt x="3" y="413"/>
                  </a:lnTo>
                  <a:lnTo>
                    <a:pt x="2" y="411"/>
                  </a:lnTo>
                  <a:lnTo>
                    <a:pt x="1" y="408"/>
                  </a:lnTo>
                  <a:lnTo>
                    <a:pt x="1" y="405"/>
                  </a:lnTo>
                  <a:lnTo>
                    <a:pt x="0" y="403"/>
                  </a:lnTo>
                  <a:lnTo>
                    <a:pt x="0" y="401"/>
                  </a:lnTo>
                  <a:lnTo>
                    <a:pt x="0" y="398"/>
                  </a:lnTo>
                  <a:lnTo>
                    <a:pt x="0" y="396"/>
                  </a:lnTo>
                  <a:lnTo>
                    <a:pt x="0" y="394"/>
                  </a:lnTo>
                  <a:lnTo>
                    <a:pt x="1" y="391"/>
                  </a:lnTo>
                  <a:lnTo>
                    <a:pt x="1" y="390"/>
                  </a:lnTo>
                  <a:lnTo>
                    <a:pt x="1" y="389"/>
                  </a:lnTo>
                  <a:lnTo>
                    <a:pt x="2" y="389"/>
                  </a:lnTo>
                  <a:lnTo>
                    <a:pt x="10" y="386"/>
                  </a:lnTo>
                  <a:lnTo>
                    <a:pt x="12" y="385"/>
                  </a:lnTo>
                  <a:lnTo>
                    <a:pt x="15" y="383"/>
                  </a:lnTo>
                  <a:lnTo>
                    <a:pt x="19" y="382"/>
                  </a:lnTo>
                  <a:lnTo>
                    <a:pt x="22" y="381"/>
                  </a:lnTo>
                  <a:lnTo>
                    <a:pt x="24" y="379"/>
                  </a:lnTo>
                  <a:lnTo>
                    <a:pt x="26" y="377"/>
                  </a:lnTo>
                  <a:lnTo>
                    <a:pt x="31" y="373"/>
                  </a:lnTo>
                  <a:lnTo>
                    <a:pt x="34" y="371"/>
                  </a:lnTo>
                  <a:lnTo>
                    <a:pt x="36" y="369"/>
                  </a:lnTo>
                  <a:lnTo>
                    <a:pt x="39" y="364"/>
                  </a:lnTo>
                  <a:lnTo>
                    <a:pt x="41" y="362"/>
                  </a:lnTo>
                  <a:lnTo>
                    <a:pt x="42" y="361"/>
                  </a:lnTo>
                  <a:lnTo>
                    <a:pt x="44" y="360"/>
                  </a:lnTo>
                  <a:lnTo>
                    <a:pt x="48" y="359"/>
                  </a:lnTo>
                  <a:lnTo>
                    <a:pt x="49" y="357"/>
                  </a:lnTo>
                  <a:lnTo>
                    <a:pt x="50" y="357"/>
                  </a:lnTo>
                  <a:lnTo>
                    <a:pt x="50" y="356"/>
                  </a:lnTo>
                  <a:lnTo>
                    <a:pt x="51" y="355"/>
                  </a:lnTo>
                  <a:lnTo>
                    <a:pt x="51" y="353"/>
                  </a:lnTo>
                  <a:lnTo>
                    <a:pt x="51" y="350"/>
                  </a:lnTo>
                  <a:lnTo>
                    <a:pt x="51" y="348"/>
                  </a:lnTo>
                  <a:lnTo>
                    <a:pt x="51" y="348"/>
                  </a:lnTo>
                  <a:lnTo>
                    <a:pt x="50" y="345"/>
                  </a:lnTo>
                  <a:lnTo>
                    <a:pt x="49" y="342"/>
                  </a:lnTo>
                  <a:lnTo>
                    <a:pt x="45" y="331"/>
                  </a:lnTo>
                  <a:lnTo>
                    <a:pt x="44" y="329"/>
                  </a:lnTo>
                  <a:lnTo>
                    <a:pt x="41" y="326"/>
                  </a:lnTo>
                  <a:lnTo>
                    <a:pt x="39" y="325"/>
                  </a:lnTo>
                  <a:lnTo>
                    <a:pt x="35" y="319"/>
                  </a:lnTo>
                  <a:lnTo>
                    <a:pt x="33" y="318"/>
                  </a:lnTo>
                  <a:lnTo>
                    <a:pt x="32" y="316"/>
                  </a:lnTo>
                  <a:lnTo>
                    <a:pt x="30" y="314"/>
                  </a:lnTo>
                  <a:lnTo>
                    <a:pt x="29" y="313"/>
                  </a:lnTo>
                  <a:lnTo>
                    <a:pt x="28" y="311"/>
                  </a:lnTo>
                  <a:lnTo>
                    <a:pt x="27" y="308"/>
                  </a:lnTo>
                  <a:lnTo>
                    <a:pt x="27" y="306"/>
                  </a:lnTo>
                  <a:lnTo>
                    <a:pt x="26" y="303"/>
                  </a:lnTo>
                  <a:lnTo>
                    <a:pt x="26" y="302"/>
                  </a:lnTo>
                  <a:lnTo>
                    <a:pt x="26" y="299"/>
                  </a:lnTo>
                  <a:lnTo>
                    <a:pt x="27" y="294"/>
                  </a:lnTo>
                  <a:lnTo>
                    <a:pt x="28" y="287"/>
                  </a:lnTo>
                  <a:lnTo>
                    <a:pt x="29" y="283"/>
                  </a:lnTo>
                  <a:lnTo>
                    <a:pt x="30" y="268"/>
                  </a:lnTo>
                  <a:lnTo>
                    <a:pt x="30" y="265"/>
                  </a:lnTo>
                  <a:lnTo>
                    <a:pt x="30" y="262"/>
                  </a:lnTo>
                  <a:lnTo>
                    <a:pt x="29" y="259"/>
                  </a:lnTo>
                  <a:lnTo>
                    <a:pt x="29" y="258"/>
                  </a:lnTo>
                  <a:lnTo>
                    <a:pt x="28" y="258"/>
                  </a:lnTo>
                  <a:lnTo>
                    <a:pt x="28" y="257"/>
                  </a:lnTo>
                  <a:lnTo>
                    <a:pt x="26" y="255"/>
                  </a:lnTo>
                  <a:lnTo>
                    <a:pt x="25" y="254"/>
                  </a:lnTo>
                  <a:lnTo>
                    <a:pt x="24" y="254"/>
                  </a:lnTo>
                  <a:lnTo>
                    <a:pt x="23" y="254"/>
                  </a:lnTo>
                  <a:lnTo>
                    <a:pt x="22" y="254"/>
                  </a:lnTo>
                  <a:lnTo>
                    <a:pt x="20" y="249"/>
                  </a:lnTo>
                  <a:lnTo>
                    <a:pt x="16" y="243"/>
                  </a:lnTo>
                  <a:lnTo>
                    <a:pt x="16" y="242"/>
                  </a:lnTo>
                  <a:lnTo>
                    <a:pt x="16" y="241"/>
                  </a:lnTo>
                  <a:lnTo>
                    <a:pt x="16" y="240"/>
                  </a:lnTo>
                  <a:lnTo>
                    <a:pt x="16" y="239"/>
                  </a:lnTo>
                  <a:lnTo>
                    <a:pt x="17" y="238"/>
                  </a:lnTo>
                  <a:lnTo>
                    <a:pt x="19" y="238"/>
                  </a:lnTo>
                  <a:lnTo>
                    <a:pt x="22" y="237"/>
                  </a:lnTo>
                  <a:lnTo>
                    <a:pt x="23" y="237"/>
                  </a:lnTo>
                  <a:lnTo>
                    <a:pt x="24" y="236"/>
                  </a:lnTo>
                  <a:lnTo>
                    <a:pt x="24" y="236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5" y="231"/>
                  </a:lnTo>
                  <a:lnTo>
                    <a:pt x="26" y="228"/>
                  </a:lnTo>
                  <a:lnTo>
                    <a:pt x="26" y="227"/>
                  </a:lnTo>
                  <a:lnTo>
                    <a:pt x="27" y="226"/>
                  </a:lnTo>
                  <a:lnTo>
                    <a:pt x="27" y="225"/>
                  </a:lnTo>
                  <a:lnTo>
                    <a:pt x="28" y="224"/>
                  </a:lnTo>
                  <a:lnTo>
                    <a:pt x="29" y="224"/>
                  </a:lnTo>
                  <a:lnTo>
                    <a:pt x="30" y="224"/>
                  </a:lnTo>
                  <a:lnTo>
                    <a:pt x="33" y="224"/>
                  </a:lnTo>
                  <a:lnTo>
                    <a:pt x="35" y="223"/>
                  </a:lnTo>
                  <a:lnTo>
                    <a:pt x="36" y="222"/>
                  </a:lnTo>
                  <a:lnTo>
                    <a:pt x="38" y="221"/>
                  </a:lnTo>
                  <a:lnTo>
                    <a:pt x="40" y="220"/>
                  </a:lnTo>
                  <a:lnTo>
                    <a:pt x="41" y="219"/>
                  </a:lnTo>
                  <a:lnTo>
                    <a:pt x="44" y="216"/>
                  </a:lnTo>
                  <a:lnTo>
                    <a:pt x="45" y="215"/>
                  </a:lnTo>
                  <a:lnTo>
                    <a:pt x="46" y="213"/>
                  </a:lnTo>
                  <a:lnTo>
                    <a:pt x="46" y="212"/>
                  </a:lnTo>
                  <a:lnTo>
                    <a:pt x="46" y="209"/>
                  </a:lnTo>
                  <a:lnTo>
                    <a:pt x="47" y="206"/>
                  </a:lnTo>
                  <a:lnTo>
                    <a:pt x="47" y="202"/>
                  </a:lnTo>
                  <a:lnTo>
                    <a:pt x="47" y="201"/>
                  </a:lnTo>
                  <a:lnTo>
                    <a:pt x="47" y="200"/>
                  </a:lnTo>
                  <a:lnTo>
                    <a:pt x="47" y="199"/>
                  </a:lnTo>
                  <a:lnTo>
                    <a:pt x="47" y="198"/>
                  </a:lnTo>
                  <a:lnTo>
                    <a:pt x="47" y="197"/>
                  </a:lnTo>
                  <a:lnTo>
                    <a:pt x="48" y="195"/>
                  </a:lnTo>
                  <a:lnTo>
                    <a:pt x="49" y="191"/>
                  </a:lnTo>
                  <a:lnTo>
                    <a:pt x="50" y="189"/>
                  </a:lnTo>
                  <a:lnTo>
                    <a:pt x="52" y="187"/>
                  </a:lnTo>
                  <a:lnTo>
                    <a:pt x="54" y="184"/>
                  </a:lnTo>
                  <a:lnTo>
                    <a:pt x="59" y="176"/>
                  </a:lnTo>
                  <a:lnTo>
                    <a:pt x="64" y="170"/>
                  </a:lnTo>
                  <a:lnTo>
                    <a:pt x="68" y="165"/>
                  </a:lnTo>
                  <a:lnTo>
                    <a:pt x="69" y="163"/>
                  </a:lnTo>
                  <a:lnTo>
                    <a:pt x="69" y="162"/>
                  </a:lnTo>
                  <a:lnTo>
                    <a:pt x="69" y="160"/>
                  </a:lnTo>
                  <a:lnTo>
                    <a:pt x="70" y="158"/>
                  </a:lnTo>
                  <a:lnTo>
                    <a:pt x="70" y="156"/>
                  </a:lnTo>
                  <a:lnTo>
                    <a:pt x="70" y="156"/>
                  </a:lnTo>
                  <a:lnTo>
                    <a:pt x="70" y="154"/>
                  </a:lnTo>
                  <a:lnTo>
                    <a:pt x="70" y="152"/>
                  </a:lnTo>
                  <a:lnTo>
                    <a:pt x="69" y="149"/>
                  </a:lnTo>
                  <a:lnTo>
                    <a:pt x="68" y="142"/>
                  </a:lnTo>
                  <a:lnTo>
                    <a:pt x="67" y="137"/>
                  </a:lnTo>
                  <a:lnTo>
                    <a:pt x="66" y="131"/>
                  </a:lnTo>
                  <a:lnTo>
                    <a:pt x="66" y="125"/>
                  </a:lnTo>
                  <a:lnTo>
                    <a:pt x="65" y="122"/>
                  </a:lnTo>
                  <a:lnTo>
                    <a:pt x="66" y="120"/>
                  </a:lnTo>
                  <a:lnTo>
                    <a:pt x="66" y="117"/>
                  </a:lnTo>
                  <a:lnTo>
                    <a:pt x="66" y="116"/>
                  </a:lnTo>
                  <a:lnTo>
                    <a:pt x="66" y="114"/>
                  </a:lnTo>
                  <a:lnTo>
                    <a:pt x="67" y="112"/>
                  </a:lnTo>
                  <a:lnTo>
                    <a:pt x="68" y="110"/>
                  </a:lnTo>
                  <a:lnTo>
                    <a:pt x="69" y="109"/>
                  </a:lnTo>
                  <a:lnTo>
                    <a:pt x="69" y="108"/>
                  </a:lnTo>
                  <a:lnTo>
                    <a:pt x="70" y="107"/>
                  </a:lnTo>
                  <a:lnTo>
                    <a:pt x="71" y="106"/>
                  </a:lnTo>
                  <a:lnTo>
                    <a:pt x="72" y="105"/>
                  </a:lnTo>
                  <a:lnTo>
                    <a:pt x="74" y="105"/>
                  </a:lnTo>
                  <a:lnTo>
                    <a:pt x="76" y="105"/>
                  </a:lnTo>
                  <a:lnTo>
                    <a:pt x="78" y="104"/>
                  </a:lnTo>
                  <a:lnTo>
                    <a:pt x="80" y="104"/>
                  </a:lnTo>
                  <a:lnTo>
                    <a:pt x="81" y="105"/>
                  </a:lnTo>
                  <a:lnTo>
                    <a:pt x="84" y="105"/>
                  </a:lnTo>
                  <a:lnTo>
                    <a:pt x="87" y="107"/>
                  </a:lnTo>
                  <a:lnTo>
                    <a:pt x="95" y="110"/>
                  </a:lnTo>
                  <a:lnTo>
                    <a:pt x="103" y="111"/>
                  </a:lnTo>
                  <a:lnTo>
                    <a:pt x="105" y="112"/>
                  </a:lnTo>
                  <a:lnTo>
                    <a:pt x="108" y="113"/>
                  </a:lnTo>
                  <a:lnTo>
                    <a:pt x="109" y="113"/>
                  </a:lnTo>
                  <a:lnTo>
                    <a:pt x="110" y="112"/>
                  </a:lnTo>
                  <a:lnTo>
                    <a:pt x="111" y="112"/>
                  </a:lnTo>
                  <a:lnTo>
                    <a:pt x="112" y="112"/>
                  </a:lnTo>
                  <a:lnTo>
                    <a:pt x="112" y="111"/>
                  </a:lnTo>
                  <a:lnTo>
                    <a:pt x="113" y="111"/>
                  </a:lnTo>
                  <a:lnTo>
                    <a:pt x="113" y="110"/>
                  </a:lnTo>
                  <a:lnTo>
                    <a:pt x="113" y="109"/>
                  </a:lnTo>
                  <a:lnTo>
                    <a:pt x="113" y="108"/>
                  </a:lnTo>
                  <a:lnTo>
                    <a:pt x="112" y="106"/>
                  </a:lnTo>
                  <a:lnTo>
                    <a:pt x="111" y="103"/>
                  </a:lnTo>
                  <a:lnTo>
                    <a:pt x="107" y="98"/>
                  </a:lnTo>
                  <a:lnTo>
                    <a:pt x="106" y="95"/>
                  </a:lnTo>
                  <a:lnTo>
                    <a:pt x="103" y="91"/>
                  </a:lnTo>
                  <a:lnTo>
                    <a:pt x="103" y="88"/>
                  </a:lnTo>
                  <a:lnTo>
                    <a:pt x="101" y="83"/>
                  </a:lnTo>
                  <a:lnTo>
                    <a:pt x="100" y="78"/>
                  </a:lnTo>
                  <a:lnTo>
                    <a:pt x="99" y="76"/>
                  </a:lnTo>
                  <a:lnTo>
                    <a:pt x="98" y="72"/>
                  </a:lnTo>
                  <a:lnTo>
                    <a:pt x="97" y="67"/>
                  </a:lnTo>
                  <a:lnTo>
                    <a:pt x="97" y="64"/>
                  </a:lnTo>
                  <a:lnTo>
                    <a:pt x="96" y="55"/>
                  </a:lnTo>
                  <a:lnTo>
                    <a:pt x="95" y="43"/>
                  </a:lnTo>
                  <a:lnTo>
                    <a:pt x="95" y="39"/>
                  </a:lnTo>
                  <a:lnTo>
                    <a:pt x="95" y="37"/>
                  </a:lnTo>
                  <a:lnTo>
                    <a:pt x="95" y="35"/>
                  </a:lnTo>
                  <a:lnTo>
                    <a:pt x="96" y="34"/>
                  </a:lnTo>
                  <a:lnTo>
                    <a:pt x="96" y="33"/>
                  </a:lnTo>
                  <a:lnTo>
                    <a:pt x="97" y="32"/>
                  </a:lnTo>
                  <a:lnTo>
                    <a:pt x="98" y="31"/>
                  </a:lnTo>
                  <a:lnTo>
                    <a:pt x="101" y="30"/>
                  </a:lnTo>
                  <a:lnTo>
                    <a:pt x="103" y="28"/>
                  </a:lnTo>
                  <a:lnTo>
                    <a:pt x="107" y="26"/>
                  </a:lnTo>
                  <a:lnTo>
                    <a:pt x="110" y="26"/>
                  </a:lnTo>
                  <a:lnTo>
                    <a:pt x="114" y="24"/>
                  </a:lnTo>
                  <a:lnTo>
                    <a:pt x="117" y="23"/>
                  </a:lnTo>
                  <a:lnTo>
                    <a:pt x="119" y="22"/>
                  </a:lnTo>
                  <a:lnTo>
                    <a:pt x="120" y="21"/>
                  </a:lnTo>
                  <a:lnTo>
                    <a:pt x="121" y="21"/>
                  </a:lnTo>
                  <a:lnTo>
                    <a:pt x="123" y="20"/>
                  </a:lnTo>
                  <a:lnTo>
                    <a:pt x="125" y="17"/>
                  </a:lnTo>
                  <a:lnTo>
                    <a:pt x="127" y="12"/>
                  </a:lnTo>
                  <a:lnTo>
                    <a:pt x="130" y="7"/>
                  </a:lnTo>
                  <a:lnTo>
                    <a:pt x="132" y="4"/>
                  </a:lnTo>
                  <a:lnTo>
                    <a:pt x="133" y="2"/>
                  </a:lnTo>
                  <a:lnTo>
                    <a:pt x="134" y="1"/>
                  </a:lnTo>
                  <a:lnTo>
                    <a:pt x="135" y="1"/>
                  </a:lnTo>
                  <a:lnTo>
                    <a:pt x="136" y="0"/>
                  </a:lnTo>
                  <a:lnTo>
                    <a:pt x="136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2" name="Freeform 19">
              <a:extLst>
                <a:ext uri="{FF2B5EF4-FFF2-40B4-BE49-F238E27FC236}">
                  <a16:creationId xmlns:a16="http://schemas.microsoft.com/office/drawing/2014/main" id="{3AC2B85E-F0FE-43D7-95A9-1997A073C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" y="3406"/>
              <a:ext cx="632" cy="524"/>
            </a:xfrm>
            <a:custGeom>
              <a:avLst/>
              <a:gdLst>
                <a:gd name="T0" fmla="*/ 240 w 632"/>
                <a:gd name="T1" fmla="*/ 19 h 524"/>
                <a:gd name="T2" fmla="*/ 256 w 632"/>
                <a:gd name="T3" fmla="*/ 39 h 524"/>
                <a:gd name="T4" fmla="*/ 285 w 632"/>
                <a:gd name="T5" fmla="*/ 61 h 524"/>
                <a:gd name="T6" fmla="*/ 308 w 632"/>
                <a:gd name="T7" fmla="*/ 78 h 524"/>
                <a:gd name="T8" fmla="*/ 347 w 632"/>
                <a:gd name="T9" fmla="*/ 110 h 524"/>
                <a:gd name="T10" fmla="*/ 376 w 632"/>
                <a:gd name="T11" fmla="*/ 131 h 524"/>
                <a:gd name="T12" fmla="*/ 385 w 632"/>
                <a:gd name="T13" fmla="*/ 148 h 524"/>
                <a:gd name="T14" fmla="*/ 415 w 632"/>
                <a:gd name="T15" fmla="*/ 166 h 524"/>
                <a:gd name="T16" fmla="*/ 442 w 632"/>
                <a:gd name="T17" fmla="*/ 195 h 524"/>
                <a:gd name="T18" fmla="*/ 445 w 632"/>
                <a:gd name="T19" fmla="*/ 225 h 524"/>
                <a:gd name="T20" fmla="*/ 466 w 632"/>
                <a:gd name="T21" fmla="*/ 245 h 524"/>
                <a:gd name="T22" fmla="*/ 518 w 632"/>
                <a:gd name="T23" fmla="*/ 231 h 524"/>
                <a:gd name="T24" fmla="*/ 526 w 632"/>
                <a:gd name="T25" fmla="*/ 244 h 524"/>
                <a:gd name="T26" fmla="*/ 549 w 632"/>
                <a:gd name="T27" fmla="*/ 268 h 524"/>
                <a:gd name="T28" fmla="*/ 592 w 632"/>
                <a:gd name="T29" fmla="*/ 315 h 524"/>
                <a:gd name="T30" fmla="*/ 609 w 632"/>
                <a:gd name="T31" fmla="*/ 322 h 524"/>
                <a:gd name="T32" fmla="*/ 611 w 632"/>
                <a:gd name="T33" fmla="*/ 354 h 524"/>
                <a:gd name="T34" fmla="*/ 626 w 632"/>
                <a:gd name="T35" fmla="*/ 383 h 524"/>
                <a:gd name="T36" fmla="*/ 628 w 632"/>
                <a:gd name="T37" fmla="*/ 409 h 524"/>
                <a:gd name="T38" fmla="*/ 624 w 632"/>
                <a:gd name="T39" fmla="*/ 477 h 524"/>
                <a:gd name="T40" fmla="*/ 603 w 632"/>
                <a:gd name="T41" fmla="*/ 494 h 524"/>
                <a:gd name="T42" fmla="*/ 575 w 632"/>
                <a:gd name="T43" fmla="*/ 475 h 524"/>
                <a:gd name="T44" fmla="*/ 555 w 632"/>
                <a:gd name="T45" fmla="*/ 461 h 524"/>
                <a:gd name="T46" fmla="*/ 536 w 632"/>
                <a:gd name="T47" fmla="*/ 447 h 524"/>
                <a:gd name="T48" fmla="*/ 497 w 632"/>
                <a:gd name="T49" fmla="*/ 463 h 524"/>
                <a:gd name="T50" fmla="*/ 450 w 632"/>
                <a:gd name="T51" fmla="*/ 439 h 524"/>
                <a:gd name="T52" fmla="*/ 424 w 632"/>
                <a:gd name="T53" fmla="*/ 424 h 524"/>
                <a:gd name="T54" fmla="*/ 417 w 632"/>
                <a:gd name="T55" fmla="*/ 448 h 524"/>
                <a:gd name="T56" fmla="*/ 403 w 632"/>
                <a:gd name="T57" fmla="*/ 479 h 524"/>
                <a:gd name="T58" fmla="*/ 376 w 632"/>
                <a:gd name="T59" fmla="*/ 486 h 524"/>
                <a:gd name="T60" fmla="*/ 364 w 632"/>
                <a:gd name="T61" fmla="*/ 503 h 524"/>
                <a:gd name="T62" fmla="*/ 342 w 632"/>
                <a:gd name="T63" fmla="*/ 514 h 524"/>
                <a:gd name="T64" fmla="*/ 314 w 632"/>
                <a:gd name="T65" fmla="*/ 519 h 524"/>
                <a:gd name="T66" fmla="*/ 252 w 632"/>
                <a:gd name="T67" fmla="*/ 495 h 524"/>
                <a:gd name="T68" fmla="*/ 195 w 632"/>
                <a:gd name="T69" fmla="*/ 482 h 524"/>
                <a:gd name="T70" fmla="*/ 151 w 632"/>
                <a:gd name="T71" fmla="*/ 481 h 524"/>
                <a:gd name="T72" fmla="*/ 118 w 632"/>
                <a:gd name="T73" fmla="*/ 471 h 524"/>
                <a:gd name="T74" fmla="*/ 97 w 632"/>
                <a:gd name="T75" fmla="*/ 447 h 524"/>
                <a:gd name="T76" fmla="*/ 82 w 632"/>
                <a:gd name="T77" fmla="*/ 427 h 524"/>
                <a:gd name="T78" fmla="*/ 89 w 632"/>
                <a:gd name="T79" fmla="*/ 413 h 524"/>
                <a:gd name="T80" fmla="*/ 108 w 632"/>
                <a:gd name="T81" fmla="*/ 398 h 524"/>
                <a:gd name="T82" fmla="*/ 95 w 632"/>
                <a:gd name="T83" fmla="*/ 378 h 524"/>
                <a:gd name="T84" fmla="*/ 67 w 632"/>
                <a:gd name="T85" fmla="*/ 346 h 524"/>
                <a:gd name="T86" fmla="*/ 32 w 632"/>
                <a:gd name="T87" fmla="*/ 332 h 524"/>
                <a:gd name="T88" fmla="*/ 3 w 632"/>
                <a:gd name="T89" fmla="*/ 294 h 524"/>
                <a:gd name="T90" fmla="*/ 27 w 632"/>
                <a:gd name="T91" fmla="*/ 281 h 524"/>
                <a:gd name="T92" fmla="*/ 44 w 632"/>
                <a:gd name="T93" fmla="*/ 253 h 524"/>
                <a:gd name="T94" fmla="*/ 46 w 632"/>
                <a:gd name="T95" fmla="*/ 213 h 524"/>
                <a:gd name="T96" fmla="*/ 33 w 632"/>
                <a:gd name="T97" fmla="*/ 165 h 524"/>
                <a:gd name="T98" fmla="*/ 32 w 632"/>
                <a:gd name="T99" fmla="*/ 129 h 524"/>
                <a:gd name="T100" fmla="*/ 53 w 632"/>
                <a:gd name="T101" fmla="*/ 121 h 524"/>
                <a:gd name="T102" fmla="*/ 85 w 632"/>
                <a:gd name="T103" fmla="*/ 118 h 524"/>
                <a:gd name="T104" fmla="*/ 139 w 632"/>
                <a:gd name="T105" fmla="*/ 113 h 524"/>
                <a:gd name="T106" fmla="*/ 182 w 632"/>
                <a:gd name="T107" fmla="*/ 116 h 524"/>
                <a:gd name="T108" fmla="*/ 206 w 632"/>
                <a:gd name="T109" fmla="*/ 130 h 524"/>
                <a:gd name="T110" fmla="*/ 210 w 632"/>
                <a:gd name="T111" fmla="*/ 116 h 524"/>
                <a:gd name="T112" fmla="*/ 204 w 632"/>
                <a:gd name="T113" fmla="*/ 98 h 524"/>
                <a:gd name="T114" fmla="*/ 206 w 632"/>
                <a:gd name="T115" fmla="*/ 71 h 524"/>
                <a:gd name="T116" fmla="*/ 215 w 632"/>
                <a:gd name="T117" fmla="*/ 43 h 524"/>
                <a:gd name="T118" fmla="*/ 223 w 632"/>
                <a:gd name="T119" fmla="*/ 18 h 524"/>
                <a:gd name="T120" fmla="*/ 241 w 632"/>
                <a:gd name="T121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32" h="524">
                  <a:moveTo>
                    <a:pt x="240" y="0"/>
                  </a:moveTo>
                  <a:lnTo>
                    <a:pt x="240" y="1"/>
                  </a:lnTo>
                  <a:lnTo>
                    <a:pt x="240" y="2"/>
                  </a:lnTo>
                  <a:lnTo>
                    <a:pt x="239" y="5"/>
                  </a:lnTo>
                  <a:lnTo>
                    <a:pt x="239" y="7"/>
                  </a:lnTo>
                  <a:lnTo>
                    <a:pt x="239" y="9"/>
                  </a:lnTo>
                  <a:lnTo>
                    <a:pt x="239" y="12"/>
                  </a:lnTo>
                  <a:lnTo>
                    <a:pt x="239" y="14"/>
                  </a:lnTo>
                  <a:lnTo>
                    <a:pt x="240" y="16"/>
                  </a:lnTo>
                  <a:lnTo>
                    <a:pt x="240" y="19"/>
                  </a:lnTo>
                  <a:lnTo>
                    <a:pt x="241" y="22"/>
                  </a:lnTo>
                  <a:lnTo>
                    <a:pt x="242" y="24"/>
                  </a:lnTo>
                  <a:lnTo>
                    <a:pt x="243" y="26"/>
                  </a:lnTo>
                  <a:lnTo>
                    <a:pt x="244" y="27"/>
                  </a:lnTo>
                  <a:lnTo>
                    <a:pt x="245" y="29"/>
                  </a:lnTo>
                  <a:lnTo>
                    <a:pt x="247" y="31"/>
                  </a:lnTo>
                  <a:lnTo>
                    <a:pt x="249" y="33"/>
                  </a:lnTo>
                  <a:lnTo>
                    <a:pt x="251" y="36"/>
                  </a:lnTo>
                  <a:lnTo>
                    <a:pt x="254" y="38"/>
                  </a:lnTo>
                  <a:lnTo>
                    <a:pt x="256" y="39"/>
                  </a:lnTo>
                  <a:lnTo>
                    <a:pt x="265" y="44"/>
                  </a:lnTo>
                  <a:lnTo>
                    <a:pt x="268" y="46"/>
                  </a:lnTo>
                  <a:lnTo>
                    <a:pt x="271" y="47"/>
                  </a:lnTo>
                  <a:lnTo>
                    <a:pt x="273" y="49"/>
                  </a:lnTo>
                  <a:lnTo>
                    <a:pt x="274" y="50"/>
                  </a:lnTo>
                  <a:lnTo>
                    <a:pt x="276" y="52"/>
                  </a:lnTo>
                  <a:lnTo>
                    <a:pt x="280" y="58"/>
                  </a:lnTo>
                  <a:lnTo>
                    <a:pt x="282" y="59"/>
                  </a:lnTo>
                  <a:lnTo>
                    <a:pt x="283" y="60"/>
                  </a:lnTo>
                  <a:lnTo>
                    <a:pt x="285" y="61"/>
                  </a:lnTo>
                  <a:lnTo>
                    <a:pt x="289" y="64"/>
                  </a:lnTo>
                  <a:lnTo>
                    <a:pt x="291" y="65"/>
                  </a:lnTo>
                  <a:lnTo>
                    <a:pt x="293" y="67"/>
                  </a:lnTo>
                  <a:lnTo>
                    <a:pt x="297" y="71"/>
                  </a:lnTo>
                  <a:lnTo>
                    <a:pt x="298" y="72"/>
                  </a:lnTo>
                  <a:lnTo>
                    <a:pt x="301" y="73"/>
                  </a:lnTo>
                  <a:lnTo>
                    <a:pt x="305" y="75"/>
                  </a:lnTo>
                  <a:lnTo>
                    <a:pt x="307" y="76"/>
                  </a:lnTo>
                  <a:lnTo>
                    <a:pt x="308" y="77"/>
                  </a:lnTo>
                  <a:lnTo>
                    <a:pt x="308" y="78"/>
                  </a:lnTo>
                  <a:lnTo>
                    <a:pt x="314" y="86"/>
                  </a:lnTo>
                  <a:lnTo>
                    <a:pt x="319" y="92"/>
                  </a:lnTo>
                  <a:lnTo>
                    <a:pt x="321" y="95"/>
                  </a:lnTo>
                  <a:lnTo>
                    <a:pt x="323" y="96"/>
                  </a:lnTo>
                  <a:lnTo>
                    <a:pt x="324" y="97"/>
                  </a:lnTo>
                  <a:lnTo>
                    <a:pt x="326" y="98"/>
                  </a:lnTo>
                  <a:lnTo>
                    <a:pt x="328" y="99"/>
                  </a:lnTo>
                  <a:lnTo>
                    <a:pt x="338" y="105"/>
                  </a:lnTo>
                  <a:lnTo>
                    <a:pt x="342" y="107"/>
                  </a:lnTo>
                  <a:lnTo>
                    <a:pt x="347" y="110"/>
                  </a:lnTo>
                  <a:lnTo>
                    <a:pt x="354" y="115"/>
                  </a:lnTo>
                  <a:lnTo>
                    <a:pt x="359" y="118"/>
                  </a:lnTo>
                  <a:lnTo>
                    <a:pt x="363" y="120"/>
                  </a:lnTo>
                  <a:lnTo>
                    <a:pt x="370" y="124"/>
                  </a:lnTo>
                  <a:lnTo>
                    <a:pt x="372" y="125"/>
                  </a:lnTo>
                  <a:lnTo>
                    <a:pt x="374" y="126"/>
                  </a:lnTo>
                  <a:lnTo>
                    <a:pt x="375" y="128"/>
                  </a:lnTo>
                  <a:lnTo>
                    <a:pt x="376" y="129"/>
                  </a:lnTo>
                  <a:lnTo>
                    <a:pt x="376" y="130"/>
                  </a:lnTo>
                  <a:lnTo>
                    <a:pt x="376" y="131"/>
                  </a:lnTo>
                  <a:lnTo>
                    <a:pt x="376" y="136"/>
                  </a:lnTo>
                  <a:lnTo>
                    <a:pt x="376" y="138"/>
                  </a:lnTo>
                  <a:lnTo>
                    <a:pt x="376" y="141"/>
                  </a:lnTo>
                  <a:lnTo>
                    <a:pt x="376" y="142"/>
                  </a:lnTo>
                  <a:lnTo>
                    <a:pt x="376" y="143"/>
                  </a:lnTo>
                  <a:lnTo>
                    <a:pt x="376" y="144"/>
                  </a:lnTo>
                  <a:lnTo>
                    <a:pt x="377" y="145"/>
                  </a:lnTo>
                  <a:lnTo>
                    <a:pt x="377" y="146"/>
                  </a:lnTo>
                  <a:lnTo>
                    <a:pt x="379" y="146"/>
                  </a:lnTo>
                  <a:lnTo>
                    <a:pt x="385" y="148"/>
                  </a:lnTo>
                  <a:lnTo>
                    <a:pt x="387" y="149"/>
                  </a:lnTo>
                  <a:lnTo>
                    <a:pt x="388" y="150"/>
                  </a:lnTo>
                  <a:lnTo>
                    <a:pt x="390" y="151"/>
                  </a:lnTo>
                  <a:lnTo>
                    <a:pt x="396" y="154"/>
                  </a:lnTo>
                  <a:lnTo>
                    <a:pt x="400" y="157"/>
                  </a:lnTo>
                  <a:lnTo>
                    <a:pt x="403" y="159"/>
                  </a:lnTo>
                  <a:lnTo>
                    <a:pt x="409" y="163"/>
                  </a:lnTo>
                  <a:lnTo>
                    <a:pt x="412" y="164"/>
                  </a:lnTo>
                  <a:lnTo>
                    <a:pt x="413" y="165"/>
                  </a:lnTo>
                  <a:lnTo>
                    <a:pt x="415" y="166"/>
                  </a:lnTo>
                  <a:lnTo>
                    <a:pt x="422" y="174"/>
                  </a:lnTo>
                  <a:lnTo>
                    <a:pt x="426" y="179"/>
                  </a:lnTo>
                  <a:lnTo>
                    <a:pt x="433" y="185"/>
                  </a:lnTo>
                  <a:lnTo>
                    <a:pt x="435" y="186"/>
                  </a:lnTo>
                  <a:lnTo>
                    <a:pt x="438" y="188"/>
                  </a:lnTo>
                  <a:lnTo>
                    <a:pt x="440" y="189"/>
                  </a:lnTo>
                  <a:lnTo>
                    <a:pt x="440" y="190"/>
                  </a:lnTo>
                  <a:lnTo>
                    <a:pt x="441" y="192"/>
                  </a:lnTo>
                  <a:lnTo>
                    <a:pt x="442" y="193"/>
                  </a:lnTo>
                  <a:lnTo>
                    <a:pt x="442" y="195"/>
                  </a:lnTo>
                  <a:lnTo>
                    <a:pt x="442" y="196"/>
                  </a:lnTo>
                  <a:lnTo>
                    <a:pt x="441" y="198"/>
                  </a:lnTo>
                  <a:lnTo>
                    <a:pt x="441" y="200"/>
                  </a:lnTo>
                  <a:lnTo>
                    <a:pt x="441" y="204"/>
                  </a:lnTo>
                  <a:lnTo>
                    <a:pt x="442" y="207"/>
                  </a:lnTo>
                  <a:lnTo>
                    <a:pt x="443" y="212"/>
                  </a:lnTo>
                  <a:lnTo>
                    <a:pt x="444" y="219"/>
                  </a:lnTo>
                  <a:lnTo>
                    <a:pt x="444" y="220"/>
                  </a:lnTo>
                  <a:lnTo>
                    <a:pt x="444" y="222"/>
                  </a:lnTo>
                  <a:lnTo>
                    <a:pt x="445" y="225"/>
                  </a:lnTo>
                  <a:lnTo>
                    <a:pt x="451" y="234"/>
                  </a:lnTo>
                  <a:lnTo>
                    <a:pt x="454" y="240"/>
                  </a:lnTo>
                  <a:lnTo>
                    <a:pt x="455" y="242"/>
                  </a:lnTo>
                  <a:lnTo>
                    <a:pt x="456" y="243"/>
                  </a:lnTo>
                  <a:lnTo>
                    <a:pt x="457" y="243"/>
                  </a:lnTo>
                  <a:lnTo>
                    <a:pt x="458" y="244"/>
                  </a:lnTo>
                  <a:lnTo>
                    <a:pt x="460" y="244"/>
                  </a:lnTo>
                  <a:lnTo>
                    <a:pt x="462" y="245"/>
                  </a:lnTo>
                  <a:lnTo>
                    <a:pt x="464" y="245"/>
                  </a:lnTo>
                  <a:lnTo>
                    <a:pt x="466" y="245"/>
                  </a:lnTo>
                  <a:lnTo>
                    <a:pt x="467" y="245"/>
                  </a:lnTo>
                  <a:lnTo>
                    <a:pt x="469" y="245"/>
                  </a:lnTo>
                  <a:lnTo>
                    <a:pt x="473" y="244"/>
                  </a:lnTo>
                  <a:lnTo>
                    <a:pt x="481" y="242"/>
                  </a:lnTo>
                  <a:lnTo>
                    <a:pt x="493" y="239"/>
                  </a:lnTo>
                  <a:lnTo>
                    <a:pt x="500" y="237"/>
                  </a:lnTo>
                  <a:lnTo>
                    <a:pt x="506" y="235"/>
                  </a:lnTo>
                  <a:lnTo>
                    <a:pt x="514" y="231"/>
                  </a:lnTo>
                  <a:lnTo>
                    <a:pt x="516" y="231"/>
                  </a:lnTo>
                  <a:lnTo>
                    <a:pt x="518" y="231"/>
                  </a:lnTo>
                  <a:lnTo>
                    <a:pt x="520" y="230"/>
                  </a:lnTo>
                  <a:lnTo>
                    <a:pt x="522" y="230"/>
                  </a:lnTo>
                  <a:lnTo>
                    <a:pt x="523" y="231"/>
                  </a:lnTo>
                  <a:lnTo>
                    <a:pt x="524" y="231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5" y="235"/>
                  </a:lnTo>
                  <a:lnTo>
                    <a:pt x="525" y="239"/>
                  </a:lnTo>
                  <a:lnTo>
                    <a:pt x="525" y="243"/>
                  </a:lnTo>
                  <a:lnTo>
                    <a:pt x="526" y="244"/>
                  </a:lnTo>
                  <a:lnTo>
                    <a:pt x="528" y="252"/>
                  </a:lnTo>
                  <a:lnTo>
                    <a:pt x="529" y="254"/>
                  </a:lnTo>
                  <a:lnTo>
                    <a:pt x="530" y="255"/>
                  </a:lnTo>
                  <a:lnTo>
                    <a:pt x="531" y="257"/>
                  </a:lnTo>
                  <a:lnTo>
                    <a:pt x="533" y="259"/>
                  </a:lnTo>
                  <a:lnTo>
                    <a:pt x="534" y="260"/>
                  </a:lnTo>
                  <a:lnTo>
                    <a:pt x="535" y="261"/>
                  </a:lnTo>
                  <a:lnTo>
                    <a:pt x="545" y="265"/>
                  </a:lnTo>
                  <a:lnTo>
                    <a:pt x="548" y="267"/>
                  </a:lnTo>
                  <a:lnTo>
                    <a:pt x="549" y="268"/>
                  </a:lnTo>
                  <a:lnTo>
                    <a:pt x="550" y="269"/>
                  </a:lnTo>
                  <a:lnTo>
                    <a:pt x="554" y="272"/>
                  </a:lnTo>
                  <a:lnTo>
                    <a:pt x="557" y="275"/>
                  </a:lnTo>
                  <a:lnTo>
                    <a:pt x="560" y="279"/>
                  </a:lnTo>
                  <a:lnTo>
                    <a:pt x="567" y="288"/>
                  </a:lnTo>
                  <a:lnTo>
                    <a:pt x="579" y="301"/>
                  </a:lnTo>
                  <a:lnTo>
                    <a:pt x="581" y="304"/>
                  </a:lnTo>
                  <a:lnTo>
                    <a:pt x="586" y="309"/>
                  </a:lnTo>
                  <a:lnTo>
                    <a:pt x="588" y="311"/>
                  </a:lnTo>
                  <a:lnTo>
                    <a:pt x="592" y="315"/>
                  </a:lnTo>
                  <a:lnTo>
                    <a:pt x="596" y="322"/>
                  </a:lnTo>
                  <a:lnTo>
                    <a:pt x="598" y="324"/>
                  </a:lnTo>
                  <a:lnTo>
                    <a:pt x="599" y="325"/>
                  </a:lnTo>
                  <a:lnTo>
                    <a:pt x="600" y="326"/>
                  </a:lnTo>
                  <a:lnTo>
                    <a:pt x="601" y="326"/>
                  </a:lnTo>
                  <a:lnTo>
                    <a:pt x="603" y="326"/>
                  </a:lnTo>
                  <a:lnTo>
                    <a:pt x="604" y="326"/>
                  </a:lnTo>
                  <a:lnTo>
                    <a:pt x="604" y="326"/>
                  </a:lnTo>
                  <a:lnTo>
                    <a:pt x="605" y="325"/>
                  </a:lnTo>
                  <a:lnTo>
                    <a:pt x="609" y="322"/>
                  </a:lnTo>
                  <a:lnTo>
                    <a:pt x="610" y="322"/>
                  </a:lnTo>
                  <a:lnTo>
                    <a:pt x="611" y="322"/>
                  </a:lnTo>
                  <a:lnTo>
                    <a:pt x="612" y="322"/>
                  </a:lnTo>
                  <a:lnTo>
                    <a:pt x="612" y="323"/>
                  </a:lnTo>
                  <a:lnTo>
                    <a:pt x="611" y="328"/>
                  </a:lnTo>
                  <a:lnTo>
                    <a:pt x="610" y="333"/>
                  </a:lnTo>
                  <a:lnTo>
                    <a:pt x="610" y="341"/>
                  </a:lnTo>
                  <a:lnTo>
                    <a:pt x="610" y="346"/>
                  </a:lnTo>
                  <a:lnTo>
                    <a:pt x="611" y="350"/>
                  </a:lnTo>
                  <a:lnTo>
                    <a:pt x="611" y="354"/>
                  </a:lnTo>
                  <a:lnTo>
                    <a:pt x="612" y="357"/>
                  </a:lnTo>
                  <a:lnTo>
                    <a:pt x="613" y="362"/>
                  </a:lnTo>
                  <a:lnTo>
                    <a:pt x="615" y="367"/>
                  </a:lnTo>
                  <a:lnTo>
                    <a:pt x="616" y="371"/>
                  </a:lnTo>
                  <a:lnTo>
                    <a:pt x="619" y="375"/>
                  </a:lnTo>
                  <a:lnTo>
                    <a:pt x="620" y="377"/>
                  </a:lnTo>
                  <a:lnTo>
                    <a:pt x="622" y="379"/>
                  </a:lnTo>
                  <a:lnTo>
                    <a:pt x="624" y="380"/>
                  </a:lnTo>
                  <a:lnTo>
                    <a:pt x="625" y="382"/>
                  </a:lnTo>
                  <a:lnTo>
                    <a:pt x="626" y="383"/>
                  </a:lnTo>
                  <a:lnTo>
                    <a:pt x="627" y="385"/>
                  </a:lnTo>
                  <a:lnTo>
                    <a:pt x="629" y="386"/>
                  </a:lnTo>
                  <a:lnTo>
                    <a:pt x="630" y="386"/>
                  </a:lnTo>
                  <a:lnTo>
                    <a:pt x="631" y="387"/>
                  </a:lnTo>
                  <a:lnTo>
                    <a:pt x="632" y="387"/>
                  </a:lnTo>
                  <a:lnTo>
                    <a:pt x="631" y="389"/>
                  </a:lnTo>
                  <a:lnTo>
                    <a:pt x="630" y="394"/>
                  </a:lnTo>
                  <a:lnTo>
                    <a:pt x="628" y="400"/>
                  </a:lnTo>
                  <a:lnTo>
                    <a:pt x="628" y="405"/>
                  </a:lnTo>
                  <a:lnTo>
                    <a:pt x="628" y="409"/>
                  </a:lnTo>
                  <a:lnTo>
                    <a:pt x="628" y="413"/>
                  </a:lnTo>
                  <a:lnTo>
                    <a:pt x="628" y="432"/>
                  </a:lnTo>
                  <a:lnTo>
                    <a:pt x="628" y="437"/>
                  </a:lnTo>
                  <a:lnTo>
                    <a:pt x="628" y="442"/>
                  </a:lnTo>
                  <a:lnTo>
                    <a:pt x="627" y="455"/>
                  </a:lnTo>
                  <a:lnTo>
                    <a:pt x="626" y="464"/>
                  </a:lnTo>
                  <a:lnTo>
                    <a:pt x="626" y="467"/>
                  </a:lnTo>
                  <a:lnTo>
                    <a:pt x="626" y="470"/>
                  </a:lnTo>
                  <a:lnTo>
                    <a:pt x="626" y="473"/>
                  </a:lnTo>
                  <a:lnTo>
                    <a:pt x="624" y="477"/>
                  </a:lnTo>
                  <a:lnTo>
                    <a:pt x="623" y="481"/>
                  </a:lnTo>
                  <a:lnTo>
                    <a:pt x="620" y="483"/>
                  </a:lnTo>
                  <a:lnTo>
                    <a:pt x="618" y="487"/>
                  </a:lnTo>
                  <a:lnTo>
                    <a:pt x="616" y="489"/>
                  </a:lnTo>
                  <a:lnTo>
                    <a:pt x="615" y="490"/>
                  </a:lnTo>
                  <a:lnTo>
                    <a:pt x="614" y="491"/>
                  </a:lnTo>
                  <a:lnTo>
                    <a:pt x="612" y="492"/>
                  </a:lnTo>
                  <a:lnTo>
                    <a:pt x="609" y="493"/>
                  </a:lnTo>
                  <a:lnTo>
                    <a:pt x="606" y="493"/>
                  </a:lnTo>
                  <a:lnTo>
                    <a:pt x="603" y="494"/>
                  </a:lnTo>
                  <a:lnTo>
                    <a:pt x="599" y="494"/>
                  </a:lnTo>
                  <a:lnTo>
                    <a:pt x="596" y="494"/>
                  </a:lnTo>
                  <a:lnTo>
                    <a:pt x="593" y="493"/>
                  </a:lnTo>
                  <a:lnTo>
                    <a:pt x="591" y="492"/>
                  </a:lnTo>
                  <a:lnTo>
                    <a:pt x="589" y="492"/>
                  </a:lnTo>
                  <a:lnTo>
                    <a:pt x="587" y="490"/>
                  </a:lnTo>
                  <a:lnTo>
                    <a:pt x="585" y="488"/>
                  </a:lnTo>
                  <a:lnTo>
                    <a:pt x="582" y="485"/>
                  </a:lnTo>
                  <a:lnTo>
                    <a:pt x="577" y="478"/>
                  </a:lnTo>
                  <a:lnTo>
                    <a:pt x="575" y="475"/>
                  </a:lnTo>
                  <a:lnTo>
                    <a:pt x="573" y="473"/>
                  </a:lnTo>
                  <a:lnTo>
                    <a:pt x="571" y="471"/>
                  </a:lnTo>
                  <a:lnTo>
                    <a:pt x="570" y="470"/>
                  </a:lnTo>
                  <a:lnTo>
                    <a:pt x="567" y="469"/>
                  </a:lnTo>
                  <a:lnTo>
                    <a:pt x="563" y="468"/>
                  </a:lnTo>
                  <a:lnTo>
                    <a:pt x="561" y="467"/>
                  </a:lnTo>
                  <a:lnTo>
                    <a:pt x="559" y="466"/>
                  </a:lnTo>
                  <a:lnTo>
                    <a:pt x="558" y="465"/>
                  </a:lnTo>
                  <a:lnTo>
                    <a:pt x="556" y="463"/>
                  </a:lnTo>
                  <a:lnTo>
                    <a:pt x="555" y="461"/>
                  </a:lnTo>
                  <a:lnTo>
                    <a:pt x="553" y="459"/>
                  </a:lnTo>
                  <a:lnTo>
                    <a:pt x="549" y="454"/>
                  </a:lnTo>
                  <a:lnTo>
                    <a:pt x="547" y="451"/>
                  </a:lnTo>
                  <a:lnTo>
                    <a:pt x="546" y="450"/>
                  </a:lnTo>
                  <a:lnTo>
                    <a:pt x="545" y="449"/>
                  </a:lnTo>
                  <a:lnTo>
                    <a:pt x="544" y="448"/>
                  </a:lnTo>
                  <a:lnTo>
                    <a:pt x="542" y="447"/>
                  </a:lnTo>
                  <a:lnTo>
                    <a:pt x="541" y="447"/>
                  </a:lnTo>
                  <a:lnTo>
                    <a:pt x="539" y="447"/>
                  </a:lnTo>
                  <a:lnTo>
                    <a:pt x="536" y="447"/>
                  </a:lnTo>
                  <a:lnTo>
                    <a:pt x="535" y="448"/>
                  </a:lnTo>
                  <a:lnTo>
                    <a:pt x="532" y="450"/>
                  </a:lnTo>
                  <a:lnTo>
                    <a:pt x="515" y="460"/>
                  </a:lnTo>
                  <a:lnTo>
                    <a:pt x="512" y="462"/>
                  </a:lnTo>
                  <a:lnTo>
                    <a:pt x="509" y="463"/>
                  </a:lnTo>
                  <a:lnTo>
                    <a:pt x="506" y="464"/>
                  </a:lnTo>
                  <a:lnTo>
                    <a:pt x="504" y="464"/>
                  </a:lnTo>
                  <a:lnTo>
                    <a:pt x="501" y="464"/>
                  </a:lnTo>
                  <a:lnTo>
                    <a:pt x="500" y="464"/>
                  </a:lnTo>
                  <a:lnTo>
                    <a:pt x="497" y="463"/>
                  </a:lnTo>
                  <a:lnTo>
                    <a:pt x="490" y="460"/>
                  </a:lnTo>
                  <a:lnTo>
                    <a:pt x="480" y="458"/>
                  </a:lnTo>
                  <a:lnTo>
                    <a:pt x="477" y="457"/>
                  </a:lnTo>
                  <a:lnTo>
                    <a:pt x="466" y="452"/>
                  </a:lnTo>
                  <a:lnTo>
                    <a:pt x="464" y="451"/>
                  </a:lnTo>
                  <a:lnTo>
                    <a:pt x="462" y="450"/>
                  </a:lnTo>
                  <a:lnTo>
                    <a:pt x="459" y="448"/>
                  </a:lnTo>
                  <a:lnTo>
                    <a:pt x="456" y="446"/>
                  </a:lnTo>
                  <a:lnTo>
                    <a:pt x="455" y="444"/>
                  </a:lnTo>
                  <a:lnTo>
                    <a:pt x="450" y="439"/>
                  </a:lnTo>
                  <a:lnTo>
                    <a:pt x="448" y="436"/>
                  </a:lnTo>
                  <a:lnTo>
                    <a:pt x="441" y="429"/>
                  </a:lnTo>
                  <a:lnTo>
                    <a:pt x="437" y="426"/>
                  </a:lnTo>
                  <a:lnTo>
                    <a:pt x="435" y="424"/>
                  </a:lnTo>
                  <a:lnTo>
                    <a:pt x="433" y="424"/>
                  </a:lnTo>
                  <a:lnTo>
                    <a:pt x="431" y="423"/>
                  </a:lnTo>
                  <a:lnTo>
                    <a:pt x="429" y="423"/>
                  </a:lnTo>
                  <a:lnTo>
                    <a:pt x="427" y="424"/>
                  </a:lnTo>
                  <a:lnTo>
                    <a:pt x="426" y="424"/>
                  </a:lnTo>
                  <a:lnTo>
                    <a:pt x="424" y="424"/>
                  </a:lnTo>
                  <a:lnTo>
                    <a:pt x="422" y="425"/>
                  </a:lnTo>
                  <a:lnTo>
                    <a:pt x="422" y="425"/>
                  </a:lnTo>
                  <a:lnTo>
                    <a:pt x="421" y="426"/>
                  </a:lnTo>
                  <a:lnTo>
                    <a:pt x="420" y="427"/>
                  </a:lnTo>
                  <a:lnTo>
                    <a:pt x="420" y="429"/>
                  </a:lnTo>
                  <a:lnTo>
                    <a:pt x="419" y="430"/>
                  </a:lnTo>
                  <a:lnTo>
                    <a:pt x="419" y="433"/>
                  </a:lnTo>
                  <a:lnTo>
                    <a:pt x="418" y="441"/>
                  </a:lnTo>
                  <a:lnTo>
                    <a:pt x="418" y="445"/>
                  </a:lnTo>
                  <a:lnTo>
                    <a:pt x="417" y="448"/>
                  </a:lnTo>
                  <a:lnTo>
                    <a:pt x="415" y="455"/>
                  </a:lnTo>
                  <a:lnTo>
                    <a:pt x="413" y="460"/>
                  </a:lnTo>
                  <a:lnTo>
                    <a:pt x="412" y="463"/>
                  </a:lnTo>
                  <a:lnTo>
                    <a:pt x="411" y="466"/>
                  </a:lnTo>
                  <a:lnTo>
                    <a:pt x="410" y="469"/>
                  </a:lnTo>
                  <a:lnTo>
                    <a:pt x="409" y="471"/>
                  </a:lnTo>
                  <a:lnTo>
                    <a:pt x="408" y="473"/>
                  </a:lnTo>
                  <a:lnTo>
                    <a:pt x="406" y="475"/>
                  </a:lnTo>
                  <a:lnTo>
                    <a:pt x="404" y="478"/>
                  </a:lnTo>
                  <a:lnTo>
                    <a:pt x="403" y="479"/>
                  </a:lnTo>
                  <a:lnTo>
                    <a:pt x="401" y="481"/>
                  </a:lnTo>
                  <a:lnTo>
                    <a:pt x="399" y="481"/>
                  </a:lnTo>
                  <a:lnTo>
                    <a:pt x="398" y="482"/>
                  </a:lnTo>
                  <a:lnTo>
                    <a:pt x="396" y="483"/>
                  </a:lnTo>
                  <a:lnTo>
                    <a:pt x="395" y="483"/>
                  </a:lnTo>
                  <a:lnTo>
                    <a:pt x="392" y="483"/>
                  </a:lnTo>
                  <a:lnTo>
                    <a:pt x="384" y="484"/>
                  </a:lnTo>
                  <a:lnTo>
                    <a:pt x="380" y="485"/>
                  </a:lnTo>
                  <a:lnTo>
                    <a:pt x="376" y="486"/>
                  </a:lnTo>
                  <a:lnTo>
                    <a:pt x="376" y="486"/>
                  </a:lnTo>
                  <a:lnTo>
                    <a:pt x="375" y="487"/>
                  </a:lnTo>
                  <a:lnTo>
                    <a:pt x="373" y="488"/>
                  </a:lnTo>
                  <a:lnTo>
                    <a:pt x="372" y="489"/>
                  </a:lnTo>
                  <a:lnTo>
                    <a:pt x="371" y="490"/>
                  </a:lnTo>
                  <a:lnTo>
                    <a:pt x="370" y="492"/>
                  </a:lnTo>
                  <a:lnTo>
                    <a:pt x="368" y="497"/>
                  </a:lnTo>
                  <a:lnTo>
                    <a:pt x="367" y="500"/>
                  </a:lnTo>
                  <a:lnTo>
                    <a:pt x="366" y="501"/>
                  </a:lnTo>
                  <a:lnTo>
                    <a:pt x="365" y="503"/>
                  </a:lnTo>
                  <a:lnTo>
                    <a:pt x="364" y="503"/>
                  </a:lnTo>
                  <a:lnTo>
                    <a:pt x="363" y="504"/>
                  </a:lnTo>
                  <a:lnTo>
                    <a:pt x="361" y="505"/>
                  </a:lnTo>
                  <a:lnTo>
                    <a:pt x="359" y="506"/>
                  </a:lnTo>
                  <a:lnTo>
                    <a:pt x="356" y="507"/>
                  </a:lnTo>
                  <a:lnTo>
                    <a:pt x="351" y="508"/>
                  </a:lnTo>
                  <a:lnTo>
                    <a:pt x="349" y="509"/>
                  </a:lnTo>
                  <a:lnTo>
                    <a:pt x="348" y="510"/>
                  </a:lnTo>
                  <a:lnTo>
                    <a:pt x="346" y="511"/>
                  </a:lnTo>
                  <a:lnTo>
                    <a:pt x="344" y="512"/>
                  </a:lnTo>
                  <a:lnTo>
                    <a:pt x="342" y="514"/>
                  </a:lnTo>
                  <a:lnTo>
                    <a:pt x="338" y="518"/>
                  </a:lnTo>
                  <a:lnTo>
                    <a:pt x="335" y="520"/>
                  </a:lnTo>
                  <a:lnTo>
                    <a:pt x="333" y="522"/>
                  </a:lnTo>
                  <a:lnTo>
                    <a:pt x="331" y="523"/>
                  </a:lnTo>
                  <a:lnTo>
                    <a:pt x="329" y="524"/>
                  </a:lnTo>
                  <a:lnTo>
                    <a:pt x="327" y="524"/>
                  </a:lnTo>
                  <a:lnTo>
                    <a:pt x="324" y="524"/>
                  </a:lnTo>
                  <a:lnTo>
                    <a:pt x="322" y="524"/>
                  </a:lnTo>
                  <a:lnTo>
                    <a:pt x="319" y="523"/>
                  </a:lnTo>
                  <a:lnTo>
                    <a:pt x="314" y="519"/>
                  </a:lnTo>
                  <a:lnTo>
                    <a:pt x="306" y="515"/>
                  </a:lnTo>
                  <a:lnTo>
                    <a:pt x="297" y="512"/>
                  </a:lnTo>
                  <a:lnTo>
                    <a:pt x="280" y="502"/>
                  </a:lnTo>
                  <a:lnTo>
                    <a:pt x="277" y="501"/>
                  </a:lnTo>
                  <a:lnTo>
                    <a:pt x="274" y="500"/>
                  </a:lnTo>
                  <a:lnTo>
                    <a:pt x="272" y="499"/>
                  </a:lnTo>
                  <a:lnTo>
                    <a:pt x="268" y="498"/>
                  </a:lnTo>
                  <a:lnTo>
                    <a:pt x="264" y="497"/>
                  </a:lnTo>
                  <a:lnTo>
                    <a:pt x="257" y="496"/>
                  </a:lnTo>
                  <a:lnTo>
                    <a:pt x="252" y="495"/>
                  </a:lnTo>
                  <a:lnTo>
                    <a:pt x="250" y="494"/>
                  </a:lnTo>
                  <a:lnTo>
                    <a:pt x="241" y="491"/>
                  </a:lnTo>
                  <a:lnTo>
                    <a:pt x="236" y="490"/>
                  </a:lnTo>
                  <a:lnTo>
                    <a:pt x="227" y="486"/>
                  </a:lnTo>
                  <a:lnTo>
                    <a:pt x="221" y="485"/>
                  </a:lnTo>
                  <a:lnTo>
                    <a:pt x="216" y="483"/>
                  </a:lnTo>
                  <a:lnTo>
                    <a:pt x="210" y="483"/>
                  </a:lnTo>
                  <a:lnTo>
                    <a:pt x="206" y="482"/>
                  </a:lnTo>
                  <a:lnTo>
                    <a:pt x="199" y="482"/>
                  </a:lnTo>
                  <a:lnTo>
                    <a:pt x="195" y="482"/>
                  </a:lnTo>
                  <a:lnTo>
                    <a:pt x="193" y="481"/>
                  </a:lnTo>
                  <a:lnTo>
                    <a:pt x="183" y="480"/>
                  </a:lnTo>
                  <a:lnTo>
                    <a:pt x="179" y="480"/>
                  </a:lnTo>
                  <a:lnTo>
                    <a:pt x="173" y="479"/>
                  </a:lnTo>
                  <a:lnTo>
                    <a:pt x="170" y="479"/>
                  </a:lnTo>
                  <a:lnTo>
                    <a:pt x="166" y="479"/>
                  </a:lnTo>
                  <a:lnTo>
                    <a:pt x="164" y="480"/>
                  </a:lnTo>
                  <a:lnTo>
                    <a:pt x="158" y="481"/>
                  </a:lnTo>
                  <a:lnTo>
                    <a:pt x="154" y="481"/>
                  </a:lnTo>
                  <a:lnTo>
                    <a:pt x="151" y="481"/>
                  </a:lnTo>
                  <a:lnTo>
                    <a:pt x="149" y="481"/>
                  </a:lnTo>
                  <a:lnTo>
                    <a:pt x="147" y="481"/>
                  </a:lnTo>
                  <a:lnTo>
                    <a:pt x="144" y="480"/>
                  </a:lnTo>
                  <a:lnTo>
                    <a:pt x="142" y="479"/>
                  </a:lnTo>
                  <a:lnTo>
                    <a:pt x="137" y="477"/>
                  </a:lnTo>
                  <a:lnTo>
                    <a:pt x="135" y="476"/>
                  </a:lnTo>
                  <a:lnTo>
                    <a:pt x="131" y="475"/>
                  </a:lnTo>
                  <a:lnTo>
                    <a:pt x="122" y="473"/>
                  </a:lnTo>
                  <a:lnTo>
                    <a:pt x="120" y="472"/>
                  </a:lnTo>
                  <a:lnTo>
                    <a:pt x="118" y="471"/>
                  </a:lnTo>
                  <a:lnTo>
                    <a:pt x="117" y="470"/>
                  </a:lnTo>
                  <a:lnTo>
                    <a:pt x="114" y="467"/>
                  </a:lnTo>
                  <a:lnTo>
                    <a:pt x="109" y="464"/>
                  </a:lnTo>
                  <a:lnTo>
                    <a:pt x="108" y="463"/>
                  </a:lnTo>
                  <a:lnTo>
                    <a:pt x="106" y="461"/>
                  </a:lnTo>
                  <a:lnTo>
                    <a:pt x="103" y="458"/>
                  </a:lnTo>
                  <a:lnTo>
                    <a:pt x="103" y="457"/>
                  </a:lnTo>
                  <a:lnTo>
                    <a:pt x="101" y="454"/>
                  </a:lnTo>
                  <a:lnTo>
                    <a:pt x="100" y="452"/>
                  </a:lnTo>
                  <a:lnTo>
                    <a:pt x="97" y="447"/>
                  </a:lnTo>
                  <a:lnTo>
                    <a:pt x="97" y="445"/>
                  </a:lnTo>
                  <a:lnTo>
                    <a:pt x="96" y="444"/>
                  </a:lnTo>
                  <a:lnTo>
                    <a:pt x="95" y="442"/>
                  </a:lnTo>
                  <a:lnTo>
                    <a:pt x="94" y="441"/>
                  </a:lnTo>
                  <a:lnTo>
                    <a:pt x="89" y="436"/>
                  </a:lnTo>
                  <a:lnTo>
                    <a:pt x="87" y="435"/>
                  </a:lnTo>
                  <a:lnTo>
                    <a:pt x="85" y="434"/>
                  </a:lnTo>
                  <a:lnTo>
                    <a:pt x="84" y="432"/>
                  </a:lnTo>
                  <a:lnTo>
                    <a:pt x="83" y="429"/>
                  </a:lnTo>
                  <a:lnTo>
                    <a:pt x="82" y="427"/>
                  </a:lnTo>
                  <a:lnTo>
                    <a:pt x="81" y="425"/>
                  </a:lnTo>
                  <a:lnTo>
                    <a:pt x="81" y="424"/>
                  </a:lnTo>
                  <a:lnTo>
                    <a:pt x="81" y="424"/>
                  </a:lnTo>
                  <a:lnTo>
                    <a:pt x="82" y="422"/>
                  </a:lnTo>
                  <a:lnTo>
                    <a:pt x="82" y="421"/>
                  </a:lnTo>
                  <a:lnTo>
                    <a:pt x="83" y="419"/>
                  </a:lnTo>
                  <a:lnTo>
                    <a:pt x="84" y="417"/>
                  </a:lnTo>
                  <a:lnTo>
                    <a:pt x="86" y="415"/>
                  </a:lnTo>
                  <a:lnTo>
                    <a:pt x="87" y="414"/>
                  </a:lnTo>
                  <a:lnTo>
                    <a:pt x="89" y="413"/>
                  </a:lnTo>
                  <a:lnTo>
                    <a:pt x="92" y="411"/>
                  </a:lnTo>
                  <a:lnTo>
                    <a:pt x="94" y="409"/>
                  </a:lnTo>
                  <a:lnTo>
                    <a:pt x="100" y="406"/>
                  </a:lnTo>
                  <a:lnTo>
                    <a:pt x="103" y="405"/>
                  </a:lnTo>
                  <a:lnTo>
                    <a:pt x="103" y="404"/>
                  </a:lnTo>
                  <a:lnTo>
                    <a:pt x="104" y="403"/>
                  </a:lnTo>
                  <a:lnTo>
                    <a:pt x="105" y="402"/>
                  </a:lnTo>
                  <a:lnTo>
                    <a:pt x="106" y="401"/>
                  </a:lnTo>
                  <a:lnTo>
                    <a:pt x="107" y="400"/>
                  </a:lnTo>
                  <a:lnTo>
                    <a:pt x="108" y="398"/>
                  </a:lnTo>
                  <a:lnTo>
                    <a:pt x="108" y="396"/>
                  </a:lnTo>
                  <a:lnTo>
                    <a:pt x="108" y="393"/>
                  </a:lnTo>
                  <a:lnTo>
                    <a:pt x="108" y="391"/>
                  </a:lnTo>
                  <a:lnTo>
                    <a:pt x="108" y="390"/>
                  </a:lnTo>
                  <a:lnTo>
                    <a:pt x="107" y="388"/>
                  </a:lnTo>
                  <a:lnTo>
                    <a:pt x="106" y="387"/>
                  </a:lnTo>
                  <a:lnTo>
                    <a:pt x="105" y="385"/>
                  </a:lnTo>
                  <a:lnTo>
                    <a:pt x="103" y="384"/>
                  </a:lnTo>
                  <a:lnTo>
                    <a:pt x="101" y="382"/>
                  </a:lnTo>
                  <a:lnTo>
                    <a:pt x="95" y="378"/>
                  </a:lnTo>
                  <a:lnTo>
                    <a:pt x="92" y="375"/>
                  </a:lnTo>
                  <a:lnTo>
                    <a:pt x="91" y="373"/>
                  </a:lnTo>
                  <a:lnTo>
                    <a:pt x="88" y="370"/>
                  </a:lnTo>
                  <a:lnTo>
                    <a:pt x="82" y="364"/>
                  </a:lnTo>
                  <a:lnTo>
                    <a:pt x="80" y="360"/>
                  </a:lnTo>
                  <a:lnTo>
                    <a:pt x="76" y="356"/>
                  </a:lnTo>
                  <a:lnTo>
                    <a:pt x="73" y="353"/>
                  </a:lnTo>
                  <a:lnTo>
                    <a:pt x="70" y="350"/>
                  </a:lnTo>
                  <a:lnTo>
                    <a:pt x="69" y="348"/>
                  </a:lnTo>
                  <a:lnTo>
                    <a:pt x="67" y="346"/>
                  </a:lnTo>
                  <a:lnTo>
                    <a:pt x="65" y="345"/>
                  </a:lnTo>
                  <a:lnTo>
                    <a:pt x="63" y="345"/>
                  </a:lnTo>
                  <a:lnTo>
                    <a:pt x="61" y="344"/>
                  </a:lnTo>
                  <a:lnTo>
                    <a:pt x="57" y="342"/>
                  </a:lnTo>
                  <a:lnTo>
                    <a:pt x="47" y="338"/>
                  </a:lnTo>
                  <a:lnTo>
                    <a:pt x="40" y="335"/>
                  </a:lnTo>
                  <a:lnTo>
                    <a:pt x="37" y="334"/>
                  </a:lnTo>
                  <a:lnTo>
                    <a:pt x="35" y="333"/>
                  </a:lnTo>
                  <a:lnTo>
                    <a:pt x="34" y="333"/>
                  </a:lnTo>
                  <a:lnTo>
                    <a:pt x="32" y="332"/>
                  </a:lnTo>
                  <a:lnTo>
                    <a:pt x="26" y="327"/>
                  </a:lnTo>
                  <a:lnTo>
                    <a:pt x="21" y="323"/>
                  </a:lnTo>
                  <a:lnTo>
                    <a:pt x="18" y="321"/>
                  </a:lnTo>
                  <a:lnTo>
                    <a:pt x="14" y="317"/>
                  </a:lnTo>
                  <a:lnTo>
                    <a:pt x="10" y="313"/>
                  </a:lnTo>
                  <a:lnTo>
                    <a:pt x="6" y="309"/>
                  </a:lnTo>
                  <a:lnTo>
                    <a:pt x="2" y="303"/>
                  </a:lnTo>
                  <a:lnTo>
                    <a:pt x="0" y="300"/>
                  </a:lnTo>
                  <a:lnTo>
                    <a:pt x="2" y="296"/>
                  </a:lnTo>
                  <a:lnTo>
                    <a:pt x="3" y="294"/>
                  </a:lnTo>
                  <a:lnTo>
                    <a:pt x="4" y="293"/>
                  </a:lnTo>
                  <a:lnTo>
                    <a:pt x="5" y="291"/>
                  </a:lnTo>
                  <a:lnTo>
                    <a:pt x="7" y="290"/>
                  </a:lnTo>
                  <a:lnTo>
                    <a:pt x="8" y="288"/>
                  </a:lnTo>
                  <a:lnTo>
                    <a:pt x="10" y="288"/>
                  </a:lnTo>
                  <a:lnTo>
                    <a:pt x="12" y="286"/>
                  </a:lnTo>
                  <a:lnTo>
                    <a:pt x="15" y="285"/>
                  </a:lnTo>
                  <a:lnTo>
                    <a:pt x="18" y="284"/>
                  </a:lnTo>
                  <a:lnTo>
                    <a:pt x="24" y="282"/>
                  </a:lnTo>
                  <a:lnTo>
                    <a:pt x="27" y="281"/>
                  </a:lnTo>
                  <a:lnTo>
                    <a:pt x="28" y="280"/>
                  </a:lnTo>
                  <a:lnTo>
                    <a:pt x="30" y="279"/>
                  </a:lnTo>
                  <a:lnTo>
                    <a:pt x="31" y="277"/>
                  </a:lnTo>
                  <a:lnTo>
                    <a:pt x="33" y="277"/>
                  </a:lnTo>
                  <a:lnTo>
                    <a:pt x="34" y="275"/>
                  </a:lnTo>
                  <a:lnTo>
                    <a:pt x="35" y="273"/>
                  </a:lnTo>
                  <a:lnTo>
                    <a:pt x="36" y="271"/>
                  </a:lnTo>
                  <a:lnTo>
                    <a:pt x="37" y="269"/>
                  </a:lnTo>
                  <a:lnTo>
                    <a:pt x="40" y="260"/>
                  </a:lnTo>
                  <a:lnTo>
                    <a:pt x="44" y="253"/>
                  </a:lnTo>
                  <a:lnTo>
                    <a:pt x="46" y="249"/>
                  </a:lnTo>
                  <a:lnTo>
                    <a:pt x="46" y="246"/>
                  </a:lnTo>
                  <a:lnTo>
                    <a:pt x="47" y="242"/>
                  </a:lnTo>
                  <a:lnTo>
                    <a:pt x="48" y="239"/>
                  </a:lnTo>
                  <a:lnTo>
                    <a:pt x="48" y="237"/>
                  </a:lnTo>
                  <a:lnTo>
                    <a:pt x="48" y="235"/>
                  </a:lnTo>
                  <a:lnTo>
                    <a:pt x="48" y="232"/>
                  </a:lnTo>
                  <a:lnTo>
                    <a:pt x="47" y="220"/>
                  </a:lnTo>
                  <a:lnTo>
                    <a:pt x="46" y="217"/>
                  </a:lnTo>
                  <a:lnTo>
                    <a:pt x="46" y="213"/>
                  </a:lnTo>
                  <a:lnTo>
                    <a:pt x="46" y="210"/>
                  </a:lnTo>
                  <a:lnTo>
                    <a:pt x="45" y="207"/>
                  </a:lnTo>
                  <a:lnTo>
                    <a:pt x="43" y="201"/>
                  </a:lnTo>
                  <a:lnTo>
                    <a:pt x="40" y="196"/>
                  </a:lnTo>
                  <a:lnTo>
                    <a:pt x="35" y="186"/>
                  </a:lnTo>
                  <a:lnTo>
                    <a:pt x="35" y="181"/>
                  </a:lnTo>
                  <a:lnTo>
                    <a:pt x="34" y="177"/>
                  </a:lnTo>
                  <a:lnTo>
                    <a:pt x="33" y="173"/>
                  </a:lnTo>
                  <a:lnTo>
                    <a:pt x="33" y="169"/>
                  </a:lnTo>
                  <a:lnTo>
                    <a:pt x="33" y="165"/>
                  </a:lnTo>
                  <a:lnTo>
                    <a:pt x="33" y="163"/>
                  </a:lnTo>
                  <a:lnTo>
                    <a:pt x="34" y="156"/>
                  </a:lnTo>
                  <a:lnTo>
                    <a:pt x="34" y="152"/>
                  </a:lnTo>
                  <a:lnTo>
                    <a:pt x="34" y="149"/>
                  </a:lnTo>
                  <a:lnTo>
                    <a:pt x="33" y="146"/>
                  </a:lnTo>
                  <a:lnTo>
                    <a:pt x="32" y="139"/>
                  </a:lnTo>
                  <a:lnTo>
                    <a:pt x="32" y="137"/>
                  </a:lnTo>
                  <a:lnTo>
                    <a:pt x="32" y="135"/>
                  </a:lnTo>
                  <a:lnTo>
                    <a:pt x="32" y="132"/>
                  </a:lnTo>
                  <a:lnTo>
                    <a:pt x="32" y="129"/>
                  </a:lnTo>
                  <a:lnTo>
                    <a:pt x="33" y="128"/>
                  </a:lnTo>
                  <a:lnTo>
                    <a:pt x="34" y="126"/>
                  </a:lnTo>
                  <a:lnTo>
                    <a:pt x="35" y="125"/>
                  </a:lnTo>
                  <a:lnTo>
                    <a:pt x="35" y="124"/>
                  </a:lnTo>
                  <a:lnTo>
                    <a:pt x="37" y="123"/>
                  </a:lnTo>
                  <a:lnTo>
                    <a:pt x="38" y="123"/>
                  </a:lnTo>
                  <a:lnTo>
                    <a:pt x="41" y="122"/>
                  </a:lnTo>
                  <a:lnTo>
                    <a:pt x="46" y="122"/>
                  </a:lnTo>
                  <a:lnTo>
                    <a:pt x="51" y="121"/>
                  </a:lnTo>
                  <a:lnTo>
                    <a:pt x="53" y="121"/>
                  </a:lnTo>
                  <a:lnTo>
                    <a:pt x="56" y="121"/>
                  </a:lnTo>
                  <a:lnTo>
                    <a:pt x="58" y="122"/>
                  </a:lnTo>
                  <a:lnTo>
                    <a:pt x="61" y="123"/>
                  </a:lnTo>
                  <a:lnTo>
                    <a:pt x="63" y="124"/>
                  </a:lnTo>
                  <a:lnTo>
                    <a:pt x="65" y="124"/>
                  </a:lnTo>
                  <a:lnTo>
                    <a:pt x="68" y="123"/>
                  </a:lnTo>
                  <a:lnTo>
                    <a:pt x="69" y="123"/>
                  </a:lnTo>
                  <a:lnTo>
                    <a:pt x="71" y="122"/>
                  </a:lnTo>
                  <a:lnTo>
                    <a:pt x="83" y="118"/>
                  </a:lnTo>
                  <a:lnTo>
                    <a:pt x="85" y="118"/>
                  </a:lnTo>
                  <a:lnTo>
                    <a:pt x="88" y="118"/>
                  </a:lnTo>
                  <a:lnTo>
                    <a:pt x="91" y="117"/>
                  </a:lnTo>
                  <a:lnTo>
                    <a:pt x="100" y="116"/>
                  </a:lnTo>
                  <a:lnTo>
                    <a:pt x="117" y="114"/>
                  </a:lnTo>
                  <a:lnTo>
                    <a:pt x="120" y="114"/>
                  </a:lnTo>
                  <a:lnTo>
                    <a:pt x="125" y="112"/>
                  </a:lnTo>
                  <a:lnTo>
                    <a:pt x="127" y="112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3"/>
                  </a:lnTo>
                  <a:lnTo>
                    <a:pt x="148" y="114"/>
                  </a:lnTo>
                  <a:lnTo>
                    <a:pt x="151" y="114"/>
                  </a:lnTo>
                  <a:lnTo>
                    <a:pt x="155" y="114"/>
                  </a:lnTo>
                  <a:lnTo>
                    <a:pt x="162" y="113"/>
                  </a:lnTo>
                  <a:lnTo>
                    <a:pt x="164" y="113"/>
                  </a:lnTo>
                  <a:lnTo>
                    <a:pt x="165" y="113"/>
                  </a:lnTo>
                  <a:lnTo>
                    <a:pt x="176" y="114"/>
                  </a:lnTo>
                  <a:lnTo>
                    <a:pt x="178" y="114"/>
                  </a:lnTo>
                  <a:lnTo>
                    <a:pt x="180" y="115"/>
                  </a:lnTo>
                  <a:lnTo>
                    <a:pt x="182" y="116"/>
                  </a:lnTo>
                  <a:lnTo>
                    <a:pt x="183" y="116"/>
                  </a:lnTo>
                  <a:lnTo>
                    <a:pt x="188" y="120"/>
                  </a:lnTo>
                  <a:lnTo>
                    <a:pt x="194" y="125"/>
                  </a:lnTo>
                  <a:lnTo>
                    <a:pt x="198" y="129"/>
                  </a:lnTo>
                  <a:lnTo>
                    <a:pt x="201" y="130"/>
                  </a:lnTo>
                  <a:lnTo>
                    <a:pt x="202" y="131"/>
                  </a:lnTo>
                  <a:lnTo>
                    <a:pt x="203" y="131"/>
                  </a:lnTo>
                  <a:lnTo>
                    <a:pt x="205" y="131"/>
                  </a:lnTo>
                  <a:lnTo>
                    <a:pt x="206" y="131"/>
                  </a:lnTo>
                  <a:lnTo>
                    <a:pt x="206" y="130"/>
                  </a:lnTo>
                  <a:lnTo>
                    <a:pt x="208" y="129"/>
                  </a:lnTo>
                  <a:lnTo>
                    <a:pt x="209" y="127"/>
                  </a:lnTo>
                  <a:lnTo>
                    <a:pt x="210" y="126"/>
                  </a:lnTo>
                  <a:lnTo>
                    <a:pt x="211" y="124"/>
                  </a:lnTo>
                  <a:lnTo>
                    <a:pt x="211" y="122"/>
                  </a:lnTo>
                  <a:lnTo>
                    <a:pt x="212" y="121"/>
                  </a:lnTo>
                  <a:lnTo>
                    <a:pt x="212" y="120"/>
                  </a:lnTo>
                  <a:lnTo>
                    <a:pt x="212" y="119"/>
                  </a:lnTo>
                  <a:lnTo>
                    <a:pt x="211" y="118"/>
                  </a:lnTo>
                  <a:lnTo>
                    <a:pt x="210" y="116"/>
                  </a:lnTo>
                  <a:lnTo>
                    <a:pt x="210" y="115"/>
                  </a:lnTo>
                  <a:lnTo>
                    <a:pt x="211" y="114"/>
                  </a:lnTo>
                  <a:lnTo>
                    <a:pt x="211" y="113"/>
                  </a:lnTo>
                  <a:lnTo>
                    <a:pt x="211" y="112"/>
                  </a:lnTo>
                  <a:lnTo>
                    <a:pt x="211" y="111"/>
                  </a:lnTo>
                  <a:lnTo>
                    <a:pt x="209" y="107"/>
                  </a:lnTo>
                  <a:lnTo>
                    <a:pt x="206" y="103"/>
                  </a:lnTo>
                  <a:lnTo>
                    <a:pt x="206" y="102"/>
                  </a:lnTo>
                  <a:lnTo>
                    <a:pt x="205" y="100"/>
                  </a:lnTo>
                  <a:lnTo>
                    <a:pt x="204" y="98"/>
                  </a:lnTo>
                  <a:lnTo>
                    <a:pt x="204" y="96"/>
                  </a:lnTo>
                  <a:lnTo>
                    <a:pt x="204" y="94"/>
                  </a:lnTo>
                  <a:lnTo>
                    <a:pt x="203" y="89"/>
                  </a:lnTo>
                  <a:lnTo>
                    <a:pt x="202" y="86"/>
                  </a:lnTo>
                  <a:lnTo>
                    <a:pt x="202" y="84"/>
                  </a:lnTo>
                  <a:lnTo>
                    <a:pt x="203" y="83"/>
                  </a:lnTo>
                  <a:lnTo>
                    <a:pt x="203" y="81"/>
                  </a:lnTo>
                  <a:lnTo>
                    <a:pt x="204" y="78"/>
                  </a:lnTo>
                  <a:lnTo>
                    <a:pt x="204" y="76"/>
                  </a:lnTo>
                  <a:lnTo>
                    <a:pt x="206" y="71"/>
                  </a:lnTo>
                  <a:lnTo>
                    <a:pt x="207" y="70"/>
                  </a:lnTo>
                  <a:lnTo>
                    <a:pt x="209" y="68"/>
                  </a:lnTo>
                  <a:lnTo>
                    <a:pt x="210" y="67"/>
                  </a:lnTo>
                  <a:lnTo>
                    <a:pt x="210" y="66"/>
                  </a:lnTo>
                  <a:lnTo>
                    <a:pt x="211" y="61"/>
                  </a:lnTo>
                  <a:lnTo>
                    <a:pt x="213" y="55"/>
                  </a:lnTo>
                  <a:lnTo>
                    <a:pt x="214" y="53"/>
                  </a:lnTo>
                  <a:lnTo>
                    <a:pt x="215" y="50"/>
                  </a:lnTo>
                  <a:lnTo>
                    <a:pt x="215" y="48"/>
                  </a:lnTo>
                  <a:lnTo>
                    <a:pt x="215" y="43"/>
                  </a:lnTo>
                  <a:lnTo>
                    <a:pt x="215" y="39"/>
                  </a:lnTo>
                  <a:lnTo>
                    <a:pt x="216" y="37"/>
                  </a:lnTo>
                  <a:lnTo>
                    <a:pt x="216" y="35"/>
                  </a:lnTo>
                  <a:lnTo>
                    <a:pt x="217" y="34"/>
                  </a:lnTo>
                  <a:lnTo>
                    <a:pt x="217" y="32"/>
                  </a:lnTo>
                  <a:lnTo>
                    <a:pt x="219" y="27"/>
                  </a:lnTo>
                  <a:lnTo>
                    <a:pt x="220" y="27"/>
                  </a:lnTo>
                  <a:lnTo>
                    <a:pt x="221" y="25"/>
                  </a:lnTo>
                  <a:lnTo>
                    <a:pt x="222" y="20"/>
                  </a:lnTo>
                  <a:lnTo>
                    <a:pt x="223" y="18"/>
                  </a:lnTo>
                  <a:lnTo>
                    <a:pt x="224" y="16"/>
                  </a:lnTo>
                  <a:lnTo>
                    <a:pt x="225" y="14"/>
                  </a:lnTo>
                  <a:lnTo>
                    <a:pt x="227" y="11"/>
                  </a:lnTo>
                  <a:lnTo>
                    <a:pt x="228" y="9"/>
                  </a:lnTo>
                  <a:lnTo>
                    <a:pt x="231" y="6"/>
                  </a:lnTo>
                  <a:lnTo>
                    <a:pt x="234" y="5"/>
                  </a:lnTo>
                  <a:lnTo>
                    <a:pt x="237" y="3"/>
                  </a:lnTo>
                  <a:lnTo>
                    <a:pt x="240" y="1"/>
                  </a:lnTo>
                  <a:lnTo>
                    <a:pt x="240" y="0"/>
                  </a:lnTo>
                  <a:lnTo>
                    <a:pt x="241" y="0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3" name="Freeform 20">
              <a:extLst>
                <a:ext uri="{FF2B5EF4-FFF2-40B4-BE49-F238E27FC236}">
                  <a16:creationId xmlns:a16="http://schemas.microsoft.com/office/drawing/2014/main" id="{200C4C81-22A5-47C4-81B0-E3465E1CD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8" y="3042"/>
              <a:ext cx="750" cy="649"/>
            </a:xfrm>
            <a:custGeom>
              <a:avLst/>
              <a:gdLst>
                <a:gd name="T0" fmla="*/ 273 w 750"/>
                <a:gd name="T1" fmla="*/ 36 h 649"/>
                <a:gd name="T2" fmla="*/ 320 w 750"/>
                <a:gd name="T3" fmla="*/ 33 h 649"/>
                <a:gd name="T4" fmla="*/ 358 w 750"/>
                <a:gd name="T5" fmla="*/ 58 h 649"/>
                <a:gd name="T6" fmla="*/ 355 w 750"/>
                <a:gd name="T7" fmla="*/ 76 h 649"/>
                <a:gd name="T8" fmla="*/ 392 w 750"/>
                <a:gd name="T9" fmla="*/ 99 h 649"/>
                <a:gd name="T10" fmla="*/ 429 w 750"/>
                <a:gd name="T11" fmla="*/ 97 h 649"/>
                <a:gd name="T12" fmla="*/ 480 w 750"/>
                <a:gd name="T13" fmla="*/ 113 h 649"/>
                <a:gd name="T14" fmla="*/ 531 w 750"/>
                <a:gd name="T15" fmla="*/ 109 h 649"/>
                <a:gd name="T16" fmla="*/ 550 w 750"/>
                <a:gd name="T17" fmla="*/ 138 h 649"/>
                <a:gd name="T18" fmla="*/ 570 w 750"/>
                <a:gd name="T19" fmla="*/ 194 h 649"/>
                <a:gd name="T20" fmla="*/ 627 w 750"/>
                <a:gd name="T21" fmla="*/ 217 h 649"/>
                <a:gd name="T22" fmla="*/ 685 w 750"/>
                <a:gd name="T23" fmla="*/ 215 h 649"/>
                <a:gd name="T24" fmla="*/ 718 w 750"/>
                <a:gd name="T25" fmla="*/ 217 h 649"/>
                <a:gd name="T26" fmla="*/ 727 w 750"/>
                <a:gd name="T27" fmla="*/ 241 h 649"/>
                <a:gd name="T28" fmla="*/ 726 w 750"/>
                <a:gd name="T29" fmla="*/ 278 h 649"/>
                <a:gd name="T30" fmla="*/ 702 w 750"/>
                <a:gd name="T31" fmla="*/ 312 h 649"/>
                <a:gd name="T32" fmla="*/ 668 w 750"/>
                <a:gd name="T33" fmla="*/ 363 h 649"/>
                <a:gd name="T34" fmla="*/ 687 w 750"/>
                <a:gd name="T35" fmla="*/ 379 h 649"/>
                <a:gd name="T36" fmla="*/ 727 w 750"/>
                <a:gd name="T37" fmla="*/ 409 h 649"/>
                <a:gd name="T38" fmla="*/ 725 w 750"/>
                <a:gd name="T39" fmla="*/ 437 h 649"/>
                <a:gd name="T40" fmla="*/ 714 w 750"/>
                <a:gd name="T41" fmla="*/ 457 h 649"/>
                <a:gd name="T42" fmla="*/ 678 w 750"/>
                <a:gd name="T43" fmla="*/ 455 h 649"/>
                <a:gd name="T44" fmla="*/ 618 w 750"/>
                <a:gd name="T45" fmla="*/ 422 h 649"/>
                <a:gd name="T46" fmla="*/ 546 w 750"/>
                <a:gd name="T47" fmla="*/ 388 h 649"/>
                <a:gd name="T48" fmla="*/ 502 w 750"/>
                <a:gd name="T49" fmla="*/ 383 h 649"/>
                <a:gd name="T50" fmla="*/ 469 w 750"/>
                <a:gd name="T51" fmla="*/ 417 h 649"/>
                <a:gd name="T52" fmla="*/ 412 w 750"/>
                <a:gd name="T53" fmla="*/ 430 h 649"/>
                <a:gd name="T54" fmla="*/ 400 w 750"/>
                <a:gd name="T55" fmla="*/ 381 h 649"/>
                <a:gd name="T56" fmla="*/ 347 w 750"/>
                <a:gd name="T57" fmla="*/ 368 h 649"/>
                <a:gd name="T58" fmla="*/ 304 w 750"/>
                <a:gd name="T59" fmla="*/ 348 h 649"/>
                <a:gd name="T60" fmla="*/ 278 w 750"/>
                <a:gd name="T61" fmla="*/ 365 h 649"/>
                <a:gd name="T62" fmla="*/ 266 w 750"/>
                <a:gd name="T63" fmla="*/ 429 h 649"/>
                <a:gd name="T64" fmla="*/ 264 w 750"/>
                <a:gd name="T65" fmla="*/ 524 h 649"/>
                <a:gd name="T66" fmla="*/ 249 w 750"/>
                <a:gd name="T67" fmla="*/ 601 h 649"/>
                <a:gd name="T68" fmla="*/ 259 w 750"/>
                <a:gd name="T69" fmla="*/ 640 h 649"/>
                <a:gd name="T70" fmla="*/ 205 w 750"/>
                <a:gd name="T71" fmla="*/ 640 h 649"/>
                <a:gd name="T72" fmla="*/ 190 w 750"/>
                <a:gd name="T73" fmla="*/ 579 h 649"/>
                <a:gd name="T74" fmla="*/ 160 w 750"/>
                <a:gd name="T75" fmla="*/ 547 h 649"/>
                <a:gd name="T76" fmla="*/ 126 w 750"/>
                <a:gd name="T77" fmla="*/ 514 h 649"/>
                <a:gd name="T78" fmla="*/ 100 w 750"/>
                <a:gd name="T79" fmla="*/ 462 h 649"/>
                <a:gd name="T80" fmla="*/ 105 w 750"/>
                <a:gd name="T81" fmla="*/ 437 h 649"/>
                <a:gd name="T82" fmla="*/ 84 w 750"/>
                <a:gd name="T83" fmla="*/ 428 h 649"/>
                <a:gd name="T84" fmla="*/ 71 w 750"/>
                <a:gd name="T85" fmla="*/ 386 h 649"/>
                <a:gd name="T86" fmla="*/ 42 w 750"/>
                <a:gd name="T87" fmla="*/ 364 h 649"/>
                <a:gd name="T88" fmla="*/ 27 w 750"/>
                <a:gd name="T89" fmla="*/ 334 h 649"/>
                <a:gd name="T90" fmla="*/ 32 w 750"/>
                <a:gd name="T91" fmla="*/ 295 h 649"/>
                <a:gd name="T92" fmla="*/ 1 w 750"/>
                <a:gd name="T93" fmla="*/ 278 h 649"/>
                <a:gd name="T94" fmla="*/ 9 w 750"/>
                <a:gd name="T95" fmla="*/ 239 h 649"/>
                <a:gd name="T96" fmla="*/ 34 w 750"/>
                <a:gd name="T97" fmla="*/ 223 h 649"/>
                <a:gd name="T98" fmla="*/ 57 w 750"/>
                <a:gd name="T99" fmla="*/ 196 h 649"/>
                <a:gd name="T100" fmla="*/ 90 w 750"/>
                <a:gd name="T101" fmla="*/ 222 h 649"/>
                <a:gd name="T102" fmla="*/ 129 w 750"/>
                <a:gd name="T103" fmla="*/ 229 h 649"/>
                <a:gd name="T104" fmla="*/ 122 w 750"/>
                <a:gd name="T105" fmla="*/ 210 h 649"/>
                <a:gd name="T106" fmla="*/ 125 w 750"/>
                <a:gd name="T107" fmla="*/ 166 h 649"/>
                <a:gd name="T108" fmla="*/ 104 w 750"/>
                <a:gd name="T109" fmla="*/ 140 h 649"/>
                <a:gd name="T110" fmla="*/ 94 w 750"/>
                <a:gd name="T111" fmla="*/ 101 h 649"/>
                <a:gd name="T112" fmla="*/ 147 w 750"/>
                <a:gd name="T113" fmla="*/ 102 h 649"/>
                <a:gd name="T114" fmla="*/ 186 w 750"/>
                <a:gd name="T115" fmla="*/ 58 h 649"/>
                <a:gd name="T116" fmla="*/ 182 w 750"/>
                <a:gd name="T117" fmla="*/ 18 h 649"/>
                <a:gd name="T118" fmla="*/ 218 w 750"/>
                <a:gd name="T119" fmla="*/ 2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0" h="649">
                  <a:moveTo>
                    <a:pt x="224" y="0"/>
                  </a:moveTo>
                  <a:lnTo>
                    <a:pt x="226" y="2"/>
                  </a:lnTo>
                  <a:lnTo>
                    <a:pt x="229" y="4"/>
                  </a:lnTo>
                  <a:lnTo>
                    <a:pt x="231" y="6"/>
                  </a:lnTo>
                  <a:lnTo>
                    <a:pt x="234" y="7"/>
                  </a:lnTo>
                  <a:lnTo>
                    <a:pt x="236" y="9"/>
                  </a:lnTo>
                  <a:lnTo>
                    <a:pt x="243" y="17"/>
                  </a:lnTo>
                  <a:lnTo>
                    <a:pt x="246" y="19"/>
                  </a:lnTo>
                  <a:lnTo>
                    <a:pt x="258" y="29"/>
                  </a:lnTo>
                  <a:lnTo>
                    <a:pt x="261" y="31"/>
                  </a:lnTo>
                  <a:lnTo>
                    <a:pt x="263" y="33"/>
                  </a:lnTo>
                  <a:lnTo>
                    <a:pt x="264" y="34"/>
                  </a:lnTo>
                  <a:lnTo>
                    <a:pt x="265" y="35"/>
                  </a:lnTo>
                  <a:lnTo>
                    <a:pt x="268" y="36"/>
                  </a:lnTo>
                  <a:lnTo>
                    <a:pt x="270" y="36"/>
                  </a:lnTo>
                  <a:lnTo>
                    <a:pt x="273" y="36"/>
                  </a:lnTo>
                  <a:lnTo>
                    <a:pt x="275" y="35"/>
                  </a:lnTo>
                  <a:lnTo>
                    <a:pt x="276" y="35"/>
                  </a:lnTo>
                  <a:lnTo>
                    <a:pt x="278" y="34"/>
                  </a:lnTo>
                  <a:lnTo>
                    <a:pt x="288" y="29"/>
                  </a:lnTo>
                  <a:lnTo>
                    <a:pt x="292" y="27"/>
                  </a:lnTo>
                  <a:lnTo>
                    <a:pt x="295" y="26"/>
                  </a:lnTo>
                  <a:lnTo>
                    <a:pt x="298" y="25"/>
                  </a:lnTo>
                  <a:lnTo>
                    <a:pt x="300" y="24"/>
                  </a:lnTo>
                  <a:lnTo>
                    <a:pt x="302" y="24"/>
                  </a:lnTo>
                  <a:lnTo>
                    <a:pt x="305" y="24"/>
                  </a:lnTo>
                  <a:lnTo>
                    <a:pt x="307" y="25"/>
                  </a:lnTo>
                  <a:lnTo>
                    <a:pt x="308" y="25"/>
                  </a:lnTo>
                  <a:lnTo>
                    <a:pt x="309" y="26"/>
                  </a:lnTo>
                  <a:lnTo>
                    <a:pt x="312" y="27"/>
                  </a:lnTo>
                  <a:lnTo>
                    <a:pt x="314" y="29"/>
                  </a:lnTo>
                  <a:lnTo>
                    <a:pt x="320" y="33"/>
                  </a:lnTo>
                  <a:lnTo>
                    <a:pt x="323" y="36"/>
                  </a:lnTo>
                  <a:lnTo>
                    <a:pt x="327" y="39"/>
                  </a:lnTo>
                  <a:lnTo>
                    <a:pt x="331" y="40"/>
                  </a:lnTo>
                  <a:lnTo>
                    <a:pt x="332" y="41"/>
                  </a:lnTo>
                  <a:lnTo>
                    <a:pt x="335" y="42"/>
                  </a:lnTo>
                  <a:lnTo>
                    <a:pt x="344" y="46"/>
                  </a:lnTo>
                  <a:lnTo>
                    <a:pt x="348" y="47"/>
                  </a:lnTo>
                  <a:lnTo>
                    <a:pt x="351" y="48"/>
                  </a:lnTo>
                  <a:lnTo>
                    <a:pt x="353" y="50"/>
                  </a:lnTo>
                  <a:lnTo>
                    <a:pt x="355" y="51"/>
                  </a:lnTo>
                  <a:lnTo>
                    <a:pt x="355" y="51"/>
                  </a:lnTo>
                  <a:lnTo>
                    <a:pt x="356" y="52"/>
                  </a:lnTo>
                  <a:lnTo>
                    <a:pt x="357" y="53"/>
                  </a:lnTo>
                  <a:lnTo>
                    <a:pt x="358" y="55"/>
                  </a:lnTo>
                  <a:lnTo>
                    <a:pt x="358" y="56"/>
                  </a:lnTo>
                  <a:lnTo>
                    <a:pt x="358" y="58"/>
                  </a:lnTo>
                  <a:lnTo>
                    <a:pt x="358" y="60"/>
                  </a:lnTo>
                  <a:lnTo>
                    <a:pt x="357" y="62"/>
                  </a:lnTo>
                  <a:lnTo>
                    <a:pt x="357" y="63"/>
                  </a:lnTo>
                  <a:lnTo>
                    <a:pt x="356" y="65"/>
                  </a:lnTo>
                  <a:lnTo>
                    <a:pt x="355" y="66"/>
                  </a:lnTo>
                  <a:lnTo>
                    <a:pt x="355" y="67"/>
                  </a:lnTo>
                  <a:lnTo>
                    <a:pt x="354" y="68"/>
                  </a:lnTo>
                  <a:lnTo>
                    <a:pt x="353" y="69"/>
                  </a:lnTo>
                  <a:lnTo>
                    <a:pt x="349" y="71"/>
                  </a:lnTo>
                  <a:lnTo>
                    <a:pt x="348" y="72"/>
                  </a:lnTo>
                  <a:lnTo>
                    <a:pt x="348" y="73"/>
                  </a:lnTo>
                  <a:lnTo>
                    <a:pt x="349" y="74"/>
                  </a:lnTo>
                  <a:lnTo>
                    <a:pt x="350" y="74"/>
                  </a:lnTo>
                  <a:lnTo>
                    <a:pt x="351" y="75"/>
                  </a:lnTo>
                  <a:lnTo>
                    <a:pt x="353" y="76"/>
                  </a:lnTo>
                  <a:lnTo>
                    <a:pt x="355" y="76"/>
                  </a:lnTo>
                  <a:lnTo>
                    <a:pt x="357" y="77"/>
                  </a:lnTo>
                  <a:lnTo>
                    <a:pt x="359" y="77"/>
                  </a:lnTo>
                  <a:lnTo>
                    <a:pt x="366" y="78"/>
                  </a:lnTo>
                  <a:lnTo>
                    <a:pt x="369" y="79"/>
                  </a:lnTo>
                  <a:lnTo>
                    <a:pt x="371" y="79"/>
                  </a:lnTo>
                  <a:lnTo>
                    <a:pt x="373" y="80"/>
                  </a:lnTo>
                  <a:lnTo>
                    <a:pt x="374" y="80"/>
                  </a:lnTo>
                  <a:lnTo>
                    <a:pt x="376" y="82"/>
                  </a:lnTo>
                  <a:lnTo>
                    <a:pt x="378" y="83"/>
                  </a:lnTo>
                  <a:lnTo>
                    <a:pt x="378" y="84"/>
                  </a:lnTo>
                  <a:lnTo>
                    <a:pt x="380" y="85"/>
                  </a:lnTo>
                  <a:lnTo>
                    <a:pt x="382" y="87"/>
                  </a:lnTo>
                  <a:lnTo>
                    <a:pt x="385" y="90"/>
                  </a:lnTo>
                  <a:lnTo>
                    <a:pt x="389" y="97"/>
                  </a:lnTo>
                  <a:lnTo>
                    <a:pt x="391" y="98"/>
                  </a:lnTo>
                  <a:lnTo>
                    <a:pt x="392" y="99"/>
                  </a:lnTo>
                  <a:lnTo>
                    <a:pt x="394" y="101"/>
                  </a:lnTo>
                  <a:lnTo>
                    <a:pt x="395" y="102"/>
                  </a:lnTo>
                  <a:lnTo>
                    <a:pt x="397" y="103"/>
                  </a:lnTo>
                  <a:lnTo>
                    <a:pt x="399" y="104"/>
                  </a:lnTo>
                  <a:lnTo>
                    <a:pt x="401" y="105"/>
                  </a:lnTo>
                  <a:lnTo>
                    <a:pt x="403" y="105"/>
                  </a:lnTo>
                  <a:lnTo>
                    <a:pt x="405" y="106"/>
                  </a:lnTo>
                  <a:lnTo>
                    <a:pt x="407" y="106"/>
                  </a:lnTo>
                  <a:lnTo>
                    <a:pt x="409" y="106"/>
                  </a:lnTo>
                  <a:lnTo>
                    <a:pt x="410" y="106"/>
                  </a:lnTo>
                  <a:lnTo>
                    <a:pt x="412" y="105"/>
                  </a:lnTo>
                  <a:lnTo>
                    <a:pt x="414" y="104"/>
                  </a:lnTo>
                  <a:lnTo>
                    <a:pt x="417" y="103"/>
                  </a:lnTo>
                  <a:lnTo>
                    <a:pt x="420" y="102"/>
                  </a:lnTo>
                  <a:lnTo>
                    <a:pt x="426" y="98"/>
                  </a:lnTo>
                  <a:lnTo>
                    <a:pt x="429" y="97"/>
                  </a:lnTo>
                  <a:lnTo>
                    <a:pt x="431" y="97"/>
                  </a:lnTo>
                  <a:lnTo>
                    <a:pt x="433" y="96"/>
                  </a:lnTo>
                  <a:lnTo>
                    <a:pt x="434" y="96"/>
                  </a:lnTo>
                  <a:lnTo>
                    <a:pt x="435" y="96"/>
                  </a:lnTo>
                  <a:lnTo>
                    <a:pt x="437" y="97"/>
                  </a:lnTo>
                  <a:lnTo>
                    <a:pt x="440" y="97"/>
                  </a:lnTo>
                  <a:lnTo>
                    <a:pt x="453" y="100"/>
                  </a:lnTo>
                  <a:lnTo>
                    <a:pt x="457" y="101"/>
                  </a:lnTo>
                  <a:lnTo>
                    <a:pt x="467" y="104"/>
                  </a:lnTo>
                  <a:lnTo>
                    <a:pt x="473" y="107"/>
                  </a:lnTo>
                  <a:lnTo>
                    <a:pt x="478" y="108"/>
                  </a:lnTo>
                  <a:lnTo>
                    <a:pt x="480" y="109"/>
                  </a:lnTo>
                  <a:lnTo>
                    <a:pt x="480" y="109"/>
                  </a:lnTo>
                  <a:lnTo>
                    <a:pt x="480" y="110"/>
                  </a:lnTo>
                  <a:lnTo>
                    <a:pt x="480" y="111"/>
                  </a:lnTo>
                  <a:lnTo>
                    <a:pt x="480" y="113"/>
                  </a:lnTo>
                  <a:lnTo>
                    <a:pt x="480" y="113"/>
                  </a:lnTo>
                  <a:lnTo>
                    <a:pt x="480" y="114"/>
                  </a:lnTo>
                  <a:lnTo>
                    <a:pt x="481" y="115"/>
                  </a:lnTo>
                  <a:lnTo>
                    <a:pt x="482" y="115"/>
                  </a:lnTo>
                  <a:lnTo>
                    <a:pt x="483" y="115"/>
                  </a:lnTo>
                  <a:lnTo>
                    <a:pt x="485" y="115"/>
                  </a:lnTo>
                  <a:lnTo>
                    <a:pt x="491" y="115"/>
                  </a:lnTo>
                  <a:lnTo>
                    <a:pt x="495" y="115"/>
                  </a:lnTo>
                  <a:lnTo>
                    <a:pt x="499" y="114"/>
                  </a:lnTo>
                  <a:lnTo>
                    <a:pt x="505" y="112"/>
                  </a:lnTo>
                  <a:lnTo>
                    <a:pt x="509" y="112"/>
                  </a:lnTo>
                  <a:lnTo>
                    <a:pt x="512" y="111"/>
                  </a:lnTo>
                  <a:lnTo>
                    <a:pt x="519" y="111"/>
                  </a:lnTo>
                  <a:lnTo>
                    <a:pt x="526" y="110"/>
                  </a:lnTo>
                  <a:lnTo>
                    <a:pt x="528" y="109"/>
                  </a:lnTo>
                  <a:lnTo>
                    <a:pt x="531" y="109"/>
                  </a:lnTo>
                  <a:lnTo>
                    <a:pt x="533" y="110"/>
                  </a:lnTo>
                  <a:lnTo>
                    <a:pt x="536" y="110"/>
                  </a:lnTo>
                  <a:lnTo>
                    <a:pt x="537" y="111"/>
                  </a:lnTo>
                  <a:lnTo>
                    <a:pt x="539" y="111"/>
                  </a:lnTo>
                  <a:lnTo>
                    <a:pt x="540" y="112"/>
                  </a:lnTo>
                  <a:lnTo>
                    <a:pt x="542" y="113"/>
                  </a:lnTo>
                  <a:lnTo>
                    <a:pt x="543" y="114"/>
                  </a:lnTo>
                  <a:lnTo>
                    <a:pt x="544" y="115"/>
                  </a:lnTo>
                  <a:lnTo>
                    <a:pt x="545" y="117"/>
                  </a:lnTo>
                  <a:lnTo>
                    <a:pt x="546" y="118"/>
                  </a:lnTo>
                  <a:lnTo>
                    <a:pt x="547" y="119"/>
                  </a:lnTo>
                  <a:lnTo>
                    <a:pt x="548" y="122"/>
                  </a:lnTo>
                  <a:lnTo>
                    <a:pt x="548" y="126"/>
                  </a:lnTo>
                  <a:lnTo>
                    <a:pt x="549" y="130"/>
                  </a:lnTo>
                  <a:lnTo>
                    <a:pt x="549" y="133"/>
                  </a:lnTo>
                  <a:lnTo>
                    <a:pt x="550" y="138"/>
                  </a:lnTo>
                  <a:lnTo>
                    <a:pt x="550" y="142"/>
                  </a:lnTo>
                  <a:lnTo>
                    <a:pt x="549" y="147"/>
                  </a:lnTo>
                  <a:lnTo>
                    <a:pt x="548" y="154"/>
                  </a:lnTo>
                  <a:lnTo>
                    <a:pt x="548" y="158"/>
                  </a:lnTo>
                  <a:lnTo>
                    <a:pt x="548" y="163"/>
                  </a:lnTo>
                  <a:lnTo>
                    <a:pt x="548" y="165"/>
                  </a:lnTo>
                  <a:lnTo>
                    <a:pt x="548" y="168"/>
                  </a:lnTo>
                  <a:lnTo>
                    <a:pt x="549" y="170"/>
                  </a:lnTo>
                  <a:lnTo>
                    <a:pt x="550" y="174"/>
                  </a:lnTo>
                  <a:lnTo>
                    <a:pt x="552" y="177"/>
                  </a:lnTo>
                  <a:lnTo>
                    <a:pt x="553" y="179"/>
                  </a:lnTo>
                  <a:lnTo>
                    <a:pt x="555" y="180"/>
                  </a:lnTo>
                  <a:lnTo>
                    <a:pt x="556" y="182"/>
                  </a:lnTo>
                  <a:lnTo>
                    <a:pt x="558" y="184"/>
                  </a:lnTo>
                  <a:lnTo>
                    <a:pt x="563" y="189"/>
                  </a:lnTo>
                  <a:lnTo>
                    <a:pt x="570" y="194"/>
                  </a:lnTo>
                  <a:lnTo>
                    <a:pt x="571" y="195"/>
                  </a:lnTo>
                  <a:lnTo>
                    <a:pt x="578" y="201"/>
                  </a:lnTo>
                  <a:lnTo>
                    <a:pt x="580" y="203"/>
                  </a:lnTo>
                  <a:lnTo>
                    <a:pt x="582" y="205"/>
                  </a:lnTo>
                  <a:lnTo>
                    <a:pt x="585" y="207"/>
                  </a:lnTo>
                  <a:lnTo>
                    <a:pt x="599" y="215"/>
                  </a:lnTo>
                  <a:lnTo>
                    <a:pt x="607" y="219"/>
                  </a:lnTo>
                  <a:lnTo>
                    <a:pt x="608" y="220"/>
                  </a:lnTo>
                  <a:lnTo>
                    <a:pt x="610" y="220"/>
                  </a:lnTo>
                  <a:lnTo>
                    <a:pt x="611" y="220"/>
                  </a:lnTo>
                  <a:lnTo>
                    <a:pt x="613" y="220"/>
                  </a:lnTo>
                  <a:lnTo>
                    <a:pt x="617" y="218"/>
                  </a:lnTo>
                  <a:lnTo>
                    <a:pt x="620" y="217"/>
                  </a:lnTo>
                  <a:lnTo>
                    <a:pt x="622" y="217"/>
                  </a:lnTo>
                  <a:lnTo>
                    <a:pt x="625" y="217"/>
                  </a:lnTo>
                  <a:lnTo>
                    <a:pt x="627" y="217"/>
                  </a:lnTo>
                  <a:lnTo>
                    <a:pt x="628" y="218"/>
                  </a:lnTo>
                  <a:lnTo>
                    <a:pt x="639" y="221"/>
                  </a:lnTo>
                  <a:lnTo>
                    <a:pt x="641" y="221"/>
                  </a:lnTo>
                  <a:lnTo>
                    <a:pt x="644" y="221"/>
                  </a:lnTo>
                  <a:lnTo>
                    <a:pt x="647" y="221"/>
                  </a:lnTo>
                  <a:lnTo>
                    <a:pt x="652" y="221"/>
                  </a:lnTo>
                  <a:lnTo>
                    <a:pt x="656" y="221"/>
                  </a:lnTo>
                  <a:lnTo>
                    <a:pt x="661" y="221"/>
                  </a:lnTo>
                  <a:lnTo>
                    <a:pt x="663" y="221"/>
                  </a:lnTo>
                  <a:lnTo>
                    <a:pt x="665" y="221"/>
                  </a:lnTo>
                  <a:lnTo>
                    <a:pt x="668" y="221"/>
                  </a:lnTo>
                  <a:lnTo>
                    <a:pt x="670" y="221"/>
                  </a:lnTo>
                  <a:lnTo>
                    <a:pt x="673" y="220"/>
                  </a:lnTo>
                  <a:lnTo>
                    <a:pt x="679" y="217"/>
                  </a:lnTo>
                  <a:lnTo>
                    <a:pt x="683" y="216"/>
                  </a:lnTo>
                  <a:lnTo>
                    <a:pt x="685" y="215"/>
                  </a:lnTo>
                  <a:lnTo>
                    <a:pt x="692" y="214"/>
                  </a:lnTo>
                  <a:lnTo>
                    <a:pt x="695" y="213"/>
                  </a:lnTo>
                  <a:lnTo>
                    <a:pt x="696" y="212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3" y="210"/>
                  </a:lnTo>
                  <a:lnTo>
                    <a:pt x="705" y="210"/>
                  </a:lnTo>
                  <a:lnTo>
                    <a:pt x="706" y="210"/>
                  </a:lnTo>
                  <a:lnTo>
                    <a:pt x="707" y="210"/>
                  </a:lnTo>
                  <a:lnTo>
                    <a:pt x="708" y="210"/>
                  </a:lnTo>
                  <a:lnTo>
                    <a:pt x="709" y="211"/>
                  </a:lnTo>
                  <a:lnTo>
                    <a:pt x="712" y="213"/>
                  </a:lnTo>
                  <a:lnTo>
                    <a:pt x="716" y="215"/>
                  </a:lnTo>
                  <a:lnTo>
                    <a:pt x="717" y="216"/>
                  </a:lnTo>
                  <a:lnTo>
                    <a:pt x="717" y="217"/>
                  </a:lnTo>
                  <a:lnTo>
                    <a:pt x="718" y="217"/>
                  </a:lnTo>
                  <a:lnTo>
                    <a:pt x="719" y="218"/>
                  </a:lnTo>
                  <a:lnTo>
                    <a:pt x="719" y="219"/>
                  </a:lnTo>
                  <a:lnTo>
                    <a:pt x="719" y="221"/>
                  </a:lnTo>
                  <a:lnTo>
                    <a:pt x="719" y="221"/>
                  </a:lnTo>
                  <a:lnTo>
                    <a:pt x="719" y="223"/>
                  </a:lnTo>
                  <a:lnTo>
                    <a:pt x="719" y="224"/>
                  </a:lnTo>
                  <a:lnTo>
                    <a:pt x="718" y="228"/>
                  </a:lnTo>
                  <a:lnTo>
                    <a:pt x="718" y="229"/>
                  </a:lnTo>
                  <a:lnTo>
                    <a:pt x="718" y="230"/>
                  </a:lnTo>
                  <a:lnTo>
                    <a:pt x="718" y="231"/>
                  </a:lnTo>
                  <a:lnTo>
                    <a:pt x="718" y="233"/>
                  </a:lnTo>
                  <a:lnTo>
                    <a:pt x="719" y="233"/>
                  </a:lnTo>
                  <a:lnTo>
                    <a:pt x="719" y="234"/>
                  </a:lnTo>
                  <a:lnTo>
                    <a:pt x="721" y="237"/>
                  </a:lnTo>
                  <a:lnTo>
                    <a:pt x="724" y="239"/>
                  </a:lnTo>
                  <a:lnTo>
                    <a:pt x="727" y="241"/>
                  </a:lnTo>
                  <a:lnTo>
                    <a:pt x="732" y="244"/>
                  </a:lnTo>
                  <a:lnTo>
                    <a:pt x="734" y="246"/>
                  </a:lnTo>
                  <a:lnTo>
                    <a:pt x="736" y="247"/>
                  </a:lnTo>
                  <a:lnTo>
                    <a:pt x="739" y="250"/>
                  </a:lnTo>
                  <a:lnTo>
                    <a:pt x="743" y="256"/>
                  </a:lnTo>
                  <a:lnTo>
                    <a:pt x="749" y="262"/>
                  </a:lnTo>
                  <a:lnTo>
                    <a:pt x="750" y="263"/>
                  </a:lnTo>
                  <a:lnTo>
                    <a:pt x="749" y="264"/>
                  </a:lnTo>
                  <a:lnTo>
                    <a:pt x="748" y="265"/>
                  </a:lnTo>
                  <a:lnTo>
                    <a:pt x="745" y="268"/>
                  </a:lnTo>
                  <a:lnTo>
                    <a:pt x="743" y="270"/>
                  </a:lnTo>
                  <a:lnTo>
                    <a:pt x="741" y="272"/>
                  </a:lnTo>
                  <a:lnTo>
                    <a:pt x="739" y="274"/>
                  </a:lnTo>
                  <a:lnTo>
                    <a:pt x="735" y="276"/>
                  </a:lnTo>
                  <a:lnTo>
                    <a:pt x="730" y="277"/>
                  </a:lnTo>
                  <a:lnTo>
                    <a:pt x="726" y="278"/>
                  </a:lnTo>
                  <a:lnTo>
                    <a:pt x="720" y="279"/>
                  </a:lnTo>
                  <a:lnTo>
                    <a:pt x="719" y="280"/>
                  </a:lnTo>
                  <a:lnTo>
                    <a:pt x="717" y="280"/>
                  </a:lnTo>
                  <a:lnTo>
                    <a:pt x="716" y="281"/>
                  </a:lnTo>
                  <a:lnTo>
                    <a:pt x="715" y="282"/>
                  </a:lnTo>
                  <a:lnTo>
                    <a:pt x="714" y="283"/>
                  </a:lnTo>
                  <a:lnTo>
                    <a:pt x="713" y="285"/>
                  </a:lnTo>
                  <a:lnTo>
                    <a:pt x="710" y="289"/>
                  </a:lnTo>
                  <a:lnTo>
                    <a:pt x="707" y="294"/>
                  </a:lnTo>
                  <a:lnTo>
                    <a:pt x="707" y="296"/>
                  </a:lnTo>
                  <a:lnTo>
                    <a:pt x="707" y="298"/>
                  </a:lnTo>
                  <a:lnTo>
                    <a:pt x="706" y="300"/>
                  </a:lnTo>
                  <a:lnTo>
                    <a:pt x="704" y="307"/>
                  </a:lnTo>
                  <a:lnTo>
                    <a:pt x="704" y="310"/>
                  </a:lnTo>
                  <a:lnTo>
                    <a:pt x="703" y="311"/>
                  </a:lnTo>
                  <a:lnTo>
                    <a:pt x="702" y="312"/>
                  </a:lnTo>
                  <a:lnTo>
                    <a:pt x="701" y="314"/>
                  </a:lnTo>
                  <a:lnTo>
                    <a:pt x="696" y="321"/>
                  </a:lnTo>
                  <a:lnTo>
                    <a:pt x="696" y="323"/>
                  </a:lnTo>
                  <a:lnTo>
                    <a:pt x="695" y="325"/>
                  </a:lnTo>
                  <a:lnTo>
                    <a:pt x="693" y="331"/>
                  </a:lnTo>
                  <a:lnTo>
                    <a:pt x="692" y="334"/>
                  </a:lnTo>
                  <a:lnTo>
                    <a:pt x="691" y="335"/>
                  </a:lnTo>
                  <a:lnTo>
                    <a:pt x="690" y="337"/>
                  </a:lnTo>
                  <a:lnTo>
                    <a:pt x="688" y="339"/>
                  </a:lnTo>
                  <a:lnTo>
                    <a:pt x="682" y="346"/>
                  </a:lnTo>
                  <a:lnTo>
                    <a:pt x="678" y="349"/>
                  </a:lnTo>
                  <a:lnTo>
                    <a:pt x="677" y="351"/>
                  </a:lnTo>
                  <a:lnTo>
                    <a:pt x="673" y="354"/>
                  </a:lnTo>
                  <a:lnTo>
                    <a:pt x="671" y="357"/>
                  </a:lnTo>
                  <a:lnTo>
                    <a:pt x="669" y="361"/>
                  </a:lnTo>
                  <a:lnTo>
                    <a:pt x="668" y="363"/>
                  </a:lnTo>
                  <a:lnTo>
                    <a:pt x="667" y="365"/>
                  </a:lnTo>
                  <a:lnTo>
                    <a:pt x="667" y="368"/>
                  </a:lnTo>
                  <a:lnTo>
                    <a:pt x="667" y="369"/>
                  </a:lnTo>
                  <a:lnTo>
                    <a:pt x="667" y="370"/>
                  </a:lnTo>
                  <a:lnTo>
                    <a:pt x="668" y="371"/>
                  </a:lnTo>
                  <a:lnTo>
                    <a:pt x="669" y="372"/>
                  </a:lnTo>
                  <a:lnTo>
                    <a:pt x="670" y="372"/>
                  </a:lnTo>
                  <a:lnTo>
                    <a:pt x="672" y="372"/>
                  </a:lnTo>
                  <a:lnTo>
                    <a:pt x="676" y="373"/>
                  </a:lnTo>
                  <a:lnTo>
                    <a:pt x="679" y="373"/>
                  </a:lnTo>
                  <a:lnTo>
                    <a:pt x="680" y="374"/>
                  </a:lnTo>
                  <a:lnTo>
                    <a:pt x="682" y="374"/>
                  </a:lnTo>
                  <a:lnTo>
                    <a:pt x="683" y="375"/>
                  </a:lnTo>
                  <a:lnTo>
                    <a:pt x="685" y="376"/>
                  </a:lnTo>
                  <a:lnTo>
                    <a:pt x="686" y="377"/>
                  </a:lnTo>
                  <a:lnTo>
                    <a:pt x="687" y="379"/>
                  </a:lnTo>
                  <a:lnTo>
                    <a:pt x="688" y="380"/>
                  </a:lnTo>
                  <a:lnTo>
                    <a:pt x="692" y="386"/>
                  </a:lnTo>
                  <a:lnTo>
                    <a:pt x="693" y="388"/>
                  </a:lnTo>
                  <a:lnTo>
                    <a:pt x="695" y="390"/>
                  </a:lnTo>
                  <a:lnTo>
                    <a:pt x="696" y="391"/>
                  </a:lnTo>
                  <a:lnTo>
                    <a:pt x="698" y="393"/>
                  </a:lnTo>
                  <a:lnTo>
                    <a:pt x="701" y="395"/>
                  </a:lnTo>
                  <a:lnTo>
                    <a:pt x="705" y="396"/>
                  </a:lnTo>
                  <a:lnTo>
                    <a:pt x="711" y="399"/>
                  </a:lnTo>
                  <a:lnTo>
                    <a:pt x="713" y="401"/>
                  </a:lnTo>
                  <a:lnTo>
                    <a:pt x="716" y="402"/>
                  </a:lnTo>
                  <a:lnTo>
                    <a:pt x="719" y="403"/>
                  </a:lnTo>
                  <a:lnTo>
                    <a:pt x="720" y="404"/>
                  </a:lnTo>
                  <a:lnTo>
                    <a:pt x="723" y="406"/>
                  </a:lnTo>
                  <a:lnTo>
                    <a:pt x="725" y="408"/>
                  </a:lnTo>
                  <a:lnTo>
                    <a:pt x="727" y="409"/>
                  </a:lnTo>
                  <a:lnTo>
                    <a:pt x="728" y="411"/>
                  </a:lnTo>
                  <a:lnTo>
                    <a:pt x="730" y="413"/>
                  </a:lnTo>
                  <a:lnTo>
                    <a:pt x="730" y="414"/>
                  </a:lnTo>
                  <a:lnTo>
                    <a:pt x="733" y="418"/>
                  </a:lnTo>
                  <a:lnTo>
                    <a:pt x="737" y="425"/>
                  </a:lnTo>
                  <a:lnTo>
                    <a:pt x="738" y="427"/>
                  </a:lnTo>
                  <a:lnTo>
                    <a:pt x="739" y="428"/>
                  </a:lnTo>
                  <a:lnTo>
                    <a:pt x="738" y="430"/>
                  </a:lnTo>
                  <a:lnTo>
                    <a:pt x="734" y="434"/>
                  </a:lnTo>
                  <a:lnTo>
                    <a:pt x="733" y="435"/>
                  </a:lnTo>
                  <a:lnTo>
                    <a:pt x="732" y="435"/>
                  </a:lnTo>
                  <a:lnTo>
                    <a:pt x="731" y="436"/>
                  </a:lnTo>
                  <a:lnTo>
                    <a:pt x="730" y="436"/>
                  </a:lnTo>
                  <a:lnTo>
                    <a:pt x="727" y="437"/>
                  </a:lnTo>
                  <a:lnTo>
                    <a:pt x="726" y="437"/>
                  </a:lnTo>
                  <a:lnTo>
                    <a:pt x="725" y="437"/>
                  </a:lnTo>
                  <a:lnTo>
                    <a:pt x="725" y="440"/>
                  </a:lnTo>
                  <a:lnTo>
                    <a:pt x="725" y="441"/>
                  </a:lnTo>
                  <a:lnTo>
                    <a:pt x="724" y="444"/>
                  </a:lnTo>
                  <a:lnTo>
                    <a:pt x="723" y="445"/>
                  </a:lnTo>
                  <a:lnTo>
                    <a:pt x="720" y="448"/>
                  </a:lnTo>
                  <a:lnTo>
                    <a:pt x="720" y="448"/>
                  </a:lnTo>
                  <a:lnTo>
                    <a:pt x="720" y="449"/>
                  </a:lnTo>
                  <a:lnTo>
                    <a:pt x="720" y="450"/>
                  </a:lnTo>
                  <a:lnTo>
                    <a:pt x="721" y="451"/>
                  </a:lnTo>
                  <a:lnTo>
                    <a:pt x="722" y="451"/>
                  </a:lnTo>
                  <a:lnTo>
                    <a:pt x="721" y="451"/>
                  </a:lnTo>
                  <a:lnTo>
                    <a:pt x="721" y="452"/>
                  </a:lnTo>
                  <a:lnTo>
                    <a:pt x="719" y="453"/>
                  </a:lnTo>
                  <a:lnTo>
                    <a:pt x="717" y="455"/>
                  </a:lnTo>
                  <a:lnTo>
                    <a:pt x="716" y="456"/>
                  </a:lnTo>
                  <a:lnTo>
                    <a:pt x="714" y="457"/>
                  </a:lnTo>
                  <a:lnTo>
                    <a:pt x="712" y="457"/>
                  </a:lnTo>
                  <a:lnTo>
                    <a:pt x="712" y="458"/>
                  </a:lnTo>
                  <a:lnTo>
                    <a:pt x="711" y="459"/>
                  </a:lnTo>
                  <a:lnTo>
                    <a:pt x="710" y="460"/>
                  </a:lnTo>
                  <a:lnTo>
                    <a:pt x="707" y="470"/>
                  </a:lnTo>
                  <a:lnTo>
                    <a:pt x="705" y="472"/>
                  </a:lnTo>
                  <a:lnTo>
                    <a:pt x="705" y="475"/>
                  </a:lnTo>
                  <a:lnTo>
                    <a:pt x="704" y="475"/>
                  </a:lnTo>
                  <a:lnTo>
                    <a:pt x="702" y="474"/>
                  </a:lnTo>
                  <a:lnTo>
                    <a:pt x="699" y="473"/>
                  </a:lnTo>
                  <a:lnTo>
                    <a:pt x="696" y="471"/>
                  </a:lnTo>
                  <a:lnTo>
                    <a:pt x="693" y="469"/>
                  </a:lnTo>
                  <a:lnTo>
                    <a:pt x="688" y="466"/>
                  </a:lnTo>
                  <a:lnTo>
                    <a:pt x="685" y="462"/>
                  </a:lnTo>
                  <a:lnTo>
                    <a:pt x="682" y="459"/>
                  </a:lnTo>
                  <a:lnTo>
                    <a:pt x="678" y="455"/>
                  </a:lnTo>
                  <a:lnTo>
                    <a:pt x="672" y="446"/>
                  </a:lnTo>
                  <a:lnTo>
                    <a:pt x="668" y="442"/>
                  </a:lnTo>
                  <a:lnTo>
                    <a:pt x="666" y="440"/>
                  </a:lnTo>
                  <a:lnTo>
                    <a:pt x="663" y="437"/>
                  </a:lnTo>
                  <a:lnTo>
                    <a:pt x="661" y="436"/>
                  </a:lnTo>
                  <a:lnTo>
                    <a:pt x="657" y="434"/>
                  </a:lnTo>
                  <a:lnTo>
                    <a:pt x="654" y="432"/>
                  </a:lnTo>
                  <a:lnTo>
                    <a:pt x="651" y="431"/>
                  </a:lnTo>
                  <a:lnTo>
                    <a:pt x="649" y="430"/>
                  </a:lnTo>
                  <a:lnTo>
                    <a:pt x="647" y="429"/>
                  </a:lnTo>
                  <a:lnTo>
                    <a:pt x="643" y="428"/>
                  </a:lnTo>
                  <a:lnTo>
                    <a:pt x="638" y="427"/>
                  </a:lnTo>
                  <a:lnTo>
                    <a:pt x="635" y="426"/>
                  </a:lnTo>
                  <a:lnTo>
                    <a:pt x="624" y="424"/>
                  </a:lnTo>
                  <a:lnTo>
                    <a:pt x="621" y="423"/>
                  </a:lnTo>
                  <a:lnTo>
                    <a:pt x="618" y="422"/>
                  </a:lnTo>
                  <a:lnTo>
                    <a:pt x="615" y="421"/>
                  </a:lnTo>
                  <a:lnTo>
                    <a:pt x="612" y="420"/>
                  </a:lnTo>
                  <a:lnTo>
                    <a:pt x="609" y="418"/>
                  </a:lnTo>
                  <a:lnTo>
                    <a:pt x="606" y="417"/>
                  </a:lnTo>
                  <a:lnTo>
                    <a:pt x="601" y="414"/>
                  </a:lnTo>
                  <a:lnTo>
                    <a:pt x="591" y="407"/>
                  </a:lnTo>
                  <a:lnTo>
                    <a:pt x="581" y="400"/>
                  </a:lnTo>
                  <a:lnTo>
                    <a:pt x="577" y="397"/>
                  </a:lnTo>
                  <a:lnTo>
                    <a:pt x="573" y="395"/>
                  </a:lnTo>
                  <a:lnTo>
                    <a:pt x="569" y="392"/>
                  </a:lnTo>
                  <a:lnTo>
                    <a:pt x="564" y="391"/>
                  </a:lnTo>
                  <a:lnTo>
                    <a:pt x="560" y="390"/>
                  </a:lnTo>
                  <a:lnTo>
                    <a:pt x="557" y="389"/>
                  </a:lnTo>
                  <a:lnTo>
                    <a:pt x="554" y="388"/>
                  </a:lnTo>
                  <a:lnTo>
                    <a:pt x="550" y="388"/>
                  </a:lnTo>
                  <a:lnTo>
                    <a:pt x="546" y="388"/>
                  </a:lnTo>
                  <a:lnTo>
                    <a:pt x="541" y="388"/>
                  </a:lnTo>
                  <a:lnTo>
                    <a:pt x="535" y="389"/>
                  </a:lnTo>
                  <a:lnTo>
                    <a:pt x="532" y="389"/>
                  </a:lnTo>
                  <a:lnTo>
                    <a:pt x="529" y="389"/>
                  </a:lnTo>
                  <a:lnTo>
                    <a:pt x="526" y="389"/>
                  </a:lnTo>
                  <a:lnTo>
                    <a:pt x="521" y="388"/>
                  </a:lnTo>
                  <a:lnTo>
                    <a:pt x="519" y="387"/>
                  </a:lnTo>
                  <a:lnTo>
                    <a:pt x="517" y="387"/>
                  </a:lnTo>
                  <a:lnTo>
                    <a:pt x="514" y="385"/>
                  </a:lnTo>
                  <a:lnTo>
                    <a:pt x="509" y="382"/>
                  </a:lnTo>
                  <a:lnTo>
                    <a:pt x="506" y="382"/>
                  </a:lnTo>
                  <a:lnTo>
                    <a:pt x="505" y="381"/>
                  </a:lnTo>
                  <a:lnTo>
                    <a:pt x="504" y="381"/>
                  </a:lnTo>
                  <a:lnTo>
                    <a:pt x="503" y="381"/>
                  </a:lnTo>
                  <a:lnTo>
                    <a:pt x="503" y="382"/>
                  </a:lnTo>
                  <a:lnTo>
                    <a:pt x="502" y="383"/>
                  </a:lnTo>
                  <a:lnTo>
                    <a:pt x="501" y="384"/>
                  </a:lnTo>
                  <a:lnTo>
                    <a:pt x="500" y="385"/>
                  </a:lnTo>
                  <a:lnTo>
                    <a:pt x="499" y="387"/>
                  </a:lnTo>
                  <a:lnTo>
                    <a:pt x="497" y="394"/>
                  </a:lnTo>
                  <a:lnTo>
                    <a:pt x="495" y="398"/>
                  </a:lnTo>
                  <a:lnTo>
                    <a:pt x="493" y="403"/>
                  </a:lnTo>
                  <a:lnTo>
                    <a:pt x="490" y="409"/>
                  </a:lnTo>
                  <a:lnTo>
                    <a:pt x="488" y="411"/>
                  </a:lnTo>
                  <a:lnTo>
                    <a:pt x="487" y="413"/>
                  </a:lnTo>
                  <a:lnTo>
                    <a:pt x="485" y="414"/>
                  </a:lnTo>
                  <a:lnTo>
                    <a:pt x="483" y="415"/>
                  </a:lnTo>
                  <a:lnTo>
                    <a:pt x="482" y="415"/>
                  </a:lnTo>
                  <a:lnTo>
                    <a:pt x="481" y="416"/>
                  </a:lnTo>
                  <a:lnTo>
                    <a:pt x="479" y="416"/>
                  </a:lnTo>
                  <a:lnTo>
                    <a:pt x="476" y="417"/>
                  </a:lnTo>
                  <a:lnTo>
                    <a:pt x="469" y="417"/>
                  </a:lnTo>
                  <a:lnTo>
                    <a:pt x="462" y="418"/>
                  </a:lnTo>
                  <a:lnTo>
                    <a:pt x="458" y="418"/>
                  </a:lnTo>
                  <a:lnTo>
                    <a:pt x="455" y="419"/>
                  </a:lnTo>
                  <a:lnTo>
                    <a:pt x="450" y="420"/>
                  </a:lnTo>
                  <a:lnTo>
                    <a:pt x="446" y="422"/>
                  </a:lnTo>
                  <a:lnTo>
                    <a:pt x="441" y="424"/>
                  </a:lnTo>
                  <a:lnTo>
                    <a:pt x="433" y="428"/>
                  </a:lnTo>
                  <a:lnTo>
                    <a:pt x="430" y="429"/>
                  </a:lnTo>
                  <a:lnTo>
                    <a:pt x="428" y="430"/>
                  </a:lnTo>
                  <a:lnTo>
                    <a:pt x="426" y="430"/>
                  </a:lnTo>
                  <a:lnTo>
                    <a:pt x="424" y="431"/>
                  </a:lnTo>
                  <a:lnTo>
                    <a:pt x="419" y="432"/>
                  </a:lnTo>
                  <a:lnTo>
                    <a:pt x="415" y="432"/>
                  </a:lnTo>
                  <a:lnTo>
                    <a:pt x="414" y="431"/>
                  </a:lnTo>
                  <a:lnTo>
                    <a:pt x="413" y="431"/>
                  </a:lnTo>
                  <a:lnTo>
                    <a:pt x="412" y="430"/>
                  </a:lnTo>
                  <a:lnTo>
                    <a:pt x="411" y="430"/>
                  </a:lnTo>
                  <a:lnTo>
                    <a:pt x="411" y="429"/>
                  </a:lnTo>
                  <a:lnTo>
                    <a:pt x="410" y="428"/>
                  </a:lnTo>
                  <a:lnTo>
                    <a:pt x="409" y="426"/>
                  </a:lnTo>
                  <a:lnTo>
                    <a:pt x="409" y="425"/>
                  </a:lnTo>
                  <a:lnTo>
                    <a:pt x="409" y="423"/>
                  </a:lnTo>
                  <a:lnTo>
                    <a:pt x="409" y="414"/>
                  </a:lnTo>
                  <a:lnTo>
                    <a:pt x="409" y="412"/>
                  </a:lnTo>
                  <a:lnTo>
                    <a:pt x="409" y="409"/>
                  </a:lnTo>
                  <a:lnTo>
                    <a:pt x="409" y="407"/>
                  </a:lnTo>
                  <a:lnTo>
                    <a:pt x="408" y="404"/>
                  </a:lnTo>
                  <a:lnTo>
                    <a:pt x="407" y="399"/>
                  </a:lnTo>
                  <a:lnTo>
                    <a:pt x="406" y="396"/>
                  </a:lnTo>
                  <a:lnTo>
                    <a:pt x="403" y="390"/>
                  </a:lnTo>
                  <a:lnTo>
                    <a:pt x="401" y="384"/>
                  </a:lnTo>
                  <a:lnTo>
                    <a:pt x="400" y="381"/>
                  </a:lnTo>
                  <a:lnTo>
                    <a:pt x="400" y="380"/>
                  </a:lnTo>
                  <a:lnTo>
                    <a:pt x="398" y="378"/>
                  </a:lnTo>
                  <a:lnTo>
                    <a:pt x="397" y="377"/>
                  </a:lnTo>
                  <a:lnTo>
                    <a:pt x="395" y="375"/>
                  </a:lnTo>
                  <a:lnTo>
                    <a:pt x="392" y="374"/>
                  </a:lnTo>
                  <a:lnTo>
                    <a:pt x="389" y="372"/>
                  </a:lnTo>
                  <a:lnTo>
                    <a:pt x="386" y="371"/>
                  </a:lnTo>
                  <a:lnTo>
                    <a:pt x="383" y="370"/>
                  </a:lnTo>
                  <a:lnTo>
                    <a:pt x="378" y="370"/>
                  </a:lnTo>
                  <a:lnTo>
                    <a:pt x="373" y="369"/>
                  </a:lnTo>
                  <a:lnTo>
                    <a:pt x="368" y="369"/>
                  </a:lnTo>
                  <a:lnTo>
                    <a:pt x="362" y="369"/>
                  </a:lnTo>
                  <a:lnTo>
                    <a:pt x="358" y="369"/>
                  </a:lnTo>
                  <a:lnTo>
                    <a:pt x="354" y="369"/>
                  </a:lnTo>
                  <a:lnTo>
                    <a:pt x="350" y="369"/>
                  </a:lnTo>
                  <a:lnTo>
                    <a:pt x="347" y="368"/>
                  </a:lnTo>
                  <a:lnTo>
                    <a:pt x="344" y="367"/>
                  </a:lnTo>
                  <a:lnTo>
                    <a:pt x="343" y="366"/>
                  </a:lnTo>
                  <a:lnTo>
                    <a:pt x="341" y="365"/>
                  </a:lnTo>
                  <a:lnTo>
                    <a:pt x="339" y="364"/>
                  </a:lnTo>
                  <a:lnTo>
                    <a:pt x="337" y="363"/>
                  </a:lnTo>
                  <a:lnTo>
                    <a:pt x="335" y="362"/>
                  </a:lnTo>
                  <a:lnTo>
                    <a:pt x="331" y="357"/>
                  </a:lnTo>
                  <a:lnTo>
                    <a:pt x="329" y="356"/>
                  </a:lnTo>
                  <a:lnTo>
                    <a:pt x="327" y="355"/>
                  </a:lnTo>
                  <a:lnTo>
                    <a:pt x="326" y="354"/>
                  </a:lnTo>
                  <a:lnTo>
                    <a:pt x="324" y="353"/>
                  </a:lnTo>
                  <a:lnTo>
                    <a:pt x="322" y="353"/>
                  </a:lnTo>
                  <a:lnTo>
                    <a:pt x="321" y="352"/>
                  </a:lnTo>
                  <a:lnTo>
                    <a:pt x="319" y="351"/>
                  </a:lnTo>
                  <a:lnTo>
                    <a:pt x="312" y="350"/>
                  </a:lnTo>
                  <a:lnTo>
                    <a:pt x="304" y="348"/>
                  </a:lnTo>
                  <a:lnTo>
                    <a:pt x="300" y="348"/>
                  </a:lnTo>
                  <a:lnTo>
                    <a:pt x="298" y="348"/>
                  </a:lnTo>
                  <a:lnTo>
                    <a:pt x="297" y="348"/>
                  </a:lnTo>
                  <a:lnTo>
                    <a:pt x="294" y="348"/>
                  </a:lnTo>
                  <a:lnTo>
                    <a:pt x="292" y="349"/>
                  </a:lnTo>
                  <a:lnTo>
                    <a:pt x="290" y="350"/>
                  </a:lnTo>
                  <a:lnTo>
                    <a:pt x="287" y="351"/>
                  </a:lnTo>
                  <a:lnTo>
                    <a:pt x="286" y="352"/>
                  </a:lnTo>
                  <a:lnTo>
                    <a:pt x="284" y="353"/>
                  </a:lnTo>
                  <a:lnTo>
                    <a:pt x="283" y="354"/>
                  </a:lnTo>
                  <a:lnTo>
                    <a:pt x="282" y="355"/>
                  </a:lnTo>
                  <a:lnTo>
                    <a:pt x="281" y="356"/>
                  </a:lnTo>
                  <a:lnTo>
                    <a:pt x="280" y="357"/>
                  </a:lnTo>
                  <a:lnTo>
                    <a:pt x="279" y="358"/>
                  </a:lnTo>
                  <a:lnTo>
                    <a:pt x="279" y="359"/>
                  </a:lnTo>
                  <a:lnTo>
                    <a:pt x="278" y="365"/>
                  </a:lnTo>
                  <a:lnTo>
                    <a:pt x="277" y="368"/>
                  </a:lnTo>
                  <a:lnTo>
                    <a:pt x="276" y="371"/>
                  </a:lnTo>
                  <a:lnTo>
                    <a:pt x="275" y="374"/>
                  </a:lnTo>
                  <a:lnTo>
                    <a:pt x="274" y="378"/>
                  </a:lnTo>
                  <a:lnTo>
                    <a:pt x="270" y="386"/>
                  </a:lnTo>
                  <a:lnTo>
                    <a:pt x="268" y="388"/>
                  </a:lnTo>
                  <a:lnTo>
                    <a:pt x="267" y="391"/>
                  </a:lnTo>
                  <a:lnTo>
                    <a:pt x="266" y="394"/>
                  </a:lnTo>
                  <a:lnTo>
                    <a:pt x="266" y="397"/>
                  </a:lnTo>
                  <a:lnTo>
                    <a:pt x="265" y="400"/>
                  </a:lnTo>
                  <a:lnTo>
                    <a:pt x="265" y="403"/>
                  </a:lnTo>
                  <a:lnTo>
                    <a:pt x="264" y="406"/>
                  </a:lnTo>
                  <a:lnTo>
                    <a:pt x="264" y="411"/>
                  </a:lnTo>
                  <a:lnTo>
                    <a:pt x="264" y="416"/>
                  </a:lnTo>
                  <a:lnTo>
                    <a:pt x="265" y="421"/>
                  </a:lnTo>
                  <a:lnTo>
                    <a:pt x="266" y="429"/>
                  </a:lnTo>
                  <a:lnTo>
                    <a:pt x="268" y="440"/>
                  </a:lnTo>
                  <a:lnTo>
                    <a:pt x="268" y="449"/>
                  </a:lnTo>
                  <a:lnTo>
                    <a:pt x="269" y="452"/>
                  </a:lnTo>
                  <a:lnTo>
                    <a:pt x="272" y="467"/>
                  </a:lnTo>
                  <a:lnTo>
                    <a:pt x="273" y="471"/>
                  </a:lnTo>
                  <a:lnTo>
                    <a:pt x="273" y="475"/>
                  </a:lnTo>
                  <a:lnTo>
                    <a:pt x="273" y="479"/>
                  </a:lnTo>
                  <a:lnTo>
                    <a:pt x="273" y="482"/>
                  </a:lnTo>
                  <a:lnTo>
                    <a:pt x="273" y="484"/>
                  </a:lnTo>
                  <a:lnTo>
                    <a:pt x="272" y="489"/>
                  </a:lnTo>
                  <a:lnTo>
                    <a:pt x="271" y="495"/>
                  </a:lnTo>
                  <a:lnTo>
                    <a:pt x="267" y="510"/>
                  </a:lnTo>
                  <a:lnTo>
                    <a:pt x="266" y="513"/>
                  </a:lnTo>
                  <a:lnTo>
                    <a:pt x="264" y="517"/>
                  </a:lnTo>
                  <a:lnTo>
                    <a:pt x="264" y="520"/>
                  </a:lnTo>
                  <a:lnTo>
                    <a:pt x="264" y="524"/>
                  </a:lnTo>
                  <a:lnTo>
                    <a:pt x="263" y="528"/>
                  </a:lnTo>
                  <a:lnTo>
                    <a:pt x="263" y="532"/>
                  </a:lnTo>
                  <a:lnTo>
                    <a:pt x="263" y="537"/>
                  </a:lnTo>
                  <a:lnTo>
                    <a:pt x="264" y="546"/>
                  </a:lnTo>
                  <a:lnTo>
                    <a:pt x="264" y="549"/>
                  </a:lnTo>
                  <a:lnTo>
                    <a:pt x="263" y="550"/>
                  </a:lnTo>
                  <a:lnTo>
                    <a:pt x="263" y="552"/>
                  </a:lnTo>
                  <a:lnTo>
                    <a:pt x="262" y="554"/>
                  </a:lnTo>
                  <a:lnTo>
                    <a:pt x="260" y="560"/>
                  </a:lnTo>
                  <a:lnTo>
                    <a:pt x="258" y="564"/>
                  </a:lnTo>
                  <a:lnTo>
                    <a:pt x="255" y="575"/>
                  </a:lnTo>
                  <a:lnTo>
                    <a:pt x="253" y="584"/>
                  </a:lnTo>
                  <a:lnTo>
                    <a:pt x="252" y="587"/>
                  </a:lnTo>
                  <a:lnTo>
                    <a:pt x="251" y="592"/>
                  </a:lnTo>
                  <a:lnTo>
                    <a:pt x="250" y="596"/>
                  </a:lnTo>
                  <a:lnTo>
                    <a:pt x="249" y="601"/>
                  </a:lnTo>
                  <a:lnTo>
                    <a:pt x="249" y="606"/>
                  </a:lnTo>
                  <a:lnTo>
                    <a:pt x="249" y="608"/>
                  </a:lnTo>
                  <a:lnTo>
                    <a:pt x="249" y="610"/>
                  </a:lnTo>
                  <a:lnTo>
                    <a:pt x="250" y="613"/>
                  </a:lnTo>
                  <a:lnTo>
                    <a:pt x="251" y="616"/>
                  </a:lnTo>
                  <a:lnTo>
                    <a:pt x="252" y="617"/>
                  </a:lnTo>
                  <a:lnTo>
                    <a:pt x="253" y="618"/>
                  </a:lnTo>
                  <a:lnTo>
                    <a:pt x="256" y="624"/>
                  </a:lnTo>
                  <a:lnTo>
                    <a:pt x="257" y="626"/>
                  </a:lnTo>
                  <a:lnTo>
                    <a:pt x="258" y="628"/>
                  </a:lnTo>
                  <a:lnTo>
                    <a:pt x="259" y="629"/>
                  </a:lnTo>
                  <a:lnTo>
                    <a:pt x="260" y="631"/>
                  </a:lnTo>
                  <a:lnTo>
                    <a:pt x="260" y="634"/>
                  </a:lnTo>
                  <a:lnTo>
                    <a:pt x="260" y="636"/>
                  </a:lnTo>
                  <a:lnTo>
                    <a:pt x="260" y="638"/>
                  </a:lnTo>
                  <a:lnTo>
                    <a:pt x="259" y="640"/>
                  </a:lnTo>
                  <a:lnTo>
                    <a:pt x="257" y="641"/>
                  </a:lnTo>
                  <a:lnTo>
                    <a:pt x="256" y="643"/>
                  </a:lnTo>
                  <a:lnTo>
                    <a:pt x="253" y="645"/>
                  </a:lnTo>
                  <a:lnTo>
                    <a:pt x="252" y="647"/>
                  </a:lnTo>
                  <a:lnTo>
                    <a:pt x="249" y="648"/>
                  </a:lnTo>
                  <a:lnTo>
                    <a:pt x="248" y="648"/>
                  </a:lnTo>
                  <a:lnTo>
                    <a:pt x="245" y="649"/>
                  </a:lnTo>
                  <a:lnTo>
                    <a:pt x="242" y="649"/>
                  </a:lnTo>
                  <a:lnTo>
                    <a:pt x="239" y="648"/>
                  </a:lnTo>
                  <a:lnTo>
                    <a:pt x="235" y="648"/>
                  </a:lnTo>
                  <a:lnTo>
                    <a:pt x="231" y="647"/>
                  </a:lnTo>
                  <a:lnTo>
                    <a:pt x="228" y="646"/>
                  </a:lnTo>
                  <a:lnTo>
                    <a:pt x="215" y="642"/>
                  </a:lnTo>
                  <a:lnTo>
                    <a:pt x="206" y="640"/>
                  </a:lnTo>
                  <a:lnTo>
                    <a:pt x="204" y="640"/>
                  </a:lnTo>
                  <a:lnTo>
                    <a:pt x="205" y="640"/>
                  </a:lnTo>
                  <a:lnTo>
                    <a:pt x="205" y="639"/>
                  </a:lnTo>
                  <a:lnTo>
                    <a:pt x="206" y="639"/>
                  </a:lnTo>
                  <a:lnTo>
                    <a:pt x="206" y="638"/>
                  </a:lnTo>
                  <a:lnTo>
                    <a:pt x="206" y="636"/>
                  </a:lnTo>
                  <a:lnTo>
                    <a:pt x="206" y="633"/>
                  </a:lnTo>
                  <a:lnTo>
                    <a:pt x="205" y="629"/>
                  </a:lnTo>
                  <a:lnTo>
                    <a:pt x="203" y="622"/>
                  </a:lnTo>
                  <a:lnTo>
                    <a:pt x="202" y="618"/>
                  </a:lnTo>
                  <a:lnTo>
                    <a:pt x="201" y="613"/>
                  </a:lnTo>
                  <a:lnTo>
                    <a:pt x="200" y="604"/>
                  </a:lnTo>
                  <a:lnTo>
                    <a:pt x="200" y="602"/>
                  </a:lnTo>
                  <a:lnTo>
                    <a:pt x="199" y="600"/>
                  </a:lnTo>
                  <a:lnTo>
                    <a:pt x="198" y="597"/>
                  </a:lnTo>
                  <a:lnTo>
                    <a:pt x="197" y="594"/>
                  </a:lnTo>
                  <a:lnTo>
                    <a:pt x="192" y="584"/>
                  </a:lnTo>
                  <a:lnTo>
                    <a:pt x="190" y="579"/>
                  </a:lnTo>
                  <a:lnTo>
                    <a:pt x="189" y="577"/>
                  </a:lnTo>
                  <a:lnTo>
                    <a:pt x="189" y="574"/>
                  </a:lnTo>
                  <a:lnTo>
                    <a:pt x="187" y="567"/>
                  </a:lnTo>
                  <a:lnTo>
                    <a:pt x="186" y="564"/>
                  </a:lnTo>
                  <a:lnTo>
                    <a:pt x="185" y="561"/>
                  </a:lnTo>
                  <a:lnTo>
                    <a:pt x="184" y="560"/>
                  </a:lnTo>
                  <a:lnTo>
                    <a:pt x="184" y="558"/>
                  </a:lnTo>
                  <a:lnTo>
                    <a:pt x="183" y="556"/>
                  </a:lnTo>
                  <a:lnTo>
                    <a:pt x="182" y="554"/>
                  </a:lnTo>
                  <a:lnTo>
                    <a:pt x="180" y="553"/>
                  </a:lnTo>
                  <a:lnTo>
                    <a:pt x="178" y="552"/>
                  </a:lnTo>
                  <a:lnTo>
                    <a:pt x="176" y="551"/>
                  </a:lnTo>
                  <a:lnTo>
                    <a:pt x="175" y="550"/>
                  </a:lnTo>
                  <a:lnTo>
                    <a:pt x="166" y="549"/>
                  </a:lnTo>
                  <a:lnTo>
                    <a:pt x="163" y="548"/>
                  </a:lnTo>
                  <a:lnTo>
                    <a:pt x="160" y="547"/>
                  </a:lnTo>
                  <a:lnTo>
                    <a:pt x="156" y="545"/>
                  </a:lnTo>
                  <a:lnTo>
                    <a:pt x="152" y="544"/>
                  </a:lnTo>
                  <a:lnTo>
                    <a:pt x="150" y="542"/>
                  </a:lnTo>
                  <a:lnTo>
                    <a:pt x="147" y="540"/>
                  </a:lnTo>
                  <a:lnTo>
                    <a:pt x="145" y="539"/>
                  </a:lnTo>
                  <a:lnTo>
                    <a:pt x="142" y="538"/>
                  </a:lnTo>
                  <a:lnTo>
                    <a:pt x="140" y="536"/>
                  </a:lnTo>
                  <a:lnTo>
                    <a:pt x="139" y="534"/>
                  </a:lnTo>
                  <a:lnTo>
                    <a:pt x="137" y="531"/>
                  </a:lnTo>
                  <a:lnTo>
                    <a:pt x="135" y="529"/>
                  </a:lnTo>
                  <a:lnTo>
                    <a:pt x="133" y="527"/>
                  </a:lnTo>
                  <a:lnTo>
                    <a:pt x="131" y="524"/>
                  </a:lnTo>
                  <a:lnTo>
                    <a:pt x="129" y="521"/>
                  </a:lnTo>
                  <a:lnTo>
                    <a:pt x="128" y="518"/>
                  </a:lnTo>
                  <a:lnTo>
                    <a:pt x="127" y="516"/>
                  </a:lnTo>
                  <a:lnTo>
                    <a:pt x="126" y="514"/>
                  </a:lnTo>
                  <a:lnTo>
                    <a:pt x="125" y="510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1" y="496"/>
                  </a:lnTo>
                  <a:lnTo>
                    <a:pt x="118" y="490"/>
                  </a:lnTo>
                  <a:lnTo>
                    <a:pt x="116" y="486"/>
                  </a:lnTo>
                  <a:lnTo>
                    <a:pt x="115" y="480"/>
                  </a:lnTo>
                  <a:lnTo>
                    <a:pt x="114" y="474"/>
                  </a:lnTo>
                  <a:lnTo>
                    <a:pt x="113" y="472"/>
                  </a:lnTo>
                  <a:lnTo>
                    <a:pt x="113" y="471"/>
                  </a:lnTo>
                  <a:lnTo>
                    <a:pt x="112" y="470"/>
                  </a:lnTo>
                  <a:lnTo>
                    <a:pt x="111" y="469"/>
                  </a:lnTo>
                  <a:lnTo>
                    <a:pt x="110" y="468"/>
                  </a:lnTo>
                  <a:lnTo>
                    <a:pt x="109" y="467"/>
                  </a:lnTo>
                  <a:lnTo>
                    <a:pt x="106" y="465"/>
                  </a:lnTo>
                  <a:lnTo>
                    <a:pt x="100" y="462"/>
                  </a:lnTo>
                  <a:lnTo>
                    <a:pt x="99" y="461"/>
                  </a:lnTo>
                  <a:lnTo>
                    <a:pt x="97" y="460"/>
                  </a:lnTo>
                  <a:lnTo>
                    <a:pt x="96" y="459"/>
                  </a:lnTo>
                  <a:lnTo>
                    <a:pt x="95" y="458"/>
                  </a:lnTo>
                  <a:lnTo>
                    <a:pt x="94" y="457"/>
                  </a:lnTo>
                  <a:lnTo>
                    <a:pt x="94" y="456"/>
                  </a:lnTo>
                  <a:lnTo>
                    <a:pt x="93" y="454"/>
                  </a:lnTo>
                  <a:lnTo>
                    <a:pt x="94" y="452"/>
                  </a:lnTo>
                  <a:lnTo>
                    <a:pt x="94" y="449"/>
                  </a:lnTo>
                  <a:lnTo>
                    <a:pt x="95" y="448"/>
                  </a:lnTo>
                  <a:lnTo>
                    <a:pt x="96" y="446"/>
                  </a:lnTo>
                  <a:lnTo>
                    <a:pt x="98" y="444"/>
                  </a:lnTo>
                  <a:lnTo>
                    <a:pt x="99" y="443"/>
                  </a:lnTo>
                  <a:lnTo>
                    <a:pt x="104" y="439"/>
                  </a:lnTo>
                  <a:lnTo>
                    <a:pt x="105" y="438"/>
                  </a:lnTo>
                  <a:lnTo>
                    <a:pt x="105" y="437"/>
                  </a:lnTo>
                  <a:lnTo>
                    <a:pt x="106" y="436"/>
                  </a:lnTo>
                  <a:lnTo>
                    <a:pt x="107" y="434"/>
                  </a:lnTo>
                  <a:lnTo>
                    <a:pt x="107" y="432"/>
                  </a:lnTo>
                  <a:lnTo>
                    <a:pt x="107" y="431"/>
                  </a:lnTo>
                  <a:lnTo>
                    <a:pt x="106" y="430"/>
                  </a:lnTo>
                  <a:lnTo>
                    <a:pt x="105" y="429"/>
                  </a:lnTo>
                  <a:lnTo>
                    <a:pt x="105" y="429"/>
                  </a:lnTo>
                  <a:lnTo>
                    <a:pt x="103" y="429"/>
                  </a:lnTo>
                  <a:lnTo>
                    <a:pt x="102" y="429"/>
                  </a:lnTo>
                  <a:lnTo>
                    <a:pt x="100" y="429"/>
                  </a:lnTo>
                  <a:lnTo>
                    <a:pt x="93" y="430"/>
                  </a:lnTo>
                  <a:lnTo>
                    <a:pt x="91" y="430"/>
                  </a:lnTo>
                  <a:lnTo>
                    <a:pt x="88" y="430"/>
                  </a:lnTo>
                  <a:lnTo>
                    <a:pt x="87" y="430"/>
                  </a:lnTo>
                  <a:lnTo>
                    <a:pt x="85" y="429"/>
                  </a:lnTo>
                  <a:lnTo>
                    <a:pt x="84" y="428"/>
                  </a:lnTo>
                  <a:lnTo>
                    <a:pt x="82" y="427"/>
                  </a:lnTo>
                  <a:lnTo>
                    <a:pt x="81" y="426"/>
                  </a:lnTo>
                  <a:lnTo>
                    <a:pt x="79" y="425"/>
                  </a:lnTo>
                  <a:lnTo>
                    <a:pt x="76" y="424"/>
                  </a:lnTo>
                  <a:lnTo>
                    <a:pt x="74" y="422"/>
                  </a:lnTo>
                  <a:lnTo>
                    <a:pt x="73" y="420"/>
                  </a:lnTo>
                  <a:lnTo>
                    <a:pt x="71" y="418"/>
                  </a:lnTo>
                  <a:lnTo>
                    <a:pt x="71" y="415"/>
                  </a:lnTo>
                  <a:lnTo>
                    <a:pt x="70" y="414"/>
                  </a:lnTo>
                  <a:lnTo>
                    <a:pt x="69" y="412"/>
                  </a:lnTo>
                  <a:lnTo>
                    <a:pt x="69" y="409"/>
                  </a:lnTo>
                  <a:lnTo>
                    <a:pt x="69" y="407"/>
                  </a:lnTo>
                  <a:lnTo>
                    <a:pt x="69" y="404"/>
                  </a:lnTo>
                  <a:lnTo>
                    <a:pt x="71" y="393"/>
                  </a:lnTo>
                  <a:lnTo>
                    <a:pt x="71" y="388"/>
                  </a:lnTo>
                  <a:lnTo>
                    <a:pt x="71" y="386"/>
                  </a:lnTo>
                  <a:lnTo>
                    <a:pt x="71" y="385"/>
                  </a:lnTo>
                  <a:lnTo>
                    <a:pt x="71" y="383"/>
                  </a:lnTo>
                  <a:lnTo>
                    <a:pt x="71" y="382"/>
                  </a:lnTo>
                  <a:lnTo>
                    <a:pt x="70" y="381"/>
                  </a:lnTo>
                  <a:lnTo>
                    <a:pt x="68" y="380"/>
                  </a:lnTo>
                  <a:lnTo>
                    <a:pt x="66" y="379"/>
                  </a:lnTo>
                  <a:lnTo>
                    <a:pt x="62" y="376"/>
                  </a:lnTo>
                  <a:lnTo>
                    <a:pt x="61" y="375"/>
                  </a:lnTo>
                  <a:lnTo>
                    <a:pt x="59" y="373"/>
                  </a:lnTo>
                  <a:lnTo>
                    <a:pt x="57" y="370"/>
                  </a:lnTo>
                  <a:lnTo>
                    <a:pt x="55" y="369"/>
                  </a:lnTo>
                  <a:lnTo>
                    <a:pt x="54" y="369"/>
                  </a:lnTo>
                  <a:lnTo>
                    <a:pt x="53" y="368"/>
                  </a:lnTo>
                  <a:lnTo>
                    <a:pt x="47" y="366"/>
                  </a:lnTo>
                  <a:lnTo>
                    <a:pt x="44" y="365"/>
                  </a:lnTo>
                  <a:lnTo>
                    <a:pt x="42" y="364"/>
                  </a:lnTo>
                  <a:lnTo>
                    <a:pt x="41" y="362"/>
                  </a:lnTo>
                  <a:lnTo>
                    <a:pt x="40" y="361"/>
                  </a:lnTo>
                  <a:lnTo>
                    <a:pt x="39" y="360"/>
                  </a:lnTo>
                  <a:lnTo>
                    <a:pt x="39" y="359"/>
                  </a:lnTo>
                  <a:lnTo>
                    <a:pt x="38" y="357"/>
                  </a:lnTo>
                  <a:lnTo>
                    <a:pt x="37" y="351"/>
                  </a:lnTo>
                  <a:lnTo>
                    <a:pt x="36" y="349"/>
                  </a:lnTo>
                  <a:lnTo>
                    <a:pt x="35" y="346"/>
                  </a:lnTo>
                  <a:lnTo>
                    <a:pt x="34" y="345"/>
                  </a:lnTo>
                  <a:lnTo>
                    <a:pt x="32" y="342"/>
                  </a:lnTo>
                  <a:lnTo>
                    <a:pt x="30" y="340"/>
                  </a:lnTo>
                  <a:lnTo>
                    <a:pt x="28" y="337"/>
                  </a:lnTo>
                  <a:lnTo>
                    <a:pt x="27" y="336"/>
                  </a:lnTo>
                  <a:lnTo>
                    <a:pt x="27" y="335"/>
                  </a:lnTo>
                  <a:lnTo>
                    <a:pt x="26" y="335"/>
                  </a:lnTo>
                  <a:lnTo>
                    <a:pt x="27" y="334"/>
                  </a:lnTo>
                  <a:lnTo>
                    <a:pt x="27" y="333"/>
                  </a:lnTo>
                  <a:lnTo>
                    <a:pt x="28" y="331"/>
                  </a:lnTo>
                  <a:lnTo>
                    <a:pt x="33" y="323"/>
                  </a:lnTo>
                  <a:lnTo>
                    <a:pt x="34" y="321"/>
                  </a:lnTo>
                  <a:lnTo>
                    <a:pt x="35" y="319"/>
                  </a:lnTo>
                  <a:lnTo>
                    <a:pt x="36" y="317"/>
                  </a:lnTo>
                  <a:lnTo>
                    <a:pt x="37" y="312"/>
                  </a:lnTo>
                  <a:lnTo>
                    <a:pt x="37" y="310"/>
                  </a:lnTo>
                  <a:lnTo>
                    <a:pt x="37" y="308"/>
                  </a:lnTo>
                  <a:lnTo>
                    <a:pt x="37" y="307"/>
                  </a:lnTo>
                  <a:lnTo>
                    <a:pt x="37" y="305"/>
                  </a:lnTo>
                  <a:lnTo>
                    <a:pt x="37" y="303"/>
                  </a:lnTo>
                  <a:lnTo>
                    <a:pt x="37" y="302"/>
                  </a:lnTo>
                  <a:lnTo>
                    <a:pt x="36" y="301"/>
                  </a:lnTo>
                  <a:lnTo>
                    <a:pt x="33" y="297"/>
                  </a:lnTo>
                  <a:lnTo>
                    <a:pt x="32" y="295"/>
                  </a:lnTo>
                  <a:lnTo>
                    <a:pt x="31" y="293"/>
                  </a:lnTo>
                  <a:lnTo>
                    <a:pt x="29" y="292"/>
                  </a:lnTo>
                  <a:lnTo>
                    <a:pt x="28" y="290"/>
                  </a:lnTo>
                  <a:lnTo>
                    <a:pt x="26" y="289"/>
                  </a:lnTo>
                  <a:lnTo>
                    <a:pt x="25" y="289"/>
                  </a:lnTo>
                  <a:lnTo>
                    <a:pt x="24" y="288"/>
                  </a:lnTo>
                  <a:lnTo>
                    <a:pt x="22" y="287"/>
                  </a:lnTo>
                  <a:lnTo>
                    <a:pt x="18" y="285"/>
                  </a:lnTo>
                  <a:lnTo>
                    <a:pt x="14" y="284"/>
                  </a:lnTo>
                  <a:lnTo>
                    <a:pt x="8" y="283"/>
                  </a:lnTo>
                  <a:lnTo>
                    <a:pt x="6" y="282"/>
                  </a:lnTo>
                  <a:lnTo>
                    <a:pt x="4" y="282"/>
                  </a:lnTo>
                  <a:lnTo>
                    <a:pt x="3" y="281"/>
                  </a:lnTo>
                  <a:lnTo>
                    <a:pt x="3" y="280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0" y="278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0" y="272"/>
                  </a:lnTo>
                  <a:lnTo>
                    <a:pt x="0" y="271"/>
                  </a:lnTo>
                  <a:lnTo>
                    <a:pt x="1" y="270"/>
                  </a:lnTo>
                  <a:lnTo>
                    <a:pt x="2" y="269"/>
                  </a:lnTo>
                  <a:lnTo>
                    <a:pt x="4" y="265"/>
                  </a:lnTo>
                  <a:lnTo>
                    <a:pt x="5" y="264"/>
                  </a:lnTo>
                  <a:lnTo>
                    <a:pt x="6" y="262"/>
                  </a:lnTo>
                  <a:lnTo>
                    <a:pt x="7" y="260"/>
                  </a:lnTo>
                  <a:lnTo>
                    <a:pt x="8" y="257"/>
                  </a:lnTo>
                  <a:lnTo>
                    <a:pt x="8" y="250"/>
                  </a:lnTo>
                  <a:lnTo>
                    <a:pt x="9" y="244"/>
                  </a:lnTo>
                  <a:lnTo>
                    <a:pt x="9" y="242"/>
                  </a:lnTo>
                  <a:lnTo>
                    <a:pt x="9" y="239"/>
                  </a:lnTo>
                  <a:lnTo>
                    <a:pt x="11" y="236"/>
                  </a:lnTo>
                  <a:lnTo>
                    <a:pt x="12" y="234"/>
                  </a:lnTo>
                  <a:lnTo>
                    <a:pt x="13" y="233"/>
                  </a:lnTo>
                  <a:lnTo>
                    <a:pt x="14" y="232"/>
                  </a:lnTo>
                  <a:lnTo>
                    <a:pt x="15" y="231"/>
                  </a:lnTo>
                  <a:lnTo>
                    <a:pt x="17" y="230"/>
                  </a:lnTo>
                  <a:lnTo>
                    <a:pt x="19" y="230"/>
                  </a:lnTo>
                  <a:lnTo>
                    <a:pt x="20" y="230"/>
                  </a:lnTo>
                  <a:lnTo>
                    <a:pt x="25" y="230"/>
                  </a:lnTo>
                  <a:lnTo>
                    <a:pt x="26" y="230"/>
                  </a:lnTo>
                  <a:lnTo>
                    <a:pt x="28" y="229"/>
                  </a:lnTo>
                  <a:lnTo>
                    <a:pt x="29" y="229"/>
                  </a:lnTo>
                  <a:lnTo>
                    <a:pt x="30" y="228"/>
                  </a:lnTo>
                  <a:lnTo>
                    <a:pt x="31" y="227"/>
                  </a:lnTo>
                  <a:lnTo>
                    <a:pt x="33" y="225"/>
                  </a:lnTo>
                  <a:lnTo>
                    <a:pt x="34" y="223"/>
                  </a:lnTo>
                  <a:lnTo>
                    <a:pt x="35" y="221"/>
                  </a:lnTo>
                  <a:lnTo>
                    <a:pt x="36" y="217"/>
                  </a:lnTo>
                  <a:lnTo>
                    <a:pt x="37" y="214"/>
                  </a:lnTo>
                  <a:lnTo>
                    <a:pt x="37" y="210"/>
                  </a:lnTo>
                  <a:lnTo>
                    <a:pt x="37" y="206"/>
                  </a:lnTo>
                  <a:lnTo>
                    <a:pt x="38" y="202"/>
                  </a:lnTo>
                  <a:lnTo>
                    <a:pt x="38" y="196"/>
                  </a:lnTo>
                  <a:lnTo>
                    <a:pt x="38" y="195"/>
                  </a:lnTo>
                  <a:lnTo>
                    <a:pt x="40" y="195"/>
                  </a:lnTo>
                  <a:lnTo>
                    <a:pt x="44" y="194"/>
                  </a:lnTo>
                  <a:lnTo>
                    <a:pt x="46" y="194"/>
                  </a:lnTo>
                  <a:lnTo>
                    <a:pt x="48" y="193"/>
                  </a:lnTo>
                  <a:lnTo>
                    <a:pt x="49" y="194"/>
                  </a:lnTo>
                  <a:lnTo>
                    <a:pt x="52" y="194"/>
                  </a:lnTo>
                  <a:lnTo>
                    <a:pt x="54" y="195"/>
                  </a:lnTo>
                  <a:lnTo>
                    <a:pt x="57" y="196"/>
                  </a:lnTo>
                  <a:lnTo>
                    <a:pt x="59" y="197"/>
                  </a:lnTo>
                  <a:lnTo>
                    <a:pt x="60" y="199"/>
                  </a:lnTo>
                  <a:lnTo>
                    <a:pt x="63" y="200"/>
                  </a:lnTo>
                  <a:lnTo>
                    <a:pt x="65" y="202"/>
                  </a:lnTo>
                  <a:lnTo>
                    <a:pt x="67" y="204"/>
                  </a:lnTo>
                  <a:lnTo>
                    <a:pt x="70" y="207"/>
                  </a:lnTo>
                  <a:lnTo>
                    <a:pt x="74" y="214"/>
                  </a:lnTo>
                  <a:lnTo>
                    <a:pt x="76" y="216"/>
                  </a:lnTo>
                  <a:lnTo>
                    <a:pt x="78" y="218"/>
                  </a:lnTo>
                  <a:lnTo>
                    <a:pt x="79" y="219"/>
                  </a:lnTo>
                  <a:lnTo>
                    <a:pt x="81" y="220"/>
                  </a:lnTo>
                  <a:lnTo>
                    <a:pt x="82" y="221"/>
                  </a:lnTo>
                  <a:lnTo>
                    <a:pt x="83" y="221"/>
                  </a:lnTo>
                  <a:lnTo>
                    <a:pt x="85" y="222"/>
                  </a:lnTo>
                  <a:lnTo>
                    <a:pt x="87" y="222"/>
                  </a:lnTo>
                  <a:lnTo>
                    <a:pt x="90" y="222"/>
                  </a:lnTo>
                  <a:lnTo>
                    <a:pt x="92" y="222"/>
                  </a:lnTo>
                  <a:lnTo>
                    <a:pt x="93" y="222"/>
                  </a:lnTo>
                  <a:lnTo>
                    <a:pt x="95" y="221"/>
                  </a:lnTo>
                  <a:lnTo>
                    <a:pt x="101" y="220"/>
                  </a:lnTo>
                  <a:lnTo>
                    <a:pt x="104" y="220"/>
                  </a:lnTo>
                  <a:lnTo>
                    <a:pt x="106" y="219"/>
                  </a:lnTo>
                  <a:lnTo>
                    <a:pt x="108" y="219"/>
                  </a:lnTo>
                  <a:lnTo>
                    <a:pt x="110" y="219"/>
                  </a:lnTo>
                  <a:lnTo>
                    <a:pt x="112" y="220"/>
                  </a:lnTo>
                  <a:lnTo>
                    <a:pt x="114" y="220"/>
                  </a:lnTo>
                  <a:lnTo>
                    <a:pt x="116" y="221"/>
                  </a:lnTo>
                  <a:lnTo>
                    <a:pt x="118" y="221"/>
                  </a:lnTo>
                  <a:lnTo>
                    <a:pt x="119" y="221"/>
                  </a:lnTo>
                  <a:lnTo>
                    <a:pt x="122" y="223"/>
                  </a:lnTo>
                  <a:lnTo>
                    <a:pt x="123" y="224"/>
                  </a:lnTo>
                  <a:lnTo>
                    <a:pt x="129" y="229"/>
                  </a:lnTo>
                  <a:lnTo>
                    <a:pt x="131" y="229"/>
                  </a:lnTo>
                  <a:lnTo>
                    <a:pt x="132" y="230"/>
                  </a:lnTo>
                  <a:lnTo>
                    <a:pt x="134" y="231"/>
                  </a:lnTo>
                  <a:lnTo>
                    <a:pt x="136" y="231"/>
                  </a:lnTo>
                  <a:lnTo>
                    <a:pt x="137" y="230"/>
                  </a:lnTo>
                  <a:lnTo>
                    <a:pt x="138" y="230"/>
                  </a:lnTo>
                  <a:lnTo>
                    <a:pt x="138" y="229"/>
                  </a:lnTo>
                  <a:lnTo>
                    <a:pt x="139" y="228"/>
                  </a:lnTo>
                  <a:lnTo>
                    <a:pt x="139" y="227"/>
                  </a:lnTo>
                  <a:lnTo>
                    <a:pt x="138" y="225"/>
                  </a:lnTo>
                  <a:lnTo>
                    <a:pt x="137" y="224"/>
                  </a:lnTo>
                  <a:lnTo>
                    <a:pt x="136" y="222"/>
                  </a:lnTo>
                  <a:lnTo>
                    <a:pt x="135" y="221"/>
                  </a:lnTo>
                  <a:lnTo>
                    <a:pt x="129" y="217"/>
                  </a:lnTo>
                  <a:lnTo>
                    <a:pt x="124" y="211"/>
                  </a:lnTo>
                  <a:lnTo>
                    <a:pt x="122" y="210"/>
                  </a:lnTo>
                  <a:lnTo>
                    <a:pt x="118" y="205"/>
                  </a:lnTo>
                  <a:lnTo>
                    <a:pt x="116" y="201"/>
                  </a:lnTo>
                  <a:lnTo>
                    <a:pt x="115" y="199"/>
                  </a:lnTo>
                  <a:lnTo>
                    <a:pt x="114" y="198"/>
                  </a:lnTo>
                  <a:lnTo>
                    <a:pt x="113" y="196"/>
                  </a:lnTo>
                  <a:lnTo>
                    <a:pt x="112" y="193"/>
                  </a:lnTo>
                  <a:lnTo>
                    <a:pt x="111" y="191"/>
                  </a:lnTo>
                  <a:lnTo>
                    <a:pt x="111" y="189"/>
                  </a:lnTo>
                  <a:lnTo>
                    <a:pt x="111" y="187"/>
                  </a:lnTo>
                  <a:lnTo>
                    <a:pt x="111" y="185"/>
                  </a:lnTo>
                  <a:lnTo>
                    <a:pt x="112" y="183"/>
                  </a:lnTo>
                  <a:lnTo>
                    <a:pt x="113" y="181"/>
                  </a:lnTo>
                  <a:lnTo>
                    <a:pt x="115" y="178"/>
                  </a:lnTo>
                  <a:lnTo>
                    <a:pt x="116" y="176"/>
                  </a:lnTo>
                  <a:lnTo>
                    <a:pt x="123" y="168"/>
                  </a:lnTo>
                  <a:lnTo>
                    <a:pt x="125" y="166"/>
                  </a:lnTo>
                  <a:lnTo>
                    <a:pt x="125" y="165"/>
                  </a:lnTo>
                  <a:lnTo>
                    <a:pt x="126" y="163"/>
                  </a:lnTo>
                  <a:lnTo>
                    <a:pt x="126" y="161"/>
                  </a:lnTo>
                  <a:lnTo>
                    <a:pt x="126" y="159"/>
                  </a:lnTo>
                  <a:lnTo>
                    <a:pt x="126" y="157"/>
                  </a:lnTo>
                  <a:lnTo>
                    <a:pt x="125" y="155"/>
                  </a:lnTo>
                  <a:lnTo>
                    <a:pt x="124" y="154"/>
                  </a:lnTo>
                  <a:lnTo>
                    <a:pt x="123" y="153"/>
                  </a:lnTo>
                  <a:lnTo>
                    <a:pt x="122" y="152"/>
                  </a:lnTo>
                  <a:lnTo>
                    <a:pt x="118" y="150"/>
                  </a:lnTo>
                  <a:lnTo>
                    <a:pt x="115" y="147"/>
                  </a:lnTo>
                  <a:lnTo>
                    <a:pt x="113" y="146"/>
                  </a:lnTo>
                  <a:lnTo>
                    <a:pt x="108" y="143"/>
                  </a:lnTo>
                  <a:lnTo>
                    <a:pt x="106" y="142"/>
                  </a:lnTo>
                  <a:lnTo>
                    <a:pt x="105" y="141"/>
                  </a:lnTo>
                  <a:lnTo>
                    <a:pt x="104" y="140"/>
                  </a:lnTo>
                  <a:lnTo>
                    <a:pt x="103" y="138"/>
                  </a:lnTo>
                  <a:lnTo>
                    <a:pt x="101" y="136"/>
                  </a:lnTo>
                  <a:lnTo>
                    <a:pt x="99" y="132"/>
                  </a:lnTo>
                  <a:lnTo>
                    <a:pt x="96" y="129"/>
                  </a:lnTo>
                  <a:lnTo>
                    <a:pt x="94" y="124"/>
                  </a:lnTo>
                  <a:lnTo>
                    <a:pt x="93" y="121"/>
                  </a:lnTo>
                  <a:lnTo>
                    <a:pt x="92" y="114"/>
                  </a:lnTo>
                  <a:lnTo>
                    <a:pt x="91" y="110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7"/>
                  </a:lnTo>
                  <a:lnTo>
                    <a:pt x="92" y="105"/>
                  </a:lnTo>
                  <a:lnTo>
                    <a:pt x="92" y="104"/>
                  </a:lnTo>
                  <a:lnTo>
                    <a:pt x="93" y="103"/>
                  </a:lnTo>
                  <a:lnTo>
                    <a:pt x="93" y="102"/>
                  </a:lnTo>
                  <a:lnTo>
                    <a:pt x="94" y="101"/>
                  </a:lnTo>
                  <a:lnTo>
                    <a:pt x="96" y="100"/>
                  </a:lnTo>
                  <a:lnTo>
                    <a:pt x="97" y="100"/>
                  </a:lnTo>
                  <a:lnTo>
                    <a:pt x="99" y="99"/>
                  </a:lnTo>
                  <a:lnTo>
                    <a:pt x="100" y="99"/>
                  </a:lnTo>
                  <a:lnTo>
                    <a:pt x="102" y="100"/>
                  </a:lnTo>
                  <a:lnTo>
                    <a:pt x="104" y="100"/>
                  </a:lnTo>
                  <a:lnTo>
                    <a:pt x="105" y="101"/>
                  </a:lnTo>
                  <a:lnTo>
                    <a:pt x="111" y="103"/>
                  </a:lnTo>
                  <a:lnTo>
                    <a:pt x="114" y="104"/>
                  </a:lnTo>
                  <a:lnTo>
                    <a:pt x="118" y="105"/>
                  </a:lnTo>
                  <a:lnTo>
                    <a:pt x="121" y="106"/>
                  </a:lnTo>
                  <a:lnTo>
                    <a:pt x="125" y="106"/>
                  </a:lnTo>
                  <a:lnTo>
                    <a:pt x="128" y="107"/>
                  </a:lnTo>
                  <a:lnTo>
                    <a:pt x="131" y="107"/>
                  </a:lnTo>
                  <a:lnTo>
                    <a:pt x="134" y="106"/>
                  </a:lnTo>
                  <a:lnTo>
                    <a:pt x="147" y="102"/>
                  </a:lnTo>
                  <a:lnTo>
                    <a:pt x="150" y="101"/>
                  </a:lnTo>
                  <a:lnTo>
                    <a:pt x="153" y="100"/>
                  </a:lnTo>
                  <a:lnTo>
                    <a:pt x="160" y="97"/>
                  </a:lnTo>
                  <a:lnTo>
                    <a:pt x="162" y="96"/>
                  </a:lnTo>
                  <a:lnTo>
                    <a:pt x="169" y="91"/>
                  </a:lnTo>
                  <a:lnTo>
                    <a:pt x="175" y="88"/>
                  </a:lnTo>
                  <a:lnTo>
                    <a:pt x="177" y="86"/>
                  </a:lnTo>
                  <a:lnTo>
                    <a:pt x="178" y="85"/>
                  </a:lnTo>
                  <a:lnTo>
                    <a:pt x="179" y="85"/>
                  </a:lnTo>
                  <a:lnTo>
                    <a:pt x="180" y="83"/>
                  </a:lnTo>
                  <a:lnTo>
                    <a:pt x="181" y="81"/>
                  </a:lnTo>
                  <a:lnTo>
                    <a:pt x="182" y="78"/>
                  </a:lnTo>
                  <a:lnTo>
                    <a:pt x="183" y="70"/>
                  </a:lnTo>
                  <a:lnTo>
                    <a:pt x="184" y="64"/>
                  </a:lnTo>
                  <a:lnTo>
                    <a:pt x="184" y="63"/>
                  </a:lnTo>
                  <a:lnTo>
                    <a:pt x="186" y="58"/>
                  </a:lnTo>
                  <a:lnTo>
                    <a:pt x="187" y="55"/>
                  </a:lnTo>
                  <a:lnTo>
                    <a:pt x="191" y="48"/>
                  </a:lnTo>
                  <a:lnTo>
                    <a:pt x="192" y="45"/>
                  </a:lnTo>
                  <a:lnTo>
                    <a:pt x="194" y="41"/>
                  </a:lnTo>
                  <a:lnTo>
                    <a:pt x="194" y="40"/>
                  </a:lnTo>
                  <a:lnTo>
                    <a:pt x="194" y="39"/>
                  </a:lnTo>
                  <a:lnTo>
                    <a:pt x="194" y="38"/>
                  </a:lnTo>
                  <a:lnTo>
                    <a:pt x="194" y="36"/>
                  </a:lnTo>
                  <a:lnTo>
                    <a:pt x="193" y="35"/>
                  </a:lnTo>
                  <a:lnTo>
                    <a:pt x="193" y="34"/>
                  </a:lnTo>
                  <a:lnTo>
                    <a:pt x="192" y="32"/>
                  </a:lnTo>
                  <a:lnTo>
                    <a:pt x="189" y="29"/>
                  </a:lnTo>
                  <a:lnTo>
                    <a:pt x="184" y="24"/>
                  </a:lnTo>
                  <a:lnTo>
                    <a:pt x="184" y="23"/>
                  </a:lnTo>
                  <a:lnTo>
                    <a:pt x="183" y="21"/>
                  </a:lnTo>
                  <a:lnTo>
                    <a:pt x="182" y="18"/>
                  </a:lnTo>
                  <a:lnTo>
                    <a:pt x="181" y="17"/>
                  </a:lnTo>
                  <a:lnTo>
                    <a:pt x="181" y="16"/>
                  </a:lnTo>
                  <a:lnTo>
                    <a:pt x="181" y="14"/>
                  </a:lnTo>
                  <a:lnTo>
                    <a:pt x="182" y="14"/>
                  </a:lnTo>
                  <a:lnTo>
                    <a:pt x="183" y="13"/>
                  </a:lnTo>
                  <a:lnTo>
                    <a:pt x="184" y="11"/>
                  </a:lnTo>
                  <a:lnTo>
                    <a:pt x="186" y="9"/>
                  </a:lnTo>
                  <a:lnTo>
                    <a:pt x="189" y="8"/>
                  </a:lnTo>
                  <a:lnTo>
                    <a:pt x="192" y="7"/>
                  </a:lnTo>
                  <a:lnTo>
                    <a:pt x="196" y="6"/>
                  </a:lnTo>
                  <a:lnTo>
                    <a:pt x="207" y="4"/>
                  </a:lnTo>
                  <a:lnTo>
                    <a:pt x="209" y="3"/>
                  </a:lnTo>
                  <a:lnTo>
                    <a:pt x="212" y="2"/>
                  </a:lnTo>
                  <a:lnTo>
                    <a:pt x="213" y="2"/>
                  </a:lnTo>
                  <a:lnTo>
                    <a:pt x="215" y="2"/>
                  </a:lnTo>
                  <a:lnTo>
                    <a:pt x="218" y="2"/>
                  </a:lnTo>
                  <a:lnTo>
                    <a:pt x="219" y="2"/>
                  </a:lnTo>
                  <a:lnTo>
                    <a:pt x="220" y="2"/>
                  </a:lnTo>
                  <a:lnTo>
                    <a:pt x="221" y="1"/>
                  </a:lnTo>
                  <a:lnTo>
                    <a:pt x="223" y="0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4" name="Freeform 21">
              <a:extLst>
                <a:ext uri="{FF2B5EF4-FFF2-40B4-BE49-F238E27FC236}">
                  <a16:creationId xmlns:a16="http://schemas.microsoft.com/office/drawing/2014/main" id="{C5B3C22B-590B-4C50-A2D3-17D670359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7" y="2739"/>
              <a:ext cx="413" cy="478"/>
            </a:xfrm>
            <a:custGeom>
              <a:avLst/>
              <a:gdLst>
                <a:gd name="T0" fmla="*/ 106 w 413"/>
                <a:gd name="T1" fmla="*/ 30 h 478"/>
                <a:gd name="T2" fmla="*/ 123 w 413"/>
                <a:gd name="T3" fmla="*/ 39 h 478"/>
                <a:gd name="T4" fmla="*/ 154 w 413"/>
                <a:gd name="T5" fmla="*/ 37 h 478"/>
                <a:gd name="T6" fmla="*/ 210 w 413"/>
                <a:gd name="T7" fmla="*/ 34 h 478"/>
                <a:gd name="T8" fmla="*/ 227 w 413"/>
                <a:gd name="T9" fmla="*/ 11 h 478"/>
                <a:gd name="T10" fmla="*/ 250 w 413"/>
                <a:gd name="T11" fmla="*/ 0 h 478"/>
                <a:gd name="T12" fmla="*/ 272 w 413"/>
                <a:gd name="T13" fmla="*/ 7 h 478"/>
                <a:gd name="T14" fmla="*/ 297 w 413"/>
                <a:gd name="T15" fmla="*/ 26 h 478"/>
                <a:gd name="T16" fmla="*/ 309 w 413"/>
                <a:gd name="T17" fmla="*/ 41 h 478"/>
                <a:gd name="T18" fmla="*/ 343 w 413"/>
                <a:gd name="T19" fmla="*/ 35 h 478"/>
                <a:gd name="T20" fmla="*/ 365 w 413"/>
                <a:gd name="T21" fmla="*/ 29 h 478"/>
                <a:gd name="T22" fmla="*/ 370 w 413"/>
                <a:gd name="T23" fmla="*/ 14 h 478"/>
                <a:gd name="T24" fmla="*/ 397 w 413"/>
                <a:gd name="T25" fmla="*/ 28 h 478"/>
                <a:gd name="T26" fmla="*/ 410 w 413"/>
                <a:gd name="T27" fmla="*/ 50 h 478"/>
                <a:gd name="T28" fmla="*/ 400 w 413"/>
                <a:gd name="T29" fmla="*/ 75 h 478"/>
                <a:gd name="T30" fmla="*/ 407 w 413"/>
                <a:gd name="T31" fmla="*/ 107 h 478"/>
                <a:gd name="T32" fmla="*/ 411 w 413"/>
                <a:gd name="T33" fmla="*/ 131 h 478"/>
                <a:gd name="T34" fmla="*/ 407 w 413"/>
                <a:gd name="T35" fmla="*/ 170 h 478"/>
                <a:gd name="T36" fmla="*/ 393 w 413"/>
                <a:gd name="T37" fmla="*/ 186 h 478"/>
                <a:gd name="T38" fmla="*/ 401 w 413"/>
                <a:gd name="T39" fmla="*/ 227 h 478"/>
                <a:gd name="T40" fmla="*/ 384 w 413"/>
                <a:gd name="T41" fmla="*/ 244 h 478"/>
                <a:gd name="T42" fmla="*/ 373 w 413"/>
                <a:gd name="T43" fmla="*/ 268 h 478"/>
                <a:gd name="T44" fmla="*/ 355 w 413"/>
                <a:gd name="T45" fmla="*/ 282 h 478"/>
                <a:gd name="T46" fmla="*/ 343 w 413"/>
                <a:gd name="T47" fmla="*/ 285 h 478"/>
                <a:gd name="T48" fmla="*/ 320 w 413"/>
                <a:gd name="T49" fmla="*/ 304 h 478"/>
                <a:gd name="T50" fmla="*/ 308 w 413"/>
                <a:gd name="T51" fmla="*/ 321 h 478"/>
                <a:gd name="T52" fmla="*/ 319 w 413"/>
                <a:gd name="T53" fmla="*/ 373 h 478"/>
                <a:gd name="T54" fmla="*/ 324 w 413"/>
                <a:gd name="T55" fmla="*/ 390 h 478"/>
                <a:gd name="T56" fmla="*/ 293 w 413"/>
                <a:gd name="T57" fmla="*/ 382 h 478"/>
                <a:gd name="T58" fmla="*/ 280 w 413"/>
                <a:gd name="T59" fmla="*/ 390 h 478"/>
                <a:gd name="T60" fmla="*/ 282 w 413"/>
                <a:gd name="T61" fmla="*/ 427 h 478"/>
                <a:gd name="T62" fmla="*/ 277 w 413"/>
                <a:gd name="T63" fmla="*/ 448 h 478"/>
                <a:gd name="T64" fmla="*/ 260 w 413"/>
                <a:gd name="T65" fmla="*/ 478 h 478"/>
                <a:gd name="T66" fmla="*/ 220 w 413"/>
                <a:gd name="T67" fmla="*/ 474 h 478"/>
                <a:gd name="T68" fmla="*/ 195 w 413"/>
                <a:gd name="T69" fmla="*/ 458 h 478"/>
                <a:gd name="T70" fmla="*/ 175 w 413"/>
                <a:gd name="T71" fmla="*/ 441 h 478"/>
                <a:gd name="T72" fmla="*/ 153 w 413"/>
                <a:gd name="T73" fmla="*/ 433 h 478"/>
                <a:gd name="T74" fmla="*/ 127 w 413"/>
                <a:gd name="T75" fmla="*/ 417 h 478"/>
                <a:gd name="T76" fmla="*/ 107 w 413"/>
                <a:gd name="T77" fmla="*/ 385 h 478"/>
                <a:gd name="T78" fmla="*/ 86 w 413"/>
                <a:gd name="T79" fmla="*/ 356 h 478"/>
                <a:gd name="T80" fmla="*/ 77 w 413"/>
                <a:gd name="T81" fmla="*/ 328 h 478"/>
                <a:gd name="T82" fmla="*/ 47 w 413"/>
                <a:gd name="T83" fmla="*/ 281 h 478"/>
                <a:gd name="T84" fmla="*/ 46 w 413"/>
                <a:gd name="T85" fmla="*/ 249 h 478"/>
                <a:gd name="T86" fmla="*/ 56 w 413"/>
                <a:gd name="T87" fmla="*/ 220 h 478"/>
                <a:gd name="T88" fmla="*/ 58 w 413"/>
                <a:gd name="T89" fmla="*/ 201 h 478"/>
                <a:gd name="T90" fmla="*/ 46 w 413"/>
                <a:gd name="T91" fmla="*/ 186 h 478"/>
                <a:gd name="T92" fmla="*/ 43 w 413"/>
                <a:gd name="T93" fmla="*/ 164 h 478"/>
                <a:gd name="T94" fmla="*/ 36 w 413"/>
                <a:gd name="T95" fmla="*/ 143 h 478"/>
                <a:gd name="T96" fmla="*/ 52 w 413"/>
                <a:gd name="T97" fmla="*/ 130 h 478"/>
                <a:gd name="T98" fmla="*/ 58 w 413"/>
                <a:gd name="T99" fmla="*/ 113 h 478"/>
                <a:gd name="T100" fmla="*/ 44 w 413"/>
                <a:gd name="T101" fmla="*/ 103 h 478"/>
                <a:gd name="T102" fmla="*/ 43 w 413"/>
                <a:gd name="T103" fmla="*/ 94 h 478"/>
                <a:gd name="T104" fmla="*/ 27 w 413"/>
                <a:gd name="T105" fmla="*/ 82 h 478"/>
                <a:gd name="T106" fmla="*/ 1 w 413"/>
                <a:gd name="T107" fmla="*/ 72 h 478"/>
                <a:gd name="T108" fmla="*/ 13 w 413"/>
                <a:gd name="T109" fmla="*/ 59 h 478"/>
                <a:gd name="T110" fmla="*/ 37 w 413"/>
                <a:gd name="T111" fmla="*/ 52 h 478"/>
                <a:gd name="T112" fmla="*/ 52 w 413"/>
                <a:gd name="T113" fmla="*/ 45 h 478"/>
                <a:gd name="T114" fmla="*/ 63 w 413"/>
                <a:gd name="T115" fmla="*/ 20 h 478"/>
                <a:gd name="T116" fmla="*/ 102 w 413"/>
                <a:gd name="T117" fmla="*/ 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3" h="478">
                  <a:moveTo>
                    <a:pt x="102" y="2"/>
                  </a:moveTo>
                  <a:lnTo>
                    <a:pt x="103" y="3"/>
                  </a:lnTo>
                  <a:lnTo>
                    <a:pt x="103" y="3"/>
                  </a:lnTo>
                  <a:lnTo>
                    <a:pt x="104" y="5"/>
                  </a:lnTo>
                  <a:lnTo>
                    <a:pt x="104" y="8"/>
                  </a:lnTo>
                  <a:lnTo>
                    <a:pt x="104" y="18"/>
                  </a:lnTo>
                  <a:lnTo>
                    <a:pt x="105" y="24"/>
                  </a:lnTo>
                  <a:lnTo>
                    <a:pt x="105" y="26"/>
                  </a:lnTo>
                  <a:lnTo>
                    <a:pt x="105" y="28"/>
                  </a:lnTo>
                  <a:lnTo>
                    <a:pt x="106" y="30"/>
                  </a:lnTo>
                  <a:lnTo>
                    <a:pt x="107" y="32"/>
                  </a:lnTo>
                  <a:lnTo>
                    <a:pt x="108" y="33"/>
                  </a:lnTo>
                  <a:lnTo>
                    <a:pt x="109" y="35"/>
                  </a:lnTo>
                  <a:lnTo>
                    <a:pt x="110" y="36"/>
                  </a:lnTo>
                  <a:lnTo>
                    <a:pt x="111" y="37"/>
                  </a:lnTo>
                  <a:lnTo>
                    <a:pt x="113" y="37"/>
                  </a:lnTo>
                  <a:lnTo>
                    <a:pt x="115" y="38"/>
                  </a:lnTo>
                  <a:lnTo>
                    <a:pt x="117" y="39"/>
                  </a:lnTo>
                  <a:lnTo>
                    <a:pt x="120" y="39"/>
                  </a:lnTo>
                  <a:lnTo>
                    <a:pt x="123" y="39"/>
                  </a:lnTo>
                  <a:lnTo>
                    <a:pt x="125" y="39"/>
                  </a:lnTo>
                  <a:lnTo>
                    <a:pt x="127" y="38"/>
                  </a:lnTo>
                  <a:lnTo>
                    <a:pt x="131" y="37"/>
                  </a:lnTo>
                  <a:lnTo>
                    <a:pt x="133" y="37"/>
                  </a:lnTo>
                  <a:lnTo>
                    <a:pt x="134" y="37"/>
                  </a:lnTo>
                  <a:lnTo>
                    <a:pt x="139" y="38"/>
                  </a:lnTo>
                  <a:lnTo>
                    <a:pt x="143" y="38"/>
                  </a:lnTo>
                  <a:lnTo>
                    <a:pt x="146" y="38"/>
                  </a:lnTo>
                  <a:lnTo>
                    <a:pt x="150" y="37"/>
                  </a:lnTo>
                  <a:lnTo>
                    <a:pt x="154" y="37"/>
                  </a:lnTo>
                  <a:lnTo>
                    <a:pt x="157" y="37"/>
                  </a:lnTo>
                  <a:lnTo>
                    <a:pt x="166" y="37"/>
                  </a:lnTo>
                  <a:lnTo>
                    <a:pt x="169" y="37"/>
                  </a:lnTo>
                  <a:lnTo>
                    <a:pt x="180" y="36"/>
                  </a:lnTo>
                  <a:lnTo>
                    <a:pt x="189" y="36"/>
                  </a:lnTo>
                  <a:lnTo>
                    <a:pt x="197" y="35"/>
                  </a:lnTo>
                  <a:lnTo>
                    <a:pt x="201" y="34"/>
                  </a:lnTo>
                  <a:lnTo>
                    <a:pt x="204" y="34"/>
                  </a:lnTo>
                  <a:lnTo>
                    <a:pt x="209" y="34"/>
                  </a:lnTo>
                  <a:lnTo>
                    <a:pt x="210" y="34"/>
                  </a:lnTo>
                  <a:lnTo>
                    <a:pt x="212" y="34"/>
                  </a:lnTo>
                  <a:lnTo>
                    <a:pt x="213" y="33"/>
                  </a:lnTo>
                  <a:lnTo>
                    <a:pt x="214" y="32"/>
                  </a:lnTo>
                  <a:lnTo>
                    <a:pt x="215" y="31"/>
                  </a:lnTo>
                  <a:lnTo>
                    <a:pt x="216" y="30"/>
                  </a:lnTo>
                  <a:lnTo>
                    <a:pt x="218" y="26"/>
                  </a:lnTo>
                  <a:lnTo>
                    <a:pt x="221" y="23"/>
                  </a:lnTo>
                  <a:lnTo>
                    <a:pt x="223" y="20"/>
                  </a:lnTo>
                  <a:lnTo>
                    <a:pt x="225" y="15"/>
                  </a:lnTo>
                  <a:lnTo>
                    <a:pt x="227" y="11"/>
                  </a:lnTo>
                  <a:lnTo>
                    <a:pt x="228" y="9"/>
                  </a:lnTo>
                  <a:lnTo>
                    <a:pt x="230" y="7"/>
                  </a:lnTo>
                  <a:lnTo>
                    <a:pt x="232" y="6"/>
                  </a:lnTo>
                  <a:lnTo>
                    <a:pt x="233" y="4"/>
                  </a:lnTo>
                  <a:lnTo>
                    <a:pt x="235" y="4"/>
                  </a:lnTo>
                  <a:lnTo>
                    <a:pt x="236" y="3"/>
                  </a:lnTo>
                  <a:lnTo>
                    <a:pt x="237" y="3"/>
                  </a:lnTo>
                  <a:lnTo>
                    <a:pt x="244" y="2"/>
                  </a:lnTo>
                  <a:lnTo>
                    <a:pt x="248" y="1"/>
                  </a:lnTo>
                  <a:lnTo>
                    <a:pt x="250" y="0"/>
                  </a:lnTo>
                  <a:lnTo>
                    <a:pt x="254" y="0"/>
                  </a:lnTo>
                  <a:lnTo>
                    <a:pt x="256" y="0"/>
                  </a:lnTo>
                  <a:lnTo>
                    <a:pt x="258" y="1"/>
                  </a:lnTo>
                  <a:lnTo>
                    <a:pt x="260" y="1"/>
                  </a:lnTo>
                  <a:lnTo>
                    <a:pt x="263" y="2"/>
                  </a:lnTo>
                  <a:lnTo>
                    <a:pt x="265" y="3"/>
                  </a:lnTo>
                  <a:lnTo>
                    <a:pt x="268" y="3"/>
                  </a:lnTo>
                  <a:lnTo>
                    <a:pt x="270" y="4"/>
                  </a:lnTo>
                  <a:lnTo>
                    <a:pt x="271" y="5"/>
                  </a:lnTo>
                  <a:lnTo>
                    <a:pt x="272" y="7"/>
                  </a:lnTo>
                  <a:lnTo>
                    <a:pt x="274" y="8"/>
                  </a:lnTo>
                  <a:lnTo>
                    <a:pt x="276" y="11"/>
                  </a:lnTo>
                  <a:lnTo>
                    <a:pt x="279" y="15"/>
                  </a:lnTo>
                  <a:lnTo>
                    <a:pt x="281" y="16"/>
                  </a:lnTo>
                  <a:lnTo>
                    <a:pt x="282" y="18"/>
                  </a:lnTo>
                  <a:lnTo>
                    <a:pt x="283" y="19"/>
                  </a:lnTo>
                  <a:lnTo>
                    <a:pt x="285" y="20"/>
                  </a:lnTo>
                  <a:lnTo>
                    <a:pt x="290" y="21"/>
                  </a:lnTo>
                  <a:lnTo>
                    <a:pt x="294" y="24"/>
                  </a:lnTo>
                  <a:lnTo>
                    <a:pt x="297" y="26"/>
                  </a:lnTo>
                  <a:lnTo>
                    <a:pt x="299" y="26"/>
                  </a:lnTo>
                  <a:lnTo>
                    <a:pt x="300" y="27"/>
                  </a:lnTo>
                  <a:lnTo>
                    <a:pt x="303" y="30"/>
                  </a:lnTo>
                  <a:lnTo>
                    <a:pt x="304" y="31"/>
                  </a:lnTo>
                  <a:lnTo>
                    <a:pt x="305" y="33"/>
                  </a:lnTo>
                  <a:lnTo>
                    <a:pt x="305" y="34"/>
                  </a:lnTo>
                  <a:lnTo>
                    <a:pt x="307" y="38"/>
                  </a:lnTo>
                  <a:lnTo>
                    <a:pt x="308" y="39"/>
                  </a:lnTo>
                  <a:lnTo>
                    <a:pt x="308" y="40"/>
                  </a:lnTo>
                  <a:lnTo>
                    <a:pt x="309" y="41"/>
                  </a:lnTo>
                  <a:lnTo>
                    <a:pt x="310" y="41"/>
                  </a:lnTo>
                  <a:lnTo>
                    <a:pt x="311" y="42"/>
                  </a:lnTo>
                  <a:lnTo>
                    <a:pt x="323" y="44"/>
                  </a:lnTo>
                  <a:lnTo>
                    <a:pt x="325" y="44"/>
                  </a:lnTo>
                  <a:lnTo>
                    <a:pt x="327" y="44"/>
                  </a:lnTo>
                  <a:lnTo>
                    <a:pt x="332" y="42"/>
                  </a:lnTo>
                  <a:lnTo>
                    <a:pt x="333" y="42"/>
                  </a:lnTo>
                  <a:lnTo>
                    <a:pt x="335" y="41"/>
                  </a:lnTo>
                  <a:lnTo>
                    <a:pt x="336" y="40"/>
                  </a:lnTo>
                  <a:lnTo>
                    <a:pt x="343" y="35"/>
                  </a:lnTo>
                  <a:lnTo>
                    <a:pt x="346" y="34"/>
                  </a:lnTo>
                  <a:lnTo>
                    <a:pt x="348" y="32"/>
                  </a:lnTo>
                  <a:lnTo>
                    <a:pt x="350" y="31"/>
                  </a:lnTo>
                  <a:lnTo>
                    <a:pt x="353" y="30"/>
                  </a:lnTo>
                  <a:lnTo>
                    <a:pt x="355" y="30"/>
                  </a:lnTo>
                  <a:lnTo>
                    <a:pt x="358" y="30"/>
                  </a:lnTo>
                  <a:lnTo>
                    <a:pt x="362" y="30"/>
                  </a:lnTo>
                  <a:lnTo>
                    <a:pt x="363" y="30"/>
                  </a:lnTo>
                  <a:lnTo>
                    <a:pt x="364" y="30"/>
                  </a:lnTo>
                  <a:lnTo>
                    <a:pt x="365" y="29"/>
                  </a:lnTo>
                  <a:lnTo>
                    <a:pt x="365" y="28"/>
                  </a:lnTo>
                  <a:lnTo>
                    <a:pt x="365" y="25"/>
                  </a:lnTo>
                  <a:lnTo>
                    <a:pt x="365" y="19"/>
                  </a:lnTo>
                  <a:lnTo>
                    <a:pt x="365" y="18"/>
                  </a:lnTo>
                  <a:lnTo>
                    <a:pt x="366" y="17"/>
                  </a:lnTo>
                  <a:lnTo>
                    <a:pt x="366" y="16"/>
                  </a:lnTo>
                  <a:lnTo>
                    <a:pt x="367" y="15"/>
                  </a:lnTo>
                  <a:lnTo>
                    <a:pt x="368" y="14"/>
                  </a:lnTo>
                  <a:lnTo>
                    <a:pt x="369" y="14"/>
                  </a:lnTo>
                  <a:lnTo>
                    <a:pt x="370" y="14"/>
                  </a:lnTo>
                  <a:lnTo>
                    <a:pt x="371" y="14"/>
                  </a:lnTo>
                  <a:lnTo>
                    <a:pt x="373" y="15"/>
                  </a:lnTo>
                  <a:lnTo>
                    <a:pt x="375" y="16"/>
                  </a:lnTo>
                  <a:lnTo>
                    <a:pt x="380" y="20"/>
                  </a:lnTo>
                  <a:lnTo>
                    <a:pt x="382" y="21"/>
                  </a:lnTo>
                  <a:lnTo>
                    <a:pt x="388" y="23"/>
                  </a:lnTo>
                  <a:lnTo>
                    <a:pt x="391" y="24"/>
                  </a:lnTo>
                  <a:lnTo>
                    <a:pt x="393" y="26"/>
                  </a:lnTo>
                  <a:lnTo>
                    <a:pt x="395" y="26"/>
                  </a:lnTo>
                  <a:lnTo>
                    <a:pt x="397" y="28"/>
                  </a:lnTo>
                  <a:lnTo>
                    <a:pt x="402" y="33"/>
                  </a:lnTo>
                  <a:lnTo>
                    <a:pt x="408" y="37"/>
                  </a:lnTo>
                  <a:lnTo>
                    <a:pt x="412" y="40"/>
                  </a:lnTo>
                  <a:lnTo>
                    <a:pt x="412" y="41"/>
                  </a:lnTo>
                  <a:lnTo>
                    <a:pt x="413" y="41"/>
                  </a:lnTo>
                  <a:lnTo>
                    <a:pt x="413" y="42"/>
                  </a:lnTo>
                  <a:lnTo>
                    <a:pt x="413" y="43"/>
                  </a:lnTo>
                  <a:lnTo>
                    <a:pt x="412" y="46"/>
                  </a:lnTo>
                  <a:lnTo>
                    <a:pt x="411" y="48"/>
                  </a:lnTo>
                  <a:lnTo>
                    <a:pt x="410" y="50"/>
                  </a:lnTo>
                  <a:lnTo>
                    <a:pt x="407" y="56"/>
                  </a:lnTo>
                  <a:lnTo>
                    <a:pt x="405" y="60"/>
                  </a:lnTo>
                  <a:lnTo>
                    <a:pt x="402" y="63"/>
                  </a:lnTo>
                  <a:lnTo>
                    <a:pt x="401" y="65"/>
                  </a:lnTo>
                  <a:lnTo>
                    <a:pt x="400" y="67"/>
                  </a:lnTo>
                  <a:lnTo>
                    <a:pt x="400" y="69"/>
                  </a:lnTo>
                  <a:lnTo>
                    <a:pt x="400" y="71"/>
                  </a:lnTo>
                  <a:lnTo>
                    <a:pt x="399" y="72"/>
                  </a:lnTo>
                  <a:lnTo>
                    <a:pt x="400" y="74"/>
                  </a:lnTo>
                  <a:lnTo>
                    <a:pt x="400" y="75"/>
                  </a:lnTo>
                  <a:lnTo>
                    <a:pt x="401" y="82"/>
                  </a:lnTo>
                  <a:lnTo>
                    <a:pt x="402" y="83"/>
                  </a:lnTo>
                  <a:lnTo>
                    <a:pt x="402" y="87"/>
                  </a:lnTo>
                  <a:lnTo>
                    <a:pt x="401" y="94"/>
                  </a:lnTo>
                  <a:lnTo>
                    <a:pt x="402" y="97"/>
                  </a:lnTo>
                  <a:lnTo>
                    <a:pt x="402" y="99"/>
                  </a:lnTo>
                  <a:lnTo>
                    <a:pt x="403" y="101"/>
                  </a:lnTo>
                  <a:lnTo>
                    <a:pt x="404" y="103"/>
                  </a:lnTo>
                  <a:lnTo>
                    <a:pt x="405" y="105"/>
                  </a:lnTo>
                  <a:lnTo>
                    <a:pt x="407" y="107"/>
                  </a:lnTo>
                  <a:lnTo>
                    <a:pt x="410" y="112"/>
                  </a:lnTo>
                  <a:lnTo>
                    <a:pt x="412" y="114"/>
                  </a:lnTo>
                  <a:lnTo>
                    <a:pt x="413" y="116"/>
                  </a:lnTo>
                  <a:lnTo>
                    <a:pt x="413" y="118"/>
                  </a:lnTo>
                  <a:lnTo>
                    <a:pt x="413" y="120"/>
                  </a:lnTo>
                  <a:lnTo>
                    <a:pt x="413" y="122"/>
                  </a:lnTo>
                  <a:lnTo>
                    <a:pt x="413" y="123"/>
                  </a:lnTo>
                  <a:lnTo>
                    <a:pt x="412" y="127"/>
                  </a:lnTo>
                  <a:lnTo>
                    <a:pt x="411" y="129"/>
                  </a:lnTo>
                  <a:lnTo>
                    <a:pt x="411" y="131"/>
                  </a:lnTo>
                  <a:lnTo>
                    <a:pt x="412" y="138"/>
                  </a:lnTo>
                  <a:lnTo>
                    <a:pt x="411" y="140"/>
                  </a:lnTo>
                  <a:lnTo>
                    <a:pt x="411" y="142"/>
                  </a:lnTo>
                  <a:lnTo>
                    <a:pt x="410" y="148"/>
                  </a:lnTo>
                  <a:lnTo>
                    <a:pt x="408" y="151"/>
                  </a:lnTo>
                  <a:lnTo>
                    <a:pt x="408" y="153"/>
                  </a:lnTo>
                  <a:lnTo>
                    <a:pt x="408" y="157"/>
                  </a:lnTo>
                  <a:lnTo>
                    <a:pt x="408" y="163"/>
                  </a:lnTo>
                  <a:lnTo>
                    <a:pt x="407" y="167"/>
                  </a:lnTo>
                  <a:lnTo>
                    <a:pt x="407" y="170"/>
                  </a:lnTo>
                  <a:lnTo>
                    <a:pt x="407" y="173"/>
                  </a:lnTo>
                  <a:lnTo>
                    <a:pt x="406" y="174"/>
                  </a:lnTo>
                  <a:lnTo>
                    <a:pt x="405" y="176"/>
                  </a:lnTo>
                  <a:lnTo>
                    <a:pt x="403" y="178"/>
                  </a:lnTo>
                  <a:lnTo>
                    <a:pt x="402" y="179"/>
                  </a:lnTo>
                  <a:lnTo>
                    <a:pt x="401" y="181"/>
                  </a:lnTo>
                  <a:lnTo>
                    <a:pt x="399" y="182"/>
                  </a:lnTo>
                  <a:lnTo>
                    <a:pt x="394" y="185"/>
                  </a:lnTo>
                  <a:lnTo>
                    <a:pt x="393" y="185"/>
                  </a:lnTo>
                  <a:lnTo>
                    <a:pt x="393" y="186"/>
                  </a:lnTo>
                  <a:lnTo>
                    <a:pt x="392" y="187"/>
                  </a:lnTo>
                  <a:lnTo>
                    <a:pt x="393" y="189"/>
                  </a:lnTo>
                  <a:lnTo>
                    <a:pt x="393" y="191"/>
                  </a:lnTo>
                  <a:lnTo>
                    <a:pt x="396" y="200"/>
                  </a:lnTo>
                  <a:lnTo>
                    <a:pt x="397" y="204"/>
                  </a:lnTo>
                  <a:lnTo>
                    <a:pt x="400" y="211"/>
                  </a:lnTo>
                  <a:lnTo>
                    <a:pt x="401" y="216"/>
                  </a:lnTo>
                  <a:lnTo>
                    <a:pt x="401" y="218"/>
                  </a:lnTo>
                  <a:lnTo>
                    <a:pt x="401" y="223"/>
                  </a:lnTo>
                  <a:lnTo>
                    <a:pt x="401" y="227"/>
                  </a:lnTo>
                  <a:lnTo>
                    <a:pt x="401" y="230"/>
                  </a:lnTo>
                  <a:lnTo>
                    <a:pt x="400" y="232"/>
                  </a:lnTo>
                  <a:lnTo>
                    <a:pt x="399" y="234"/>
                  </a:lnTo>
                  <a:lnTo>
                    <a:pt x="397" y="237"/>
                  </a:lnTo>
                  <a:lnTo>
                    <a:pt x="396" y="239"/>
                  </a:lnTo>
                  <a:lnTo>
                    <a:pt x="395" y="240"/>
                  </a:lnTo>
                  <a:lnTo>
                    <a:pt x="390" y="241"/>
                  </a:lnTo>
                  <a:lnTo>
                    <a:pt x="387" y="242"/>
                  </a:lnTo>
                  <a:lnTo>
                    <a:pt x="385" y="243"/>
                  </a:lnTo>
                  <a:lnTo>
                    <a:pt x="384" y="244"/>
                  </a:lnTo>
                  <a:lnTo>
                    <a:pt x="383" y="245"/>
                  </a:lnTo>
                  <a:lnTo>
                    <a:pt x="382" y="246"/>
                  </a:lnTo>
                  <a:lnTo>
                    <a:pt x="381" y="248"/>
                  </a:lnTo>
                  <a:lnTo>
                    <a:pt x="380" y="250"/>
                  </a:lnTo>
                  <a:lnTo>
                    <a:pt x="379" y="252"/>
                  </a:lnTo>
                  <a:lnTo>
                    <a:pt x="378" y="257"/>
                  </a:lnTo>
                  <a:lnTo>
                    <a:pt x="377" y="260"/>
                  </a:lnTo>
                  <a:lnTo>
                    <a:pt x="377" y="262"/>
                  </a:lnTo>
                  <a:lnTo>
                    <a:pt x="375" y="264"/>
                  </a:lnTo>
                  <a:lnTo>
                    <a:pt x="373" y="268"/>
                  </a:lnTo>
                  <a:lnTo>
                    <a:pt x="367" y="274"/>
                  </a:lnTo>
                  <a:lnTo>
                    <a:pt x="364" y="277"/>
                  </a:lnTo>
                  <a:lnTo>
                    <a:pt x="362" y="280"/>
                  </a:lnTo>
                  <a:lnTo>
                    <a:pt x="361" y="281"/>
                  </a:lnTo>
                  <a:lnTo>
                    <a:pt x="359" y="282"/>
                  </a:lnTo>
                  <a:lnTo>
                    <a:pt x="358" y="283"/>
                  </a:lnTo>
                  <a:lnTo>
                    <a:pt x="357" y="283"/>
                  </a:lnTo>
                  <a:lnTo>
                    <a:pt x="356" y="282"/>
                  </a:lnTo>
                  <a:lnTo>
                    <a:pt x="356" y="281"/>
                  </a:lnTo>
                  <a:lnTo>
                    <a:pt x="355" y="282"/>
                  </a:lnTo>
                  <a:lnTo>
                    <a:pt x="351" y="281"/>
                  </a:lnTo>
                  <a:lnTo>
                    <a:pt x="350" y="281"/>
                  </a:lnTo>
                  <a:lnTo>
                    <a:pt x="350" y="279"/>
                  </a:lnTo>
                  <a:lnTo>
                    <a:pt x="349" y="279"/>
                  </a:lnTo>
                  <a:lnTo>
                    <a:pt x="349" y="278"/>
                  </a:lnTo>
                  <a:lnTo>
                    <a:pt x="348" y="279"/>
                  </a:lnTo>
                  <a:lnTo>
                    <a:pt x="347" y="279"/>
                  </a:lnTo>
                  <a:lnTo>
                    <a:pt x="346" y="280"/>
                  </a:lnTo>
                  <a:lnTo>
                    <a:pt x="345" y="282"/>
                  </a:lnTo>
                  <a:lnTo>
                    <a:pt x="343" y="285"/>
                  </a:lnTo>
                  <a:lnTo>
                    <a:pt x="340" y="290"/>
                  </a:lnTo>
                  <a:lnTo>
                    <a:pt x="338" y="295"/>
                  </a:lnTo>
                  <a:lnTo>
                    <a:pt x="336" y="298"/>
                  </a:lnTo>
                  <a:lnTo>
                    <a:pt x="334" y="299"/>
                  </a:lnTo>
                  <a:lnTo>
                    <a:pt x="333" y="299"/>
                  </a:lnTo>
                  <a:lnTo>
                    <a:pt x="332" y="300"/>
                  </a:lnTo>
                  <a:lnTo>
                    <a:pt x="330" y="301"/>
                  </a:lnTo>
                  <a:lnTo>
                    <a:pt x="327" y="302"/>
                  </a:lnTo>
                  <a:lnTo>
                    <a:pt x="323" y="304"/>
                  </a:lnTo>
                  <a:lnTo>
                    <a:pt x="320" y="304"/>
                  </a:lnTo>
                  <a:lnTo>
                    <a:pt x="316" y="306"/>
                  </a:lnTo>
                  <a:lnTo>
                    <a:pt x="314" y="308"/>
                  </a:lnTo>
                  <a:lnTo>
                    <a:pt x="311" y="309"/>
                  </a:lnTo>
                  <a:lnTo>
                    <a:pt x="310" y="310"/>
                  </a:lnTo>
                  <a:lnTo>
                    <a:pt x="309" y="311"/>
                  </a:lnTo>
                  <a:lnTo>
                    <a:pt x="309" y="312"/>
                  </a:lnTo>
                  <a:lnTo>
                    <a:pt x="308" y="313"/>
                  </a:lnTo>
                  <a:lnTo>
                    <a:pt x="308" y="315"/>
                  </a:lnTo>
                  <a:lnTo>
                    <a:pt x="308" y="317"/>
                  </a:lnTo>
                  <a:lnTo>
                    <a:pt x="308" y="321"/>
                  </a:lnTo>
                  <a:lnTo>
                    <a:pt x="309" y="333"/>
                  </a:lnTo>
                  <a:lnTo>
                    <a:pt x="310" y="342"/>
                  </a:lnTo>
                  <a:lnTo>
                    <a:pt x="310" y="345"/>
                  </a:lnTo>
                  <a:lnTo>
                    <a:pt x="311" y="350"/>
                  </a:lnTo>
                  <a:lnTo>
                    <a:pt x="312" y="354"/>
                  </a:lnTo>
                  <a:lnTo>
                    <a:pt x="313" y="356"/>
                  </a:lnTo>
                  <a:lnTo>
                    <a:pt x="314" y="361"/>
                  </a:lnTo>
                  <a:lnTo>
                    <a:pt x="316" y="366"/>
                  </a:lnTo>
                  <a:lnTo>
                    <a:pt x="316" y="369"/>
                  </a:lnTo>
                  <a:lnTo>
                    <a:pt x="319" y="373"/>
                  </a:lnTo>
                  <a:lnTo>
                    <a:pt x="320" y="376"/>
                  </a:lnTo>
                  <a:lnTo>
                    <a:pt x="324" y="381"/>
                  </a:lnTo>
                  <a:lnTo>
                    <a:pt x="325" y="384"/>
                  </a:lnTo>
                  <a:lnTo>
                    <a:pt x="326" y="386"/>
                  </a:lnTo>
                  <a:lnTo>
                    <a:pt x="326" y="387"/>
                  </a:lnTo>
                  <a:lnTo>
                    <a:pt x="326" y="388"/>
                  </a:lnTo>
                  <a:lnTo>
                    <a:pt x="326" y="389"/>
                  </a:lnTo>
                  <a:lnTo>
                    <a:pt x="325" y="389"/>
                  </a:lnTo>
                  <a:lnTo>
                    <a:pt x="325" y="390"/>
                  </a:lnTo>
                  <a:lnTo>
                    <a:pt x="324" y="390"/>
                  </a:lnTo>
                  <a:lnTo>
                    <a:pt x="323" y="390"/>
                  </a:lnTo>
                  <a:lnTo>
                    <a:pt x="322" y="391"/>
                  </a:lnTo>
                  <a:lnTo>
                    <a:pt x="321" y="391"/>
                  </a:lnTo>
                  <a:lnTo>
                    <a:pt x="318" y="390"/>
                  </a:lnTo>
                  <a:lnTo>
                    <a:pt x="316" y="389"/>
                  </a:lnTo>
                  <a:lnTo>
                    <a:pt x="308" y="388"/>
                  </a:lnTo>
                  <a:lnTo>
                    <a:pt x="300" y="385"/>
                  </a:lnTo>
                  <a:lnTo>
                    <a:pt x="297" y="383"/>
                  </a:lnTo>
                  <a:lnTo>
                    <a:pt x="294" y="383"/>
                  </a:lnTo>
                  <a:lnTo>
                    <a:pt x="293" y="382"/>
                  </a:lnTo>
                  <a:lnTo>
                    <a:pt x="291" y="382"/>
                  </a:lnTo>
                  <a:lnTo>
                    <a:pt x="289" y="383"/>
                  </a:lnTo>
                  <a:lnTo>
                    <a:pt x="287" y="383"/>
                  </a:lnTo>
                  <a:lnTo>
                    <a:pt x="285" y="383"/>
                  </a:lnTo>
                  <a:lnTo>
                    <a:pt x="284" y="384"/>
                  </a:lnTo>
                  <a:lnTo>
                    <a:pt x="283" y="385"/>
                  </a:lnTo>
                  <a:lnTo>
                    <a:pt x="282" y="386"/>
                  </a:lnTo>
                  <a:lnTo>
                    <a:pt x="282" y="387"/>
                  </a:lnTo>
                  <a:lnTo>
                    <a:pt x="281" y="388"/>
                  </a:lnTo>
                  <a:lnTo>
                    <a:pt x="280" y="390"/>
                  </a:lnTo>
                  <a:lnTo>
                    <a:pt x="279" y="392"/>
                  </a:lnTo>
                  <a:lnTo>
                    <a:pt x="279" y="394"/>
                  </a:lnTo>
                  <a:lnTo>
                    <a:pt x="279" y="395"/>
                  </a:lnTo>
                  <a:lnTo>
                    <a:pt x="279" y="398"/>
                  </a:lnTo>
                  <a:lnTo>
                    <a:pt x="278" y="400"/>
                  </a:lnTo>
                  <a:lnTo>
                    <a:pt x="279" y="403"/>
                  </a:lnTo>
                  <a:lnTo>
                    <a:pt x="279" y="409"/>
                  </a:lnTo>
                  <a:lnTo>
                    <a:pt x="280" y="415"/>
                  </a:lnTo>
                  <a:lnTo>
                    <a:pt x="281" y="420"/>
                  </a:lnTo>
                  <a:lnTo>
                    <a:pt x="282" y="427"/>
                  </a:lnTo>
                  <a:lnTo>
                    <a:pt x="283" y="430"/>
                  </a:lnTo>
                  <a:lnTo>
                    <a:pt x="283" y="432"/>
                  </a:lnTo>
                  <a:lnTo>
                    <a:pt x="283" y="434"/>
                  </a:lnTo>
                  <a:lnTo>
                    <a:pt x="283" y="434"/>
                  </a:lnTo>
                  <a:lnTo>
                    <a:pt x="283" y="436"/>
                  </a:lnTo>
                  <a:lnTo>
                    <a:pt x="282" y="438"/>
                  </a:lnTo>
                  <a:lnTo>
                    <a:pt x="282" y="440"/>
                  </a:lnTo>
                  <a:lnTo>
                    <a:pt x="282" y="441"/>
                  </a:lnTo>
                  <a:lnTo>
                    <a:pt x="281" y="443"/>
                  </a:lnTo>
                  <a:lnTo>
                    <a:pt x="277" y="448"/>
                  </a:lnTo>
                  <a:lnTo>
                    <a:pt x="272" y="454"/>
                  </a:lnTo>
                  <a:lnTo>
                    <a:pt x="267" y="462"/>
                  </a:lnTo>
                  <a:lnTo>
                    <a:pt x="265" y="465"/>
                  </a:lnTo>
                  <a:lnTo>
                    <a:pt x="263" y="467"/>
                  </a:lnTo>
                  <a:lnTo>
                    <a:pt x="262" y="469"/>
                  </a:lnTo>
                  <a:lnTo>
                    <a:pt x="261" y="473"/>
                  </a:lnTo>
                  <a:lnTo>
                    <a:pt x="260" y="475"/>
                  </a:lnTo>
                  <a:lnTo>
                    <a:pt x="260" y="476"/>
                  </a:lnTo>
                  <a:lnTo>
                    <a:pt x="260" y="477"/>
                  </a:lnTo>
                  <a:lnTo>
                    <a:pt x="260" y="478"/>
                  </a:lnTo>
                  <a:lnTo>
                    <a:pt x="259" y="478"/>
                  </a:lnTo>
                  <a:lnTo>
                    <a:pt x="259" y="478"/>
                  </a:lnTo>
                  <a:lnTo>
                    <a:pt x="256" y="478"/>
                  </a:lnTo>
                  <a:lnTo>
                    <a:pt x="253" y="478"/>
                  </a:lnTo>
                  <a:lnTo>
                    <a:pt x="245" y="476"/>
                  </a:lnTo>
                  <a:lnTo>
                    <a:pt x="241" y="475"/>
                  </a:lnTo>
                  <a:lnTo>
                    <a:pt x="237" y="475"/>
                  </a:lnTo>
                  <a:lnTo>
                    <a:pt x="234" y="475"/>
                  </a:lnTo>
                  <a:lnTo>
                    <a:pt x="224" y="474"/>
                  </a:lnTo>
                  <a:lnTo>
                    <a:pt x="220" y="474"/>
                  </a:lnTo>
                  <a:lnTo>
                    <a:pt x="215" y="473"/>
                  </a:lnTo>
                  <a:lnTo>
                    <a:pt x="212" y="472"/>
                  </a:lnTo>
                  <a:lnTo>
                    <a:pt x="207" y="470"/>
                  </a:lnTo>
                  <a:lnTo>
                    <a:pt x="204" y="469"/>
                  </a:lnTo>
                  <a:lnTo>
                    <a:pt x="203" y="468"/>
                  </a:lnTo>
                  <a:lnTo>
                    <a:pt x="202" y="468"/>
                  </a:lnTo>
                  <a:lnTo>
                    <a:pt x="201" y="466"/>
                  </a:lnTo>
                  <a:lnTo>
                    <a:pt x="198" y="460"/>
                  </a:lnTo>
                  <a:lnTo>
                    <a:pt x="197" y="459"/>
                  </a:lnTo>
                  <a:lnTo>
                    <a:pt x="195" y="458"/>
                  </a:lnTo>
                  <a:lnTo>
                    <a:pt x="194" y="457"/>
                  </a:lnTo>
                  <a:lnTo>
                    <a:pt x="193" y="456"/>
                  </a:lnTo>
                  <a:lnTo>
                    <a:pt x="185" y="454"/>
                  </a:lnTo>
                  <a:lnTo>
                    <a:pt x="182" y="454"/>
                  </a:lnTo>
                  <a:lnTo>
                    <a:pt x="180" y="452"/>
                  </a:lnTo>
                  <a:lnTo>
                    <a:pt x="179" y="451"/>
                  </a:lnTo>
                  <a:lnTo>
                    <a:pt x="178" y="449"/>
                  </a:lnTo>
                  <a:lnTo>
                    <a:pt x="176" y="447"/>
                  </a:lnTo>
                  <a:lnTo>
                    <a:pt x="176" y="445"/>
                  </a:lnTo>
                  <a:lnTo>
                    <a:pt x="175" y="441"/>
                  </a:lnTo>
                  <a:lnTo>
                    <a:pt x="174" y="439"/>
                  </a:lnTo>
                  <a:lnTo>
                    <a:pt x="173" y="437"/>
                  </a:lnTo>
                  <a:lnTo>
                    <a:pt x="173" y="436"/>
                  </a:lnTo>
                  <a:lnTo>
                    <a:pt x="172" y="436"/>
                  </a:lnTo>
                  <a:lnTo>
                    <a:pt x="170" y="435"/>
                  </a:lnTo>
                  <a:lnTo>
                    <a:pt x="168" y="434"/>
                  </a:lnTo>
                  <a:lnTo>
                    <a:pt x="167" y="434"/>
                  </a:lnTo>
                  <a:lnTo>
                    <a:pt x="162" y="434"/>
                  </a:lnTo>
                  <a:lnTo>
                    <a:pt x="159" y="434"/>
                  </a:lnTo>
                  <a:lnTo>
                    <a:pt x="153" y="433"/>
                  </a:lnTo>
                  <a:lnTo>
                    <a:pt x="144" y="431"/>
                  </a:lnTo>
                  <a:lnTo>
                    <a:pt x="140" y="429"/>
                  </a:lnTo>
                  <a:lnTo>
                    <a:pt x="138" y="429"/>
                  </a:lnTo>
                  <a:lnTo>
                    <a:pt x="137" y="428"/>
                  </a:lnTo>
                  <a:lnTo>
                    <a:pt x="135" y="427"/>
                  </a:lnTo>
                  <a:lnTo>
                    <a:pt x="134" y="426"/>
                  </a:lnTo>
                  <a:lnTo>
                    <a:pt x="134" y="425"/>
                  </a:lnTo>
                  <a:lnTo>
                    <a:pt x="132" y="423"/>
                  </a:lnTo>
                  <a:lnTo>
                    <a:pt x="129" y="419"/>
                  </a:lnTo>
                  <a:lnTo>
                    <a:pt x="127" y="417"/>
                  </a:lnTo>
                  <a:lnTo>
                    <a:pt x="125" y="415"/>
                  </a:lnTo>
                  <a:lnTo>
                    <a:pt x="122" y="411"/>
                  </a:lnTo>
                  <a:lnTo>
                    <a:pt x="117" y="408"/>
                  </a:lnTo>
                  <a:lnTo>
                    <a:pt x="115" y="406"/>
                  </a:lnTo>
                  <a:lnTo>
                    <a:pt x="114" y="404"/>
                  </a:lnTo>
                  <a:lnTo>
                    <a:pt x="112" y="401"/>
                  </a:lnTo>
                  <a:lnTo>
                    <a:pt x="111" y="398"/>
                  </a:lnTo>
                  <a:lnTo>
                    <a:pt x="110" y="395"/>
                  </a:lnTo>
                  <a:lnTo>
                    <a:pt x="108" y="388"/>
                  </a:lnTo>
                  <a:lnTo>
                    <a:pt x="107" y="385"/>
                  </a:lnTo>
                  <a:lnTo>
                    <a:pt x="105" y="381"/>
                  </a:lnTo>
                  <a:lnTo>
                    <a:pt x="103" y="377"/>
                  </a:lnTo>
                  <a:lnTo>
                    <a:pt x="100" y="374"/>
                  </a:lnTo>
                  <a:lnTo>
                    <a:pt x="97" y="368"/>
                  </a:lnTo>
                  <a:lnTo>
                    <a:pt x="95" y="366"/>
                  </a:lnTo>
                  <a:lnTo>
                    <a:pt x="91" y="363"/>
                  </a:lnTo>
                  <a:lnTo>
                    <a:pt x="89" y="361"/>
                  </a:lnTo>
                  <a:lnTo>
                    <a:pt x="88" y="360"/>
                  </a:lnTo>
                  <a:lnTo>
                    <a:pt x="87" y="358"/>
                  </a:lnTo>
                  <a:lnTo>
                    <a:pt x="86" y="356"/>
                  </a:lnTo>
                  <a:lnTo>
                    <a:pt x="85" y="354"/>
                  </a:lnTo>
                  <a:lnTo>
                    <a:pt x="84" y="353"/>
                  </a:lnTo>
                  <a:lnTo>
                    <a:pt x="84" y="352"/>
                  </a:lnTo>
                  <a:lnTo>
                    <a:pt x="84" y="350"/>
                  </a:lnTo>
                  <a:lnTo>
                    <a:pt x="84" y="346"/>
                  </a:lnTo>
                  <a:lnTo>
                    <a:pt x="83" y="344"/>
                  </a:lnTo>
                  <a:lnTo>
                    <a:pt x="83" y="343"/>
                  </a:lnTo>
                  <a:lnTo>
                    <a:pt x="82" y="340"/>
                  </a:lnTo>
                  <a:lnTo>
                    <a:pt x="79" y="333"/>
                  </a:lnTo>
                  <a:lnTo>
                    <a:pt x="77" y="328"/>
                  </a:lnTo>
                  <a:lnTo>
                    <a:pt x="76" y="323"/>
                  </a:lnTo>
                  <a:lnTo>
                    <a:pt x="73" y="319"/>
                  </a:lnTo>
                  <a:lnTo>
                    <a:pt x="67" y="308"/>
                  </a:lnTo>
                  <a:lnTo>
                    <a:pt x="66" y="304"/>
                  </a:lnTo>
                  <a:lnTo>
                    <a:pt x="64" y="301"/>
                  </a:lnTo>
                  <a:lnTo>
                    <a:pt x="61" y="298"/>
                  </a:lnTo>
                  <a:lnTo>
                    <a:pt x="58" y="294"/>
                  </a:lnTo>
                  <a:lnTo>
                    <a:pt x="55" y="289"/>
                  </a:lnTo>
                  <a:lnTo>
                    <a:pt x="48" y="283"/>
                  </a:lnTo>
                  <a:lnTo>
                    <a:pt x="47" y="281"/>
                  </a:lnTo>
                  <a:lnTo>
                    <a:pt x="45" y="280"/>
                  </a:lnTo>
                  <a:lnTo>
                    <a:pt x="44" y="278"/>
                  </a:lnTo>
                  <a:lnTo>
                    <a:pt x="43" y="276"/>
                  </a:lnTo>
                  <a:lnTo>
                    <a:pt x="43" y="275"/>
                  </a:lnTo>
                  <a:lnTo>
                    <a:pt x="43" y="273"/>
                  </a:lnTo>
                  <a:lnTo>
                    <a:pt x="43" y="270"/>
                  </a:lnTo>
                  <a:lnTo>
                    <a:pt x="43" y="267"/>
                  </a:lnTo>
                  <a:lnTo>
                    <a:pt x="43" y="261"/>
                  </a:lnTo>
                  <a:lnTo>
                    <a:pt x="45" y="252"/>
                  </a:lnTo>
                  <a:lnTo>
                    <a:pt x="46" y="249"/>
                  </a:lnTo>
                  <a:lnTo>
                    <a:pt x="47" y="246"/>
                  </a:lnTo>
                  <a:lnTo>
                    <a:pt x="49" y="239"/>
                  </a:lnTo>
                  <a:lnTo>
                    <a:pt x="50" y="237"/>
                  </a:lnTo>
                  <a:lnTo>
                    <a:pt x="51" y="233"/>
                  </a:lnTo>
                  <a:lnTo>
                    <a:pt x="51" y="230"/>
                  </a:lnTo>
                  <a:lnTo>
                    <a:pt x="52" y="228"/>
                  </a:lnTo>
                  <a:lnTo>
                    <a:pt x="53" y="226"/>
                  </a:lnTo>
                  <a:lnTo>
                    <a:pt x="55" y="222"/>
                  </a:lnTo>
                  <a:lnTo>
                    <a:pt x="55" y="221"/>
                  </a:lnTo>
                  <a:lnTo>
                    <a:pt x="56" y="220"/>
                  </a:lnTo>
                  <a:lnTo>
                    <a:pt x="56" y="218"/>
                  </a:lnTo>
                  <a:lnTo>
                    <a:pt x="56" y="218"/>
                  </a:lnTo>
                  <a:lnTo>
                    <a:pt x="56" y="216"/>
                  </a:lnTo>
                  <a:lnTo>
                    <a:pt x="55" y="213"/>
                  </a:lnTo>
                  <a:lnTo>
                    <a:pt x="55" y="211"/>
                  </a:lnTo>
                  <a:lnTo>
                    <a:pt x="56" y="209"/>
                  </a:lnTo>
                  <a:lnTo>
                    <a:pt x="57" y="205"/>
                  </a:lnTo>
                  <a:lnTo>
                    <a:pt x="58" y="204"/>
                  </a:lnTo>
                  <a:lnTo>
                    <a:pt x="58" y="203"/>
                  </a:lnTo>
                  <a:lnTo>
                    <a:pt x="58" y="201"/>
                  </a:lnTo>
                  <a:lnTo>
                    <a:pt x="57" y="200"/>
                  </a:lnTo>
                  <a:lnTo>
                    <a:pt x="56" y="198"/>
                  </a:lnTo>
                  <a:lnTo>
                    <a:pt x="55" y="196"/>
                  </a:lnTo>
                  <a:lnTo>
                    <a:pt x="55" y="196"/>
                  </a:lnTo>
                  <a:lnTo>
                    <a:pt x="54" y="195"/>
                  </a:lnTo>
                  <a:lnTo>
                    <a:pt x="50" y="192"/>
                  </a:lnTo>
                  <a:lnTo>
                    <a:pt x="48" y="190"/>
                  </a:lnTo>
                  <a:lnTo>
                    <a:pt x="46" y="189"/>
                  </a:lnTo>
                  <a:lnTo>
                    <a:pt x="46" y="187"/>
                  </a:lnTo>
                  <a:lnTo>
                    <a:pt x="46" y="186"/>
                  </a:lnTo>
                  <a:lnTo>
                    <a:pt x="46" y="185"/>
                  </a:lnTo>
                  <a:lnTo>
                    <a:pt x="46" y="184"/>
                  </a:lnTo>
                  <a:lnTo>
                    <a:pt x="48" y="183"/>
                  </a:lnTo>
                  <a:lnTo>
                    <a:pt x="48" y="181"/>
                  </a:lnTo>
                  <a:lnTo>
                    <a:pt x="48" y="179"/>
                  </a:lnTo>
                  <a:lnTo>
                    <a:pt x="48" y="178"/>
                  </a:lnTo>
                  <a:lnTo>
                    <a:pt x="47" y="175"/>
                  </a:lnTo>
                  <a:lnTo>
                    <a:pt x="45" y="170"/>
                  </a:lnTo>
                  <a:lnTo>
                    <a:pt x="43" y="167"/>
                  </a:lnTo>
                  <a:lnTo>
                    <a:pt x="43" y="164"/>
                  </a:lnTo>
                  <a:lnTo>
                    <a:pt x="43" y="160"/>
                  </a:lnTo>
                  <a:lnTo>
                    <a:pt x="42" y="158"/>
                  </a:lnTo>
                  <a:lnTo>
                    <a:pt x="41" y="156"/>
                  </a:lnTo>
                  <a:lnTo>
                    <a:pt x="38" y="151"/>
                  </a:lnTo>
                  <a:lnTo>
                    <a:pt x="37" y="149"/>
                  </a:lnTo>
                  <a:lnTo>
                    <a:pt x="36" y="148"/>
                  </a:lnTo>
                  <a:lnTo>
                    <a:pt x="36" y="147"/>
                  </a:lnTo>
                  <a:lnTo>
                    <a:pt x="36" y="145"/>
                  </a:lnTo>
                  <a:lnTo>
                    <a:pt x="36" y="144"/>
                  </a:lnTo>
                  <a:lnTo>
                    <a:pt x="36" y="143"/>
                  </a:lnTo>
                  <a:lnTo>
                    <a:pt x="36" y="142"/>
                  </a:lnTo>
                  <a:lnTo>
                    <a:pt x="38" y="139"/>
                  </a:lnTo>
                  <a:lnTo>
                    <a:pt x="39" y="138"/>
                  </a:lnTo>
                  <a:lnTo>
                    <a:pt x="41" y="136"/>
                  </a:lnTo>
                  <a:lnTo>
                    <a:pt x="42" y="135"/>
                  </a:lnTo>
                  <a:lnTo>
                    <a:pt x="43" y="134"/>
                  </a:lnTo>
                  <a:lnTo>
                    <a:pt x="44" y="134"/>
                  </a:lnTo>
                  <a:lnTo>
                    <a:pt x="48" y="132"/>
                  </a:lnTo>
                  <a:lnTo>
                    <a:pt x="50" y="131"/>
                  </a:lnTo>
                  <a:lnTo>
                    <a:pt x="52" y="130"/>
                  </a:lnTo>
                  <a:lnTo>
                    <a:pt x="54" y="128"/>
                  </a:lnTo>
                  <a:lnTo>
                    <a:pt x="55" y="127"/>
                  </a:lnTo>
                  <a:lnTo>
                    <a:pt x="56" y="124"/>
                  </a:lnTo>
                  <a:lnTo>
                    <a:pt x="57" y="121"/>
                  </a:lnTo>
                  <a:lnTo>
                    <a:pt x="58" y="119"/>
                  </a:lnTo>
                  <a:lnTo>
                    <a:pt x="58" y="118"/>
                  </a:lnTo>
                  <a:lnTo>
                    <a:pt x="59" y="116"/>
                  </a:lnTo>
                  <a:lnTo>
                    <a:pt x="59" y="116"/>
                  </a:lnTo>
                  <a:lnTo>
                    <a:pt x="58" y="114"/>
                  </a:lnTo>
                  <a:lnTo>
                    <a:pt x="58" y="113"/>
                  </a:lnTo>
                  <a:lnTo>
                    <a:pt x="57" y="112"/>
                  </a:lnTo>
                  <a:lnTo>
                    <a:pt x="56" y="112"/>
                  </a:lnTo>
                  <a:lnTo>
                    <a:pt x="55" y="111"/>
                  </a:lnTo>
                  <a:lnTo>
                    <a:pt x="52" y="111"/>
                  </a:lnTo>
                  <a:lnTo>
                    <a:pt x="51" y="110"/>
                  </a:lnTo>
                  <a:lnTo>
                    <a:pt x="50" y="109"/>
                  </a:lnTo>
                  <a:lnTo>
                    <a:pt x="48" y="108"/>
                  </a:lnTo>
                  <a:lnTo>
                    <a:pt x="45" y="104"/>
                  </a:lnTo>
                  <a:lnTo>
                    <a:pt x="44" y="104"/>
                  </a:lnTo>
                  <a:lnTo>
                    <a:pt x="44" y="103"/>
                  </a:lnTo>
                  <a:lnTo>
                    <a:pt x="44" y="101"/>
                  </a:lnTo>
                  <a:lnTo>
                    <a:pt x="44" y="100"/>
                  </a:lnTo>
                  <a:lnTo>
                    <a:pt x="44" y="99"/>
                  </a:lnTo>
                  <a:lnTo>
                    <a:pt x="44" y="98"/>
                  </a:lnTo>
                  <a:lnTo>
                    <a:pt x="45" y="97"/>
                  </a:lnTo>
                  <a:lnTo>
                    <a:pt x="45" y="96"/>
                  </a:lnTo>
                  <a:lnTo>
                    <a:pt x="45" y="95"/>
                  </a:lnTo>
                  <a:lnTo>
                    <a:pt x="44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2" y="94"/>
                  </a:lnTo>
                  <a:lnTo>
                    <a:pt x="39" y="93"/>
                  </a:lnTo>
                  <a:lnTo>
                    <a:pt x="38" y="93"/>
                  </a:lnTo>
                  <a:lnTo>
                    <a:pt x="36" y="92"/>
                  </a:lnTo>
                  <a:lnTo>
                    <a:pt x="34" y="91"/>
                  </a:lnTo>
                  <a:lnTo>
                    <a:pt x="33" y="90"/>
                  </a:lnTo>
                  <a:lnTo>
                    <a:pt x="32" y="88"/>
                  </a:lnTo>
                  <a:lnTo>
                    <a:pt x="29" y="83"/>
                  </a:lnTo>
                  <a:lnTo>
                    <a:pt x="28" y="82"/>
                  </a:lnTo>
                  <a:lnTo>
                    <a:pt x="27" y="82"/>
                  </a:lnTo>
                  <a:lnTo>
                    <a:pt x="26" y="81"/>
                  </a:lnTo>
                  <a:lnTo>
                    <a:pt x="23" y="80"/>
                  </a:lnTo>
                  <a:lnTo>
                    <a:pt x="21" y="78"/>
                  </a:lnTo>
                  <a:lnTo>
                    <a:pt x="19" y="77"/>
                  </a:lnTo>
                  <a:lnTo>
                    <a:pt x="16" y="76"/>
                  </a:lnTo>
                  <a:lnTo>
                    <a:pt x="14" y="75"/>
                  </a:lnTo>
                  <a:lnTo>
                    <a:pt x="11" y="74"/>
                  </a:lnTo>
                  <a:lnTo>
                    <a:pt x="4" y="73"/>
                  </a:lnTo>
                  <a:lnTo>
                    <a:pt x="2" y="73"/>
                  </a:lnTo>
                  <a:lnTo>
                    <a:pt x="1" y="72"/>
                  </a:lnTo>
                  <a:lnTo>
                    <a:pt x="0" y="72"/>
                  </a:lnTo>
                  <a:lnTo>
                    <a:pt x="0" y="71"/>
                  </a:lnTo>
                  <a:lnTo>
                    <a:pt x="1" y="71"/>
                  </a:lnTo>
                  <a:lnTo>
                    <a:pt x="4" y="66"/>
                  </a:lnTo>
                  <a:lnTo>
                    <a:pt x="5" y="64"/>
                  </a:lnTo>
                  <a:lnTo>
                    <a:pt x="6" y="62"/>
                  </a:lnTo>
                  <a:lnTo>
                    <a:pt x="8" y="61"/>
                  </a:lnTo>
                  <a:lnTo>
                    <a:pt x="9" y="60"/>
                  </a:lnTo>
                  <a:lnTo>
                    <a:pt x="10" y="60"/>
                  </a:lnTo>
                  <a:lnTo>
                    <a:pt x="13" y="59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9" y="58"/>
                  </a:lnTo>
                  <a:lnTo>
                    <a:pt x="24" y="58"/>
                  </a:lnTo>
                  <a:lnTo>
                    <a:pt x="27" y="57"/>
                  </a:lnTo>
                  <a:lnTo>
                    <a:pt x="29" y="57"/>
                  </a:lnTo>
                  <a:lnTo>
                    <a:pt x="32" y="56"/>
                  </a:lnTo>
                  <a:lnTo>
                    <a:pt x="33" y="55"/>
                  </a:lnTo>
                  <a:lnTo>
                    <a:pt x="35" y="54"/>
                  </a:lnTo>
                  <a:lnTo>
                    <a:pt x="37" y="52"/>
                  </a:lnTo>
                  <a:lnTo>
                    <a:pt x="41" y="48"/>
                  </a:lnTo>
                  <a:lnTo>
                    <a:pt x="42" y="48"/>
                  </a:lnTo>
                  <a:lnTo>
                    <a:pt x="43" y="48"/>
                  </a:lnTo>
                  <a:lnTo>
                    <a:pt x="43" y="47"/>
                  </a:lnTo>
                  <a:lnTo>
                    <a:pt x="45" y="47"/>
                  </a:lnTo>
                  <a:lnTo>
                    <a:pt x="46" y="47"/>
                  </a:lnTo>
                  <a:lnTo>
                    <a:pt x="49" y="47"/>
                  </a:lnTo>
                  <a:lnTo>
                    <a:pt x="50" y="47"/>
                  </a:lnTo>
                  <a:lnTo>
                    <a:pt x="51" y="46"/>
                  </a:lnTo>
                  <a:lnTo>
                    <a:pt x="52" y="45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5" y="40"/>
                  </a:lnTo>
                  <a:lnTo>
                    <a:pt x="57" y="37"/>
                  </a:lnTo>
                  <a:lnTo>
                    <a:pt x="58" y="36"/>
                  </a:lnTo>
                  <a:lnTo>
                    <a:pt x="59" y="33"/>
                  </a:lnTo>
                  <a:lnTo>
                    <a:pt x="61" y="27"/>
                  </a:lnTo>
                  <a:lnTo>
                    <a:pt x="62" y="26"/>
                  </a:lnTo>
                  <a:lnTo>
                    <a:pt x="63" y="22"/>
                  </a:lnTo>
                  <a:lnTo>
                    <a:pt x="63" y="20"/>
                  </a:lnTo>
                  <a:lnTo>
                    <a:pt x="64" y="18"/>
                  </a:lnTo>
                  <a:lnTo>
                    <a:pt x="66" y="17"/>
                  </a:lnTo>
                  <a:lnTo>
                    <a:pt x="67" y="16"/>
                  </a:lnTo>
                  <a:lnTo>
                    <a:pt x="69" y="14"/>
                  </a:lnTo>
                  <a:lnTo>
                    <a:pt x="81" y="9"/>
                  </a:lnTo>
                  <a:lnTo>
                    <a:pt x="87" y="6"/>
                  </a:lnTo>
                  <a:lnTo>
                    <a:pt x="89" y="5"/>
                  </a:lnTo>
                  <a:lnTo>
                    <a:pt x="92" y="4"/>
                  </a:lnTo>
                  <a:lnTo>
                    <a:pt x="101" y="2"/>
                  </a:lnTo>
                  <a:lnTo>
                    <a:pt x="102" y="2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5" name="Freeform 22">
              <a:extLst>
                <a:ext uri="{FF2B5EF4-FFF2-40B4-BE49-F238E27FC236}">
                  <a16:creationId xmlns:a16="http://schemas.microsoft.com/office/drawing/2014/main" id="{7EC87454-C0D4-4451-B282-C8BFCC1C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" y="3207"/>
              <a:ext cx="576" cy="499"/>
            </a:xfrm>
            <a:custGeom>
              <a:avLst/>
              <a:gdLst>
                <a:gd name="T0" fmla="*/ 118 w 576"/>
                <a:gd name="T1" fmla="*/ 5 h 499"/>
                <a:gd name="T2" fmla="*/ 148 w 576"/>
                <a:gd name="T3" fmla="*/ 13 h 499"/>
                <a:gd name="T4" fmla="*/ 163 w 576"/>
                <a:gd name="T5" fmla="*/ 29 h 499"/>
                <a:gd name="T6" fmla="*/ 180 w 576"/>
                <a:gd name="T7" fmla="*/ 36 h 499"/>
                <a:gd name="T8" fmla="*/ 243 w 576"/>
                <a:gd name="T9" fmla="*/ 39 h 499"/>
                <a:gd name="T10" fmla="*/ 257 w 576"/>
                <a:gd name="T11" fmla="*/ 64 h 499"/>
                <a:gd name="T12" fmla="*/ 289 w 576"/>
                <a:gd name="T13" fmla="*/ 63 h 499"/>
                <a:gd name="T14" fmla="*/ 323 w 576"/>
                <a:gd name="T15" fmla="*/ 53 h 499"/>
                <a:gd name="T16" fmla="*/ 338 w 576"/>
                <a:gd name="T17" fmla="*/ 33 h 499"/>
                <a:gd name="T18" fmla="*/ 352 w 576"/>
                <a:gd name="T19" fmla="*/ 43 h 499"/>
                <a:gd name="T20" fmla="*/ 370 w 576"/>
                <a:gd name="T21" fmla="*/ 44 h 499"/>
                <a:gd name="T22" fmla="*/ 379 w 576"/>
                <a:gd name="T23" fmla="*/ 58 h 499"/>
                <a:gd name="T24" fmla="*/ 398 w 576"/>
                <a:gd name="T25" fmla="*/ 79 h 499"/>
                <a:gd name="T26" fmla="*/ 425 w 576"/>
                <a:gd name="T27" fmla="*/ 89 h 499"/>
                <a:gd name="T28" fmla="*/ 493 w 576"/>
                <a:gd name="T29" fmla="*/ 89 h 499"/>
                <a:gd name="T30" fmla="*/ 526 w 576"/>
                <a:gd name="T31" fmla="*/ 85 h 499"/>
                <a:gd name="T32" fmla="*/ 545 w 576"/>
                <a:gd name="T33" fmla="*/ 69 h 499"/>
                <a:gd name="T34" fmla="*/ 553 w 576"/>
                <a:gd name="T35" fmla="*/ 67 h 499"/>
                <a:gd name="T36" fmla="*/ 552 w 576"/>
                <a:gd name="T37" fmla="*/ 104 h 499"/>
                <a:gd name="T38" fmla="*/ 557 w 576"/>
                <a:gd name="T39" fmla="*/ 126 h 499"/>
                <a:gd name="T40" fmla="*/ 576 w 576"/>
                <a:gd name="T41" fmla="*/ 158 h 499"/>
                <a:gd name="T42" fmla="*/ 569 w 576"/>
                <a:gd name="T43" fmla="*/ 170 h 499"/>
                <a:gd name="T44" fmla="*/ 547 w 576"/>
                <a:gd name="T45" fmla="*/ 191 h 499"/>
                <a:gd name="T46" fmla="*/ 520 w 576"/>
                <a:gd name="T47" fmla="*/ 204 h 499"/>
                <a:gd name="T48" fmla="*/ 506 w 576"/>
                <a:gd name="T49" fmla="*/ 226 h 499"/>
                <a:gd name="T50" fmla="*/ 501 w 576"/>
                <a:gd name="T51" fmla="*/ 249 h 499"/>
                <a:gd name="T52" fmla="*/ 490 w 576"/>
                <a:gd name="T53" fmla="*/ 275 h 499"/>
                <a:gd name="T54" fmla="*/ 490 w 576"/>
                <a:gd name="T55" fmla="*/ 297 h 499"/>
                <a:gd name="T56" fmla="*/ 496 w 576"/>
                <a:gd name="T57" fmla="*/ 314 h 499"/>
                <a:gd name="T58" fmla="*/ 495 w 576"/>
                <a:gd name="T59" fmla="*/ 326 h 499"/>
                <a:gd name="T60" fmla="*/ 480 w 576"/>
                <a:gd name="T61" fmla="*/ 324 h 499"/>
                <a:gd name="T62" fmla="*/ 448 w 576"/>
                <a:gd name="T63" fmla="*/ 312 h 499"/>
                <a:gd name="T64" fmla="*/ 406 w 576"/>
                <a:gd name="T65" fmla="*/ 313 h 499"/>
                <a:gd name="T66" fmla="*/ 354 w 576"/>
                <a:gd name="T67" fmla="*/ 322 h 499"/>
                <a:gd name="T68" fmla="*/ 327 w 576"/>
                <a:gd name="T69" fmla="*/ 321 h 499"/>
                <a:gd name="T70" fmla="*/ 318 w 576"/>
                <a:gd name="T71" fmla="*/ 334 h 499"/>
                <a:gd name="T72" fmla="*/ 319 w 576"/>
                <a:gd name="T73" fmla="*/ 368 h 499"/>
                <a:gd name="T74" fmla="*/ 332 w 576"/>
                <a:gd name="T75" fmla="*/ 412 h 499"/>
                <a:gd name="T76" fmla="*/ 332 w 576"/>
                <a:gd name="T77" fmla="*/ 448 h 499"/>
                <a:gd name="T78" fmla="*/ 316 w 576"/>
                <a:gd name="T79" fmla="*/ 478 h 499"/>
                <a:gd name="T80" fmla="*/ 293 w 576"/>
                <a:gd name="T81" fmla="*/ 489 h 499"/>
                <a:gd name="T82" fmla="*/ 276 w 576"/>
                <a:gd name="T83" fmla="*/ 491 h 499"/>
                <a:gd name="T84" fmla="*/ 242 w 576"/>
                <a:gd name="T85" fmla="*/ 470 h 499"/>
                <a:gd name="T86" fmla="*/ 208 w 576"/>
                <a:gd name="T87" fmla="*/ 455 h 499"/>
                <a:gd name="T88" fmla="*/ 200 w 576"/>
                <a:gd name="T89" fmla="*/ 425 h 499"/>
                <a:gd name="T90" fmla="*/ 178 w 576"/>
                <a:gd name="T91" fmla="*/ 392 h 499"/>
                <a:gd name="T92" fmla="*/ 165 w 576"/>
                <a:gd name="T93" fmla="*/ 372 h 499"/>
                <a:gd name="T94" fmla="*/ 147 w 576"/>
                <a:gd name="T95" fmla="*/ 335 h 499"/>
                <a:gd name="T96" fmla="*/ 113 w 576"/>
                <a:gd name="T97" fmla="*/ 334 h 499"/>
                <a:gd name="T98" fmla="*/ 88 w 576"/>
                <a:gd name="T99" fmla="*/ 317 h 499"/>
                <a:gd name="T100" fmla="*/ 62 w 576"/>
                <a:gd name="T101" fmla="*/ 260 h 499"/>
                <a:gd name="T102" fmla="*/ 48 w 576"/>
                <a:gd name="T103" fmla="*/ 256 h 499"/>
                <a:gd name="T104" fmla="*/ 30 w 576"/>
                <a:gd name="T105" fmla="*/ 236 h 499"/>
                <a:gd name="T106" fmla="*/ 7 w 576"/>
                <a:gd name="T107" fmla="*/ 229 h 499"/>
                <a:gd name="T108" fmla="*/ 0 w 576"/>
                <a:gd name="T109" fmla="*/ 204 h 499"/>
                <a:gd name="T110" fmla="*/ 5 w 576"/>
                <a:gd name="T111" fmla="*/ 168 h 499"/>
                <a:gd name="T112" fmla="*/ 23 w 576"/>
                <a:gd name="T113" fmla="*/ 141 h 499"/>
                <a:gd name="T114" fmla="*/ 43 w 576"/>
                <a:gd name="T115" fmla="*/ 127 h 499"/>
                <a:gd name="T116" fmla="*/ 48 w 576"/>
                <a:gd name="T117" fmla="*/ 108 h 499"/>
                <a:gd name="T118" fmla="*/ 38 w 576"/>
                <a:gd name="T119" fmla="*/ 70 h 499"/>
                <a:gd name="T120" fmla="*/ 45 w 576"/>
                <a:gd name="T121" fmla="*/ 25 h 499"/>
                <a:gd name="T122" fmla="*/ 65 w 576"/>
                <a:gd name="T123" fmla="*/ 24 h 499"/>
                <a:gd name="T124" fmla="*/ 83 w 576"/>
                <a:gd name="T125" fmla="*/ 19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6" h="499">
                  <a:moveTo>
                    <a:pt x="112" y="0"/>
                  </a:moveTo>
                  <a:lnTo>
                    <a:pt x="114" y="1"/>
                  </a:lnTo>
                  <a:lnTo>
                    <a:pt x="115" y="1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1"/>
                  </a:lnTo>
                  <a:lnTo>
                    <a:pt x="117" y="2"/>
                  </a:lnTo>
                  <a:lnTo>
                    <a:pt x="118" y="4"/>
                  </a:lnTo>
                  <a:lnTo>
                    <a:pt x="118" y="5"/>
                  </a:lnTo>
                  <a:lnTo>
                    <a:pt x="119" y="6"/>
                  </a:lnTo>
                  <a:lnTo>
                    <a:pt x="121" y="7"/>
                  </a:lnTo>
                  <a:lnTo>
                    <a:pt x="123" y="8"/>
                  </a:lnTo>
                  <a:lnTo>
                    <a:pt x="125" y="8"/>
                  </a:lnTo>
                  <a:lnTo>
                    <a:pt x="127" y="9"/>
                  </a:lnTo>
                  <a:lnTo>
                    <a:pt x="136" y="11"/>
                  </a:lnTo>
                  <a:lnTo>
                    <a:pt x="141" y="11"/>
                  </a:lnTo>
                  <a:lnTo>
                    <a:pt x="145" y="12"/>
                  </a:lnTo>
                  <a:lnTo>
                    <a:pt x="148" y="13"/>
                  </a:lnTo>
                  <a:lnTo>
                    <a:pt x="150" y="14"/>
                  </a:lnTo>
                  <a:lnTo>
                    <a:pt x="152" y="16"/>
                  </a:lnTo>
                  <a:lnTo>
                    <a:pt x="154" y="17"/>
                  </a:lnTo>
                  <a:lnTo>
                    <a:pt x="156" y="18"/>
                  </a:lnTo>
                  <a:lnTo>
                    <a:pt x="157" y="20"/>
                  </a:lnTo>
                  <a:lnTo>
                    <a:pt x="159" y="21"/>
                  </a:lnTo>
                  <a:lnTo>
                    <a:pt x="160" y="22"/>
                  </a:lnTo>
                  <a:lnTo>
                    <a:pt x="161" y="23"/>
                  </a:lnTo>
                  <a:lnTo>
                    <a:pt x="163" y="29"/>
                  </a:lnTo>
                  <a:lnTo>
                    <a:pt x="164" y="31"/>
                  </a:lnTo>
                  <a:lnTo>
                    <a:pt x="165" y="32"/>
                  </a:lnTo>
                  <a:lnTo>
                    <a:pt x="167" y="34"/>
                  </a:lnTo>
                  <a:lnTo>
                    <a:pt x="169" y="34"/>
                  </a:lnTo>
                  <a:lnTo>
                    <a:pt x="171" y="35"/>
                  </a:lnTo>
                  <a:lnTo>
                    <a:pt x="173" y="35"/>
                  </a:lnTo>
                  <a:lnTo>
                    <a:pt x="174" y="36"/>
                  </a:lnTo>
                  <a:lnTo>
                    <a:pt x="176" y="36"/>
                  </a:lnTo>
                  <a:lnTo>
                    <a:pt x="180" y="36"/>
                  </a:lnTo>
                  <a:lnTo>
                    <a:pt x="183" y="36"/>
                  </a:lnTo>
                  <a:lnTo>
                    <a:pt x="191" y="36"/>
                  </a:lnTo>
                  <a:lnTo>
                    <a:pt x="196" y="36"/>
                  </a:lnTo>
                  <a:lnTo>
                    <a:pt x="207" y="36"/>
                  </a:lnTo>
                  <a:lnTo>
                    <a:pt x="218" y="36"/>
                  </a:lnTo>
                  <a:lnTo>
                    <a:pt x="238" y="37"/>
                  </a:lnTo>
                  <a:lnTo>
                    <a:pt x="240" y="37"/>
                  </a:lnTo>
                  <a:lnTo>
                    <a:pt x="242" y="38"/>
                  </a:lnTo>
                  <a:lnTo>
                    <a:pt x="243" y="39"/>
                  </a:lnTo>
                  <a:lnTo>
                    <a:pt x="244" y="40"/>
                  </a:lnTo>
                  <a:lnTo>
                    <a:pt x="246" y="43"/>
                  </a:lnTo>
                  <a:lnTo>
                    <a:pt x="248" y="45"/>
                  </a:lnTo>
                  <a:lnTo>
                    <a:pt x="249" y="48"/>
                  </a:lnTo>
                  <a:lnTo>
                    <a:pt x="251" y="52"/>
                  </a:lnTo>
                  <a:lnTo>
                    <a:pt x="254" y="60"/>
                  </a:lnTo>
                  <a:lnTo>
                    <a:pt x="255" y="62"/>
                  </a:lnTo>
                  <a:lnTo>
                    <a:pt x="256" y="63"/>
                  </a:lnTo>
                  <a:lnTo>
                    <a:pt x="257" y="64"/>
                  </a:lnTo>
                  <a:lnTo>
                    <a:pt x="258" y="65"/>
                  </a:lnTo>
                  <a:lnTo>
                    <a:pt x="260" y="64"/>
                  </a:lnTo>
                  <a:lnTo>
                    <a:pt x="266" y="63"/>
                  </a:lnTo>
                  <a:lnTo>
                    <a:pt x="270" y="63"/>
                  </a:lnTo>
                  <a:lnTo>
                    <a:pt x="275" y="62"/>
                  </a:lnTo>
                  <a:lnTo>
                    <a:pt x="282" y="63"/>
                  </a:lnTo>
                  <a:lnTo>
                    <a:pt x="286" y="63"/>
                  </a:lnTo>
                  <a:lnTo>
                    <a:pt x="287" y="63"/>
                  </a:lnTo>
                  <a:lnTo>
                    <a:pt x="289" y="63"/>
                  </a:lnTo>
                  <a:lnTo>
                    <a:pt x="290" y="62"/>
                  </a:lnTo>
                  <a:lnTo>
                    <a:pt x="292" y="62"/>
                  </a:lnTo>
                  <a:lnTo>
                    <a:pt x="299" y="58"/>
                  </a:lnTo>
                  <a:lnTo>
                    <a:pt x="303" y="56"/>
                  </a:lnTo>
                  <a:lnTo>
                    <a:pt x="305" y="56"/>
                  </a:lnTo>
                  <a:lnTo>
                    <a:pt x="309" y="55"/>
                  </a:lnTo>
                  <a:lnTo>
                    <a:pt x="321" y="54"/>
                  </a:lnTo>
                  <a:lnTo>
                    <a:pt x="322" y="53"/>
                  </a:lnTo>
                  <a:lnTo>
                    <a:pt x="323" y="53"/>
                  </a:lnTo>
                  <a:lnTo>
                    <a:pt x="324" y="52"/>
                  </a:lnTo>
                  <a:lnTo>
                    <a:pt x="325" y="51"/>
                  </a:lnTo>
                  <a:lnTo>
                    <a:pt x="326" y="50"/>
                  </a:lnTo>
                  <a:lnTo>
                    <a:pt x="329" y="45"/>
                  </a:lnTo>
                  <a:lnTo>
                    <a:pt x="333" y="37"/>
                  </a:lnTo>
                  <a:lnTo>
                    <a:pt x="334" y="35"/>
                  </a:lnTo>
                  <a:lnTo>
                    <a:pt x="335" y="34"/>
                  </a:lnTo>
                  <a:lnTo>
                    <a:pt x="336" y="33"/>
                  </a:lnTo>
                  <a:lnTo>
                    <a:pt x="338" y="33"/>
                  </a:lnTo>
                  <a:lnTo>
                    <a:pt x="339" y="32"/>
                  </a:lnTo>
                  <a:lnTo>
                    <a:pt x="341" y="33"/>
                  </a:lnTo>
                  <a:lnTo>
                    <a:pt x="342" y="33"/>
                  </a:lnTo>
                  <a:lnTo>
                    <a:pt x="344" y="34"/>
                  </a:lnTo>
                  <a:lnTo>
                    <a:pt x="344" y="35"/>
                  </a:lnTo>
                  <a:lnTo>
                    <a:pt x="347" y="38"/>
                  </a:lnTo>
                  <a:lnTo>
                    <a:pt x="348" y="40"/>
                  </a:lnTo>
                  <a:lnTo>
                    <a:pt x="350" y="42"/>
                  </a:lnTo>
                  <a:lnTo>
                    <a:pt x="352" y="43"/>
                  </a:lnTo>
                  <a:lnTo>
                    <a:pt x="353" y="43"/>
                  </a:lnTo>
                  <a:lnTo>
                    <a:pt x="354" y="44"/>
                  </a:lnTo>
                  <a:lnTo>
                    <a:pt x="356" y="44"/>
                  </a:lnTo>
                  <a:lnTo>
                    <a:pt x="359" y="44"/>
                  </a:lnTo>
                  <a:lnTo>
                    <a:pt x="365" y="43"/>
                  </a:lnTo>
                  <a:lnTo>
                    <a:pt x="367" y="43"/>
                  </a:lnTo>
                  <a:lnTo>
                    <a:pt x="368" y="43"/>
                  </a:lnTo>
                  <a:lnTo>
                    <a:pt x="369" y="44"/>
                  </a:lnTo>
                  <a:lnTo>
                    <a:pt x="370" y="44"/>
                  </a:lnTo>
                  <a:lnTo>
                    <a:pt x="371" y="45"/>
                  </a:lnTo>
                  <a:lnTo>
                    <a:pt x="372" y="46"/>
                  </a:lnTo>
                  <a:lnTo>
                    <a:pt x="373" y="47"/>
                  </a:lnTo>
                  <a:lnTo>
                    <a:pt x="374" y="49"/>
                  </a:lnTo>
                  <a:lnTo>
                    <a:pt x="376" y="53"/>
                  </a:lnTo>
                  <a:lnTo>
                    <a:pt x="376" y="54"/>
                  </a:lnTo>
                  <a:lnTo>
                    <a:pt x="377" y="55"/>
                  </a:lnTo>
                  <a:lnTo>
                    <a:pt x="378" y="56"/>
                  </a:lnTo>
                  <a:lnTo>
                    <a:pt x="379" y="58"/>
                  </a:lnTo>
                  <a:lnTo>
                    <a:pt x="385" y="63"/>
                  </a:lnTo>
                  <a:lnTo>
                    <a:pt x="388" y="65"/>
                  </a:lnTo>
                  <a:lnTo>
                    <a:pt x="389" y="67"/>
                  </a:lnTo>
                  <a:lnTo>
                    <a:pt x="389" y="68"/>
                  </a:lnTo>
                  <a:lnTo>
                    <a:pt x="393" y="74"/>
                  </a:lnTo>
                  <a:lnTo>
                    <a:pt x="395" y="77"/>
                  </a:lnTo>
                  <a:lnTo>
                    <a:pt x="396" y="78"/>
                  </a:lnTo>
                  <a:lnTo>
                    <a:pt x="397" y="79"/>
                  </a:lnTo>
                  <a:lnTo>
                    <a:pt x="398" y="79"/>
                  </a:lnTo>
                  <a:lnTo>
                    <a:pt x="400" y="80"/>
                  </a:lnTo>
                  <a:lnTo>
                    <a:pt x="401" y="81"/>
                  </a:lnTo>
                  <a:lnTo>
                    <a:pt x="403" y="82"/>
                  </a:lnTo>
                  <a:lnTo>
                    <a:pt x="405" y="82"/>
                  </a:lnTo>
                  <a:lnTo>
                    <a:pt x="411" y="83"/>
                  </a:lnTo>
                  <a:lnTo>
                    <a:pt x="415" y="84"/>
                  </a:lnTo>
                  <a:lnTo>
                    <a:pt x="418" y="86"/>
                  </a:lnTo>
                  <a:lnTo>
                    <a:pt x="423" y="88"/>
                  </a:lnTo>
                  <a:lnTo>
                    <a:pt x="425" y="89"/>
                  </a:lnTo>
                  <a:lnTo>
                    <a:pt x="429" y="90"/>
                  </a:lnTo>
                  <a:lnTo>
                    <a:pt x="434" y="90"/>
                  </a:lnTo>
                  <a:lnTo>
                    <a:pt x="442" y="91"/>
                  </a:lnTo>
                  <a:lnTo>
                    <a:pt x="446" y="91"/>
                  </a:lnTo>
                  <a:lnTo>
                    <a:pt x="456" y="90"/>
                  </a:lnTo>
                  <a:lnTo>
                    <a:pt x="468" y="90"/>
                  </a:lnTo>
                  <a:lnTo>
                    <a:pt x="478" y="90"/>
                  </a:lnTo>
                  <a:lnTo>
                    <a:pt x="488" y="89"/>
                  </a:lnTo>
                  <a:lnTo>
                    <a:pt x="493" y="89"/>
                  </a:lnTo>
                  <a:lnTo>
                    <a:pt x="503" y="89"/>
                  </a:lnTo>
                  <a:lnTo>
                    <a:pt x="507" y="89"/>
                  </a:lnTo>
                  <a:lnTo>
                    <a:pt x="511" y="89"/>
                  </a:lnTo>
                  <a:lnTo>
                    <a:pt x="514" y="89"/>
                  </a:lnTo>
                  <a:lnTo>
                    <a:pt x="517" y="88"/>
                  </a:lnTo>
                  <a:lnTo>
                    <a:pt x="520" y="88"/>
                  </a:lnTo>
                  <a:lnTo>
                    <a:pt x="522" y="87"/>
                  </a:lnTo>
                  <a:lnTo>
                    <a:pt x="524" y="86"/>
                  </a:lnTo>
                  <a:lnTo>
                    <a:pt x="526" y="85"/>
                  </a:lnTo>
                  <a:lnTo>
                    <a:pt x="529" y="84"/>
                  </a:lnTo>
                  <a:lnTo>
                    <a:pt x="531" y="82"/>
                  </a:lnTo>
                  <a:lnTo>
                    <a:pt x="533" y="81"/>
                  </a:lnTo>
                  <a:lnTo>
                    <a:pt x="536" y="79"/>
                  </a:lnTo>
                  <a:lnTo>
                    <a:pt x="537" y="78"/>
                  </a:lnTo>
                  <a:lnTo>
                    <a:pt x="539" y="76"/>
                  </a:lnTo>
                  <a:lnTo>
                    <a:pt x="541" y="74"/>
                  </a:lnTo>
                  <a:lnTo>
                    <a:pt x="543" y="71"/>
                  </a:lnTo>
                  <a:lnTo>
                    <a:pt x="545" y="69"/>
                  </a:lnTo>
                  <a:lnTo>
                    <a:pt x="546" y="68"/>
                  </a:lnTo>
                  <a:lnTo>
                    <a:pt x="546" y="67"/>
                  </a:lnTo>
                  <a:lnTo>
                    <a:pt x="547" y="65"/>
                  </a:lnTo>
                  <a:lnTo>
                    <a:pt x="547" y="64"/>
                  </a:lnTo>
                  <a:lnTo>
                    <a:pt x="548" y="64"/>
                  </a:lnTo>
                  <a:lnTo>
                    <a:pt x="549" y="64"/>
                  </a:lnTo>
                  <a:lnTo>
                    <a:pt x="550" y="64"/>
                  </a:lnTo>
                  <a:lnTo>
                    <a:pt x="551" y="65"/>
                  </a:lnTo>
                  <a:lnTo>
                    <a:pt x="553" y="67"/>
                  </a:lnTo>
                  <a:lnTo>
                    <a:pt x="553" y="68"/>
                  </a:lnTo>
                  <a:lnTo>
                    <a:pt x="554" y="68"/>
                  </a:lnTo>
                  <a:lnTo>
                    <a:pt x="554" y="69"/>
                  </a:lnTo>
                  <a:lnTo>
                    <a:pt x="555" y="72"/>
                  </a:lnTo>
                  <a:lnTo>
                    <a:pt x="555" y="75"/>
                  </a:lnTo>
                  <a:lnTo>
                    <a:pt x="555" y="78"/>
                  </a:lnTo>
                  <a:lnTo>
                    <a:pt x="554" y="93"/>
                  </a:lnTo>
                  <a:lnTo>
                    <a:pt x="553" y="97"/>
                  </a:lnTo>
                  <a:lnTo>
                    <a:pt x="552" y="104"/>
                  </a:lnTo>
                  <a:lnTo>
                    <a:pt x="551" y="109"/>
                  </a:lnTo>
                  <a:lnTo>
                    <a:pt x="551" y="112"/>
                  </a:lnTo>
                  <a:lnTo>
                    <a:pt x="551" y="113"/>
                  </a:lnTo>
                  <a:lnTo>
                    <a:pt x="552" y="116"/>
                  </a:lnTo>
                  <a:lnTo>
                    <a:pt x="552" y="118"/>
                  </a:lnTo>
                  <a:lnTo>
                    <a:pt x="553" y="121"/>
                  </a:lnTo>
                  <a:lnTo>
                    <a:pt x="554" y="123"/>
                  </a:lnTo>
                  <a:lnTo>
                    <a:pt x="555" y="124"/>
                  </a:lnTo>
                  <a:lnTo>
                    <a:pt x="557" y="126"/>
                  </a:lnTo>
                  <a:lnTo>
                    <a:pt x="558" y="128"/>
                  </a:lnTo>
                  <a:lnTo>
                    <a:pt x="560" y="129"/>
                  </a:lnTo>
                  <a:lnTo>
                    <a:pt x="564" y="135"/>
                  </a:lnTo>
                  <a:lnTo>
                    <a:pt x="566" y="136"/>
                  </a:lnTo>
                  <a:lnTo>
                    <a:pt x="569" y="139"/>
                  </a:lnTo>
                  <a:lnTo>
                    <a:pt x="570" y="141"/>
                  </a:lnTo>
                  <a:lnTo>
                    <a:pt x="574" y="152"/>
                  </a:lnTo>
                  <a:lnTo>
                    <a:pt x="575" y="155"/>
                  </a:lnTo>
                  <a:lnTo>
                    <a:pt x="576" y="158"/>
                  </a:lnTo>
                  <a:lnTo>
                    <a:pt x="576" y="158"/>
                  </a:lnTo>
                  <a:lnTo>
                    <a:pt x="576" y="160"/>
                  </a:lnTo>
                  <a:lnTo>
                    <a:pt x="576" y="163"/>
                  </a:lnTo>
                  <a:lnTo>
                    <a:pt x="576" y="165"/>
                  </a:lnTo>
                  <a:lnTo>
                    <a:pt x="575" y="166"/>
                  </a:lnTo>
                  <a:lnTo>
                    <a:pt x="575" y="167"/>
                  </a:lnTo>
                  <a:lnTo>
                    <a:pt x="574" y="167"/>
                  </a:lnTo>
                  <a:lnTo>
                    <a:pt x="573" y="169"/>
                  </a:lnTo>
                  <a:lnTo>
                    <a:pt x="569" y="170"/>
                  </a:lnTo>
                  <a:lnTo>
                    <a:pt x="567" y="171"/>
                  </a:lnTo>
                  <a:lnTo>
                    <a:pt x="566" y="172"/>
                  </a:lnTo>
                  <a:lnTo>
                    <a:pt x="564" y="174"/>
                  </a:lnTo>
                  <a:lnTo>
                    <a:pt x="561" y="179"/>
                  </a:lnTo>
                  <a:lnTo>
                    <a:pt x="559" y="181"/>
                  </a:lnTo>
                  <a:lnTo>
                    <a:pt x="556" y="183"/>
                  </a:lnTo>
                  <a:lnTo>
                    <a:pt x="551" y="187"/>
                  </a:lnTo>
                  <a:lnTo>
                    <a:pt x="549" y="189"/>
                  </a:lnTo>
                  <a:lnTo>
                    <a:pt x="547" y="191"/>
                  </a:lnTo>
                  <a:lnTo>
                    <a:pt x="544" y="192"/>
                  </a:lnTo>
                  <a:lnTo>
                    <a:pt x="540" y="193"/>
                  </a:lnTo>
                  <a:lnTo>
                    <a:pt x="537" y="195"/>
                  </a:lnTo>
                  <a:lnTo>
                    <a:pt x="535" y="196"/>
                  </a:lnTo>
                  <a:lnTo>
                    <a:pt x="527" y="199"/>
                  </a:lnTo>
                  <a:lnTo>
                    <a:pt x="526" y="199"/>
                  </a:lnTo>
                  <a:lnTo>
                    <a:pt x="526" y="200"/>
                  </a:lnTo>
                  <a:lnTo>
                    <a:pt x="523" y="202"/>
                  </a:lnTo>
                  <a:lnTo>
                    <a:pt x="520" y="204"/>
                  </a:lnTo>
                  <a:lnTo>
                    <a:pt x="517" y="205"/>
                  </a:lnTo>
                  <a:lnTo>
                    <a:pt x="514" y="208"/>
                  </a:lnTo>
                  <a:lnTo>
                    <a:pt x="513" y="210"/>
                  </a:lnTo>
                  <a:lnTo>
                    <a:pt x="511" y="213"/>
                  </a:lnTo>
                  <a:lnTo>
                    <a:pt x="510" y="215"/>
                  </a:lnTo>
                  <a:lnTo>
                    <a:pt x="509" y="217"/>
                  </a:lnTo>
                  <a:lnTo>
                    <a:pt x="508" y="219"/>
                  </a:lnTo>
                  <a:lnTo>
                    <a:pt x="507" y="224"/>
                  </a:lnTo>
                  <a:lnTo>
                    <a:pt x="506" y="226"/>
                  </a:lnTo>
                  <a:lnTo>
                    <a:pt x="505" y="226"/>
                  </a:lnTo>
                  <a:lnTo>
                    <a:pt x="503" y="231"/>
                  </a:lnTo>
                  <a:lnTo>
                    <a:pt x="503" y="233"/>
                  </a:lnTo>
                  <a:lnTo>
                    <a:pt x="502" y="234"/>
                  </a:lnTo>
                  <a:lnTo>
                    <a:pt x="502" y="236"/>
                  </a:lnTo>
                  <a:lnTo>
                    <a:pt x="501" y="238"/>
                  </a:lnTo>
                  <a:lnTo>
                    <a:pt x="501" y="242"/>
                  </a:lnTo>
                  <a:lnTo>
                    <a:pt x="501" y="247"/>
                  </a:lnTo>
                  <a:lnTo>
                    <a:pt x="501" y="249"/>
                  </a:lnTo>
                  <a:lnTo>
                    <a:pt x="500" y="252"/>
                  </a:lnTo>
                  <a:lnTo>
                    <a:pt x="499" y="254"/>
                  </a:lnTo>
                  <a:lnTo>
                    <a:pt x="497" y="260"/>
                  </a:lnTo>
                  <a:lnTo>
                    <a:pt x="496" y="265"/>
                  </a:lnTo>
                  <a:lnTo>
                    <a:pt x="496" y="266"/>
                  </a:lnTo>
                  <a:lnTo>
                    <a:pt x="495" y="267"/>
                  </a:lnTo>
                  <a:lnTo>
                    <a:pt x="493" y="269"/>
                  </a:lnTo>
                  <a:lnTo>
                    <a:pt x="492" y="270"/>
                  </a:lnTo>
                  <a:lnTo>
                    <a:pt x="490" y="275"/>
                  </a:lnTo>
                  <a:lnTo>
                    <a:pt x="490" y="277"/>
                  </a:lnTo>
                  <a:lnTo>
                    <a:pt x="489" y="280"/>
                  </a:lnTo>
                  <a:lnTo>
                    <a:pt x="489" y="282"/>
                  </a:lnTo>
                  <a:lnTo>
                    <a:pt x="488" y="283"/>
                  </a:lnTo>
                  <a:lnTo>
                    <a:pt x="488" y="285"/>
                  </a:lnTo>
                  <a:lnTo>
                    <a:pt x="489" y="288"/>
                  </a:lnTo>
                  <a:lnTo>
                    <a:pt x="490" y="293"/>
                  </a:lnTo>
                  <a:lnTo>
                    <a:pt x="490" y="295"/>
                  </a:lnTo>
                  <a:lnTo>
                    <a:pt x="490" y="297"/>
                  </a:lnTo>
                  <a:lnTo>
                    <a:pt x="491" y="299"/>
                  </a:lnTo>
                  <a:lnTo>
                    <a:pt x="492" y="301"/>
                  </a:lnTo>
                  <a:lnTo>
                    <a:pt x="492" y="302"/>
                  </a:lnTo>
                  <a:lnTo>
                    <a:pt x="495" y="306"/>
                  </a:lnTo>
                  <a:lnTo>
                    <a:pt x="497" y="310"/>
                  </a:lnTo>
                  <a:lnTo>
                    <a:pt x="497" y="311"/>
                  </a:lnTo>
                  <a:lnTo>
                    <a:pt x="497" y="312"/>
                  </a:lnTo>
                  <a:lnTo>
                    <a:pt x="497" y="313"/>
                  </a:lnTo>
                  <a:lnTo>
                    <a:pt x="496" y="314"/>
                  </a:lnTo>
                  <a:lnTo>
                    <a:pt x="496" y="315"/>
                  </a:lnTo>
                  <a:lnTo>
                    <a:pt x="497" y="317"/>
                  </a:lnTo>
                  <a:lnTo>
                    <a:pt x="498" y="318"/>
                  </a:lnTo>
                  <a:lnTo>
                    <a:pt x="498" y="319"/>
                  </a:lnTo>
                  <a:lnTo>
                    <a:pt x="498" y="320"/>
                  </a:lnTo>
                  <a:lnTo>
                    <a:pt x="497" y="321"/>
                  </a:lnTo>
                  <a:lnTo>
                    <a:pt x="497" y="323"/>
                  </a:lnTo>
                  <a:lnTo>
                    <a:pt x="496" y="325"/>
                  </a:lnTo>
                  <a:lnTo>
                    <a:pt x="495" y="326"/>
                  </a:lnTo>
                  <a:lnTo>
                    <a:pt x="494" y="328"/>
                  </a:lnTo>
                  <a:lnTo>
                    <a:pt x="492" y="329"/>
                  </a:lnTo>
                  <a:lnTo>
                    <a:pt x="492" y="330"/>
                  </a:lnTo>
                  <a:lnTo>
                    <a:pt x="491" y="330"/>
                  </a:lnTo>
                  <a:lnTo>
                    <a:pt x="489" y="330"/>
                  </a:lnTo>
                  <a:lnTo>
                    <a:pt x="488" y="330"/>
                  </a:lnTo>
                  <a:lnTo>
                    <a:pt x="487" y="329"/>
                  </a:lnTo>
                  <a:lnTo>
                    <a:pt x="484" y="328"/>
                  </a:lnTo>
                  <a:lnTo>
                    <a:pt x="480" y="324"/>
                  </a:lnTo>
                  <a:lnTo>
                    <a:pt x="474" y="319"/>
                  </a:lnTo>
                  <a:lnTo>
                    <a:pt x="469" y="315"/>
                  </a:lnTo>
                  <a:lnTo>
                    <a:pt x="468" y="315"/>
                  </a:lnTo>
                  <a:lnTo>
                    <a:pt x="466" y="314"/>
                  </a:lnTo>
                  <a:lnTo>
                    <a:pt x="464" y="313"/>
                  </a:lnTo>
                  <a:lnTo>
                    <a:pt x="462" y="313"/>
                  </a:lnTo>
                  <a:lnTo>
                    <a:pt x="451" y="312"/>
                  </a:lnTo>
                  <a:lnTo>
                    <a:pt x="450" y="312"/>
                  </a:lnTo>
                  <a:lnTo>
                    <a:pt x="448" y="312"/>
                  </a:lnTo>
                  <a:lnTo>
                    <a:pt x="441" y="313"/>
                  </a:lnTo>
                  <a:lnTo>
                    <a:pt x="437" y="313"/>
                  </a:lnTo>
                  <a:lnTo>
                    <a:pt x="434" y="313"/>
                  </a:lnTo>
                  <a:lnTo>
                    <a:pt x="425" y="312"/>
                  </a:lnTo>
                  <a:lnTo>
                    <a:pt x="421" y="311"/>
                  </a:lnTo>
                  <a:lnTo>
                    <a:pt x="417" y="311"/>
                  </a:lnTo>
                  <a:lnTo>
                    <a:pt x="413" y="311"/>
                  </a:lnTo>
                  <a:lnTo>
                    <a:pt x="411" y="311"/>
                  </a:lnTo>
                  <a:lnTo>
                    <a:pt x="406" y="313"/>
                  </a:lnTo>
                  <a:lnTo>
                    <a:pt x="403" y="313"/>
                  </a:lnTo>
                  <a:lnTo>
                    <a:pt x="386" y="315"/>
                  </a:lnTo>
                  <a:lnTo>
                    <a:pt x="377" y="316"/>
                  </a:lnTo>
                  <a:lnTo>
                    <a:pt x="374" y="317"/>
                  </a:lnTo>
                  <a:lnTo>
                    <a:pt x="371" y="317"/>
                  </a:lnTo>
                  <a:lnTo>
                    <a:pt x="369" y="317"/>
                  </a:lnTo>
                  <a:lnTo>
                    <a:pt x="357" y="321"/>
                  </a:lnTo>
                  <a:lnTo>
                    <a:pt x="355" y="322"/>
                  </a:lnTo>
                  <a:lnTo>
                    <a:pt x="354" y="322"/>
                  </a:lnTo>
                  <a:lnTo>
                    <a:pt x="351" y="323"/>
                  </a:lnTo>
                  <a:lnTo>
                    <a:pt x="349" y="323"/>
                  </a:lnTo>
                  <a:lnTo>
                    <a:pt x="347" y="322"/>
                  </a:lnTo>
                  <a:lnTo>
                    <a:pt x="344" y="321"/>
                  </a:lnTo>
                  <a:lnTo>
                    <a:pt x="342" y="320"/>
                  </a:lnTo>
                  <a:lnTo>
                    <a:pt x="339" y="320"/>
                  </a:lnTo>
                  <a:lnTo>
                    <a:pt x="337" y="320"/>
                  </a:lnTo>
                  <a:lnTo>
                    <a:pt x="332" y="321"/>
                  </a:lnTo>
                  <a:lnTo>
                    <a:pt x="327" y="321"/>
                  </a:lnTo>
                  <a:lnTo>
                    <a:pt x="324" y="322"/>
                  </a:lnTo>
                  <a:lnTo>
                    <a:pt x="323" y="322"/>
                  </a:lnTo>
                  <a:lnTo>
                    <a:pt x="321" y="323"/>
                  </a:lnTo>
                  <a:lnTo>
                    <a:pt x="321" y="324"/>
                  </a:lnTo>
                  <a:lnTo>
                    <a:pt x="320" y="325"/>
                  </a:lnTo>
                  <a:lnTo>
                    <a:pt x="319" y="327"/>
                  </a:lnTo>
                  <a:lnTo>
                    <a:pt x="318" y="328"/>
                  </a:lnTo>
                  <a:lnTo>
                    <a:pt x="318" y="331"/>
                  </a:lnTo>
                  <a:lnTo>
                    <a:pt x="318" y="334"/>
                  </a:lnTo>
                  <a:lnTo>
                    <a:pt x="318" y="336"/>
                  </a:lnTo>
                  <a:lnTo>
                    <a:pt x="318" y="338"/>
                  </a:lnTo>
                  <a:lnTo>
                    <a:pt x="319" y="345"/>
                  </a:lnTo>
                  <a:lnTo>
                    <a:pt x="320" y="348"/>
                  </a:lnTo>
                  <a:lnTo>
                    <a:pt x="320" y="351"/>
                  </a:lnTo>
                  <a:lnTo>
                    <a:pt x="320" y="355"/>
                  </a:lnTo>
                  <a:lnTo>
                    <a:pt x="319" y="362"/>
                  </a:lnTo>
                  <a:lnTo>
                    <a:pt x="319" y="364"/>
                  </a:lnTo>
                  <a:lnTo>
                    <a:pt x="319" y="368"/>
                  </a:lnTo>
                  <a:lnTo>
                    <a:pt x="319" y="372"/>
                  </a:lnTo>
                  <a:lnTo>
                    <a:pt x="320" y="376"/>
                  </a:lnTo>
                  <a:lnTo>
                    <a:pt x="321" y="380"/>
                  </a:lnTo>
                  <a:lnTo>
                    <a:pt x="321" y="385"/>
                  </a:lnTo>
                  <a:lnTo>
                    <a:pt x="326" y="395"/>
                  </a:lnTo>
                  <a:lnTo>
                    <a:pt x="329" y="400"/>
                  </a:lnTo>
                  <a:lnTo>
                    <a:pt x="331" y="406"/>
                  </a:lnTo>
                  <a:lnTo>
                    <a:pt x="332" y="409"/>
                  </a:lnTo>
                  <a:lnTo>
                    <a:pt x="332" y="412"/>
                  </a:lnTo>
                  <a:lnTo>
                    <a:pt x="332" y="416"/>
                  </a:lnTo>
                  <a:lnTo>
                    <a:pt x="333" y="419"/>
                  </a:lnTo>
                  <a:lnTo>
                    <a:pt x="334" y="431"/>
                  </a:lnTo>
                  <a:lnTo>
                    <a:pt x="334" y="434"/>
                  </a:lnTo>
                  <a:lnTo>
                    <a:pt x="334" y="436"/>
                  </a:lnTo>
                  <a:lnTo>
                    <a:pt x="334" y="438"/>
                  </a:lnTo>
                  <a:lnTo>
                    <a:pt x="333" y="441"/>
                  </a:lnTo>
                  <a:lnTo>
                    <a:pt x="332" y="445"/>
                  </a:lnTo>
                  <a:lnTo>
                    <a:pt x="332" y="448"/>
                  </a:lnTo>
                  <a:lnTo>
                    <a:pt x="330" y="452"/>
                  </a:lnTo>
                  <a:lnTo>
                    <a:pt x="326" y="459"/>
                  </a:lnTo>
                  <a:lnTo>
                    <a:pt x="323" y="468"/>
                  </a:lnTo>
                  <a:lnTo>
                    <a:pt x="322" y="470"/>
                  </a:lnTo>
                  <a:lnTo>
                    <a:pt x="321" y="472"/>
                  </a:lnTo>
                  <a:lnTo>
                    <a:pt x="320" y="474"/>
                  </a:lnTo>
                  <a:lnTo>
                    <a:pt x="319" y="476"/>
                  </a:lnTo>
                  <a:lnTo>
                    <a:pt x="317" y="476"/>
                  </a:lnTo>
                  <a:lnTo>
                    <a:pt x="316" y="478"/>
                  </a:lnTo>
                  <a:lnTo>
                    <a:pt x="314" y="479"/>
                  </a:lnTo>
                  <a:lnTo>
                    <a:pt x="313" y="480"/>
                  </a:lnTo>
                  <a:lnTo>
                    <a:pt x="310" y="481"/>
                  </a:lnTo>
                  <a:lnTo>
                    <a:pt x="304" y="483"/>
                  </a:lnTo>
                  <a:lnTo>
                    <a:pt x="301" y="484"/>
                  </a:lnTo>
                  <a:lnTo>
                    <a:pt x="298" y="485"/>
                  </a:lnTo>
                  <a:lnTo>
                    <a:pt x="296" y="487"/>
                  </a:lnTo>
                  <a:lnTo>
                    <a:pt x="294" y="487"/>
                  </a:lnTo>
                  <a:lnTo>
                    <a:pt x="293" y="489"/>
                  </a:lnTo>
                  <a:lnTo>
                    <a:pt x="291" y="490"/>
                  </a:lnTo>
                  <a:lnTo>
                    <a:pt x="290" y="492"/>
                  </a:lnTo>
                  <a:lnTo>
                    <a:pt x="289" y="493"/>
                  </a:lnTo>
                  <a:lnTo>
                    <a:pt x="288" y="495"/>
                  </a:lnTo>
                  <a:lnTo>
                    <a:pt x="286" y="499"/>
                  </a:lnTo>
                  <a:lnTo>
                    <a:pt x="286" y="498"/>
                  </a:lnTo>
                  <a:lnTo>
                    <a:pt x="285" y="498"/>
                  </a:lnTo>
                  <a:lnTo>
                    <a:pt x="280" y="494"/>
                  </a:lnTo>
                  <a:lnTo>
                    <a:pt x="276" y="491"/>
                  </a:lnTo>
                  <a:lnTo>
                    <a:pt x="273" y="487"/>
                  </a:lnTo>
                  <a:lnTo>
                    <a:pt x="268" y="484"/>
                  </a:lnTo>
                  <a:lnTo>
                    <a:pt x="264" y="481"/>
                  </a:lnTo>
                  <a:lnTo>
                    <a:pt x="259" y="478"/>
                  </a:lnTo>
                  <a:lnTo>
                    <a:pt x="254" y="476"/>
                  </a:lnTo>
                  <a:lnTo>
                    <a:pt x="252" y="474"/>
                  </a:lnTo>
                  <a:lnTo>
                    <a:pt x="249" y="473"/>
                  </a:lnTo>
                  <a:lnTo>
                    <a:pt x="245" y="471"/>
                  </a:lnTo>
                  <a:lnTo>
                    <a:pt x="242" y="470"/>
                  </a:lnTo>
                  <a:lnTo>
                    <a:pt x="239" y="469"/>
                  </a:lnTo>
                  <a:lnTo>
                    <a:pt x="225" y="465"/>
                  </a:lnTo>
                  <a:lnTo>
                    <a:pt x="219" y="464"/>
                  </a:lnTo>
                  <a:lnTo>
                    <a:pt x="217" y="463"/>
                  </a:lnTo>
                  <a:lnTo>
                    <a:pt x="215" y="462"/>
                  </a:lnTo>
                  <a:lnTo>
                    <a:pt x="212" y="460"/>
                  </a:lnTo>
                  <a:lnTo>
                    <a:pt x="210" y="458"/>
                  </a:lnTo>
                  <a:lnTo>
                    <a:pt x="209" y="457"/>
                  </a:lnTo>
                  <a:lnTo>
                    <a:pt x="208" y="455"/>
                  </a:lnTo>
                  <a:lnTo>
                    <a:pt x="207" y="453"/>
                  </a:lnTo>
                  <a:lnTo>
                    <a:pt x="207" y="452"/>
                  </a:lnTo>
                  <a:lnTo>
                    <a:pt x="206" y="451"/>
                  </a:lnTo>
                  <a:lnTo>
                    <a:pt x="206" y="448"/>
                  </a:lnTo>
                  <a:lnTo>
                    <a:pt x="204" y="438"/>
                  </a:lnTo>
                  <a:lnTo>
                    <a:pt x="204" y="435"/>
                  </a:lnTo>
                  <a:lnTo>
                    <a:pt x="203" y="432"/>
                  </a:lnTo>
                  <a:lnTo>
                    <a:pt x="202" y="430"/>
                  </a:lnTo>
                  <a:lnTo>
                    <a:pt x="200" y="425"/>
                  </a:lnTo>
                  <a:lnTo>
                    <a:pt x="195" y="413"/>
                  </a:lnTo>
                  <a:lnTo>
                    <a:pt x="193" y="408"/>
                  </a:lnTo>
                  <a:lnTo>
                    <a:pt x="192" y="406"/>
                  </a:lnTo>
                  <a:lnTo>
                    <a:pt x="189" y="402"/>
                  </a:lnTo>
                  <a:lnTo>
                    <a:pt x="188" y="400"/>
                  </a:lnTo>
                  <a:lnTo>
                    <a:pt x="187" y="399"/>
                  </a:lnTo>
                  <a:lnTo>
                    <a:pt x="185" y="397"/>
                  </a:lnTo>
                  <a:lnTo>
                    <a:pt x="185" y="396"/>
                  </a:lnTo>
                  <a:lnTo>
                    <a:pt x="178" y="392"/>
                  </a:lnTo>
                  <a:lnTo>
                    <a:pt x="176" y="390"/>
                  </a:lnTo>
                  <a:lnTo>
                    <a:pt x="174" y="389"/>
                  </a:lnTo>
                  <a:lnTo>
                    <a:pt x="173" y="387"/>
                  </a:lnTo>
                  <a:lnTo>
                    <a:pt x="173" y="386"/>
                  </a:lnTo>
                  <a:lnTo>
                    <a:pt x="171" y="385"/>
                  </a:lnTo>
                  <a:lnTo>
                    <a:pt x="170" y="382"/>
                  </a:lnTo>
                  <a:lnTo>
                    <a:pt x="168" y="379"/>
                  </a:lnTo>
                  <a:lnTo>
                    <a:pt x="167" y="375"/>
                  </a:lnTo>
                  <a:lnTo>
                    <a:pt x="165" y="372"/>
                  </a:lnTo>
                  <a:lnTo>
                    <a:pt x="162" y="362"/>
                  </a:lnTo>
                  <a:lnTo>
                    <a:pt x="158" y="352"/>
                  </a:lnTo>
                  <a:lnTo>
                    <a:pt x="156" y="348"/>
                  </a:lnTo>
                  <a:lnTo>
                    <a:pt x="154" y="344"/>
                  </a:lnTo>
                  <a:lnTo>
                    <a:pt x="153" y="341"/>
                  </a:lnTo>
                  <a:lnTo>
                    <a:pt x="151" y="339"/>
                  </a:lnTo>
                  <a:lnTo>
                    <a:pt x="150" y="337"/>
                  </a:lnTo>
                  <a:lnTo>
                    <a:pt x="148" y="336"/>
                  </a:lnTo>
                  <a:lnTo>
                    <a:pt x="147" y="335"/>
                  </a:lnTo>
                  <a:lnTo>
                    <a:pt x="145" y="334"/>
                  </a:lnTo>
                  <a:lnTo>
                    <a:pt x="143" y="334"/>
                  </a:lnTo>
                  <a:lnTo>
                    <a:pt x="140" y="334"/>
                  </a:lnTo>
                  <a:lnTo>
                    <a:pt x="134" y="335"/>
                  </a:lnTo>
                  <a:lnTo>
                    <a:pt x="129" y="335"/>
                  </a:lnTo>
                  <a:lnTo>
                    <a:pt x="126" y="335"/>
                  </a:lnTo>
                  <a:lnTo>
                    <a:pt x="118" y="335"/>
                  </a:lnTo>
                  <a:lnTo>
                    <a:pt x="116" y="335"/>
                  </a:lnTo>
                  <a:lnTo>
                    <a:pt x="113" y="334"/>
                  </a:lnTo>
                  <a:lnTo>
                    <a:pt x="109" y="334"/>
                  </a:lnTo>
                  <a:lnTo>
                    <a:pt x="106" y="333"/>
                  </a:lnTo>
                  <a:lnTo>
                    <a:pt x="105" y="332"/>
                  </a:lnTo>
                  <a:lnTo>
                    <a:pt x="103" y="331"/>
                  </a:lnTo>
                  <a:lnTo>
                    <a:pt x="102" y="330"/>
                  </a:lnTo>
                  <a:lnTo>
                    <a:pt x="99" y="328"/>
                  </a:lnTo>
                  <a:lnTo>
                    <a:pt x="97" y="327"/>
                  </a:lnTo>
                  <a:lnTo>
                    <a:pt x="90" y="318"/>
                  </a:lnTo>
                  <a:lnTo>
                    <a:pt x="88" y="317"/>
                  </a:lnTo>
                  <a:lnTo>
                    <a:pt x="87" y="314"/>
                  </a:lnTo>
                  <a:lnTo>
                    <a:pt x="83" y="309"/>
                  </a:lnTo>
                  <a:lnTo>
                    <a:pt x="82" y="305"/>
                  </a:lnTo>
                  <a:lnTo>
                    <a:pt x="77" y="295"/>
                  </a:lnTo>
                  <a:lnTo>
                    <a:pt x="74" y="289"/>
                  </a:lnTo>
                  <a:lnTo>
                    <a:pt x="71" y="280"/>
                  </a:lnTo>
                  <a:lnTo>
                    <a:pt x="66" y="270"/>
                  </a:lnTo>
                  <a:lnTo>
                    <a:pt x="63" y="262"/>
                  </a:lnTo>
                  <a:lnTo>
                    <a:pt x="62" y="260"/>
                  </a:lnTo>
                  <a:lnTo>
                    <a:pt x="61" y="260"/>
                  </a:lnTo>
                  <a:lnTo>
                    <a:pt x="61" y="259"/>
                  </a:lnTo>
                  <a:lnTo>
                    <a:pt x="60" y="259"/>
                  </a:lnTo>
                  <a:lnTo>
                    <a:pt x="60" y="258"/>
                  </a:lnTo>
                  <a:lnTo>
                    <a:pt x="59" y="258"/>
                  </a:lnTo>
                  <a:lnTo>
                    <a:pt x="57" y="258"/>
                  </a:lnTo>
                  <a:lnTo>
                    <a:pt x="52" y="258"/>
                  </a:lnTo>
                  <a:lnTo>
                    <a:pt x="50" y="257"/>
                  </a:lnTo>
                  <a:lnTo>
                    <a:pt x="48" y="256"/>
                  </a:lnTo>
                  <a:lnTo>
                    <a:pt x="47" y="255"/>
                  </a:lnTo>
                  <a:lnTo>
                    <a:pt x="44" y="253"/>
                  </a:lnTo>
                  <a:lnTo>
                    <a:pt x="42" y="250"/>
                  </a:lnTo>
                  <a:lnTo>
                    <a:pt x="40" y="249"/>
                  </a:lnTo>
                  <a:lnTo>
                    <a:pt x="37" y="242"/>
                  </a:lnTo>
                  <a:lnTo>
                    <a:pt x="35" y="240"/>
                  </a:lnTo>
                  <a:lnTo>
                    <a:pt x="34" y="239"/>
                  </a:lnTo>
                  <a:lnTo>
                    <a:pt x="32" y="238"/>
                  </a:lnTo>
                  <a:lnTo>
                    <a:pt x="30" y="236"/>
                  </a:lnTo>
                  <a:lnTo>
                    <a:pt x="28" y="234"/>
                  </a:lnTo>
                  <a:lnTo>
                    <a:pt x="26" y="233"/>
                  </a:lnTo>
                  <a:lnTo>
                    <a:pt x="24" y="232"/>
                  </a:lnTo>
                  <a:lnTo>
                    <a:pt x="23" y="232"/>
                  </a:lnTo>
                  <a:lnTo>
                    <a:pt x="20" y="231"/>
                  </a:lnTo>
                  <a:lnTo>
                    <a:pt x="17" y="230"/>
                  </a:lnTo>
                  <a:lnTo>
                    <a:pt x="14" y="230"/>
                  </a:lnTo>
                  <a:lnTo>
                    <a:pt x="11" y="229"/>
                  </a:lnTo>
                  <a:lnTo>
                    <a:pt x="7" y="229"/>
                  </a:lnTo>
                  <a:lnTo>
                    <a:pt x="6" y="230"/>
                  </a:lnTo>
                  <a:lnTo>
                    <a:pt x="6" y="229"/>
                  </a:lnTo>
                  <a:lnTo>
                    <a:pt x="5" y="227"/>
                  </a:lnTo>
                  <a:lnTo>
                    <a:pt x="3" y="217"/>
                  </a:lnTo>
                  <a:lnTo>
                    <a:pt x="2" y="215"/>
                  </a:lnTo>
                  <a:lnTo>
                    <a:pt x="1" y="213"/>
                  </a:lnTo>
                  <a:lnTo>
                    <a:pt x="1" y="210"/>
                  </a:lnTo>
                  <a:lnTo>
                    <a:pt x="0" y="207"/>
                  </a:lnTo>
                  <a:lnTo>
                    <a:pt x="0" y="204"/>
                  </a:lnTo>
                  <a:lnTo>
                    <a:pt x="0" y="201"/>
                  </a:lnTo>
                  <a:lnTo>
                    <a:pt x="0" y="198"/>
                  </a:lnTo>
                  <a:lnTo>
                    <a:pt x="0" y="194"/>
                  </a:lnTo>
                  <a:lnTo>
                    <a:pt x="0" y="190"/>
                  </a:lnTo>
                  <a:lnTo>
                    <a:pt x="1" y="186"/>
                  </a:lnTo>
                  <a:lnTo>
                    <a:pt x="2" y="181"/>
                  </a:lnTo>
                  <a:lnTo>
                    <a:pt x="3" y="176"/>
                  </a:lnTo>
                  <a:lnTo>
                    <a:pt x="4" y="171"/>
                  </a:lnTo>
                  <a:lnTo>
                    <a:pt x="5" y="168"/>
                  </a:lnTo>
                  <a:lnTo>
                    <a:pt x="6" y="165"/>
                  </a:lnTo>
                  <a:lnTo>
                    <a:pt x="7" y="162"/>
                  </a:lnTo>
                  <a:lnTo>
                    <a:pt x="11" y="157"/>
                  </a:lnTo>
                  <a:lnTo>
                    <a:pt x="14" y="150"/>
                  </a:lnTo>
                  <a:lnTo>
                    <a:pt x="15" y="147"/>
                  </a:lnTo>
                  <a:lnTo>
                    <a:pt x="17" y="146"/>
                  </a:lnTo>
                  <a:lnTo>
                    <a:pt x="19" y="144"/>
                  </a:lnTo>
                  <a:lnTo>
                    <a:pt x="21" y="142"/>
                  </a:lnTo>
                  <a:lnTo>
                    <a:pt x="23" y="141"/>
                  </a:lnTo>
                  <a:lnTo>
                    <a:pt x="25" y="139"/>
                  </a:lnTo>
                  <a:lnTo>
                    <a:pt x="26" y="138"/>
                  </a:lnTo>
                  <a:lnTo>
                    <a:pt x="27" y="137"/>
                  </a:lnTo>
                  <a:lnTo>
                    <a:pt x="33" y="136"/>
                  </a:lnTo>
                  <a:lnTo>
                    <a:pt x="35" y="135"/>
                  </a:lnTo>
                  <a:lnTo>
                    <a:pt x="37" y="133"/>
                  </a:lnTo>
                  <a:lnTo>
                    <a:pt x="39" y="131"/>
                  </a:lnTo>
                  <a:lnTo>
                    <a:pt x="41" y="129"/>
                  </a:lnTo>
                  <a:lnTo>
                    <a:pt x="43" y="127"/>
                  </a:lnTo>
                  <a:lnTo>
                    <a:pt x="44" y="126"/>
                  </a:lnTo>
                  <a:lnTo>
                    <a:pt x="45" y="124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7" y="119"/>
                  </a:lnTo>
                  <a:lnTo>
                    <a:pt x="48" y="117"/>
                  </a:lnTo>
                  <a:lnTo>
                    <a:pt x="48" y="114"/>
                  </a:lnTo>
                  <a:lnTo>
                    <a:pt x="48" y="111"/>
                  </a:lnTo>
                  <a:lnTo>
                    <a:pt x="48" y="108"/>
                  </a:lnTo>
                  <a:lnTo>
                    <a:pt x="47" y="104"/>
                  </a:lnTo>
                  <a:lnTo>
                    <a:pt x="44" y="93"/>
                  </a:lnTo>
                  <a:lnTo>
                    <a:pt x="43" y="90"/>
                  </a:lnTo>
                  <a:lnTo>
                    <a:pt x="42" y="87"/>
                  </a:lnTo>
                  <a:lnTo>
                    <a:pt x="39" y="80"/>
                  </a:lnTo>
                  <a:lnTo>
                    <a:pt x="39" y="78"/>
                  </a:lnTo>
                  <a:lnTo>
                    <a:pt x="38" y="75"/>
                  </a:lnTo>
                  <a:lnTo>
                    <a:pt x="38" y="72"/>
                  </a:lnTo>
                  <a:lnTo>
                    <a:pt x="38" y="70"/>
                  </a:lnTo>
                  <a:lnTo>
                    <a:pt x="38" y="68"/>
                  </a:lnTo>
                  <a:lnTo>
                    <a:pt x="40" y="62"/>
                  </a:lnTo>
                  <a:lnTo>
                    <a:pt x="41" y="58"/>
                  </a:lnTo>
                  <a:lnTo>
                    <a:pt x="42" y="54"/>
                  </a:lnTo>
                  <a:lnTo>
                    <a:pt x="42" y="45"/>
                  </a:lnTo>
                  <a:lnTo>
                    <a:pt x="42" y="41"/>
                  </a:lnTo>
                  <a:lnTo>
                    <a:pt x="43" y="34"/>
                  </a:lnTo>
                  <a:lnTo>
                    <a:pt x="45" y="29"/>
                  </a:lnTo>
                  <a:lnTo>
                    <a:pt x="45" y="25"/>
                  </a:lnTo>
                  <a:lnTo>
                    <a:pt x="46" y="23"/>
                  </a:lnTo>
                  <a:lnTo>
                    <a:pt x="47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50" y="21"/>
                  </a:lnTo>
                  <a:lnTo>
                    <a:pt x="51" y="22"/>
                  </a:lnTo>
                  <a:lnTo>
                    <a:pt x="53" y="22"/>
                  </a:lnTo>
                  <a:lnTo>
                    <a:pt x="62" y="23"/>
                  </a:lnTo>
                  <a:lnTo>
                    <a:pt x="65" y="24"/>
                  </a:lnTo>
                  <a:lnTo>
                    <a:pt x="68" y="24"/>
                  </a:lnTo>
                  <a:lnTo>
                    <a:pt x="70" y="24"/>
                  </a:lnTo>
                  <a:lnTo>
                    <a:pt x="71" y="24"/>
                  </a:lnTo>
                  <a:lnTo>
                    <a:pt x="73" y="24"/>
                  </a:lnTo>
                  <a:lnTo>
                    <a:pt x="75" y="23"/>
                  </a:lnTo>
                  <a:lnTo>
                    <a:pt x="77" y="22"/>
                  </a:lnTo>
                  <a:lnTo>
                    <a:pt x="79" y="22"/>
                  </a:lnTo>
                  <a:lnTo>
                    <a:pt x="81" y="21"/>
                  </a:lnTo>
                  <a:lnTo>
                    <a:pt x="83" y="19"/>
                  </a:lnTo>
                  <a:lnTo>
                    <a:pt x="87" y="16"/>
                  </a:lnTo>
                  <a:lnTo>
                    <a:pt x="91" y="14"/>
                  </a:lnTo>
                  <a:lnTo>
                    <a:pt x="100" y="6"/>
                  </a:lnTo>
                  <a:lnTo>
                    <a:pt x="103" y="4"/>
                  </a:lnTo>
                  <a:lnTo>
                    <a:pt x="105" y="3"/>
                  </a:lnTo>
                  <a:lnTo>
                    <a:pt x="109" y="1"/>
                  </a:lnTo>
                  <a:lnTo>
                    <a:pt x="111" y="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6" name="Freeform 23">
              <a:extLst>
                <a:ext uri="{FF2B5EF4-FFF2-40B4-BE49-F238E27FC236}">
                  <a16:creationId xmlns:a16="http://schemas.microsoft.com/office/drawing/2014/main" id="{CDB8A9FF-369A-49F6-8A42-587A3ED15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779"/>
              <a:ext cx="454" cy="519"/>
            </a:xfrm>
            <a:custGeom>
              <a:avLst/>
              <a:gdLst>
                <a:gd name="T0" fmla="*/ 125 w 454"/>
                <a:gd name="T1" fmla="*/ 17 h 519"/>
                <a:gd name="T2" fmla="*/ 146 w 454"/>
                <a:gd name="T3" fmla="*/ 6 h 519"/>
                <a:gd name="T4" fmla="*/ 160 w 454"/>
                <a:gd name="T5" fmla="*/ 16 h 519"/>
                <a:gd name="T6" fmla="*/ 181 w 454"/>
                <a:gd name="T7" fmla="*/ 29 h 519"/>
                <a:gd name="T8" fmla="*/ 208 w 454"/>
                <a:gd name="T9" fmla="*/ 35 h 519"/>
                <a:gd name="T10" fmla="*/ 227 w 454"/>
                <a:gd name="T11" fmla="*/ 50 h 519"/>
                <a:gd name="T12" fmla="*/ 239 w 454"/>
                <a:gd name="T13" fmla="*/ 56 h 519"/>
                <a:gd name="T14" fmla="*/ 244 w 454"/>
                <a:gd name="T15" fmla="*/ 69 h 519"/>
                <a:gd name="T16" fmla="*/ 252 w 454"/>
                <a:gd name="T17" fmla="*/ 78 h 519"/>
                <a:gd name="T18" fmla="*/ 237 w 454"/>
                <a:gd name="T19" fmla="*/ 94 h 519"/>
                <a:gd name="T20" fmla="*/ 230 w 454"/>
                <a:gd name="T21" fmla="*/ 108 h 519"/>
                <a:gd name="T22" fmla="*/ 242 w 454"/>
                <a:gd name="T23" fmla="*/ 138 h 519"/>
                <a:gd name="T24" fmla="*/ 244 w 454"/>
                <a:gd name="T25" fmla="*/ 152 h 519"/>
                <a:gd name="T26" fmla="*/ 250 w 454"/>
                <a:gd name="T27" fmla="*/ 169 h 519"/>
                <a:gd name="T28" fmla="*/ 246 w 454"/>
                <a:gd name="T29" fmla="*/ 188 h 519"/>
                <a:gd name="T30" fmla="*/ 237 w 454"/>
                <a:gd name="T31" fmla="*/ 230 h 519"/>
                <a:gd name="T32" fmla="*/ 255 w 454"/>
                <a:gd name="T33" fmla="*/ 258 h 519"/>
                <a:gd name="T34" fmla="*/ 277 w 454"/>
                <a:gd name="T35" fmla="*/ 304 h 519"/>
                <a:gd name="T36" fmla="*/ 285 w 454"/>
                <a:gd name="T37" fmla="*/ 323 h 519"/>
                <a:gd name="T38" fmla="*/ 306 w 454"/>
                <a:gd name="T39" fmla="*/ 361 h 519"/>
                <a:gd name="T40" fmla="*/ 328 w 454"/>
                <a:gd name="T41" fmla="*/ 386 h 519"/>
                <a:gd name="T42" fmla="*/ 362 w 454"/>
                <a:gd name="T43" fmla="*/ 394 h 519"/>
                <a:gd name="T44" fmla="*/ 373 w 454"/>
                <a:gd name="T45" fmla="*/ 411 h 519"/>
                <a:gd name="T46" fmla="*/ 396 w 454"/>
                <a:gd name="T47" fmla="*/ 428 h 519"/>
                <a:gd name="T48" fmla="*/ 435 w 454"/>
                <a:gd name="T49" fmla="*/ 435 h 519"/>
                <a:gd name="T50" fmla="*/ 453 w 454"/>
                <a:gd name="T51" fmla="*/ 447 h 519"/>
                <a:gd name="T52" fmla="*/ 440 w 454"/>
                <a:gd name="T53" fmla="*/ 462 h 519"/>
                <a:gd name="T54" fmla="*/ 431 w 454"/>
                <a:gd name="T55" fmla="*/ 473 h 519"/>
                <a:gd name="T56" fmla="*/ 423 w 454"/>
                <a:gd name="T57" fmla="*/ 480 h 519"/>
                <a:gd name="T58" fmla="*/ 421 w 454"/>
                <a:gd name="T59" fmla="*/ 504 h 519"/>
                <a:gd name="T60" fmla="*/ 399 w 454"/>
                <a:gd name="T61" fmla="*/ 516 h 519"/>
                <a:gd name="T62" fmla="*/ 328 w 454"/>
                <a:gd name="T63" fmla="*/ 519 h 519"/>
                <a:gd name="T64" fmla="*/ 285 w 454"/>
                <a:gd name="T65" fmla="*/ 510 h 519"/>
                <a:gd name="T66" fmla="*/ 270 w 454"/>
                <a:gd name="T67" fmla="*/ 493 h 519"/>
                <a:gd name="T68" fmla="*/ 253 w 454"/>
                <a:gd name="T69" fmla="*/ 473 h 519"/>
                <a:gd name="T70" fmla="*/ 234 w 454"/>
                <a:gd name="T71" fmla="*/ 471 h 519"/>
                <a:gd name="T72" fmla="*/ 218 w 454"/>
                <a:gd name="T73" fmla="*/ 461 h 519"/>
                <a:gd name="T74" fmla="*/ 203 w 454"/>
                <a:gd name="T75" fmla="*/ 482 h 519"/>
                <a:gd name="T76" fmla="*/ 164 w 454"/>
                <a:gd name="T77" fmla="*/ 491 h 519"/>
                <a:gd name="T78" fmla="*/ 133 w 454"/>
                <a:gd name="T79" fmla="*/ 480 h 519"/>
                <a:gd name="T80" fmla="*/ 89 w 454"/>
                <a:gd name="T81" fmla="*/ 464 h 519"/>
                <a:gd name="T82" fmla="*/ 49 w 454"/>
                <a:gd name="T83" fmla="*/ 462 h 519"/>
                <a:gd name="T84" fmla="*/ 34 w 454"/>
                <a:gd name="T85" fmla="*/ 444 h 519"/>
                <a:gd name="T86" fmla="*/ 1 w 454"/>
                <a:gd name="T87" fmla="*/ 434 h 519"/>
                <a:gd name="T88" fmla="*/ 7 w 454"/>
                <a:gd name="T89" fmla="*/ 403 h 519"/>
                <a:gd name="T90" fmla="*/ 19 w 454"/>
                <a:gd name="T91" fmla="*/ 384 h 519"/>
                <a:gd name="T92" fmla="*/ 5 w 454"/>
                <a:gd name="T93" fmla="*/ 358 h 519"/>
                <a:gd name="T94" fmla="*/ 16 w 454"/>
                <a:gd name="T95" fmla="*/ 336 h 519"/>
                <a:gd name="T96" fmla="*/ 28 w 454"/>
                <a:gd name="T97" fmla="*/ 323 h 519"/>
                <a:gd name="T98" fmla="*/ 17 w 454"/>
                <a:gd name="T99" fmla="*/ 308 h 519"/>
                <a:gd name="T100" fmla="*/ 18 w 454"/>
                <a:gd name="T101" fmla="*/ 295 h 519"/>
                <a:gd name="T102" fmla="*/ 32 w 454"/>
                <a:gd name="T103" fmla="*/ 281 h 519"/>
                <a:gd name="T104" fmla="*/ 33 w 454"/>
                <a:gd name="T105" fmla="*/ 259 h 519"/>
                <a:gd name="T106" fmla="*/ 62 w 454"/>
                <a:gd name="T107" fmla="*/ 233 h 519"/>
                <a:gd name="T108" fmla="*/ 78 w 454"/>
                <a:gd name="T109" fmla="*/ 194 h 519"/>
                <a:gd name="T110" fmla="*/ 71 w 454"/>
                <a:gd name="T111" fmla="*/ 175 h 519"/>
                <a:gd name="T112" fmla="*/ 65 w 454"/>
                <a:gd name="T113" fmla="*/ 129 h 519"/>
                <a:gd name="T114" fmla="*/ 70 w 454"/>
                <a:gd name="T115" fmla="*/ 96 h 519"/>
                <a:gd name="T116" fmla="*/ 63 w 454"/>
                <a:gd name="T117" fmla="*/ 55 h 519"/>
                <a:gd name="T118" fmla="*/ 55 w 454"/>
                <a:gd name="T119" fmla="*/ 40 h 519"/>
                <a:gd name="T120" fmla="*/ 66 w 454"/>
                <a:gd name="T121" fmla="*/ 15 h 519"/>
                <a:gd name="T122" fmla="*/ 81 w 454"/>
                <a:gd name="T123" fmla="*/ 18 h 519"/>
                <a:gd name="T124" fmla="*/ 99 w 454"/>
                <a:gd name="T125" fmla="*/ 11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4" h="519">
                  <a:moveTo>
                    <a:pt x="109" y="0"/>
                  </a:moveTo>
                  <a:lnTo>
                    <a:pt x="110" y="1"/>
                  </a:lnTo>
                  <a:lnTo>
                    <a:pt x="112" y="6"/>
                  </a:lnTo>
                  <a:lnTo>
                    <a:pt x="118" y="14"/>
                  </a:lnTo>
                  <a:lnTo>
                    <a:pt x="119" y="15"/>
                  </a:lnTo>
                  <a:lnTo>
                    <a:pt x="119" y="16"/>
                  </a:lnTo>
                  <a:lnTo>
                    <a:pt x="120" y="16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5" y="17"/>
                  </a:lnTo>
                  <a:lnTo>
                    <a:pt x="126" y="17"/>
                  </a:lnTo>
                  <a:lnTo>
                    <a:pt x="128" y="16"/>
                  </a:lnTo>
                  <a:lnTo>
                    <a:pt x="131" y="15"/>
                  </a:lnTo>
                  <a:lnTo>
                    <a:pt x="133" y="13"/>
                  </a:lnTo>
                  <a:lnTo>
                    <a:pt x="135" y="12"/>
                  </a:lnTo>
                  <a:lnTo>
                    <a:pt x="140" y="8"/>
                  </a:lnTo>
                  <a:lnTo>
                    <a:pt x="141" y="7"/>
                  </a:lnTo>
                  <a:lnTo>
                    <a:pt x="143" y="6"/>
                  </a:lnTo>
                  <a:lnTo>
                    <a:pt x="144" y="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48" y="6"/>
                  </a:lnTo>
                  <a:lnTo>
                    <a:pt x="149" y="7"/>
                  </a:lnTo>
                  <a:lnTo>
                    <a:pt x="150" y="7"/>
                  </a:lnTo>
                  <a:lnTo>
                    <a:pt x="151" y="8"/>
                  </a:lnTo>
                  <a:lnTo>
                    <a:pt x="153" y="9"/>
                  </a:lnTo>
                  <a:lnTo>
                    <a:pt x="157" y="13"/>
                  </a:lnTo>
                  <a:lnTo>
                    <a:pt x="158" y="14"/>
                  </a:lnTo>
                  <a:lnTo>
                    <a:pt x="158" y="15"/>
                  </a:lnTo>
                  <a:lnTo>
                    <a:pt x="160" y="16"/>
                  </a:lnTo>
                  <a:lnTo>
                    <a:pt x="163" y="18"/>
                  </a:lnTo>
                  <a:lnTo>
                    <a:pt x="165" y="19"/>
                  </a:lnTo>
                  <a:lnTo>
                    <a:pt x="166" y="19"/>
                  </a:lnTo>
                  <a:lnTo>
                    <a:pt x="166" y="20"/>
                  </a:lnTo>
                  <a:lnTo>
                    <a:pt x="167" y="21"/>
                  </a:lnTo>
                  <a:lnTo>
                    <a:pt x="168" y="22"/>
                  </a:lnTo>
                  <a:lnTo>
                    <a:pt x="169" y="23"/>
                  </a:lnTo>
                  <a:lnTo>
                    <a:pt x="171" y="24"/>
                  </a:lnTo>
                  <a:lnTo>
                    <a:pt x="178" y="27"/>
                  </a:lnTo>
                  <a:lnTo>
                    <a:pt x="181" y="29"/>
                  </a:lnTo>
                  <a:lnTo>
                    <a:pt x="186" y="30"/>
                  </a:lnTo>
                  <a:lnTo>
                    <a:pt x="189" y="31"/>
                  </a:lnTo>
                  <a:lnTo>
                    <a:pt x="193" y="31"/>
                  </a:lnTo>
                  <a:lnTo>
                    <a:pt x="194" y="31"/>
                  </a:lnTo>
                  <a:lnTo>
                    <a:pt x="194" y="32"/>
                  </a:lnTo>
                  <a:lnTo>
                    <a:pt x="195" y="32"/>
                  </a:lnTo>
                  <a:lnTo>
                    <a:pt x="196" y="33"/>
                  </a:lnTo>
                  <a:lnTo>
                    <a:pt x="198" y="33"/>
                  </a:lnTo>
                  <a:lnTo>
                    <a:pt x="205" y="34"/>
                  </a:lnTo>
                  <a:lnTo>
                    <a:pt x="208" y="35"/>
                  </a:lnTo>
                  <a:lnTo>
                    <a:pt x="210" y="36"/>
                  </a:lnTo>
                  <a:lnTo>
                    <a:pt x="213" y="37"/>
                  </a:lnTo>
                  <a:lnTo>
                    <a:pt x="215" y="38"/>
                  </a:lnTo>
                  <a:lnTo>
                    <a:pt x="217" y="40"/>
                  </a:lnTo>
                  <a:lnTo>
                    <a:pt x="220" y="41"/>
                  </a:lnTo>
                  <a:lnTo>
                    <a:pt x="221" y="42"/>
                  </a:lnTo>
                  <a:lnTo>
                    <a:pt x="222" y="42"/>
                  </a:lnTo>
                  <a:lnTo>
                    <a:pt x="223" y="43"/>
                  </a:lnTo>
                  <a:lnTo>
                    <a:pt x="226" y="48"/>
                  </a:lnTo>
                  <a:lnTo>
                    <a:pt x="227" y="50"/>
                  </a:lnTo>
                  <a:lnTo>
                    <a:pt x="228" y="51"/>
                  </a:lnTo>
                  <a:lnTo>
                    <a:pt x="230" y="52"/>
                  </a:lnTo>
                  <a:lnTo>
                    <a:pt x="232" y="53"/>
                  </a:lnTo>
                  <a:lnTo>
                    <a:pt x="233" y="53"/>
                  </a:lnTo>
                  <a:lnTo>
                    <a:pt x="236" y="54"/>
                  </a:lnTo>
                  <a:lnTo>
                    <a:pt x="237" y="54"/>
                  </a:lnTo>
                  <a:lnTo>
                    <a:pt x="237" y="54"/>
                  </a:lnTo>
                  <a:lnTo>
                    <a:pt x="238" y="54"/>
                  </a:lnTo>
                  <a:lnTo>
                    <a:pt x="239" y="55"/>
                  </a:lnTo>
                  <a:lnTo>
                    <a:pt x="239" y="56"/>
                  </a:lnTo>
                  <a:lnTo>
                    <a:pt x="239" y="57"/>
                  </a:lnTo>
                  <a:lnTo>
                    <a:pt x="238" y="58"/>
                  </a:lnTo>
                  <a:lnTo>
                    <a:pt x="238" y="59"/>
                  </a:lnTo>
                  <a:lnTo>
                    <a:pt x="238" y="60"/>
                  </a:lnTo>
                  <a:lnTo>
                    <a:pt x="238" y="61"/>
                  </a:lnTo>
                  <a:lnTo>
                    <a:pt x="238" y="63"/>
                  </a:lnTo>
                  <a:lnTo>
                    <a:pt x="238" y="64"/>
                  </a:lnTo>
                  <a:lnTo>
                    <a:pt x="239" y="64"/>
                  </a:lnTo>
                  <a:lnTo>
                    <a:pt x="242" y="68"/>
                  </a:lnTo>
                  <a:lnTo>
                    <a:pt x="244" y="69"/>
                  </a:lnTo>
                  <a:lnTo>
                    <a:pt x="245" y="70"/>
                  </a:lnTo>
                  <a:lnTo>
                    <a:pt x="246" y="71"/>
                  </a:lnTo>
                  <a:lnTo>
                    <a:pt x="249" y="71"/>
                  </a:lnTo>
                  <a:lnTo>
                    <a:pt x="250" y="72"/>
                  </a:lnTo>
                  <a:lnTo>
                    <a:pt x="251" y="72"/>
                  </a:lnTo>
                  <a:lnTo>
                    <a:pt x="252" y="73"/>
                  </a:lnTo>
                  <a:lnTo>
                    <a:pt x="252" y="74"/>
                  </a:lnTo>
                  <a:lnTo>
                    <a:pt x="253" y="76"/>
                  </a:lnTo>
                  <a:lnTo>
                    <a:pt x="253" y="76"/>
                  </a:lnTo>
                  <a:lnTo>
                    <a:pt x="252" y="78"/>
                  </a:lnTo>
                  <a:lnTo>
                    <a:pt x="252" y="79"/>
                  </a:lnTo>
                  <a:lnTo>
                    <a:pt x="251" y="81"/>
                  </a:lnTo>
                  <a:lnTo>
                    <a:pt x="250" y="84"/>
                  </a:lnTo>
                  <a:lnTo>
                    <a:pt x="249" y="87"/>
                  </a:lnTo>
                  <a:lnTo>
                    <a:pt x="248" y="88"/>
                  </a:lnTo>
                  <a:lnTo>
                    <a:pt x="246" y="90"/>
                  </a:lnTo>
                  <a:lnTo>
                    <a:pt x="244" y="91"/>
                  </a:lnTo>
                  <a:lnTo>
                    <a:pt x="242" y="92"/>
                  </a:lnTo>
                  <a:lnTo>
                    <a:pt x="238" y="94"/>
                  </a:lnTo>
                  <a:lnTo>
                    <a:pt x="237" y="94"/>
                  </a:lnTo>
                  <a:lnTo>
                    <a:pt x="236" y="95"/>
                  </a:lnTo>
                  <a:lnTo>
                    <a:pt x="235" y="96"/>
                  </a:lnTo>
                  <a:lnTo>
                    <a:pt x="233" y="98"/>
                  </a:lnTo>
                  <a:lnTo>
                    <a:pt x="232" y="99"/>
                  </a:lnTo>
                  <a:lnTo>
                    <a:pt x="230" y="102"/>
                  </a:lnTo>
                  <a:lnTo>
                    <a:pt x="230" y="103"/>
                  </a:lnTo>
                  <a:lnTo>
                    <a:pt x="230" y="104"/>
                  </a:lnTo>
                  <a:lnTo>
                    <a:pt x="230" y="105"/>
                  </a:lnTo>
                  <a:lnTo>
                    <a:pt x="230" y="107"/>
                  </a:lnTo>
                  <a:lnTo>
                    <a:pt x="230" y="108"/>
                  </a:lnTo>
                  <a:lnTo>
                    <a:pt x="231" y="109"/>
                  </a:lnTo>
                  <a:lnTo>
                    <a:pt x="232" y="111"/>
                  </a:lnTo>
                  <a:lnTo>
                    <a:pt x="235" y="116"/>
                  </a:lnTo>
                  <a:lnTo>
                    <a:pt x="236" y="118"/>
                  </a:lnTo>
                  <a:lnTo>
                    <a:pt x="237" y="120"/>
                  </a:lnTo>
                  <a:lnTo>
                    <a:pt x="237" y="124"/>
                  </a:lnTo>
                  <a:lnTo>
                    <a:pt x="237" y="127"/>
                  </a:lnTo>
                  <a:lnTo>
                    <a:pt x="239" y="130"/>
                  </a:lnTo>
                  <a:lnTo>
                    <a:pt x="241" y="135"/>
                  </a:lnTo>
                  <a:lnTo>
                    <a:pt x="242" y="138"/>
                  </a:lnTo>
                  <a:lnTo>
                    <a:pt x="242" y="139"/>
                  </a:lnTo>
                  <a:lnTo>
                    <a:pt x="242" y="141"/>
                  </a:lnTo>
                  <a:lnTo>
                    <a:pt x="242" y="143"/>
                  </a:lnTo>
                  <a:lnTo>
                    <a:pt x="240" y="144"/>
                  </a:lnTo>
                  <a:lnTo>
                    <a:pt x="240" y="145"/>
                  </a:lnTo>
                  <a:lnTo>
                    <a:pt x="240" y="146"/>
                  </a:lnTo>
                  <a:lnTo>
                    <a:pt x="240" y="147"/>
                  </a:lnTo>
                  <a:lnTo>
                    <a:pt x="240" y="149"/>
                  </a:lnTo>
                  <a:lnTo>
                    <a:pt x="242" y="150"/>
                  </a:lnTo>
                  <a:lnTo>
                    <a:pt x="244" y="152"/>
                  </a:lnTo>
                  <a:lnTo>
                    <a:pt x="248" y="155"/>
                  </a:lnTo>
                  <a:lnTo>
                    <a:pt x="249" y="156"/>
                  </a:lnTo>
                  <a:lnTo>
                    <a:pt x="249" y="156"/>
                  </a:lnTo>
                  <a:lnTo>
                    <a:pt x="250" y="158"/>
                  </a:lnTo>
                  <a:lnTo>
                    <a:pt x="251" y="160"/>
                  </a:lnTo>
                  <a:lnTo>
                    <a:pt x="252" y="161"/>
                  </a:lnTo>
                  <a:lnTo>
                    <a:pt x="252" y="163"/>
                  </a:lnTo>
                  <a:lnTo>
                    <a:pt x="252" y="164"/>
                  </a:lnTo>
                  <a:lnTo>
                    <a:pt x="251" y="165"/>
                  </a:lnTo>
                  <a:lnTo>
                    <a:pt x="250" y="169"/>
                  </a:lnTo>
                  <a:lnTo>
                    <a:pt x="249" y="171"/>
                  </a:lnTo>
                  <a:lnTo>
                    <a:pt x="249" y="173"/>
                  </a:lnTo>
                  <a:lnTo>
                    <a:pt x="250" y="176"/>
                  </a:lnTo>
                  <a:lnTo>
                    <a:pt x="250" y="178"/>
                  </a:lnTo>
                  <a:lnTo>
                    <a:pt x="250" y="178"/>
                  </a:lnTo>
                  <a:lnTo>
                    <a:pt x="250" y="180"/>
                  </a:lnTo>
                  <a:lnTo>
                    <a:pt x="249" y="181"/>
                  </a:lnTo>
                  <a:lnTo>
                    <a:pt x="249" y="182"/>
                  </a:lnTo>
                  <a:lnTo>
                    <a:pt x="247" y="186"/>
                  </a:lnTo>
                  <a:lnTo>
                    <a:pt x="246" y="188"/>
                  </a:lnTo>
                  <a:lnTo>
                    <a:pt x="245" y="190"/>
                  </a:lnTo>
                  <a:lnTo>
                    <a:pt x="245" y="193"/>
                  </a:lnTo>
                  <a:lnTo>
                    <a:pt x="244" y="197"/>
                  </a:lnTo>
                  <a:lnTo>
                    <a:pt x="243" y="199"/>
                  </a:lnTo>
                  <a:lnTo>
                    <a:pt x="241" y="206"/>
                  </a:lnTo>
                  <a:lnTo>
                    <a:pt x="240" y="209"/>
                  </a:lnTo>
                  <a:lnTo>
                    <a:pt x="239" y="212"/>
                  </a:lnTo>
                  <a:lnTo>
                    <a:pt x="237" y="221"/>
                  </a:lnTo>
                  <a:lnTo>
                    <a:pt x="237" y="227"/>
                  </a:lnTo>
                  <a:lnTo>
                    <a:pt x="237" y="230"/>
                  </a:lnTo>
                  <a:lnTo>
                    <a:pt x="237" y="233"/>
                  </a:lnTo>
                  <a:lnTo>
                    <a:pt x="237" y="235"/>
                  </a:lnTo>
                  <a:lnTo>
                    <a:pt x="237" y="236"/>
                  </a:lnTo>
                  <a:lnTo>
                    <a:pt x="238" y="238"/>
                  </a:lnTo>
                  <a:lnTo>
                    <a:pt x="239" y="240"/>
                  </a:lnTo>
                  <a:lnTo>
                    <a:pt x="241" y="241"/>
                  </a:lnTo>
                  <a:lnTo>
                    <a:pt x="242" y="243"/>
                  </a:lnTo>
                  <a:lnTo>
                    <a:pt x="249" y="249"/>
                  </a:lnTo>
                  <a:lnTo>
                    <a:pt x="252" y="254"/>
                  </a:lnTo>
                  <a:lnTo>
                    <a:pt x="255" y="258"/>
                  </a:lnTo>
                  <a:lnTo>
                    <a:pt x="258" y="261"/>
                  </a:lnTo>
                  <a:lnTo>
                    <a:pt x="260" y="264"/>
                  </a:lnTo>
                  <a:lnTo>
                    <a:pt x="261" y="268"/>
                  </a:lnTo>
                  <a:lnTo>
                    <a:pt x="267" y="279"/>
                  </a:lnTo>
                  <a:lnTo>
                    <a:pt x="270" y="283"/>
                  </a:lnTo>
                  <a:lnTo>
                    <a:pt x="271" y="288"/>
                  </a:lnTo>
                  <a:lnTo>
                    <a:pt x="273" y="293"/>
                  </a:lnTo>
                  <a:lnTo>
                    <a:pt x="276" y="300"/>
                  </a:lnTo>
                  <a:lnTo>
                    <a:pt x="277" y="303"/>
                  </a:lnTo>
                  <a:lnTo>
                    <a:pt x="277" y="304"/>
                  </a:lnTo>
                  <a:lnTo>
                    <a:pt x="278" y="306"/>
                  </a:lnTo>
                  <a:lnTo>
                    <a:pt x="278" y="310"/>
                  </a:lnTo>
                  <a:lnTo>
                    <a:pt x="278" y="312"/>
                  </a:lnTo>
                  <a:lnTo>
                    <a:pt x="278" y="313"/>
                  </a:lnTo>
                  <a:lnTo>
                    <a:pt x="279" y="314"/>
                  </a:lnTo>
                  <a:lnTo>
                    <a:pt x="280" y="316"/>
                  </a:lnTo>
                  <a:lnTo>
                    <a:pt x="281" y="318"/>
                  </a:lnTo>
                  <a:lnTo>
                    <a:pt x="282" y="320"/>
                  </a:lnTo>
                  <a:lnTo>
                    <a:pt x="283" y="321"/>
                  </a:lnTo>
                  <a:lnTo>
                    <a:pt x="285" y="323"/>
                  </a:lnTo>
                  <a:lnTo>
                    <a:pt x="289" y="326"/>
                  </a:lnTo>
                  <a:lnTo>
                    <a:pt x="291" y="328"/>
                  </a:lnTo>
                  <a:lnTo>
                    <a:pt x="294" y="334"/>
                  </a:lnTo>
                  <a:lnTo>
                    <a:pt x="297" y="337"/>
                  </a:lnTo>
                  <a:lnTo>
                    <a:pt x="299" y="341"/>
                  </a:lnTo>
                  <a:lnTo>
                    <a:pt x="301" y="345"/>
                  </a:lnTo>
                  <a:lnTo>
                    <a:pt x="302" y="348"/>
                  </a:lnTo>
                  <a:lnTo>
                    <a:pt x="304" y="355"/>
                  </a:lnTo>
                  <a:lnTo>
                    <a:pt x="305" y="358"/>
                  </a:lnTo>
                  <a:lnTo>
                    <a:pt x="306" y="361"/>
                  </a:lnTo>
                  <a:lnTo>
                    <a:pt x="308" y="364"/>
                  </a:lnTo>
                  <a:lnTo>
                    <a:pt x="309" y="366"/>
                  </a:lnTo>
                  <a:lnTo>
                    <a:pt x="311" y="368"/>
                  </a:lnTo>
                  <a:lnTo>
                    <a:pt x="316" y="371"/>
                  </a:lnTo>
                  <a:lnTo>
                    <a:pt x="319" y="375"/>
                  </a:lnTo>
                  <a:lnTo>
                    <a:pt x="321" y="377"/>
                  </a:lnTo>
                  <a:lnTo>
                    <a:pt x="323" y="379"/>
                  </a:lnTo>
                  <a:lnTo>
                    <a:pt x="326" y="383"/>
                  </a:lnTo>
                  <a:lnTo>
                    <a:pt x="328" y="385"/>
                  </a:lnTo>
                  <a:lnTo>
                    <a:pt x="328" y="386"/>
                  </a:lnTo>
                  <a:lnTo>
                    <a:pt x="329" y="387"/>
                  </a:lnTo>
                  <a:lnTo>
                    <a:pt x="331" y="388"/>
                  </a:lnTo>
                  <a:lnTo>
                    <a:pt x="332" y="389"/>
                  </a:lnTo>
                  <a:lnTo>
                    <a:pt x="334" y="389"/>
                  </a:lnTo>
                  <a:lnTo>
                    <a:pt x="338" y="391"/>
                  </a:lnTo>
                  <a:lnTo>
                    <a:pt x="347" y="393"/>
                  </a:lnTo>
                  <a:lnTo>
                    <a:pt x="353" y="394"/>
                  </a:lnTo>
                  <a:lnTo>
                    <a:pt x="356" y="394"/>
                  </a:lnTo>
                  <a:lnTo>
                    <a:pt x="361" y="394"/>
                  </a:lnTo>
                  <a:lnTo>
                    <a:pt x="362" y="394"/>
                  </a:lnTo>
                  <a:lnTo>
                    <a:pt x="364" y="395"/>
                  </a:lnTo>
                  <a:lnTo>
                    <a:pt x="366" y="396"/>
                  </a:lnTo>
                  <a:lnTo>
                    <a:pt x="367" y="396"/>
                  </a:lnTo>
                  <a:lnTo>
                    <a:pt x="367" y="397"/>
                  </a:lnTo>
                  <a:lnTo>
                    <a:pt x="368" y="399"/>
                  </a:lnTo>
                  <a:lnTo>
                    <a:pt x="369" y="401"/>
                  </a:lnTo>
                  <a:lnTo>
                    <a:pt x="370" y="405"/>
                  </a:lnTo>
                  <a:lnTo>
                    <a:pt x="370" y="407"/>
                  </a:lnTo>
                  <a:lnTo>
                    <a:pt x="372" y="409"/>
                  </a:lnTo>
                  <a:lnTo>
                    <a:pt x="373" y="411"/>
                  </a:lnTo>
                  <a:lnTo>
                    <a:pt x="374" y="412"/>
                  </a:lnTo>
                  <a:lnTo>
                    <a:pt x="376" y="414"/>
                  </a:lnTo>
                  <a:lnTo>
                    <a:pt x="379" y="414"/>
                  </a:lnTo>
                  <a:lnTo>
                    <a:pt x="387" y="416"/>
                  </a:lnTo>
                  <a:lnTo>
                    <a:pt x="388" y="417"/>
                  </a:lnTo>
                  <a:lnTo>
                    <a:pt x="389" y="418"/>
                  </a:lnTo>
                  <a:lnTo>
                    <a:pt x="391" y="419"/>
                  </a:lnTo>
                  <a:lnTo>
                    <a:pt x="392" y="420"/>
                  </a:lnTo>
                  <a:lnTo>
                    <a:pt x="395" y="426"/>
                  </a:lnTo>
                  <a:lnTo>
                    <a:pt x="396" y="428"/>
                  </a:lnTo>
                  <a:lnTo>
                    <a:pt x="397" y="428"/>
                  </a:lnTo>
                  <a:lnTo>
                    <a:pt x="398" y="429"/>
                  </a:lnTo>
                  <a:lnTo>
                    <a:pt x="401" y="430"/>
                  </a:lnTo>
                  <a:lnTo>
                    <a:pt x="406" y="432"/>
                  </a:lnTo>
                  <a:lnTo>
                    <a:pt x="409" y="433"/>
                  </a:lnTo>
                  <a:lnTo>
                    <a:pt x="414" y="434"/>
                  </a:lnTo>
                  <a:lnTo>
                    <a:pt x="418" y="434"/>
                  </a:lnTo>
                  <a:lnTo>
                    <a:pt x="428" y="435"/>
                  </a:lnTo>
                  <a:lnTo>
                    <a:pt x="431" y="435"/>
                  </a:lnTo>
                  <a:lnTo>
                    <a:pt x="435" y="435"/>
                  </a:lnTo>
                  <a:lnTo>
                    <a:pt x="439" y="436"/>
                  </a:lnTo>
                  <a:lnTo>
                    <a:pt x="447" y="438"/>
                  </a:lnTo>
                  <a:lnTo>
                    <a:pt x="450" y="438"/>
                  </a:lnTo>
                  <a:lnTo>
                    <a:pt x="453" y="438"/>
                  </a:lnTo>
                  <a:lnTo>
                    <a:pt x="453" y="438"/>
                  </a:lnTo>
                  <a:lnTo>
                    <a:pt x="454" y="438"/>
                  </a:lnTo>
                  <a:lnTo>
                    <a:pt x="454" y="439"/>
                  </a:lnTo>
                  <a:lnTo>
                    <a:pt x="454" y="440"/>
                  </a:lnTo>
                  <a:lnTo>
                    <a:pt x="454" y="444"/>
                  </a:lnTo>
                  <a:lnTo>
                    <a:pt x="453" y="447"/>
                  </a:lnTo>
                  <a:lnTo>
                    <a:pt x="453" y="450"/>
                  </a:lnTo>
                  <a:lnTo>
                    <a:pt x="453" y="451"/>
                  </a:lnTo>
                  <a:lnTo>
                    <a:pt x="452" y="453"/>
                  </a:lnTo>
                  <a:lnTo>
                    <a:pt x="451" y="454"/>
                  </a:lnTo>
                  <a:lnTo>
                    <a:pt x="448" y="457"/>
                  </a:lnTo>
                  <a:lnTo>
                    <a:pt x="447" y="458"/>
                  </a:lnTo>
                  <a:lnTo>
                    <a:pt x="445" y="459"/>
                  </a:lnTo>
                  <a:lnTo>
                    <a:pt x="443" y="460"/>
                  </a:lnTo>
                  <a:lnTo>
                    <a:pt x="442" y="461"/>
                  </a:lnTo>
                  <a:lnTo>
                    <a:pt x="440" y="462"/>
                  </a:lnTo>
                  <a:lnTo>
                    <a:pt x="437" y="462"/>
                  </a:lnTo>
                  <a:lnTo>
                    <a:pt x="436" y="462"/>
                  </a:lnTo>
                  <a:lnTo>
                    <a:pt x="435" y="462"/>
                  </a:lnTo>
                  <a:lnTo>
                    <a:pt x="434" y="463"/>
                  </a:lnTo>
                  <a:lnTo>
                    <a:pt x="434" y="464"/>
                  </a:lnTo>
                  <a:lnTo>
                    <a:pt x="433" y="465"/>
                  </a:lnTo>
                  <a:lnTo>
                    <a:pt x="433" y="466"/>
                  </a:lnTo>
                  <a:lnTo>
                    <a:pt x="432" y="469"/>
                  </a:lnTo>
                  <a:lnTo>
                    <a:pt x="431" y="473"/>
                  </a:lnTo>
                  <a:lnTo>
                    <a:pt x="431" y="473"/>
                  </a:lnTo>
                  <a:lnTo>
                    <a:pt x="431" y="474"/>
                  </a:lnTo>
                  <a:lnTo>
                    <a:pt x="431" y="474"/>
                  </a:lnTo>
                  <a:lnTo>
                    <a:pt x="430" y="475"/>
                  </a:lnTo>
                  <a:lnTo>
                    <a:pt x="429" y="475"/>
                  </a:lnTo>
                  <a:lnTo>
                    <a:pt x="426" y="476"/>
                  </a:lnTo>
                  <a:lnTo>
                    <a:pt x="424" y="476"/>
                  </a:lnTo>
                  <a:lnTo>
                    <a:pt x="423" y="477"/>
                  </a:lnTo>
                  <a:lnTo>
                    <a:pt x="423" y="478"/>
                  </a:lnTo>
                  <a:lnTo>
                    <a:pt x="423" y="479"/>
                  </a:lnTo>
                  <a:lnTo>
                    <a:pt x="423" y="480"/>
                  </a:lnTo>
                  <a:lnTo>
                    <a:pt x="423" y="481"/>
                  </a:lnTo>
                  <a:lnTo>
                    <a:pt x="427" y="487"/>
                  </a:lnTo>
                  <a:lnTo>
                    <a:pt x="429" y="492"/>
                  </a:lnTo>
                  <a:lnTo>
                    <a:pt x="429" y="493"/>
                  </a:lnTo>
                  <a:lnTo>
                    <a:pt x="428" y="495"/>
                  </a:lnTo>
                  <a:lnTo>
                    <a:pt x="428" y="496"/>
                  </a:lnTo>
                  <a:lnTo>
                    <a:pt x="427" y="497"/>
                  </a:lnTo>
                  <a:lnTo>
                    <a:pt x="425" y="499"/>
                  </a:lnTo>
                  <a:lnTo>
                    <a:pt x="423" y="502"/>
                  </a:lnTo>
                  <a:lnTo>
                    <a:pt x="421" y="504"/>
                  </a:lnTo>
                  <a:lnTo>
                    <a:pt x="419" y="506"/>
                  </a:lnTo>
                  <a:lnTo>
                    <a:pt x="418" y="507"/>
                  </a:lnTo>
                  <a:lnTo>
                    <a:pt x="415" y="509"/>
                  </a:lnTo>
                  <a:lnTo>
                    <a:pt x="413" y="510"/>
                  </a:lnTo>
                  <a:lnTo>
                    <a:pt x="411" y="512"/>
                  </a:lnTo>
                  <a:lnTo>
                    <a:pt x="408" y="513"/>
                  </a:lnTo>
                  <a:lnTo>
                    <a:pt x="406" y="514"/>
                  </a:lnTo>
                  <a:lnTo>
                    <a:pt x="404" y="515"/>
                  </a:lnTo>
                  <a:lnTo>
                    <a:pt x="402" y="516"/>
                  </a:lnTo>
                  <a:lnTo>
                    <a:pt x="399" y="516"/>
                  </a:lnTo>
                  <a:lnTo>
                    <a:pt x="396" y="517"/>
                  </a:lnTo>
                  <a:lnTo>
                    <a:pt x="393" y="517"/>
                  </a:lnTo>
                  <a:lnTo>
                    <a:pt x="389" y="517"/>
                  </a:lnTo>
                  <a:lnTo>
                    <a:pt x="385" y="517"/>
                  </a:lnTo>
                  <a:lnTo>
                    <a:pt x="375" y="517"/>
                  </a:lnTo>
                  <a:lnTo>
                    <a:pt x="370" y="517"/>
                  </a:lnTo>
                  <a:lnTo>
                    <a:pt x="360" y="518"/>
                  </a:lnTo>
                  <a:lnTo>
                    <a:pt x="350" y="518"/>
                  </a:lnTo>
                  <a:lnTo>
                    <a:pt x="338" y="518"/>
                  </a:lnTo>
                  <a:lnTo>
                    <a:pt x="328" y="519"/>
                  </a:lnTo>
                  <a:lnTo>
                    <a:pt x="324" y="519"/>
                  </a:lnTo>
                  <a:lnTo>
                    <a:pt x="316" y="518"/>
                  </a:lnTo>
                  <a:lnTo>
                    <a:pt x="311" y="518"/>
                  </a:lnTo>
                  <a:lnTo>
                    <a:pt x="307" y="517"/>
                  </a:lnTo>
                  <a:lnTo>
                    <a:pt x="305" y="516"/>
                  </a:lnTo>
                  <a:lnTo>
                    <a:pt x="300" y="514"/>
                  </a:lnTo>
                  <a:lnTo>
                    <a:pt x="297" y="512"/>
                  </a:lnTo>
                  <a:lnTo>
                    <a:pt x="293" y="511"/>
                  </a:lnTo>
                  <a:lnTo>
                    <a:pt x="287" y="510"/>
                  </a:lnTo>
                  <a:lnTo>
                    <a:pt x="285" y="510"/>
                  </a:lnTo>
                  <a:lnTo>
                    <a:pt x="283" y="509"/>
                  </a:lnTo>
                  <a:lnTo>
                    <a:pt x="282" y="508"/>
                  </a:lnTo>
                  <a:lnTo>
                    <a:pt x="280" y="507"/>
                  </a:lnTo>
                  <a:lnTo>
                    <a:pt x="279" y="507"/>
                  </a:lnTo>
                  <a:lnTo>
                    <a:pt x="278" y="506"/>
                  </a:lnTo>
                  <a:lnTo>
                    <a:pt x="277" y="505"/>
                  </a:lnTo>
                  <a:lnTo>
                    <a:pt x="275" y="502"/>
                  </a:lnTo>
                  <a:lnTo>
                    <a:pt x="271" y="496"/>
                  </a:lnTo>
                  <a:lnTo>
                    <a:pt x="271" y="495"/>
                  </a:lnTo>
                  <a:lnTo>
                    <a:pt x="270" y="493"/>
                  </a:lnTo>
                  <a:lnTo>
                    <a:pt x="267" y="491"/>
                  </a:lnTo>
                  <a:lnTo>
                    <a:pt x="261" y="486"/>
                  </a:lnTo>
                  <a:lnTo>
                    <a:pt x="260" y="484"/>
                  </a:lnTo>
                  <a:lnTo>
                    <a:pt x="259" y="483"/>
                  </a:lnTo>
                  <a:lnTo>
                    <a:pt x="258" y="482"/>
                  </a:lnTo>
                  <a:lnTo>
                    <a:pt x="258" y="481"/>
                  </a:lnTo>
                  <a:lnTo>
                    <a:pt x="256" y="477"/>
                  </a:lnTo>
                  <a:lnTo>
                    <a:pt x="255" y="475"/>
                  </a:lnTo>
                  <a:lnTo>
                    <a:pt x="254" y="474"/>
                  </a:lnTo>
                  <a:lnTo>
                    <a:pt x="253" y="473"/>
                  </a:lnTo>
                  <a:lnTo>
                    <a:pt x="252" y="472"/>
                  </a:lnTo>
                  <a:lnTo>
                    <a:pt x="251" y="472"/>
                  </a:lnTo>
                  <a:lnTo>
                    <a:pt x="250" y="471"/>
                  </a:lnTo>
                  <a:lnTo>
                    <a:pt x="249" y="471"/>
                  </a:lnTo>
                  <a:lnTo>
                    <a:pt x="247" y="471"/>
                  </a:lnTo>
                  <a:lnTo>
                    <a:pt x="241" y="472"/>
                  </a:lnTo>
                  <a:lnTo>
                    <a:pt x="238" y="472"/>
                  </a:lnTo>
                  <a:lnTo>
                    <a:pt x="236" y="472"/>
                  </a:lnTo>
                  <a:lnTo>
                    <a:pt x="235" y="471"/>
                  </a:lnTo>
                  <a:lnTo>
                    <a:pt x="234" y="471"/>
                  </a:lnTo>
                  <a:lnTo>
                    <a:pt x="232" y="470"/>
                  </a:lnTo>
                  <a:lnTo>
                    <a:pt x="230" y="468"/>
                  </a:lnTo>
                  <a:lnTo>
                    <a:pt x="229" y="466"/>
                  </a:lnTo>
                  <a:lnTo>
                    <a:pt x="226" y="463"/>
                  </a:lnTo>
                  <a:lnTo>
                    <a:pt x="226" y="462"/>
                  </a:lnTo>
                  <a:lnTo>
                    <a:pt x="224" y="461"/>
                  </a:lnTo>
                  <a:lnTo>
                    <a:pt x="223" y="461"/>
                  </a:lnTo>
                  <a:lnTo>
                    <a:pt x="221" y="460"/>
                  </a:lnTo>
                  <a:lnTo>
                    <a:pt x="220" y="461"/>
                  </a:lnTo>
                  <a:lnTo>
                    <a:pt x="218" y="461"/>
                  </a:lnTo>
                  <a:lnTo>
                    <a:pt x="217" y="462"/>
                  </a:lnTo>
                  <a:lnTo>
                    <a:pt x="216" y="463"/>
                  </a:lnTo>
                  <a:lnTo>
                    <a:pt x="215" y="465"/>
                  </a:lnTo>
                  <a:lnTo>
                    <a:pt x="211" y="473"/>
                  </a:lnTo>
                  <a:lnTo>
                    <a:pt x="208" y="478"/>
                  </a:lnTo>
                  <a:lnTo>
                    <a:pt x="207" y="479"/>
                  </a:lnTo>
                  <a:lnTo>
                    <a:pt x="206" y="480"/>
                  </a:lnTo>
                  <a:lnTo>
                    <a:pt x="205" y="481"/>
                  </a:lnTo>
                  <a:lnTo>
                    <a:pt x="204" y="481"/>
                  </a:lnTo>
                  <a:lnTo>
                    <a:pt x="203" y="482"/>
                  </a:lnTo>
                  <a:lnTo>
                    <a:pt x="191" y="483"/>
                  </a:lnTo>
                  <a:lnTo>
                    <a:pt x="187" y="484"/>
                  </a:lnTo>
                  <a:lnTo>
                    <a:pt x="185" y="484"/>
                  </a:lnTo>
                  <a:lnTo>
                    <a:pt x="181" y="486"/>
                  </a:lnTo>
                  <a:lnTo>
                    <a:pt x="174" y="490"/>
                  </a:lnTo>
                  <a:lnTo>
                    <a:pt x="172" y="490"/>
                  </a:lnTo>
                  <a:lnTo>
                    <a:pt x="171" y="491"/>
                  </a:lnTo>
                  <a:lnTo>
                    <a:pt x="169" y="491"/>
                  </a:lnTo>
                  <a:lnTo>
                    <a:pt x="168" y="491"/>
                  </a:lnTo>
                  <a:lnTo>
                    <a:pt x="164" y="491"/>
                  </a:lnTo>
                  <a:lnTo>
                    <a:pt x="157" y="490"/>
                  </a:lnTo>
                  <a:lnTo>
                    <a:pt x="152" y="491"/>
                  </a:lnTo>
                  <a:lnTo>
                    <a:pt x="148" y="491"/>
                  </a:lnTo>
                  <a:lnTo>
                    <a:pt x="142" y="492"/>
                  </a:lnTo>
                  <a:lnTo>
                    <a:pt x="140" y="493"/>
                  </a:lnTo>
                  <a:lnTo>
                    <a:pt x="139" y="492"/>
                  </a:lnTo>
                  <a:lnTo>
                    <a:pt x="138" y="491"/>
                  </a:lnTo>
                  <a:lnTo>
                    <a:pt x="137" y="490"/>
                  </a:lnTo>
                  <a:lnTo>
                    <a:pt x="136" y="488"/>
                  </a:lnTo>
                  <a:lnTo>
                    <a:pt x="133" y="480"/>
                  </a:lnTo>
                  <a:lnTo>
                    <a:pt x="131" y="476"/>
                  </a:lnTo>
                  <a:lnTo>
                    <a:pt x="130" y="473"/>
                  </a:lnTo>
                  <a:lnTo>
                    <a:pt x="128" y="471"/>
                  </a:lnTo>
                  <a:lnTo>
                    <a:pt x="126" y="468"/>
                  </a:lnTo>
                  <a:lnTo>
                    <a:pt x="125" y="467"/>
                  </a:lnTo>
                  <a:lnTo>
                    <a:pt x="124" y="466"/>
                  </a:lnTo>
                  <a:lnTo>
                    <a:pt x="122" y="465"/>
                  </a:lnTo>
                  <a:lnTo>
                    <a:pt x="120" y="465"/>
                  </a:lnTo>
                  <a:lnTo>
                    <a:pt x="100" y="464"/>
                  </a:lnTo>
                  <a:lnTo>
                    <a:pt x="89" y="464"/>
                  </a:lnTo>
                  <a:lnTo>
                    <a:pt x="78" y="464"/>
                  </a:lnTo>
                  <a:lnTo>
                    <a:pt x="73" y="464"/>
                  </a:lnTo>
                  <a:lnTo>
                    <a:pt x="65" y="464"/>
                  </a:lnTo>
                  <a:lnTo>
                    <a:pt x="62" y="464"/>
                  </a:lnTo>
                  <a:lnTo>
                    <a:pt x="58" y="464"/>
                  </a:lnTo>
                  <a:lnTo>
                    <a:pt x="56" y="464"/>
                  </a:lnTo>
                  <a:lnTo>
                    <a:pt x="55" y="463"/>
                  </a:lnTo>
                  <a:lnTo>
                    <a:pt x="53" y="463"/>
                  </a:lnTo>
                  <a:lnTo>
                    <a:pt x="51" y="462"/>
                  </a:lnTo>
                  <a:lnTo>
                    <a:pt x="49" y="462"/>
                  </a:lnTo>
                  <a:lnTo>
                    <a:pt x="47" y="460"/>
                  </a:lnTo>
                  <a:lnTo>
                    <a:pt x="46" y="459"/>
                  </a:lnTo>
                  <a:lnTo>
                    <a:pt x="45" y="457"/>
                  </a:lnTo>
                  <a:lnTo>
                    <a:pt x="43" y="451"/>
                  </a:lnTo>
                  <a:lnTo>
                    <a:pt x="42" y="450"/>
                  </a:lnTo>
                  <a:lnTo>
                    <a:pt x="41" y="449"/>
                  </a:lnTo>
                  <a:lnTo>
                    <a:pt x="39" y="448"/>
                  </a:lnTo>
                  <a:lnTo>
                    <a:pt x="38" y="446"/>
                  </a:lnTo>
                  <a:lnTo>
                    <a:pt x="36" y="445"/>
                  </a:lnTo>
                  <a:lnTo>
                    <a:pt x="34" y="444"/>
                  </a:lnTo>
                  <a:lnTo>
                    <a:pt x="32" y="442"/>
                  </a:lnTo>
                  <a:lnTo>
                    <a:pt x="30" y="441"/>
                  </a:lnTo>
                  <a:lnTo>
                    <a:pt x="27" y="440"/>
                  </a:lnTo>
                  <a:lnTo>
                    <a:pt x="23" y="439"/>
                  </a:lnTo>
                  <a:lnTo>
                    <a:pt x="18" y="439"/>
                  </a:lnTo>
                  <a:lnTo>
                    <a:pt x="9" y="437"/>
                  </a:lnTo>
                  <a:lnTo>
                    <a:pt x="7" y="436"/>
                  </a:lnTo>
                  <a:lnTo>
                    <a:pt x="5" y="436"/>
                  </a:lnTo>
                  <a:lnTo>
                    <a:pt x="3" y="435"/>
                  </a:lnTo>
                  <a:lnTo>
                    <a:pt x="1" y="434"/>
                  </a:lnTo>
                  <a:lnTo>
                    <a:pt x="0" y="433"/>
                  </a:lnTo>
                  <a:lnTo>
                    <a:pt x="0" y="432"/>
                  </a:lnTo>
                  <a:lnTo>
                    <a:pt x="0" y="431"/>
                  </a:lnTo>
                  <a:lnTo>
                    <a:pt x="0" y="428"/>
                  </a:lnTo>
                  <a:lnTo>
                    <a:pt x="0" y="425"/>
                  </a:lnTo>
                  <a:lnTo>
                    <a:pt x="3" y="413"/>
                  </a:lnTo>
                  <a:lnTo>
                    <a:pt x="4" y="409"/>
                  </a:lnTo>
                  <a:lnTo>
                    <a:pt x="6" y="406"/>
                  </a:lnTo>
                  <a:lnTo>
                    <a:pt x="6" y="405"/>
                  </a:lnTo>
                  <a:lnTo>
                    <a:pt x="7" y="403"/>
                  </a:lnTo>
                  <a:lnTo>
                    <a:pt x="8" y="401"/>
                  </a:lnTo>
                  <a:lnTo>
                    <a:pt x="9" y="400"/>
                  </a:lnTo>
                  <a:lnTo>
                    <a:pt x="11" y="397"/>
                  </a:lnTo>
                  <a:lnTo>
                    <a:pt x="16" y="394"/>
                  </a:lnTo>
                  <a:lnTo>
                    <a:pt x="17" y="392"/>
                  </a:lnTo>
                  <a:lnTo>
                    <a:pt x="18" y="390"/>
                  </a:lnTo>
                  <a:lnTo>
                    <a:pt x="18" y="389"/>
                  </a:lnTo>
                  <a:lnTo>
                    <a:pt x="19" y="388"/>
                  </a:lnTo>
                  <a:lnTo>
                    <a:pt x="19" y="386"/>
                  </a:lnTo>
                  <a:lnTo>
                    <a:pt x="19" y="384"/>
                  </a:lnTo>
                  <a:lnTo>
                    <a:pt x="18" y="382"/>
                  </a:lnTo>
                  <a:lnTo>
                    <a:pt x="18" y="379"/>
                  </a:lnTo>
                  <a:lnTo>
                    <a:pt x="17" y="377"/>
                  </a:lnTo>
                  <a:lnTo>
                    <a:pt x="16" y="375"/>
                  </a:lnTo>
                  <a:lnTo>
                    <a:pt x="15" y="373"/>
                  </a:lnTo>
                  <a:lnTo>
                    <a:pt x="11" y="369"/>
                  </a:lnTo>
                  <a:lnTo>
                    <a:pt x="10" y="366"/>
                  </a:lnTo>
                  <a:lnTo>
                    <a:pt x="8" y="362"/>
                  </a:lnTo>
                  <a:lnTo>
                    <a:pt x="6" y="360"/>
                  </a:lnTo>
                  <a:lnTo>
                    <a:pt x="5" y="358"/>
                  </a:lnTo>
                  <a:lnTo>
                    <a:pt x="5" y="355"/>
                  </a:lnTo>
                  <a:lnTo>
                    <a:pt x="5" y="353"/>
                  </a:lnTo>
                  <a:lnTo>
                    <a:pt x="5" y="351"/>
                  </a:lnTo>
                  <a:lnTo>
                    <a:pt x="6" y="349"/>
                  </a:lnTo>
                  <a:lnTo>
                    <a:pt x="6" y="348"/>
                  </a:lnTo>
                  <a:lnTo>
                    <a:pt x="7" y="346"/>
                  </a:lnTo>
                  <a:lnTo>
                    <a:pt x="8" y="345"/>
                  </a:lnTo>
                  <a:lnTo>
                    <a:pt x="10" y="343"/>
                  </a:lnTo>
                  <a:lnTo>
                    <a:pt x="13" y="339"/>
                  </a:lnTo>
                  <a:lnTo>
                    <a:pt x="16" y="336"/>
                  </a:lnTo>
                  <a:lnTo>
                    <a:pt x="18" y="335"/>
                  </a:lnTo>
                  <a:lnTo>
                    <a:pt x="19" y="334"/>
                  </a:lnTo>
                  <a:lnTo>
                    <a:pt x="22" y="332"/>
                  </a:lnTo>
                  <a:lnTo>
                    <a:pt x="24" y="331"/>
                  </a:lnTo>
                  <a:lnTo>
                    <a:pt x="25" y="331"/>
                  </a:lnTo>
                  <a:lnTo>
                    <a:pt x="25" y="330"/>
                  </a:lnTo>
                  <a:lnTo>
                    <a:pt x="26" y="329"/>
                  </a:lnTo>
                  <a:lnTo>
                    <a:pt x="27" y="327"/>
                  </a:lnTo>
                  <a:lnTo>
                    <a:pt x="28" y="325"/>
                  </a:lnTo>
                  <a:lnTo>
                    <a:pt x="28" y="323"/>
                  </a:lnTo>
                  <a:lnTo>
                    <a:pt x="28" y="321"/>
                  </a:lnTo>
                  <a:lnTo>
                    <a:pt x="28" y="320"/>
                  </a:lnTo>
                  <a:lnTo>
                    <a:pt x="28" y="319"/>
                  </a:lnTo>
                  <a:lnTo>
                    <a:pt x="26" y="318"/>
                  </a:lnTo>
                  <a:lnTo>
                    <a:pt x="22" y="315"/>
                  </a:lnTo>
                  <a:lnTo>
                    <a:pt x="21" y="314"/>
                  </a:lnTo>
                  <a:lnTo>
                    <a:pt x="19" y="312"/>
                  </a:lnTo>
                  <a:lnTo>
                    <a:pt x="19" y="311"/>
                  </a:lnTo>
                  <a:lnTo>
                    <a:pt x="18" y="309"/>
                  </a:lnTo>
                  <a:lnTo>
                    <a:pt x="17" y="308"/>
                  </a:lnTo>
                  <a:lnTo>
                    <a:pt x="16" y="306"/>
                  </a:lnTo>
                  <a:lnTo>
                    <a:pt x="16" y="304"/>
                  </a:lnTo>
                  <a:lnTo>
                    <a:pt x="16" y="303"/>
                  </a:lnTo>
                  <a:lnTo>
                    <a:pt x="16" y="303"/>
                  </a:lnTo>
                  <a:lnTo>
                    <a:pt x="16" y="301"/>
                  </a:lnTo>
                  <a:lnTo>
                    <a:pt x="16" y="299"/>
                  </a:lnTo>
                  <a:lnTo>
                    <a:pt x="16" y="298"/>
                  </a:lnTo>
                  <a:lnTo>
                    <a:pt x="16" y="297"/>
                  </a:lnTo>
                  <a:lnTo>
                    <a:pt x="17" y="296"/>
                  </a:lnTo>
                  <a:lnTo>
                    <a:pt x="18" y="295"/>
                  </a:lnTo>
                  <a:lnTo>
                    <a:pt x="20" y="294"/>
                  </a:lnTo>
                  <a:lnTo>
                    <a:pt x="25" y="292"/>
                  </a:lnTo>
                  <a:lnTo>
                    <a:pt x="26" y="291"/>
                  </a:lnTo>
                  <a:lnTo>
                    <a:pt x="27" y="290"/>
                  </a:lnTo>
                  <a:lnTo>
                    <a:pt x="29" y="288"/>
                  </a:lnTo>
                  <a:lnTo>
                    <a:pt x="30" y="287"/>
                  </a:lnTo>
                  <a:lnTo>
                    <a:pt x="30" y="286"/>
                  </a:lnTo>
                  <a:lnTo>
                    <a:pt x="31" y="284"/>
                  </a:lnTo>
                  <a:lnTo>
                    <a:pt x="32" y="283"/>
                  </a:lnTo>
                  <a:lnTo>
                    <a:pt x="32" y="281"/>
                  </a:lnTo>
                  <a:lnTo>
                    <a:pt x="33" y="280"/>
                  </a:lnTo>
                  <a:lnTo>
                    <a:pt x="33" y="280"/>
                  </a:lnTo>
                  <a:lnTo>
                    <a:pt x="33" y="278"/>
                  </a:lnTo>
                  <a:lnTo>
                    <a:pt x="32" y="273"/>
                  </a:lnTo>
                  <a:lnTo>
                    <a:pt x="32" y="270"/>
                  </a:lnTo>
                  <a:lnTo>
                    <a:pt x="32" y="269"/>
                  </a:lnTo>
                  <a:lnTo>
                    <a:pt x="32" y="267"/>
                  </a:lnTo>
                  <a:lnTo>
                    <a:pt x="32" y="264"/>
                  </a:lnTo>
                  <a:lnTo>
                    <a:pt x="33" y="261"/>
                  </a:lnTo>
                  <a:lnTo>
                    <a:pt x="33" y="259"/>
                  </a:lnTo>
                  <a:lnTo>
                    <a:pt x="34" y="258"/>
                  </a:lnTo>
                  <a:lnTo>
                    <a:pt x="35" y="257"/>
                  </a:lnTo>
                  <a:lnTo>
                    <a:pt x="40" y="251"/>
                  </a:lnTo>
                  <a:lnTo>
                    <a:pt x="43" y="249"/>
                  </a:lnTo>
                  <a:lnTo>
                    <a:pt x="44" y="247"/>
                  </a:lnTo>
                  <a:lnTo>
                    <a:pt x="51" y="243"/>
                  </a:lnTo>
                  <a:lnTo>
                    <a:pt x="57" y="238"/>
                  </a:lnTo>
                  <a:lnTo>
                    <a:pt x="59" y="236"/>
                  </a:lnTo>
                  <a:lnTo>
                    <a:pt x="61" y="235"/>
                  </a:lnTo>
                  <a:lnTo>
                    <a:pt x="62" y="233"/>
                  </a:lnTo>
                  <a:lnTo>
                    <a:pt x="64" y="231"/>
                  </a:lnTo>
                  <a:lnTo>
                    <a:pt x="66" y="226"/>
                  </a:lnTo>
                  <a:lnTo>
                    <a:pt x="67" y="220"/>
                  </a:lnTo>
                  <a:lnTo>
                    <a:pt x="69" y="217"/>
                  </a:lnTo>
                  <a:lnTo>
                    <a:pt x="71" y="212"/>
                  </a:lnTo>
                  <a:lnTo>
                    <a:pt x="74" y="208"/>
                  </a:lnTo>
                  <a:lnTo>
                    <a:pt x="76" y="205"/>
                  </a:lnTo>
                  <a:lnTo>
                    <a:pt x="76" y="203"/>
                  </a:lnTo>
                  <a:lnTo>
                    <a:pt x="77" y="199"/>
                  </a:lnTo>
                  <a:lnTo>
                    <a:pt x="78" y="194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9" y="189"/>
                  </a:lnTo>
                  <a:lnTo>
                    <a:pt x="79" y="187"/>
                  </a:lnTo>
                  <a:lnTo>
                    <a:pt x="78" y="185"/>
                  </a:lnTo>
                  <a:lnTo>
                    <a:pt x="78" y="184"/>
                  </a:lnTo>
                  <a:lnTo>
                    <a:pt x="77" y="182"/>
                  </a:lnTo>
                  <a:lnTo>
                    <a:pt x="75" y="180"/>
                  </a:lnTo>
                  <a:lnTo>
                    <a:pt x="72" y="177"/>
                  </a:lnTo>
                  <a:lnTo>
                    <a:pt x="71" y="175"/>
                  </a:lnTo>
                  <a:lnTo>
                    <a:pt x="69" y="172"/>
                  </a:lnTo>
                  <a:lnTo>
                    <a:pt x="66" y="165"/>
                  </a:lnTo>
                  <a:lnTo>
                    <a:pt x="64" y="160"/>
                  </a:lnTo>
                  <a:lnTo>
                    <a:pt x="62" y="156"/>
                  </a:lnTo>
                  <a:lnTo>
                    <a:pt x="59" y="148"/>
                  </a:lnTo>
                  <a:lnTo>
                    <a:pt x="59" y="145"/>
                  </a:lnTo>
                  <a:lnTo>
                    <a:pt x="59" y="144"/>
                  </a:lnTo>
                  <a:lnTo>
                    <a:pt x="60" y="143"/>
                  </a:lnTo>
                  <a:lnTo>
                    <a:pt x="63" y="133"/>
                  </a:lnTo>
                  <a:lnTo>
                    <a:pt x="65" y="129"/>
                  </a:lnTo>
                  <a:lnTo>
                    <a:pt x="66" y="125"/>
                  </a:lnTo>
                  <a:lnTo>
                    <a:pt x="67" y="122"/>
                  </a:lnTo>
                  <a:lnTo>
                    <a:pt x="69" y="120"/>
                  </a:lnTo>
                  <a:lnTo>
                    <a:pt x="75" y="111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6" y="107"/>
                  </a:lnTo>
                  <a:lnTo>
                    <a:pt x="75" y="106"/>
                  </a:lnTo>
                  <a:lnTo>
                    <a:pt x="73" y="100"/>
                  </a:lnTo>
                  <a:lnTo>
                    <a:pt x="70" y="96"/>
                  </a:lnTo>
                  <a:lnTo>
                    <a:pt x="68" y="90"/>
                  </a:lnTo>
                  <a:lnTo>
                    <a:pt x="67" y="88"/>
                  </a:lnTo>
                  <a:lnTo>
                    <a:pt x="67" y="85"/>
                  </a:lnTo>
                  <a:lnTo>
                    <a:pt x="66" y="79"/>
                  </a:lnTo>
                  <a:lnTo>
                    <a:pt x="65" y="76"/>
                  </a:lnTo>
                  <a:lnTo>
                    <a:pt x="65" y="74"/>
                  </a:lnTo>
                  <a:lnTo>
                    <a:pt x="65" y="65"/>
                  </a:lnTo>
                  <a:lnTo>
                    <a:pt x="64" y="63"/>
                  </a:lnTo>
                  <a:lnTo>
                    <a:pt x="64" y="59"/>
                  </a:lnTo>
                  <a:lnTo>
                    <a:pt x="63" y="55"/>
                  </a:lnTo>
                  <a:lnTo>
                    <a:pt x="62" y="53"/>
                  </a:lnTo>
                  <a:lnTo>
                    <a:pt x="62" y="52"/>
                  </a:lnTo>
                  <a:lnTo>
                    <a:pt x="61" y="51"/>
                  </a:lnTo>
                  <a:lnTo>
                    <a:pt x="58" y="48"/>
                  </a:lnTo>
                  <a:lnTo>
                    <a:pt x="57" y="46"/>
                  </a:lnTo>
                  <a:lnTo>
                    <a:pt x="56" y="44"/>
                  </a:lnTo>
                  <a:lnTo>
                    <a:pt x="56" y="43"/>
                  </a:lnTo>
                  <a:lnTo>
                    <a:pt x="55" y="42"/>
                  </a:lnTo>
                  <a:lnTo>
                    <a:pt x="55" y="41"/>
                  </a:lnTo>
                  <a:lnTo>
                    <a:pt x="55" y="40"/>
                  </a:lnTo>
                  <a:lnTo>
                    <a:pt x="55" y="38"/>
                  </a:lnTo>
                  <a:lnTo>
                    <a:pt x="56" y="35"/>
                  </a:lnTo>
                  <a:lnTo>
                    <a:pt x="59" y="25"/>
                  </a:lnTo>
                  <a:lnTo>
                    <a:pt x="60" y="22"/>
                  </a:lnTo>
                  <a:lnTo>
                    <a:pt x="61" y="20"/>
                  </a:lnTo>
                  <a:lnTo>
                    <a:pt x="62" y="20"/>
                  </a:lnTo>
                  <a:lnTo>
                    <a:pt x="63" y="17"/>
                  </a:lnTo>
                  <a:lnTo>
                    <a:pt x="64" y="16"/>
                  </a:lnTo>
                  <a:lnTo>
                    <a:pt x="65" y="15"/>
                  </a:lnTo>
                  <a:lnTo>
                    <a:pt x="66" y="15"/>
                  </a:lnTo>
                  <a:lnTo>
                    <a:pt x="67" y="16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71" y="18"/>
                  </a:lnTo>
                  <a:lnTo>
                    <a:pt x="74" y="19"/>
                  </a:lnTo>
                  <a:lnTo>
                    <a:pt x="77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80" y="19"/>
                  </a:lnTo>
                  <a:lnTo>
                    <a:pt x="81" y="18"/>
                  </a:lnTo>
                  <a:lnTo>
                    <a:pt x="84" y="15"/>
                  </a:lnTo>
                  <a:lnTo>
                    <a:pt x="86" y="12"/>
                  </a:lnTo>
                  <a:lnTo>
                    <a:pt x="87" y="11"/>
                  </a:lnTo>
                  <a:lnTo>
                    <a:pt x="88" y="11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3" y="11"/>
                  </a:lnTo>
                  <a:lnTo>
                    <a:pt x="97" y="11"/>
                  </a:lnTo>
                  <a:lnTo>
                    <a:pt x="98" y="11"/>
                  </a:lnTo>
                  <a:lnTo>
                    <a:pt x="99" y="11"/>
                  </a:lnTo>
                  <a:lnTo>
                    <a:pt x="101" y="10"/>
                  </a:lnTo>
                  <a:lnTo>
                    <a:pt x="101" y="9"/>
                  </a:lnTo>
                  <a:lnTo>
                    <a:pt x="102" y="8"/>
                  </a:lnTo>
                  <a:lnTo>
                    <a:pt x="103" y="7"/>
                  </a:lnTo>
                  <a:lnTo>
                    <a:pt x="105" y="5"/>
                  </a:lnTo>
                  <a:lnTo>
                    <a:pt x="106" y="3"/>
                  </a:lnTo>
                  <a:lnTo>
                    <a:pt x="109" y="1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7" name="Freeform 24">
              <a:extLst>
                <a:ext uri="{FF2B5EF4-FFF2-40B4-BE49-F238E27FC236}">
                  <a16:creationId xmlns:a16="http://schemas.microsoft.com/office/drawing/2014/main" id="{4A45A324-F19F-471F-A61C-F5C04D3E31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4" y="2684"/>
              <a:ext cx="415" cy="589"/>
            </a:xfrm>
            <a:custGeom>
              <a:avLst/>
              <a:gdLst>
                <a:gd name="T0" fmla="*/ 312 w 415"/>
                <a:gd name="T1" fmla="*/ 13 h 589"/>
                <a:gd name="T2" fmla="*/ 345 w 415"/>
                <a:gd name="T3" fmla="*/ 37 h 589"/>
                <a:gd name="T4" fmla="*/ 363 w 415"/>
                <a:gd name="T5" fmla="*/ 31 h 589"/>
                <a:gd name="T6" fmla="*/ 378 w 415"/>
                <a:gd name="T7" fmla="*/ 57 h 589"/>
                <a:gd name="T8" fmla="*/ 400 w 415"/>
                <a:gd name="T9" fmla="*/ 79 h 589"/>
                <a:gd name="T10" fmla="*/ 415 w 415"/>
                <a:gd name="T11" fmla="*/ 88 h 589"/>
                <a:gd name="T12" fmla="*/ 408 w 415"/>
                <a:gd name="T13" fmla="*/ 106 h 589"/>
                <a:gd name="T14" fmla="*/ 397 w 415"/>
                <a:gd name="T15" fmla="*/ 117 h 589"/>
                <a:gd name="T16" fmla="*/ 409 w 415"/>
                <a:gd name="T17" fmla="*/ 151 h 589"/>
                <a:gd name="T18" fmla="*/ 403 w 415"/>
                <a:gd name="T19" fmla="*/ 194 h 589"/>
                <a:gd name="T20" fmla="*/ 394 w 415"/>
                <a:gd name="T21" fmla="*/ 230 h 589"/>
                <a:gd name="T22" fmla="*/ 385 w 415"/>
                <a:gd name="T23" fmla="*/ 277 h 589"/>
                <a:gd name="T24" fmla="*/ 405 w 415"/>
                <a:gd name="T25" fmla="*/ 298 h 589"/>
                <a:gd name="T26" fmla="*/ 398 w 415"/>
                <a:gd name="T27" fmla="*/ 325 h 589"/>
                <a:gd name="T28" fmla="*/ 407 w 415"/>
                <a:gd name="T29" fmla="*/ 354 h 589"/>
                <a:gd name="T30" fmla="*/ 393 w 415"/>
                <a:gd name="T31" fmla="*/ 361 h 589"/>
                <a:gd name="T32" fmla="*/ 365 w 415"/>
                <a:gd name="T33" fmla="*/ 375 h 589"/>
                <a:gd name="T34" fmla="*/ 378 w 415"/>
                <a:gd name="T35" fmla="*/ 397 h 589"/>
                <a:gd name="T36" fmla="*/ 365 w 415"/>
                <a:gd name="T37" fmla="*/ 439 h 589"/>
                <a:gd name="T38" fmla="*/ 331 w 415"/>
                <a:gd name="T39" fmla="*/ 460 h 589"/>
                <a:gd name="T40" fmla="*/ 286 w 415"/>
                <a:gd name="T41" fmla="*/ 458 h 589"/>
                <a:gd name="T42" fmla="*/ 275 w 415"/>
                <a:gd name="T43" fmla="*/ 466 h 589"/>
                <a:gd name="T44" fmla="*/ 289 w 415"/>
                <a:gd name="T45" fmla="*/ 499 h 589"/>
                <a:gd name="T46" fmla="*/ 310 w 415"/>
                <a:gd name="T47" fmla="*/ 517 h 589"/>
                <a:gd name="T48" fmla="*/ 295 w 415"/>
                <a:gd name="T49" fmla="*/ 545 h 589"/>
                <a:gd name="T50" fmla="*/ 313 w 415"/>
                <a:gd name="T51" fmla="*/ 575 h 589"/>
                <a:gd name="T52" fmla="*/ 318 w 415"/>
                <a:gd name="T53" fmla="*/ 589 h 589"/>
                <a:gd name="T54" fmla="*/ 294 w 415"/>
                <a:gd name="T55" fmla="*/ 577 h 589"/>
                <a:gd name="T56" fmla="*/ 267 w 415"/>
                <a:gd name="T57" fmla="*/ 579 h 589"/>
                <a:gd name="T58" fmla="*/ 244 w 415"/>
                <a:gd name="T59" fmla="*/ 557 h 589"/>
                <a:gd name="T60" fmla="*/ 222 w 415"/>
                <a:gd name="T61" fmla="*/ 552 h 589"/>
                <a:gd name="T62" fmla="*/ 184 w 415"/>
                <a:gd name="T63" fmla="*/ 529 h 589"/>
                <a:gd name="T64" fmla="*/ 164 w 415"/>
                <a:gd name="T65" fmla="*/ 503 h 589"/>
                <a:gd name="T66" fmla="*/ 140 w 415"/>
                <a:gd name="T67" fmla="*/ 466 h 589"/>
                <a:gd name="T68" fmla="*/ 92 w 415"/>
                <a:gd name="T69" fmla="*/ 448 h 589"/>
                <a:gd name="T70" fmla="*/ 66 w 415"/>
                <a:gd name="T71" fmla="*/ 426 h 589"/>
                <a:gd name="T72" fmla="*/ 49 w 415"/>
                <a:gd name="T73" fmla="*/ 399 h 589"/>
                <a:gd name="T74" fmla="*/ 21 w 415"/>
                <a:gd name="T75" fmla="*/ 405 h 589"/>
                <a:gd name="T76" fmla="*/ 8 w 415"/>
                <a:gd name="T77" fmla="*/ 374 h 589"/>
                <a:gd name="T78" fmla="*/ 4 w 415"/>
                <a:gd name="T79" fmla="*/ 336 h 589"/>
                <a:gd name="T80" fmla="*/ 24 w 415"/>
                <a:gd name="T81" fmla="*/ 303 h 589"/>
                <a:gd name="T82" fmla="*/ 43 w 415"/>
                <a:gd name="T83" fmla="*/ 287 h 589"/>
                <a:gd name="T84" fmla="*/ 35 w 415"/>
                <a:gd name="T85" fmla="*/ 242 h 589"/>
                <a:gd name="T86" fmla="*/ 50 w 415"/>
                <a:gd name="T87" fmla="*/ 225 h 589"/>
                <a:gd name="T88" fmla="*/ 54 w 415"/>
                <a:gd name="T89" fmla="*/ 184 h 589"/>
                <a:gd name="T90" fmla="*/ 47 w 415"/>
                <a:gd name="T91" fmla="*/ 158 h 589"/>
                <a:gd name="T92" fmla="*/ 43 w 415"/>
                <a:gd name="T93" fmla="*/ 126 h 589"/>
                <a:gd name="T94" fmla="*/ 56 w 415"/>
                <a:gd name="T95" fmla="*/ 97 h 589"/>
                <a:gd name="T96" fmla="*/ 68 w 415"/>
                <a:gd name="T97" fmla="*/ 81 h 589"/>
                <a:gd name="T98" fmla="*/ 100 w 415"/>
                <a:gd name="T99" fmla="*/ 92 h 589"/>
                <a:gd name="T100" fmla="*/ 132 w 415"/>
                <a:gd name="T101" fmla="*/ 92 h 589"/>
                <a:gd name="T102" fmla="*/ 146 w 415"/>
                <a:gd name="T103" fmla="*/ 94 h 589"/>
                <a:gd name="T104" fmla="*/ 151 w 415"/>
                <a:gd name="T105" fmla="*/ 109 h 589"/>
                <a:gd name="T106" fmla="*/ 189 w 415"/>
                <a:gd name="T107" fmla="*/ 122 h 589"/>
                <a:gd name="T108" fmla="*/ 207 w 415"/>
                <a:gd name="T109" fmla="*/ 105 h 589"/>
                <a:gd name="T110" fmla="*/ 252 w 415"/>
                <a:gd name="T111" fmla="*/ 80 h 589"/>
                <a:gd name="T112" fmla="*/ 255 w 415"/>
                <a:gd name="T113" fmla="*/ 53 h 589"/>
                <a:gd name="T114" fmla="*/ 258 w 415"/>
                <a:gd name="T115" fmla="*/ 25 h 589"/>
                <a:gd name="T116" fmla="*/ 277 w 415"/>
                <a:gd name="T117" fmla="*/ 5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5" h="589">
                  <a:moveTo>
                    <a:pt x="289" y="0"/>
                  </a:moveTo>
                  <a:lnTo>
                    <a:pt x="289" y="0"/>
                  </a:lnTo>
                  <a:lnTo>
                    <a:pt x="290" y="1"/>
                  </a:lnTo>
                  <a:lnTo>
                    <a:pt x="291" y="1"/>
                  </a:lnTo>
                  <a:lnTo>
                    <a:pt x="292" y="1"/>
                  </a:lnTo>
                  <a:lnTo>
                    <a:pt x="292" y="2"/>
                  </a:lnTo>
                  <a:lnTo>
                    <a:pt x="292" y="3"/>
                  </a:lnTo>
                  <a:lnTo>
                    <a:pt x="293" y="3"/>
                  </a:lnTo>
                  <a:lnTo>
                    <a:pt x="295" y="5"/>
                  </a:lnTo>
                  <a:lnTo>
                    <a:pt x="299" y="7"/>
                  </a:lnTo>
                  <a:lnTo>
                    <a:pt x="312" y="13"/>
                  </a:lnTo>
                  <a:lnTo>
                    <a:pt x="315" y="14"/>
                  </a:lnTo>
                  <a:lnTo>
                    <a:pt x="318" y="17"/>
                  </a:lnTo>
                  <a:lnTo>
                    <a:pt x="322" y="19"/>
                  </a:lnTo>
                  <a:lnTo>
                    <a:pt x="324" y="22"/>
                  </a:lnTo>
                  <a:lnTo>
                    <a:pt x="327" y="24"/>
                  </a:lnTo>
                  <a:lnTo>
                    <a:pt x="333" y="29"/>
                  </a:lnTo>
                  <a:lnTo>
                    <a:pt x="336" y="32"/>
                  </a:lnTo>
                  <a:lnTo>
                    <a:pt x="338" y="34"/>
                  </a:lnTo>
                  <a:lnTo>
                    <a:pt x="340" y="35"/>
                  </a:lnTo>
                  <a:lnTo>
                    <a:pt x="343" y="36"/>
                  </a:lnTo>
                  <a:lnTo>
                    <a:pt x="345" y="37"/>
                  </a:lnTo>
                  <a:lnTo>
                    <a:pt x="346" y="37"/>
                  </a:lnTo>
                  <a:lnTo>
                    <a:pt x="347" y="38"/>
                  </a:lnTo>
                  <a:lnTo>
                    <a:pt x="348" y="38"/>
                  </a:lnTo>
                  <a:lnTo>
                    <a:pt x="349" y="37"/>
                  </a:lnTo>
                  <a:lnTo>
                    <a:pt x="351" y="37"/>
                  </a:lnTo>
                  <a:lnTo>
                    <a:pt x="354" y="35"/>
                  </a:lnTo>
                  <a:lnTo>
                    <a:pt x="357" y="33"/>
                  </a:lnTo>
                  <a:lnTo>
                    <a:pt x="358" y="32"/>
                  </a:lnTo>
                  <a:lnTo>
                    <a:pt x="361" y="31"/>
                  </a:lnTo>
                  <a:lnTo>
                    <a:pt x="362" y="31"/>
                  </a:lnTo>
                  <a:lnTo>
                    <a:pt x="363" y="31"/>
                  </a:lnTo>
                  <a:lnTo>
                    <a:pt x="364" y="31"/>
                  </a:lnTo>
                  <a:lnTo>
                    <a:pt x="366" y="32"/>
                  </a:lnTo>
                  <a:lnTo>
                    <a:pt x="366" y="33"/>
                  </a:lnTo>
                  <a:lnTo>
                    <a:pt x="367" y="33"/>
                  </a:lnTo>
                  <a:lnTo>
                    <a:pt x="368" y="34"/>
                  </a:lnTo>
                  <a:lnTo>
                    <a:pt x="368" y="35"/>
                  </a:lnTo>
                  <a:lnTo>
                    <a:pt x="368" y="37"/>
                  </a:lnTo>
                  <a:lnTo>
                    <a:pt x="370" y="42"/>
                  </a:lnTo>
                  <a:lnTo>
                    <a:pt x="372" y="45"/>
                  </a:lnTo>
                  <a:lnTo>
                    <a:pt x="375" y="49"/>
                  </a:lnTo>
                  <a:lnTo>
                    <a:pt x="378" y="57"/>
                  </a:lnTo>
                  <a:lnTo>
                    <a:pt x="381" y="63"/>
                  </a:lnTo>
                  <a:lnTo>
                    <a:pt x="385" y="69"/>
                  </a:lnTo>
                  <a:lnTo>
                    <a:pt x="386" y="71"/>
                  </a:lnTo>
                  <a:lnTo>
                    <a:pt x="388" y="73"/>
                  </a:lnTo>
                  <a:lnTo>
                    <a:pt x="389" y="74"/>
                  </a:lnTo>
                  <a:lnTo>
                    <a:pt x="391" y="75"/>
                  </a:lnTo>
                  <a:lnTo>
                    <a:pt x="393" y="77"/>
                  </a:lnTo>
                  <a:lnTo>
                    <a:pt x="395" y="77"/>
                  </a:lnTo>
                  <a:lnTo>
                    <a:pt x="396" y="78"/>
                  </a:lnTo>
                  <a:lnTo>
                    <a:pt x="399" y="79"/>
                  </a:lnTo>
                  <a:lnTo>
                    <a:pt x="400" y="79"/>
                  </a:lnTo>
                  <a:lnTo>
                    <a:pt x="402" y="79"/>
                  </a:lnTo>
                  <a:lnTo>
                    <a:pt x="403" y="79"/>
                  </a:lnTo>
                  <a:lnTo>
                    <a:pt x="405" y="79"/>
                  </a:lnTo>
                  <a:lnTo>
                    <a:pt x="407" y="78"/>
                  </a:lnTo>
                  <a:lnTo>
                    <a:pt x="409" y="78"/>
                  </a:lnTo>
                  <a:lnTo>
                    <a:pt x="410" y="78"/>
                  </a:lnTo>
                  <a:lnTo>
                    <a:pt x="414" y="76"/>
                  </a:lnTo>
                  <a:lnTo>
                    <a:pt x="413" y="76"/>
                  </a:lnTo>
                  <a:lnTo>
                    <a:pt x="413" y="77"/>
                  </a:lnTo>
                  <a:lnTo>
                    <a:pt x="414" y="78"/>
                  </a:lnTo>
                  <a:lnTo>
                    <a:pt x="415" y="88"/>
                  </a:lnTo>
                  <a:lnTo>
                    <a:pt x="415" y="91"/>
                  </a:lnTo>
                  <a:lnTo>
                    <a:pt x="415" y="93"/>
                  </a:lnTo>
                  <a:lnTo>
                    <a:pt x="415" y="95"/>
                  </a:lnTo>
                  <a:lnTo>
                    <a:pt x="415" y="97"/>
                  </a:lnTo>
                  <a:lnTo>
                    <a:pt x="415" y="98"/>
                  </a:lnTo>
                  <a:lnTo>
                    <a:pt x="414" y="100"/>
                  </a:lnTo>
                  <a:lnTo>
                    <a:pt x="414" y="102"/>
                  </a:lnTo>
                  <a:lnTo>
                    <a:pt x="413" y="103"/>
                  </a:lnTo>
                  <a:lnTo>
                    <a:pt x="412" y="104"/>
                  </a:lnTo>
                  <a:lnTo>
                    <a:pt x="410" y="105"/>
                  </a:lnTo>
                  <a:lnTo>
                    <a:pt x="408" y="106"/>
                  </a:lnTo>
                  <a:lnTo>
                    <a:pt x="405" y="107"/>
                  </a:lnTo>
                  <a:lnTo>
                    <a:pt x="403" y="108"/>
                  </a:lnTo>
                  <a:lnTo>
                    <a:pt x="401" y="109"/>
                  </a:lnTo>
                  <a:lnTo>
                    <a:pt x="399" y="110"/>
                  </a:lnTo>
                  <a:lnTo>
                    <a:pt x="398" y="111"/>
                  </a:lnTo>
                  <a:lnTo>
                    <a:pt x="398" y="112"/>
                  </a:lnTo>
                  <a:lnTo>
                    <a:pt x="397" y="113"/>
                  </a:lnTo>
                  <a:lnTo>
                    <a:pt x="397" y="115"/>
                  </a:lnTo>
                  <a:lnTo>
                    <a:pt x="397" y="115"/>
                  </a:lnTo>
                  <a:lnTo>
                    <a:pt x="397" y="116"/>
                  </a:lnTo>
                  <a:lnTo>
                    <a:pt x="397" y="117"/>
                  </a:lnTo>
                  <a:lnTo>
                    <a:pt x="398" y="119"/>
                  </a:lnTo>
                  <a:lnTo>
                    <a:pt x="399" y="121"/>
                  </a:lnTo>
                  <a:lnTo>
                    <a:pt x="403" y="129"/>
                  </a:lnTo>
                  <a:lnTo>
                    <a:pt x="404" y="131"/>
                  </a:lnTo>
                  <a:lnTo>
                    <a:pt x="405" y="134"/>
                  </a:lnTo>
                  <a:lnTo>
                    <a:pt x="406" y="136"/>
                  </a:lnTo>
                  <a:lnTo>
                    <a:pt x="407" y="138"/>
                  </a:lnTo>
                  <a:lnTo>
                    <a:pt x="408" y="141"/>
                  </a:lnTo>
                  <a:lnTo>
                    <a:pt x="408" y="144"/>
                  </a:lnTo>
                  <a:lnTo>
                    <a:pt x="409" y="148"/>
                  </a:lnTo>
                  <a:lnTo>
                    <a:pt x="409" y="151"/>
                  </a:lnTo>
                  <a:lnTo>
                    <a:pt x="409" y="154"/>
                  </a:lnTo>
                  <a:lnTo>
                    <a:pt x="408" y="161"/>
                  </a:lnTo>
                  <a:lnTo>
                    <a:pt x="407" y="164"/>
                  </a:lnTo>
                  <a:lnTo>
                    <a:pt x="407" y="167"/>
                  </a:lnTo>
                  <a:lnTo>
                    <a:pt x="408" y="173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6" y="183"/>
                  </a:lnTo>
                  <a:lnTo>
                    <a:pt x="406" y="186"/>
                  </a:lnTo>
                  <a:lnTo>
                    <a:pt x="404" y="190"/>
                  </a:lnTo>
                  <a:lnTo>
                    <a:pt x="403" y="194"/>
                  </a:lnTo>
                  <a:lnTo>
                    <a:pt x="400" y="202"/>
                  </a:lnTo>
                  <a:lnTo>
                    <a:pt x="397" y="210"/>
                  </a:lnTo>
                  <a:lnTo>
                    <a:pt x="394" y="217"/>
                  </a:lnTo>
                  <a:lnTo>
                    <a:pt x="393" y="219"/>
                  </a:lnTo>
                  <a:lnTo>
                    <a:pt x="393" y="220"/>
                  </a:lnTo>
                  <a:lnTo>
                    <a:pt x="393" y="222"/>
                  </a:lnTo>
                  <a:lnTo>
                    <a:pt x="393" y="223"/>
                  </a:lnTo>
                  <a:lnTo>
                    <a:pt x="394" y="226"/>
                  </a:lnTo>
                  <a:lnTo>
                    <a:pt x="394" y="227"/>
                  </a:lnTo>
                  <a:lnTo>
                    <a:pt x="394" y="228"/>
                  </a:lnTo>
                  <a:lnTo>
                    <a:pt x="394" y="230"/>
                  </a:lnTo>
                  <a:lnTo>
                    <a:pt x="391" y="239"/>
                  </a:lnTo>
                  <a:lnTo>
                    <a:pt x="391" y="245"/>
                  </a:lnTo>
                  <a:lnTo>
                    <a:pt x="390" y="249"/>
                  </a:lnTo>
                  <a:lnTo>
                    <a:pt x="388" y="253"/>
                  </a:lnTo>
                  <a:lnTo>
                    <a:pt x="386" y="260"/>
                  </a:lnTo>
                  <a:lnTo>
                    <a:pt x="385" y="262"/>
                  </a:lnTo>
                  <a:lnTo>
                    <a:pt x="384" y="266"/>
                  </a:lnTo>
                  <a:lnTo>
                    <a:pt x="384" y="270"/>
                  </a:lnTo>
                  <a:lnTo>
                    <a:pt x="384" y="273"/>
                  </a:lnTo>
                  <a:lnTo>
                    <a:pt x="384" y="275"/>
                  </a:lnTo>
                  <a:lnTo>
                    <a:pt x="385" y="277"/>
                  </a:lnTo>
                  <a:lnTo>
                    <a:pt x="385" y="278"/>
                  </a:lnTo>
                  <a:lnTo>
                    <a:pt x="386" y="279"/>
                  </a:lnTo>
                  <a:lnTo>
                    <a:pt x="386" y="281"/>
                  </a:lnTo>
                  <a:lnTo>
                    <a:pt x="387" y="282"/>
                  </a:lnTo>
                  <a:lnTo>
                    <a:pt x="389" y="284"/>
                  </a:lnTo>
                  <a:lnTo>
                    <a:pt x="391" y="286"/>
                  </a:lnTo>
                  <a:lnTo>
                    <a:pt x="394" y="289"/>
                  </a:lnTo>
                  <a:lnTo>
                    <a:pt x="400" y="293"/>
                  </a:lnTo>
                  <a:lnTo>
                    <a:pt x="402" y="295"/>
                  </a:lnTo>
                  <a:lnTo>
                    <a:pt x="403" y="296"/>
                  </a:lnTo>
                  <a:lnTo>
                    <a:pt x="405" y="298"/>
                  </a:lnTo>
                  <a:lnTo>
                    <a:pt x="406" y="301"/>
                  </a:lnTo>
                  <a:lnTo>
                    <a:pt x="409" y="305"/>
                  </a:lnTo>
                  <a:lnTo>
                    <a:pt x="409" y="306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09" y="308"/>
                  </a:lnTo>
                  <a:lnTo>
                    <a:pt x="409" y="309"/>
                  </a:lnTo>
                  <a:lnTo>
                    <a:pt x="402" y="319"/>
                  </a:lnTo>
                  <a:lnTo>
                    <a:pt x="400" y="321"/>
                  </a:lnTo>
                  <a:lnTo>
                    <a:pt x="399" y="323"/>
                  </a:lnTo>
                  <a:lnTo>
                    <a:pt x="398" y="325"/>
                  </a:lnTo>
                  <a:lnTo>
                    <a:pt x="397" y="327"/>
                  </a:lnTo>
                  <a:lnTo>
                    <a:pt x="397" y="329"/>
                  </a:lnTo>
                  <a:lnTo>
                    <a:pt x="397" y="330"/>
                  </a:lnTo>
                  <a:lnTo>
                    <a:pt x="397" y="331"/>
                  </a:lnTo>
                  <a:lnTo>
                    <a:pt x="397" y="333"/>
                  </a:lnTo>
                  <a:lnTo>
                    <a:pt x="398" y="335"/>
                  </a:lnTo>
                  <a:lnTo>
                    <a:pt x="399" y="338"/>
                  </a:lnTo>
                  <a:lnTo>
                    <a:pt x="401" y="341"/>
                  </a:lnTo>
                  <a:lnTo>
                    <a:pt x="405" y="351"/>
                  </a:lnTo>
                  <a:lnTo>
                    <a:pt x="406" y="353"/>
                  </a:lnTo>
                  <a:lnTo>
                    <a:pt x="407" y="354"/>
                  </a:lnTo>
                  <a:lnTo>
                    <a:pt x="407" y="355"/>
                  </a:lnTo>
                  <a:lnTo>
                    <a:pt x="407" y="357"/>
                  </a:lnTo>
                  <a:lnTo>
                    <a:pt x="407" y="358"/>
                  </a:lnTo>
                  <a:lnTo>
                    <a:pt x="405" y="359"/>
                  </a:lnTo>
                  <a:lnTo>
                    <a:pt x="404" y="360"/>
                  </a:lnTo>
                  <a:lnTo>
                    <a:pt x="403" y="360"/>
                  </a:lnTo>
                  <a:lnTo>
                    <a:pt x="402" y="360"/>
                  </a:lnTo>
                  <a:lnTo>
                    <a:pt x="399" y="360"/>
                  </a:lnTo>
                  <a:lnTo>
                    <a:pt x="397" y="360"/>
                  </a:lnTo>
                  <a:lnTo>
                    <a:pt x="396" y="360"/>
                  </a:lnTo>
                  <a:lnTo>
                    <a:pt x="393" y="361"/>
                  </a:lnTo>
                  <a:lnTo>
                    <a:pt x="391" y="362"/>
                  </a:lnTo>
                  <a:lnTo>
                    <a:pt x="380" y="364"/>
                  </a:lnTo>
                  <a:lnTo>
                    <a:pt x="376" y="365"/>
                  </a:lnTo>
                  <a:lnTo>
                    <a:pt x="373" y="366"/>
                  </a:lnTo>
                  <a:lnTo>
                    <a:pt x="370" y="367"/>
                  </a:lnTo>
                  <a:lnTo>
                    <a:pt x="368" y="369"/>
                  </a:lnTo>
                  <a:lnTo>
                    <a:pt x="367" y="371"/>
                  </a:lnTo>
                  <a:lnTo>
                    <a:pt x="366" y="372"/>
                  </a:lnTo>
                  <a:lnTo>
                    <a:pt x="365" y="372"/>
                  </a:lnTo>
                  <a:lnTo>
                    <a:pt x="365" y="374"/>
                  </a:lnTo>
                  <a:lnTo>
                    <a:pt x="365" y="375"/>
                  </a:lnTo>
                  <a:lnTo>
                    <a:pt x="366" y="376"/>
                  </a:lnTo>
                  <a:lnTo>
                    <a:pt x="367" y="379"/>
                  </a:lnTo>
                  <a:lnTo>
                    <a:pt x="368" y="381"/>
                  </a:lnTo>
                  <a:lnTo>
                    <a:pt x="368" y="382"/>
                  </a:lnTo>
                  <a:lnTo>
                    <a:pt x="373" y="387"/>
                  </a:lnTo>
                  <a:lnTo>
                    <a:pt x="376" y="390"/>
                  </a:lnTo>
                  <a:lnTo>
                    <a:pt x="377" y="392"/>
                  </a:lnTo>
                  <a:lnTo>
                    <a:pt x="377" y="393"/>
                  </a:lnTo>
                  <a:lnTo>
                    <a:pt x="378" y="394"/>
                  </a:lnTo>
                  <a:lnTo>
                    <a:pt x="378" y="396"/>
                  </a:lnTo>
                  <a:lnTo>
                    <a:pt x="378" y="397"/>
                  </a:lnTo>
                  <a:lnTo>
                    <a:pt x="378" y="398"/>
                  </a:lnTo>
                  <a:lnTo>
                    <a:pt x="378" y="399"/>
                  </a:lnTo>
                  <a:lnTo>
                    <a:pt x="376" y="403"/>
                  </a:lnTo>
                  <a:lnTo>
                    <a:pt x="375" y="406"/>
                  </a:lnTo>
                  <a:lnTo>
                    <a:pt x="371" y="413"/>
                  </a:lnTo>
                  <a:lnTo>
                    <a:pt x="370" y="416"/>
                  </a:lnTo>
                  <a:lnTo>
                    <a:pt x="368" y="421"/>
                  </a:lnTo>
                  <a:lnTo>
                    <a:pt x="368" y="422"/>
                  </a:lnTo>
                  <a:lnTo>
                    <a:pt x="367" y="428"/>
                  </a:lnTo>
                  <a:lnTo>
                    <a:pt x="366" y="436"/>
                  </a:lnTo>
                  <a:lnTo>
                    <a:pt x="365" y="439"/>
                  </a:lnTo>
                  <a:lnTo>
                    <a:pt x="364" y="441"/>
                  </a:lnTo>
                  <a:lnTo>
                    <a:pt x="363" y="443"/>
                  </a:lnTo>
                  <a:lnTo>
                    <a:pt x="362" y="443"/>
                  </a:lnTo>
                  <a:lnTo>
                    <a:pt x="361" y="444"/>
                  </a:lnTo>
                  <a:lnTo>
                    <a:pt x="359" y="446"/>
                  </a:lnTo>
                  <a:lnTo>
                    <a:pt x="353" y="449"/>
                  </a:lnTo>
                  <a:lnTo>
                    <a:pt x="346" y="454"/>
                  </a:lnTo>
                  <a:lnTo>
                    <a:pt x="344" y="455"/>
                  </a:lnTo>
                  <a:lnTo>
                    <a:pt x="337" y="458"/>
                  </a:lnTo>
                  <a:lnTo>
                    <a:pt x="334" y="459"/>
                  </a:lnTo>
                  <a:lnTo>
                    <a:pt x="331" y="460"/>
                  </a:lnTo>
                  <a:lnTo>
                    <a:pt x="318" y="464"/>
                  </a:lnTo>
                  <a:lnTo>
                    <a:pt x="315" y="465"/>
                  </a:lnTo>
                  <a:lnTo>
                    <a:pt x="312" y="465"/>
                  </a:lnTo>
                  <a:lnTo>
                    <a:pt x="309" y="464"/>
                  </a:lnTo>
                  <a:lnTo>
                    <a:pt x="305" y="464"/>
                  </a:lnTo>
                  <a:lnTo>
                    <a:pt x="302" y="463"/>
                  </a:lnTo>
                  <a:lnTo>
                    <a:pt x="298" y="462"/>
                  </a:lnTo>
                  <a:lnTo>
                    <a:pt x="295" y="461"/>
                  </a:lnTo>
                  <a:lnTo>
                    <a:pt x="289" y="459"/>
                  </a:lnTo>
                  <a:lnTo>
                    <a:pt x="288" y="458"/>
                  </a:lnTo>
                  <a:lnTo>
                    <a:pt x="286" y="458"/>
                  </a:lnTo>
                  <a:lnTo>
                    <a:pt x="284" y="457"/>
                  </a:lnTo>
                  <a:lnTo>
                    <a:pt x="283" y="457"/>
                  </a:lnTo>
                  <a:lnTo>
                    <a:pt x="281" y="458"/>
                  </a:lnTo>
                  <a:lnTo>
                    <a:pt x="280" y="458"/>
                  </a:lnTo>
                  <a:lnTo>
                    <a:pt x="278" y="459"/>
                  </a:lnTo>
                  <a:lnTo>
                    <a:pt x="277" y="460"/>
                  </a:lnTo>
                  <a:lnTo>
                    <a:pt x="277" y="461"/>
                  </a:lnTo>
                  <a:lnTo>
                    <a:pt x="276" y="462"/>
                  </a:lnTo>
                  <a:lnTo>
                    <a:pt x="276" y="463"/>
                  </a:lnTo>
                  <a:lnTo>
                    <a:pt x="275" y="465"/>
                  </a:lnTo>
                  <a:lnTo>
                    <a:pt x="275" y="466"/>
                  </a:lnTo>
                  <a:lnTo>
                    <a:pt x="275" y="466"/>
                  </a:lnTo>
                  <a:lnTo>
                    <a:pt x="275" y="468"/>
                  </a:lnTo>
                  <a:lnTo>
                    <a:pt x="276" y="472"/>
                  </a:lnTo>
                  <a:lnTo>
                    <a:pt x="277" y="479"/>
                  </a:lnTo>
                  <a:lnTo>
                    <a:pt x="278" y="482"/>
                  </a:lnTo>
                  <a:lnTo>
                    <a:pt x="280" y="487"/>
                  </a:lnTo>
                  <a:lnTo>
                    <a:pt x="283" y="490"/>
                  </a:lnTo>
                  <a:lnTo>
                    <a:pt x="285" y="494"/>
                  </a:lnTo>
                  <a:lnTo>
                    <a:pt x="287" y="496"/>
                  </a:lnTo>
                  <a:lnTo>
                    <a:pt x="288" y="498"/>
                  </a:lnTo>
                  <a:lnTo>
                    <a:pt x="289" y="499"/>
                  </a:lnTo>
                  <a:lnTo>
                    <a:pt x="290" y="500"/>
                  </a:lnTo>
                  <a:lnTo>
                    <a:pt x="292" y="501"/>
                  </a:lnTo>
                  <a:lnTo>
                    <a:pt x="297" y="504"/>
                  </a:lnTo>
                  <a:lnTo>
                    <a:pt x="299" y="505"/>
                  </a:lnTo>
                  <a:lnTo>
                    <a:pt x="302" y="508"/>
                  </a:lnTo>
                  <a:lnTo>
                    <a:pt x="306" y="510"/>
                  </a:lnTo>
                  <a:lnTo>
                    <a:pt x="307" y="511"/>
                  </a:lnTo>
                  <a:lnTo>
                    <a:pt x="308" y="512"/>
                  </a:lnTo>
                  <a:lnTo>
                    <a:pt x="309" y="513"/>
                  </a:lnTo>
                  <a:lnTo>
                    <a:pt x="310" y="515"/>
                  </a:lnTo>
                  <a:lnTo>
                    <a:pt x="310" y="517"/>
                  </a:lnTo>
                  <a:lnTo>
                    <a:pt x="310" y="519"/>
                  </a:lnTo>
                  <a:lnTo>
                    <a:pt x="310" y="521"/>
                  </a:lnTo>
                  <a:lnTo>
                    <a:pt x="309" y="523"/>
                  </a:lnTo>
                  <a:lnTo>
                    <a:pt x="309" y="524"/>
                  </a:lnTo>
                  <a:lnTo>
                    <a:pt x="307" y="526"/>
                  </a:lnTo>
                  <a:lnTo>
                    <a:pt x="300" y="534"/>
                  </a:lnTo>
                  <a:lnTo>
                    <a:pt x="299" y="536"/>
                  </a:lnTo>
                  <a:lnTo>
                    <a:pt x="297" y="539"/>
                  </a:lnTo>
                  <a:lnTo>
                    <a:pt x="296" y="541"/>
                  </a:lnTo>
                  <a:lnTo>
                    <a:pt x="295" y="543"/>
                  </a:lnTo>
                  <a:lnTo>
                    <a:pt x="295" y="545"/>
                  </a:lnTo>
                  <a:lnTo>
                    <a:pt x="295" y="547"/>
                  </a:lnTo>
                  <a:lnTo>
                    <a:pt x="295" y="549"/>
                  </a:lnTo>
                  <a:lnTo>
                    <a:pt x="296" y="551"/>
                  </a:lnTo>
                  <a:lnTo>
                    <a:pt x="297" y="554"/>
                  </a:lnTo>
                  <a:lnTo>
                    <a:pt x="298" y="556"/>
                  </a:lnTo>
                  <a:lnTo>
                    <a:pt x="299" y="557"/>
                  </a:lnTo>
                  <a:lnTo>
                    <a:pt x="300" y="559"/>
                  </a:lnTo>
                  <a:lnTo>
                    <a:pt x="302" y="563"/>
                  </a:lnTo>
                  <a:lnTo>
                    <a:pt x="306" y="568"/>
                  </a:lnTo>
                  <a:lnTo>
                    <a:pt x="308" y="569"/>
                  </a:lnTo>
                  <a:lnTo>
                    <a:pt x="313" y="575"/>
                  </a:lnTo>
                  <a:lnTo>
                    <a:pt x="319" y="579"/>
                  </a:lnTo>
                  <a:lnTo>
                    <a:pt x="320" y="580"/>
                  </a:lnTo>
                  <a:lnTo>
                    <a:pt x="321" y="582"/>
                  </a:lnTo>
                  <a:lnTo>
                    <a:pt x="322" y="583"/>
                  </a:lnTo>
                  <a:lnTo>
                    <a:pt x="323" y="585"/>
                  </a:lnTo>
                  <a:lnTo>
                    <a:pt x="323" y="586"/>
                  </a:lnTo>
                  <a:lnTo>
                    <a:pt x="322" y="587"/>
                  </a:lnTo>
                  <a:lnTo>
                    <a:pt x="322" y="588"/>
                  </a:lnTo>
                  <a:lnTo>
                    <a:pt x="321" y="588"/>
                  </a:lnTo>
                  <a:lnTo>
                    <a:pt x="320" y="589"/>
                  </a:lnTo>
                  <a:lnTo>
                    <a:pt x="318" y="589"/>
                  </a:lnTo>
                  <a:lnTo>
                    <a:pt x="316" y="588"/>
                  </a:lnTo>
                  <a:lnTo>
                    <a:pt x="315" y="587"/>
                  </a:lnTo>
                  <a:lnTo>
                    <a:pt x="313" y="587"/>
                  </a:lnTo>
                  <a:lnTo>
                    <a:pt x="307" y="582"/>
                  </a:lnTo>
                  <a:lnTo>
                    <a:pt x="306" y="581"/>
                  </a:lnTo>
                  <a:lnTo>
                    <a:pt x="303" y="579"/>
                  </a:lnTo>
                  <a:lnTo>
                    <a:pt x="302" y="579"/>
                  </a:lnTo>
                  <a:lnTo>
                    <a:pt x="300" y="579"/>
                  </a:lnTo>
                  <a:lnTo>
                    <a:pt x="298" y="578"/>
                  </a:lnTo>
                  <a:lnTo>
                    <a:pt x="296" y="578"/>
                  </a:lnTo>
                  <a:lnTo>
                    <a:pt x="294" y="577"/>
                  </a:lnTo>
                  <a:lnTo>
                    <a:pt x="292" y="577"/>
                  </a:lnTo>
                  <a:lnTo>
                    <a:pt x="290" y="577"/>
                  </a:lnTo>
                  <a:lnTo>
                    <a:pt x="288" y="578"/>
                  </a:lnTo>
                  <a:lnTo>
                    <a:pt x="285" y="578"/>
                  </a:lnTo>
                  <a:lnTo>
                    <a:pt x="279" y="579"/>
                  </a:lnTo>
                  <a:lnTo>
                    <a:pt x="277" y="580"/>
                  </a:lnTo>
                  <a:lnTo>
                    <a:pt x="276" y="580"/>
                  </a:lnTo>
                  <a:lnTo>
                    <a:pt x="274" y="580"/>
                  </a:lnTo>
                  <a:lnTo>
                    <a:pt x="271" y="580"/>
                  </a:lnTo>
                  <a:lnTo>
                    <a:pt x="269" y="580"/>
                  </a:lnTo>
                  <a:lnTo>
                    <a:pt x="267" y="579"/>
                  </a:lnTo>
                  <a:lnTo>
                    <a:pt x="266" y="579"/>
                  </a:lnTo>
                  <a:lnTo>
                    <a:pt x="265" y="578"/>
                  </a:lnTo>
                  <a:lnTo>
                    <a:pt x="263" y="577"/>
                  </a:lnTo>
                  <a:lnTo>
                    <a:pt x="262" y="576"/>
                  </a:lnTo>
                  <a:lnTo>
                    <a:pt x="260" y="574"/>
                  </a:lnTo>
                  <a:lnTo>
                    <a:pt x="258" y="572"/>
                  </a:lnTo>
                  <a:lnTo>
                    <a:pt x="254" y="565"/>
                  </a:lnTo>
                  <a:lnTo>
                    <a:pt x="251" y="562"/>
                  </a:lnTo>
                  <a:lnTo>
                    <a:pt x="249" y="560"/>
                  </a:lnTo>
                  <a:lnTo>
                    <a:pt x="247" y="558"/>
                  </a:lnTo>
                  <a:lnTo>
                    <a:pt x="244" y="557"/>
                  </a:lnTo>
                  <a:lnTo>
                    <a:pt x="243" y="555"/>
                  </a:lnTo>
                  <a:lnTo>
                    <a:pt x="241" y="554"/>
                  </a:lnTo>
                  <a:lnTo>
                    <a:pt x="238" y="553"/>
                  </a:lnTo>
                  <a:lnTo>
                    <a:pt x="236" y="552"/>
                  </a:lnTo>
                  <a:lnTo>
                    <a:pt x="233" y="552"/>
                  </a:lnTo>
                  <a:lnTo>
                    <a:pt x="232" y="551"/>
                  </a:lnTo>
                  <a:lnTo>
                    <a:pt x="230" y="552"/>
                  </a:lnTo>
                  <a:lnTo>
                    <a:pt x="228" y="552"/>
                  </a:lnTo>
                  <a:lnTo>
                    <a:pt x="224" y="553"/>
                  </a:lnTo>
                  <a:lnTo>
                    <a:pt x="222" y="553"/>
                  </a:lnTo>
                  <a:lnTo>
                    <a:pt x="222" y="552"/>
                  </a:lnTo>
                  <a:lnTo>
                    <a:pt x="221" y="551"/>
                  </a:lnTo>
                  <a:lnTo>
                    <a:pt x="214" y="548"/>
                  </a:lnTo>
                  <a:lnTo>
                    <a:pt x="209" y="546"/>
                  </a:lnTo>
                  <a:lnTo>
                    <a:pt x="204" y="544"/>
                  </a:lnTo>
                  <a:lnTo>
                    <a:pt x="200" y="542"/>
                  </a:lnTo>
                  <a:lnTo>
                    <a:pt x="197" y="540"/>
                  </a:lnTo>
                  <a:lnTo>
                    <a:pt x="194" y="537"/>
                  </a:lnTo>
                  <a:lnTo>
                    <a:pt x="191" y="535"/>
                  </a:lnTo>
                  <a:lnTo>
                    <a:pt x="187" y="531"/>
                  </a:lnTo>
                  <a:lnTo>
                    <a:pt x="186" y="530"/>
                  </a:lnTo>
                  <a:lnTo>
                    <a:pt x="184" y="529"/>
                  </a:lnTo>
                  <a:lnTo>
                    <a:pt x="180" y="526"/>
                  </a:lnTo>
                  <a:lnTo>
                    <a:pt x="178" y="525"/>
                  </a:lnTo>
                  <a:lnTo>
                    <a:pt x="177" y="524"/>
                  </a:lnTo>
                  <a:lnTo>
                    <a:pt x="175" y="523"/>
                  </a:lnTo>
                  <a:lnTo>
                    <a:pt x="171" y="517"/>
                  </a:lnTo>
                  <a:lnTo>
                    <a:pt x="169" y="516"/>
                  </a:lnTo>
                  <a:lnTo>
                    <a:pt x="168" y="514"/>
                  </a:lnTo>
                  <a:lnTo>
                    <a:pt x="167" y="512"/>
                  </a:lnTo>
                  <a:lnTo>
                    <a:pt x="164" y="506"/>
                  </a:lnTo>
                  <a:lnTo>
                    <a:pt x="164" y="505"/>
                  </a:lnTo>
                  <a:lnTo>
                    <a:pt x="164" y="503"/>
                  </a:lnTo>
                  <a:lnTo>
                    <a:pt x="162" y="501"/>
                  </a:lnTo>
                  <a:lnTo>
                    <a:pt x="156" y="497"/>
                  </a:lnTo>
                  <a:lnTo>
                    <a:pt x="151" y="489"/>
                  </a:lnTo>
                  <a:lnTo>
                    <a:pt x="149" y="488"/>
                  </a:lnTo>
                  <a:lnTo>
                    <a:pt x="148" y="486"/>
                  </a:lnTo>
                  <a:lnTo>
                    <a:pt x="146" y="484"/>
                  </a:lnTo>
                  <a:lnTo>
                    <a:pt x="145" y="481"/>
                  </a:lnTo>
                  <a:lnTo>
                    <a:pt x="144" y="478"/>
                  </a:lnTo>
                  <a:lnTo>
                    <a:pt x="142" y="472"/>
                  </a:lnTo>
                  <a:lnTo>
                    <a:pt x="141" y="468"/>
                  </a:lnTo>
                  <a:lnTo>
                    <a:pt x="140" y="466"/>
                  </a:lnTo>
                  <a:lnTo>
                    <a:pt x="139" y="465"/>
                  </a:lnTo>
                  <a:lnTo>
                    <a:pt x="138" y="464"/>
                  </a:lnTo>
                  <a:lnTo>
                    <a:pt x="137" y="463"/>
                  </a:lnTo>
                  <a:lnTo>
                    <a:pt x="136" y="462"/>
                  </a:lnTo>
                  <a:lnTo>
                    <a:pt x="134" y="461"/>
                  </a:lnTo>
                  <a:lnTo>
                    <a:pt x="131" y="460"/>
                  </a:lnTo>
                  <a:lnTo>
                    <a:pt x="129" y="459"/>
                  </a:lnTo>
                  <a:lnTo>
                    <a:pt x="120" y="456"/>
                  </a:lnTo>
                  <a:lnTo>
                    <a:pt x="105" y="452"/>
                  </a:lnTo>
                  <a:lnTo>
                    <a:pt x="100" y="450"/>
                  </a:lnTo>
                  <a:lnTo>
                    <a:pt x="92" y="448"/>
                  </a:lnTo>
                  <a:lnTo>
                    <a:pt x="89" y="448"/>
                  </a:lnTo>
                  <a:lnTo>
                    <a:pt x="87" y="447"/>
                  </a:lnTo>
                  <a:lnTo>
                    <a:pt x="85" y="446"/>
                  </a:lnTo>
                  <a:lnTo>
                    <a:pt x="84" y="445"/>
                  </a:lnTo>
                  <a:lnTo>
                    <a:pt x="82" y="444"/>
                  </a:lnTo>
                  <a:lnTo>
                    <a:pt x="80" y="443"/>
                  </a:lnTo>
                  <a:lnTo>
                    <a:pt x="78" y="441"/>
                  </a:lnTo>
                  <a:lnTo>
                    <a:pt x="76" y="439"/>
                  </a:lnTo>
                  <a:lnTo>
                    <a:pt x="73" y="436"/>
                  </a:lnTo>
                  <a:lnTo>
                    <a:pt x="72" y="434"/>
                  </a:lnTo>
                  <a:lnTo>
                    <a:pt x="66" y="426"/>
                  </a:lnTo>
                  <a:lnTo>
                    <a:pt x="64" y="424"/>
                  </a:lnTo>
                  <a:lnTo>
                    <a:pt x="63" y="421"/>
                  </a:lnTo>
                  <a:lnTo>
                    <a:pt x="61" y="417"/>
                  </a:lnTo>
                  <a:lnTo>
                    <a:pt x="61" y="414"/>
                  </a:lnTo>
                  <a:lnTo>
                    <a:pt x="59" y="410"/>
                  </a:lnTo>
                  <a:lnTo>
                    <a:pt x="58" y="409"/>
                  </a:lnTo>
                  <a:lnTo>
                    <a:pt x="56" y="406"/>
                  </a:lnTo>
                  <a:lnTo>
                    <a:pt x="54" y="404"/>
                  </a:lnTo>
                  <a:lnTo>
                    <a:pt x="52" y="402"/>
                  </a:lnTo>
                  <a:lnTo>
                    <a:pt x="50" y="400"/>
                  </a:lnTo>
                  <a:lnTo>
                    <a:pt x="49" y="399"/>
                  </a:lnTo>
                  <a:lnTo>
                    <a:pt x="47" y="398"/>
                  </a:lnTo>
                  <a:lnTo>
                    <a:pt x="45" y="398"/>
                  </a:lnTo>
                  <a:lnTo>
                    <a:pt x="42" y="398"/>
                  </a:lnTo>
                  <a:lnTo>
                    <a:pt x="39" y="398"/>
                  </a:lnTo>
                  <a:lnTo>
                    <a:pt x="36" y="398"/>
                  </a:lnTo>
                  <a:lnTo>
                    <a:pt x="33" y="400"/>
                  </a:lnTo>
                  <a:lnTo>
                    <a:pt x="30" y="401"/>
                  </a:lnTo>
                  <a:lnTo>
                    <a:pt x="26" y="404"/>
                  </a:lnTo>
                  <a:lnTo>
                    <a:pt x="24" y="405"/>
                  </a:lnTo>
                  <a:lnTo>
                    <a:pt x="22" y="405"/>
                  </a:lnTo>
                  <a:lnTo>
                    <a:pt x="21" y="405"/>
                  </a:lnTo>
                  <a:lnTo>
                    <a:pt x="20" y="404"/>
                  </a:lnTo>
                  <a:lnTo>
                    <a:pt x="19" y="404"/>
                  </a:lnTo>
                  <a:lnTo>
                    <a:pt x="18" y="403"/>
                  </a:lnTo>
                  <a:lnTo>
                    <a:pt x="17" y="402"/>
                  </a:lnTo>
                  <a:lnTo>
                    <a:pt x="17" y="400"/>
                  </a:lnTo>
                  <a:lnTo>
                    <a:pt x="16" y="398"/>
                  </a:lnTo>
                  <a:lnTo>
                    <a:pt x="16" y="397"/>
                  </a:lnTo>
                  <a:lnTo>
                    <a:pt x="15" y="390"/>
                  </a:lnTo>
                  <a:lnTo>
                    <a:pt x="14" y="386"/>
                  </a:lnTo>
                  <a:lnTo>
                    <a:pt x="11" y="380"/>
                  </a:lnTo>
                  <a:lnTo>
                    <a:pt x="8" y="374"/>
                  </a:lnTo>
                  <a:lnTo>
                    <a:pt x="7" y="369"/>
                  </a:lnTo>
                  <a:lnTo>
                    <a:pt x="5" y="366"/>
                  </a:lnTo>
                  <a:lnTo>
                    <a:pt x="4" y="357"/>
                  </a:lnTo>
                  <a:lnTo>
                    <a:pt x="2" y="352"/>
                  </a:lnTo>
                  <a:lnTo>
                    <a:pt x="1" y="347"/>
                  </a:lnTo>
                  <a:lnTo>
                    <a:pt x="0" y="341"/>
                  </a:lnTo>
                  <a:lnTo>
                    <a:pt x="0" y="339"/>
                  </a:lnTo>
                  <a:lnTo>
                    <a:pt x="0" y="338"/>
                  </a:lnTo>
                  <a:lnTo>
                    <a:pt x="1" y="338"/>
                  </a:lnTo>
                  <a:lnTo>
                    <a:pt x="2" y="337"/>
                  </a:lnTo>
                  <a:lnTo>
                    <a:pt x="4" y="336"/>
                  </a:lnTo>
                  <a:lnTo>
                    <a:pt x="5" y="335"/>
                  </a:lnTo>
                  <a:lnTo>
                    <a:pt x="7" y="332"/>
                  </a:lnTo>
                  <a:lnTo>
                    <a:pt x="10" y="329"/>
                  </a:lnTo>
                  <a:lnTo>
                    <a:pt x="16" y="323"/>
                  </a:lnTo>
                  <a:lnTo>
                    <a:pt x="18" y="319"/>
                  </a:lnTo>
                  <a:lnTo>
                    <a:pt x="20" y="317"/>
                  </a:lnTo>
                  <a:lnTo>
                    <a:pt x="20" y="315"/>
                  </a:lnTo>
                  <a:lnTo>
                    <a:pt x="21" y="312"/>
                  </a:lnTo>
                  <a:lnTo>
                    <a:pt x="22" y="307"/>
                  </a:lnTo>
                  <a:lnTo>
                    <a:pt x="23" y="305"/>
                  </a:lnTo>
                  <a:lnTo>
                    <a:pt x="24" y="303"/>
                  </a:lnTo>
                  <a:lnTo>
                    <a:pt x="25" y="301"/>
                  </a:lnTo>
                  <a:lnTo>
                    <a:pt x="26" y="300"/>
                  </a:lnTo>
                  <a:lnTo>
                    <a:pt x="27" y="299"/>
                  </a:lnTo>
                  <a:lnTo>
                    <a:pt x="28" y="298"/>
                  </a:lnTo>
                  <a:lnTo>
                    <a:pt x="30" y="297"/>
                  </a:lnTo>
                  <a:lnTo>
                    <a:pt x="33" y="296"/>
                  </a:lnTo>
                  <a:lnTo>
                    <a:pt x="38" y="295"/>
                  </a:lnTo>
                  <a:lnTo>
                    <a:pt x="39" y="294"/>
                  </a:lnTo>
                  <a:lnTo>
                    <a:pt x="40" y="292"/>
                  </a:lnTo>
                  <a:lnTo>
                    <a:pt x="42" y="289"/>
                  </a:lnTo>
                  <a:lnTo>
                    <a:pt x="43" y="287"/>
                  </a:lnTo>
                  <a:lnTo>
                    <a:pt x="44" y="285"/>
                  </a:lnTo>
                  <a:lnTo>
                    <a:pt x="44" y="282"/>
                  </a:lnTo>
                  <a:lnTo>
                    <a:pt x="44" y="278"/>
                  </a:lnTo>
                  <a:lnTo>
                    <a:pt x="44" y="273"/>
                  </a:lnTo>
                  <a:lnTo>
                    <a:pt x="44" y="271"/>
                  </a:lnTo>
                  <a:lnTo>
                    <a:pt x="43" y="266"/>
                  </a:lnTo>
                  <a:lnTo>
                    <a:pt x="40" y="259"/>
                  </a:lnTo>
                  <a:lnTo>
                    <a:pt x="39" y="255"/>
                  </a:lnTo>
                  <a:lnTo>
                    <a:pt x="36" y="246"/>
                  </a:lnTo>
                  <a:lnTo>
                    <a:pt x="36" y="244"/>
                  </a:lnTo>
                  <a:lnTo>
                    <a:pt x="35" y="242"/>
                  </a:lnTo>
                  <a:lnTo>
                    <a:pt x="36" y="241"/>
                  </a:lnTo>
                  <a:lnTo>
                    <a:pt x="36" y="240"/>
                  </a:lnTo>
                  <a:lnTo>
                    <a:pt x="37" y="240"/>
                  </a:lnTo>
                  <a:lnTo>
                    <a:pt x="42" y="237"/>
                  </a:lnTo>
                  <a:lnTo>
                    <a:pt x="44" y="236"/>
                  </a:lnTo>
                  <a:lnTo>
                    <a:pt x="45" y="234"/>
                  </a:lnTo>
                  <a:lnTo>
                    <a:pt x="46" y="233"/>
                  </a:lnTo>
                  <a:lnTo>
                    <a:pt x="48" y="231"/>
                  </a:lnTo>
                  <a:lnTo>
                    <a:pt x="49" y="229"/>
                  </a:lnTo>
                  <a:lnTo>
                    <a:pt x="50" y="228"/>
                  </a:lnTo>
                  <a:lnTo>
                    <a:pt x="50" y="225"/>
                  </a:lnTo>
                  <a:lnTo>
                    <a:pt x="50" y="222"/>
                  </a:lnTo>
                  <a:lnTo>
                    <a:pt x="51" y="218"/>
                  </a:lnTo>
                  <a:lnTo>
                    <a:pt x="51" y="212"/>
                  </a:lnTo>
                  <a:lnTo>
                    <a:pt x="51" y="208"/>
                  </a:lnTo>
                  <a:lnTo>
                    <a:pt x="51" y="206"/>
                  </a:lnTo>
                  <a:lnTo>
                    <a:pt x="53" y="203"/>
                  </a:lnTo>
                  <a:lnTo>
                    <a:pt x="54" y="197"/>
                  </a:lnTo>
                  <a:lnTo>
                    <a:pt x="54" y="195"/>
                  </a:lnTo>
                  <a:lnTo>
                    <a:pt x="55" y="193"/>
                  </a:lnTo>
                  <a:lnTo>
                    <a:pt x="54" y="186"/>
                  </a:lnTo>
                  <a:lnTo>
                    <a:pt x="54" y="184"/>
                  </a:lnTo>
                  <a:lnTo>
                    <a:pt x="55" y="182"/>
                  </a:lnTo>
                  <a:lnTo>
                    <a:pt x="56" y="178"/>
                  </a:lnTo>
                  <a:lnTo>
                    <a:pt x="56" y="177"/>
                  </a:lnTo>
                  <a:lnTo>
                    <a:pt x="56" y="175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5" y="169"/>
                  </a:lnTo>
                  <a:lnTo>
                    <a:pt x="53" y="167"/>
                  </a:lnTo>
                  <a:lnTo>
                    <a:pt x="50" y="162"/>
                  </a:lnTo>
                  <a:lnTo>
                    <a:pt x="48" y="160"/>
                  </a:lnTo>
                  <a:lnTo>
                    <a:pt x="47" y="158"/>
                  </a:lnTo>
                  <a:lnTo>
                    <a:pt x="46" y="156"/>
                  </a:lnTo>
                  <a:lnTo>
                    <a:pt x="45" y="154"/>
                  </a:lnTo>
                  <a:lnTo>
                    <a:pt x="45" y="152"/>
                  </a:lnTo>
                  <a:lnTo>
                    <a:pt x="44" y="149"/>
                  </a:lnTo>
                  <a:lnTo>
                    <a:pt x="45" y="142"/>
                  </a:lnTo>
                  <a:lnTo>
                    <a:pt x="45" y="138"/>
                  </a:lnTo>
                  <a:lnTo>
                    <a:pt x="44" y="137"/>
                  </a:lnTo>
                  <a:lnTo>
                    <a:pt x="43" y="130"/>
                  </a:lnTo>
                  <a:lnTo>
                    <a:pt x="43" y="129"/>
                  </a:lnTo>
                  <a:lnTo>
                    <a:pt x="42" y="127"/>
                  </a:lnTo>
                  <a:lnTo>
                    <a:pt x="43" y="126"/>
                  </a:lnTo>
                  <a:lnTo>
                    <a:pt x="43" y="124"/>
                  </a:lnTo>
                  <a:lnTo>
                    <a:pt x="43" y="122"/>
                  </a:lnTo>
                  <a:lnTo>
                    <a:pt x="44" y="120"/>
                  </a:lnTo>
                  <a:lnTo>
                    <a:pt x="45" y="118"/>
                  </a:lnTo>
                  <a:lnTo>
                    <a:pt x="48" y="115"/>
                  </a:lnTo>
                  <a:lnTo>
                    <a:pt x="50" y="111"/>
                  </a:lnTo>
                  <a:lnTo>
                    <a:pt x="53" y="105"/>
                  </a:lnTo>
                  <a:lnTo>
                    <a:pt x="54" y="103"/>
                  </a:lnTo>
                  <a:lnTo>
                    <a:pt x="55" y="101"/>
                  </a:lnTo>
                  <a:lnTo>
                    <a:pt x="56" y="98"/>
                  </a:lnTo>
                  <a:lnTo>
                    <a:pt x="56" y="97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6" y="92"/>
                  </a:lnTo>
                  <a:lnTo>
                    <a:pt x="57" y="91"/>
                  </a:lnTo>
                  <a:lnTo>
                    <a:pt x="60" y="87"/>
                  </a:lnTo>
                  <a:lnTo>
                    <a:pt x="62" y="85"/>
                  </a:lnTo>
                  <a:lnTo>
                    <a:pt x="63" y="83"/>
                  </a:lnTo>
                  <a:lnTo>
                    <a:pt x="64" y="82"/>
                  </a:lnTo>
                  <a:lnTo>
                    <a:pt x="66" y="81"/>
                  </a:lnTo>
                  <a:lnTo>
                    <a:pt x="68" y="81"/>
                  </a:lnTo>
                  <a:lnTo>
                    <a:pt x="69" y="81"/>
                  </a:lnTo>
                  <a:lnTo>
                    <a:pt x="72" y="81"/>
                  </a:lnTo>
                  <a:lnTo>
                    <a:pt x="77" y="82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6" y="84"/>
                  </a:lnTo>
                  <a:lnTo>
                    <a:pt x="87" y="84"/>
                  </a:lnTo>
                  <a:lnTo>
                    <a:pt x="91" y="88"/>
                  </a:lnTo>
                  <a:lnTo>
                    <a:pt x="94" y="90"/>
                  </a:lnTo>
                  <a:lnTo>
                    <a:pt x="96" y="91"/>
                  </a:lnTo>
                  <a:lnTo>
                    <a:pt x="100" y="92"/>
                  </a:lnTo>
                  <a:lnTo>
                    <a:pt x="103" y="92"/>
                  </a:lnTo>
                  <a:lnTo>
                    <a:pt x="107" y="92"/>
                  </a:lnTo>
                  <a:lnTo>
                    <a:pt x="108" y="92"/>
                  </a:lnTo>
                  <a:lnTo>
                    <a:pt x="117" y="93"/>
                  </a:lnTo>
                  <a:lnTo>
                    <a:pt x="120" y="94"/>
                  </a:lnTo>
                  <a:lnTo>
                    <a:pt x="123" y="94"/>
                  </a:lnTo>
                  <a:lnTo>
                    <a:pt x="125" y="94"/>
                  </a:lnTo>
                  <a:lnTo>
                    <a:pt x="126" y="94"/>
                  </a:lnTo>
                  <a:lnTo>
                    <a:pt x="128" y="93"/>
                  </a:lnTo>
                  <a:lnTo>
                    <a:pt x="131" y="92"/>
                  </a:lnTo>
                  <a:lnTo>
                    <a:pt x="132" y="92"/>
                  </a:lnTo>
                  <a:lnTo>
                    <a:pt x="135" y="92"/>
                  </a:lnTo>
                  <a:lnTo>
                    <a:pt x="136" y="92"/>
                  </a:lnTo>
                  <a:lnTo>
                    <a:pt x="137" y="91"/>
                  </a:lnTo>
                  <a:lnTo>
                    <a:pt x="142" y="88"/>
                  </a:lnTo>
                  <a:lnTo>
                    <a:pt x="144" y="86"/>
                  </a:lnTo>
                  <a:lnTo>
                    <a:pt x="147" y="84"/>
                  </a:lnTo>
                  <a:lnTo>
                    <a:pt x="150" y="81"/>
                  </a:lnTo>
                  <a:lnTo>
                    <a:pt x="149" y="84"/>
                  </a:lnTo>
                  <a:lnTo>
                    <a:pt x="149" y="86"/>
                  </a:lnTo>
                  <a:lnTo>
                    <a:pt x="147" y="91"/>
                  </a:lnTo>
                  <a:lnTo>
                    <a:pt x="146" y="94"/>
                  </a:lnTo>
                  <a:lnTo>
                    <a:pt x="145" y="97"/>
                  </a:lnTo>
                  <a:lnTo>
                    <a:pt x="144" y="99"/>
                  </a:lnTo>
                  <a:lnTo>
                    <a:pt x="144" y="101"/>
                  </a:lnTo>
                  <a:lnTo>
                    <a:pt x="145" y="103"/>
                  </a:lnTo>
                  <a:lnTo>
                    <a:pt x="145" y="103"/>
                  </a:lnTo>
                  <a:lnTo>
                    <a:pt x="145" y="104"/>
                  </a:lnTo>
                  <a:lnTo>
                    <a:pt x="146" y="105"/>
                  </a:lnTo>
                  <a:lnTo>
                    <a:pt x="147" y="106"/>
                  </a:lnTo>
                  <a:lnTo>
                    <a:pt x="149" y="107"/>
                  </a:lnTo>
                  <a:lnTo>
                    <a:pt x="150" y="108"/>
                  </a:lnTo>
                  <a:lnTo>
                    <a:pt x="151" y="109"/>
                  </a:lnTo>
                  <a:lnTo>
                    <a:pt x="152" y="109"/>
                  </a:lnTo>
                  <a:lnTo>
                    <a:pt x="154" y="109"/>
                  </a:lnTo>
                  <a:lnTo>
                    <a:pt x="162" y="110"/>
                  </a:lnTo>
                  <a:lnTo>
                    <a:pt x="164" y="111"/>
                  </a:lnTo>
                  <a:lnTo>
                    <a:pt x="168" y="112"/>
                  </a:lnTo>
                  <a:lnTo>
                    <a:pt x="173" y="113"/>
                  </a:lnTo>
                  <a:lnTo>
                    <a:pt x="176" y="115"/>
                  </a:lnTo>
                  <a:lnTo>
                    <a:pt x="180" y="115"/>
                  </a:lnTo>
                  <a:lnTo>
                    <a:pt x="183" y="117"/>
                  </a:lnTo>
                  <a:lnTo>
                    <a:pt x="187" y="121"/>
                  </a:lnTo>
                  <a:lnTo>
                    <a:pt x="189" y="122"/>
                  </a:lnTo>
                  <a:lnTo>
                    <a:pt x="190" y="122"/>
                  </a:lnTo>
                  <a:lnTo>
                    <a:pt x="192" y="122"/>
                  </a:lnTo>
                  <a:lnTo>
                    <a:pt x="193" y="122"/>
                  </a:lnTo>
                  <a:lnTo>
                    <a:pt x="194" y="122"/>
                  </a:lnTo>
                  <a:lnTo>
                    <a:pt x="196" y="121"/>
                  </a:lnTo>
                  <a:lnTo>
                    <a:pt x="197" y="119"/>
                  </a:lnTo>
                  <a:lnTo>
                    <a:pt x="198" y="117"/>
                  </a:lnTo>
                  <a:lnTo>
                    <a:pt x="200" y="114"/>
                  </a:lnTo>
                  <a:lnTo>
                    <a:pt x="201" y="112"/>
                  </a:lnTo>
                  <a:lnTo>
                    <a:pt x="204" y="108"/>
                  </a:lnTo>
                  <a:lnTo>
                    <a:pt x="207" y="105"/>
                  </a:lnTo>
                  <a:lnTo>
                    <a:pt x="209" y="103"/>
                  </a:lnTo>
                  <a:lnTo>
                    <a:pt x="211" y="102"/>
                  </a:lnTo>
                  <a:lnTo>
                    <a:pt x="219" y="95"/>
                  </a:lnTo>
                  <a:lnTo>
                    <a:pt x="224" y="92"/>
                  </a:lnTo>
                  <a:lnTo>
                    <a:pt x="229" y="88"/>
                  </a:lnTo>
                  <a:lnTo>
                    <a:pt x="232" y="86"/>
                  </a:lnTo>
                  <a:lnTo>
                    <a:pt x="233" y="85"/>
                  </a:lnTo>
                  <a:lnTo>
                    <a:pt x="235" y="85"/>
                  </a:lnTo>
                  <a:lnTo>
                    <a:pt x="243" y="82"/>
                  </a:lnTo>
                  <a:lnTo>
                    <a:pt x="248" y="81"/>
                  </a:lnTo>
                  <a:lnTo>
                    <a:pt x="252" y="80"/>
                  </a:lnTo>
                  <a:lnTo>
                    <a:pt x="255" y="78"/>
                  </a:lnTo>
                  <a:lnTo>
                    <a:pt x="256" y="76"/>
                  </a:lnTo>
                  <a:lnTo>
                    <a:pt x="257" y="75"/>
                  </a:lnTo>
                  <a:lnTo>
                    <a:pt x="258" y="74"/>
                  </a:lnTo>
                  <a:lnTo>
                    <a:pt x="259" y="72"/>
                  </a:lnTo>
                  <a:lnTo>
                    <a:pt x="259" y="71"/>
                  </a:lnTo>
                  <a:lnTo>
                    <a:pt x="259" y="69"/>
                  </a:lnTo>
                  <a:lnTo>
                    <a:pt x="258" y="67"/>
                  </a:lnTo>
                  <a:lnTo>
                    <a:pt x="257" y="61"/>
                  </a:lnTo>
                  <a:lnTo>
                    <a:pt x="255" y="57"/>
                  </a:lnTo>
                  <a:lnTo>
                    <a:pt x="255" y="53"/>
                  </a:lnTo>
                  <a:lnTo>
                    <a:pt x="255" y="50"/>
                  </a:lnTo>
                  <a:lnTo>
                    <a:pt x="254" y="48"/>
                  </a:lnTo>
                  <a:lnTo>
                    <a:pt x="255" y="46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56" y="36"/>
                  </a:lnTo>
                  <a:lnTo>
                    <a:pt x="257" y="35"/>
                  </a:lnTo>
                  <a:lnTo>
                    <a:pt x="257" y="32"/>
                  </a:lnTo>
                  <a:lnTo>
                    <a:pt x="257" y="29"/>
                  </a:lnTo>
                  <a:lnTo>
                    <a:pt x="257" y="27"/>
                  </a:lnTo>
                  <a:lnTo>
                    <a:pt x="258" y="25"/>
                  </a:lnTo>
                  <a:lnTo>
                    <a:pt x="258" y="24"/>
                  </a:lnTo>
                  <a:lnTo>
                    <a:pt x="259" y="23"/>
                  </a:lnTo>
                  <a:lnTo>
                    <a:pt x="261" y="21"/>
                  </a:lnTo>
                  <a:lnTo>
                    <a:pt x="262" y="21"/>
                  </a:lnTo>
                  <a:lnTo>
                    <a:pt x="265" y="18"/>
                  </a:lnTo>
                  <a:lnTo>
                    <a:pt x="266" y="17"/>
                  </a:lnTo>
                  <a:lnTo>
                    <a:pt x="266" y="15"/>
                  </a:lnTo>
                  <a:lnTo>
                    <a:pt x="269" y="13"/>
                  </a:lnTo>
                  <a:lnTo>
                    <a:pt x="271" y="10"/>
                  </a:lnTo>
                  <a:lnTo>
                    <a:pt x="274" y="8"/>
                  </a:lnTo>
                  <a:lnTo>
                    <a:pt x="277" y="5"/>
                  </a:lnTo>
                  <a:lnTo>
                    <a:pt x="280" y="3"/>
                  </a:lnTo>
                  <a:lnTo>
                    <a:pt x="284" y="1"/>
                  </a:lnTo>
                  <a:lnTo>
                    <a:pt x="287" y="1"/>
                  </a:lnTo>
                  <a:lnTo>
                    <a:pt x="288" y="0"/>
                  </a:lnTo>
                  <a:lnTo>
                    <a:pt x="28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8" name="Freeform 25">
              <a:extLst>
                <a:ext uri="{FF2B5EF4-FFF2-40B4-BE49-F238E27FC236}">
                  <a16:creationId xmlns:a16="http://schemas.microsoft.com/office/drawing/2014/main" id="{BA1C051F-46A1-4B82-B360-827268147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" y="2627"/>
              <a:ext cx="475" cy="425"/>
            </a:xfrm>
            <a:custGeom>
              <a:avLst/>
              <a:gdLst>
                <a:gd name="T0" fmla="*/ 149 w 475"/>
                <a:gd name="T1" fmla="*/ 23 h 425"/>
                <a:gd name="T2" fmla="*/ 174 w 475"/>
                <a:gd name="T3" fmla="*/ 24 h 425"/>
                <a:gd name="T4" fmla="*/ 207 w 475"/>
                <a:gd name="T5" fmla="*/ 20 h 425"/>
                <a:gd name="T6" fmla="*/ 226 w 475"/>
                <a:gd name="T7" fmla="*/ 24 h 425"/>
                <a:gd name="T8" fmla="*/ 244 w 475"/>
                <a:gd name="T9" fmla="*/ 31 h 425"/>
                <a:gd name="T10" fmla="*/ 253 w 475"/>
                <a:gd name="T11" fmla="*/ 17 h 425"/>
                <a:gd name="T12" fmla="*/ 264 w 475"/>
                <a:gd name="T13" fmla="*/ 3 h 425"/>
                <a:gd name="T14" fmla="*/ 288 w 475"/>
                <a:gd name="T15" fmla="*/ 1 h 425"/>
                <a:gd name="T16" fmla="*/ 326 w 475"/>
                <a:gd name="T17" fmla="*/ 2 h 425"/>
                <a:gd name="T18" fmla="*/ 343 w 475"/>
                <a:gd name="T19" fmla="*/ 13 h 425"/>
                <a:gd name="T20" fmla="*/ 344 w 475"/>
                <a:gd name="T21" fmla="*/ 27 h 425"/>
                <a:gd name="T22" fmla="*/ 345 w 475"/>
                <a:gd name="T23" fmla="*/ 47 h 425"/>
                <a:gd name="T24" fmla="*/ 364 w 475"/>
                <a:gd name="T25" fmla="*/ 32 h 425"/>
                <a:gd name="T26" fmla="*/ 386 w 475"/>
                <a:gd name="T27" fmla="*/ 23 h 425"/>
                <a:gd name="T28" fmla="*/ 412 w 475"/>
                <a:gd name="T29" fmla="*/ 24 h 425"/>
                <a:gd name="T30" fmla="*/ 437 w 475"/>
                <a:gd name="T31" fmla="*/ 47 h 425"/>
                <a:gd name="T32" fmla="*/ 455 w 475"/>
                <a:gd name="T33" fmla="*/ 78 h 425"/>
                <a:gd name="T34" fmla="*/ 458 w 475"/>
                <a:gd name="T35" fmla="*/ 91 h 425"/>
                <a:gd name="T36" fmla="*/ 448 w 475"/>
                <a:gd name="T37" fmla="*/ 103 h 425"/>
                <a:gd name="T38" fmla="*/ 438 w 475"/>
                <a:gd name="T39" fmla="*/ 114 h 425"/>
                <a:gd name="T40" fmla="*/ 440 w 475"/>
                <a:gd name="T41" fmla="*/ 132 h 425"/>
                <a:gd name="T42" fmla="*/ 474 w 475"/>
                <a:gd name="T43" fmla="*/ 160 h 425"/>
                <a:gd name="T44" fmla="*/ 455 w 475"/>
                <a:gd name="T45" fmla="*/ 197 h 425"/>
                <a:gd name="T46" fmla="*/ 448 w 475"/>
                <a:gd name="T47" fmla="*/ 217 h 425"/>
                <a:gd name="T48" fmla="*/ 427 w 475"/>
                <a:gd name="T49" fmla="*/ 240 h 425"/>
                <a:gd name="T50" fmla="*/ 410 w 475"/>
                <a:gd name="T51" fmla="*/ 258 h 425"/>
                <a:gd name="T52" fmla="*/ 416 w 475"/>
                <a:gd name="T53" fmla="*/ 270 h 425"/>
                <a:gd name="T54" fmla="*/ 430 w 475"/>
                <a:gd name="T55" fmla="*/ 292 h 425"/>
                <a:gd name="T56" fmla="*/ 426 w 475"/>
                <a:gd name="T57" fmla="*/ 308 h 425"/>
                <a:gd name="T58" fmla="*/ 434 w 475"/>
                <a:gd name="T59" fmla="*/ 321 h 425"/>
                <a:gd name="T60" fmla="*/ 444 w 475"/>
                <a:gd name="T61" fmla="*/ 342 h 425"/>
                <a:gd name="T62" fmla="*/ 443 w 475"/>
                <a:gd name="T63" fmla="*/ 381 h 425"/>
                <a:gd name="T64" fmla="*/ 433 w 475"/>
                <a:gd name="T65" fmla="*/ 389 h 425"/>
                <a:gd name="T66" fmla="*/ 405 w 475"/>
                <a:gd name="T67" fmla="*/ 394 h 425"/>
                <a:gd name="T68" fmla="*/ 378 w 475"/>
                <a:gd name="T69" fmla="*/ 391 h 425"/>
                <a:gd name="T70" fmla="*/ 363 w 475"/>
                <a:gd name="T71" fmla="*/ 391 h 425"/>
                <a:gd name="T72" fmla="*/ 355 w 475"/>
                <a:gd name="T73" fmla="*/ 403 h 425"/>
                <a:gd name="T74" fmla="*/ 349 w 475"/>
                <a:gd name="T75" fmla="*/ 423 h 425"/>
                <a:gd name="T76" fmla="*/ 342 w 475"/>
                <a:gd name="T77" fmla="*/ 407 h 425"/>
                <a:gd name="T78" fmla="*/ 293 w 475"/>
                <a:gd name="T79" fmla="*/ 360 h 425"/>
                <a:gd name="T80" fmla="*/ 252 w 475"/>
                <a:gd name="T81" fmla="*/ 349 h 425"/>
                <a:gd name="T82" fmla="*/ 238 w 475"/>
                <a:gd name="T83" fmla="*/ 357 h 425"/>
                <a:gd name="T84" fmla="*/ 225 w 475"/>
                <a:gd name="T85" fmla="*/ 361 h 425"/>
                <a:gd name="T86" fmla="*/ 185 w 475"/>
                <a:gd name="T87" fmla="*/ 353 h 425"/>
                <a:gd name="T88" fmla="*/ 164 w 475"/>
                <a:gd name="T89" fmla="*/ 344 h 425"/>
                <a:gd name="T90" fmla="*/ 146 w 475"/>
                <a:gd name="T91" fmla="*/ 312 h 425"/>
                <a:gd name="T92" fmla="*/ 130 w 475"/>
                <a:gd name="T93" fmla="*/ 280 h 425"/>
                <a:gd name="T94" fmla="*/ 85 w 475"/>
                <a:gd name="T95" fmla="*/ 249 h 425"/>
                <a:gd name="T96" fmla="*/ 69 w 475"/>
                <a:gd name="T97" fmla="*/ 233 h 425"/>
                <a:gd name="T98" fmla="*/ 55 w 475"/>
                <a:gd name="T99" fmla="*/ 191 h 425"/>
                <a:gd name="T100" fmla="*/ 58 w 475"/>
                <a:gd name="T101" fmla="*/ 152 h 425"/>
                <a:gd name="T102" fmla="*/ 50 w 475"/>
                <a:gd name="T103" fmla="*/ 131 h 425"/>
                <a:gd name="T104" fmla="*/ 24 w 475"/>
                <a:gd name="T105" fmla="*/ 115 h 425"/>
                <a:gd name="T106" fmla="*/ 8 w 475"/>
                <a:gd name="T107" fmla="*/ 81 h 425"/>
                <a:gd name="T108" fmla="*/ 2 w 475"/>
                <a:gd name="T109" fmla="*/ 33 h 425"/>
                <a:gd name="T110" fmla="*/ 41 w 475"/>
                <a:gd name="T111" fmla="*/ 47 h 425"/>
                <a:gd name="T112" fmla="*/ 60 w 475"/>
                <a:gd name="T113" fmla="*/ 55 h 425"/>
                <a:gd name="T114" fmla="*/ 76 w 475"/>
                <a:gd name="T115" fmla="*/ 55 h 425"/>
                <a:gd name="T116" fmla="*/ 103 w 475"/>
                <a:gd name="T117" fmla="*/ 37 h 425"/>
                <a:gd name="T118" fmla="*/ 129 w 475"/>
                <a:gd name="T119" fmla="*/ 29 h 425"/>
                <a:gd name="T120" fmla="*/ 140 w 475"/>
                <a:gd name="T121" fmla="*/ 13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5" h="425">
                  <a:moveTo>
                    <a:pt x="142" y="12"/>
                  </a:moveTo>
                  <a:lnTo>
                    <a:pt x="142" y="13"/>
                  </a:lnTo>
                  <a:lnTo>
                    <a:pt x="142" y="13"/>
                  </a:lnTo>
                  <a:lnTo>
                    <a:pt x="143" y="15"/>
                  </a:lnTo>
                  <a:lnTo>
                    <a:pt x="144" y="16"/>
                  </a:lnTo>
                  <a:lnTo>
                    <a:pt x="145" y="19"/>
                  </a:lnTo>
                  <a:lnTo>
                    <a:pt x="147" y="21"/>
                  </a:lnTo>
                  <a:lnTo>
                    <a:pt x="149" y="23"/>
                  </a:lnTo>
                  <a:lnTo>
                    <a:pt x="151" y="24"/>
                  </a:lnTo>
                  <a:lnTo>
                    <a:pt x="153" y="25"/>
                  </a:lnTo>
                  <a:lnTo>
                    <a:pt x="156" y="25"/>
                  </a:lnTo>
                  <a:lnTo>
                    <a:pt x="159" y="26"/>
                  </a:lnTo>
                  <a:lnTo>
                    <a:pt x="162" y="26"/>
                  </a:lnTo>
                  <a:lnTo>
                    <a:pt x="165" y="25"/>
                  </a:lnTo>
                  <a:lnTo>
                    <a:pt x="172" y="24"/>
                  </a:lnTo>
                  <a:lnTo>
                    <a:pt x="174" y="24"/>
                  </a:lnTo>
                  <a:lnTo>
                    <a:pt x="177" y="24"/>
                  </a:lnTo>
                  <a:lnTo>
                    <a:pt x="184" y="24"/>
                  </a:lnTo>
                  <a:lnTo>
                    <a:pt x="186" y="24"/>
                  </a:lnTo>
                  <a:lnTo>
                    <a:pt x="188" y="24"/>
                  </a:lnTo>
                  <a:lnTo>
                    <a:pt x="191" y="24"/>
                  </a:lnTo>
                  <a:lnTo>
                    <a:pt x="193" y="24"/>
                  </a:lnTo>
                  <a:lnTo>
                    <a:pt x="200" y="22"/>
                  </a:lnTo>
                  <a:lnTo>
                    <a:pt x="207" y="20"/>
                  </a:lnTo>
                  <a:lnTo>
                    <a:pt x="208" y="20"/>
                  </a:lnTo>
                  <a:lnTo>
                    <a:pt x="210" y="20"/>
                  </a:lnTo>
                  <a:lnTo>
                    <a:pt x="212" y="20"/>
                  </a:lnTo>
                  <a:lnTo>
                    <a:pt x="214" y="20"/>
                  </a:lnTo>
                  <a:lnTo>
                    <a:pt x="218" y="22"/>
                  </a:lnTo>
                  <a:lnTo>
                    <a:pt x="222" y="23"/>
                  </a:lnTo>
                  <a:lnTo>
                    <a:pt x="224" y="24"/>
                  </a:lnTo>
                  <a:lnTo>
                    <a:pt x="226" y="24"/>
                  </a:lnTo>
                  <a:lnTo>
                    <a:pt x="233" y="24"/>
                  </a:lnTo>
                  <a:lnTo>
                    <a:pt x="234" y="24"/>
                  </a:lnTo>
                  <a:lnTo>
                    <a:pt x="235" y="24"/>
                  </a:lnTo>
                  <a:lnTo>
                    <a:pt x="237" y="25"/>
                  </a:lnTo>
                  <a:lnTo>
                    <a:pt x="238" y="25"/>
                  </a:lnTo>
                  <a:lnTo>
                    <a:pt x="241" y="28"/>
                  </a:lnTo>
                  <a:lnTo>
                    <a:pt x="242" y="30"/>
                  </a:lnTo>
                  <a:lnTo>
                    <a:pt x="244" y="31"/>
                  </a:lnTo>
                  <a:lnTo>
                    <a:pt x="245" y="31"/>
                  </a:lnTo>
                  <a:lnTo>
                    <a:pt x="246" y="31"/>
                  </a:lnTo>
                  <a:lnTo>
                    <a:pt x="247" y="30"/>
                  </a:lnTo>
                  <a:lnTo>
                    <a:pt x="248" y="30"/>
                  </a:lnTo>
                  <a:lnTo>
                    <a:pt x="249" y="28"/>
                  </a:lnTo>
                  <a:lnTo>
                    <a:pt x="250" y="26"/>
                  </a:lnTo>
                  <a:lnTo>
                    <a:pt x="252" y="20"/>
                  </a:lnTo>
                  <a:lnTo>
                    <a:pt x="253" y="17"/>
                  </a:lnTo>
                  <a:lnTo>
                    <a:pt x="254" y="14"/>
                  </a:lnTo>
                  <a:lnTo>
                    <a:pt x="255" y="13"/>
                  </a:lnTo>
                  <a:lnTo>
                    <a:pt x="258" y="9"/>
                  </a:lnTo>
                  <a:lnTo>
                    <a:pt x="260" y="7"/>
                  </a:lnTo>
                  <a:lnTo>
                    <a:pt x="261" y="5"/>
                  </a:lnTo>
                  <a:lnTo>
                    <a:pt x="262" y="4"/>
                  </a:lnTo>
                  <a:lnTo>
                    <a:pt x="263" y="4"/>
                  </a:lnTo>
                  <a:lnTo>
                    <a:pt x="264" y="3"/>
                  </a:lnTo>
                  <a:lnTo>
                    <a:pt x="265" y="2"/>
                  </a:lnTo>
                  <a:lnTo>
                    <a:pt x="267" y="2"/>
                  </a:lnTo>
                  <a:lnTo>
                    <a:pt x="272" y="1"/>
                  </a:lnTo>
                  <a:lnTo>
                    <a:pt x="274" y="1"/>
                  </a:lnTo>
                  <a:lnTo>
                    <a:pt x="276" y="1"/>
                  </a:lnTo>
                  <a:lnTo>
                    <a:pt x="279" y="0"/>
                  </a:lnTo>
                  <a:lnTo>
                    <a:pt x="282" y="0"/>
                  </a:lnTo>
                  <a:lnTo>
                    <a:pt x="288" y="1"/>
                  </a:lnTo>
                  <a:lnTo>
                    <a:pt x="298" y="2"/>
                  </a:lnTo>
                  <a:lnTo>
                    <a:pt x="302" y="2"/>
                  </a:lnTo>
                  <a:lnTo>
                    <a:pt x="307" y="2"/>
                  </a:lnTo>
                  <a:lnTo>
                    <a:pt x="313" y="1"/>
                  </a:lnTo>
                  <a:lnTo>
                    <a:pt x="316" y="1"/>
                  </a:lnTo>
                  <a:lnTo>
                    <a:pt x="320" y="1"/>
                  </a:lnTo>
                  <a:lnTo>
                    <a:pt x="322" y="1"/>
                  </a:lnTo>
                  <a:lnTo>
                    <a:pt x="326" y="2"/>
                  </a:lnTo>
                  <a:lnTo>
                    <a:pt x="330" y="2"/>
                  </a:lnTo>
                  <a:lnTo>
                    <a:pt x="333" y="4"/>
                  </a:lnTo>
                  <a:lnTo>
                    <a:pt x="336" y="6"/>
                  </a:lnTo>
                  <a:lnTo>
                    <a:pt x="339" y="8"/>
                  </a:lnTo>
                  <a:lnTo>
                    <a:pt x="341" y="10"/>
                  </a:lnTo>
                  <a:lnTo>
                    <a:pt x="342" y="11"/>
                  </a:lnTo>
                  <a:lnTo>
                    <a:pt x="343" y="12"/>
                  </a:lnTo>
                  <a:lnTo>
                    <a:pt x="343" y="13"/>
                  </a:lnTo>
                  <a:lnTo>
                    <a:pt x="343" y="13"/>
                  </a:lnTo>
                  <a:lnTo>
                    <a:pt x="343" y="13"/>
                  </a:lnTo>
                  <a:lnTo>
                    <a:pt x="343" y="13"/>
                  </a:lnTo>
                  <a:lnTo>
                    <a:pt x="342" y="14"/>
                  </a:lnTo>
                  <a:lnTo>
                    <a:pt x="342" y="15"/>
                  </a:lnTo>
                  <a:lnTo>
                    <a:pt x="342" y="16"/>
                  </a:lnTo>
                  <a:lnTo>
                    <a:pt x="342" y="19"/>
                  </a:lnTo>
                  <a:lnTo>
                    <a:pt x="344" y="27"/>
                  </a:lnTo>
                  <a:lnTo>
                    <a:pt x="344" y="31"/>
                  </a:lnTo>
                  <a:lnTo>
                    <a:pt x="344" y="35"/>
                  </a:lnTo>
                  <a:lnTo>
                    <a:pt x="344" y="41"/>
                  </a:lnTo>
                  <a:lnTo>
                    <a:pt x="344" y="43"/>
                  </a:lnTo>
                  <a:lnTo>
                    <a:pt x="344" y="44"/>
                  </a:lnTo>
                  <a:lnTo>
                    <a:pt x="344" y="45"/>
                  </a:lnTo>
                  <a:lnTo>
                    <a:pt x="344" y="46"/>
                  </a:lnTo>
                  <a:lnTo>
                    <a:pt x="345" y="47"/>
                  </a:lnTo>
                  <a:lnTo>
                    <a:pt x="346" y="47"/>
                  </a:lnTo>
                  <a:lnTo>
                    <a:pt x="347" y="47"/>
                  </a:lnTo>
                  <a:lnTo>
                    <a:pt x="349" y="46"/>
                  </a:lnTo>
                  <a:lnTo>
                    <a:pt x="350" y="46"/>
                  </a:lnTo>
                  <a:lnTo>
                    <a:pt x="352" y="43"/>
                  </a:lnTo>
                  <a:lnTo>
                    <a:pt x="358" y="36"/>
                  </a:lnTo>
                  <a:lnTo>
                    <a:pt x="362" y="34"/>
                  </a:lnTo>
                  <a:lnTo>
                    <a:pt x="364" y="32"/>
                  </a:lnTo>
                  <a:lnTo>
                    <a:pt x="367" y="30"/>
                  </a:lnTo>
                  <a:lnTo>
                    <a:pt x="369" y="28"/>
                  </a:lnTo>
                  <a:lnTo>
                    <a:pt x="371" y="27"/>
                  </a:lnTo>
                  <a:lnTo>
                    <a:pt x="374" y="26"/>
                  </a:lnTo>
                  <a:lnTo>
                    <a:pt x="377" y="25"/>
                  </a:lnTo>
                  <a:lnTo>
                    <a:pt x="380" y="24"/>
                  </a:lnTo>
                  <a:lnTo>
                    <a:pt x="383" y="24"/>
                  </a:lnTo>
                  <a:lnTo>
                    <a:pt x="386" y="23"/>
                  </a:lnTo>
                  <a:lnTo>
                    <a:pt x="389" y="23"/>
                  </a:lnTo>
                  <a:lnTo>
                    <a:pt x="392" y="22"/>
                  </a:lnTo>
                  <a:lnTo>
                    <a:pt x="395" y="22"/>
                  </a:lnTo>
                  <a:lnTo>
                    <a:pt x="401" y="22"/>
                  </a:lnTo>
                  <a:lnTo>
                    <a:pt x="405" y="23"/>
                  </a:lnTo>
                  <a:lnTo>
                    <a:pt x="409" y="24"/>
                  </a:lnTo>
                  <a:lnTo>
                    <a:pt x="410" y="24"/>
                  </a:lnTo>
                  <a:lnTo>
                    <a:pt x="412" y="24"/>
                  </a:lnTo>
                  <a:lnTo>
                    <a:pt x="417" y="29"/>
                  </a:lnTo>
                  <a:lnTo>
                    <a:pt x="419" y="30"/>
                  </a:lnTo>
                  <a:lnTo>
                    <a:pt x="422" y="34"/>
                  </a:lnTo>
                  <a:lnTo>
                    <a:pt x="424" y="36"/>
                  </a:lnTo>
                  <a:lnTo>
                    <a:pt x="427" y="38"/>
                  </a:lnTo>
                  <a:lnTo>
                    <a:pt x="434" y="43"/>
                  </a:lnTo>
                  <a:lnTo>
                    <a:pt x="435" y="45"/>
                  </a:lnTo>
                  <a:lnTo>
                    <a:pt x="437" y="47"/>
                  </a:lnTo>
                  <a:lnTo>
                    <a:pt x="439" y="49"/>
                  </a:lnTo>
                  <a:lnTo>
                    <a:pt x="441" y="51"/>
                  </a:lnTo>
                  <a:lnTo>
                    <a:pt x="446" y="66"/>
                  </a:lnTo>
                  <a:lnTo>
                    <a:pt x="448" y="69"/>
                  </a:lnTo>
                  <a:lnTo>
                    <a:pt x="449" y="70"/>
                  </a:lnTo>
                  <a:lnTo>
                    <a:pt x="450" y="72"/>
                  </a:lnTo>
                  <a:lnTo>
                    <a:pt x="454" y="77"/>
                  </a:lnTo>
                  <a:lnTo>
                    <a:pt x="455" y="78"/>
                  </a:lnTo>
                  <a:lnTo>
                    <a:pt x="456" y="80"/>
                  </a:lnTo>
                  <a:lnTo>
                    <a:pt x="457" y="81"/>
                  </a:lnTo>
                  <a:lnTo>
                    <a:pt x="458" y="83"/>
                  </a:lnTo>
                  <a:lnTo>
                    <a:pt x="458" y="85"/>
                  </a:lnTo>
                  <a:lnTo>
                    <a:pt x="458" y="87"/>
                  </a:lnTo>
                  <a:lnTo>
                    <a:pt x="458" y="88"/>
                  </a:lnTo>
                  <a:lnTo>
                    <a:pt x="458" y="90"/>
                  </a:lnTo>
                  <a:lnTo>
                    <a:pt x="458" y="91"/>
                  </a:lnTo>
                  <a:lnTo>
                    <a:pt x="458" y="92"/>
                  </a:lnTo>
                  <a:lnTo>
                    <a:pt x="457" y="93"/>
                  </a:lnTo>
                  <a:lnTo>
                    <a:pt x="456" y="95"/>
                  </a:lnTo>
                  <a:lnTo>
                    <a:pt x="455" y="97"/>
                  </a:lnTo>
                  <a:lnTo>
                    <a:pt x="454" y="98"/>
                  </a:lnTo>
                  <a:lnTo>
                    <a:pt x="452" y="100"/>
                  </a:lnTo>
                  <a:lnTo>
                    <a:pt x="450" y="102"/>
                  </a:lnTo>
                  <a:lnTo>
                    <a:pt x="448" y="103"/>
                  </a:lnTo>
                  <a:lnTo>
                    <a:pt x="444" y="105"/>
                  </a:lnTo>
                  <a:lnTo>
                    <a:pt x="442" y="107"/>
                  </a:lnTo>
                  <a:lnTo>
                    <a:pt x="440" y="108"/>
                  </a:lnTo>
                  <a:lnTo>
                    <a:pt x="440" y="109"/>
                  </a:lnTo>
                  <a:lnTo>
                    <a:pt x="439" y="110"/>
                  </a:lnTo>
                  <a:lnTo>
                    <a:pt x="438" y="111"/>
                  </a:lnTo>
                  <a:lnTo>
                    <a:pt x="438" y="113"/>
                  </a:lnTo>
                  <a:lnTo>
                    <a:pt x="438" y="114"/>
                  </a:lnTo>
                  <a:lnTo>
                    <a:pt x="438" y="115"/>
                  </a:lnTo>
                  <a:lnTo>
                    <a:pt x="439" y="118"/>
                  </a:lnTo>
                  <a:lnTo>
                    <a:pt x="439" y="119"/>
                  </a:lnTo>
                  <a:lnTo>
                    <a:pt x="439" y="121"/>
                  </a:lnTo>
                  <a:lnTo>
                    <a:pt x="439" y="124"/>
                  </a:lnTo>
                  <a:lnTo>
                    <a:pt x="439" y="126"/>
                  </a:lnTo>
                  <a:lnTo>
                    <a:pt x="439" y="128"/>
                  </a:lnTo>
                  <a:lnTo>
                    <a:pt x="440" y="132"/>
                  </a:lnTo>
                  <a:lnTo>
                    <a:pt x="441" y="135"/>
                  </a:lnTo>
                  <a:lnTo>
                    <a:pt x="443" y="137"/>
                  </a:lnTo>
                  <a:lnTo>
                    <a:pt x="445" y="138"/>
                  </a:lnTo>
                  <a:lnTo>
                    <a:pt x="447" y="141"/>
                  </a:lnTo>
                  <a:lnTo>
                    <a:pt x="449" y="143"/>
                  </a:lnTo>
                  <a:lnTo>
                    <a:pt x="453" y="146"/>
                  </a:lnTo>
                  <a:lnTo>
                    <a:pt x="463" y="152"/>
                  </a:lnTo>
                  <a:lnTo>
                    <a:pt x="474" y="160"/>
                  </a:lnTo>
                  <a:lnTo>
                    <a:pt x="475" y="161"/>
                  </a:lnTo>
                  <a:lnTo>
                    <a:pt x="475" y="161"/>
                  </a:lnTo>
                  <a:lnTo>
                    <a:pt x="471" y="167"/>
                  </a:lnTo>
                  <a:lnTo>
                    <a:pt x="463" y="182"/>
                  </a:lnTo>
                  <a:lnTo>
                    <a:pt x="460" y="186"/>
                  </a:lnTo>
                  <a:lnTo>
                    <a:pt x="458" y="192"/>
                  </a:lnTo>
                  <a:lnTo>
                    <a:pt x="456" y="194"/>
                  </a:lnTo>
                  <a:lnTo>
                    <a:pt x="455" y="197"/>
                  </a:lnTo>
                  <a:lnTo>
                    <a:pt x="455" y="200"/>
                  </a:lnTo>
                  <a:lnTo>
                    <a:pt x="454" y="205"/>
                  </a:lnTo>
                  <a:lnTo>
                    <a:pt x="454" y="206"/>
                  </a:lnTo>
                  <a:lnTo>
                    <a:pt x="453" y="208"/>
                  </a:lnTo>
                  <a:lnTo>
                    <a:pt x="452" y="210"/>
                  </a:lnTo>
                  <a:lnTo>
                    <a:pt x="451" y="213"/>
                  </a:lnTo>
                  <a:lnTo>
                    <a:pt x="449" y="216"/>
                  </a:lnTo>
                  <a:lnTo>
                    <a:pt x="448" y="217"/>
                  </a:lnTo>
                  <a:lnTo>
                    <a:pt x="447" y="219"/>
                  </a:lnTo>
                  <a:lnTo>
                    <a:pt x="446" y="221"/>
                  </a:lnTo>
                  <a:lnTo>
                    <a:pt x="444" y="222"/>
                  </a:lnTo>
                  <a:lnTo>
                    <a:pt x="438" y="226"/>
                  </a:lnTo>
                  <a:lnTo>
                    <a:pt x="433" y="230"/>
                  </a:lnTo>
                  <a:lnTo>
                    <a:pt x="432" y="232"/>
                  </a:lnTo>
                  <a:lnTo>
                    <a:pt x="429" y="238"/>
                  </a:lnTo>
                  <a:lnTo>
                    <a:pt x="427" y="240"/>
                  </a:lnTo>
                  <a:lnTo>
                    <a:pt x="426" y="240"/>
                  </a:lnTo>
                  <a:lnTo>
                    <a:pt x="425" y="241"/>
                  </a:lnTo>
                  <a:lnTo>
                    <a:pt x="421" y="245"/>
                  </a:lnTo>
                  <a:lnTo>
                    <a:pt x="418" y="248"/>
                  </a:lnTo>
                  <a:lnTo>
                    <a:pt x="413" y="252"/>
                  </a:lnTo>
                  <a:lnTo>
                    <a:pt x="412" y="254"/>
                  </a:lnTo>
                  <a:lnTo>
                    <a:pt x="411" y="256"/>
                  </a:lnTo>
                  <a:lnTo>
                    <a:pt x="410" y="258"/>
                  </a:lnTo>
                  <a:lnTo>
                    <a:pt x="410" y="259"/>
                  </a:lnTo>
                  <a:lnTo>
                    <a:pt x="410" y="261"/>
                  </a:lnTo>
                  <a:lnTo>
                    <a:pt x="410" y="262"/>
                  </a:lnTo>
                  <a:lnTo>
                    <a:pt x="411" y="263"/>
                  </a:lnTo>
                  <a:lnTo>
                    <a:pt x="412" y="265"/>
                  </a:lnTo>
                  <a:lnTo>
                    <a:pt x="412" y="265"/>
                  </a:lnTo>
                  <a:lnTo>
                    <a:pt x="412" y="267"/>
                  </a:lnTo>
                  <a:lnTo>
                    <a:pt x="416" y="270"/>
                  </a:lnTo>
                  <a:lnTo>
                    <a:pt x="418" y="271"/>
                  </a:lnTo>
                  <a:lnTo>
                    <a:pt x="419" y="273"/>
                  </a:lnTo>
                  <a:lnTo>
                    <a:pt x="421" y="274"/>
                  </a:lnTo>
                  <a:lnTo>
                    <a:pt x="423" y="277"/>
                  </a:lnTo>
                  <a:lnTo>
                    <a:pt x="424" y="281"/>
                  </a:lnTo>
                  <a:lnTo>
                    <a:pt x="427" y="286"/>
                  </a:lnTo>
                  <a:lnTo>
                    <a:pt x="429" y="289"/>
                  </a:lnTo>
                  <a:lnTo>
                    <a:pt x="430" y="292"/>
                  </a:lnTo>
                  <a:lnTo>
                    <a:pt x="431" y="295"/>
                  </a:lnTo>
                  <a:lnTo>
                    <a:pt x="431" y="296"/>
                  </a:lnTo>
                  <a:lnTo>
                    <a:pt x="431" y="299"/>
                  </a:lnTo>
                  <a:lnTo>
                    <a:pt x="430" y="301"/>
                  </a:lnTo>
                  <a:lnTo>
                    <a:pt x="430" y="303"/>
                  </a:lnTo>
                  <a:lnTo>
                    <a:pt x="429" y="304"/>
                  </a:lnTo>
                  <a:lnTo>
                    <a:pt x="427" y="307"/>
                  </a:lnTo>
                  <a:lnTo>
                    <a:pt x="426" y="308"/>
                  </a:lnTo>
                  <a:lnTo>
                    <a:pt x="425" y="310"/>
                  </a:lnTo>
                  <a:lnTo>
                    <a:pt x="425" y="311"/>
                  </a:lnTo>
                  <a:lnTo>
                    <a:pt x="426" y="311"/>
                  </a:lnTo>
                  <a:lnTo>
                    <a:pt x="426" y="313"/>
                  </a:lnTo>
                  <a:lnTo>
                    <a:pt x="428" y="315"/>
                  </a:lnTo>
                  <a:lnTo>
                    <a:pt x="429" y="316"/>
                  </a:lnTo>
                  <a:lnTo>
                    <a:pt x="432" y="319"/>
                  </a:lnTo>
                  <a:lnTo>
                    <a:pt x="434" y="321"/>
                  </a:lnTo>
                  <a:lnTo>
                    <a:pt x="435" y="323"/>
                  </a:lnTo>
                  <a:lnTo>
                    <a:pt x="437" y="326"/>
                  </a:lnTo>
                  <a:lnTo>
                    <a:pt x="438" y="328"/>
                  </a:lnTo>
                  <a:lnTo>
                    <a:pt x="440" y="332"/>
                  </a:lnTo>
                  <a:lnTo>
                    <a:pt x="442" y="335"/>
                  </a:lnTo>
                  <a:lnTo>
                    <a:pt x="443" y="339"/>
                  </a:lnTo>
                  <a:lnTo>
                    <a:pt x="443" y="341"/>
                  </a:lnTo>
                  <a:lnTo>
                    <a:pt x="444" y="342"/>
                  </a:lnTo>
                  <a:lnTo>
                    <a:pt x="444" y="347"/>
                  </a:lnTo>
                  <a:lnTo>
                    <a:pt x="444" y="351"/>
                  </a:lnTo>
                  <a:lnTo>
                    <a:pt x="444" y="360"/>
                  </a:lnTo>
                  <a:lnTo>
                    <a:pt x="445" y="370"/>
                  </a:lnTo>
                  <a:lnTo>
                    <a:pt x="444" y="374"/>
                  </a:lnTo>
                  <a:lnTo>
                    <a:pt x="444" y="377"/>
                  </a:lnTo>
                  <a:lnTo>
                    <a:pt x="444" y="379"/>
                  </a:lnTo>
                  <a:lnTo>
                    <a:pt x="443" y="381"/>
                  </a:lnTo>
                  <a:lnTo>
                    <a:pt x="442" y="383"/>
                  </a:lnTo>
                  <a:lnTo>
                    <a:pt x="441" y="384"/>
                  </a:lnTo>
                  <a:lnTo>
                    <a:pt x="440" y="385"/>
                  </a:lnTo>
                  <a:lnTo>
                    <a:pt x="438" y="387"/>
                  </a:lnTo>
                  <a:lnTo>
                    <a:pt x="437" y="387"/>
                  </a:lnTo>
                  <a:lnTo>
                    <a:pt x="435" y="388"/>
                  </a:lnTo>
                  <a:lnTo>
                    <a:pt x="435" y="389"/>
                  </a:lnTo>
                  <a:lnTo>
                    <a:pt x="433" y="389"/>
                  </a:lnTo>
                  <a:lnTo>
                    <a:pt x="431" y="390"/>
                  </a:lnTo>
                  <a:lnTo>
                    <a:pt x="428" y="390"/>
                  </a:lnTo>
                  <a:lnTo>
                    <a:pt x="426" y="390"/>
                  </a:lnTo>
                  <a:lnTo>
                    <a:pt x="421" y="391"/>
                  </a:lnTo>
                  <a:lnTo>
                    <a:pt x="418" y="391"/>
                  </a:lnTo>
                  <a:lnTo>
                    <a:pt x="415" y="391"/>
                  </a:lnTo>
                  <a:lnTo>
                    <a:pt x="409" y="393"/>
                  </a:lnTo>
                  <a:lnTo>
                    <a:pt x="405" y="394"/>
                  </a:lnTo>
                  <a:lnTo>
                    <a:pt x="402" y="394"/>
                  </a:lnTo>
                  <a:lnTo>
                    <a:pt x="397" y="394"/>
                  </a:lnTo>
                  <a:lnTo>
                    <a:pt x="392" y="394"/>
                  </a:lnTo>
                  <a:lnTo>
                    <a:pt x="389" y="394"/>
                  </a:lnTo>
                  <a:lnTo>
                    <a:pt x="388" y="394"/>
                  </a:lnTo>
                  <a:lnTo>
                    <a:pt x="387" y="394"/>
                  </a:lnTo>
                  <a:lnTo>
                    <a:pt x="384" y="393"/>
                  </a:lnTo>
                  <a:lnTo>
                    <a:pt x="378" y="391"/>
                  </a:lnTo>
                  <a:lnTo>
                    <a:pt x="375" y="390"/>
                  </a:lnTo>
                  <a:lnTo>
                    <a:pt x="373" y="390"/>
                  </a:lnTo>
                  <a:lnTo>
                    <a:pt x="370" y="389"/>
                  </a:lnTo>
                  <a:lnTo>
                    <a:pt x="368" y="389"/>
                  </a:lnTo>
                  <a:lnTo>
                    <a:pt x="367" y="389"/>
                  </a:lnTo>
                  <a:lnTo>
                    <a:pt x="365" y="390"/>
                  </a:lnTo>
                  <a:lnTo>
                    <a:pt x="364" y="390"/>
                  </a:lnTo>
                  <a:lnTo>
                    <a:pt x="363" y="391"/>
                  </a:lnTo>
                  <a:lnTo>
                    <a:pt x="361" y="392"/>
                  </a:lnTo>
                  <a:lnTo>
                    <a:pt x="360" y="393"/>
                  </a:lnTo>
                  <a:lnTo>
                    <a:pt x="359" y="394"/>
                  </a:lnTo>
                  <a:lnTo>
                    <a:pt x="358" y="395"/>
                  </a:lnTo>
                  <a:lnTo>
                    <a:pt x="357" y="396"/>
                  </a:lnTo>
                  <a:lnTo>
                    <a:pt x="356" y="398"/>
                  </a:lnTo>
                  <a:lnTo>
                    <a:pt x="355" y="400"/>
                  </a:lnTo>
                  <a:lnTo>
                    <a:pt x="355" y="403"/>
                  </a:lnTo>
                  <a:lnTo>
                    <a:pt x="352" y="414"/>
                  </a:lnTo>
                  <a:lnTo>
                    <a:pt x="350" y="421"/>
                  </a:lnTo>
                  <a:lnTo>
                    <a:pt x="349" y="424"/>
                  </a:lnTo>
                  <a:lnTo>
                    <a:pt x="349" y="425"/>
                  </a:lnTo>
                  <a:lnTo>
                    <a:pt x="348" y="425"/>
                  </a:lnTo>
                  <a:lnTo>
                    <a:pt x="349" y="425"/>
                  </a:lnTo>
                  <a:lnTo>
                    <a:pt x="349" y="424"/>
                  </a:lnTo>
                  <a:lnTo>
                    <a:pt x="349" y="423"/>
                  </a:lnTo>
                  <a:lnTo>
                    <a:pt x="349" y="421"/>
                  </a:lnTo>
                  <a:lnTo>
                    <a:pt x="348" y="420"/>
                  </a:lnTo>
                  <a:lnTo>
                    <a:pt x="348" y="417"/>
                  </a:lnTo>
                  <a:lnTo>
                    <a:pt x="347" y="415"/>
                  </a:lnTo>
                  <a:lnTo>
                    <a:pt x="346" y="414"/>
                  </a:lnTo>
                  <a:lnTo>
                    <a:pt x="345" y="411"/>
                  </a:lnTo>
                  <a:lnTo>
                    <a:pt x="344" y="410"/>
                  </a:lnTo>
                  <a:lnTo>
                    <a:pt x="342" y="407"/>
                  </a:lnTo>
                  <a:lnTo>
                    <a:pt x="328" y="390"/>
                  </a:lnTo>
                  <a:lnTo>
                    <a:pt x="319" y="381"/>
                  </a:lnTo>
                  <a:lnTo>
                    <a:pt x="316" y="377"/>
                  </a:lnTo>
                  <a:lnTo>
                    <a:pt x="311" y="374"/>
                  </a:lnTo>
                  <a:lnTo>
                    <a:pt x="308" y="370"/>
                  </a:lnTo>
                  <a:lnTo>
                    <a:pt x="304" y="367"/>
                  </a:lnTo>
                  <a:lnTo>
                    <a:pt x="299" y="364"/>
                  </a:lnTo>
                  <a:lnTo>
                    <a:pt x="293" y="360"/>
                  </a:lnTo>
                  <a:lnTo>
                    <a:pt x="288" y="358"/>
                  </a:lnTo>
                  <a:lnTo>
                    <a:pt x="285" y="356"/>
                  </a:lnTo>
                  <a:lnTo>
                    <a:pt x="281" y="355"/>
                  </a:lnTo>
                  <a:lnTo>
                    <a:pt x="276" y="354"/>
                  </a:lnTo>
                  <a:lnTo>
                    <a:pt x="271" y="353"/>
                  </a:lnTo>
                  <a:lnTo>
                    <a:pt x="259" y="350"/>
                  </a:lnTo>
                  <a:lnTo>
                    <a:pt x="255" y="350"/>
                  </a:lnTo>
                  <a:lnTo>
                    <a:pt x="252" y="349"/>
                  </a:lnTo>
                  <a:lnTo>
                    <a:pt x="248" y="349"/>
                  </a:lnTo>
                  <a:lnTo>
                    <a:pt x="246" y="349"/>
                  </a:lnTo>
                  <a:lnTo>
                    <a:pt x="244" y="350"/>
                  </a:lnTo>
                  <a:lnTo>
                    <a:pt x="242" y="351"/>
                  </a:lnTo>
                  <a:lnTo>
                    <a:pt x="241" y="352"/>
                  </a:lnTo>
                  <a:lnTo>
                    <a:pt x="241" y="353"/>
                  </a:lnTo>
                  <a:lnTo>
                    <a:pt x="240" y="353"/>
                  </a:lnTo>
                  <a:lnTo>
                    <a:pt x="238" y="357"/>
                  </a:lnTo>
                  <a:lnTo>
                    <a:pt x="237" y="358"/>
                  </a:lnTo>
                  <a:lnTo>
                    <a:pt x="236" y="359"/>
                  </a:lnTo>
                  <a:lnTo>
                    <a:pt x="235" y="360"/>
                  </a:lnTo>
                  <a:lnTo>
                    <a:pt x="233" y="361"/>
                  </a:lnTo>
                  <a:lnTo>
                    <a:pt x="232" y="361"/>
                  </a:lnTo>
                  <a:lnTo>
                    <a:pt x="230" y="361"/>
                  </a:lnTo>
                  <a:lnTo>
                    <a:pt x="228" y="361"/>
                  </a:lnTo>
                  <a:lnTo>
                    <a:pt x="225" y="361"/>
                  </a:lnTo>
                  <a:lnTo>
                    <a:pt x="222" y="360"/>
                  </a:lnTo>
                  <a:lnTo>
                    <a:pt x="217" y="359"/>
                  </a:lnTo>
                  <a:lnTo>
                    <a:pt x="211" y="357"/>
                  </a:lnTo>
                  <a:lnTo>
                    <a:pt x="208" y="356"/>
                  </a:lnTo>
                  <a:lnTo>
                    <a:pt x="205" y="356"/>
                  </a:lnTo>
                  <a:lnTo>
                    <a:pt x="196" y="355"/>
                  </a:lnTo>
                  <a:lnTo>
                    <a:pt x="190" y="354"/>
                  </a:lnTo>
                  <a:lnTo>
                    <a:pt x="185" y="353"/>
                  </a:lnTo>
                  <a:lnTo>
                    <a:pt x="179" y="353"/>
                  </a:lnTo>
                  <a:lnTo>
                    <a:pt x="177" y="352"/>
                  </a:lnTo>
                  <a:lnTo>
                    <a:pt x="174" y="351"/>
                  </a:lnTo>
                  <a:lnTo>
                    <a:pt x="172" y="350"/>
                  </a:lnTo>
                  <a:lnTo>
                    <a:pt x="170" y="349"/>
                  </a:lnTo>
                  <a:lnTo>
                    <a:pt x="168" y="347"/>
                  </a:lnTo>
                  <a:lnTo>
                    <a:pt x="166" y="346"/>
                  </a:lnTo>
                  <a:lnTo>
                    <a:pt x="164" y="344"/>
                  </a:lnTo>
                  <a:lnTo>
                    <a:pt x="162" y="342"/>
                  </a:lnTo>
                  <a:lnTo>
                    <a:pt x="161" y="340"/>
                  </a:lnTo>
                  <a:lnTo>
                    <a:pt x="159" y="337"/>
                  </a:lnTo>
                  <a:lnTo>
                    <a:pt x="156" y="331"/>
                  </a:lnTo>
                  <a:lnTo>
                    <a:pt x="151" y="322"/>
                  </a:lnTo>
                  <a:lnTo>
                    <a:pt x="149" y="318"/>
                  </a:lnTo>
                  <a:lnTo>
                    <a:pt x="147" y="316"/>
                  </a:lnTo>
                  <a:lnTo>
                    <a:pt x="146" y="312"/>
                  </a:lnTo>
                  <a:lnTo>
                    <a:pt x="143" y="303"/>
                  </a:lnTo>
                  <a:lnTo>
                    <a:pt x="141" y="299"/>
                  </a:lnTo>
                  <a:lnTo>
                    <a:pt x="140" y="296"/>
                  </a:lnTo>
                  <a:lnTo>
                    <a:pt x="139" y="292"/>
                  </a:lnTo>
                  <a:lnTo>
                    <a:pt x="137" y="289"/>
                  </a:lnTo>
                  <a:lnTo>
                    <a:pt x="135" y="286"/>
                  </a:lnTo>
                  <a:lnTo>
                    <a:pt x="132" y="283"/>
                  </a:lnTo>
                  <a:lnTo>
                    <a:pt x="130" y="280"/>
                  </a:lnTo>
                  <a:lnTo>
                    <a:pt x="126" y="276"/>
                  </a:lnTo>
                  <a:lnTo>
                    <a:pt x="122" y="272"/>
                  </a:lnTo>
                  <a:lnTo>
                    <a:pt x="109" y="262"/>
                  </a:lnTo>
                  <a:lnTo>
                    <a:pt x="106" y="260"/>
                  </a:lnTo>
                  <a:lnTo>
                    <a:pt x="104" y="258"/>
                  </a:lnTo>
                  <a:lnTo>
                    <a:pt x="100" y="256"/>
                  </a:lnTo>
                  <a:lnTo>
                    <a:pt x="96" y="253"/>
                  </a:lnTo>
                  <a:lnTo>
                    <a:pt x="85" y="249"/>
                  </a:lnTo>
                  <a:lnTo>
                    <a:pt x="82" y="248"/>
                  </a:lnTo>
                  <a:lnTo>
                    <a:pt x="80" y="246"/>
                  </a:lnTo>
                  <a:lnTo>
                    <a:pt x="76" y="243"/>
                  </a:lnTo>
                  <a:lnTo>
                    <a:pt x="74" y="242"/>
                  </a:lnTo>
                  <a:lnTo>
                    <a:pt x="73" y="240"/>
                  </a:lnTo>
                  <a:lnTo>
                    <a:pt x="71" y="238"/>
                  </a:lnTo>
                  <a:lnTo>
                    <a:pt x="70" y="236"/>
                  </a:lnTo>
                  <a:lnTo>
                    <a:pt x="69" y="233"/>
                  </a:lnTo>
                  <a:lnTo>
                    <a:pt x="67" y="229"/>
                  </a:lnTo>
                  <a:lnTo>
                    <a:pt x="66" y="226"/>
                  </a:lnTo>
                  <a:lnTo>
                    <a:pt x="64" y="217"/>
                  </a:lnTo>
                  <a:lnTo>
                    <a:pt x="62" y="212"/>
                  </a:lnTo>
                  <a:lnTo>
                    <a:pt x="60" y="206"/>
                  </a:lnTo>
                  <a:lnTo>
                    <a:pt x="57" y="197"/>
                  </a:lnTo>
                  <a:lnTo>
                    <a:pt x="56" y="194"/>
                  </a:lnTo>
                  <a:lnTo>
                    <a:pt x="55" y="191"/>
                  </a:lnTo>
                  <a:lnTo>
                    <a:pt x="55" y="189"/>
                  </a:lnTo>
                  <a:lnTo>
                    <a:pt x="55" y="186"/>
                  </a:lnTo>
                  <a:lnTo>
                    <a:pt x="55" y="184"/>
                  </a:lnTo>
                  <a:lnTo>
                    <a:pt x="57" y="178"/>
                  </a:lnTo>
                  <a:lnTo>
                    <a:pt x="57" y="172"/>
                  </a:lnTo>
                  <a:lnTo>
                    <a:pt x="57" y="169"/>
                  </a:lnTo>
                  <a:lnTo>
                    <a:pt x="57" y="161"/>
                  </a:lnTo>
                  <a:lnTo>
                    <a:pt x="58" y="152"/>
                  </a:lnTo>
                  <a:lnTo>
                    <a:pt x="58" y="149"/>
                  </a:lnTo>
                  <a:lnTo>
                    <a:pt x="57" y="145"/>
                  </a:lnTo>
                  <a:lnTo>
                    <a:pt x="57" y="142"/>
                  </a:lnTo>
                  <a:lnTo>
                    <a:pt x="56" y="138"/>
                  </a:lnTo>
                  <a:lnTo>
                    <a:pt x="55" y="137"/>
                  </a:lnTo>
                  <a:lnTo>
                    <a:pt x="53" y="135"/>
                  </a:lnTo>
                  <a:lnTo>
                    <a:pt x="52" y="132"/>
                  </a:lnTo>
                  <a:lnTo>
                    <a:pt x="50" y="131"/>
                  </a:lnTo>
                  <a:lnTo>
                    <a:pt x="48" y="130"/>
                  </a:lnTo>
                  <a:lnTo>
                    <a:pt x="40" y="126"/>
                  </a:lnTo>
                  <a:lnTo>
                    <a:pt x="37" y="126"/>
                  </a:lnTo>
                  <a:lnTo>
                    <a:pt x="34" y="124"/>
                  </a:lnTo>
                  <a:lnTo>
                    <a:pt x="30" y="121"/>
                  </a:lnTo>
                  <a:lnTo>
                    <a:pt x="27" y="120"/>
                  </a:lnTo>
                  <a:lnTo>
                    <a:pt x="25" y="118"/>
                  </a:lnTo>
                  <a:lnTo>
                    <a:pt x="24" y="115"/>
                  </a:lnTo>
                  <a:lnTo>
                    <a:pt x="22" y="114"/>
                  </a:lnTo>
                  <a:lnTo>
                    <a:pt x="18" y="108"/>
                  </a:lnTo>
                  <a:lnTo>
                    <a:pt x="15" y="103"/>
                  </a:lnTo>
                  <a:lnTo>
                    <a:pt x="13" y="99"/>
                  </a:lnTo>
                  <a:lnTo>
                    <a:pt x="11" y="93"/>
                  </a:lnTo>
                  <a:lnTo>
                    <a:pt x="10" y="89"/>
                  </a:lnTo>
                  <a:lnTo>
                    <a:pt x="8" y="85"/>
                  </a:lnTo>
                  <a:lnTo>
                    <a:pt x="8" y="81"/>
                  </a:lnTo>
                  <a:lnTo>
                    <a:pt x="7" y="78"/>
                  </a:lnTo>
                  <a:lnTo>
                    <a:pt x="5" y="61"/>
                  </a:lnTo>
                  <a:lnTo>
                    <a:pt x="4" y="55"/>
                  </a:lnTo>
                  <a:lnTo>
                    <a:pt x="3" y="49"/>
                  </a:lnTo>
                  <a:lnTo>
                    <a:pt x="1" y="37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2" y="33"/>
                  </a:lnTo>
                  <a:lnTo>
                    <a:pt x="3" y="34"/>
                  </a:lnTo>
                  <a:lnTo>
                    <a:pt x="6" y="35"/>
                  </a:lnTo>
                  <a:lnTo>
                    <a:pt x="23" y="41"/>
                  </a:lnTo>
                  <a:lnTo>
                    <a:pt x="32" y="45"/>
                  </a:lnTo>
                  <a:lnTo>
                    <a:pt x="35" y="46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41" y="47"/>
                  </a:lnTo>
                  <a:lnTo>
                    <a:pt x="45" y="47"/>
                  </a:lnTo>
                  <a:lnTo>
                    <a:pt x="46" y="47"/>
                  </a:lnTo>
                  <a:lnTo>
                    <a:pt x="47" y="47"/>
                  </a:lnTo>
                  <a:lnTo>
                    <a:pt x="48" y="47"/>
                  </a:lnTo>
                  <a:lnTo>
                    <a:pt x="49" y="47"/>
                  </a:lnTo>
                  <a:lnTo>
                    <a:pt x="50" y="48"/>
                  </a:lnTo>
                  <a:lnTo>
                    <a:pt x="58" y="54"/>
                  </a:lnTo>
                  <a:lnTo>
                    <a:pt x="60" y="55"/>
                  </a:lnTo>
                  <a:lnTo>
                    <a:pt x="60" y="56"/>
                  </a:lnTo>
                  <a:lnTo>
                    <a:pt x="62" y="57"/>
                  </a:lnTo>
                  <a:lnTo>
                    <a:pt x="64" y="57"/>
                  </a:lnTo>
                  <a:lnTo>
                    <a:pt x="67" y="57"/>
                  </a:lnTo>
                  <a:lnTo>
                    <a:pt x="69" y="57"/>
                  </a:lnTo>
                  <a:lnTo>
                    <a:pt x="71" y="56"/>
                  </a:lnTo>
                  <a:lnTo>
                    <a:pt x="74" y="55"/>
                  </a:lnTo>
                  <a:lnTo>
                    <a:pt x="76" y="55"/>
                  </a:lnTo>
                  <a:lnTo>
                    <a:pt x="78" y="54"/>
                  </a:lnTo>
                  <a:lnTo>
                    <a:pt x="84" y="49"/>
                  </a:lnTo>
                  <a:lnTo>
                    <a:pt x="86" y="47"/>
                  </a:lnTo>
                  <a:lnTo>
                    <a:pt x="90" y="45"/>
                  </a:lnTo>
                  <a:lnTo>
                    <a:pt x="93" y="42"/>
                  </a:lnTo>
                  <a:lnTo>
                    <a:pt x="94" y="41"/>
                  </a:lnTo>
                  <a:lnTo>
                    <a:pt x="97" y="39"/>
                  </a:lnTo>
                  <a:lnTo>
                    <a:pt x="103" y="37"/>
                  </a:lnTo>
                  <a:lnTo>
                    <a:pt x="107" y="36"/>
                  </a:lnTo>
                  <a:lnTo>
                    <a:pt x="112" y="35"/>
                  </a:lnTo>
                  <a:lnTo>
                    <a:pt x="116" y="34"/>
                  </a:lnTo>
                  <a:lnTo>
                    <a:pt x="121" y="33"/>
                  </a:lnTo>
                  <a:lnTo>
                    <a:pt x="123" y="32"/>
                  </a:lnTo>
                  <a:lnTo>
                    <a:pt x="126" y="31"/>
                  </a:lnTo>
                  <a:lnTo>
                    <a:pt x="128" y="30"/>
                  </a:lnTo>
                  <a:lnTo>
                    <a:pt x="129" y="29"/>
                  </a:lnTo>
                  <a:lnTo>
                    <a:pt x="131" y="28"/>
                  </a:lnTo>
                  <a:lnTo>
                    <a:pt x="132" y="27"/>
                  </a:lnTo>
                  <a:lnTo>
                    <a:pt x="133" y="26"/>
                  </a:lnTo>
                  <a:lnTo>
                    <a:pt x="134" y="24"/>
                  </a:lnTo>
                  <a:lnTo>
                    <a:pt x="135" y="23"/>
                  </a:lnTo>
                  <a:lnTo>
                    <a:pt x="138" y="17"/>
                  </a:lnTo>
                  <a:lnTo>
                    <a:pt x="139" y="14"/>
                  </a:lnTo>
                  <a:lnTo>
                    <a:pt x="140" y="13"/>
                  </a:lnTo>
                  <a:lnTo>
                    <a:pt x="141" y="13"/>
                  </a:lnTo>
                  <a:lnTo>
                    <a:pt x="142" y="12"/>
                  </a:lnTo>
                  <a:lnTo>
                    <a:pt x="142" y="12"/>
                  </a:lnTo>
                  <a:lnTo>
                    <a:pt x="142" y="12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9" name="Freeform 26">
              <a:extLst>
                <a:ext uri="{FF2B5EF4-FFF2-40B4-BE49-F238E27FC236}">
                  <a16:creationId xmlns:a16="http://schemas.microsoft.com/office/drawing/2014/main" id="{805D0EAF-16A8-4D48-A42A-4898E9263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" y="2763"/>
              <a:ext cx="588" cy="698"/>
            </a:xfrm>
            <a:custGeom>
              <a:avLst/>
              <a:gdLst>
                <a:gd name="T0" fmla="*/ 211 w 588"/>
                <a:gd name="T1" fmla="*/ 17 h 698"/>
                <a:gd name="T2" fmla="*/ 226 w 588"/>
                <a:gd name="T3" fmla="*/ 24 h 698"/>
                <a:gd name="T4" fmla="*/ 247 w 588"/>
                <a:gd name="T5" fmla="*/ 40 h 698"/>
                <a:gd name="T6" fmla="*/ 264 w 588"/>
                <a:gd name="T7" fmla="*/ 66 h 698"/>
                <a:gd name="T8" fmla="*/ 281 w 588"/>
                <a:gd name="T9" fmla="*/ 58 h 698"/>
                <a:gd name="T10" fmla="*/ 293 w 588"/>
                <a:gd name="T11" fmla="*/ 41 h 698"/>
                <a:gd name="T12" fmla="*/ 327 w 588"/>
                <a:gd name="T13" fmla="*/ 47 h 698"/>
                <a:gd name="T14" fmla="*/ 343 w 588"/>
                <a:gd name="T15" fmla="*/ 70 h 698"/>
                <a:gd name="T16" fmla="*/ 337 w 588"/>
                <a:gd name="T17" fmla="*/ 89 h 698"/>
                <a:gd name="T18" fmla="*/ 352 w 588"/>
                <a:gd name="T19" fmla="*/ 115 h 698"/>
                <a:gd name="T20" fmla="*/ 393 w 588"/>
                <a:gd name="T21" fmla="*/ 119 h 698"/>
                <a:gd name="T22" fmla="*/ 428 w 588"/>
                <a:gd name="T23" fmla="*/ 121 h 698"/>
                <a:gd name="T24" fmla="*/ 447 w 588"/>
                <a:gd name="T25" fmla="*/ 123 h 698"/>
                <a:gd name="T26" fmla="*/ 482 w 588"/>
                <a:gd name="T27" fmla="*/ 138 h 698"/>
                <a:gd name="T28" fmla="*/ 523 w 588"/>
                <a:gd name="T29" fmla="*/ 147 h 698"/>
                <a:gd name="T30" fmla="*/ 566 w 588"/>
                <a:gd name="T31" fmla="*/ 160 h 698"/>
                <a:gd name="T32" fmla="*/ 584 w 588"/>
                <a:gd name="T33" fmla="*/ 196 h 698"/>
                <a:gd name="T34" fmla="*/ 585 w 588"/>
                <a:gd name="T35" fmla="*/ 221 h 698"/>
                <a:gd name="T36" fmla="*/ 560 w 588"/>
                <a:gd name="T37" fmla="*/ 259 h 698"/>
                <a:gd name="T38" fmla="*/ 541 w 588"/>
                <a:gd name="T39" fmla="*/ 286 h 698"/>
                <a:gd name="T40" fmla="*/ 536 w 588"/>
                <a:gd name="T41" fmla="*/ 306 h 698"/>
                <a:gd name="T42" fmla="*/ 525 w 588"/>
                <a:gd name="T43" fmla="*/ 319 h 698"/>
                <a:gd name="T44" fmla="*/ 537 w 588"/>
                <a:gd name="T45" fmla="*/ 336 h 698"/>
                <a:gd name="T46" fmla="*/ 527 w 588"/>
                <a:gd name="T47" fmla="*/ 351 h 698"/>
                <a:gd name="T48" fmla="*/ 514 w 588"/>
                <a:gd name="T49" fmla="*/ 374 h 698"/>
                <a:gd name="T50" fmla="*/ 528 w 588"/>
                <a:gd name="T51" fmla="*/ 402 h 698"/>
                <a:gd name="T52" fmla="*/ 515 w 588"/>
                <a:gd name="T53" fmla="*/ 422 h 698"/>
                <a:gd name="T54" fmla="*/ 506 w 588"/>
                <a:gd name="T55" fmla="*/ 445 h 698"/>
                <a:gd name="T56" fmla="*/ 472 w 588"/>
                <a:gd name="T57" fmla="*/ 465 h 698"/>
                <a:gd name="T58" fmla="*/ 442 w 588"/>
                <a:gd name="T59" fmla="*/ 466 h 698"/>
                <a:gd name="T60" fmla="*/ 433 w 588"/>
                <a:gd name="T61" fmla="*/ 498 h 698"/>
                <a:gd name="T62" fmla="*/ 435 w 588"/>
                <a:gd name="T63" fmla="*/ 537 h 698"/>
                <a:gd name="T64" fmla="*/ 434 w 588"/>
                <a:gd name="T65" fmla="*/ 571 h 698"/>
                <a:gd name="T66" fmla="*/ 410 w 588"/>
                <a:gd name="T67" fmla="*/ 588 h 698"/>
                <a:gd name="T68" fmla="*/ 392 w 588"/>
                <a:gd name="T69" fmla="*/ 630 h 698"/>
                <a:gd name="T70" fmla="*/ 396 w 588"/>
                <a:gd name="T71" fmla="*/ 671 h 698"/>
                <a:gd name="T72" fmla="*/ 380 w 588"/>
                <a:gd name="T73" fmla="*/ 674 h 698"/>
                <a:gd name="T74" fmla="*/ 360 w 588"/>
                <a:gd name="T75" fmla="*/ 696 h 698"/>
                <a:gd name="T76" fmla="*/ 334 w 588"/>
                <a:gd name="T77" fmla="*/ 688 h 698"/>
                <a:gd name="T78" fmla="*/ 287 w 588"/>
                <a:gd name="T79" fmla="*/ 645 h 698"/>
                <a:gd name="T80" fmla="*/ 277 w 588"/>
                <a:gd name="T81" fmla="*/ 579 h 698"/>
                <a:gd name="T82" fmla="*/ 234 w 588"/>
                <a:gd name="T83" fmla="*/ 523 h 698"/>
                <a:gd name="T84" fmla="*/ 189 w 588"/>
                <a:gd name="T85" fmla="*/ 493 h 698"/>
                <a:gd name="T86" fmla="*/ 141 w 588"/>
                <a:gd name="T87" fmla="*/ 487 h 698"/>
                <a:gd name="T88" fmla="*/ 111 w 588"/>
                <a:gd name="T89" fmla="*/ 459 h 698"/>
                <a:gd name="T90" fmla="*/ 94 w 588"/>
                <a:gd name="T91" fmla="*/ 416 h 698"/>
                <a:gd name="T92" fmla="*/ 48 w 588"/>
                <a:gd name="T93" fmla="*/ 356 h 698"/>
                <a:gd name="T94" fmla="*/ 17 w 588"/>
                <a:gd name="T95" fmla="*/ 318 h 698"/>
                <a:gd name="T96" fmla="*/ 0 w 588"/>
                <a:gd name="T97" fmla="*/ 289 h 698"/>
                <a:gd name="T98" fmla="*/ 12 w 588"/>
                <a:gd name="T99" fmla="*/ 257 h 698"/>
                <a:gd name="T100" fmla="*/ 36 w 588"/>
                <a:gd name="T101" fmla="*/ 257 h 698"/>
                <a:gd name="T102" fmla="*/ 73 w 588"/>
                <a:gd name="T103" fmla="*/ 255 h 698"/>
                <a:gd name="T104" fmla="*/ 94 w 588"/>
                <a:gd name="T105" fmla="*/ 247 h 698"/>
                <a:gd name="T106" fmla="*/ 95 w 588"/>
                <a:gd name="T107" fmla="*/ 203 h 698"/>
                <a:gd name="T108" fmla="*/ 78 w 588"/>
                <a:gd name="T109" fmla="*/ 175 h 698"/>
                <a:gd name="T110" fmla="*/ 82 w 588"/>
                <a:gd name="T111" fmla="*/ 156 h 698"/>
                <a:gd name="T112" fmla="*/ 63 w 588"/>
                <a:gd name="T113" fmla="*/ 127 h 698"/>
                <a:gd name="T114" fmla="*/ 78 w 588"/>
                <a:gd name="T115" fmla="*/ 104 h 698"/>
                <a:gd name="T116" fmla="*/ 103 w 588"/>
                <a:gd name="T117" fmla="*/ 77 h 698"/>
                <a:gd name="T118" fmla="*/ 123 w 588"/>
                <a:gd name="T119" fmla="*/ 31 h 698"/>
                <a:gd name="T120" fmla="*/ 147 w 588"/>
                <a:gd name="T121" fmla="*/ 19 h 698"/>
                <a:gd name="T122" fmla="*/ 165 w 588"/>
                <a:gd name="T123" fmla="*/ 5 h 698"/>
                <a:gd name="T124" fmla="*/ 195 w 588"/>
                <a:gd name="T125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88" h="698">
                  <a:moveTo>
                    <a:pt x="199" y="0"/>
                  </a:moveTo>
                  <a:lnTo>
                    <a:pt x="201" y="0"/>
                  </a:lnTo>
                  <a:lnTo>
                    <a:pt x="203" y="1"/>
                  </a:lnTo>
                  <a:lnTo>
                    <a:pt x="205" y="1"/>
                  </a:lnTo>
                  <a:lnTo>
                    <a:pt x="206" y="2"/>
                  </a:lnTo>
                  <a:lnTo>
                    <a:pt x="208" y="3"/>
                  </a:lnTo>
                  <a:lnTo>
                    <a:pt x="208" y="4"/>
                  </a:lnTo>
                  <a:lnTo>
                    <a:pt x="209" y="6"/>
                  </a:lnTo>
                  <a:lnTo>
                    <a:pt x="209" y="7"/>
                  </a:lnTo>
                  <a:lnTo>
                    <a:pt x="210" y="14"/>
                  </a:lnTo>
                  <a:lnTo>
                    <a:pt x="211" y="17"/>
                  </a:lnTo>
                  <a:lnTo>
                    <a:pt x="211" y="19"/>
                  </a:lnTo>
                  <a:lnTo>
                    <a:pt x="212" y="20"/>
                  </a:lnTo>
                  <a:lnTo>
                    <a:pt x="212" y="21"/>
                  </a:lnTo>
                  <a:lnTo>
                    <a:pt x="212" y="22"/>
                  </a:lnTo>
                  <a:lnTo>
                    <a:pt x="213" y="23"/>
                  </a:lnTo>
                  <a:lnTo>
                    <a:pt x="214" y="23"/>
                  </a:lnTo>
                  <a:lnTo>
                    <a:pt x="218" y="24"/>
                  </a:lnTo>
                  <a:lnTo>
                    <a:pt x="219" y="24"/>
                  </a:lnTo>
                  <a:lnTo>
                    <a:pt x="221" y="24"/>
                  </a:lnTo>
                  <a:lnTo>
                    <a:pt x="223" y="24"/>
                  </a:lnTo>
                  <a:lnTo>
                    <a:pt x="226" y="24"/>
                  </a:lnTo>
                  <a:lnTo>
                    <a:pt x="228" y="24"/>
                  </a:lnTo>
                  <a:lnTo>
                    <a:pt x="230" y="24"/>
                  </a:lnTo>
                  <a:lnTo>
                    <a:pt x="232" y="25"/>
                  </a:lnTo>
                  <a:lnTo>
                    <a:pt x="235" y="26"/>
                  </a:lnTo>
                  <a:lnTo>
                    <a:pt x="237" y="29"/>
                  </a:lnTo>
                  <a:lnTo>
                    <a:pt x="240" y="32"/>
                  </a:lnTo>
                  <a:lnTo>
                    <a:pt x="242" y="33"/>
                  </a:lnTo>
                  <a:lnTo>
                    <a:pt x="244" y="35"/>
                  </a:lnTo>
                  <a:lnTo>
                    <a:pt x="246" y="36"/>
                  </a:lnTo>
                  <a:lnTo>
                    <a:pt x="246" y="38"/>
                  </a:lnTo>
                  <a:lnTo>
                    <a:pt x="247" y="40"/>
                  </a:lnTo>
                  <a:lnTo>
                    <a:pt x="248" y="42"/>
                  </a:lnTo>
                  <a:lnTo>
                    <a:pt x="252" y="54"/>
                  </a:lnTo>
                  <a:lnTo>
                    <a:pt x="253" y="56"/>
                  </a:lnTo>
                  <a:lnTo>
                    <a:pt x="254" y="58"/>
                  </a:lnTo>
                  <a:lnTo>
                    <a:pt x="255" y="58"/>
                  </a:lnTo>
                  <a:lnTo>
                    <a:pt x="256" y="60"/>
                  </a:lnTo>
                  <a:lnTo>
                    <a:pt x="258" y="62"/>
                  </a:lnTo>
                  <a:lnTo>
                    <a:pt x="259" y="63"/>
                  </a:lnTo>
                  <a:lnTo>
                    <a:pt x="261" y="65"/>
                  </a:lnTo>
                  <a:lnTo>
                    <a:pt x="263" y="65"/>
                  </a:lnTo>
                  <a:lnTo>
                    <a:pt x="264" y="66"/>
                  </a:lnTo>
                  <a:lnTo>
                    <a:pt x="266" y="67"/>
                  </a:lnTo>
                  <a:lnTo>
                    <a:pt x="268" y="67"/>
                  </a:lnTo>
                  <a:lnTo>
                    <a:pt x="269" y="67"/>
                  </a:lnTo>
                  <a:lnTo>
                    <a:pt x="271" y="67"/>
                  </a:lnTo>
                  <a:lnTo>
                    <a:pt x="273" y="66"/>
                  </a:lnTo>
                  <a:lnTo>
                    <a:pt x="275" y="65"/>
                  </a:lnTo>
                  <a:lnTo>
                    <a:pt x="277" y="64"/>
                  </a:lnTo>
                  <a:lnTo>
                    <a:pt x="278" y="63"/>
                  </a:lnTo>
                  <a:lnTo>
                    <a:pt x="280" y="62"/>
                  </a:lnTo>
                  <a:lnTo>
                    <a:pt x="280" y="60"/>
                  </a:lnTo>
                  <a:lnTo>
                    <a:pt x="281" y="58"/>
                  </a:lnTo>
                  <a:lnTo>
                    <a:pt x="282" y="58"/>
                  </a:lnTo>
                  <a:lnTo>
                    <a:pt x="283" y="56"/>
                  </a:lnTo>
                  <a:lnTo>
                    <a:pt x="284" y="52"/>
                  </a:lnTo>
                  <a:lnTo>
                    <a:pt x="285" y="49"/>
                  </a:lnTo>
                  <a:lnTo>
                    <a:pt x="286" y="47"/>
                  </a:lnTo>
                  <a:lnTo>
                    <a:pt x="287" y="45"/>
                  </a:lnTo>
                  <a:lnTo>
                    <a:pt x="288" y="45"/>
                  </a:lnTo>
                  <a:lnTo>
                    <a:pt x="289" y="43"/>
                  </a:lnTo>
                  <a:lnTo>
                    <a:pt x="290" y="42"/>
                  </a:lnTo>
                  <a:lnTo>
                    <a:pt x="291" y="41"/>
                  </a:lnTo>
                  <a:lnTo>
                    <a:pt x="293" y="41"/>
                  </a:lnTo>
                  <a:lnTo>
                    <a:pt x="295" y="40"/>
                  </a:lnTo>
                  <a:lnTo>
                    <a:pt x="296" y="40"/>
                  </a:lnTo>
                  <a:lnTo>
                    <a:pt x="297" y="40"/>
                  </a:lnTo>
                  <a:lnTo>
                    <a:pt x="299" y="41"/>
                  </a:lnTo>
                  <a:lnTo>
                    <a:pt x="302" y="41"/>
                  </a:lnTo>
                  <a:lnTo>
                    <a:pt x="308" y="43"/>
                  </a:lnTo>
                  <a:lnTo>
                    <a:pt x="312" y="44"/>
                  </a:lnTo>
                  <a:lnTo>
                    <a:pt x="315" y="45"/>
                  </a:lnTo>
                  <a:lnTo>
                    <a:pt x="322" y="46"/>
                  </a:lnTo>
                  <a:lnTo>
                    <a:pt x="324" y="46"/>
                  </a:lnTo>
                  <a:lnTo>
                    <a:pt x="327" y="47"/>
                  </a:lnTo>
                  <a:lnTo>
                    <a:pt x="330" y="47"/>
                  </a:lnTo>
                  <a:lnTo>
                    <a:pt x="332" y="48"/>
                  </a:lnTo>
                  <a:lnTo>
                    <a:pt x="334" y="49"/>
                  </a:lnTo>
                  <a:lnTo>
                    <a:pt x="335" y="50"/>
                  </a:lnTo>
                  <a:lnTo>
                    <a:pt x="336" y="52"/>
                  </a:lnTo>
                  <a:lnTo>
                    <a:pt x="337" y="55"/>
                  </a:lnTo>
                  <a:lnTo>
                    <a:pt x="338" y="57"/>
                  </a:lnTo>
                  <a:lnTo>
                    <a:pt x="339" y="59"/>
                  </a:lnTo>
                  <a:lnTo>
                    <a:pt x="341" y="64"/>
                  </a:lnTo>
                  <a:lnTo>
                    <a:pt x="341" y="66"/>
                  </a:lnTo>
                  <a:lnTo>
                    <a:pt x="343" y="70"/>
                  </a:lnTo>
                  <a:lnTo>
                    <a:pt x="344" y="71"/>
                  </a:lnTo>
                  <a:lnTo>
                    <a:pt x="345" y="74"/>
                  </a:lnTo>
                  <a:lnTo>
                    <a:pt x="345" y="76"/>
                  </a:lnTo>
                  <a:lnTo>
                    <a:pt x="345" y="77"/>
                  </a:lnTo>
                  <a:lnTo>
                    <a:pt x="345" y="78"/>
                  </a:lnTo>
                  <a:lnTo>
                    <a:pt x="345" y="80"/>
                  </a:lnTo>
                  <a:lnTo>
                    <a:pt x="344" y="81"/>
                  </a:lnTo>
                  <a:lnTo>
                    <a:pt x="342" y="82"/>
                  </a:lnTo>
                  <a:lnTo>
                    <a:pt x="339" y="85"/>
                  </a:lnTo>
                  <a:lnTo>
                    <a:pt x="337" y="87"/>
                  </a:lnTo>
                  <a:lnTo>
                    <a:pt x="337" y="89"/>
                  </a:lnTo>
                  <a:lnTo>
                    <a:pt x="336" y="91"/>
                  </a:lnTo>
                  <a:lnTo>
                    <a:pt x="335" y="92"/>
                  </a:lnTo>
                  <a:lnTo>
                    <a:pt x="335" y="94"/>
                  </a:lnTo>
                  <a:lnTo>
                    <a:pt x="335" y="96"/>
                  </a:lnTo>
                  <a:lnTo>
                    <a:pt x="336" y="99"/>
                  </a:lnTo>
                  <a:lnTo>
                    <a:pt x="337" y="101"/>
                  </a:lnTo>
                  <a:lnTo>
                    <a:pt x="337" y="103"/>
                  </a:lnTo>
                  <a:lnTo>
                    <a:pt x="339" y="104"/>
                  </a:lnTo>
                  <a:lnTo>
                    <a:pt x="341" y="106"/>
                  </a:lnTo>
                  <a:lnTo>
                    <a:pt x="346" y="110"/>
                  </a:lnTo>
                  <a:lnTo>
                    <a:pt x="352" y="115"/>
                  </a:lnTo>
                  <a:lnTo>
                    <a:pt x="356" y="116"/>
                  </a:lnTo>
                  <a:lnTo>
                    <a:pt x="359" y="118"/>
                  </a:lnTo>
                  <a:lnTo>
                    <a:pt x="361" y="119"/>
                  </a:lnTo>
                  <a:lnTo>
                    <a:pt x="365" y="120"/>
                  </a:lnTo>
                  <a:lnTo>
                    <a:pt x="368" y="120"/>
                  </a:lnTo>
                  <a:lnTo>
                    <a:pt x="371" y="121"/>
                  </a:lnTo>
                  <a:lnTo>
                    <a:pt x="374" y="121"/>
                  </a:lnTo>
                  <a:lnTo>
                    <a:pt x="377" y="121"/>
                  </a:lnTo>
                  <a:lnTo>
                    <a:pt x="389" y="119"/>
                  </a:lnTo>
                  <a:lnTo>
                    <a:pt x="391" y="119"/>
                  </a:lnTo>
                  <a:lnTo>
                    <a:pt x="393" y="119"/>
                  </a:lnTo>
                  <a:lnTo>
                    <a:pt x="395" y="120"/>
                  </a:lnTo>
                  <a:lnTo>
                    <a:pt x="402" y="122"/>
                  </a:lnTo>
                  <a:lnTo>
                    <a:pt x="410" y="124"/>
                  </a:lnTo>
                  <a:lnTo>
                    <a:pt x="413" y="125"/>
                  </a:lnTo>
                  <a:lnTo>
                    <a:pt x="417" y="125"/>
                  </a:lnTo>
                  <a:lnTo>
                    <a:pt x="417" y="125"/>
                  </a:lnTo>
                  <a:lnTo>
                    <a:pt x="419" y="125"/>
                  </a:lnTo>
                  <a:lnTo>
                    <a:pt x="421" y="124"/>
                  </a:lnTo>
                  <a:lnTo>
                    <a:pt x="423" y="124"/>
                  </a:lnTo>
                  <a:lnTo>
                    <a:pt x="426" y="122"/>
                  </a:lnTo>
                  <a:lnTo>
                    <a:pt x="428" y="121"/>
                  </a:lnTo>
                  <a:lnTo>
                    <a:pt x="434" y="117"/>
                  </a:lnTo>
                  <a:lnTo>
                    <a:pt x="436" y="116"/>
                  </a:lnTo>
                  <a:lnTo>
                    <a:pt x="437" y="116"/>
                  </a:lnTo>
                  <a:lnTo>
                    <a:pt x="438" y="116"/>
                  </a:lnTo>
                  <a:lnTo>
                    <a:pt x="439" y="116"/>
                  </a:lnTo>
                  <a:lnTo>
                    <a:pt x="439" y="116"/>
                  </a:lnTo>
                  <a:lnTo>
                    <a:pt x="440" y="116"/>
                  </a:lnTo>
                  <a:lnTo>
                    <a:pt x="440" y="117"/>
                  </a:lnTo>
                  <a:lnTo>
                    <a:pt x="442" y="118"/>
                  </a:lnTo>
                  <a:lnTo>
                    <a:pt x="444" y="119"/>
                  </a:lnTo>
                  <a:lnTo>
                    <a:pt x="447" y="123"/>
                  </a:lnTo>
                  <a:lnTo>
                    <a:pt x="451" y="127"/>
                  </a:lnTo>
                  <a:lnTo>
                    <a:pt x="452" y="129"/>
                  </a:lnTo>
                  <a:lnTo>
                    <a:pt x="455" y="131"/>
                  </a:lnTo>
                  <a:lnTo>
                    <a:pt x="457" y="133"/>
                  </a:lnTo>
                  <a:lnTo>
                    <a:pt x="460" y="134"/>
                  </a:lnTo>
                  <a:lnTo>
                    <a:pt x="462" y="136"/>
                  </a:lnTo>
                  <a:lnTo>
                    <a:pt x="463" y="137"/>
                  </a:lnTo>
                  <a:lnTo>
                    <a:pt x="465" y="137"/>
                  </a:lnTo>
                  <a:lnTo>
                    <a:pt x="467" y="137"/>
                  </a:lnTo>
                  <a:lnTo>
                    <a:pt x="473" y="138"/>
                  </a:lnTo>
                  <a:lnTo>
                    <a:pt x="482" y="138"/>
                  </a:lnTo>
                  <a:lnTo>
                    <a:pt x="488" y="138"/>
                  </a:lnTo>
                  <a:lnTo>
                    <a:pt x="492" y="138"/>
                  </a:lnTo>
                  <a:lnTo>
                    <a:pt x="496" y="138"/>
                  </a:lnTo>
                  <a:lnTo>
                    <a:pt x="501" y="139"/>
                  </a:lnTo>
                  <a:lnTo>
                    <a:pt x="504" y="140"/>
                  </a:lnTo>
                  <a:lnTo>
                    <a:pt x="507" y="141"/>
                  </a:lnTo>
                  <a:lnTo>
                    <a:pt x="510" y="142"/>
                  </a:lnTo>
                  <a:lnTo>
                    <a:pt x="517" y="145"/>
                  </a:lnTo>
                  <a:lnTo>
                    <a:pt x="519" y="146"/>
                  </a:lnTo>
                  <a:lnTo>
                    <a:pt x="520" y="147"/>
                  </a:lnTo>
                  <a:lnTo>
                    <a:pt x="523" y="147"/>
                  </a:lnTo>
                  <a:lnTo>
                    <a:pt x="525" y="148"/>
                  </a:lnTo>
                  <a:lnTo>
                    <a:pt x="534" y="148"/>
                  </a:lnTo>
                  <a:lnTo>
                    <a:pt x="536" y="149"/>
                  </a:lnTo>
                  <a:lnTo>
                    <a:pt x="539" y="149"/>
                  </a:lnTo>
                  <a:lnTo>
                    <a:pt x="542" y="150"/>
                  </a:lnTo>
                  <a:lnTo>
                    <a:pt x="544" y="151"/>
                  </a:lnTo>
                  <a:lnTo>
                    <a:pt x="554" y="156"/>
                  </a:lnTo>
                  <a:lnTo>
                    <a:pt x="558" y="158"/>
                  </a:lnTo>
                  <a:lnTo>
                    <a:pt x="561" y="159"/>
                  </a:lnTo>
                  <a:lnTo>
                    <a:pt x="564" y="160"/>
                  </a:lnTo>
                  <a:lnTo>
                    <a:pt x="566" y="160"/>
                  </a:lnTo>
                  <a:lnTo>
                    <a:pt x="567" y="160"/>
                  </a:lnTo>
                  <a:lnTo>
                    <a:pt x="568" y="160"/>
                  </a:lnTo>
                  <a:lnTo>
                    <a:pt x="568" y="161"/>
                  </a:lnTo>
                  <a:lnTo>
                    <a:pt x="568" y="164"/>
                  </a:lnTo>
                  <a:lnTo>
                    <a:pt x="571" y="172"/>
                  </a:lnTo>
                  <a:lnTo>
                    <a:pt x="573" y="176"/>
                  </a:lnTo>
                  <a:lnTo>
                    <a:pt x="575" y="181"/>
                  </a:lnTo>
                  <a:lnTo>
                    <a:pt x="578" y="188"/>
                  </a:lnTo>
                  <a:lnTo>
                    <a:pt x="580" y="191"/>
                  </a:lnTo>
                  <a:lnTo>
                    <a:pt x="581" y="193"/>
                  </a:lnTo>
                  <a:lnTo>
                    <a:pt x="584" y="196"/>
                  </a:lnTo>
                  <a:lnTo>
                    <a:pt x="586" y="198"/>
                  </a:lnTo>
                  <a:lnTo>
                    <a:pt x="587" y="200"/>
                  </a:lnTo>
                  <a:lnTo>
                    <a:pt x="587" y="201"/>
                  </a:lnTo>
                  <a:lnTo>
                    <a:pt x="588" y="203"/>
                  </a:lnTo>
                  <a:lnTo>
                    <a:pt x="588" y="205"/>
                  </a:lnTo>
                  <a:lnTo>
                    <a:pt x="588" y="206"/>
                  </a:lnTo>
                  <a:lnTo>
                    <a:pt x="588" y="208"/>
                  </a:lnTo>
                  <a:lnTo>
                    <a:pt x="587" y="210"/>
                  </a:lnTo>
                  <a:lnTo>
                    <a:pt x="586" y="215"/>
                  </a:lnTo>
                  <a:lnTo>
                    <a:pt x="585" y="219"/>
                  </a:lnTo>
                  <a:lnTo>
                    <a:pt x="585" y="221"/>
                  </a:lnTo>
                  <a:lnTo>
                    <a:pt x="583" y="224"/>
                  </a:lnTo>
                  <a:lnTo>
                    <a:pt x="580" y="228"/>
                  </a:lnTo>
                  <a:lnTo>
                    <a:pt x="578" y="233"/>
                  </a:lnTo>
                  <a:lnTo>
                    <a:pt x="576" y="236"/>
                  </a:lnTo>
                  <a:lnTo>
                    <a:pt x="575" y="242"/>
                  </a:lnTo>
                  <a:lnTo>
                    <a:pt x="573" y="247"/>
                  </a:lnTo>
                  <a:lnTo>
                    <a:pt x="571" y="249"/>
                  </a:lnTo>
                  <a:lnTo>
                    <a:pt x="570" y="251"/>
                  </a:lnTo>
                  <a:lnTo>
                    <a:pt x="568" y="252"/>
                  </a:lnTo>
                  <a:lnTo>
                    <a:pt x="566" y="254"/>
                  </a:lnTo>
                  <a:lnTo>
                    <a:pt x="560" y="259"/>
                  </a:lnTo>
                  <a:lnTo>
                    <a:pt x="553" y="263"/>
                  </a:lnTo>
                  <a:lnTo>
                    <a:pt x="552" y="265"/>
                  </a:lnTo>
                  <a:lnTo>
                    <a:pt x="549" y="267"/>
                  </a:lnTo>
                  <a:lnTo>
                    <a:pt x="544" y="273"/>
                  </a:lnTo>
                  <a:lnTo>
                    <a:pt x="543" y="274"/>
                  </a:lnTo>
                  <a:lnTo>
                    <a:pt x="542" y="275"/>
                  </a:lnTo>
                  <a:lnTo>
                    <a:pt x="542" y="277"/>
                  </a:lnTo>
                  <a:lnTo>
                    <a:pt x="541" y="280"/>
                  </a:lnTo>
                  <a:lnTo>
                    <a:pt x="541" y="283"/>
                  </a:lnTo>
                  <a:lnTo>
                    <a:pt x="541" y="285"/>
                  </a:lnTo>
                  <a:lnTo>
                    <a:pt x="541" y="286"/>
                  </a:lnTo>
                  <a:lnTo>
                    <a:pt x="541" y="289"/>
                  </a:lnTo>
                  <a:lnTo>
                    <a:pt x="542" y="294"/>
                  </a:lnTo>
                  <a:lnTo>
                    <a:pt x="542" y="296"/>
                  </a:lnTo>
                  <a:lnTo>
                    <a:pt x="542" y="296"/>
                  </a:lnTo>
                  <a:lnTo>
                    <a:pt x="541" y="297"/>
                  </a:lnTo>
                  <a:lnTo>
                    <a:pt x="541" y="299"/>
                  </a:lnTo>
                  <a:lnTo>
                    <a:pt x="540" y="300"/>
                  </a:lnTo>
                  <a:lnTo>
                    <a:pt x="539" y="302"/>
                  </a:lnTo>
                  <a:lnTo>
                    <a:pt x="539" y="303"/>
                  </a:lnTo>
                  <a:lnTo>
                    <a:pt x="538" y="304"/>
                  </a:lnTo>
                  <a:lnTo>
                    <a:pt x="536" y="306"/>
                  </a:lnTo>
                  <a:lnTo>
                    <a:pt x="535" y="307"/>
                  </a:lnTo>
                  <a:lnTo>
                    <a:pt x="534" y="308"/>
                  </a:lnTo>
                  <a:lnTo>
                    <a:pt x="529" y="310"/>
                  </a:lnTo>
                  <a:lnTo>
                    <a:pt x="527" y="311"/>
                  </a:lnTo>
                  <a:lnTo>
                    <a:pt x="526" y="312"/>
                  </a:lnTo>
                  <a:lnTo>
                    <a:pt x="525" y="313"/>
                  </a:lnTo>
                  <a:lnTo>
                    <a:pt x="525" y="314"/>
                  </a:lnTo>
                  <a:lnTo>
                    <a:pt x="525" y="315"/>
                  </a:lnTo>
                  <a:lnTo>
                    <a:pt x="525" y="317"/>
                  </a:lnTo>
                  <a:lnTo>
                    <a:pt x="525" y="319"/>
                  </a:lnTo>
                  <a:lnTo>
                    <a:pt x="525" y="319"/>
                  </a:lnTo>
                  <a:lnTo>
                    <a:pt x="525" y="320"/>
                  </a:lnTo>
                  <a:lnTo>
                    <a:pt x="525" y="322"/>
                  </a:lnTo>
                  <a:lnTo>
                    <a:pt x="526" y="324"/>
                  </a:lnTo>
                  <a:lnTo>
                    <a:pt x="527" y="325"/>
                  </a:lnTo>
                  <a:lnTo>
                    <a:pt x="528" y="327"/>
                  </a:lnTo>
                  <a:lnTo>
                    <a:pt x="528" y="328"/>
                  </a:lnTo>
                  <a:lnTo>
                    <a:pt x="530" y="330"/>
                  </a:lnTo>
                  <a:lnTo>
                    <a:pt x="531" y="331"/>
                  </a:lnTo>
                  <a:lnTo>
                    <a:pt x="535" y="334"/>
                  </a:lnTo>
                  <a:lnTo>
                    <a:pt x="537" y="335"/>
                  </a:lnTo>
                  <a:lnTo>
                    <a:pt x="537" y="336"/>
                  </a:lnTo>
                  <a:lnTo>
                    <a:pt x="537" y="337"/>
                  </a:lnTo>
                  <a:lnTo>
                    <a:pt x="537" y="339"/>
                  </a:lnTo>
                  <a:lnTo>
                    <a:pt x="537" y="341"/>
                  </a:lnTo>
                  <a:lnTo>
                    <a:pt x="536" y="343"/>
                  </a:lnTo>
                  <a:lnTo>
                    <a:pt x="535" y="345"/>
                  </a:lnTo>
                  <a:lnTo>
                    <a:pt x="534" y="346"/>
                  </a:lnTo>
                  <a:lnTo>
                    <a:pt x="534" y="347"/>
                  </a:lnTo>
                  <a:lnTo>
                    <a:pt x="533" y="347"/>
                  </a:lnTo>
                  <a:lnTo>
                    <a:pt x="531" y="348"/>
                  </a:lnTo>
                  <a:lnTo>
                    <a:pt x="528" y="350"/>
                  </a:lnTo>
                  <a:lnTo>
                    <a:pt x="527" y="351"/>
                  </a:lnTo>
                  <a:lnTo>
                    <a:pt x="525" y="352"/>
                  </a:lnTo>
                  <a:lnTo>
                    <a:pt x="522" y="355"/>
                  </a:lnTo>
                  <a:lnTo>
                    <a:pt x="519" y="359"/>
                  </a:lnTo>
                  <a:lnTo>
                    <a:pt x="517" y="361"/>
                  </a:lnTo>
                  <a:lnTo>
                    <a:pt x="516" y="362"/>
                  </a:lnTo>
                  <a:lnTo>
                    <a:pt x="515" y="364"/>
                  </a:lnTo>
                  <a:lnTo>
                    <a:pt x="515" y="365"/>
                  </a:lnTo>
                  <a:lnTo>
                    <a:pt x="514" y="367"/>
                  </a:lnTo>
                  <a:lnTo>
                    <a:pt x="514" y="369"/>
                  </a:lnTo>
                  <a:lnTo>
                    <a:pt x="514" y="371"/>
                  </a:lnTo>
                  <a:lnTo>
                    <a:pt x="514" y="374"/>
                  </a:lnTo>
                  <a:lnTo>
                    <a:pt x="515" y="376"/>
                  </a:lnTo>
                  <a:lnTo>
                    <a:pt x="517" y="378"/>
                  </a:lnTo>
                  <a:lnTo>
                    <a:pt x="519" y="382"/>
                  </a:lnTo>
                  <a:lnTo>
                    <a:pt x="520" y="385"/>
                  </a:lnTo>
                  <a:lnTo>
                    <a:pt x="524" y="389"/>
                  </a:lnTo>
                  <a:lnTo>
                    <a:pt x="525" y="391"/>
                  </a:lnTo>
                  <a:lnTo>
                    <a:pt x="526" y="393"/>
                  </a:lnTo>
                  <a:lnTo>
                    <a:pt x="527" y="395"/>
                  </a:lnTo>
                  <a:lnTo>
                    <a:pt x="527" y="398"/>
                  </a:lnTo>
                  <a:lnTo>
                    <a:pt x="528" y="400"/>
                  </a:lnTo>
                  <a:lnTo>
                    <a:pt x="528" y="402"/>
                  </a:lnTo>
                  <a:lnTo>
                    <a:pt x="528" y="404"/>
                  </a:lnTo>
                  <a:lnTo>
                    <a:pt x="527" y="405"/>
                  </a:lnTo>
                  <a:lnTo>
                    <a:pt x="527" y="406"/>
                  </a:lnTo>
                  <a:lnTo>
                    <a:pt x="526" y="408"/>
                  </a:lnTo>
                  <a:lnTo>
                    <a:pt x="525" y="410"/>
                  </a:lnTo>
                  <a:lnTo>
                    <a:pt x="520" y="413"/>
                  </a:lnTo>
                  <a:lnTo>
                    <a:pt x="518" y="416"/>
                  </a:lnTo>
                  <a:lnTo>
                    <a:pt x="517" y="417"/>
                  </a:lnTo>
                  <a:lnTo>
                    <a:pt x="516" y="419"/>
                  </a:lnTo>
                  <a:lnTo>
                    <a:pt x="515" y="421"/>
                  </a:lnTo>
                  <a:lnTo>
                    <a:pt x="515" y="422"/>
                  </a:lnTo>
                  <a:lnTo>
                    <a:pt x="513" y="425"/>
                  </a:lnTo>
                  <a:lnTo>
                    <a:pt x="512" y="429"/>
                  </a:lnTo>
                  <a:lnTo>
                    <a:pt x="509" y="441"/>
                  </a:lnTo>
                  <a:lnTo>
                    <a:pt x="509" y="444"/>
                  </a:lnTo>
                  <a:lnTo>
                    <a:pt x="509" y="447"/>
                  </a:lnTo>
                  <a:lnTo>
                    <a:pt x="509" y="448"/>
                  </a:lnTo>
                  <a:lnTo>
                    <a:pt x="508" y="446"/>
                  </a:lnTo>
                  <a:lnTo>
                    <a:pt x="507" y="445"/>
                  </a:lnTo>
                  <a:lnTo>
                    <a:pt x="507" y="444"/>
                  </a:lnTo>
                  <a:lnTo>
                    <a:pt x="507" y="444"/>
                  </a:lnTo>
                  <a:lnTo>
                    <a:pt x="506" y="445"/>
                  </a:lnTo>
                  <a:lnTo>
                    <a:pt x="505" y="445"/>
                  </a:lnTo>
                  <a:lnTo>
                    <a:pt x="503" y="444"/>
                  </a:lnTo>
                  <a:lnTo>
                    <a:pt x="502" y="444"/>
                  </a:lnTo>
                  <a:lnTo>
                    <a:pt x="500" y="445"/>
                  </a:lnTo>
                  <a:lnTo>
                    <a:pt x="496" y="447"/>
                  </a:lnTo>
                  <a:lnTo>
                    <a:pt x="494" y="448"/>
                  </a:lnTo>
                  <a:lnTo>
                    <a:pt x="491" y="450"/>
                  </a:lnTo>
                  <a:lnTo>
                    <a:pt x="482" y="458"/>
                  </a:lnTo>
                  <a:lnTo>
                    <a:pt x="478" y="460"/>
                  </a:lnTo>
                  <a:lnTo>
                    <a:pt x="474" y="463"/>
                  </a:lnTo>
                  <a:lnTo>
                    <a:pt x="472" y="465"/>
                  </a:lnTo>
                  <a:lnTo>
                    <a:pt x="470" y="466"/>
                  </a:lnTo>
                  <a:lnTo>
                    <a:pt x="468" y="466"/>
                  </a:lnTo>
                  <a:lnTo>
                    <a:pt x="466" y="467"/>
                  </a:lnTo>
                  <a:lnTo>
                    <a:pt x="464" y="468"/>
                  </a:lnTo>
                  <a:lnTo>
                    <a:pt x="462" y="468"/>
                  </a:lnTo>
                  <a:lnTo>
                    <a:pt x="461" y="468"/>
                  </a:lnTo>
                  <a:lnTo>
                    <a:pt x="459" y="468"/>
                  </a:lnTo>
                  <a:lnTo>
                    <a:pt x="456" y="468"/>
                  </a:lnTo>
                  <a:lnTo>
                    <a:pt x="453" y="467"/>
                  </a:lnTo>
                  <a:lnTo>
                    <a:pt x="444" y="466"/>
                  </a:lnTo>
                  <a:lnTo>
                    <a:pt x="442" y="466"/>
                  </a:lnTo>
                  <a:lnTo>
                    <a:pt x="441" y="465"/>
                  </a:lnTo>
                  <a:lnTo>
                    <a:pt x="439" y="466"/>
                  </a:lnTo>
                  <a:lnTo>
                    <a:pt x="439" y="466"/>
                  </a:lnTo>
                  <a:lnTo>
                    <a:pt x="438" y="466"/>
                  </a:lnTo>
                  <a:lnTo>
                    <a:pt x="437" y="467"/>
                  </a:lnTo>
                  <a:lnTo>
                    <a:pt x="436" y="469"/>
                  </a:lnTo>
                  <a:lnTo>
                    <a:pt x="436" y="473"/>
                  </a:lnTo>
                  <a:lnTo>
                    <a:pt x="434" y="478"/>
                  </a:lnTo>
                  <a:lnTo>
                    <a:pt x="433" y="485"/>
                  </a:lnTo>
                  <a:lnTo>
                    <a:pt x="433" y="489"/>
                  </a:lnTo>
                  <a:lnTo>
                    <a:pt x="433" y="498"/>
                  </a:lnTo>
                  <a:lnTo>
                    <a:pt x="432" y="502"/>
                  </a:lnTo>
                  <a:lnTo>
                    <a:pt x="431" y="506"/>
                  </a:lnTo>
                  <a:lnTo>
                    <a:pt x="429" y="512"/>
                  </a:lnTo>
                  <a:lnTo>
                    <a:pt x="429" y="514"/>
                  </a:lnTo>
                  <a:lnTo>
                    <a:pt x="429" y="516"/>
                  </a:lnTo>
                  <a:lnTo>
                    <a:pt x="429" y="519"/>
                  </a:lnTo>
                  <a:lnTo>
                    <a:pt x="430" y="522"/>
                  </a:lnTo>
                  <a:lnTo>
                    <a:pt x="430" y="524"/>
                  </a:lnTo>
                  <a:lnTo>
                    <a:pt x="433" y="531"/>
                  </a:lnTo>
                  <a:lnTo>
                    <a:pt x="434" y="534"/>
                  </a:lnTo>
                  <a:lnTo>
                    <a:pt x="435" y="537"/>
                  </a:lnTo>
                  <a:lnTo>
                    <a:pt x="438" y="548"/>
                  </a:lnTo>
                  <a:lnTo>
                    <a:pt x="439" y="552"/>
                  </a:lnTo>
                  <a:lnTo>
                    <a:pt x="439" y="555"/>
                  </a:lnTo>
                  <a:lnTo>
                    <a:pt x="439" y="558"/>
                  </a:lnTo>
                  <a:lnTo>
                    <a:pt x="439" y="561"/>
                  </a:lnTo>
                  <a:lnTo>
                    <a:pt x="438" y="563"/>
                  </a:lnTo>
                  <a:lnTo>
                    <a:pt x="437" y="565"/>
                  </a:lnTo>
                  <a:lnTo>
                    <a:pt x="437" y="567"/>
                  </a:lnTo>
                  <a:lnTo>
                    <a:pt x="436" y="568"/>
                  </a:lnTo>
                  <a:lnTo>
                    <a:pt x="435" y="570"/>
                  </a:lnTo>
                  <a:lnTo>
                    <a:pt x="434" y="571"/>
                  </a:lnTo>
                  <a:lnTo>
                    <a:pt x="432" y="573"/>
                  </a:lnTo>
                  <a:lnTo>
                    <a:pt x="430" y="575"/>
                  </a:lnTo>
                  <a:lnTo>
                    <a:pt x="428" y="577"/>
                  </a:lnTo>
                  <a:lnTo>
                    <a:pt x="426" y="579"/>
                  </a:lnTo>
                  <a:lnTo>
                    <a:pt x="424" y="580"/>
                  </a:lnTo>
                  <a:lnTo>
                    <a:pt x="418" y="581"/>
                  </a:lnTo>
                  <a:lnTo>
                    <a:pt x="417" y="582"/>
                  </a:lnTo>
                  <a:lnTo>
                    <a:pt x="416" y="583"/>
                  </a:lnTo>
                  <a:lnTo>
                    <a:pt x="414" y="585"/>
                  </a:lnTo>
                  <a:lnTo>
                    <a:pt x="412" y="586"/>
                  </a:lnTo>
                  <a:lnTo>
                    <a:pt x="410" y="588"/>
                  </a:lnTo>
                  <a:lnTo>
                    <a:pt x="408" y="590"/>
                  </a:lnTo>
                  <a:lnTo>
                    <a:pt x="406" y="591"/>
                  </a:lnTo>
                  <a:lnTo>
                    <a:pt x="405" y="594"/>
                  </a:lnTo>
                  <a:lnTo>
                    <a:pt x="402" y="601"/>
                  </a:lnTo>
                  <a:lnTo>
                    <a:pt x="398" y="606"/>
                  </a:lnTo>
                  <a:lnTo>
                    <a:pt x="397" y="609"/>
                  </a:lnTo>
                  <a:lnTo>
                    <a:pt x="396" y="612"/>
                  </a:lnTo>
                  <a:lnTo>
                    <a:pt x="395" y="615"/>
                  </a:lnTo>
                  <a:lnTo>
                    <a:pt x="394" y="620"/>
                  </a:lnTo>
                  <a:lnTo>
                    <a:pt x="393" y="625"/>
                  </a:lnTo>
                  <a:lnTo>
                    <a:pt x="392" y="630"/>
                  </a:lnTo>
                  <a:lnTo>
                    <a:pt x="391" y="634"/>
                  </a:lnTo>
                  <a:lnTo>
                    <a:pt x="391" y="638"/>
                  </a:lnTo>
                  <a:lnTo>
                    <a:pt x="391" y="642"/>
                  </a:lnTo>
                  <a:lnTo>
                    <a:pt x="391" y="645"/>
                  </a:lnTo>
                  <a:lnTo>
                    <a:pt x="391" y="648"/>
                  </a:lnTo>
                  <a:lnTo>
                    <a:pt x="391" y="651"/>
                  </a:lnTo>
                  <a:lnTo>
                    <a:pt x="392" y="654"/>
                  </a:lnTo>
                  <a:lnTo>
                    <a:pt x="392" y="657"/>
                  </a:lnTo>
                  <a:lnTo>
                    <a:pt x="393" y="659"/>
                  </a:lnTo>
                  <a:lnTo>
                    <a:pt x="394" y="661"/>
                  </a:lnTo>
                  <a:lnTo>
                    <a:pt x="396" y="671"/>
                  </a:lnTo>
                  <a:lnTo>
                    <a:pt x="397" y="673"/>
                  </a:lnTo>
                  <a:lnTo>
                    <a:pt x="397" y="674"/>
                  </a:lnTo>
                  <a:lnTo>
                    <a:pt x="397" y="673"/>
                  </a:lnTo>
                  <a:lnTo>
                    <a:pt x="396" y="673"/>
                  </a:lnTo>
                  <a:lnTo>
                    <a:pt x="394" y="672"/>
                  </a:lnTo>
                  <a:lnTo>
                    <a:pt x="392" y="672"/>
                  </a:lnTo>
                  <a:lnTo>
                    <a:pt x="390" y="672"/>
                  </a:lnTo>
                  <a:lnTo>
                    <a:pt x="387" y="672"/>
                  </a:lnTo>
                  <a:lnTo>
                    <a:pt x="384" y="672"/>
                  </a:lnTo>
                  <a:lnTo>
                    <a:pt x="382" y="673"/>
                  </a:lnTo>
                  <a:lnTo>
                    <a:pt x="380" y="674"/>
                  </a:lnTo>
                  <a:lnTo>
                    <a:pt x="377" y="675"/>
                  </a:lnTo>
                  <a:lnTo>
                    <a:pt x="374" y="676"/>
                  </a:lnTo>
                  <a:lnTo>
                    <a:pt x="372" y="678"/>
                  </a:lnTo>
                  <a:lnTo>
                    <a:pt x="371" y="680"/>
                  </a:lnTo>
                  <a:lnTo>
                    <a:pt x="369" y="681"/>
                  </a:lnTo>
                  <a:lnTo>
                    <a:pt x="367" y="682"/>
                  </a:lnTo>
                  <a:lnTo>
                    <a:pt x="366" y="684"/>
                  </a:lnTo>
                  <a:lnTo>
                    <a:pt x="365" y="686"/>
                  </a:lnTo>
                  <a:lnTo>
                    <a:pt x="361" y="693"/>
                  </a:lnTo>
                  <a:lnTo>
                    <a:pt x="360" y="695"/>
                  </a:lnTo>
                  <a:lnTo>
                    <a:pt x="360" y="696"/>
                  </a:lnTo>
                  <a:lnTo>
                    <a:pt x="359" y="696"/>
                  </a:lnTo>
                  <a:lnTo>
                    <a:pt x="358" y="697"/>
                  </a:lnTo>
                  <a:lnTo>
                    <a:pt x="357" y="698"/>
                  </a:lnTo>
                  <a:lnTo>
                    <a:pt x="355" y="698"/>
                  </a:lnTo>
                  <a:lnTo>
                    <a:pt x="353" y="698"/>
                  </a:lnTo>
                  <a:lnTo>
                    <a:pt x="351" y="698"/>
                  </a:lnTo>
                  <a:lnTo>
                    <a:pt x="350" y="697"/>
                  </a:lnTo>
                  <a:lnTo>
                    <a:pt x="348" y="697"/>
                  </a:lnTo>
                  <a:lnTo>
                    <a:pt x="347" y="696"/>
                  </a:lnTo>
                  <a:lnTo>
                    <a:pt x="341" y="693"/>
                  </a:lnTo>
                  <a:lnTo>
                    <a:pt x="334" y="688"/>
                  </a:lnTo>
                  <a:lnTo>
                    <a:pt x="312" y="673"/>
                  </a:lnTo>
                  <a:lnTo>
                    <a:pt x="305" y="668"/>
                  </a:lnTo>
                  <a:lnTo>
                    <a:pt x="303" y="666"/>
                  </a:lnTo>
                  <a:lnTo>
                    <a:pt x="301" y="664"/>
                  </a:lnTo>
                  <a:lnTo>
                    <a:pt x="296" y="659"/>
                  </a:lnTo>
                  <a:lnTo>
                    <a:pt x="294" y="657"/>
                  </a:lnTo>
                  <a:lnTo>
                    <a:pt x="291" y="654"/>
                  </a:lnTo>
                  <a:lnTo>
                    <a:pt x="290" y="651"/>
                  </a:lnTo>
                  <a:lnTo>
                    <a:pt x="289" y="649"/>
                  </a:lnTo>
                  <a:lnTo>
                    <a:pt x="288" y="647"/>
                  </a:lnTo>
                  <a:lnTo>
                    <a:pt x="287" y="645"/>
                  </a:lnTo>
                  <a:lnTo>
                    <a:pt x="286" y="641"/>
                  </a:lnTo>
                  <a:lnTo>
                    <a:pt x="286" y="638"/>
                  </a:lnTo>
                  <a:lnTo>
                    <a:pt x="284" y="627"/>
                  </a:lnTo>
                  <a:lnTo>
                    <a:pt x="283" y="616"/>
                  </a:lnTo>
                  <a:lnTo>
                    <a:pt x="282" y="606"/>
                  </a:lnTo>
                  <a:lnTo>
                    <a:pt x="282" y="603"/>
                  </a:lnTo>
                  <a:lnTo>
                    <a:pt x="281" y="598"/>
                  </a:lnTo>
                  <a:lnTo>
                    <a:pt x="280" y="593"/>
                  </a:lnTo>
                  <a:lnTo>
                    <a:pt x="280" y="590"/>
                  </a:lnTo>
                  <a:lnTo>
                    <a:pt x="278" y="580"/>
                  </a:lnTo>
                  <a:lnTo>
                    <a:pt x="277" y="579"/>
                  </a:lnTo>
                  <a:lnTo>
                    <a:pt x="276" y="577"/>
                  </a:lnTo>
                  <a:lnTo>
                    <a:pt x="275" y="575"/>
                  </a:lnTo>
                  <a:lnTo>
                    <a:pt x="274" y="573"/>
                  </a:lnTo>
                  <a:lnTo>
                    <a:pt x="272" y="570"/>
                  </a:lnTo>
                  <a:lnTo>
                    <a:pt x="269" y="568"/>
                  </a:lnTo>
                  <a:lnTo>
                    <a:pt x="265" y="561"/>
                  </a:lnTo>
                  <a:lnTo>
                    <a:pt x="258" y="554"/>
                  </a:lnTo>
                  <a:lnTo>
                    <a:pt x="251" y="545"/>
                  </a:lnTo>
                  <a:lnTo>
                    <a:pt x="239" y="530"/>
                  </a:lnTo>
                  <a:lnTo>
                    <a:pt x="236" y="526"/>
                  </a:lnTo>
                  <a:lnTo>
                    <a:pt x="234" y="523"/>
                  </a:lnTo>
                  <a:lnTo>
                    <a:pt x="230" y="520"/>
                  </a:lnTo>
                  <a:lnTo>
                    <a:pt x="225" y="516"/>
                  </a:lnTo>
                  <a:lnTo>
                    <a:pt x="223" y="513"/>
                  </a:lnTo>
                  <a:lnTo>
                    <a:pt x="219" y="511"/>
                  </a:lnTo>
                  <a:lnTo>
                    <a:pt x="212" y="505"/>
                  </a:lnTo>
                  <a:lnTo>
                    <a:pt x="209" y="502"/>
                  </a:lnTo>
                  <a:lnTo>
                    <a:pt x="205" y="500"/>
                  </a:lnTo>
                  <a:lnTo>
                    <a:pt x="200" y="497"/>
                  </a:lnTo>
                  <a:lnTo>
                    <a:pt x="196" y="495"/>
                  </a:lnTo>
                  <a:lnTo>
                    <a:pt x="193" y="494"/>
                  </a:lnTo>
                  <a:lnTo>
                    <a:pt x="189" y="493"/>
                  </a:lnTo>
                  <a:lnTo>
                    <a:pt x="185" y="492"/>
                  </a:lnTo>
                  <a:lnTo>
                    <a:pt x="180" y="492"/>
                  </a:lnTo>
                  <a:lnTo>
                    <a:pt x="175" y="492"/>
                  </a:lnTo>
                  <a:lnTo>
                    <a:pt x="165" y="492"/>
                  </a:lnTo>
                  <a:lnTo>
                    <a:pt x="159" y="492"/>
                  </a:lnTo>
                  <a:lnTo>
                    <a:pt x="156" y="491"/>
                  </a:lnTo>
                  <a:lnTo>
                    <a:pt x="154" y="491"/>
                  </a:lnTo>
                  <a:lnTo>
                    <a:pt x="151" y="490"/>
                  </a:lnTo>
                  <a:lnTo>
                    <a:pt x="147" y="489"/>
                  </a:lnTo>
                  <a:lnTo>
                    <a:pt x="144" y="489"/>
                  </a:lnTo>
                  <a:lnTo>
                    <a:pt x="141" y="487"/>
                  </a:lnTo>
                  <a:lnTo>
                    <a:pt x="137" y="485"/>
                  </a:lnTo>
                  <a:lnTo>
                    <a:pt x="133" y="483"/>
                  </a:lnTo>
                  <a:lnTo>
                    <a:pt x="131" y="481"/>
                  </a:lnTo>
                  <a:lnTo>
                    <a:pt x="127" y="478"/>
                  </a:lnTo>
                  <a:lnTo>
                    <a:pt x="124" y="476"/>
                  </a:lnTo>
                  <a:lnTo>
                    <a:pt x="121" y="473"/>
                  </a:lnTo>
                  <a:lnTo>
                    <a:pt x="119" y="470"/>
                  </a:lnTo>
                  <a:lnTo>
                    <a:pt x="116" y="466"/>
                  </a:lnTo>
                  <a:lnTo>
                    <a:pt x="114" y="463"/>
                  </a:lnTo>
                  <a:lnTo>
                    <a:pt x="112" y="461"/>
                  </a:lnTo>
                  <a:lnTo>
                    <a:pt x="111" y="459"/>
                  </a:lnTo>
                  <a:lnTo>
                    <a:pt x="110" y="456"/>
                  </a:lnTo>
                  <a:lnTo>
                    <a:pt x="110" y="453"/>
                  </a:lnTo>
                  <a:lnTo>
                    <a:pt x="108" y="441"/>
                  </a:lnTo>
                  <a:lnTo>
                    <a:pt x="107" y="437"/>
                  </a:lnTo>
                  <a:lnTo>
                    <a:pt x="106" y="434"/>
                  </a:lnTo>
                  <a:lnTo>
                    <a:pt x="105" y="432"/>
                  </a:lnTo>
                  <a:lnTo>
                    <a:pt x="104" y="429"/>
                  </a:lnTo>
                  <a:lnTo>
                    <a:pt x="102" y="427"/>
                  </a:lnTo>
                  <a:lnTo>
                    <a:pt x="101" y="425"/>
                  </a:lnTo>
                  <a:lnTo>
                    <a:pt x="98" y="422"/>
                  </a:lnTo>
                  <a:lnTo>
                    <a:pt x="94" y="416"/>
                  </a:lnTo>
                  <a:lnTo>
                    <a:pt x="84" y="406"/>
                  </a:lnTo>
                  <a:lnTo>
                    <a:pt x="72" y="393"/>
                  </a:lnTo>
                  <a:lnTo>
                    <a:pt x="70" y="390"/>
                  </a:lnTo>
                  <a:lnTo>
                    <a:pt x="68" y="388"/>
                  </a:lnTo>
                  <a:lnTo>
                    <a:pt x="66" y="386"/>
                  </a:lnTo>
                  <a:lnTo>
                    <a:pt x="65" y="384"/>
                  </a:lnTo>
                  <a:lnTo>
                    <a:pt x="61" y="375"/>
                  </a:lnTo>
                  <a:lnTo>
                    <a:pt x="59" y="371"/>
                  </a:lnTo>
                  <a:lnTo>
                    <a:pt x="56" y="367"/>
                  </a:lnTo>
                  <a:lnTo>
                    <a:pt x="51" y="360"/>
                  </a:lnTo>
                  <a:lnTo>
                    <a:pt x="48" y="356"/>
                  </a:lnTo>
                  <a:lnTo>
                    <a:pt x="47" y="354"/>
                  </a:lnTo>
                  <a:lnTo>
                    <a:pt x="42" y="346"/>
                  </a:lnTo>
                  <a:lnTo>
                    <a:pt x="41" y="343"/>
                  </a:lnTo>
                  <a:lnTo>
                    <a:pt x="39" y="341"/>
                  </a:lnTo>
                  <a:lnTo>
                    <a:pt x="38" y="340"/>
                  </a:lnTo>
                  <a:lnTo>
                    <a:pt x="36" y="338"/>
                  </a:lnTo>
                  <a:lnTo>
                    <a:pt x="28" y="330"/>
                  </a:lnTo>
                  <a:lnTo>
                    <a:pt x="25" y="328"/>
                  </a:lnTo>
                  <a:lnTo>
                    <a:pt x="23" y="325"/>
                  </a:lnTo>
                  <a:lnTo>
                    <a:pt x="19" y="319"/>
                  </a:lnTo>
                  <a:lnTo>
                    <a:pt x="17" y="318"/>
                  </a:lnTo>
                  <a:lnTo>
                    <a:pt x="15" y="315"/>
                  </a:lnTo>
                  <a:lnTo>
                    <a:pt x="9" y="309"/>
                  </a:lnTo>
                  <a:lnTo>
                    <a:pt x="6" y="305"/>
                  </a:lnTo>
                  <a:lnTo>
                    <a:pt x="4" y="302"/>
                  </a:lnTo>
                  <a:lnTo>
                    <a:pt x="3" y="300"/>
                  </a:lnTo>
                  <a:lnTo>
                    <a:pt x="2" y="298"/>
                  </a:lnTo>
                  <a:lnTo>
                    <a:pt x="1" y="296"/>
                  </a:lnTo>
                  <a:lnTo>
                    <a:pt x="0" y="294"/>
                  </a:lnTo>
                  <a:lnTo>
                    <a:pt x="0" y="291"/>
                  </a:lnTo>
                  <a:lnTo>
                    <a:pt x="0" y="290"/>
                  </a:lnTo>
                  <a:lnTo>
                    <a:pt x="0" y="289"/>
                  </a:lnTo>
                  <a:lnTo>
                    <a:pt x="1" y="289"/>
                  </a:lnTo>
                  <a:lnTo>
                    <a:pt x="1" y="288"/>
                  </a:lnTo>
                  <a:lnTo>
                    <a:pt x="2" y="285"/>
                  </a:lnTo>
                  <a:lnTo>
                    <a:pt x="4" y="278"/>
                  </a:lnTo>
                  <a:lnTo>
                    <a:pt x="7" y="267"/>
                  </a:lnTo>
                  <a:lnTo>
                    <a:pt x="7" y="264"/>
                  </a:lnTo>
                  <a:lnTo>
                    <a:pt x="8" y="262"/>
                  </a:lnTo>
                  <a:lnTo>
                    <a:pt x="9" y="260"/>
                  </a:lnTo>
                  <a:lnTo>
                    <a:pt x="10" y="259"/>
                  </a:lnTo>
                  <a:lnTo>
                    <a:pt x="11" y="258"/>
                  </a:lnTo>
                  <a:lnTo>
                    <a:pt x="12" y="257"/>
                  </a:lnTo>
                  <a:lnTo>
                    <a:pt x="13" y="256"/>
                  </a:lnTo>
                  <a:lnTo>
                    <a:pt x="15" y="255"/>
                  </a:lnTo>
                  <a:lnTo>
                    <a:pt x="16" y="254"/>
                  </a:lnTo>
                  <a:lnTo>
                    <a:pt x="17" y="254"/>
                  </a:lnTo>
                  <a:lnTo>
                    <a:pt x="19" y="253"/>
                  </a:lnTo>
                  <a:lnTo>
                    <a:pt x="20" y="253"/>
                  </a:lnTo>
                  <a:lnTo>
                    <a:pt x="22" y="253"/>
                  </a:lnTo>
                  <a:lnTo>
                    <a:pt x="25" y="254"/>
                  </a:lnTo>
                  <a:lnTo>
                    <a:pt x="27" y="254"/>
                  </a:lnTo>
                  <a:lnTo>
                    <a:pt x="30" y="255"/>
                  </a:lnTo>
                  <a:lnTo>
                    <a:pt x="36" y="257"/>
                  </a:lnTo>
                  <a:lnTo>
                    <a:pt x="39" y="258"/>
                  </a:lnTo>
                  <a:lnTo>
                    <a:pt x="40" y="258"/>
                  </a:lnTo>
                  <a:lnTo>
                    <a:pt x="41" y="258"/>
                  </a:lnTo>
                  <a:lnTo>
                    <a:pt x="44" y="258"/>
                  </a:lnTo>
                  <a:lnTo>
                    <a:pt x="49" y="258"/>
                  </a:lnTo>
                  <a:lnTo>
                    <a:pt x="54" y="258"/>
                  </a:lnTo>
                  <a:lnTo>
                    <a:pt x="57" y="258"/>
                  </a:lnTo>
                  <a:lnTo>
                    <a:pt x="61" y="257"/>
                  </a:lnTo>
                  <a:lnTo>
                    <a:pt x="67" y="255"/>
                  </a:lnTo>
                  <a:lnTo>
                    <a:pt x="70" y="255"/>
                  </a:lnTo>
                  <a:lnTo>
                    <a:pt x="73" y="255"/>
                  </a:lnTo>
                  <a:lnTo>
                    <a:pt x="78" y="254"/>
                  </a:lnTo>
                  <a:lnTo>
                    <a:pt x="80" y="254"/>
                  </a:lnTo>
                  <a:lnTo>
                    <a:pt x="83" y="254"/>
                  </a:lnTo>
                  <a:lnTo>
                    <a:pt x="85" y="253"/>
                  </a:lnTo>
                  <a:lnTo>
                    <a:pt x="87" y="253"/>
                  </a:lnTo>
                  <a:lnTo>
                    <a:pt x="87" y="252"/>
                  </a:lnTo>
                  <a:lnTo>
                    <a:pt x="89" y="251"/>
                  </a:lnTo>
                  <a:lnTo>
                    <a:pt x="90" y="251"/>
                  </a:lnTo>
                  <a:lnTo>
                    <a:pt x="92" y="249"/>
                  </a:lnTo>
                  <a:lnTo>
                    <a:pt x="93" y="248"/>
                  </a:lnTo>
                  <a:lnTo>
                    <a:pt x="94" y="247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6" y="241"/>
                  </a:lnTo>
                  <a:lnTo>
                    <a:pt x="96" y="238"/>
                  </a:lnTo>
                  <a:lnTo>
                    <a:pt x="97" y="234"/>
                  </a:lnTo>
                  <a:lnTo>
                    <a:pt x="96" y="224"/>
                  </a:lnTo>
                  <a:lnTo>
                    <a:pt x="96" y="215"/>
                  </a:lnTo>
                  <a:lnTo>
                    <a:pt x="96" y="211"/>
                  </a:lnTo>
                  <a:lnTo>
                    <a:pt x="96" y="206"/>
                  </a:lnTo>
                  <a:lnTo>
                    <a:pt x="95" y="205"/>
                  </a:lnTo>
                  <a:lnTo>
                    <a:pt x="95" y="203"/>
                  </a:lnTo>
                  <a:lnTo>
                    <a:pt x="94" y="199"/>
                  </a:lnTo>
                  <a:lnTo>
                    <a:pt x="92" y="196"/>
                  </a:lnTo>
                  <a:lnTo>
                    <a:pt x="90" y="192"/>
                  </a:lnTo>
                  <a:lnTo>
                    <a:pt x="89" y="190"/>
                  </a:lnTo>
                  <a:lnTo>
                    <a:pt x="87" y="187"/>
                  </a:lnTo>
                  <a:lnTo>
                    <a:pt x="86" y="185"/>
                  </a:lnTo>
                  <a:lnTo>
                    <a:pt x="84" y="183"/>
                  </a:lnTo>
                  <a:lnTo>
                    <a:pt x="81" y="180"/>
                  </a:lnTo>
                  <a:lnTo>
                    <a:pt x="80" y="179"/>
                  </a:lnTo>
                  <a:lnTo>
                    <a:pt x="78" y="177"/>
                  </a:lnTo>
                  <a:lnTo>
                    <a:pt x="78" y="175"/>
                  </a:lnTo>
                  <a:lnTo>
                    <a:pt x="77" y="175"/>
                  </a:lnTo>
                  <a:lnTo>
                    <a:pt x="77" y="174"/>
                  </a:lnTo>
                  <a:lnTo>
                    <a:pt x="78" y="172"/>
                  </a:lnTo>
                  <a:lnTo>
                    <a:pt x="79" y="171"/>
                  </a:lnTo>
                  <a:lnTo>
                    <a:pt x="81" y="168"/>
                  </a:lnTo>
                  <a:lnTo>
                    <a:pt x="82" y="167"/>
                  </a:lnTo>
                  <a:lnTo>
                    <a:pt x="82" y="165"/>
                  </a:lnTo>
                  <a:lnTo>
                    <a:pt x="83" y="163"/>
                  </a:lnTo>
                  <a:lnTo>
                    <a:pt x="83" y="160"/>
                  </a:lnTo>
                  <a:lnTo>
                    <a:pt x="83" y="159"/>
                  </a:lnTo>
                  <a:lnTo>
                    <a:pt x="82" y="156"/>
                  </a:lnTo>
                  <a:lnTo>
                    <a:pt x="81" y="153"/>
                  </a:lnTo>
                  <a:lnTo>
                    <a:pt x="79" y="150"/>
                  </a:lnTo>
                  <a:lnTo>
                    <a:pt x="76" y="145"/>
                  </a:lnTo>
                  <a:lnTo>
                    <a:pt x="75" y="141"/>
                  </a:lnTo>
                  <a:lnTo>
                    <a:pt x="73" y="138"/>
                  </a:lnTo>
                  <a:lnTo>
                    <a:pt x="71" y="137"/>
                  </a:lnTo>
                  <a:lnTo>
                    <a:pt x="70" y="135"/>
                  </a:lnTo>
                  <a:lnTo>
                    <a:pt x="68" y="134"/>
                  </a:lnTo>
                  <a:lnTo>
                    <a:pt x="64" y="131"/>
                  </a:lnTo>
                  <a:lnTo>
                    <a:pt x="64" y="129"/>
                  </a:lnTo>
                  <a:lnTo>
                    <a:pt x="63" y="127"/>
                  </a:lnTo>
                  <a:lnTo>
                    <a:pt x="62" y="126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2"/>
                  </a:lnTo>
                  <a:lnTo>
                    <a:pt x="63" y="120"/>
                  </a:lnTo>
                  <a:lnTo>
                    <a:pt x="64" y="118"/>
                  </a:lnTo>
                  <a:lnTo>
                    <a:pt x="65" y="116"/>
                  </a:lnTo>
                  <a:lnTo>
                    <a:pt x="70" y="112"/>
                  </a:lnTo>
                  <a:lnTo>
                    <a:pt x="73" y="109"/>
                  </a:lnTo>
                  <a:lnTo>
                    <a:pt x="77" y="105"/>
                  </a:lnTo>
                  <a:lnTo>
                    <a:pt x="78" y="104"/>
                  </a:lnTo>
                  <a:lnTo>
                    <a:pt x="79" y="104"/>
                  </a:lnTo>
                  <a:lnTo>
                    <a:pt x="81" y="102"/>
                  </a:lnTo>
                  <a:lnTo>
                    <a:pt x="84" y="96"/>
                  </a:lnTo>
                  <a:lnTo>
                    <a:pt x="85" y="94"/>
                  </a:lnTo>
                  <a:lnTo>
                    <a:pt x="90" y="90"/>
                  </a:lnTo>
                  <a:lnTo>
                    <a:pt x="96" y="86"/>
                  </a:lnTo>
                  <a:lnTo>
                    <a:pt x="98" y="85"/>
                  </a:lnTo>
                  <a:lnTo>
                    <a:pt x="99" y="83"/>
                  </a:lnTo>
                  <a:lnTo>
                    <a:pt x="100" y="81"/>
                  </a:lnTo>
                  <a:lnTo>
                    <a:pt x="101" y="80"/>
                  </a:lnTo>
                  <a:lnTo>
                    <a:pt x="103" y="77"/>
                  </a:lnTo>
                  <a:lnTo>
                    <a:pt x="104" y="74"/>
                  </a:lnTo>
                  <a:lnTo>
                    <a:pt x="105" y="72"/>
                  </a:lnTo>
                  <a:lnTo>
                    <a:pt x="106" y="70"/>
                  </a:lnTo>
                  <a:lnTo>
                    <a:pt x="106" y="69"/>
                  </a:lnTo>
                  <a:lnTo>
                    <a:pt x="107" y="64"/>
                  </a:lnTo>
                  <a:lnTo>
                    <a:pt x="107" y="61"/>
                  </a:lnTo>
                  <a:lnTo>
                    <a:pt x="108" y="58"/>
                  </a:lnTo>
                  <a:lnTo>
                    <a:pt x="110" y="56"/>
                  </a:lnTo>
                  <a:lnTo>
                    <a:pt x="112" y="50"/>
                  </a:lnTo>
                  <a:lnTo>
                    <a:pt x="115" y="46"/>
                  </a:lnTo>
                  <a:lnTo>
                    <a:pt x="123" y="31"/>
                  </a:lnTo>
                  <a:lnTo>
                    <a:pt x="127" y="25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35" y="25"/>
                  </a:lnTo>
                  <a:lnTo>
                    <a:pt x="137" y="25"/>
                  </a:lnTo>
                  <a:lnTo>
                    <a:pt x="140" y="25"/>
                  </a:lnTo>
                  <a:lnTo>
                    <a:pt x="141" y="24"/>
                  </a:lnTo>
                  <a:lnTo>
                    <a:pt x="143" y="24"/>
                  </a:lnTo>
                  <a:lnTo>
                    <a:pt x="144" y="23"/>
                  </a:lnTo>
                  <a:lnTo>
                    <a:pt x="145" y="21"/>
                  </a:lnTo>
                  <a:lnTo>
                    <a:pt x="147" y="19"/>
                  </a:lnTo>
                  <a:lnTo>
                    <a:pt x="148" y="17"/>
                  </a:lnTo>
                  <a:lnTo>
                    <a:pt x="150" y="13"/>
                  </a:lnTo>
                  <a:lnTo>
                    <a:pt x="151" y="12"/>
                  </a:lnTo>
                  <a:lnTo>
                    <a:pt x="152" y="11"/>
                  </a:lnTo>
                  <a:lnTo>
                    <a:pt x="153" y="11"/>
                  </a:lnTo>
                  <a:lnTo>
                    <a:pt x="154" y="10"/>
                  </a:lnTo>
                  <a:lnTo>
                    <a:pt x="157" y="8"/>
                  </a:lnTo>
                  <a:lnTo>
                    <a:pt x="161" y="6"/>
                  </a:lnTo>
                  <a:lnTo>
                    <a:pt x="163" y="5"/>
                  </a:lnTo>
                  <a:lnTo>
                    <a:pt x="164" y="5"/>
                  </a:lnTo>
                  <a:lnTo>
                    <a:pt x="165" y="5"/>
                  </a:lnTo>
                  <a:lnTo>
                    <a:pt x="166" y="5"/>
                  </a:lnTo>
                  <a:lnTo>
                    <a:pt x="168" y="6"/>
                  </a:lnTo>
                  <a:lnTo>
                    <a:pt x="170" y="6"/>
                  </a:lnTo>
                  <a:lnTo>
                    <a:pt x="172" y="6"/>
                  </a:lnTo>
                  <a:lnTo>
                    <a:pt x="174" y="6"/>
                  </a:lnTo>
                  <a:lnTo>
                    <a:pt x="178" y="5"/>
                  </a:lnTo>
                  <a:lnTo>
                    <a:pt x="181" y="4"/>
                  </a:lnTo>
                  <a:lnTo>
                    <a:pt x="185" y="3"/>
                  </a:lnTo>
                  <a:lnTo>
                    <a:pt x="190" y="1"/>
                  </a:lnTo>
                  <a:lnTo>
                    <a:pt x="193" y="1"/>
                  </a:lnTo>
                  <a:lnTo>
                    <a:pt x="195" y="0"/>
                  </a:lnTo>
                  <a:lnTo>
                    <a:pt x="197" y="0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0" name="Freeform 27">
              <a:extLst>
                <a:ext uri="{FF2B5EF4-FFF2-40B4-BE49-F238E27FC236}">
                  <a16:creationId xmlns:a16="http://schemas.microsoft.com/office/drawing/2014/main" id="{FFD595F7-8FCF-4505-A0DF-04AB17A75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" y="2438"/>
              <a:ext cx="227" cy="225"/>
            </a:xfrm>
            <a:custGeom>
              <a:avLst/>
              <a:gdLst>
                <a:gd name="T0" fmla="*/ 88 w 227"/>
                <a:gd name="T1" fmla="*/ 7 h 225"/>
                <a:gd name="T2" fmla="*/ 96 w 227"/>
                <a:gd name="T3" fmla="*/ 11 h 225"/>
                <a:gd name="T4" fmla="*/ 102 w 227"/>
                <a:gd name="T5" fmla="*/ 22 h 225"/>
                <a:gd name="T6" fmla="*/ 108 w 227"/>
                <a:gd name="T7" fmla="*/ 33 h 225"/>
                <a:gd name="T8" fmla="*/ 115 w 227"/>
                <a:gd name="T9" fmla="*/ 33 h 225"/>
                <a:gd name="T10" fmla="*/ 119 w 227"/>
                <a:gd name="T11" fmla="*/ 36 h 225"/>
                <a:gd name="T12" fmla="*/ 123 w 227"/>
                <a:gd name="T13" fmla="*/ 41 h 225"/>
                <a:gd name="T14" fmla="*/ 128 w 227"/>
                <a:gd name="T15" fmla="*/ 40 h 225"/>
                <a:gd name="T16" fmla="*/ 144 w 227"/>
                <a:gd name="T17" fmla="*/ 20 h 225"/>
                <a:gd name="T18" fmla="*/ 166 w 227"/>
                <a:gd name="T19" fmla="*/ 5 h 225"/>
                <a:gd name="T20" fmla="*/ 172 w 227"/>
                <a:gd name="T21" fmla="*/ 0 h 225"/>
                <a:gd name="T22" fmla="*/ 175 w 227"/>
                <a:gd name="T23" fmla="*/ 6 h 225"/>
                <a:gd name="T24" fmla="*/ 180 w 227"/>
                <a:gd name="T25" fmla="*/ 25 h 225"/>
                <a:gd name="T26" fmla="*/ 193 w 227"/>
                <a:gd name="T27" fmla="*/ 39 h 225"/>
                <a:gd name="T28" fmla="*/ 195 w 227"/>
                <a:gd name="T29" fmla="*/ 48 h 225"/>
                <a:gd name="T30" fmla="*/ 185 w 227"/>
                <a:gd name="T31" fmla="*/ 63 h 225"/>
                <a:gd name="T32" fmla="*/ 174 w 227"/>
                <a:gd name="T33" fmla="*/ 77 h 225"/>
                <a:gd name="T34" fmla="*/ 173 w 227"/>
                <a:gd name="T35" fmla="*/ 85 h 225"/>
                <a:gd name="T36" fmla="*/ 182 w 227"/>
                <a:gd name="T37" fmla="*/ 94 h 225"/>
                <a:gd name="T38" fmla="*/ 204 w 227"/>
                <a:gd name="T39" fmla="*/ 113 h 225"/>
                <a:gd name="T40" fmla="*/ 203 w 227"/>
                <a:gd name="T41" fmla="*/ 119 h 225"/>
                <a:gd name="T42" fmla="*/ 200 w 227"/>
                <a:gd name="T43" fmla="*/ 127 h 225"/>
                <a:gd name="T44" fmla="*/ 205 w 227"/>
                <a:gd name="T45" fmla="*/ 135 h 225"/>
                <a:gd name="T46" fmla="*/ 221 w 227"/>
                <a:gd name="T47" fmla="*/ 144 h 225"/>
                <a:gd name="T48" fmla="*/ 224 w 227"/>
                <a:gd name="T49" fmla="*/ 151 h 225"/>
                <a:gd name="T50" fmla="*/ 212 w 227"/>
                <a:gd name="T51" fmla="*/ 173 h 225"/>
                <a:gd name="T52" fmla="*/ 210 w 227"/>
                <a:gd name="T53" fmla="*/ 188 h 225"/>
                <a:gd name="T54" fmla="*/ 199 w 227"/>
                <a:gd name="T55" fmla="*/ 202 h 225"/>
                <a:gd name="T56" fmla="*/ 177 w 227"/>
                <a:gd name="T57" fmla="*/ 218 h 225"/>
                <a:gd name="T58" fmla="*/ 161 w 227"/>
                <a:gd name="T59" fmla="*/ 225 h 225"/>
                <a:gd name="T60" fmla="*/ 152 w 227"/>
                <a:gd name="T61" fmla="*/ 225 h 225"/>
                <a:gd name="T62" fmla="*/ 140 w 227"/>
                <a:gd name="T63" fmla="*/ 218 h 225"/>
                <a:gd name="T64" fmla="*/ 122 w 227"/>
                <a:gd name="T65" fmla="*/ 202 h 225"/>
                <a:gd name="T66" fmla="*/ 104 w 227"/>
                <a:gd name="T67" fmla="*/ 196 h 225"/>
                <a:gd name="T68" fmla="*/ 99 w 227"/>
                <a:gd name="T69" fmla="*/ 190 h 225"/>
                <a:gd name="T70" fmla="*/ 103 w 227"/>
                <a:gd name="T71" fmla="*/ 180 h 225"/>
                <a:gd name="T72" fmla="*/ 108 w 227"/>
                <a:gd name="T73" fmla="*/ 172 h 225"/>
                <a:gd name="T74" fmla="*/ 108 w 227"/>
                <a:gd name="T75" fmla="*/ 160 h 225"/>
                <a:gd name="T76" fmla="*/ 102 w 227"/>
                <a:gd name="T77" fmla="*/ 154 h 225"/>
                <a:gd name="T78" fmla="*/ 87 w 227"/>
                <a:gd name="T79" fmla="*/ 145 h 225"/>
                <a:gd name="T80" fmla="*/ 69 w 227"/>
                <a:gd name="T81" fmla="*/ 147 h 225"/>
                <a:gd name="T82" fmla="*/ 42 w 227"/>
                <a:gd name="T83" fmla="*/ 150 h 225"/>
                <a:gd name="T84" fmla="*/ 28 w 227"/>
                <a:gd name="T85" fmla="*/ 145 h 225"/>
                <a:gd name="T86" fmla="*/ 21 w 227"/>
                <a:gd name="T87" fmla="*/ 139 h 225"/>
                <a:gd name="T88" fmla="*/ 18 w 227"/>
                <a:gd name="T89" fmla="*/ 131 h 225"/>
                <a:gd name="T90" fmla="*/ 18 w 227"/>
                <a:gd name="T91" fmla="*/ 120 h 225"/>
                <a:gd name="T92" fmla="*/ 17 w 227"/>
                <a:gd name="T93" fmla="*/ 91 h 225"/>
                <a:gd name="T94" fmla="*/ 12 w 227"/>
                <a:gd name="T95" fmla="*/ 83 h 225"/>
                <a:gd name="T96" fmla="*/ 8 w 227"/>
                <a:gd name="T97" fmla="*/ 71 h 225"/>
                <a:gd name="T98" fmla="*/ 6 w 227"/>
                <a:gd name="T99" fmla="*/ 52 h 225"/>
                <a:gd name="T100" fmla="*/ 0 w 227"/>
                <a:gd name="T101" fmla="*/ 39 h 225"/>
                <a:gd name="T102" fmla="*/ 1 w 227"/>
                <a:gd name="T103" fmla="*/ 32 h 225"/>
                <a:gd name="T104" fmla="*/ 7 w 227"/>
                <a:gd name="T105" fmla="*/ 23 h 225"/>
                <a:gd name="T106" fmla="*/ 15 w 227"/>
                <a:gd name="T107" fmla="*/ 22 h 225"/>
                <a:gd name="T108" fmla="*/ 35 w 227"/>
                <a:gd name="T109" fmla="*/ 32 h 225"/>
                <a:gd name="T110" fmla="*/ 51 w 227"/>
                <a:gd name="T111" fmla="*/ 34 h 225"/>
                <a:gd name="T112" fmla="*/ 59 w 227"/>
                <a:gd name="T113" fmla="*/ 31 h 225"/>
                <a:gd name="T114" fmla="*/ 68 w 227"/>
                <a:gd name="T115" fmla="*/ 16 h 225"/>
                <a:gd name="T116" fmla="*/ 77 w 227"/>
                <a:gd name="T117" fmla="*/ 8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7" h="225">
                  <a:moveTo>
                    <a:pt x="83" y="6"/>
                  </a:moveTo>
                  <a:lnTo>
                    <a:pt x="83" y="6"/>
                  </a:lnTo>
                  <a:lnTo>
                    <a:pt x="84" y="6"/>
                  </a:lnTo>
                  <a:lnTo>
                    <a:pt x="86" y="6"/>
                  </a:lnTo>
                  <a:lnTo>
                    <a:pt x="88" y="7"/>
                  </a:lnTo>
                  <a:lnTo>
                    <a:pt x="90" y="8"/>
                  </a:lnTo>
                  <a:lnTo>
                    <a:pt x="92" y="8"/>
                  </a:lnTo>
                  <a:lnTo>
                    <a:pt x="93" y="9"/>
                  </a:lnTo>
                  <a:lnTo>
                    <a:pt x="95" y="10"/>
                  </a:lnTo>
                  <a:lnTo>
                    <a:pt x="96" y="11"/>
                  </a:lnTo>
                  <a:lnTo>
                    <a:pt x="98" y="14"/>
                  </a:lnTo>
                  <a:lnTo>
                    <a:pt x="98" y="15"/>
                  </a:lnTo>
                  <a:lnTo>
                    <a:pt x="99" y="17"/>
                  </a:lnTo>
                  <a:lnTo>
                    <a:pt x="100" y="20"/>
                  </a:lnTo>
                  <a:lnTo>
                    <a:pt x="102" y="22"/>
                  </a:lnTo>
                  <a:lnTo>
                    <a:pt x="104" y="28"/>
                  </a:lnTo>
                  <a:lnTo>
                    <a:pt x="104" y="30"/>
                  </a:lnTo>
                  <a:lnTo>
                    <a:pt x="105" y="32"/>
                  </a:lnTo>
                  <a:lnTo>
                    <a:pt x="107" y="32"/>
                  </a:lnTo>
                  <a:lnTo>
                    <a:pt x="108" y="33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10" y="34"/>
                  </a:lnTo>
                  <a:lnTo>
                    <a:pt x="113" y="33"/>
                  </a:lnTo>
                  <a:lnTo>
                    <a:pt x="115" y="33"/>
                  </a:lnTo>
                  <a:lnTo>
                    <a:pt x="116" y="33"/>
                  </a:lnTo>
                  <a:lnTo>
                    <a:pt x="117" y="33"/>
                  </a:lnTo>
                  <a:lnTo>
                    <a:pt x="118" y="34"/>
                  </a:lnTo>
                  <a:lnTo>
                    <a:pt x="119" y="34"/>
                  </a:lnTo>
                  <a:lnTo>
                    <a:pt x="119" y="36"/>
                  </a:lnTo>
                  <a:lnTo>
                    <a:pt x="121" y="38"/>
                  </a:lnTo>
                  <a:lnTo>
                    <a:pt x="121" y="39"/>
                  </a:lnTo>
                  <a:lnTo>
                    <a:pt x="121" y="40"/>
                  </a:lnTo>
                  <a:lnTo>
                    <a:pt x="122" y="40"/>
                  </a:lnTo>
                  <a:lnTo>
                    <a:pt x="123" y="41"/>
                  </a:lnTo>
                  <a:lnTo>
                    <a:pt x="125" y="41"/>
                  </a:lnTo>
                  <a:lnTo>
                    <a:pt x="126" y="41"/>
                  </a:lnTo>
                  <a:lnTo>
                    <a:pt x="127" y="41"/>
                  </a:lnTo>
                  <a:lnTo>
                    <a:pt x="128" y="41"/>
                  </a:lnTo>
                  <a:lnTo>
                    <a:pt x="128" y="40"/>
                  </a:lnTo>
                  <a:lnTo>
                    <a:pt x="129" y="39"/>
                  </a:lnTo>
                  <a:lnTo>
                    <a:pt x="140" y="24"/>
                  </a:lnTo>
                  <a:lnTo>
                    <a:pt x="142" y="22"/>
                  </a:lnTo>
                  <a:lnTo>
                    <a:pt x="143" y="21"/>
                  </a:lnTo>
                  <a:lnTo>
                    <a:pt x="144" y="20"/>
                  </a:lnTo>
                  <a:lnTo>
                    <a:pt x="146" y="19"/>
                  </a:lnTo>
                  <a:lnTo>
                    <a:pt x="154" y="14"/>
                  </a:lnTo>
                  <a:lnTo>
                    <a:pt x="157" y="11"/>
                  </a:lnTo>
                  <a:lnTo>
                    <a:pt x="161" y="9"/>
                  </a:lnTo>
                  <a:lnTo>
                    <a:pt x="166" y="5"/>
                  </a:lnTo>
                  <a:lnTo>
                    <a:pt x="167" y="3"/>
                  </a:lnTo>
                  <a:lnTo>
                    <a:pt x="170" y="1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3" y="1"/>
                  </a:lnTo>
                  <a:lnTo>
                    <a:pt x="174" y="2"/>
                  </a:lnTo>
                  <a:lnTo>
                    <a:pt x="174" y="3"/>
                  </a:lnTo>
                  <a:lnTo>
                    <a:pt x="175" y="6"/>
                  </a:lnTo>
                  <a:lnTo>
                    <a:pt x="176" y="12"/>
                  </a:lnTo>
                  <a:lnTo>
                    <a:pt x="177" y="16"/>
                  </a:lnTo>
                  <a:lnTo>
                    <a:pt x="177" y="18"/>
                  </a:lnTo>
                  <a:lnTo>
                    <a:pt x="177" y="21"/>
                  </a:lnTo>
                  <a:lnTo>
                    <a:pt x="180" y="25"/>
                  </a:lnTo>
                  <a:lnTo>
                    <a:pt x="181" y="27"/>
                  </a:lnTo>
                  <a:lnTo>
                    <a:pt x="182" y="28"/>
                  </a:lnTo>
                  <a:lnTo>
                    <a:pt x="188" y="33"/>
                  </a:lnTo>
                  <a:lnTo>
                    <a:pt x="190" y="37"/>
                  </a:lnTo>
                  <a:lnTo>
                    <a:pt x="193" y="39"/>
                  </a:lnTo>
                  <a:lnTo>
                    <a:pt x="194" y="41"/>
                  </a:lnTo>
                  <a:lnTo>
                    <a:pt x="195" y="43"/>
                  </a:lnTo>
                  <a:lnTo>
                    <a:pt x="195" y="44"/>
                  </a:lnTo>
                  <a:lnTo>
                    <a:pt x="196" y="46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3" y="53"/>
                  </a:lnTo>
                  <a:lnTo>
                    <a:pt x="192" y="55"/>
                  </a:lnTo>
                  <a:lnTo>
                    <a:pt x="190" y="57"/>
                  </a:lnTo>
                  <a:lnTo>
                    <a:pt x="185" y="63"/>
                  </a:lnTo>
                  <a:lnTo>
                    <a:pt x="179" y="67"/>
                  </a:lnTo>
                  <a:lnTo>
                    <a:pt x="177" y="70"/>
                  </a:lnTo>
                  <a:lnTo>
                    <a:pt x="176" y="73"/>
                  </a:lnTo>
                  <a:lnTo>
                    <a:pt x="175" y="75"/>
                  </a:lnTo>
                  <a:lnTo>
                    <a:pt x="174" y="77"/>
                  </a:lnTo>
                  <a:lnTo>
                    <a:pt x="173" y="78"/>
                  </a:lnTo>
                  <a:lnTo>
                    <a:pt x="173" y="80"/>
                  </a:lnTo>
                  <a:lnTo>
                    <a:pt x="173" y="82"/>
                  </a:lnTo>
                  <a:lnTo>
                    <a:pt x="173" y="84"/>
                  </a:lnTo>
                  <a:lnTo>
                    <a:pt x="173" y="85"/>
                  </a:lnTo>
                  <a:lnTo>
                    <a:pt x="173" y="87"/>
                  </a:lnTo>
                  <a:lnTo>
                    <a:pt x="174" y="89"/>
                  </a:lnTo>
                  <a:lnTo>
                    <a:pt x="175" y="89"/>
                  </a:lnTo>
                  <a:lnTo>
                    <a:pt x="177" y="91"/>
                  </a:lnTo>
                  <a:lnTo>
                    <a:pt x="182" y="94"/>
                  </a:lnTo>
                  <a:lnTo>
                    <a:pt x="188" y="99"/>
                  </a:lnTo>
                  <a:lnTo>
                    <a:pt x="193" y="104"/>
                  </a:lnTo>
                  <a:lnTo>
                    <a:pt x="197" y="107"/>
                  </a:lnTo>
                  <a:lnTo>
                    <a:pt x="203" y="112"/>
                  </a:lnTo>
                  <a:lnTo>
                    <a:pt x="204" y="113"/>
                  </a:lnTo>
                  <a:lnTo>
                    <a:pt x="204" y="114"/>
                  </a:lnTo>
                  <a:lnTo>
                    <a:pt x="205" y="115"/>
                  </a:lnTo>
                  <a:lnTo>
                    <a:pt x="205" y="116"/>
                  </a:lnTo>
                  <a:lnTo>
                    <a:pt x="204" y="117"/>
                  </a:lnTo>
                  <a:lnTo>
                    <a:pt x="203" y="119"/>
                  </a:lnTo>
                  <a:lnTo>
                    <a:pt x="201" y="122"/>
                  </a:lnTo>
                  <a:lnTo>
                    <a:pt x="200" y="123"/>
                  </a:lnTo>
                  <a:lnTo>
                    <a:pt x="200" y="124"/>
                  </a:lnTo>
                  <a:lnTo>
                    <a:pt x="200" y="126"/>
                  </a:lnTo>
                  <a:lnTo>
                    <a:pt x="200" y="127"/>
                  </a:lnTo>
                  <a:lnTo>
                    <a:pt x="200" y="128"/>
                  </a:lnTo>
                  <a:lnTo>
                    <a:pt x="200" y="130"/>
                  </a:lnTo>
                  <a:lnTo>
                    <a:pt x="201" y="132"/>
                  </a:lnTo>
                  <a:lnTo>
                    <a:pt x="203" y="134"/>
                  </a:lnTo>
                  <a:lnTo>
                    <a:pt x="205" y="135"/>
                  </a:lnTo>
                  <a:lnTo>
                    <a:pt x="207" y="137"/>
                  </a:lnTo>
                  <a:lnTo>
                    <a:pt x="210" y="138"/>
                  </a:lnTo>
                  <a:lnTo>
                    <a:pt x="216" y="141"/>
                  </a:lnTo>
                  <a:lnTo>
                    <a:pt x="219" y="143"/>
                  </a:lnTo>
                  <a:lnTo>
                    <a:pt x="221" y="144"/>
                  </a:lnTo>
                  <a:lnTo>
                    <a:pt x="225" y="146"/>
                  </a:lnTo>
                  <a:lnTo>
                    <a:pt x="226" y="147"/>
                  </a:lnTo>
                  <a:lnTo>
                    <a:pt x="227" y="147"/>
                  </a:lnTo>
                  <a:lnTo>
                    <a:pt x="226" y="148"/>
                  </a:lnTo>
                  <a:lnTo>
                    <a:pt x="224" y="151"/>
                  </a:lnTo>
                  <a:lnTo>
                    <a:pt x="221" y="157"/>
                  </a:lnTo>
                  <a:lnTo>
                    <a:pt x="218" y="161"/>
                  </a:lnTo>
                  <a:lnTo>
                    <a:pt x="216" y="165"/>
                  </a:lnTo>
                  <a:lnTo>
                    <a:pt x="213" y="170"/>
                  </a:lnTo>
                  <a:lnTo>
                    <a:pt x="212" y="173"/>
                  </a:lnTo>
                  <a:lnTo>
                    <a:pt x="212" y="176"/>
                  </a:lnTo>
                  <a:lnTo>
                    <a:pt x="211" y="179"/>
                  </a:lnTo>
                  <a:lnTo>
                    <a:pt x="210" y="185"/>
                  </a:lnTo>
                  <a:lnTo>
                    <a:pt x="210" y="186"/>
                  </a:lnTo>
                  <a:lnTo>
                    <a:pt x="210" y="188"/>
                  </a:lnTo>
                  <a:lnTo>
                    <a:pt x="208" y="191"/>
                  </a:lnTo>
                  <a:lnTo>
                    <a:pt x="207" y="193"/>
                  </a:lnTo>
                  <a:lnTo>
                    <a:pt x="204" y="196"/>
                  </a:lnTo>
                  <a:lnTo>
                    <a:pt x="202" y="199"/>
                  </a:lnTo>
                  <a:lnTo>
                    <a:pt x="199" y="202"/>
                  </a:lnTo>
                  <a:lnTo>
                    <a:pt x="194" y="206"/>
                  </a:lnTo>
                  <a:lnTo>
                    <a:pt x="190" y="208"/>
                  </a:lnTo>
                  <a:lnTo>
                    <a:pt x="184" y="213"/>
                  </a:lnTo>
                  <a:lnTo>
                    <a:pt x="182" y="213"/>
                  </a:lnTo>
                  <a:lnTo>
                    <a:pt x="177" y="218"/>
                  </a:lnTo>
                  <a:lnTo>
                    <a:pt x="176" y="219"/>
                  </a:lnTo>
                  <a:lnTo>
                    <a:pt x="175" y="219"/>
                  </a:lnTo>
                  <a:lnTo>
                    <a:pt x="172" y="220"/>
                  </a:lnTo>
                  <a:lnTo>
                    <a:pt x="166" y="222"/>
                  </a:lnTo>
                  <a:lnTo>
                    <a:pt x="161" y="225"/>
                  </a:lnTo>
                  <a:lnTo>
                    <a:pt x="159" y="225"/>
                  </a:lnTo>
                  <a:lnTo>
                    <a:pt x="157" y="225"/>
                  </a:lnTo>
                  <a:lnTo>
                    <a:pt x="155" y="225"/>
                  </a:lnTo>
                  <a:lnTo>
                    <a:pt x="153" y="225"/>
                  </a:lnTo>
                  <a:lnTo>
                    <a:pt x="152" y="225"/>
                  </a:lnTo>
                  <a:lnTo>
                    <a:pt x="150" y="225"/>
                  </a:lnTo>
                  <a:lnTo>
                    <a:pt x="148" y="225"/>
                  </a:lnTo>
                  <a:lnTo>
                    <a:pt x="145" y="223"/>
                  </a:lnTo>
                  <a:lnTo>
                    <a:pt x="143" y="222"/>
                  </a:lnTo>
                  <a:lnTo>
                    <a:pt x="140" y="218"/>
                  </a:lnTo>
                  <a:lnTo>
                    <a:pt x="133" y="212"/>
                  </a:lnTo>
                  <a:lnTo>
                    <a:pt x="131" y="209"/>
                  </a:lnTo>
                  <a:lnTo>
                    <a:pt x="128" y="206"/>
                  </a:lnTo>
                  <a:lnTo>
                    <a:pt x="125" y="204"/>
                  </a:lnTo>
                  <a:lnTo>
                    <a:pt x="122" y="202"/>
                  </a:lnTo>
                  <a:lnTo>
                    <a:pt x="120" y="202"/>
                  </a:lnTo>
                  <a:lnTo>
                    <a:pt x="116" y="201"/>
                  </a:lnTo>
                  <a:lnTo>
                    <a:pt x="109" y="198"/>
                  </a:lnTo>
                  <a:lnTo>
                    <a:pt x="106" y="197"/>
                  </a:lnTo>
                  <a:lnTo>
                    <a:pt x="104" y="196"/>
                  </a:lnTo>
                  <a:lnTo>
                    <a:pt x="103" y="195"/>
                  </a:lnTo>
                  <a:lnTo>
                    <a:pt x="101" y="194"/>
                  </a:lnTo>
                  <a:lnTo>
                    <a:pt x="100" y="192"/>
                  </a:lnTo>
                  <a:lnTo>
                    <a:pt x="99" y="191"/>
                  </a:lnTo>
                  <a:lnTo>
                    <a:pt x="99" y="190"/>
                  </a:lnTo>
                  <a:lnTo>
                    <a:pt x="99" y="188"/>
                  </a:lnTo>
                  <a:lnTo>
                    <a:pt x="99" y="186"/>
                  </a:lnTo>
                  <a:lnTo>
                    <a:pt x="99" y="185"/>
                  </a:lnTo>
                  <a:lnTo>
                    <a:pt x="100" y="184"/>
                  </a:lnTo>
                  <a:lnTo>
                    <a:pt x="103" y="180"/>
                  </a:lnTo>
                  <a:lnTo>
                    <a:pt x="105" y="179"/>
                  </a:lnTo>
                  <a:lnTo>
                    <a:pt x="106" y="178"/>
                  </a:lnTo>
                  <a:lnTo>
                    <a:pt x="107" y="176"/>
                  </a:lnTo>
                  <a:lnTo>
                    <a:pt x="107" y="174"/>
                  </a:lnTo>
                  <a:lnTo>
                    <a:pt x="108" y="172"/>
                  </a:lnTo>
                  <a:lnTo>
                    <a:pt x="108" y="169"/>
                  </a:lnTo>
                  <a:lnTo>
                    <a:pt x="109" y="168"/>
                  </a:lnTo>
                  <a:lnTo>
                    <a:pt x="109" y="165"/>
                  </a:lnTo>
                  <a:lnTo>
                    <a:pt x="108" y="163"/>
                  </a:lnTo>
                  <a:lnTo>
                    <a:pt x="108" y="160"/>
                  </a:lnTo>
                  <a:lnTo>
                    <a:pt x="107" y="159"/>
                  </a:lnTo>
                  <a:lnTo>
                    <a:pt x="106" y="157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2" y="154"/>
                  </a:lnTo>
                  <a:lnTo>
                    <a:pt x="95" y="149"/>
                  </a:lnTo>
                  <a:lnTo>
                    <a:pt x="92" y="147"/>
                  </a:lnTo>
                  <a:lnTo>
                    <a:pt x="91" y="146"/>
                  </a:lnTo>
                  <a:lnTo>
                    <a:pt x="89" y="146"/>
                  </a:lnTo>
                  <a:lnTo>
                    <a:pt x="87" y="145"/>
                  </a:lnTo>
                  <a:lnTo>
                    <a:pt x="85" y="145"/>
                  </a:lnTo>
                  <a:lnTo>
                    <a:pt x="82" y="145"/>
                  </a:lnTo>
                  <a:lnTo>
                    <a:pt x="78" y="145"/>
                  </a:lnTo>
                  <a:lnTo>
                    <a:pt x="76" y="146"/>
                  </a:lnTo>
                  <a:lnTo>
                    <a:pt x="69" y="147"/>
                  </a:lnTo>
                  <a:lnTo>
                    <a:pt x="64" y="148"/>
                  </a:lnTo>
                  <a:lnTo>
                    <a:pt x="60" y="149"/>
                  </a:lnTo>
                  <a:lnTo>
                    <a:pt x="52" y="150"/>
                  </a:lnTo>
                  <a:lnTo>
                    <a:pt x="45" y="150"/>
                  </a:lnTo>
                  <a:lnTo>
                    <a:pt x="42" y="150"/>
                  </a:lnTo>
                  <a:lnTo>
                    <a:pt x="38" y="149"/>
                  </a:lnTo>
                  <a:lnTo>
                    <a:pt x="34" y="148"/>
                  </a:lnTo>
                  <a:lnTo>
                    <a:pt x="30" y="146"/>
                  </a:lnTo>
                  <a:lnTo>
                    <a:pt x="29" y="146"/>
                  </a:lnTo>
                  <a:lnTo>
                    <a:pt x="28" y="145"/>
                  </a:lnTo>
                  <a:lnTo>
                    <a:pt x="26" y="145"/>
                  </a:lnTo>
                  <a:lnTo>
                    <a:pt x="25" y="144"/>
                  </a:lnTo>
                  <a:lnTo>
                    <a:pt x="23" y="142"/>
                  </a:lnTo>
                  <a:lnTo>
                    <a:pt x="22" y="141"/>
                  </a:lnTo>
                  <a:lnTo>
                    <a:pt x="21" y="139"/>
                  </a:lnTo>
                  <a:lnTo>
                    <a:pt x="20" y="137"/>
                  </a:lnTo>
                  <a:lnTo>
                    <a:pt x="19" y="136"/>
                  </a:lnTo>
                  <a:lnTo>
                    <a:pt x="19" y="134"/>
                  </a:lnTo>
                  <a:lnTo>
                    <a:pt x="18" y="133"/>
                  </a:lnTo>
                  <a:lnTo>
                    <a:pt x="18" y="131"/>
                  </a:lnTo>
                  <a:lnTo>
                    <a:pt x="18" y="129"/>
                  </a:lnTo>
                  <a:lnTo>
                    <a:pt x="18" y="127"/>
                  </a:lnTo>
                  <a:lnTo>
                    <a:pt x="18" y="127"/>
                  </a:lnTo>
                  <a:lnTo>
                    <a:pt x="18" y="125"/>
                  </a:lnTo>
                  <a:lnTo>
                    <a:pt x="18" y="120"/>
                  </a:lnTo>
                  <a:lnTo>
                    <a:pt x="18" y="116"/>
                  </a:lnTo>
                  <a:lnTo>
                    <a:pt x="18" y="107"/>
                  </a:lnTo>
                  <a:lnTo>
                    <a:pt x="18" y="103"/>
                  </a:lnTo>
                  <a:lnTo>
                    <a:pt x="18" y="97"/>
                  </a:lnTo>
                  <a:lnTo>
                    <a:pt x="17" y="91"/>
                  </a:lnTo>
                  <a:lnTo>
                    <a:pt x="17" y="89"/>
                  </a:lnTo>
                  <a:lnTo>
                    <a:pt x="16" y="89"/>
                  </a:lnTo>
                  <a:lnTo>
                    <a:pt x="16" y="88"/>
                  </a:lnTo>
                  <a:lnTo>
                    <a:pt x="13" y="85"/>
                  </a:lnTo>
                  <a:lnTo>
                    <a:pt x="12" y="83"/>
                  </a:lnTo>
                  <a:lnTo>
                    <a:pt x="11" y="81"/>
                  </a:lnTo>
                  <a:lnTo>
                    <a:pt x="10" y="79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8" y="71"/>
                  </a:lnTo>
                  <a:lnTo>
                    <a:pt x="8" y="62"/>
                  </a:lnTo>
                  <a:lnTo>
                    <a:pt x="7" y="57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6" y="52"/>
                  </a:lnTo>
                  <a:lnTo>
                    <a:pt x="5" y="49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1" y="32"/>
                  </a:lnTo>
                  <a:lnTo>
                    <a:pt x="2" y="29"/>
                  </a:lnTo>
                  <a:lnTo>
                    <a:pt x="4" y="27"/>
                  </a:lnTo>
                  <a:lnTo>
                    <a:pt x="5" y="26"/>
                  </a:lnTo>
                  <a:lnTo>
                    <a:pt x="6" y="24"/>
                  </a:lnTo>
                  <a:lnTo>
                    <a:pt x="7" y="23"/>
                  </a:lnTo>
                  <a:lnTo>
                    <a:pt x="8" y="22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9" y="24"/>
                  </a:lnTo>
                  <a:lnTo>
                    <a:pt x="21" y="25"/>
                  </a:lnTo>
                  <a:lnTo>
                    <a:pt x="29" y="29"/>
                  </a:lnTo>
                  <a:lnTo>
                    <a:pt x="35" y="32"/>
                  </a:lnTo>
                  <a:lnTo>
                    <a:pt x="38" y="32"/>
                  </a:lnTo>
                  <a:lnTo>
                    <a:pt x="40" y="33"/>
                  </a:lnTo>
                  <a:lnTo>
                    <a:pt x="42" y="34"/>
                  </a:lnTo>
                  <a:lnTo>
                    <a:pt x="47" y="34"/>
                  </a:lnTo>
                  <a:lnTo>
                    <a:pt x="51" y="34"/>
                  </a:lnTo>
                  <a:lnTo>
                    <a:pt x="52" y="34"/>
                  </a:lnTo>
                  <a:lnTo>
                    <a:pt x="53" y="34"/>
                  </a:lnTo>
                  <a:lnTo>
                    <a:pt x="55" y="33"/>
                  </a:lnTo>
                  <a:lnTo>
                    <a:pt x="57" y="32"/>
                  </a:lnTo>
                  <a:lnTo>
                    <a:pt x="59" y="31"/>
                  </a:lnTo>
                  <a:lnTo>
                    <a:pt x="61" y="29"/>
                  </a:lnTo>
                  <a:lnTo>
                    <a:pt x="62" y="27"/>
                  </a:lnTo>
                  <a:lnTo>
                    <a:pt x="64" y="25"/>
                  </a:lnTo>
                  <a:lnTo>
                    <a:pt x="66" y="19"/>
                  </a:lnTo>
                  <a:lnTo>
                    <a:pt x="68" y="16"/>
                  </a:lnTo>
                  <a:lnTo>
                    <a:pt x="69" y="14"/>
                  </a:lnTo>
                  <a:lnTo>
                    <a:pt x="71" y="12"/>
                  </a:lnTo>
                  <a:lnTo>
                    <a:pt x="74" y="10"/>
                  </a:lnTo>
                  <a:lnTo>
                    <a:pt x="75" y="9"/>
                  </a:lnTo>
                  <a:lnTo>
                    <a:pt x="77" y="8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2" y="6"/>
                  </a:lnTo>
                  <a:lnTo>
                    <a:pt x="83" y="6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1" name="Freeform 28">
              <a:extLst>
                <a:ext uri="{FF2B5EF4-FFF2-40B4-BE49-F238E27FC236}">
                  <a16:creationId xmlns:a16="http://schemas.microsoft.com/office/drawing/2014/main" id="{99F5045B-D30A-424A-AB0F-BA26E22D5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" y="2565"/>
              <a:ext cx="591" cy="358"/>
            </a:xfrm>
            <a:custGeom>
              <a:avLst/>
              <a:gdLst>
                <a:gd name="T0" fmla="*/ 130 w 591"/>
                <a:gd name="T1" fmla="*/ 11 h 358"/>
                <a:gd name="T2" fmla="*/ 150 w 591"/>
                <a:gd name="T3" fmla="*/ 24 h 358"/>
                <a:gd name="T4" fmla="*/ 172 w 591"/>
                <a:gd name="T5" fmla="*/ 36 h 358"/>
                <a:gd name="T6" fmla="*/ 199 w 591"/>
                <a:gd name="T7" fmla="*/ 30 h 358"/>
                <a:gd name="T8" fmla="*/ 229 w 591"/>
                <a:gd name="T9" fmla="*/ 6 h 358"/>
                <a:gd name="T10" fmla="*/ 241 w 591"/>
                <a:gd name="T11" fmla="*/ 19 h 358"/>
                <a:gd name="T12" fmla="*/ 293 w 591"/>
                <a:gd name="T13" fmla="*/ 18 h 358"/>
                <a:gd name="T14" fmla="*/ 318 w 591"/>
                <a:gd name="T15" fmla="*/ 32 h 358"/>
                <a:gd name="T16" fmla="*/ 314 w 591"/>
                <a:gd name="T17" fmla="*/ 53 h 358"/>
                <a:gd name="T18" fmla="*/ 317 w 591"/>
                <a:gd name="T19" fmla="*/ 70 h 358"/>
                <a:gd name="T20" fmla="*/ 356 w 591"/>
                <a:gd name="T21" fmla="*/ 96 h 358"/>
                <a:gd name="T22" fmla="*/ 386 w 591"/>
                <a:gd name="T23" fmla="*/ 92 h 358"/>
                <a:gd name="T24" fmla="*/ 419 w 591"/>
                <a:gd name="T25" fmla="*/ 64 h 358"/>
                <a:gd name="T26" fmla="*/ 435 w 591"/>
                <a:gd name="T27" fmla="*/ 24 h 358"/>
                <a:gd name="T28" fmla="*/ 446 w 591"/>
                <a:gd name="T29" fmla="*/ 21 h 358"/>
                <a:gd name="T30" fmla="*/ 443 w 591"/>
                <a:gd name="T31" fmla="*/ 54 h 358"/>
                <a:gd name="T32" fmla="*/ 457 w 591"/>
                <a:gd name="T33" fmla="*/ 66 h 358"/>
                <a:gd name="T34" fmla="*/ 485 w 591"/>
                <a:gd name="T35" fmla="*/ 75 h 358"/>
                <a:gd name="T36" fmla="*/ 501 w 591"/>
                <a:gd name="T37" fmla="*/ 67 h 358"/>
                <a:gd name="T38" fmla="*/ 536 w 591"/>
                <a:gd name="T39" fmla="*/ 87 h 358"/>
                <a:gd name="T40" fmla="*/ 548 w 591"/>
                <a:gd name="T41" fmla="*/ 97 h 358"/>
                <a:gd name="T42" fmla="*/ 569 w 591"/>
                <a:gd name="T43" fmla="*/ 107 h 358"/>
                <a:gd name="T44" fmla="*/ 565 w 591"/>
                <a:gd name="T45" fmla="*/ 153 h 358"/>
                <a:gd name="T46" fmla="*/ 570 w 591"/>
                <a:gd name="T47" fmla="*/ 188 h 358"/>
                <a:gd name="T48" fmla="*/ 582 w 591"/>
                <a:gd name="T49" fmla="*/ 214 h 358"/>
                <a:gd name="T50" fmla="*/ 575 w 591"/>
                <a:gd name="T51" fmla="*/ 236 h 358"/>
                <a:gd name="T52" fmla="*/ 576 w 591"/>
                <a:gd name="T53" fmla="*/ 265 h 358"/>
                <a:gd name="T54" fmla="*/ 582 w 591"/>
                <a:gd name="T55" fmla="*/ 302 h 358"/>
                <a:gd name="T56" fmla="*/ 581 w 591"/>
                <a:gd name="T57" fmla="*/ 339 h 358"/>
                <a:gd name="T58" fmla="*/ 550 w 591"/>
                <a:gd name="T59" fmla="*/ 349 h 358"/>
                <a:gd name="T60" fmla="*/ 513 w 591"/>
                <a:gd name="T61" fmla="*/ 339 h 358"/>
                <a:gd name="T62" fmla="*/ 468 w 591"/>
                <a:gd name="T63" fmla="*/ 334 h 358"/>
                <a:gd name="T64" fmla="*/ 445 w 591"/>
                <a:gd name="T65" fmla="*/ 314 h 358"/>
                <a:gd name="T66" fmla="*/ 423 w 591"/>
                <a:gd name="T67" fmla="*/ 323 h 358"/>
                <a:gd name="T68" fmla="*/ 377 w 591"/>
                <a:gd name="T69" fmla="*/ 319 h 358"/>
                <a:gd name="T70" fmla="*/ 343 w 591"/>
                <a:gd name="T71" fmla="*/ 299 h 358"/>
                <a:gd name="T72" fmla="*/ 351 w 591"/>
                <a:gd name="T73" fmla="*/ 278 h 358"/>
                <a:gd name="T74" fmla="*/ 343 w 591"/>
                <a:gd name="T75" fmla="*/ 253 h 358"/>
                <a:gd name="T76" fmla="*/ 314 w 591"/>
                <a:gd name="T77" fmla="*/ 241 h 358"/>
                <a:gd name="T78" fmla="*/ 293 w 591"/>
                <a:gd name="T79" fmla="*/ 243 h 358"/>
                <a:gd name="T80" fmla="*/ 281 w 591"/>
                <a:gd name="T81" fmla="*/ 263 h 358"/>
                <a:gd name="T82" fmla="*/ 262 w 591"/>
                <a:gd name="T83" fmla="*/ 258 h 358"/>
                <a:gd name="T84" fmla="*/ 246 w 591"/>
                <a:gd name="T85" fmla="*/ 230 h 358"/>
                <a:gd name="T86" fmla="*/ 220 w 591"/>
                <a:gd name="T87" fmla="*/ 221 h 358"/>
                <a:gd name="T88" fmla="*/ 214 w 591"/>
                <a:gd name="T89" fmla="*/ 201 h 358"/>
                <a:gd name="T90" fmla="*/ 187 w 591"/>
                <a:gd name="T91" fmla="*/ 202 h 358"/>
                <a:gd name="T92" fmla="*/ 163 w 591"/>
                <a:gd name="T93" fmla="*/ 206 h 358"/>
                <a:gd name="T94" fmla="*/ 147 w 591"/>
                <a:gd name="T95" fmla="*/ 222 h 358"/>
                <a:gd name="T96" fmla="*/ 105 w 591"/>
                <a:gd name="T97" fmla="*/ 203 h 358"/>
                <a:gd name="T98" fmla="*/ 96 w 591"/>
                <a:gd name="T99" fmla="*/ 177 h 358"/>
                <a:gd name="T100" fmla="*/ 110 w 591"/>
                <a:gd name="T101" fmla="*/ 162 h 358"/>
                <a:gd name="T102" fmla="*/ 116 w 591"/>
                <a:gd name="T103" fmla="*/ 145 h 358"/>
                <a:gd name="T104" fmla="*/ 95 w 591"/>
                <a:gd name="T105" fmla="*/ 109 h 358"/>
                <a:gd name="T106" fmla="*/ 63 w 591"/>
                <a:gd name="T107" fmla="*/ 85 h 358"/>
                <a:gd name="T108" fmla="*/ 27 w 591"/>
                <a:gd name="T109" fmla="*/ 90 h 358"/>
                <a:gd name="T110" fmla="*/ 2 w 591"/>
                <a:gd name="T111" fmla="*/ 108 h 358"/>
                <a:gd name="T112" fmla="*/ 0 w 591"/>
                <a:gd name="T113" fmla="*/ 76 h 358"/>
                <a:gd name="T114" fmla="*/ 13 w 591"/>
                <a:gd name="T115" fmla="*/ 64 h 358"/>
                <a:gd name="T116" fmla="*/ 29 w 591"/>
                <a:gd name="T117" fmla="*/ 53 h 358"/>
                <a:gd name="T118" fmla="*/ 39 w 591"/>
                <a:gd name="T119" fmla="*/ 36 h 358"/>
                <a:gd name="T120" fmla="*/ 62 w 591"/>
                <a:gd name="T121" fmla="*/ 44 h 358"/>
                <a:gd name="T122" fmla="*/ 80 w 591"/>
                <a:gd name="T123" fmla="*/ 30 h 358"/>
                <a:gd name="T124" fmla="*/ 102 w 591"/>
                <a:gd name="T125" fmla="*/ 13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1" h="358">
                  <a:moveTo>
                    <a:pt x="108" y="8"/>
                  </a:moveTo>
                  <a:lnTo>
                    <a:pt x="109" y="9"/>
                  </a:lnTo>
                  <a:lnTo>
                    <a:pt x="113" y="11"/>
                  </a:lnTo>
                  <a:lnTo>
                    <a:pt x="115" y="12"/>
                  </a:lnTo>
                  <a:lnTo>
                    <a:pt x="117" y="13"/>
                  </a:lnTo>
                  <a:lnTo>
                    <a:pt x="119" y="14"/>
                  </a:lnTo>
                  <a:lnTo>
                    <a:pt x="121" y="14"/>
                  </a:lnTo>
                  <a:lnTo>
                    <a:pt x="123" y="14"/>
                  </a:lnTo>
                  <a:lnTo>
                    <a:pt x="125" y="13"/>
                  </a:lnTo>
                  <a:lnTo>
                    <a:pt x="129" y="11"/>
                  </a:lnTo>
                  <a:lnTo>
                    <a:pt x="130" y="11"/>
                  </a:lnTo>
                  <a:lnTo>
                    <a:pt x="132" y="11"/>
                  </a:lnTo>
                  <a:lnTo>
                    <a:pt x="134" y="11"/>
                  </a:lnTo>
                  <a:lnTo>
                    <a:pt x="135" y="11"/>
                  </a:lnTo>
                  <a:lnTo>
                    <a:pt x="137" y="12"/>
                  </a:lnTo>
                  <a:lnTo>
                    <a:pt x="138" y="13"/>
                  </a:lnTo>
                  <a:lnTo>
                    <a:pt x="139" y="14"/>
                  </a:lnTo>
                  <a:lnTo>
                    <a:pt x="144" y="17"/>
                  </a:lnTo>
                  <a:lnTo>
                    <a:pt x="146" y="18"/>
                  </a:lnTo>
                  <a:lnTo>
                    <a:pt x="148" y="20"/>
                  </a:lnTo>
                  <a:lnTo>
                    <a:pt x="150" y="22"/>
                  </a:lnTo>
                  <a:lnTo>
                    <a:pt x="150" y="24"/>
                  </a:lnTo>
                  <a:lnTo>
                    <a:pt x="152" y="27"/>
                  </a:lnTo>
                  <a:lnTo>
                    <a:pt x="154" y="30"/>
                  </a:lnTo>
                  <a:lnTo>
                    <a:pt x="155" y="30"/>
                  </a:lnTo>
                  <a:lnTo>
                    <a:pt x="157" y="32"/>
                  </a:lnTo>
                  <a:lnTo>
                    <a:pt x="158" y="32"/>
                  </a:lnTo>
                  <a:lnTo>
                    <a:pt x="159" y="33"/>
                  </a:lnTo>
                  <a:lnTo>
                    <a:pt x="160" y="34"/>
                  </a:lnTo>
                  <a:lnTo>
                    <a:pt x="162" y="35"/>
                  </a:lnTo>
                  <a:lnTo>
                    <a:pt x="166" y="36"/>
                  </a:lnTo>
                  <a:lnTo>
                    <a:pt x="169" y="36"/>
                  </a:lnTo>
                  <a:lnTo>
                    <a:pt x="172" y="36"/>
                  </a:lnTo>
                  <a:lnTo>
                    <a:pt x="175" y="36"/>
                  </a:lnTo>
                  <a:lnTo>
                    <a:pt x="178" y="36"/>
                  </a:lnTo>
                  <a:lnTo>
                    <a:pt x="182" y="36"/>
                  </a:lnTo>
                  <a:lnTo>
                    <a:pt x="184" y="36"/>
                  </a:lnTo>
                  <a:lnTo>
                    <a:pt x="185" y="36"/>
                  </a:lnTo>
                  <a:lnTo>
                    <a:pt x="192" y="34"/>
                  </a:lnTo>
                  <a:lnTo>
                    <a:pt x="194" y="34"/>
                  </a:lnTo>
                  <a:lnTo>
                    <a:pt x="195" y="33"/>
                  </a:lnTo>
                  <a:lnTo>
                    <a:pt x="196" y="32"/>
                  </a:lnTo>
                  <a:lnTo>
                    <a:pt x="197" y="31"/>
                  </a:lnTo>
                  <a:lnTo>
                    <a:pt x="199" y="30"/>
                  </a:lnTo>
                  <a:lnTo>
                    <a:pt x="200" y="30"/>
                  </a:lnTo>
                  <a:lnTo>
                    <a:pt x="206" y="22"/>
                  </a:lnTo>
                  <a:lnTo>
                    <a:pt x="213" y="15"/>
                  </a:lnTo>
                  <a:lnTo>
                    <a:pt x="221" y="7"/>
                  </a:lnTo>
                  <a:lnTo>
                    <a:pt x="227" y="2"/>
                  </a:lnTo>
                  <a:lnTo>
                    <a:pt x="229" y="1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2"/>
                  </a:lnTo>
                  <a:lnTo>
                    <a:pt x="229" y="4"/>
                  </a:lnTo>
                  <a:lnTo>
                    <a:pt x="229" y="6"/>
                  </a:lnTo>
                  <a:lnTo>
                    <a:pt x="230" y="7"/>
                  </a:lnTo>
                  <a:lnTo>
                    <a:pt x="230" y="9"/>
                  </a:lnTo>
                  <a:lnTo>
                    <a:pt x="231" y="10"/>
                  </a:lnTo>
                  <a:lnTo>
                    <a:pt x="232" y="12"/>
                  </a:lnTo>
                  <a:lnTo>
                    <a:pt x="233" y="14"/>
                  </a:lnTo>
                  <a:lnTo>
                    <a:pt x="234" y="15"/>
                  </a:lnTo>
                  <a:lnTo>
                    <a:pt x="236" y="17"/>
                  </a:lnTo>
                  <a:lnTo>
                    <a:pt x="237" y="18"/>
                  </a:lnTo>
                  <a:lnTo>
                    <a:pt x="239" y="18"/>
                  </a:lnTo>
                  <a:lnTo>
                    <a:pt x="240" y="19"/>
                  </a:lnTo>
                  <a:lnTo>
                    <a:pt x="241" y="19"/>
                  </a:lnTo>
                  <a:lnTo>
                    <a:pt x="245" y="21"/>
                  </a:lnTo>
                  <a:lnTo>
                    <a:pt x="249" y="22"/>
                  </a:lnTo>
                  <a:lnTo>
                    <a:pt x="253" y="23"/>
                  </a:lnTo>
                  <a:lnTo>
                    <a:pt x="256" y="23"/>
                  </a:lnTo>
                  <a:lnTo>
                    <a:pt x="263" y="23"/>
                  </a:lnTo>
                  <a:lnTo>
                    <a:pt x="271" y="22"/>
                  </a:lnTo>
                  <a:lnTo>
                    <a:pt x="275" y="21"/>
                  </a:lnTo>
                  <a:lnTo>
                    <a:pt x="280" y="20"/>
                  </a:lnTo>
                  <a:lnTo>
                    <a:pt x="287" y="19"/>
                  </a:lnTo>
                  <a:lnTo>
                    <a:pt x="289" y="18"/>
                  </a:lnTo>
                  <a:lnTo>
                    <a:pt x="293" y="18"/>
                  </a:lnTo>
                  <a:lnTo>
                    <a:pt x="296" y="18"/>
                  </a:lnTo>
                  <a:lnTo>
                    <a:pt x="298" y="18"/>
                  </a:lnTo>
                  <a:lnTo>
                    <a:pt x="300" y="19"/>
                  </a:lnTo>
                  <a:lnTo>
                    <a:pt x="302" y="19"/>
                  </a:lnTo>
                  <a:lnTo>
                    <a:pt x="303" y="20"/>
                  </a:lnTo>
                  <a:lnTo>
                    <a:pt x="306" y="22"/>
                  </a:lnTo>
                  <a:lnTo>
                    <a:pt x="313" y="27"/>
                  </a:lnTo>
                  <a:lnTo>
                    <a:pt x="315" y="28"/>
                  </a:lnTo>
                  <a:lnTo>
                    <a:pt x="316" y="30"/>
                  </a:lnTo>
                  <a:lnTo>
                    <a:pt x="317" y="30"/>
                  </a:lnTo>
                  <a:lnTo>
                    <a:pt x="318" y="32"/>
                  </a:lnTo>
                  <a:lnTo>
                    <a:pt x="319" y="33"/>
                  </a:lnTo>
                  <a:lnTo>
                    <a:pt x="319" y="36"/>
                  </a:lnTo>
                  <a:lnTo>
                    <a:pt x="320" y="38"/>
                  </a:lnTo>
                  <a:lnTo>
                    <a:pt x="320" y="41"/>
                  </a:lnTo>
                  <a:lnTo>
                    <a:pt x="319" y="42"/>
                  </a:lnTo>
                  <a:lnTo>
                    <a:pt x="319" y="45"/>
                  </a:lnTo>
                  <a:lnTo>
                    <a:pt x="318" y="47"/>
                  </a:lnTo>
                  <a:lnTo>
                    <a:pt x="318" y="49"/>
                  </a:lnTo>
                  <a:lnTo>
                    <a:pt x="317" y="51"/>
                  </a:lnTo>
                  <a:lnTo>
                    <a:pt x="316" y="52"/>
                  </a:lnTo>
                  <a:lnTo>
                    <a:pt x="314" y="53"/>
                  </a:lnTo>
                  <a:lnTo>
                    <a:pt x="311" y="57"/>
                  </a:lnTo>
                  <a:lnTo>
                    <a:pt x="310" y="58"/>
                  </a:lnTo>
                  <a:lnTo>
                    <a:pt x="310" y="59"/>
                  </a:lnTo>
                  <a:lnTo>
                    <a:pt x="310" y="61"/>
                  </a:lnTo>
                  <a:lnTo>
                    <a:pt x="310" y="63"/>
                  </a:lnTo>
                  <a:lnTo>
                    <a:pt x="310" y="64"/>
                  </a:lnTo>
                  <a:lnTo>
                    <a:pt x="311" y="65"/>
                  </a:lnTo>
                  <a:lnTo>
                    <a:pt x="312" y="67"/>
                  </a:lnTo>
                  <a:lnTo>
                    <a:pt x="314" y="68"/>
                  </a:lnTo>
                  <a:lnTo>
                    <a:pt x="315" y="69"/>
                  </a:lnTo>
                  <a:lnTo>
                    <a:pt x="317" y="70"/>
                  </a:lnTo>
                  <a:lnTo>
                    <a:pt x="320" y="71"/>
                  </a:lnTo>
                  <a:lnTo>
                    <a:pt x="327" y="74"/>
                  </a:lnTo>
                  <a:lnTo>
                    <a:pt x="331" y="75"/>
                  </a:lnTo>
                  <a:lnTo>
                    <a:pt x="333" y="75"/>
                  </a:lnTo>
                  <a:lnTo>
                    <a:pt x="336" y="77"/>
                  </a:lnTo>
                  <a:lnTo>
                    <a:pt x="339" y="79"/>
                  </a:lnTo>
                  <a:lnTo>
                    <a:pt x="342" y="82"/>
                  </a:lnTo>
                  <a:lnTo>
                    <a:pt x="344" y="85"/>
                  </a:lnTo>
                  <a:lnTo>
                    <a:pt x="351" y="91"/>
                  </a:lnTo>
                  <a:lnTo>
                    <a:pt x="354" y="95"/>
                  </a:lnTo>
                  <a:lnTo>
                    <a:pt x="356" y="96"/>
                  </a:lnTo>
                  <a:lnTo>
                    <a:pt x="359" y="98"/>
                  </a:lnTo>
                  <a:lnTo>
                    <a:pt x="361" y="98"/>
                  </a:lnTo>
                  <a:lnTo>
                    <a:pt x="363" y="98"/>
                  </a:lnTo>
                  <a:lnTo>
                    <a:pt x="364" y="98"/>
                  </a:lnTo>
                  <a:lnTo>
                    <a:pt x="366" y="98"/>
                  </a:lnTo>
                  <a:lnTo>
                    <a:pt x="368" y="98"/>
                  </a:lnTo>
                  <a:lnTo>
                    <a:pt x="370" y="98"/>
                  </a:lnTo>
                  <a:lnTo>
                    <a:pt x="372" y="98"/>
                  </a:lnTo>
                  <a:lnTo>
                    <a:pt x="377" y="95"/>
                  </a:lnTo>
                  <a:lnTo>
                    <a:pt x="383" y="93"/>
                  </a:lnTo>
                  <a:lnTo>
                    <a:pt x="386" y="92"/>
                  </a:lnTo>
                  <a:lnTo>
                    <a:pt x="387" y="92"/>
                  </a:lnTo>
                  <a:lnTo>
                    <a:pt x="388" y="91"/>
                  </a:lnTo>
                  <a:lnTo>
                    <a:pt x="393" y="86"/>
                  </a:lnTo>
                  <a:lnTo>
                    <a:pt x="395" y="86"/>
                  </a:lnTo>
                  <a:lnTo>
                    <a:pt x="401" y="81"/>
                  </a:lnTo>
                  <a:lnTo>
                    <a:pt x="405" y="79"/>
                  </a:lnTo>
                  <a:lnTo>
                    <a:pt x="410" y="75"/>
                  </a:lnTo>
                  <a:lnTo>
                    <a:pt x="413" y="72"/>
                  </a:lnTo>
                  <a:lnTo>
                    <a:pt x="415" y="69"/>
                  </a:lnTo>
                  <a:lnTo>
                    <a:pt x="418" y="66"/>
                  </a:lnTo>
                  <a:lnTo>
                    <a:pt x="419" y="64"/>
                  </a:lnTo>
                  <a:lnTo>
                    <a:pt x="421" y="61"/>
                  </a:lnTo>
                  <a:lnTo>
                    <a:pt x="421" y="59"/>
                  </a:lnTo>
                  <a:lnTo>
                    <a:pt x="421" y="58"/>
                  </a:lnTo>
                  <a:lnTo>
                    <a:pt x="422" y="52"/>
                  </a:lnTo>
                  <a:lnTo>
                    <a:pt x="423" y="49"/>
                  </a:lnTo>
                  <a:lnTo>
                    <a:pt x="423" y="46"/>
                  </a:lnTo>
                  <a:lnTo>
                    <a:pt x="424" y="43"/>
                  </a:lnTo>
                  <a:lnTo>
                    <a:pt x="427" y="38"/>
                  </a:lnTo>
                  <a:lnTo>
                    <a:pt x="429" y="34"/>
                  </a:lnTo>
                  <a:lnTo>
                    <a:pt x="432" y="30"/>
                  </a:lnTo>
                  <a:lnTo>
                    <a:pt x="435" y="24"/>
                  </a:lnTo>
                  <a:lnTo>
                    <a:pt x="437" y="21"/>
                  </a:lnTo>
                  <a:lnTo>
                    <a:pt x="438" y="20"/>
                  </a:lnTo>
                  <a:lnTo>
                    <a:pt x="438" y="19"/>
                  </a:lnTo>
                  <a:lnTo>
                    <a:pt x="439" y="19"/>
                  </a:lnTo>
                  <a:lnTo>
                    <a:pt x="440" y="19"/>
                  </a:lnTo>
                  <a:lnTo>
                    <a:pt x="441" y="19"/>
                  </a:lnTo>
                  <a:lnTo>
                    <a:pt x="442" y="19"/>
                  </a:lnTo>
                  <a:lnTo>
                    <a:pt x="443" y="19"/>
                  </a:lnTo>
                  <a:lnTo>
                    <a:pt x="444" y="19"/>
                  </a:lnTo>
                  <a:lnTo>
                    <a:pt x="445" y="20"/>
                  </a:lnTo>
                  <a:lnTo>
                    <a:pt x="446" y="21"/>
                  </a:lnTo>
                  <a:lnTo>
                    <a:pt x="447" y="23"/>
                  </a:lnTo>
                  <a:lnTo>
                    <a:pt x="448" y="26"/>
                  </a:lnTo>
                  <a:lnTo>
                    <a:pt x="449" y="28"/>
                  </a:lnTo>
                  <a:lnTo>
                    <a:pt x="449" y="30"/>
                  </a:lnTo>
                  <a:lnTo>
                    <a:pt x="449" y="32"/>
                  </a:lnTo>
                  <a:lnTo>
                    <a:pt x="448" y="36"/>
                  </a:lnTo>
                  <a:lnTo>
                    <a:pt x="448" y="39"/>
                  </a:lnTo>
                  <a:lnTo>
                    <a:pt x="446" y="45"/>
                  </a:lnTo>
                  <a:lnTo>
                    <a:pt x="445" y="48"/>
                  </a:lnTo>
                  <a:lnTo>
                    <a:pt x="444" y="52"/>
                  </a:lnTo>
                  <a:lnTo>
                    <a:pt x="443" y="54"/>
                  </a:lnTo>
                  <a:lnTo>
                    <a:pt x="443" y="55"/>
                  </a:lnTo>
                  <a:lnTo>
                    <a:pt x="443" y="57"/>
                  </a:lnTo>
                  <a:lnTo>
                    <a:pt x="443" y="58"/>
                  </a:lnTo>
                  <a:lnTo>
                    <a:pt x="443" y="59"/>
                  </a:lnTo>
                  <a:lnTo>
                    <a:pt x="443" y="60"/>
                  </a:lnTo>
                  <a:lnTo>
                    <a:pt x="444" y="61"/>
                  </a:lnTo>
                  <a:lnTo>
                    <a:pt x="444" y="62"/>
                  </a:lnTo>
                  <a:lnTo>
                    <a:pt x="445" y="63"/>
                  </a:lnTo>
                  <a:lnTo>
                    <a:pt x="447" y="64"/>
                  </a:lnTo>
                  <a:lnTo>
                    <a:pt x="449" y="64"/>
                  </a:lnTo>
                  <a:lnTo>
                    <a:pt x="457" y="66"/>
                  </a:lnTo>
                  <a:lnTo>
                    <a:pt x="465" y="70"/>
                  </a:lnTo>
                  <a:lnTo>
                    <a:pt x="471" y="71"/>
                  </a:lnTo>
                  <a:lnTo>
                    <a:pt x="473" y="72"/>
                  </a:lnTo>
                  <a:lnTo>
                    <a:pt x="476" y="73"/>
                  </a:lnTo>
                  <a:lnTo>
                    <a:pt x="479" y="75"/>
                  </a:lnTo>
                  <a:lnTo>
                    <a:pt x="480" y="76"/>
                  </a:lnTo>
                  <a:lnTo>
                    <a:pt x="481" y="76"/>
                  </a:lnTo>
                  <a:lnTo>
                    <a:pt x="482" y="76"/>
                  </a:lnTo>
                  <a:lnTo>
                    <a:pt x="483" y="76"/>
                  </a:lnTo>
                  <a:lnTo>
                    <a:pt x="484" y="75"/>
                  </a:lnTo>
                  <a:lnTo>
                    <a:pt x="485" y="75"/>
                  </a:lnTo>
                  <a:lnTo>
                    <a:pt x="486" y="74"/>
                  </a:lnTo>
                  <a:lnTo>
                    <a:pt x="487" y="72"/>
                  </a:lnTo>
                  <a:lnTo>
                    <a:pt x="489" y="70"/>
                  </a:lnTo>
                  <a:lnTo>
                    <a:pt x="490" y="68"/>
                  </a:lnTo>
                  <a:lnTo>
                    <a:pt x="491" y="67"/>
                  </a:lnTo>
                  <a:lnTo>
                    <a:pt x="491" y="66"/>
                  </a:lnTo>
                  <a:lnTo>
                    <a:pt x="492" y="66"/>
                  </a:lnTo>
                  <a:lnTo>
                    <a:pt x="493" y="66"/>
                  </a:lnTo>
                  <a:lnTo>
                    <a:pt x="494" y="66"/>
                  </a:lnTo>
                  <a:lnTo>
                    <a:pt x="496" y="66"/>
                  </a:lnTo>
                  <a:lnTo>
                    <a:pt x="501" y="67"/>
                  </a:lnTo>
                  <a:lnTo>
                    <a:pt x="505" y="68"/>
                  </a:lnTo>
                  <a:lnTo>
                    <a:pt x="514" y="72"/>
                  </a:lnTo>
                  <a:lnTo>
                    <a:pt x="515" y="73"/>
                  </a:lnTo>
                  <a:lnTo>
                    <a:pt x="517" y="74"/>
                  </a:lnTo>
                  <a:lnTo>
                    <a:pt x="526" y="79"/>
                  </a:lnTo>
                  <a:lnTo>
                    <a:pt x="530" y="82"/>
                  </a:lnTo>
                  <a:lnTo>
                    <a:pt x="533" y="83"/>
                  </a:lnTo>
                  <a:lnTo>
                    <a:pt x="534" y="85"/>
                  </a:lnTo>
                  <a:lnTo>
                    <a:pt x="535" y="86"/>
                  </a:lnTo>
                  <a:lnTo>
                    <a:pt x="536" y="86"/>
                  </a:lnTo>
                  <a:lnTo>
                    <a:pt x="536" y="87"/>
                  </a:lnTo>
                  <a:lnTo>
                    <a:pt x="536" y="88"/>
                  </a:lnTo>
                  <a:lnTo>
                    <a:pt x="536" y="90"/>
                  </a:lnTo>
                  <a:lnTo>
                    <a:pt x="535" y="92"/>
                  </a:lnTo>
                  <a:lnTo>
                    <a:pt x="535" y="93"/>
                  </a:lnTo>
                  <a:lnTo>
                    <a:pt x="535" y="94"/>
                  </a:lnTo>
                  <a:lnTo>
                    <a:pt x="536" y="95"/>
                  </a:lnTo>
                  <a:lnTo>
                    <a:pt x="536" y="96"/>
                  </a:lnTo>
                  <a:lnTo>
                    <a:pt x="538" y="97"/>
                  </a:lnTo>
                  <a:lnTo>
                    <a:pt x="540" y="97"/>
                  </a:lnTo>
                  <a:lnTo>
                    <a:pt x="543" y="97"/>
                  </a:lnTo>
                  <a:lnTo>
                    <a:pt x="548" y="97"/>
                  </a:lnTo>
                  <a:lnTo>
                    <a:pt x="551" y="97"/>
                  </a:lnTo>
                  <a:lnTo>
                    <a:pt x="553" y="97"/>
                  </a:lnTo>
                  <a:lnTo>
                    <a:pt x="556" y="98"/>
                  </a:lnTo>
                  <a:lnTo>
                    <a:pt x="558" y="98"/>
                  </a:lnTo>
                  <a:lnTo>
                    <a:pt x="561" y="99"/>
                  </a:lnTo>
                  <a:lnTo>
                    <a:pt x="563" y="101"/>
                  </a:lnTo>
                  <a:lnTo>
                    <a:pt x="565" y="102"/>
                  </a:lnTo>
                  <a:lnTo>
                    <a:pt x="566" y="103"/>
                  </a:lnTo>
                  <a:lnTo>
                    <a:pt x="567" y="105"/>
                  </a:lnTo>
                  <a:lnTo>
                    <a:pt x="568" y="106"/>
                  </a:lnTo>
                  <a:lnTo>
                    <a:pt x="569" y="107"/>
                  </a:lnTo>
                  <a:lnTo>
                    <a:pt x="570" y="109"/>
                  </a:lnTo>
                  <a:lnTo>
                    <a:pt x="570" y="110"/>
                  </a:lnTo>
                  <a:lnTo>
                    <a:pt x="570" y="112"/>
                  </a:lnTo>
                  <a:lnTo>
                    <a:pt x="570" y="118"/>
                  </a:lnTo>
                  <a:lnTo>
                    <a:pt x="570" y="123"/>
                  </a:lnTo>
                  <a:lnTo>
                    <a:pt x="570" y="127"/>
                  </a:lnTo>
                  <a:lnTo>
                    <a:pt x="569" y="131"/>
                  </a:lnTo>
                  <a:lnTo>
                    <a:pt x="568" y="134"/>
                  </a:lnTo>
                  <a:lnTo>
                    <a:pt x="566" y="144"/>
                  </a:lnTo>
                  <a:lnTo>
                    <a:pt x="565" y="148"/>
                  </a:lnTo>
                  <a:lnTo>
                    <a:pt x="565" y="153"/>
                  </a:lnTo>
                  <a:lnTo>
                    <a:pt x="564" y="162"/>
                  </a:lnTo>
                  <a:lnTo>
                    <a:pt x="563" y="168"/>
                  </a:lnTo>
                  <a:lnTo>
                    <a:pt x="563" y="170"/>
                  </a:lnTo>
                  <a:lnTo>
                    <a:pt x="564" y="180"/>
                  </a:lnTo>
                  <a:lnTo>
                    <a:pt x="564" y="183"/>
                  </a:lnTo>
                  <a:lnTo>
                    <a:pt x="564" y="184"/>
                  </a:lnTo>
                  <a:lnTo>
                    <a:pt x="564" y="185"/>
                  </a:lnTo>
                  <a:lnTo>
                    <a:pt x="565" y="186"/>
                  </a:lnTo>
                  <a:lnTo>
                    <a:pt x="565" y="187"/>
                  </a:lnTo>
                  <a:lnTo>
                    <a:pt x="566" y="187"/>
                  </a:lnTo>
                  <a:lnTo>
                    <a:pt x="570" y="188"/>
                  </a:lnTo>
                  <a:lnTo>
                    <a:pt x="571" y="190"/>
                  </a:lnTo>
                  <a:lnTo>
                    <a:pt x="574" y="192"/>
                  </a:lnTo>
                  <a:lnTo>
                    <a:pt x="575" y="193"/>
                  </a:lnTo>
                  <a:lnTo>
                    <a:pt x="576" y="195"/>
                  </a:lnTo>
                  <a:lnTo>
                    <a:pt x="578" y="197"/>
                  </a:lnTo>
                  <a:lnTo>
                    <a:pt x="579" y="200"/>
                  </a:lnTo>
                  <a:lnTo>
                    <a:pt x="580" y="202"/>
                  </a:lnTo>
                  <a:lnTo>
                    <a:pt x="581" y="206"/>
                  </a:lnTo>
                  <a:lnTo>
                    <a:pt x="582" y="209"/>
                  </a:lnTo>
                  <a:lnTo>
                    <a:pt x="582" y="211"/>
                  </a:lnTo>
                  <a:lnTo>
                    <a:pt x="582" y="214"/>
                  </a:lnTo>
                  <a:lnTo>
                    <a:pt x="582" y="219"/>
                  </a:lnTo>
                  <a:lnTo>
                    <a:pt x="582" y="222"/>
                  </a:lnTo>
                  <a:lnTo>
                    <a:pt x="582" y="226"/>
                  </a:lnTo>
                  <a:lnTo>
                    <a:pt x="582" y="228"/>
                  </a:lnTo>
                  <a:lnTo>
                    <a:pt x="581" y="229"/>
                  </a:lnTo>
                  <a:lnTo>
                    <a:pt x="580" y="229"/>
                  </a:lnTo>
                  <a:lnTo>
                    <a:pt x="579" y="230"/>
                  </a:lnTo>
                  <a:lnTo>
                    <a:pt x="578" y="231"/>
                  </a:lnTo>
                  <a:lnTo>
                    <a:pt x="577" y="234"/>
                  </a:lnTo>
                  <a:lnTo>
                    <a:pt x="576" y="234"/>
                  </a:lnTo>
                  <a:lnTo>
                    <a:pt x="575" y="236"/>
                  </a:lnTo>
                  <a:lnTo>
                    <a:pt x="574" y="239"/>
                  </a:lnTo>
                  <a:lnTo>
                    <a:pt x="571" y="249"/>
                  </a:lnTo>
                  <a:lnTo>
                    <a:pt x="570" y="252"/>
                  </a:lnTo>
                  <a:lnTo>
                    <a:pt x="570" y="254"/>
                  </a:lnTo>
                  <a:lnTo>
                    <a:pt x="570" y="255"/>
                  </a:lnTo>
                  <a:lnTo>
                    <a:pt x="570" y="256"/>
                  </a:lnTo>
                  <a:lnTo>
                    <a:pt x="571" y="257"/>
                  </a:lnTo>
                  <a:lnTo>
                    <a:pt x="571" y="258"/>
                  </a:lnTo>
                  <a:lnTo>
                    <a:pt x="572" y="260"/>
                  </a:lnTo>
                  <a:lnTo>
                    <a:pt x="573" y="262"/>
                  </a:lnTo>
                  <a:lnTo>
                    <a:pt x="576" y="265"/>
                  </a:lnTo>
                  <a:lnTo>
                    <a:pt x="577" y="266"/>
                  </a:lnTo>
                  <a:lnTo>
                    <a:pt x="577" y="267"/>
                  </a:lnTo>
                  <a:lnTo>
                    <a:pt x="578" y="269"/>
                  </a:lnTo>
                  <a:lnTo>
                    <a:pt x="579" y="273"/>
                  </a:lnTo>
                  <a:lnTo>
                    <a:pt x="579" y="277"/>
                  </a:lnTo>
                  <a:lnTo>
                    <a:pt x="580" y="279"/>
                  </a:lnTo>
                  <a:lnTo>
                    <a:pt x="580" y="288"/>
                  </a:lnTo>
                  <a:lnTo>
                    <a:pt x="580" y="290"/>
                  </a:lnTo>
                  <a:lnTo>
                    <a:pt x="581" y="293"/>
                  </a:lnTo>
                  <a:lnTo>
                    <a:pt x="582" y="299"/>
                  </a:lnTo>
                  <a:lnTo>
                    <a:pt x="582" y="302"/>
                  </a:lnTo>
                  <a:lnTo>
                    <a:pt x="583" y="304"/>
                  </a:lnTo>
                  <a:lnTo>
                    <a:pt x="585" y="310"/>
                  </a:lnTo>
                  <a:lnTo>
                    <a:pt x="588" y="314"/>
                  </a:lnTo>
                  <a:lnTo>
                    <a:pt x="590" y="320"/>
                  </a:lnTo>
                  <a:lnTo>
                    <a:pt x="591" y="321"/>
                  </a:lnTo>
                  <a:lnTo>
                    <a:pt x="591" y="323"/>
                  </a:lnTo>
                  <a:lnTo>
                    <a:pt x="591" y="324"/>
                  </a:lnTo>
                  <a:lnTo>
                    <a:pt x="590" y="325"/>
                  </a:lnTo>
                  <a:lnTo>
                    <a:pt x="584" y="334"/>
                  </a:lnTo>
                  <a:lnTo>
                    <a:pt x="582" y="336"/>
                  </a:lnTo>
                  <a:lnTo>
                    <a:pt x="581" y="339"/>
                  </a:lnTo>
                  <a:lnTo>
                    <a:pt x="580" y="343"/>
                  </a:lnTo>
                  <a:lnTo>
                    <a:pt x="578" y="347"/>
                  </a:lnTo>
                  <a:lnTo>
                    <a:pt x="575" y="357"/>
                  </a:lnTo>
                  <a:lnTo>
                    <a:pt x="574" y="358"/>
                  </a:lnTo>
                  <a:lnTo>
                    <a:pt x="573" y="358"/>
                  </a:lnTo>
                  <a:lnTo>
                    <a:pt x="572" y="358"/>
                  </a:lnTo>
                  <a:lnTo>
                    <a:pt x="570" y="358"/>
                  </a:lnTo>
                  <a:lnTo>
                    <a:pt x="567" y="357"/>
                  </a:lnTo>
                  <a:lnTo>
                    <a:pt x="564" y="356"/>
                  </a:lnTo>
                  <a:lnTo>
                    <a:pt x="560" y="354"/>
                  </a:lnTo>
                  <a:lnTo>
                    <a:pt x="550" y="349"/>
                  </a:lnTo>
                  <a:lnTo>
                    <a:pt x="548" y="348"/>
                  </a:lnTo>
                  <a:lnTo>
                    <a:pt x="545" y="347"/>
                  </a:lnTo>
                  <a:lnTo>
                    <a:pt x="542" y="347"/>
                  </a:lnTo>
                  <a:lnTo>
                    <a:pt x="540" y="346"/>
                  </a:lnTo>
                  <a:lnTo>
                    <a:pt x="531" y="346"/>
                  </a:lnTo>
                  <a:lnTo>
                    <a:pt x="529" y="345"/>
                  </a:lnTo>
                  <a:lnTo>
                    <a:pt x="526" y="345"/>
                  </a:lnTo>
                  <a:lnTo>
                    <a:pt x="525" y="344"/>
                  </a:lnTo>
                  <a:lnTo>
                    <a:pt x="523" y="343"/>
                  </a:lnTo>
                  <a:lnTo>
                    <a:pt x="516" y="340"/>
                  </a:lnTo>
                  <a:lnTo>
                    <a:pt x="513" y="339"/>
                  </a:lnTo>
                  <a:lnTo>
                    <a:pt x="510" y="338"/>
                  </a:lnTo>
                  <a:lnTo>
                    <a:pt x="507" y="337"/>
                  </a:lnTo>
                  <a:lnTo>
                    <a:pt x="502" y="336"/>
                  </a:lnTo>
                  <a:lnTo>
                    <a:pt x="498" y="336"/>
                  </a:lnTo>
                  <a:lnTo>
                    <a:pt x="494" y="336"/>
                  </a:lnTo>
                  <a:lnTo>
                    <a:pt x="488" y="336"/>
                  </a:lnTo>
                  <a:lnTo>
                    <a:pt x="479" y="336"/>
                  </a:lnTo>
                  <a:lnTo>
                    <a:pt x="473" y="335"/>
                  </a:lnTo>
                  <a:lnTo>
                    <a:pt x="471" y="335"/>
                  </a:lnTo>
                  <a:lnTo>
                    <a:pt x="469" y="335"/>
                  </a:lnTo>
                  <a:lnTo>
                    <a:pt x="468" y="334"/>
                  </a:lnTo>
                  <a:lnTo>
                    <a:pt x="466" y="332"/>
                  </a:lnTo>
                  <a:lnTo>
                    <a:pt x="463" y="331"/>
                  </a:lnTo>
                  <a:lnTo>
                    <a:pt x="461" y="329"/>
                  </a:lnTo>
                  <a:lnTo>
                    <a:pt x="458" y="327"/>
                  </a:lnTo>
                  <a:lnTo>
                    <a:pt x="457" y="325"/>
                  </a:lnTo>
                  <a:lnTo>
                    <a:pt x="453" y="321"/>
                  </a:lnTo>
                  <a:lnTo>
                    <a:pt x="450" y="317"/>
                  </a:lnTo>
                  <a:lnTo>
                    <a:pt x="448" y="316"/>
                  </a:lnTo>
                  <a:lnTo>
                    <a:pt x="446" y="315"/>
                  </a:lnTo>
                  <a:lnTo>
                    <a:pt x="446" y="314"/>
                  </a:lnTo>
                  <a:lnTo>
                    <a:pt x="445" y="314"/>
                  </a:lnTo>
                  <a:lnTo>
                    <a:pt x="445" y="314"/>
                  </a:lnTo>
                  <a:lnTo>
                    <a:pt x="444" y="314"/>
                  </a:lnTo>
                  <a:lnTo>
                    <a:pt x="443" y="314"/>
                  </a:lnTo>
                  <a:lnTo>
                    <a:pt x="442" y="314"/>
                  </a:lnTo>
                  <a:lnTo>
                    <a:pt x="440" y="315"/>
                  </a:lnTo>
                  <a:lnTo>
                    <a:pt x="434" y="319"/>
                  </a:lnTo>
                  <a:lnTo>
                    <a:pt x="432" y="320"/>
                  </a:lnTo>
                  <a:lnTo>
                    <a:pt x="429" y="322"/>
                  </a:lnTo>
                  <a:lnTo>
                    <a:pt x="427" y="322"/>
                  </a:lnTo>
                  <a:lnTo>
                    <a:pt x="425" y="323"/>
                  </a:lnTo>
                  <a:lnTo>
                    <a:pt x="423" y="323"/>
                  </a:lnTo>
                  <a:lnTo>
                    <a:pt x="423" y="323"/>
                  </a:lnTo>
                  <a:lnTo>
                    <a:pt x="419" y="323"/>
                  </a:lnTo>
                  <a:lnTo>
                    <a:pt x="416" y="322"/>
                  </a:lnTo>
                  <a:lnTo>
                    <a:pt x="408" y="320"/>
                  </a:lnTo>
                  <a:lnTo>
                    <a:pt x="401" y="318"/>
                  </a:lnTo>
                  <a:lnTo>
                    <a:pt x="399" y="317"/>
                  </a:lnTo>
                  <a:lnTo>
                    <a:pt x="397" y="317"/>
                  </a:lnTo>
                  <a:lnTo>
                    <a:pt x="395" y="317"/>
                  </a:lnTo>
                  <a:lnTo>
                    <a:pt x="383" y="319"/>
                  </a:lnTo>
                  <a:lnTo>
                    <a:pt x="380" y="319"/>
                  </a:lnTo>
                  <a:lnTo>
                    <a:pt x="377" y="319"/>
                  </a:lnTo>
                  <a:lnTo>
                    <a:pt x="374" y="318"/>
                  </a:lnTo>
                  <a:lnTo>
                    <a:pt x="371" y="318"/>
                  </a:lnTo>
                  <a:lnTo>
                    <a:pt x="367" y="317"/>
                  </a:lnTo>
                  <a:lnTo>
                    <a:pt x="365" y="316"/>
                  </a:lnTo>
                  <a:lnTo>
                    <a:pt x="362" y="314"/>
                  </a:lnTo>
                  <a:lnTo>
                    <a:pt x="358" y="313"/>
                  </a:lnTo>
                  <a:lnTo>
                    <a:pt x="352" y="308"/>
                  </a:lnTo>
                  <a:lnTo>
                    <a:pt x="347" y="304"/>
                  </a:lnTo>
                  <a:lnTo>
                    <a:pt x="345" y="302"/>
                  </a:lnTo>
                  <a:lnTo>
                    <a:pt x="343" y="301"/>
                  </a:lnTo>
                  <a:lnTo>
                    <a:pt x="343" y="299"/>
                  </a:lnTo>
                  <a:lnTo>
                    <a:pt x="342" y="297"/>
                  </a:lnTo>
                  <a:lnTo>
                    <a:pt x="341" y="294"/>
                  </a:lnTo>
                  <a:lnTo>
                    <a:pt x="341" y="292"/>
                  </a:lnTo>
                  <a:lnTo>
                    <a:pt x="341" y="290"/>
                  </a:lnTo>
                  <a:lnTo>
                    <a:pt x="342" y="289"/>
                  </a:lnTo>
                  <a:lnTo>
                    <a:pt x="343" y="287"/>
                  </a:lnTo>
                  <a:lnTo>
                    <a:pt x="343" y="285"/>
                  </a:lnTo>
                  <a:lnTo>
                    <a:pt x="345" y="283"/>
                  </a:lnTo>
                  <a:lnTo>
                    <a:pt x="348" y="280"/>
                  </a:lnTo>
                  <a:lnTo>
                    <a:pt x="350" y="279"/>
                  </a:lnTo>
                  <a:lnTo>
                    <a:pt x="351" y="278"/>
                  </a:lnTo>
                  <a:lnTo>
                    <a:pt x="351" y="276"/>
                  </a:lnTo>
                  <a:lnTo>
                    <a:pt x="351" y="275"/>
                  </a:lnTo>
                  <a:lnTo>
                    <a:pt x="351" y="274"/>
                  </a:lnTo>
                  <a:lnTo>
                    <a:pt x="351" y="272"/>
                  </a:lnTo>
                  <a:lnTo>
                    <a:pt x="350" y="269"/>
                  </a:lnTo>
                  <a:lnTo>
                    <a:pt x="349" y="268"/>
                  </a:lnTo>
                  <a:lnTo>
                    <a:pt x="347" y="264"/>
                  </a:lnTo>
                  <a:lnTo>
                    <a:pt x="347" y="262"/>
                  </a:lnTo>
                  <a:lnTo>
                    <a:pt x="345" y="257"/>
                  </a:lnTo>
                  <a:lnTo>
                    <a:pt x="344" y="255"/>
                  </a:lnTo>
                  <a:lnTo>
                    <a:pt x="343" y="253"/>
                  </a:lnTo>
                  <a:lnTo>
                    <a:pt x="342" y="250"/>
                  </a:lnTo>
                  <a:lnTo>
                    <a:pt x="341" y="248"/>
                  </a:lnTo>
                  <a:lnTo>
                    <a:pt x="340" y="247"/>
                  </a:lnTo>
                  <a:lnTo>
                    <a:pt x="338" y="246"/>
                  </a:lnTo>
                  <a:lnTo>
                    <a:pt x="336" y="245"/>
                  </a:lnTo>
                  <a:lnTo>
                    <a:pt x="333" y="245"/>
                  </a:lnTo>
                  <a:lnTo>
                    <a:pt x="330" y="244"/>
                  </a:lnTo>
                  <a:lnTo>
                    <a:pt x="328" y="244"/>
                  </a:lnTo>
                  <a:lnTo>
                    <a:pt x="321" y="243"/>
                  </a:lnTo>
                  <a:lnTo>
                    <a:pt x="318" y="242"/>
                  </a:lnTo>
                  <a:lnTo>
                    <a:pt x="314" y="241"/>
                  </a:lnTo>
                  <a:lnTo>
                    <a:pt x="308" y="239"/>
                  </a:lnTo>
                  <a:lnTo>
                    <a:pt x="305" y="239"/>
                  </a:lnTo>
                  <a:lnTo>
                    <a:pt x="303" y="238"/>
                  </a:lnTo>
                  <a:lnTo>
                    <a:pt x="302" y="238"/>
                  </a:lnTo>
                  <a:lnTo>
                    <a:pt x="301" y="238"/>
                  </a:lnTo>
                  <a:lnTo>
                    <a:pt x="299" y="239"/>
                  </a:lnTo>
                  <a:lnTo>
                    <a:pt x="297" y="239"/>
                  </a:lnTo>
                  <a:lnTo>
                    <a:pt x="296" y="240"/>
                  </a:lnTo>
                  <a:lnTo>
                    <a:pt x="295" y="241"/>
                  </a:lnTo>
                  <a:lnTo>
                    <a:pt x="294" y="243"/>
                  </a:lnTo>
                  <a:lnTo>
                    <a:pt x="293" y="243"/>
                  </a:lnTo>
                  <a:lnTo>
                    <a:pt x="292" y="245"/>
                  </a:lnTo>
                  <a:lnTo>
                    <a:pt x="291" y="247"/>
                  </a:lnTo>
                  <a:lnTo>
                    <a:pt x="290" y="250"/>
                  </a:lnTo>
                  <a:lnTo>
                    <a:pt x="289" y="254"/>
                  </a:lnTo>
                  <a:lnTo>
                    <a:pt x="288" y="256"/>
                  </a:lnTo>
                  <a:lnTo>
                    <a:pt x="287" y="256"/>
                  </a:lnTo>
                  <a:lnTo>
                    <a:pt x="286" y="258"/>
                  </a:lnTo>
                  <a:lnTo>
                    <a:pt x="286" y="260"/>
                  </a:lnTo>
                  <a:lnTo>
                    <a:pt x="284" y="261"/>
                  </a:lnTo>
                  <a:lnTo>
                    <a:pt x="283" y="262"/>
                  </a:lnTo>
                  <a:lnTo>
                    <a:pt x="281" y="263"/>
                  </a:lnTo>
                  <a:lnTo>
                    <a:pt x="279" y="264"/>
                  </a:lnTo>
                  <a:lnTo>
                    <a:pt x="277" y="265"/>
                  </a:lnTo>
                  <a:lnTo>
                    <a:pt x="275" y="265"/>
                  </a:lnTo>
                  <a:lnTo>
                    <a:pt x="274" y="265"/>
                  </a:lnTo>
                  <a:lnTo>
                    <a:pt x="272" y="265"/>
                  </a:lnTo>
                  <a:lnTo>
                    <a:pt x="270" y="264"/>
                  </a:lnTo>
                  <a:lnTo>
                    <a:pt x="269" y="263"/>
                  </a:lnTo>
                  <a:lnTo>
                    <a:pt x="267" y="263"/>
                  </a:lnTo>
                  <a:lnTo>
                    <a:pt x="265" y="261"/>
                  </a:lnTo>
                  <a:lnTo>
                    <a:pt x="264" y="260"/>
                  </a:lnTo>
                  <a:lnTo>
                    <a:pt x="262" y="258"/>
                  </a:lnTo>
                  <a:lnTo>
                    <a:pt x="261" y="256"/>
                  </a:lnTo>
                  <a:lnTo>
                    <a:pt x="260" y="256"/>
                  </a:lnTo>
                  <a:lnTo>
                    <a:pt x="259" y="254"/>
                  </a:lnTo>
                  <a:lnTo>
                    <a:pt x="258" y="252"/>
                  </a:lnTo>
                  <a:lnTo>
                    <a:pt x="254" y="240"/>
                  </a:lnTo>
                  <a:lnTo>
                    <a:pt x="253" y="238"/>
                  </a:lnTo>
                  <a:lnTo>
                    <a:pt x="252" y="236"/>
                  </a:lnTo>
                  <a:lnTo>
                    <a:pt x="252" y="234"/>
                  </a:lnTo>
                  <a:lnTo>
                    <a:pt x="250" y="233"/>
                  </a:lnTo>
                  <a:lnTo>
                    <a:pt x="248" y="231"/>
                  </a:lnTo>
                  <a:lnTo>
                    <a:pt x="246" y="230"/>
                  </a:lnTo>
                  <a:lnTo>
                    <a:pt x="243" y="227"/>
                  </a:lnTo>
                  <a:lnTo>
                    <a:pt x="241" y="224"/>
                  </a:lnTo>
                  <a:lnTo>
                    <a:pt x="238" y="223"/>
                  </a:lnTo>
                  <a:lnTo>
                    <a:pt x="236" y="222"/>
                  </a:lnTo>
                  <a:lnTo>
                    <a:pt x="234" y="222"/>
                  </a:lnTo>
                  <a:lnTo>
                    <a:pt x="232" y="222"/>
                  </a:lnTo>
                  <a:lnTo>
                    <a:pt x="229" y="222"/>
                  </a:lnTo>
                  <a:lnTo>
                    <a:pt x="227" y="222"/>
                  </a:lnTo>
                  <a:lnTo>
                    <a:pt x="225" y="222"/>
                  </a:lnTo>
                  <a:lnTo>
                    <a:pt x="224" y="222"/>
                  </a:lnTo>
                  <a:lnTo>
                    <a:pt x="220" y="221"/>
                  </a:lnTo>
                  <a:lnTo>
                    <a:pt x="219" y="221"/>
                  </a:lnTo>
                  <a:lnTo>
                    <a:pt x="218" y="220"/>
                  </a:lnTo>
                  <a:lnTo>
                    <a:pt x="218" y="219"/>
                  </a:lnTo>
                  <a:lnTo>
                    <a:pt x="218" y="218"/>
                  </a:lnTo>
                  <a:lnTo>
                    <a:pt x="217" y="217"/>
                  </a:lnTo>
                  <a:lnTo>
                    <a:pt x="217" y="215"/>
                  </a:lnTo>
                  <a:lnTo>
                    <a:pt x="216" y="212"/>
                  </a:lnTo>
                  <a:lnTo>
                    <a:pt x="215" y="205"/>
                  </a:lnTo>
                  <a:lnTo>
                    <a:pt x="215" y="204"/>
                  </a:lnTo>
                  <a:lnTo>
                    <a:pt x="214" y="202"/>
                  </a:lnTo>
                  <a:lnTo>
                    <a:pt x="214" y="201"/>
                  </a:lnTo>
                  <a:lnTo>
                    <a:pt x="212" y="200"/>
                  </a:lnTo>
                  <a:lnTo>
                    <a:pt x="211" y="199"/>
                  </a:lnTo>
                  <a:lnTo>
                    <a:pt x="209" y="199"/>
                  </a:lnTo>
                  <a:lnTo>
                    <a:pt x="207" y="198"/>
                  </a:lnTo>
                  <a:lnTo>
                    <a:pt x="205" y="198"/>
                  </a:lnTo>
                  <a:lnTo>
                    <a:pt x="203" y="198"/>
                  </a:lnTo>
                  <a:lnTo>
                    <a:pt x="201" y="198"/>
                  </a:lnTo>
                  <a:lnTo>
                    <a:pt x="199" y="199"/>
                  </a:lnTo>
                  <a:lnTo>
                    <a:pt x="196" y="199"/>
                  </a:lnTo>
                  <a:lnTo>
                    <a:pt x="191" y="201"/>
                  </a:lnTo>
                  <a:lnTo>
                    <a:pt x="187" y="202"/>
                  </a:lnTo>
                  <a:lnTo>
                    <a:pt x="184" y="203"/>
                  </a:lnTo>
                  <a:lnTo>
                    <a:pt x="180" y="204"/>
                  </a:lnTo>
                  <a:lnTo>
                    <a:pt x="178" y="204"/>
                  </a:lnTo>
                  <a:lnTo>
                    <a:pt x="176" y="204"/>
                  </a:lnTo>
                  <a:lnTo>
                    <a:pt x="174" y="204"/>
                  </a:lnTo>
                  <a:lnTo>
                    <a:pt x="172" y="203"/>
                  </a:lnTo>
                  <a:lnTo>
                    <a:pt x="171" y="203"/>
                  </a:lnTo>
                  <a:lnTo>
                    <a:pt x="170" y="203"/>
                  </a:lnTo>
                  <a:lnTo>
                    <a:pt x="169" y="203"/>
                  </a:lnTo>
                  <a:lnTo>
                    <a:pt x="167" y="204"/>
                  </a:lnTo>
                  <a:lnTo>
                    <a:pt x="163" y="206"/>
                  </a:lnTo>
                  <a:lnTo>
                    <a:pt x="160" y="208"/>
                  </a:lnTo>
                  <a:lnTo>
                    <a:pt x="159" y="209"/>
                  </a:lnTo>
                  <a:lnTo>
                    <a:pt x="158" y="209"/>
                  </a:lnTo>
                  <a:lnTo>
                    <a:pt x="157" y="210"/>
                  </a:lnTo>
                  <a:lnTo>
                    <a:pt x="156" y="211"/>
                  </a:lnTo>
                  <a:lnTo>
                    <a:pt x="154" y="215"/>
                  </a:lnTo>
                  <a:lnTo>
                    <a:pt x="153" y="217"/>
                  </a:lnTo>
                  <a:lnTo>
                    <a:pt x="151" y="219"/>
                  </a:lnTo>
                  <a:lnTo>
                    <a:pt x="150" y="221"/>
                  </a:lnTo>
                  <a:lnTo>
                    <a:pt x="149" y="222"/>
                  </a:lnTo>
                  <a:lnTo>
                    <a:pt x="147" y="222"/>
                  </a:lnTo>
                  <a:lnTo>
                    <a:pt x="146" y="223"/>
                  </a:lnTo>
                  <a:lnTo>
                    <a:pt x="143" y="223"/>
                  </a:lnTo>
                  <a:lnTo>
                    <a:pt x="141" y="223"/>
                  </a:lnTo>
                  <a:lnTo>
                    <a:pt x="136" y="223"/>
                  </a:lnTo>
                  <a:lnTo>
                    <a:pt x="134" y="223"/>
                  </a:lnTo>
                  <a:lnTo>
                    <a:pt x="133" y="223"/>
                  </a:lnTo>
                  <a:lnTo>
                    <a:pt x="132" y="222"/>
                  </a:lnTo>
                  <a:lnTo>
                    <a:pt x="121" y="214"/>
                  </a:lnTo>
                  <a:lnTo>
                    <a:pt x="111" y="208"/>
                  </a:lnTo>
                  <a:lnTo>
                    <a:pt x="107" y="205"/>
                  </a:lnTo>
                  <a:lnTo>
                    <a:pt x="105" y="203"/>
                  </a:lnTo>
                  <a:lnTo>
                    <a:pt x="103" y="200"/>
                  </a:lnTo>
                  <a:lnTo>
                    <a:pt x="101" y="199"/>
                  </a:lnTo>
                  <a:lnTo>
                    <a:pt x="99" y="197"/>
                  </a:lnTo>
                  <a:lnTo>
                    <a:pt x="98" y="194"/>
                  </a:lnTo>
                  <a:lnTo>
                    <a:pt x="97" y="190"/>
                  </a:lnTo>
                  <a:lnTo>
                    <a:pt x="97" y="188"/>
                  </a:lnTo>
                  <a:lnTo>
                    <a:pt x="97" y="186"/>
                  </a:lnTo>
                  <a:lnTo>
                    <a:pt x="97" y="183"/>
                  </a:lnTo>
                  <a:lnTo>
                    <a:pt x="97" y="181"/>
                  </a:lnTo>
                  <a:lnTo>
                    <a:pt x="97" y="180"/>
                  </a:lnTo>
                  <a:lnTo>
                    <a:pt x="96" y="177"/>
                  </a:lnTo>
                  <a:lnTo>
                    <a:pt x="96" y="176"/>
                  </a:lnTo>
                  <a:lnTo>
                    <a:pt x="96" y="175"/>
                  </a:lnTo>
                  <a:lnTo>
                    <a:pt x="96" y="173"/>
                  </a:lnTo>
                  <a:lnTo>
                    <a:pt x="97" y="172"/>
                  </a:lnTo>
                  <a:lnTo>
                    <a:pt x="98" y="171"/>
                  </a:lnTo>
                  <a:lnTo>
                    <a:pt x="98" y="170"/>
                  </a:lnTo>
                  <a:lnTo>
                    <a:pt x="100" y="169"/>
                  </a:lnTo>
                  <a:lnTo>
                    <a:pt x="102" y="167"/>
                  </a:lnTo>
                  <a:lnTo>
                    <a:pt x="106" y="165"/>
                  </a:lnTo>
                  <a:lnTo>
                    <a:pt x="108" y="164"/>
                  </a:lnTo>
                  <a:lnTo>
                    <a:pt x="110" y="162"/>
                  </a:lnTo>
                  <a:lnTo>
                    <a:pt x="112" y="160"/>
                  </a:lnTo>
                  <a:lnTo>
                    <a:pt x="113" y="159"/>
                  </a:lnTo>
                  <a:lnTo>
                    <a:pt x="114" y="157"/>
                  </a:lnTo>
                  <a:lnTo>
                    <a:pt x="115" y="155"/>
                  </a:lnTo>
                  <a:lnTo>
                    <a:pt x="116" y="154"/>
                  </a:lnTo>
                  <a:lnTo>
                    <a:pt x="116" y="153"/>
                  </a:lnTo>
                  <a:lnTo>
                    <a:pt x="116" y="152"/>
                  </a:lnTo>
                  <a:lnTo>
                    <a:pt x="116" y="150"/>
                  </a:lnTo>
                  <a:lnTo>
                    <a:pt x="116" y="149"/>
                  </a:lnTo>
                  <a:lnTo>
                    <a:pt x="116" y="147"/>
                  </a:lnTo>
                  <a:lnTo>
                    <a:pt x="116" y="145"/>
                  </a:lnTo>
                  <a:lnTo>
                    <a:pt x="115" y="143"/>
                  </a:lnTo>
                  <a:lnTo>
                    <a:pt x="114" y="142"/>
                  </a:lnTo>
                  <a:lnTo>
                    <a:pt x="113" y="140"/>
                  </a:lnTo>
                  <a:lnTo>
                    <a:pt x="112" y="139"/>
                  </a:lnTo>
                  <a:lnTo>
                    <a:pt x="108" y="134"/>
                  </a:lnTo>
                  <a:lnTo>
                    <a:pt x="107" y="132"/>
                  </a:lnTo>
                  <a:lnTo>
                    <a:pt x="106" y="131"/>
                  </a:lnTo>
                  <a:lnTo>
                    <a:pt x="104" y="128"/>
                  </a:lnTo>
                  <a:lnTo>
                    <a:pt x="99" y="113"/>
                  </a:lnTo>
                  <a:lnTo>
                    <a:pt x="97" y="111"/>
                  </a:lnTo>
                  <a:lnTo>
                    <a:pt x="95" y="109"/>
                  </a:lnTo>
                  <a:lnTo>
                    <a:pt x="93" y="107"/>
                  </a:lnTo>
                  <a:lnTo>
                    <a:pt x="92" y="105"/>
                  </a:lnTo>
                  <a:lnTo>
                    <a:pt x="85" y="100"/>
                  </a:lnTo>
                  <a:lnTo>
                    <a:pt x="82" y="98"/>
                  </a:lnTo>
                  <a:lnTo>
                    <a:pt x="80" y="96"/>
                  </a:lnTo>
                  <a:lnTo>
                    <a:pt x="77" y="92"/>
                  </a:lnTo>
                  <a:lnTo>
                    <a:pt x="75" y="91"/>
                  </a:lnTo>
                  <a:lnTo>
                    <a:pt x="70" y="86"/>
                  </a:lnTo>
                  <a:lnTo>
                    <a:pt x="68" y="86"/>
                  </a:lnTo>
                  <a:lnTo>
                    <a:pt x="67" y="86"/>
                  </a:lnTo>
                  <a:lnTo>
                    <a:pt x="63" y="85"/>
                  </a:lnTo>
                  <a:lnTo>
                    <a:pt x="59" y="84"/>
                  </a:lnTo>
                  <a:lnTo>
                    <a:pt x="53" y="84"/>
                  </a:lnTo>
                  <a:lnTo>
                    <a:pt x="50" y="84"/>
                  </a:lnTo>
                  <a:lnTo>
                    <a:pt x="47" y="85"/>
                  </a:lnTo>
                  <a:lnTo>
                    <a:pt x="44" y="85"/>
                  </a:lnTo>
                  <a:lnTo>
                    <a:pt x="41" y="86"/>
                  </a:lnTo>
                  <a:lnTo>
                    <a:pt x="38" y="86"/>
                  </a:lnTo>
                  <a:lnTo>
                    <a:pt x="35" y="87"/>
                  </a:lnTo>
                  <a:lnTo>
                    <a:pt x="32" y="88"/>
                  </a:lnTo>
                  <a:lnTo>
                    <a:pt x="29" y="89"/>
                  </a:lnTo>
                  <a:lnTo>
                    <a:pt x="27" y="90"/>
                  </a:lnTo>
                  <a:lnTo>
                    <a:pt x="25" y="92"/>
                  </a:lnTo>
                  <a:lnTo>
                    <a:pt x="22" y="94"/>
                  </a:lnTo>
                  <a:lnTo>
                    <a:pt x="20" y="96"/>
                  </a:lnTo>
                  <a:lnTo>
                    <a:pt x="16" y="98"/>
                  </a:lnTo>
                  <a:lnTo>
                    <a:pt x="10" y="105"/>
                  </a:lnTo>
                  <a:lnTo>
                    <a:pt x="8" y="108"/>
                  </a:lnTo>
                  <a:lnTo>
                    <a:pt x="7" y="108"/>
                  </a:lnTo>
                  <a:lnTo>
                    <a:pt x="5" y="109"/>
                  </a:lnTo>
                  <a:lnTo>
                    <a:pt x="4" y="109"/>
                  </a:lnTo>
                  <a:lnTo>
                    <a:pt x="3" y="109"/>
                  </a:lnTo>
                  <a:lnTo>
                    <a:pt x="2" y="108"/>
                  </a:lnTo>
                  <a:lnTo>
                    <a:pt x="2" y="107"/>
                  </a:lnTo>
                  <a:lnTo>
                    <a:pt x="2" y="106"/>
                  </a:lnTo>
                  <a:lnTo>
                    <a:pt x="2" y="105"/>
                  </a:lnTo>
                  <a:lnTo>
                    <a:pt x="2" y="103"/>
                  </a:lnTo>
                  <a:lnTo>
                    <a:pt x="2" y="97"/>
                  </a:lnTo>
                  <a:lnTo>
                    <a:pt x="2" y="93"/>
                  </a:lnTo>
                  <a:lnTo>
                    <a:pt x="2" y="89"/>
                  </a:lnTo>
                  <a:lnTo>
                    <a:pt x="0" y="81"/>
                  </a:lnTo>
                  <a:lnTo>
                    <a:pt x="0" y="78"/>
                  </a:lnTo>
                  <a:lnTo>
                    <a:pt x="0" y="77"/>
                  </a:lnTo>
                  <a:lnTo>
                    <a:pt x="0" y="76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2" y="72"/>
                  </a:lnTo>
                  <a:lnTo>
                    <a:pt x="3" y="70"/>
                  </a:lnTo>
                  <a:lnTo>
                    <a:pt x="5" y="69"/>
                  </a:lnTo>
                  <a:lnTo>
                    <a:pt x="6" y="68"/>
                  </a:lnTo>
                  <a:lnTo>
                    <a:pt x="8" y="67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4" y="64"/>
                  </a:lnTo>
                  <a:lnTo>
                    <a:pt x="17" y="64"/>
                  </a:lnTo>
                  <a:lnTo>
                    <a:pt x="20" y="64"/>
                  </a:lnTo>
                  <a:lnTo>
                    <a:pt x="22" y="64"/>
                  </a:lnTo>
                  <a:lnTo>
                    <a:pt x="23" y="64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6" y="58"/>
                  </a:lnTo>
                  <a:lnTo>
                    <a:pt x="28" y="55"/>
                  </a:lnTo>
                  <a:lnTo>
                    <a:pt x="29" y="53"/>
                  </a:lnTo>
                  <a:lnTo>
                    <a:pt x="33" y="50"/>
                  </a:lnTo>
                  <a:lnTo>
                    <a:pt x="33" y="49"/>
                  </a:lnTo>
                  <a:lnTo>
                    <a:pt x="34" y="48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5" y="41"/>
                  </a:lnTo>
                  <a:lnTo>
                    <a:pt x="36" y="40"/>
                  </a:lnTo>
                  <a:lnTo>
                    <a:pt x="36" y="39"/>
                  </a:lnTo>
                  <a:lnTo>
                    <a:pt x="37" y="38"/>
                  </a:lnTo>
                  <a:lnTo>
                    <a:pt x="38" y="36"/>
                  </a:lnTo>
                  <a:lnTo>
                    <a:pt x="39" y="36"/>
                  </a:lnTo>
                  <a:lnTo>
                    <a:pt x="40" y="37"/>
                  </a:lnTo>
                  <a:lnTo>
                    <a:pt x="41" y="37"/>
                  </a:lnTo>
                  <a:lnTo>
                    <a:pt x="42" y="38"/>
                  </a:lnTo>
                  <a:lnTo>
                    <a:pt x="45" y="39"/>
                  </a:lnTo>
                  <a:lnTo>
                    <a:pt x="49" y="40"/>
                  </a:lnTo>
                  <a:lnTo>
                    <a:pt x="52" y="41"/>
                  </a:lnTo>
                  <a:lnTo>
                    <a:pt x="54" y="41"/>
                  </a:lnTo>
                  <a:lnTo>
                    <a:pt x="59" y="43"/>
                  </a:lnTo>
                  <a:lnTo>
                    <a:pt x="59" y="44"/>
                  </a:lnTo>
                  <a:lnTo>
                    <a:pt x="61" y="44"/>
                  </a:lnTo>
                  <a:lnTo>
                    <a:pt x="62" y="44"/>
                  </a:lnTo>
                  <a:lnTo>
                    <a:pt x="63" y="44"/>
                  </a:lnTo>
                  <a:lnTo>
                    <a:pt x="64" y="43"/>
                  </a:lnTo>
                  <a:lnTo>
                    <a:pt x="65" y="42"/>
                  </a:lnTo>
                  <a:lnTo>
                    <a:pt x="66" y="41"/>
                  </a:lnTo>
                  <a:lnTo>
                    <a:pt x="67" y="40"/>
                  </a:lnTo>
                  <a:lnTo>
                    <a:pt x="68" y="38"/>
                  </a:lnTo>
                  <a:lnTo>
                    <a:pt x="70" y="37"/>
                  </a:lnTo>
                  <a:lnTo>
                    <a:pt x="71" y="35"/>
                  </a:lnTo>
                  <a:lnTo>
                    <a:pt x="78" y="32"/>
                  </a:lnTo>
                  <a:lnTo>
                    <a:pt x="79" y="30"/>
                  </a:lnTo>
                  <a:lnTo>
                    <a:pt x="80" y="30"/>
                  </a:lnTo>
                  <a:lnTo>
                    <a:pt x="81" y="29"/>
                  </a:lnTo>
                  <a:lnTo>
                    <a:pt x="81" y="28"/>
                  </a:lnTo>
                  <a:lnTo>
                    <a:pt x="82" y="24"/>
                  </a:lnTo>
                  <a:lnTo>
                    <a:pt x="83" y="22"/>
                  </a:lnTo>
                  <a:lnTo>
                    <a:pt x="84" y="21"/>
                  </a:lnTo>
                  <a:lnTo>
                    <a:pt x="86" y="19"/>
                  </a:lnTo>
                  <a:lnTo>
                    <a:pt x="88" y="18"/>
                  </a:lnTo>
                  <a:lnTo>
                    <a:pt x="92" y="17"/>
                  </a:lnTo>
                  <a:lnTo>
                    <a:pt x="98" y="15"/>
                  </a:lnTo>
                  <a:lnTo>
                    <a:pt x="100" y="14"/>
                  </a:lnTo>
                  <a:lnTo>
                    <a:pt x="102" y="13"/>
                  </a:lnTo>
                  <a:lnTo>
                    <a:pt x="106" y="10"/>
                  </a:lnTo>
                  <a:lnTo>
                    <a:pt x="107" y="9"/>
                  </a:lnTo>
                  <a:lnTo>
                    <a:pt x="108" y="8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2" name="Freeform 29">
              <a:extLst>
                <a:ext uri="{FF2B5EF4-FFF2-40B4-BE49-F238E27FC236}">
                  <a16:creationId xmlns:a16="http://schemas.microsoft.com/office/drawing/2014/main" id="{9EF49DCA-F775-46FA-8841-7DFB4EA4D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" y="2091"/>
              <a:ext cx="566" cy="518"/>
            </a:xfrm>
            <a:custGeom>
              <a:avLst/>
              <a:gdLst>
                <a:gd name="T0" fmla="*/ 291 w 566"/>
                <a:gd name="T1" fmla="*/ 14 h 518"/>
                <a:gd name="T2" fmla="*/ 313 w 566"/>
                <a:gd name="T3" fmla="*/ 15 h 518"/>
                <a:gd name="T4" fmla="*/ 335 w 566"/>
                <a:gd name="T5" fmla="*/ 27 h 518"/>
                <a:gd name="T6" fmla="*/ 357 w 566"/>
                <a:gd name="T7" fmla="*/ 35 h 518"/>
                <a:gd name="T8" fmla="*/ 344 w 566"/>
                <a:gd name="T9" fmla="*/ 69 h 518"/>
                <a:gd name="T10" fmla="*/ 357 w 566"/>
                <a:gd name="T11" fmla="*/ 85 h 518"/>
                <a:gd name="T12" fmla="*/ 397 w 566"/>
                <a:gd name="T13" fmla="*/ 79 h 518"/>
                <a:gd name="T14" fmla="*/ 436 w 566"/>
                <a:gd name="T15" fmla="*/ 85 h 518"/>
                <a:gd name="T16" fmla="*/ 426 w 566"/>
                <a:gd name="T17" fmla="*/ 98 h 518"/>
                <a:gd name="T18" fmla="*/ 471 w 566"/>
                <a:gd name="T19" fmla="*/ 129 h 518"/>
                <a:gd name="T20" fmla="*/ 508 w 566"/>
                <a:gd name="T21" fmla="*/ 131 h 518"/>
                <a:gd name="T22" fmla="*/ 541 w 566"/>
                <a:gd name="T23" fmla="*/ 135 h 518"/>
                <a:gd name="T24" fmla="*/ 565 w 566"/>
                <a:gd name="T25" fmla="*/ 172 h 518"/>
                <a:gd name="T26" fmla="*/ 526 w 566"/>
                <a:gd name="T27" fmla="*/ 198 h 518"/>
                <a:gd name="T28" fmla="*/ 498 w 566"/>
                <a:gd name="T29" fmla="*/ 194 h 518"/>
                <a:gd name="T30" fmla="*/ 488 w 566"/>
                <a:gd name="T31" fmla="*/ 209 h 518"/>
                <a:gd name="T32" fmla="*/ 465 w 566"/>
                <a:gd name="T33" fmla="*/ 215 h 518"/>
                <a:gd name="T34" fmla="*/ 443 w 566"/>
                <a:gd name="T35" fmla="*/ 227 h 518"/>
                <a:gd name="T36" fmla="*/ 433 w 566"/>
                <a:gd name="T37" fmla="*/ 255 h 518"/>
                <a:gd name="T38" fmla="*/ 427 w 566"/>
                <a:gd name="T39" fmla="*/ 325 h 518"/>
                <a:gd name="T40" fmla="*/ 410 w 566"/>
                <a:gd name="T41" fmla="*/ 346 h 518"/>
                <a:gd name="T42" fmla="*/ 378 w 566"/>
                <a:gd name="T43" fmla="*/ 371 h 518"/>
                <a:gd name="T44" fmla="*/ 357 w 566"/>
                <a:gd name="T45" fmla="*/ 381 h 518"/>
                <a:gd name="T46" fmla="*/ 342 w 566"/>
                <a:gd name="T47" fmla="*/ 375 h 518"/>
                <a:gd name="T48" fmla="*/ 322 w 566"/>
                <a:gd name="T49" fmla="*/ 353 h 518"/>
                <a:gd name="T50" fmla="*/ 300 w 566"/>
                <a:gd name="T51" fmla="*/ 374 h 518"/>
                <a:gd name="T52" fmla="*/ 267 w 566"/>
                <a:gd name="T53" fmla="*/ 376 h 518"/>
                <a:gd name="T54" fmla="*/ 240 w 566"/>
                <a:gd name="T55" fmla="*/ 376 h 518"/>
                <a:gd name="T56" fmla="*/ 245 w 566"/>
                <a:gd name="T57" fmla="*/ 402 h 518"/>
                <a:gd name="T58" fmla="*/ 255 w 566"/>
                <a:gd name="T59" fmla="*/ 438 h 518"/>
                <a:gd name="T60" fmla="*/ 240 w 566"/>
                <a:gd name="T61" fmla="*/ 489 h 518"/>
                <a:gd name="T62" fmla="*/ 202 w 566"/>
                <a:gd name="T63" fmla="*/ 510 h 518"/>
                <a:gd name="T64" fmla="*/ 177 w 566"/>
                <a:gd name="T65" fmla="*/ 496 h 518"/>
                <a:gd name="T66" fmla="*/ 150 w 566"/>
                <a:gd name="T67" fmla="*/ 488 h 518"/>
                <a:gd name="T68" fmla="*/ 119 w 566"/>
                <a:gd name="T69" fmla="*/ 491 h 518"/>
                <a:gd name="T70" fmla="*/ 95 w 566"/>
                <a:gd name="T71" fmla="*/ 512 h 518"/>
                <a:gd name="T72" fmla="*/ 72 w 566"/>
                <a:gd name="T73" fmla="*/ 513 h 518"/>
                <a:gd name="T74" fmla="*/ 70 w 566"/>
                <a:gd name="T75" fmla="*/ 494 h 518"/>
                <a:gd name="T76" fmla="*/ 77 w 566"/>
                <a:gd name="T77" fmla="*/ 465 h 518"/>
                <a:gd name="T78" fmla="*/ 79 w 566"/>
                <a:gd name="T79" fmla="*/ 436 h 518"/>
                <a:gd name="T80" fmla="*/ 106 w 566"/>
                <a:gd name="T81" fmla="*/ 416 h 518"/>
                <a:gd name="T82" fmla="*/ 83 w 566"/>
                <a:gd name="T83" fmla="*/ 385 h 518"/>
                <a:gd name="T84" fmla="*/ 96 w 566"/>
                <a:gd name="T85" fmla="*/ 350 h 518"/>
                <a:gd name="T86" fmla="*/ 69 w 566"/>
                <a:gd name="T87" fmla="*/ 313 h 518"/>
                <a:gd name="T88" fmla="*/ 53 w 566"/>
                <a:gd name="T89" fmla="*/ 293 h 518"/>
                <a:gd name="T90" fmla="*/ 55 w 566"/>
                <a:gd name="T91" fmla="*/ 258 h 518"/>
                <a:gd name="T92" fmla="*/ 16 w 566"/>
                <a:gd name="T93" fmla="*/ 198 h 518"/>
                <a:gd name="T94" fmla="*/ 5 w 566"/>
                <a:gd name="T95" fmla="*/ 177 h 518"/>
                <a:gd name="T96" fmla="*/ 7 w 566"/>
                <a:gd name="T97" fmla="*/ 161 h 518"/>
                <a:gd name="T98" fmla="*/ 27 w 566"/>
                <a:gd name="T99" fmla="*/ 139 h 518"/>
                <a:gd name="T100" fmla="*/ 74 w 566"/>
                <a:gd name="T101" fmla="*/ 108 h 518"/>
                <a:gd name="T102" fmla="*/ 111 w 566"/>
                <a:gd name="T103" fmla="*/ 84 h 518"/>
                <a:gd name="T104" fmla="*/ 166 w 566"/>
                <a:gd name="T105" fmla="*/ 98 h 518"/>
                <a:gd name="T106" fmla="*/ 203 w 566"/>
                <a:gd name="T107" fmla="*/ 119 h 518"/>
                <a:gd name="T108" fmla="*/ 214 w 566"/>
                <a:gd name="T109" fmla="*/ 72 h 518"/>
                <a:gd name="T110" fmla="*/ 245 w 566"/>
                <a:gd name="T111" fmla="*/ 55 h 518"/>
                <a:gd name="T112" fmla="*/ 257 w 566"/>
                <a:gd name="T113" fmla="*/ 35 h 518"/>
                <a:gd name="T114" fmla="*/ 259 w 566"/>
                <a:gd name="T115" fmla="*/ 7 h 518"/>
                <a:gd name="T116" fmla="*/ 281 w 566"/>
                <a:gd name="T117" fmla="*/ 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6" h="518">
                  <a:moveTo>
                    <a:pt x="283" y="0"/>
                  </a:moveTo>
                  <a:lnTo>
                    <a:pt x="283" y="1"/>
                  </a:lnTo>
                  <a:lnTo>
                    <a:pt x="283" y="2"/>
                  </a:lnTo>
                  <a:lnTo>
                    <a:pt x="283" y="4"/>
                  </a:lnTo>
                  <a:lnTo>
                    <a:pt x="284" y="7"/>
                  </a:lnTo>
                  <a:lnTo>
                    <a:pt x="284" y="9"/>
                  </a:lnTo>
                  <a:lnTo>
                    <a:pt x="285" y="11"/>
                  </a:lnTo>
                  <a:lnTo>
                    <a:pt x="286" y="12"/>
                  </a:lnTo>
                  <a:lnTo>
                    <a:pt x="287" y="13"/>
                  </a:lnTo>
                  <a:lnTo>
                    <a:pt x="288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1" y="14"/>
                  </a:lnTo>
                  <a:lnTo>
                    <a:pt x="292" y="13"/>
                  </a:lnTo>
                  <a:lnTo>
                    <a:pt x="293" y="13"/>
                  </a:lnTo>
                  <a:lnTo>
                    <a:pt x="295" y="11"/>
                  </a:lnTo>
                  <a:lnTo>
                    <a:pt x="298" y="6"/>
                  </a:lnTo>
                  <a:lnTo>
                    <a:pt x="300" y="5"/>
                  </a:lnTo>
                  <a:lnTo>
                    <a:pt x="301" y="5"/>
                  </a:lnTo>
                  <a:lnTo>
                    <a:pt x="302" y="3"/>
                  </a:lnTo>
                  <a:lnTo>
                    <a:pt x="304" y="3"/>
                  </a:lnTo>
                  <a:lnTo>
                    <a:pt x="305" y="2"/>
                  </a:lnTo>
                  <a:lnTo>
                    <a:pt x="306" y="3"/>
                  </a:lnTo>
                  <a:lnTo>
                    <a:pt x="308" y="5"/>
                  </a:lnTo>
                  <a:lnTo>
                    <a:pt x="310" y="10"/>
                  </a:lnTo>
                  <a:lnTo>
                    <a:pt x="313" y="15"/>
                  </a:lnTo>
                  <a:lnTo>
                    <a:pt x="315" y="17"/>
                  </a:lnTo>
                  <a:lnTo>
                    <a:pt x="316" y="19"/>
                  </a:lnTo>
                  <a:lnTo>
                    <a:pt x="318" y="24"/>
                  </a:lnTo>
                  <a:lnTo>
                    <a:pt x="319" y="26"/>
                  </a:lnTo>
                  <a:lnTo>
                    <a:pt x="320" y="27"/>
                  </a:lnTo>
                  <a:lnTo>
                    <a:pt x="321" y="28"/>
                  </a:lnTo>
                  <a:lnTo>
                    <a:pt x="322" y="28"/>
                  </a:lnTo>
                  <a:lnTo>
                    <a:pt x="323" y="28"/>
                  </a:lnTo>
                  <a:lnTo>
                    <a:pt x="324" y="28"/>
                  </a:lnTo>
                  <a:lnTo>
                    <a:pt x="324" y="28"/>
                  </a:lnTo>
                  <a:lnTo>
                    <a:pt x="327" y="28"/>
                  </a:lnTo>
                  <a:lnTo>
                    <a:pt x="334" y="28"/>
                  </a:lnTo>
                  <a:lnTo>
                    <a:pt x="335" y="27"/>
                  </a:lnTo>
                  <a:lnTo>
                    <a:pt x="336" y="26"/>
                  </a:lnTo>
                  <a:lnTo>
                    <a:pt x="339" y="24"/>
                  </a:lnTo>
                  <a:lnTo>
                    <a:pt x="342" y="22"/>
                  </a:lnTo>
                  <a:lnTo>
                    <a:pt x="343" y="21"/>
                  </a:lnTo>
                  <a:lnTo>
                    <a:pt x="344" y="20"/>
                  </a:lnTo>
                  <a:lnTo>
                    <a:pt x="346" y="17"/>
                  </a:lnTo>
                  <a:lnTo>
                    <a:pt x="347" y="18"/>
                  </a:lnTo>
                  <a:lnTo>
                    <a:pt x="347" y="20"/>
                  </a:lnTo>
                  <a:lnTo>
                    <a:pt x="351" y="25"/>
                  </a:lnTo>
                  <a:lnTo>
                    <a:pt x="352" y="27"/>
                  </a:lnTo>
                  <a:lnTo>
                    <a:pt x="354" y="30"/>
                  </a:lnTo>
                  <a:lnTo>
                    <a:pt x="356" y="33"/>
                  </a:lnTo>
                  <a:lnTo>
                    <a:pt x="357" y="35"/>
                  </a:lnTo>
                  <a:lnTo>
                    <a:pt x="358" y="38"/>
                  </a:lnTo>
                  <a:lnTo>
                    <a:pt x="358" y="40"/>
                  </a:lnTo>
                  <a:lnTo>
                    <a:pt x="358" y="42"/>
                  </a:lnTo>
                  <a:lnTo>
                    <a:pt x="358" y="44"/>
                  </a:lnTo>
                  <a:lnTo>
                    <a:pt x="358" y="46"/>
                  </a:lnTo>
                  <a:lnTo>
                    <a:pt x="358" y="47"/>
                  </a:lnTo>
                  <a:lnTo>
                    <a:pt x="357" y="49"/>
                  </a:lnTo>
                  <a:lnTo>
                    <a:pt x="356" y="51"/>
                  </a:lnTo>
                  <a:lnTo>
                    <a:pt x="351" y="55"/>
                  </a:lnTo>
                  <a:lnTo>
                    <a:pt x="349" y="59"/>
                  </a:lnTo>
                  <a:lnTo>
                    <a:pt x="347" y="62"/>
                  </a:lnTo>
                  <a:lnTo>
                    <a:pt x="345" y="67"/>
                  </a:lnTo>
                  <a:lnTo>
                    <a:pt x="344" y="69"/>
                  </a:lnTo>
                  <a:lnTo>
                    <a:pt x="343" y="71"/>
                  </a:lnTo>
                  <a:lnTo>
                    <a:pt x="342" y="73"/>
                  </a:lnTo>
                  <a:lnTo>
                    <a:pt x="342" y="74"/>
                  </a:lnTo>
                  <a:lnTo>
                    <a:pt x="342" y="76"/>
                  </a:lnTo>
                  <a:lnTo>
                    <a:pt x="342" y="78"/>
                  </a:lnTo>
                  <a:lnTo>
                    <a:pt x="342" y="79"/>
                  </a:lnTo>
                  <a:lnTo>
                    <a:pt x="343" y="80"/>
                  </a:lnTo>
                  <a:lnTo>
                    <a:pt x="343" y="81"/>
                  </a:lnTo>
                  <a:lnTo>
                    <a:pt x="344" y="82"/>
                  </a:lnTo>
                  <a:lnTo>
                    <a:pt x="345" y="82"/>
                  </a:lnTo>
                  <a:lnTo>
                    <a:pt x="346" y="83"/>
                  </a:lnTo>
                  <a:lnTo>
                    <a:pt x="348" y="84"/>
                  </a:lnTo>
                  <a:lnTo>
                    <a:pt x="357" y="85"/>
                  </a:lnTo>
                  <a:lnTo>
                    <a:pt x="359" y="85"/>
                  </a:lnTo>
                  <a:lnTo>
                    <a:pt x="359" y="85"/>
                  </a:lnTo>
                  <a:lnTo>
                    <a:pt x="361" y="85"/>
                  </a:lnTo>
                  <a:lnTo>
                    <a:pt x="362" y="85"/>
                  </a:lnTo>
                  <a:lnTo>
                    <a:pt x="365" y="85"/>
                  </a:lnTo>
                  <a:lnTo>
                    <a:pt x="368" y="84"/>
                  </a:lnTo>
                  <a:lnTo>
                    <a:pt x="374" y="81"/>
                  </a:lnTo>
                  <a:lnTo>
                    <a:pt x="377" y="80"/>
                  </a:lnTo>
                  <a:lnTo>
                    <a:pt x="381" y="79"/>
                  </a:lnTo>
                  <a:lnTo>
                    <a:pt x="386" y="78"/>
                  </a:lnTo>
                  <a:lnTo>
                    <a:pt x="390" y="78"/>
                  </a:lnTo>
                  <a:lnTo>
                    <a:pt x="393" y="78"/>
                  </a:lnTo>
                  <a:lnTo>
                    <a:pt x="397" y="79"/>
                  </a:lnTo>
                  <a:lnTo>
                    <a:pt x="404" y="80"/>
                  </a:lnTo>
                  <a:lnTo>
                    <a:pt x="406" y="81"/>
                  </a:lnTo>
                  <a:lnTo>
                    <a:pt x="410" y="81"/>
                  </a:lnTo>
                  <a:lnTo>
                    <a:pt x="417" y="80"/>
                  </a:lnTo>
                  <a:lnTo>
                    <a:pt x="421" y="80"/>
                  </a:lnTo>
                  <a:lnTo>
                    <a:pt x="423" y="80"/>
                  </a:lnTo>
                  <a:lnTo>
                    <a:pt x="425" y="80"/>
                  </a:lnTo>
                  <a:lnTo>
                    <a:pt x="427" y="81"/>
                  </a:lnTo>
                  <a:lnTo>
                    <a:pt x="428" y="81"/>
                  </a:lnTo>
                  <a:lnTo>
                    <a:pt x="431" y="83"/>
                  </a:lnTo>
                  <a:lnTo>
                    <a:pt x="434" y="85"/>
                  </a:lnTo>
                  <a:lnTo>
                    <a:pt x="435" y="85"/>
                  </a:lnTo>
                  <a:lnTo>
                    <a:pt x="436" y="85"/>
                  </a:lnTo>
                  <a:lnTo>
                    <a:pt x="436" y="86"/>
                  </a:lnTo>
                  <a:lnTo>
                    <a:pt x="436" y="87"/>
                  </a:lnTo>
                  <a:lnTo>
                    <a:pt x="435" y="88"/>
                  </a:lnTo>
                  <a:lnTo>
                    <a:pt x="430" y="90"/>
                  </a:lnTo>
                  <a:lnTo>
                    <a:pt x="428" y="91"/>
                  </a:lnTo>
                  <a:lnTo>
                    <a:pt x="427" y="92"/>
                  </a:lnTo>
                  <a:lnTo>
                    <a:pt x="426" y="93"/>
                  </a:lnTo>
                  <a:lnTo>
                    <a:pt x="426" y="94"/>
                  </a:lnTo>
                  <a:lnTo>
                    <a:pt x="425" y="95"/>
                  </a:lnTo>
                  <a:lnTo>
                    <a:pt x="425" y="96"/>
                  </a:lnTo>
                  <a:lnTo>
                    <a:pt x="425" y="96"/>
                  </a:lnTo>
                  <a:lnTo>
                    <a:pt x="425" y="97"/>
                  </a:lnTo>
                  <a:lnTo>
                    <a:pt x="426" y="98"/>
                  </a:lnTo>
                  <a:lnTo>
                    <a:pt x="427" y="99"/>
                  </a:lnTo>
                  <a:lnTo>
                    <a:pt x="427" y="101"/>
                  </a:lnTo>
                  <a:lnTo>
                    <a:pt x="430" y="103"/>
                  </a:lnTo>
                  <a:lnTo>
                    <a:pt x="432" y="105"/>
                  </a:lnTo>
                  <a:lnTo>
                    <a:pt x="433" y="106"/>
                  </a:lnTo>
                  <a:lnTo>
                    <a:pt x="437" y="107"/>
                  </a:lnTo>
                  <a:lnTo>
                    <a:pt x="444" y="111"/>
                  </a:lnTo>
                  <a:lnTo>
                    <a:pt x="449" y="114"/>
                  </a:lnTo>
                  <a:lnTo>
                    <a:pt x="453" y="117"/>
                  </a:lnTo>
                  <a:lnTo>
                    <a:pt x="460" y="122"/>
                  </a:lnTo>
                  <a:lnTo>
                    <a:pt x="463" y="125"/>
                  </a:lnTo>
                  <a:lnTo>
                    <a:pt x="467" y="128"/>
                  </a:lnTo>
                  <a:lnTo>
                    <a:pt x="471" y="129"/>
                  </a:lnTo>
                  <a:lnTo>
                    <a:pt x="472" y="130"/>
                  </a:lnTo>
                  <a:lnTo>
                    <a:pt x="474" y="130"/>
                  </a:lnTo>
                  <a:lnTo>
                    <a:pt x="477" y="131"/>
                  </a:lnTo>
                  <a:lnTo>
                    <a:pt x="480" y="131"/>
                  </a:lnTo>
                  <a:lnTo>
                    <a:pt x="483" y="132"/>
                  </a:lnTo>
                  <a:lnTo>
                    <a:pt x="485" y="132"/>
                  </a:lnTo>
                  <a:lnTo>
                    <a:pt x="491" y="133"/>
                  </a:lnTo>
                  <a:lnTo>
                    <a:pt x="494" y="133"/>
                  </a:lnTo>
                  <a:lnTo>
                    <a:pt x="497" y="133"/>
                  </a:lnTo>
                  <a:lnTo>
                    <a:pt x="500" y="133"/>
                  </a:lnTo>
                  <a:lnTo>
                    <a:pt x="503" y="132"/>
                  </a:lnTo>
                  <a:lnTo>
                    <a:pt x="506" y="132"/>
                  </a:lnTo>
                  <a:lnTo>
                    <a:pt x="508" y="131"/>
                  </a:lnTo>
                  <a:lnTo>
                    <a:pt x="518" y="129"/>
                  </a:lnTo>
                  <a:lnTo>
                    <a:pt x="521" y="129"/>
                  </a:lnTo>
                  <a:lnTo>
                    <a:pt x="525" y="128"/>
                  </a:lnTo>
                  <a:lnTo>
                    <a:pt x="527" y="129"/>
                  </a:lnTo>
                  <a:lnTo>
                    <a:pt x="529" y="129"/>
                  </a:lnTo>
                  <a:lnTo>
                    <a:pt x="529" y="129"/>
                  </a:lnTo>
                  <a:lnTo>
                    <a:pt x="531" y="129"/>
                  </a:lnTo>
                  <a:lnTo>
                    <a:pt x="533" y="130"/>
                  </a:lnTo>
                  <a:lnTo>
                    <a:pt x="534" y="130"/>
                  </a:lnTo>
                  <a:lnTo>
                    <a:pt x="537" y="131"/>
                  </a:lnTo>
                  <a:lnTo>
                    <a:pt x="539" y="133"/>
                  </a:lnTo>
                  <a:lnTo>
                    <a:pt x="540" y="134"/>
                  </a:lnTo>
                  <a:lnTo>
                    <a:pt x="541" y="135"/>
                  </a:lnTo>
                  <a:lnTo>
                    <a:pt x="542" y="137"/>
                  </a:lnTo>
                  <a:lnTo>
                    <a:pt x="552" y="148"/>
                  </a:lnTo>
                  <a:lnTo>
                    <a:pt x="559" y="158"/>
                  </a:lnTo>
                  <a:lnTo>
                    <a:pt x="561" y="161"/>
                  </a:lnTo>
                  <a:lnTo>
                    <a:pt x="563" y="164"/>
                  </a:lnTo>
                  <a:lnTo>
                    <a:pt x="564" y="165"/>
                  </a:lnTo>
                  <a:lnTo>
                    <a:pt x="565" y="167"/>
                  </a:lnTo>
                  <a:lnTo>
                    <a:pt x="565" y="169"/>
                  </a:lnTo>
                  <a:lnTo>
                    <a:pt x="566" y="171"/>
                  </a:lnTo>
                  <a:lnTo>
                    <a:pt x="566" y="172"/>
                  </a:lnTo>
                  <a:lnTo>
                    <a:pt x="566" y="173"/>
                  </a:lnTo>
                  <a:lnTo>
                    <a:pt x="566" y="172"/>
                  </a:lnTo>
                  <a:lnTo>
                    <a:pt x="565" y="172"/>
                  </a:lnTo>
                  <a:lnTo>
                    <a:pt x="563" y="173"/>
                  </a:lnTo>
                  <a:lnTo>
                    <a:pt x="561" y="173"/>
                  </a:lnTo>
                  <a:lnTo>
                    <a:pt x="558" y="174"/>
                  </a:lnTo>
                  <a:lnTo>
                    <a:pt x="556" y="175"/>
                  </a:lnTo>
                  <a:lnTo>
                    <a:pt x="553" y="175"/>
                  </a:lnTo>
                  <a:lnTo>
                    <a:pt x="552" y="177"/>
                  </a:lnTo>
                  <a:lnTo>
                    <a:pt x="549" y="178"/>
                  </a:lnTo>
                  <a:lnTo>
                    <a:pt x="545" y="181"/>
                  </a:lnTo>
                  <a:lnTo>
                    <a:pt x="541" y="184"/>
                  </a:lnTo>
                  <a:lnTo>
                    <a:pt x="538" y="187"/>
                  </a:lnTo>
                  <a:lnTo>
                    <a:pt x="531" y="194"/>
                  </a:lnTo>
                  <a:lnTo>
                    <a:pt x="528" y="197"/>
                  </a:lnTo>
                  <a:lnTo>
                    <a:pt x="526" y="198"/>
                  </a:lnTo>
                  <a:lnTo>
                    <a:pt x="525" y="198"/>
                  </a:lnTo>
                  <a:lnTo>
                    <a:pt x="523" y="199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18" y="200"/>
                  </a:lnTo>
                  <a:lnTo>
                    <a:pt x="517" y="200"/>
                  </a:lnTo>
                  <a:lnTo>
                    <a:pt x="515" y="200"/>
                  </a:lnTo>
                  <a:lnTo>
                    <a:pt x="512" y="199"/>
                  </a:lnTo>
                  <a:lnTo>
                    <a:pt x="510" y="199"/>
                  </a:lnTo>
                  <a:lnTo>
                    <a:pt x="507" y="198"/>
                  </a:lnTo>
                  <a:lnTo>
                    <a:pt x="502" y="196"/>
                  </a:lnTo>
                  <a:lnTo>
                    <a:pt x="499" y="195"/>
                  </a:lnTo>
                  <a:lnTo>
                    <a:pt x="498" y="194"/>
                  </a:lnTo>
                  <a:lnTo>
                    <a:pt x="495" y="194"/>
                  </a:lnTo>
                  <a:lnTo>
                    <a:pt x="494" y="194"/>
                  </a:lnTo>
                  <a:lnTo>
                    <a:pt x="492" y="194"/>
                  </a:lnTo>
                  <a:lnTo>
                    <a:pt x="491" y="194"/>
                  </a:lnTo>
                  <a:lnTo>
                    <a:pt x="489" y="195"/>
                  </a:lnTo>
                  <a:lnTo>
                    <a:pt x="488" y="196"/>
                  </a:lnTo>
                  <a:lnTo>
                    <a:pt x="487" y="198"/>
                  </a:lnTo>
                  <a:lnTo>
                    <a:pt x="487" y="199"/>
                  </a:lnTo>
                  <a:lnTo>
                    <a:pt x="486" y="200"/>
                  </a:lnTo>
                  <a:lnTo>
                    <a:pt x="487" y="203"/>
                  </a:lnTo>
                  <a:lnTo>
                    <a:pt x="487" y="205"/>
                  </a:lnTo>
                  <a:lnTo>
                    <a:pt x="488" y="209"/>
                  </a:lnTo>
                  <a:lnTo>
                    <a:pt x="488" y="209"/>
                  </a:lnTo>
                  <a:lnTo>
                    <a:pt x="488" y="210"/>
                  </a:lnTo>
                  <a:lnTo>
                    <a:pt x="488" y="212"/>
                  </a:lnTo>
                  <a:lnTo>
                    <a:pt x="488" y="214"/>
                  </a:lnTo>
                  <a:lnTo>
                    <a:pt x="487" y="215"/>
                  </a:lnTo>
                  <a:lnTo>
                    <a:pt x="486" y="216"/>
                  </a:lnTo>
                  <a:lnTo>
                    <a:pt x="485" y="216"/>
                  </a:lnTo>
                  <a:lnTo>
                    <a:pt x="484" y="217"/>
                  </a:lnTo>
                  <a:lnTo>
                    <a:pt x="482" y="217"/>
                  </a:lnTo>
                  <a:lnTo>
                    <a:pt x="480" y="217"/>
                  </a:lnTo>
                  <a:lnTo>
                    <a:pt x="478" y="217"/>
                  </a:lnTo>
                  <a:lnTo>
                    <a:pt x="476" y="217"/>
                  </a:lnTo>
                  <a:lnTo>
                    <a:pt x="470" y="216"/>
                  </a:lnTo>
                  <a:lnTo>
                    <a:pt x="465" y="215"/>
                  </a:lnTo>
                  <a:lnTo>
                    <a:pt x="463" y="215"/>
                  </a:lnTo>
                  <a:lnTo>
                    <a:pt x="461" y="215"/>
                  </a:lnTo>
                  <a:lnTo>
                    <a:pt x="461" y="216"/>
                  </a:lnTo>
                  <a:lnTo>
                    <a:pt x="459" y="216"/>
                  </a:lnTo>
                  <a:lnTo>
                    <a:pt x="457" y="217"/>
                  </a:lnTo>
                  <a:lnTo>
                    <a:pt x="456" y="217"/>
                  </a:lnTo>
                  <a:lnTo>
                    <a:pt x="453" y="218"/>
                  </a:lnTo>
                  <a:lnTo>
                    <a:pt x="448" y="221"/>
                  </a:lnTo>
                  <a:lnTo>
                    <a:pt x="446" y="222"/>
                  </a:lnTo>
                  <a:lnTo>
                    <a:pt x="445" y="224"/>
                  </a:lnTo>
                  <a:lnTo>
                    <a:pt x="444" y="225"/>
                  </a:lnTo>
                  <a:lnTo>
                    <a:pt x="443" y="226"/>
                  </a:lnTo>
                  <a:lnTo>
                    <a:pt x="443" y="227"/>
                  </a:lnTo>
                  <a:lnTo>
                    <a:pt x="443" y="228"/>
                  </a:lnTo>
                  <a:lnTo>
                    <a:pt x="442" y="229"/>
                  </a:lnTo>
                  <a:lnTo>
                    <a:pt x="443" y="230"/>
                  </a:lnTo>
                  <a:lnTo>
                    <a:pt x="443" y="233"/>
                  </a:lnTo>
                  <a:lnTo>
                    <a:pt x="443" y="235"/>
                  </a:lnTo>
                  <a:lnTo>
                    <a:pt x="443" y="237"/>
                  </a:lnTo>
                  <a:lnTo>
                    <a:pt x="443" y="240"/>
                  </a:lnTo>
                  <a:lnTo>
                    <a:pt x="441" y="242"/>
                  </a:lnTo>
                  <a:lnTo>
                    <a:pt x="440" y="244"/>
                  </a:lnTo>
                  <a:lnTo>
                    <a:pt x="439" y="246"/>
                  </a:lnTo>
                  <a:lnTo>
                    <a:pt x="436" y="251"/>
                  </a:lnTo>
                  <a:lnTo>
                    <a:pt x="434" y="254"/>
                  </a:lnTo>
                  <a:lnTo>
                    <a:pt x="433" y="255"/>
                  </a:lnTo>
                  <a:lnTo>
                    <a:pt x="433" y="256"/>
                  </a:lnTo>
                  <a:lnTo>
                    <a:pt x="432" y="258"/>
                  </a:lnTo>
                  <a:lnTo>
                    <a:pt x="432" y="260"/>
                  </a:lnTo>
                  <a:lnTo>
                    <a:pt x="431" y="264"/>
                  </a:lnTo>
                  <a:lnTo>
                    <a:pt x="431" y="273"/>
                  </a:lnTo>
                  <a:lnTo>
                    <a:pt x="431" y="277"/>
                  </a:lnTo>
                  <a:lnTo>
                    <a:pt x="429" y="288"/>
                  </a:lnTo>
                  <a:lnTo>
                    <a:pt x="427" y="305"/>
                  </a:lnTo>
                  <a:lnTo>
                    <a:pt x="426" y="315"/>
                  </a:lnTo>
                  <a:lnTo>
                    <a:pt x="426" y="318"/>
                  </a:lnTo>
                  <a:lnTo>
                    <a:pt x="426" y="321"/>
                  </a:lnTo>
                  <a:lnTo>
                    <a:pt x="426" y="323"/>
                  </a:lnTo>
                  <a:lnTo>
                    <a:pt x="427" y="325"/>
                  </a:lnTo>
                  <a:lnTo>
                    <a:pt x="427" y="329"/>
                  </a:lnTo>
                  <a:lnTo>
                    <a:pt x="427" y="331"/>
                  </a:lnTo>
                  <a:lnTo>
                    <a:pt x="427" y="334"/>
                  </a:lnTo>
                  <a:lnTo>
                    <a:pt x="427" y="336"/>
                  </a:lnTo>
                  <a:lnTo>
                    <a:pt x="426" y="338"/>
                  </a:lnTo>
                  <a:lnTo>
                    <a:pt x="425" y="340"/>
                  </a:lnTo>
                  <a:lnTo>
                    <a:pt x="423" y="342"/>
                  </a:lnTo>
                  <a:lnTo>
                    <a:pt x="422" y="343"/>
                  </a:lnTo>
                  <a:lnTo>
                    <a:pt x="420" y="344"/>
                  </a:lnTo>
                  <a:lnTo>
                    <a:pt x="418" y="345"/>
                  </a:lnTo>
                  <a:lnTo>
                    <a:pt x="416" y="345"/>
                  </a:lnTo>
                  <a:lnTo>
                    <a:pt x="411" y="346"/>
                  </a:lnTo>
                  <a:lnTo>
                    <a:pt x="410" y="346"/>
                  </a:lnTo>
                  <a:lnTo>
                    <a:pt x="410" y="347"/>
                  </a:lnTo>
                  <a:lnTo>
                    <a:pt x="409" y="347"/>
                  </a:lnTo>
                  <a:lnTo>
                    <a:pt x="408" y="348"/>
                  </a:lnTo>
                  <a:lnTo>
                    <a:pt x="405" y="350"/>
                  </a:lnTo>
                  <a:lnTo>
                    <a:pt x="404" y="352"/>
                  </a:lnTo>
                  <a:lnTo>
                    <a:pt x="399" y="356"/>
                  </a:lnTo>
                  <a:lnTo>
                    <a:pt x="395" y="358"/>
                  </a:lnTo>
                  <a:lnTo>
                    <a:pt x="392" y="361"/>
                  </a:lnTo>
                  <a:lnTo>
                    <a:pt x="384" y="366"/>
                  </a:lnTo>
                  <a:lnTo>
                    <a:pt x="382" y="367"/>
                  </a:lnTo>
                  <a:lnTo>
                    <a:pt x="381" y="368"/>
                  </a:lnTo>
                  <a:lnTo>
                    <a:pt x="380" y="369"/>
                  </a:lnTo>
                  <a:lnTo>
                    <a:pt x="378" y="371"/>
                  </a:lnTo>
                  <a:lnTo>
                    <a:pt x="367" y="386"/>
                  </a:lnTo>
                  <a:lnTo>
                    <a:pt x="366" y="387"/>
                  </a:lnTo>
                  <a:lnTo>
                    <a:pt x="366" y="388"/>
                  </a:lnTo>
                  <a:lnTo>
                    <a:pt x="365" y="388"/>
                  </a:lnTo>
                  <a:lnTo>
                    <a:pt x="364" y="388"/>
                  </a:lnTo>
                  <a:lnTo>
                    <a:pt x="363" y="388"/>
                  </a:lnTo>
                  <a:lnTo>
                    <a:pt x="361" y="388"/>
                  </a:lnTo>
                  <a:lnTo>
                    <a:pt x="360" y="387"/>
                  </a:lnTo>
                  <a:lnTo>
                    <a:pt x="359" y="387"/>
                  </a:lnTo>
                  <a:lnTo>
                    <a:pt x="359" y="386"/>
                  </a:lnTo>
                  <a:lnTo>
                    <a:pt x="359" y="385"/>
                  </a:lnTo>
                  <a:lnTo>
                    <a:pt x="357" y="383"/>
                  </a:lnTo>
                  <a:lnTo>
                    <a:pt x="357" y="381"/>
                  </a:lnTo>
                  <a:lnTo>
                    <a:pt x="356" y="381"/>
                  </a:lnTo>
                  <a:lnTo>
                    <a:pt x="355" y="380"/>
                  </a:lnTo>
                  <a:lnTo>
                    <a:pt x="354" y="380"/>
                  </a:lnTo>
                  <a:lnTo>
                    <a:pt x="353" y="380"/>
                  </a:lnTo>
                  <a:lnTo>
                    <a:pt x="351" y="380"/>
                  </a:lnTo>
                  <a:lnTo>
                    <a:pt x="348" y="381"/>
                  </a:lnTo>
                  <a:lnTo>
                    <a:pt x="347" y="381"/>
                  </a:lnTo>
                  <a:lnTo>
                    <a:pt x="347" y="381"/>
                  </a:lnTo>
                  <a:lnTo>
                    <a:pt x="346" y="380"/>
                  </a:lnTo>
                  <a:lnTo>
                    <a:pt x="345" y="379"/>
                  </a:lnTo>
                  <a:lnTo>
                    <a:pt x="343" y="379"/>
                  </a:lnTo>
                  <a:lnTo>
                    <a:pt x="342" y="377"/>
                  </a:lnTo>
                  <a:lnTo>
                    <a:pt x="342" y="375"/>
                  </a:lnTo>
                  <a:lnTo>
                    <a:pt x="340" y="369"/>
                  </a:lnTo>
                  <a:lnTo>
                    <a:pt x="338" y="367"/>
                  </a:lnTo>
                  <a:lnTo>
                    <a:pt x="337" y="364"/>
                  </a:lnTo>
                  <a:lnTo>
                    <a:pt x="336" y="362"/>
                  </a:lnTo>
                  <a:lnTo>
                    <a:pt x="336" y="361"/>
                  </a:lnTo>
                  <a:lnTo>
                    <a:pt x="334" y="358"/>
                  </a:lnTo>
                  <a:lnTo>
                    <a:pt x="333" y="357"/>
                  </a:lnTo>
                  <a:lnTo>
                    <a:pt x="331" y="356"/>
                  </a:lnTo>
                  <a:lnTo>
                    <a:pt x="330" y="355"/>
                  </a:lnTo>
                  <a:lnTo>
                    <a:pt x="328" y="355"/>
                  </a:lnTo>
                  <a:lnTo>
                    <a:pt x="326" y="354"/>
                  </a:lnTo>
                  <a:lnTo>
                    <a:pt x="324" y="353"/>
                  </a:lnTo>
                  <a:lnTo>
                    <a:pt x="322" y="353"/>
                  </a:lnTo>
                  <a:lnTo>
                    <a:pt x="321" y="353"/>
                  </a:lnTo>
                  <a:lnTo>
                    <a:pt x="320" y="353"/>
                  </a:lnTo>
                  <a:lnTo>
                    <a:pt x="319" y="354"/>
                  </a:lnTo>
                  <a:lnTo>
                    <a:pt x="317" y="354"/>
                  </a:lnTo>
                  <a:lnTo>
                    <a:pt x="315" y="355"/>
                  </a:lnTo>
                  <a:lnTo>
                    <a:pt x="313" y="356"/>
                  </a:lnTo>
                  <a:lnTo>
                    <a:pt x="312" y="357"/>
                  </a:lnTo>
                  <a:lnTo>
                    <a:pt x="309" y="359"/>
                  </a:lnTo>
                  <a:lnTo>
                    <a:pt x="307" y="361"/>
                  </a:lnTo>
                  <a:lnTo>
                    <a:pt x="306" y="363"/>
                  </a:lnTo>
                  <a:lnTo>
                    <a:pt x="304" y="366"/>
                  </a:lnTo>
                  <a:lnTo>
                    <a:pt x="302" y="372"/>
                  </a:lnTo>
                  <a:lnTo>
                    <a:pt x="300" y="374"/>
                  </a:lnTo>
                  <a:lnTo>
                    <a:pt x="299" y="376"/>
                  </a:lnTo>
                  <a:lnTo>
                    <a:pt x="297" y="378"/>
                  </a:lnTo>
                  <a:lnTo>
                    <a:pt x="295" y="379"/>
                  </a:lnTo>
                  <a:lnTo>
                    <a:pt x="293" y="380"/>
                  </a:lnTo>
                  <a:lnTo>
                    <a:pt x="291" y="381"/>
                  </a:lnTo>
                  <a:lnTo>
                    <a:pt x="290" y="381"/>
                  </a:lnTo>
                  <a:lnTo>
                    <a:pt x="289" y="381"/>
                  </a:lnTo>
                  <a:lnTo>
                    <a:pt x="285" y="381"/>
                  </a:lnTo>
                  <a:lnTo>
                    <a:pt x="280" y="381"/>
                  </a:lnTo>
                  <a:lnTo>
                    <a:pt x="278" y="380"/>
                  </a:lnTo>
                  <a:lnTo>
                    <a:pt x="276" y="379"/>
                  </a:lnTo>
                  <a:lnTo>
                    <a:pt x="273" y="379"/>
                  </a:lnTo>
                  <a:lnTo>
                    <a:pt x="267" y="376"/>
                  </a:lnTo>
                  <a:lnTo>
                    <a:pt x="259" y="372"/>
                  </a:lnTo>
                  <a:lnTo>
                    <a:pt x="257" y="371"/>
                  </a:lnTo>
                  <a:lnTo>
                    <a:pt x="254" y="369"/>
                  </a:lnTo>
                  <a:lnTo>
                    <a:pt x="253" y="369"/>
                  </a:lnTo>
                  <a:lnTo>
                    <a:pt x="252" y="369"/>
                  </a:lnTo>
                  <a:lnTo>
                    <a:pt x="250" y="369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5" y="370"/>
                  </a:lnTo>
                  <a:lnTo>
                    <a:pt x="244" y="371"/>
                  </a:lnTo>
                  <a:lnTo>
                    <a:pt x="243" y="373"/>
                  </a:lnTo>
                  <a:lnTo>
                    <a:pt x="242" y="374"/>
                  </a:lnTo>
                  <a:lnTo>
                    <a:pt x="240" y="376"/>
                  </a:lnTo>
                  <a:lnTo>
                    <a:pt x="239" y="379"/>
                  </a:lnTo>
                  <a:lnTo>
                    <a:pt x="238" y="380"/>
                  </a:lnTo>
                  <a:lnTo>
                    <a:pt x="238" y="382"/>
                  </a:lnTo>
                  <a:lnTo>
                    <a:pt x="238" y="383"/>
                  </a:lnTo>
                  <a:lnTo>
                    <a:pt x="238" y="385"/>
                  </a:lnTo>
                  <a:lnTo>
                    <a:pt x="238" y="386"/>
                  </a:lnTo>
                  <a:lnTo>
                    <a:pt x="238" y="387"/>
                  </a:lnTo>
                  <a:lnTo>
                    <a:pt x="239" y="389"/>
                  </a:lnTo>
                  <a:lnTo>
                    <a:pt x="239" y="391"/>
                  </a:lnTo>
                  <a:lnTo>
                    <a:pt x="243" y="396"/>
                  </a:lnTo>
                  <a:lnTo>
                    <a:pt x="244" y="399"/>
                  </a:lnTo>
                  <a:lnTo>
                    <a:pt x="245" y="401"/>
                  </a:lnTo>
                  <a:lnTo>
                    <a:pt x="245" y="402"/>
                  </a:lnTo>
                  <a:lnTo>
                    <a:pt x="245" y="404"/>
                  </a:lnTo>
                  <a:lnTo>
                    <a:pt x="246" y="409"/>
                  </a:lnTo>
                  <a:lnTo>
                    <a:pt x="246" y="418"/>
                  </a:lnTo>
                  <a:lnTo>
                    <a:pt x="247" y="422"/>
                  </a:lnTo>
                  <a:lnTo>
                    <a:pt x="247" y="424"/>
                  </a:lnTo>
                  <a:lnTo>
                    <a:pt x="248" y="426"/>
                  </a:lnTo>
                  <a:lnTo>
                    <a:pt x="249" y="428"/>
                  </a:lnTo>
                  <a:lnTo>
                    <a:pt x="250" y="430"/>
                  </a:lnTo>
                  <a:lnTo>
                    <a:pt x="251" y="432"/>
                  </a:lnTo>
                  <a:lnTo>
                    <a:pt x="254" y="435"/>
                  </a:lnTo>
                  <a:lnTo>
                    <a:pt x="254" y="436"/>
                  </a:lnTo>
                  <a:lnTo>
                    <a:pt x="255" y="436"/>
                  </a:lnTo>
                  <a:lnTo>
                    <a:pt x="255" y="438"/>
                  </a:lnTo>
                  <a:lnTo>
                    <a:pt x="256" y="444"/>
                  </a:lnTo>
                  <a:lnTo>
                    <a:pt x="256" y="450"/>
                  </a:lnTo>
                  <a:lnTo>
                    <a:pt x="256" y="454"/>
                  </a:lnTo>
                  <a:lnTo>
                    <a:pt x="256" y="463"/>
                  </a:lnTo>
                  <a:lnTo>
                    <a:pt x="256" y="467"/>
                  </a:lnTo>
                  <a:lnTo>
                    <a:pt x="256" y="472"/>
                  </a:lnTo>
                  <a:lnTo>
                    <a:pt x="256" y="474"/>
                  </a:lnTo>
                  <a:lnTo>
                    <a:pt x="256" y="474"/>
                  </a:lnTo>
                  <a:lnTo>
                    <a:pt x="256" y="474"/>
                  </a:lnTo>
                  <a:lnTo>
                    <a:pt x="256" y="475"/>
                  </a:lnTo>
                  <a:lnTo>
                    <a:pt x="254" y="476"/>
                  </a:lnTo>
                  <a:lnTo>
                    <a:pt x="248" y="481"/>
                  </a:lnTo>
                  <a:lnTo>
                    <a:pt x="240" y="489"/>
                  </a:lnTo>
                  <a:lnTo>
                    <a:pt x="233" y="496"/>
                  </a:lnTo>
                  <a:lnTo>
                    <a:pt x="227" y="504"/>
                  </a:lnTo>
                  <a:lnTo>
                    <a:pt x="226" y="504"/>
                  </a:lnTo>
                  <a:lnTo>
                    <a:pt x="224" y="505"/>
                  </a:lnTo>
                  <a:lnTo>
                    <a:pt x="223" y="506"/>
                  </a:lnTo>
                  <a:lnTo>
                    <a:pt x="222" y="507"/>
                  </a:lnTo>
                  <a:lnTo>
                    <a:pt x="221" y="508"/>
                  </a:lnTo>
                  <a:lnTo>
                    <a:pt x="219" y="508"/>
                  </a:lnTo>
                  <a:lnTo>
                    <a:pt x="212" y="510"/>
                  </a:lnTo>
                  <a:lnTo>
                    <a:pt x="211" y="510"/>
                  </a:lnTo>
                  <a:lnTo>
                    <a:pt x="209" y="510"/>
                  </a:lnTo>
                  <a:lnTo>
                    <a:pt x="205" y="510"/>
                  </a:lnTo>
                  <a:lnTo>
                    <a:pt x="202" y="510"/>
                  </a:lnTo>
                  <a:lnTo>
                    <a:pt x="199" y="510"/>
                  </a:lnTo>
                  <a:lnTo>
                    <a:pt x="196" y="510"/>
                  </a:lnTo>
                  <a:lnTo>
                    <a:pt x="193" y="510"/>
                  </a:lnTo>
                  <a:lnTo>
                    <a:pt x="189" y="509"/>
                  </a:lnTo>
                  <a:lnTo>
                    <a:pt x="187" y="508"/>
                  </a:lnTo>
                  <a:lnTo>
                    <a:pt x="186" y="507"/>
                  </a:lnTo>
                  <a:lnTo>
                    <a:pt x="185" y="506"/>
                  </a:lnTo>
                  <a:lnTo>
                    <a:pt x="184" y="506"/>
                  </a:lnTo>
                  <a:lnTo>
                    <a:pt x="182" y="504"/>
                  </a:lnTo>
                  <a:lnTo>
                    <a:pt x="181" y="504"/>
                  </a:lnTo>
                  <a:lnTo>
                    <a:pt x="179" y="501"/>
                  </a:lnTo>
                  <a:lnTo>
                    <a:pt x="177" y="498"/>
                  </a:lnTo>
                  <a:lnTo>
                    <a:pt x="177" y="496"/>
                  </a:lnTo>
                  <a:lnTo>
                    <a:pt x="175" y="494"/>
                  </a:lnTo>
                  <a:lnTo>
                    <a:pt x="173" y="492"/>
                  </a:lnTo>
                  <a:lnTo>
                    <a:pt x="171" y="491"/>
                  </a:lnTo>
                  <a:lnTo>
                    <a:pt x="166" y="488"/>
                  </a:lnTo>
                  <a:lnTo>
                    <a:pt x="165" y="487"/>
                  </a:lnTo>
                  <a:lnTo>
                    <a:pt x="164" y="486"/>
                  </a:lnTo>
                  <a:lnTo>
                    <a:pt x="162" y="485"/>
                  </a:lnTo>
                  <a:lnTo>
                    <a:pt x="161" y="485"/>
                  </a:lnTo>
                  <a:lnTo>
                    <a:pt x="159" y="485"/>
                  </a:lnTo>
                  <a:lnTo>
                    <a:pt x="157" y="485"/>
                  </a:lnTo>
                  <a:lnTo>
                    <a:pt x="156" y="485"/>
                  </a:lnTo>
                  <a:lnTo>
                    <a:pt x="152" y="487"/>
                  </a:lnTo>
                  <a:lnTo>
                    <a:pt x="150" y="488"/>
                  </a:lnTo>
                  <a:lnTo>
                    <a:pt x="148" y="488"/>
                  </a:lnTo>
                  <a:lnTo>
                    <a:pt x="146" y="488"/>
                  </a:lnTo>
                  <a:lnTo>
                    <a:pt x="144" y="487"/>
                  </a:lnTo>
                  <a:lnTo>
                    <a:pt x="142" y="486"/>
                  </a:lnTo>
                  <a:lnTo>
                    <a:pt x="140" y="485"/>
                  </a:lnTo>
                  <a:lnTo>
                    <a:pt x="136" y="483"/>
                  </a:lnTo>
                  <a:lnTo>
                    <a:pt x="135" y="482"/>
                  </a:lnTo>
                  <a:lnTo>
                    <a:pt x="134" y="483"/>
                  </a:lnTo>
                  <a:lnTo>
                    <a:pt x="133" y="484"/>
                  </a:lnTo>
                  <a:lnTo>
                    <a:pt x="129" y="487"/>
                  </a:lnTo>
                  <a:lnTo>
                    <a:pt x="127" y="488"/>
                  </a:lnTo>
                  <a:lnTo>
                    <a:pt x="125" y="489"/>
                  </a:lnTo>
                  <a:lnTo>
                    <a:pt x="119" y="491"/>
                  </a:lnTo>
                  <a:lnTo>
                    <a:pt x="115" y="492"/>
                  </a:lnTo>
                  <a:lnTo>
                    <a:pt x="113" y="493"/>
                  </a:lnTo>
                  <a:lnTo>
                    <a:pt x="111" y="495"/>
                  </a:lnTo>
                  <a:lnTo>
                    <a:pt x="110" y="496"/>
                  </a:lnTo>
                  <a:lnTo>
                    <a:pt x="109" y="498"/>
                  </a:lnTo>
                  <a:lnTo>
                    <a:pt x="108" y="502"/>
                  </a:lnTo>
                  <a:lnTo>
                    <a:pt x="108" y="503"/>
                  </a:lnTo>
                  <a:lnTo>
                    <a:pt x="107" y="504"/>
                  </a:lnTo>
                  <a:lnTo>
                    <a:pt x="106" y="504"/>
                  </a:lnTo>
                  <a:lnTo>
                    <a:pt x="105" y="506"/>
                  </a:lnTo>
                  <a:lnTo>
                    <a:pt x="98" y="509"/>
                  </a:lnTo>
                  <a:lnTo>
                    <a:pt x="97" y="511"/>
                  </a:lnTo>
                  <a:lnTo>
                    <a:pt x="95" y="512"/>
                  </a:lnTo>
                  <a:lnTo>
                    <a:pt x="94" y="514"/>
                  </a:lnTo>
                  <a:lnTo>
                    <a:pt x="93" y="515"/>
                  </a:lnTo>
                  <a:lnTo>
                    <a:pt x="92" y="516"/>
                  </a:lnTo>
                  <a:lnTo>
                    <a:pt x="91" y="517"/>
                  </a:lnTo>
                  <a:lnTo>
                    <a:pt x="90" y="518"/>
                  </a:lnTo>
                  <a:lnTo>
                    <a:pt x="89" y="518"/>
                  </a:lnTo>
                  <a:lnTo>
                    <a:pt x="88" y="518"/>
                  </a:lnTo>
                  <a:lnTo>
                    <a:pt x="86" y="518"/>
                  </a:lnTo>
                  <a:lnTo>
                    <a:pt x="86" y="517"/>
                  </a:lnTo>
                  <a:lnTo>
                    <a:pt x="81" y="515"/>
                  </a:lnTo>
                  <a:lnTo>
                    <a:pt x="79" y="515"/>
                  </a:lnTo>
                  <a:lnTo>
                    <a:pt x="76" y="514"/>
                  </a:lnTo>
                  <a:lnTo>
                    <a:pt x="72" y="513"/>
                  </a:lnTo>
                  <a:lnTo>
                    <a:pt x="69" y="512"/>
                  </a:lnTo>
                  <a:lnTo>
                    <a:pt x="68" y="511"/>
                  </a:lnTo>
                  <a:lnTo>
                    <a:pt x="67" y="511"/>
                  </a:lnTo>
                  <a:lnTo>
                    <a:pt x="66" y="510"/>
                  </a:lnTo>
                  <a:lnTo>
                    <a:pt x="66" y="509"/>
                  </a:lnTo>
                  <a:lnTo>
                    <a:pt x="65" y="509"/>
                  </a:lnTo>
                  <a:lnTo>
                    <a:pt x="65" y="506"/>
                  </a:lnTo>
                  <a:lnTo>
                    <a:pt x="65" y="505"/>
                  </a:lnTo>
                  <a:lnTo>
                    <a:pt x="65" y="504"/>
                  </a:lnTo>
                  <a:lnTo>
                    <a:pt x="65" y="503"/>
                  </a:lnTo>
                  <a:lnTo>
                    <a:pt x="66" y="501"/>
                  </a:lnTo>
                  <a:lnTo>
                    <a:pt x="67" y="500"/>
                  </a:lnTo>
                  <a:lnTo>
                    <a:pt x="70" y="494"/>
                  </a:lnTo>
                  <a:lnTo>
                    <a:pt x="71" y="492"/>
                  </a:lnTo>
                  <a:lnTo>
                    <a:pt x="72" y="490"/>
                  </a:lnTo>
                  <a:lnTo>
                    <a:pt x="73" y="483"/>
                  </a:lnTo>
                  <a:lnTo>
                    <a:pt x="74" y="481"/>
                  </a:lnTo>
                  <a:lnTo>
                    <a:pt x="74" y="479"/>
                  </a:lnTo>
                  <a:lnTo>
                    <a:pt x="74" y="478"/>
                  </a:lnTo>
                  <a:lnTo>
                    <a:pt x="78" y="471"/>
                  </a:lnTo>
                  <a:lnTo>
                    <a:pt x="78" y="470"/>
                  </a:lnTo>
                  <a:lnTo>
                    <a:pt x="78" y="470"/>
                  </a:lnTo>
                  <a:lnTo>
                    <a:pt x="78" y="468"/>
                  </a:lnTo>
                  <a:lnTo>
                    <a:pt x="78" y="467"/>
                  </a:lnTo>
                  <a:lnTo>
                    <a:pt x="78" y="466"/>
                  </a:lnTo>
                  <a:lnTo>
                    <a:pt x="77" y="465"/>
                  </a:lnTo>
                  <a:lnTo>
                    <a:pt x="75" y="462"/>
                  </a:lnTo>
                  <a:lnTo>
                    <a:pt x="72" y="458"/>
                  </a:lnTo>
                  <a:lnTo>
                    <a:pt x="71" y="456"/>
                  </a:lnTo>
                  <a:lnTo>
                    <a:pt x="70" y="455"/>
                  </a:lnTo>
                  <a:lnTo>
                    <a:pt x="70" y="453"/>
                  </a:lnTo>
                  <a:lnTo>
                    <a:pt x="70" y="451"/>
                  </a:lnTo>
                  <a:lnTo>
                    <a:pt x="70" y="450"/>
                  </a:lnTo>
                  <a:lnTo>
                    <a:pt x="70" y="448"/>
                  </a:lnTo>
                  <a:lnTo>
                    <a:pt x="71" y="447"/>
                  </a:lnTo>
                  <a:lnTo>
                    <a:pt x="72" y="446"/>
                  </a:lnTo>
                  <a:lnTo>
                    <a:pt x="74" y="443"/>
                  </a:lnTo>
                  <a:lnTo>
                    <a:pt x="74" y="441"/>
                  </a:lnTo>
                  <a:lnTo>
                    <a:pt x="79" y="436"/>
                  </a:lnTo>
                  <a:lnTo>
                    <a:pt x="81" y="435"/>
                  </a:lnTo>
                  <a:lnTo>
                    <a:pt x="83" y="433"/>
                  </a:lnTo>
                  <a:lnTo>
                    <a:pt x="85" y="431"/>
                  </a:lnTo>
                  <a:lnTo>
                    <a:pt x="87" y="429"/>
                  </a:lnTo>
                  <a:lnTo>
                    <a:pt x="91" y="427"/>
                  </a:lnTo>
                  <a:lnTo>
                    <a:pt x="95" y="425"/>
                  </a:lnTo>
                  <a:lnTo>
                    <a:pt x="101" y="422"/>
                  </a:lnTo>
                  <a:lnTo>
                    <a:pt x="103" y="421"/>
                  </a:lnTo>
                  <a:lnTo>
                    <a:pt x="105" y="420"/>
                  </a:lnTo>
                  <a:lnTo>
                    <a:pt x="105" y="419"/>
                  </a:lnTo>
                  <a:lnTo>
                    <a:pt x="106" y="418"/>
                  </a:lnTo>
                  <a:lnTo>
                    <a:pt x="106" y="417"/>
                  </a:lnTo>
                  <a:lnTo>
                    <a:pt x="106" y="416"/>
                  </a:lnTo>
                  <a:lnTo>
                    <a:pt x="106" y="415"/>
                  </a:lnTo>
                  <a:lnTo>
                    <a:pt x="105" y="414"/>
                  </a:lnTo>
                  <a:lnTo>
                    <a:pt x="104" y="413"/>
                  </a:lnTo>
                  <a:lnTo>
                    <a:pt x="102" y="410"/>
                  </a:lnTo>
                  <a:lnTo>
                    <a:pt x="97" y="405"/>
                  </a:lnTo>
                  <a:lnTo>
                    <a:pt x="96" y="402"/>
                  </a:lnTo>
                  <a:lnTo>
                    <a:pt x="94" y="401"/>
                  </a:lnTo>
                  <a:lnTo>
                    <a:pt x="90" y="396"/>
                  </a:lnTo>
                  <a:lnTo>
                    <a:pt x="86" y="391"/>
                  </a:lnTo>
                  <a:lnTo>
                    <a:pt x="86" y="390"/>
                  </a:lnTo>
                  <a:lnTo>
                    <a:pt x="85" y="388"/>
                  </a:lnTo>
                  <a:lnTo>
                    <a:pt x="84" y="387"/>
                  </a:lnTo>
                  <a:lnTo>
                    <a:pt x="83" y="385"/>
                  </a:lnTo>
                  <a:lnTo>
                    <a:pt x="83" y="384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78"/>
                  </a:lnTo>
                  <a:lnTo>
                    <a:pt x="84" y="375"/>
                  </a:lnTo>
                  <a:lnTo>
                    <a:pt x="85" y="373"/>
                  </a:lnTo>
                  <a:lnTo>
                    <a:pt x="86" y="369"/>
                  </a:lnTo>
                  <a:lnTo>
                    <a:pt x="90" y="363"/>
                  </a:lnTo>
                  <a:lnTo>
                    <a:pt x="94" y="357"/>
                  </a:lnTo>
                  <a:lnTo>
                    <a:pt x="95" y="356"/>
                  </a:lnTo>
                  <a:lnTo>
                    <a:pt x="96" y="354"/>
                  </a:lnTo>
                  <a:lnTo>
                    <a:pt x="96" y="352"/>
                  </a:lnTo>
                  <a:lnTo>
                    <a:pt x="96" y="350"/>
                  </a:lnTo>
                  <a:lnTo>
                    <a:pt x="96" y="347"/>
                  </a:lnTo>
                  <a:lnTo>
                    <a:pt x="95" y="345"/>
                  </a:lnTo>
                  <a:lnTo>
                    <a:pt x="94" y="341"/>
                  </a:lnTo>
                  <a:lnTo>
                    <a:pt x="92" y="338"/>
                  </a:lnTo>
                  <a:lnTo>
                    <a:pt x="89" y="334"/>
                  </a:lnTo>
                  <a:lnTo>
                    <a:pt x="86" y="329"/>
                  </a:lnTo>
                  <a:lnTo>
                    <a:pt x="84" y="325"/>
                  </a:lnTo>
                  <a:lnTo>
                    <a:pt x="80" y="321"/>
                  </a:lnTo>
                  <a:lnTo>
                    <a:pt x="78" y="318"/>
                  </a:lnTo>
                  <a:lnTo>
                    <a:pt x="76" y="317"/>
                  </a:lnTo>
                  <a:lnTo>
                    <a:pt x="74" y="316"/>
                  </a:lnTo>
                  <a:lnTo>
                    <a:pt x="73" y="314"/>
                  </a:lnTo>
                  <a:lnTo>
                    <a:pt x="69" y="313"/>
                  </a:lnTo>
                  <a:lnTo>
                    <a:pt x="64" y="311"/>
                  </a:lnTo>
                  <a:lnTo>
                    <a:pt x="58" y="309"/>
                  </a:lnTo>
                  <a:lnTo>
                    <a:pt x="56" y="307"/>
                  </a:lnTo>
                  <a:lnTo>
                    <a:pt x="55" y="307"/>
                  </a:lnTo>
                  <a:lnTo>
                    <a:pt x="54" y="306"/>
                  </a:lnTo>
                  <a:lnTo>
                    <a:pt x="53" y="305"/>
                  </a:lnTo>
                  <a:lnTo>
                    <a:pt x="52" y="304"/>
                  </a:lnTo>
                  <a:lnTo>
                    <a:pt x="52" y="303"/>
                  </a:lnTo>
                  <a:lnTo>
                    <a:pt x="52" y="301"/>
                  </a:lnTo>
                  <a:lnTo>
                    <a:pt x="52" y="300"/>
                  </a:lnTo>
                  <a:lnTo>
                    <a:pt x="52" y="297"/>
                  </a:lnTo>
                  <a:lnTo>
                    <a:pt x="52" y="295"/>
                  </a:lnTo>
                  <a:lnTo>
                    <a:pt x="53" y="293"/>
                  </a:lnTo>
                  <a:lnTo>
                    <a:pt x="56" y="287"/>
                  </a:lnTo>
                  <a:lnTo>
                    <a:pt x="57" y="284"/>
                  </a:lnTo>
                  <a:lnTo>
                    <a:pt x="58" y="280"/>
                  </a:lnTo>
                  <a:lnTo>
                    <a:pt x="59" y="277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69"/>
                  </a:lnTo>
                  <a:lnTo>
                    <a:pt x="58" y="267"/>
                  </a:lnTo>
                  <a:lnTo>
                    <a:pt x="58" y="266"/>
                  </a:lnTo>
                  <a:lnTo>
                    <a:pt x="57" y="264"/>
                  </a:lnTo>
                  <a:lnTo>
                    <a:pt x="57" y="261"/>
                  </a:lnTo>
                  <a:lnTo>
                    <a:pt x="56" y="259"/>
                  </a:lnTo>
                  <a:lnTo>
                    <a:pt x="55" y="258"/>
                  </a:lnTo>
                  <a:lnTo>
                    <a:pt x="54" y="257"/>
                  </a:lnTo>
                  <a:lnTo>
                    <a:pt x="51" y="251"/>
                  </a:lnTo>
                  <a:lnTo>
                    <a:pt x="49" y="248"/>
                  </a:lnTo>
                  <a:lnTo>
                    <a:pt x="46" y="243"/>
                  </a:lnTo>
                  <a:lnTo>
                    <a:pt x="42" y="234"/>
                  </a:lnTo>
                  <a:lnTo>
                    <a:pt x="40" y="231"/>
                  </a:lnTo>
                  <a:lnTo>
                    <a:pt x="37" y="223"/>
                  </a:lnTo>
                  <a:lnTo>
                    <a:pt x="36" y="221"/>
                  </a:lnTo>
                  <a:lnTo>
                    <a:pt x="34" y="219"/>
                  </a:lnTo>
                  <a:lnTo>
                    <a:pt x="31" y="216"/>
                  </a:lnTo>
                  <a:lnTo>
                    <a:pt x="29" y="214"/>
                  </a:lnTo>
                  <a:lnTo>
                    <a:pt x="22" y="207"/>
                  </a:lnTo>
                  <a:lnTo>
                    <a:pt x="16" y="198"/>
                  </a:lnTo>
                  <a:lnTo>
                    <a:pt x="10" y="193"/>
                  </a:lnTo>
                  <a:lnTo>
                    <a:pt x="7" y="191"/>
                  </a:lnTo>
                  <a:lnTo>
                    <a:pt x="5" y="189"/>
                  </a:lnTo>
                  <a:lnTo>
                    <a:pt x="2" y="187"/>
                  </a:lnTo>
                  <a:lnTo>
                    <a:pt x="1" y="187"/>
                  </a:lnTo>
                  <a:lnTo>
                    <a:pt x="0" y="187"/>
                  </a:lnTo>
                  <a:lnTo>
                    <a:pt x="2" y="185"/>
                  </a:lnTo>
                  <a:lnTo>
                    <a:pt x="4" y="183"/>
                  </a:lnTo>
                  <a:lnTo>
                    <a:pt x="4" y="181"/>
                  </a:lnTo>
                  <a:lnTo>
                    <a:pt x="5" y="180"/>
                  </a:lnTo>
                  <a:lnTo>
                    <a:pt x="5" y="179"/>
                  </a:lnTo>
                  <a:lnTo>
                    <a:pt x="5" y="178"/>
                  </a:lnTo>
                  <a:lnTo>
                    <a:pt x="5" y="177"/>
                  </a:lnTo>
                  <a:lnTo>
                    <a:pt x="4" y="175"/>
                  </a:lnTo>
                  <a:lnTo>
                    <a:pt x="3" y="175"/>
                  </a:lnTo>
                  <a:lnTo>
                    <a:pt x="3" y="174"/>
                  </a:lnTo>
                  <a:lnTo>
                    <a:pt x="3" y="172"/>
                  </a:lnTo>
                  <a:lnTo>
                    <a:pt x="3" y="171"/>
                  </a:lnTo>
                  <a:lnTo>
                    <a:pt x="4" y="171"/>
                  </a:lnTo>
                  <a:lnTo>
                    <a:pt x="4" y="170"/>
                  </a:lnTo>
                  <a:lnTo>
                    <a:pt x="6" y="169"/>
                  </a:lnTo>
                  <a:lnTo>
                    <a:pt x="7" y="168"/>
                  </a:lnTo>
                  <a:lnTo>
                    <a:pt x="7" y="167"/>
                  </a:lnTo>
                  <a:lnTo>
                    <a:pt x="8" y="164"/>
                  </a:lnTo>
                  <a:lnTo>
                    <a:pt x="7" y="164"/>
                  </a:lnTo>
                  <a:lnTo>
                    <a:pt x="7" y="161"/>
                  </a:lnTo>
                  <a:lnTo>
                    <a:pt x="6" y="159"/>
                  </a:lnTo>
                  <a:lnTo>
                    <a:pt x="3" y="154"/>
                  </a:lnTo>
                  <a:lnTo>
                    <a:pt x="2" y="153"/>
                  </a:lnTo>
                  <a:lnTo>
                    <a:pt x="1" y="152"/>
                  </a:lnTo>
                  <a:lnTo>
                    <a:pt x="1" y="151"/>
                  </a:lnTo>
                  <a:lnTo>
                    <a:pt x="0" y="149"/>
                  </a:lnTo>
                  <a:lnTo>
                    <a:pt x="0" y="147"/>
                  </a:lnTo>
                  <a:lnTo>
                    <a:pt x="0" y="146"/>
                  </a:lnTo>
                  <a:lnTo>
                    <a:pt x="1" y="146"/>
                  </a:lnTo>
                  <a:lnTo>
                    <a:pt x="3" y="145"/>
                  </a:lnTo>
                  <a:lnTo>
                    <a:pt x="13" y="143"/>
                  </a:lnTo>
                  <a:lnTo>
                    <a:pt x="18" y="141"/>
                  </a:lnTo>
                  <a:lnTo>
                    <a:pt x="27" y="139"/>
                  </a:lnTo>
                  <a:lnTo>
                    <a:pt x="29" y="138"/>
                  </a:lnTo>
                  <a:lnTo>
                    <a:pt x="30" y="137"/>
                  </a:lnTo>
                  <a:lnTo>
                    <a:pt x="32" y="136"/>
                  </a:lnTo>
                  <a:lnTo>
                    <a:pt x="36" y="132"/>
                  </a:lnTo>
                  <a:lnTo>
                    <a:pt x="38" y="131"/>
                  </a:lnTo>
                  <a:lnTo>
                    <a:pt x="40" y="130"/>
                  </a:lnTo>
                  <a:lnTo>
                    <a:pt x="46" y="128"/>
                  </a:lnTo>
                  <a:lnTo>
                    <a:pt x="48" y="127"/>
                  </a:lnTo>
                  <a:lnTo>
                    <a:pt x="54" y="122"/>
                  </a:lnTo>
                  <a:lnTo>
                    <a:pt x="61" y="119"/>
                  </a:lnTo>
                  <a:lnTo>
                    <a:pt x="65" y="115"/>
                  </a:lnTo>
                  <a:lnTo>
                    <a:pt x="70" y="112"/>
                  </a:lnTo>
                  <a:lnTo>
                    <a:pt x="74" y="108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90" y="96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100" y="86"/>
                  </a:lnTo>
                  <a:lnTo>
                    <a:pt x="102" y="85"/>
                  </a:lnTo>
                  <a:lnTo>
                    <a:pt x="104" y="85"/>
                  </a:lnTo>
                  <a:lnTo>
                    <a:pt x="106" y="84"/>
                  </a:lnTo>
                  <a:lnTo>
                    <a:pt x="108" y="83"/>
                  </a:lnTo>
                  <a:lnTo>
                    <a:pt x="109" y="83"/>
                  </a:lnTo>
                  <a:lnTo>
                    <a:pt x="111" y="84"/>
                  </a:lnTo>
                  <a:lnTo>
                    <a:pt x="118" y="85"/>
                  </a:lnTo>
                  <a:lnTo>
                    <a:pt x="123" y="86"/>
                  </a:lnTo>
                  <a:lnTo>
                    <a:pt x="126" y="86"/>
                  </a:lnTo>
                  <a:lnTo>
                    <a:pt x="133" y="87"/>
                  </a:lnTo>
                  <a:lnTo>
                    <a:pt x="143" y="88"/>
                  </a:lnTo>
                  <a:lnTo>
                    <a:pt x="145" y="88"/>
                  </a:lnTo>
                  <a:lnTo>
                    <a:pt x="148" y="89"/>
                  </a:lnTo>
                  <a:lnTo>
                    <a:pt x="154" y="91"/>
                  </a:lnTo>
                  <a:lnTo>
                    <a:pt x="155" y="92"/>
                  </a:lnTo>
                  <a:lnTo>
                    <a:pt x="157" y="93"/>
                  </a:lnTo>
                  <a:lnTo>
                    <a:pt x="159" y="94"/>
                  </a:lnTo>
                  <a:lnTo>
                    <a:pt x="163" y="96"/>
                  </a:lnTo>
                  <a:lnTo>
                    <a:pt x="166" y="98"/>
                  </a:lnTo>
                  <a:lnTo>
                    <a:pt x="171" y="103"/>
                  </a:lnTo>
                  <a:lnTo>
                    <a:pt x="172" y="104"/>
                  </a:lnTo>
                  <a:lnTo>
                    <a:pt x="176" y="106"/>
                  </a:lnTo>
                  <a:lnTo>
                    <a:pt x="183" y="111"/>
                  </a:lnTo>
                  <a:lnTo>
                    <a:pt x="187" y="114"/>
                  </a:lnTo>
                  <a:lnTo>
                    <a:pt x="189" y="116"/>
                  </a:lnTo>
                  <a:lnTo>
                    <a:pt x="192" y="117"/>
                  </a:lnTo>
                  <a:lnTo>
                    <a:pt x="194" y="118"/>
                  </a:lnTo>
                  <a:lnTo>
                    <a:pt x="197" y="119"/>
                  </a:lnTo>
                  <a:lnTo>
                    <a:pt x="199" y="119"/>
                  </a:lnTo>
                  <a:lnTo>
                    <a:pt x="200" y="119"/>
                  </a:lnTo>
                  <a:lnTo>
                    <a:pt x="202" y="119"/>
                  </a:lnTo>
                  <a:lnTo>
                    <a:pt x="203" y="119"/>
                  </a:lnTo>
                  <a:lnTo>
                    <a:pt x="205" y="118"/>
                  </a:lnTo>
                  <a:lnTo>
                    <a:pt x="206" y="118"/>
                  </a:lnTo>
                  <a:lnTo>
                    <a:pt x="207" y="116"/>
                  </a:lnTo>
                  <a:lnTo>
                    <a:pt x="208" y="115"/>
                  </a:lnTo>
                  <a:lnTo>
                    <a:pt x="209" y="113"/>
                  </a:lnTo>
                  <a:lnTo>
                    <a:pt x="210" y="111"/>
                  </a:lnTo>
                  <a:lnTo>
                    <a:pt x="211" y="108"/>
                  </a:lnTo>
                  <a:lnTo>
                    <a:pt x="214" y="93"/>
                  </a:lnTo>
                  <a:lnTo>
                    <a:pt x="215" y="89"/>
                  </a:lnTo>
                  <a:lnTo>
                    <a:pt x="215" y="85"/>
                  </a:lnTo>
                  <a:lnTo>
                    <a:pt x="215" y="79"/>
                  </a:lnTo>
                  <a:lnTo>
                    <a:pt x="214" y="73"/>
                  </a:lnTo>
                  <a:lnTo>
                    <a:pt x="214" y="72"/>
                  </a:lnTo>
                  <a:lnTo>
                    <a:pt x="215" y="70"/>
                  </a:lnTo>
                  <a:lnTo>
                    <a:pt x="215" y="68"/>
                  </a:lnTo>
                  <a:lnTo>
                    <a:pt x="216" y="67"/>
                  </a:lnTo>
                  <a:lnTo>
                    <a:pt x="217" y="66"/>
                  </a:lnTo>
                  <a:lnTo>
                    <a:pt x="218" y="65"/>
                  </a:lnTo>
                  <a:lnTo>
                    <a:pt x="219" y="65"/>
                  </a:lnTo>
                  <a:lnTo>
                    <a:pt x="222" y="63"/>
                  </a:lnTo>
                  <a:lnTo>
                    <a:pt x="226" y="62"/>
                  </a:lnTo>
                  <a:lnTo>
                    <a:pt x="228" y="62"/>
                  </a:lnTo>
                  <a:lnTo>
                    <a:pt x="233" y="61"/>
                  </a:lnTo>
                  <a:lnTo>
                    <a:pt x="240" y="58"/>
                  </a:lnTo>
                  <a:lnTo>
                    <a:pt x="243" y="56"/>
                  </a:lnTo>
                  <a:lnTo>
                    <a:pt x="245" y="55"/>
                  </a:lnTo>
                  <a:lnTo>
                    <a:pt x="248" y="52"/>
                  </a:lnTo>
                  <a:lnTo>
                    <a:pt x="251" y="51"/>
                  </a:lnTo>
                  <a:lnTo>
                    <a:pt x="253" y="50"/>
                  </a:lnTo>
                  <a:lnTo>
                    <a:pt x="255" y="49"/>
                  </a:lnTo>
                  <a:lnTo>
                    <a:pt x="256" y="47"/>
                  </a:lnTo>
                  <a:lnTo>
                    <a:pt x="256" y="45"/>
                  </a:lnTo>
                  <a:lnTo>
                    <a:pt x="257" y="44"/>
                  </a:lnTo>
                  <a:lnTo>
                    <a:pt x="258" y="42"/>
                  </a:lnTo>
                  <a:lnTo>
                    <a:pt x="258" y="40"/>
                  </a:lnTo>
                  <a:lnTo>
                    <a:pt x="258" y="39"/>
                  </a:lnTo>
                  <a:lnTo>
                    <a:pt x="258" y="39"/>
                  </a:lnTo>
                  <a:lnTo>
                    <a:pt x="258" y="36"/>
                  </a:lnTo>
                  <a:lnTo>
                    <a:pt x="257" y="35"/>
                  </a:lnTo>
                  <a:lnTo>
                    <a:pt x="256" y="33"/>
                  </a:lnTo>
                  <a:lnTo>
                    <a:pt x="254" y="30"/>
                  </a:lnTo>
                  <a:lnTo>
                    <a:pt x="254" y="28"/>
                  </a:lnTo>
                  <a:lnTo>
                    <a:pt x="253" y="28"/>
                  </a:lnTo>
                  <a:lnTo>
                    <a:pt x="253" y="26"/>
                  </a:lnTo>
                  <a:lnTo>
                    <a:pt x="253" y="24"/>
                  </a:lnTo>
                  <a:lnTo>
                    <a:pt x="253" y="22"/>
                  </a:lnTo>
                  <a:lnTo>
                    <a:pt x="253" y="20"/>
                  </a:lnTo>
                  <a:lnTo>
                    <a:pt x="254" y="17"/>
                  </a:lnTo>
                  <a:lnTo>
                    <a:pt x="256" y="14"/>
                  </a:lnTo>
                  <a:lnTo>
                    <a:pt x="257" y="10"/>
                  </a:lnTo>
                  <a:lnTo>
                    <a:pt x="258" y="8"/>
                  </a:lnTo>
                  <a:lnTo>
                    <a:pt x="259" y="7"/>
                  </a:lnTo>
                  <a:lnTo>
                    <a:pt x="260" y="6"/>
                  </a:lnTo>
                  <a:lnTo>
                    <a:pt x="262" y="5"/>
                  </a:lnTo>
                  <a:lnTo>
                    <a:pt x="264" y="5"/>
                  </a:lnTo>
                  <a:lnTo>
                    <a:pt x="267" y="4"/>
                  </a:lnTo>
                  <a:lnTo>
                    <a:pt x="268" y="3"/>
                  </a:lnTo>
                  <a:lnTo>
                    <a:pt x="268" y="3"/>
                  </a:lnTo>
                  <a:lnTo>
                    <a:pt x="269" y="3"/>
                  </a:lnTo>
                  <a:lnTo>
                    <a:pt x="270" y="3"/>
                  </a:lnTo>
                  <a:lnTo>
                    <a:pt x="271" y="3"/>
                  </a:lnTo>
                  <a:lnTo>
                    <a:pt x="275" y="3"/>
                  </a:lnTo>
                  <a:lnTo>
                    <a:pt x="280" y="2"/>
                  </a:lnTo>
                  <a:lnTo>
                    <a:pt x="281" y="2"/>
                  </a:lnTo>
                  <a:lnTo>
                    <a:pt x="281" y="1"/>
                  </a:lnTo>
                  <a:lnTo>
                    <a:pt x="282" y="0"/>
                  </a:lnTo>
                  <a:lnTo>
                    <a:pt x="283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3" name="Freeform 30">
              <a:extLst>
                <a:ext uri="{FF2B5EF4-FFF2-40B4-BE49-F238E27FC236}">
                  <a16:creationId xmlns:a16="http://schemas.microsoft.com/office/drawing/2014/main" id="{8AD6F876-245F-467B-B8AA-20F56DC92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" y="2257"/>
              <a:ext cx="254" cy="384"/>
            </a:xfrm>
            <a:custGeom>
              <a:avLst/>
              <a:gdLst>
                <a:gd name="T0" fmla="*/ 194 w 254"/>
                <a:gd name="T1" fmla="*/ 7 h 384"/>
                <a:gd name="T2" fmla="*/ 194 w 254"/>
                <a:gd name="T3" fmla="*/ 26 h 384"/>
                <a:gd name="T4" fmla="*/ 193 w 254"/>
                <a:gd name="T5" fmla="*/ 32 h 384"/>
                <a:gd name="T6" fmla="*/ 205 w 254"/>
                <a:gd name="T7" fmla="*/ 31 h 384"/>
                <a:gd name="T8" fmla="*/ 238 w 254"/>
                <a:gd name="T9" fmla="*/ 47 h 384"/>
                <a:gd name="T10" fmla="*/ 247 w 254"/>
                <a:gd name="T11" fmla="*/ 51 h 384"/>
                <a:gd name="T12" fmla="*/ 253 w 254"/>
                <a:gd name="T13" fmla="*/ 98 h 384"/>
                <a:gd name="T14" fmla="*/ 252 w 254"/>
                <a:gd name="T15" fmla="*/ 116 h 384"/>
                <a:gd name="T16" fmla="*/ 241 w 254"/>
                <a:gd name="T17" fmla="*/ 127 h 384"/>
                <a:gd name="T18" fmla="*/ 233 w 254"/>
                <a:gd name="T19" fmla="*/ 161 h 384"/>
                <a:gd name="T20" fmla="*/ 233 w 254"/>
                <a:gd name="T21" fmla="*/ 185 h 384"/>
                <a:gd name="T22" fmla="*/ 226 w 254"/>
                <a:gd name="T23" fmla="*/ 209 h 384"/>
                <a:gd name="T24" fmla="*/ 223 w 254"/>
                <a:gd name="T25" fmla="*/ 238 h 384"/>
                <a:gd name="T26" fmla="*/ 236 w 254"/>
                <a:gd name="T27" fmla="*/ 247 h 384"/>
                <a:gd name="T28" fmla="*/ 230 w 254"/>
                <a:gd name="T29" fmla="*/ 261 h 384"/>
                <a:gd name="T30" fmla="*/ 208 w 254"/>
                <a:gd name="T31" fmla="*/ 283 h 384"/>
                <a:gd name="T32" fmla="*/ 199 w 254"/>
                <a:gd name="T33" fmla="*/ 289 h 384"/>
                <a:gd name="T34" fmla="*/ 181 w 254"/>
                <a:gd name="T35" fmla="*/ 281 h 384"/>
                <a:gd name="T36" fmla="*/ 158 w 254"/>
                <a:gd name="T37" fmla="*/ 292 h 384"/>
                <a:gd name="T38" fmla="*/ 135 w 254"/>
                <a:gd name="T39" fmla="*/ 319 h 384"/>
                <a:gd name="T40" fmla="*/ 133 w 254"/>
                <a:gd name="T41" fmla="*/ 332 h 384"/>
                <a:gd name="T42" fmla="*/ 141 w 254"/>
                <a:gd name="T43" fmla="*/ 338 h 384"/>
                <a:gd name="T44" fmla="*/ 161 w 254"/>
                <a:gd name="T45" fmla="*/ 338 h 384"/>
                <a:gd name="T46" fmla="*/ 165 w 254"/>
                <a:gd name="T47" fmla="*/ 343 h 384"/>
                <a:gd name="T48" fmla="*/ 147 w 254"/>
                <a:gd name="T49" fmla="*/ 353 h 384"/>
                <a:gd name="T50" fmla="*/ 147 w 254"/>
                <a:gd name="T51" fmla="*/ 361 h 384"/>
                <a:gd name="T52" fmla="*/ 157 w 254"/>
                <a:gd name="T53" fmla="*/ 374 h 384"/>
                <a:gd name="T54" fmla="*/ 154 w 254"/>
                <a:gd name="T55" fmla="*/ 381 h 384"/>
                <a:gd name="T56" fmla="*/ 133 w 254"/>
                <a:gd name="T57" fmla="*/ 380 h 384"/>
                <a:gd name="T58" fmla="*/ 110 w 254"/>
                <a:gd name="T59" fmla="*/ 374 h 384"/>
                <a:gd name="T60" fmla="*/ 104 w 254"/>
                <a:gd name="T61" fmla="*/ 382 h 384"/>
                <a:gd name="T62" fmla="*/ 97 w 254"/>
                <a:gd name="T63" fmla="*/ 383 h 384"/>
                <a:gd name="T64" fmla="*/ 65 w 254"/>
                <a:gd name="T65" fmla="*/ 372 h 384"/>
                <a:gd name="T66" fmla="*/ 61 w 254"/>
                <a:gd name="T67" fmla="*/ 365 h 384"/>
                <a:gd name="T68" fmla="*/ 66 w 254"/>
                <a:gd name="T69" fmla="*/ 344 h 384"/>
                <a:gd name="T70" fmla="*/ 63 w 254"/>
                <a:gd name="T71" fmla="*/ 328 h 384"/>
                <a:gd name="T72" fmla="*/ 56 w 254"/>
                <a:gd name="T73" fmla="*/ 327 h 384"/>
                <a:gd name="T74" fmla="*/ 39 w 254"/>
                <a:gd name="T75" fmla="*/ 319 h 384"/>
                <a:gd name="T76" fmla="*/ 29 w 254"/>
                <a:gd name="T77" fmla="*/ 308 h 384"/>
                <a:gd name="T78" fmla="*/ 34 w 254"/>
                <a:gd name="T79" fmla="*/ 297 h 384"/>
                <a:gd name="T80" fmla="*/ 17 w 254"/>
                <a:gd name="T81" fmla="*/ 280 h 384"/>
                <a:gd name="T82" fmla="*/ 2 w 254"/>
                <a:gd name="T83" fmla="*/ 265 h 384"/>
                <a:gd name="T84" fmla="*/ 6 w 254"/>
                <a:gd name="T85" fmla="*/ 251 h 384"/>
                <a:gd name="T86" fmla="*/ 24 w 254"/>
                <a:gd name="T87" fmla="*/ 229 h 384"/>
                <a:gd name="T88" fmla="*/ 17 w 254"/>
                <a:gd name="T89" fmla="*/ 214 h 384"/>
                <a:gd name="T90" fmla="*/ 5 w 254"/>
                <a:gd name="T91" fmla="*/ 193 h 384"/>
                <a:gd name="T92" fmla="*/ 0 w 254"/>
                <a:gd name="T93" fmla="*/ 181 h 384"/>
                <a:gd name="T94" fmla="*/ 13 w 254"/>
                <a:gd name="T95" fmla="*/ 177 h 384"/>
                <a:gd name="T96" fmla="*/ 18 w 254"/>
                <a:gd name="T97" fmla="*/ 163 h 384"/>
                <a:gd name="T98" fmla="*/ 20 w 254"/>
                <a:gd name="T99" fmla="*/ 122 h 384"/>
                <a:gd name="T100" fmla="*/ 24 w 254"/>
                <a:gd name="T101" fmla="*/ 89 h 384"/>
                <a:gd name="T102" fmla="*/ 34 w 254"/>
                <a:gd name="T103" fmla="*/ 71 h 384"/>
                <a:gd name="T104" fmla="*/ 34 w 254"/>
                <a:gd name="T105" fmla="*/ 60 h 384"/>
                <a:gd name="T106" fmla="*/ 48 w 254"/>
                <a:gd name="T107" fmla="*/ 51 h 384"/>
                <a:gd name="T108" fmla="*/ 67 w 254"/>
                <a:gd name="T109" fmla="*/ 51 h 384"/>
                <a:gd name="T110" fmla="*/ 78 w 254"/>
                <a:gd name="T111" fmla="*/ 49 h 384"/>
                <a:gd name="T112" fmla="*/ 78 w 254"/>
                <a:gd name="T113" fmla="*/ 37 h 384"/>
                <a:gd name="T114" fmla="*/ 83 w 254"/>
                <a:gd name="T115" fmla="*/ 28 h 384"/>
                <a:gd name="T116" fmla="*/ 101 w 254"/>
                <a:gd name="T117" fmla="*/ 33 h 384"/>
                <a:gd name="T118" fmla="*/ 114 w 254"/>
                <a:gd name="T119" fmla="*/ 33 h 384"/>
                <a:gd name="T120" fmla="*/ 136 w 254"/>
                <a:gd name="T121" fmla="*/ 15 h 384"/>
                <a:gd name="T122" fmla="*/ 154 w 254"/>
                <a:gd name="T123" fmla="*/ 7 h 384"/>
                <a:gd name="T124" fmla="*/ 165 w 254"/>
                <a:gd name="T125" fmla="*/ 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384">
                  <a:moveTo>
                    <a:pt x="176" y="0"/>
                  </a:moveTo>
                  <a:lnTo>
                    <a:pt x="177" y="0"/>
                  </a:lnTo>
                  <a:lnTo>
                    <a:pt x="188" y="3"/>
                  </a:lnTo>
                  <a:lnTo>
                    <a:pt x="190" y="4"/>
                  </a:lnTo>
                  <a:lnTo>
                    <a:pt x="191" y="5"/>
                  </a:lnTo>
                  <a:lnTo>
                    <a:pt x="193" y="6"/>
                  </a:lnTo>
                  <a:lnTo>
                    <a:pt x="194" y="7"/>
                  </a:lnTo>
                  <a:lnTo>
                    <a:pt x="195" y="8"/>
                  </a:lnTo>
                  <a:lnTo>
                    <a:pt x="195" y="9"/>
                  </a:lnTo>
                  <a:lnTo>
                    <a:pt x="196" y="11"/>
                  </a:lnTo>
                  <a:lnTo>
                    <a:pt x="196" y="13"/>
                  </a:lnTo>
                  <a:lnTo>
                    <a:pt x="196" y="16"/>
                  </a:lnTo>
                  <a:lnTo>
                    <a:pt x="195" y="21"/>
                  </a:lnTo>
                  <a:lnTo>
                    <a:pt x="194" y="26"/>
                  </a:lnTo>
                  <a:lnTo>
                    <a:pt x="194" y="27"/>
                  </a:lnTo>
                  <a:lnTo>
                    <a:pt x="193" y="28"/>
                  </a:lnTo>
                  <a:lnTo>
                    <a:pt x="192" y="30"/>
                  </a:lnTo>
                  <a:lnTo>
                    <a:pt x="192" y="30"/>
                  </a:lnTo>
                  <a:lnTo>
                    <a:pt x="192" y="31"/>
                  </a:lnTo>
                  <a:lnTo>
                    <a:pt x="192" y="31"/>
                  </a:lnTo>
                  <a:lnTo>
                    <a:pt x="193" y="32"/>
                  </a:lnTo>
                  <a:lnTo>
                    <a:pt x="194" y="32"/>
                  </a:lnTo>
                  <a:lnTo>
                    <a:pt x="195" y="32"/>
                  </a:lnTo>
                  <a:lnTo>
                    <a:pt x="196" y="32"/>
                  </a:lnTo>
                  <a:lnTo>
                    <a:pt x="198" y="32"/>
                  </a:lnTo>
                  <a:lnTo>
                    <a:pt x="201" y="31"/>
                  </a:lnTo>
                  <a:lnTo>
                    <a:pt x="203" y="31"/>
                  </a:lnTo>
                  <a:lnTo>
                    <a:pt x="205" y="31"/>
                  </a:lnTo>
                  <a:lnTo>
                    <a:pt x="210" y="32"/>
                  </a:lnTo>
                  <a:lnTo>
                    <a:pt x="218" y="33"/>
                  </a:lnTo>
                  <a:lnTo>
                    <a:pt x="221" y="34"/>
                  </a:lnTo>
                  <a:lnTo>
                    <a:pt x="222" y="35"/>
                  </a:lnTo>
                  <a:lnTo>
                    <a:pt x="225" y="37"/>
                  </a:lnTo>
                  <a:lnTo>
                    <a:pt x="232" y="43"/>
                  </a:lnTo>
                  <a:lnTo>
                    <a:pt x="238" y="47"/>
                  </a:lnTo>
                  <a:lnTo>
                    <a:pt x="240" y="49"/>
                  </a:lnTo>
                  <a:lnTo>
                    <a:pt x="241" y="49"/>
                  </a:lnTo>
                  <a:lnTo>
                    <a:pt x="243" y="49"/>
                  </a:lnTo>
                  <a:lnTo>
                    <a:pt x="244" y="49"/>
                  </a:lnTo>
                  <a:lnTo>
                    <a:pt x="245" y="50"/>
                  </a:lnTo>
                  <a:lnTo>
                    <a:pt x="246" y="50"/>
                  </a:lnTo>
                  <a:lnTo>
                    <a:pt x="247" y="51"/>
                  </a:lnTo>
                  <a:lnTo>
                    <a:pt x="247" y="53"/>
                  </a:lnTo>
                  <a:lnTo>
                    <a:pt x="248" y="54"/>
                  </a:lnTo>
                  <a:lnTo>
                    <a:pt x="249" y="61"/>
                  </a:lnTo>
                  <a:lnTo>
                    <a:pt x="250" y="71"/>
                  </a:lnTo>
                  <a:lnTo>
                    <a:pt x="252" y="81"/>
                  </a:lnTo>
                  <a:lnTo>
                    <a:pt x="253" y="93"/>
                  </a:lnTo>
                  <a:lnTo>
                    <a:pt x="253" y="98"/>
                  </a:lnTo>
                  <a:lnTo>
                    <a:pt x="254" y="103"/>
                  </a:lnTo>
                  <a:lnTo>
                    <a:pt x="254" y="107"/>
                  </a:lnTo>
                  <a:lnTo>
                    <a:pt x="254" y="110"/>
                  </a:lnTo>
                  <a:lnTo>
                    <a:pt x="253" y="112"/>
                  </a:lnTo>
                  <a:lnTo>
                    <a:pt x="253" y="113"/>
                  </a:lnTo>
                  <a:lnTo>
                    <a:pt x="252" y="115"/>
                  </a:lnTo>
                  <a:lnTo>
                    <a:pt x="252" y="116"/>
                  </a:lnTo>
                  <a:lnTo>
                    <a:pt x="251" y="117"/>
                  </a:lnTo>
                  <a:lnTo>
                    <a:pt x="250" y="118"/>
                  </a:lnTo>
                  <a:lnTo>
                    <a:pt x="245" y="122"/>
                  </a:lnTo>
                  <a:lnTo>
                    <a:pt x="245" y="123"/>
                  </a:lnTo>
                  <a:lnTo>
                    <a:pt x="243" y="124"/>
                  </a:lnTo>
                  <a:lnTo>
                    <a:pt x="242" y="126"/>
                  </a:lnTo>
                  <a:lnTo>
                    <a:pt x="241" y="127"/>
                  </a:lnTo>
                  <a:lnTo>
                    <a:pt x="240" y="131"/>
                  </a:lnTo>
                  <a:lnTo>
                    <a:pt x="238" y="136"/>
                  </a:lnTo>
                  <a:lnTo>
                    <a:pt x="235" y="144"/>
                  </a:lnTo>
                  <a:lnTo>
                    <a:pt x="234" y="146"/>
                  </a:lnTo>
                  <a:lnTo>
                    <a:pt x="234" y="148"/>
                  </a:lnTo>
                  <a:lnTo>
                    <a:pt x="234" y="150"/>
                  </a:lnTo>
                  <a:lnTo>
                    <a:pt x="233" y="161"/>
                  </a:lnTo>
                  <a:lnTo>
                    <a:pt x="233" y="164"/>
                  </a:lnTo>
                  <a:lnTo>
                    <a:pt x="233" y="168"/>
                  </a:lnTo>
                  <a:lnTo>
                    <a:pt x="234" y="175"/>
                  </a:lnTo>
                  <a:lnTo>
                    <a:pt x="234" y="177"/>
                  </a:lnTo>
                  <a:lnTo>
                    <a:pt x="234" y="180"/>
                  </a:lnTo>
                  <a:lnTo>
                    <a:pt x="234" y="183"/>
                  </a:lnTo>
                  <a:lnTo>
                    <a:pt x="233" y="185"/>
                  </a:lnTo>
                  <a:lnTo>
                    <a:pt x="232" y="189"/>
                  </a:lnTo>
                  <a:lnTo>
                    <a:pt x="231" y="193"/>
                  </a:lnTo>
                  <a:lnTo>
                    <a:pt x="228" y="200"/>
                  </a:lnTo>
                  <a:lnTo>
                    <a:pt x="227" y="201"/>
                  </a:lnTo>
                  <a:lnTo>
                    <a:pt x="227" y="203"/>
                  </a:lnTo>
                  <a:lnTo>
                    <a:pt x="227" y="206"/>
                  </a:lnTo>
                  <a:lnTo>
                    <a:pt x="226" y="209"/>
                  </a:lnTo>
                  <a:lnTo>
                    <a:pt x="226" y="217"/>
                  </a:lnTo>
                  <a:lnTo>
                    <a:pt x="226" y="222"/>
                  </a:lnTo>
                  <a:lnTo>
                    <a:pt x="226" y="225"/>
                  </a:lnTo>
                  <a:lnTo>
                    <a:pt x="225" y="227"/>
                  </a:lnTo>
                  <a:lnTo>
                    <a:pt x="223" y="236"/>
                  </a:lnTo>
                  <a:lnTo>
                    <a:pt x="223" y="236"/>
                  </a:lnTo>
                  <a:lnTo>
                    <a:pt x="223" y="238"/>
                  </a:lnTo>
                  <a:lnTo>
                    <a:pt x="223" y="239"/>
                  </a:lnTo>
                  <a:lnTo>
                    <a:pt x="224" y="242"/>
                  </a:lnTo>
                  <a:lnTo>
                    <a:pt x="225" y="243"/>
                  </a:lnTo>
                  <a:lnTo>
                    <a:pt x="226" y="244"/>
                  </a:lnTo>
                  <a:lnTo>
                    <a:pt x="227" y="244"/>
                  </a:lnTo>
                  <a:lnTo>
                    <a:pt x="229" y="245"/>
                  </a:lnTo>
                  <a:lnTo>
                    <a:pt x="236" y="247"/>
                  </a:lnTo>
                  <a:lnTo>
                    <a:pt x="240" y="249"/>
                  </a:lnTo>
                  <a:lnTo>
                    <a:pt x="242" y="250"/>
                  </a:lnTo>
                  <a:lnTo>
                    <a:pt x="243" y="251"/>
                  </a:lnTo>
                  <a:lnTo>
                    <a:pt x="243" y="252"/>
                  </a:lnTo>
                  <a:lnTo>
                    <a:pt x="242" y="252"/>
                  </a:lnTo>
                  <a:lnTo>
                    <a:pt x="240" y="254"/>
                  </a:lnTo>
                  <a:lnTo>
                    <a:pt x="230" y="261"/>
                  </a:lnTo>
                  <a:lnTo>
                    <a:pt x="224" y="265"/>
                  </a:lnTo>
                  <a:lnTo>
                    <a:pt x="222" y="268"/>
                  </a:lnTo>
                  <a:lnTo>
                    <a:pt x="219" y="270"/>
                  </a:lnTo>
                  <a:lnTo>
                    <a:pt x="216" y="272"/>
                  </a:lnTo>
                  <a:lnTo>
                    <a:pt x="212" y="276"/>
                  </a:lnTo>
                  <a:lnTo>
                    <a:pt x="211" y="279"/>
                  </a:lnTo>
                  <a:lnTo>
                    <a:pt x="208" y="283"/>
                  </a:lnTo>
                  <a:lnTo>
                    <a:pt x="206" y="285"/>
                  </a:lnTo>
                  <a:lnTo>
                    <a:pt x="204" y="287"/>
                  </a:lnTo>
                  <a:lnTo>
                    <a:pt x="203" y="288"/>
                  </a:lnTo>
                  <a:lnTo>
                    <a:pt x="202" y="289"/>
                  </a:lnTo>
                  <a:lnTo>
                    <a:pt x="200" y="289"/>
                  </a:lnTo>
                  <a:lnTo>
                    <a:pt x="200" y="289"/>
                  </a:lnTo>
                  <a:lnTo>
                    <a:pt x="199" y="289"/>
                  </a:lnTo>
                  <a:lnTo>
                    <a:pt x="197" y="289"/>
                  </a:lnTo>
                  <a:lnTo>
                    <a:pt x="195" y="288"/>
                  </a:lnTo>
                  <a:lnTo>
                    <a:pt x="193" y="287"/>
                  </a:lnTo>
                  <a:lnTo>
                    <a:pt x="186" y="282"/>
                  </a:lnTo>
                  <a:lnTo>
                    <a:pt x="184" y="281"/>
                  </a:lnTo>
                  <a:lnTo>
                    <a:pt x="183" y="281"/>
                  </a:lnTo>
                  <a:lnTo>
                    <a:pt x="181" y="281"/>
                  </a:lnTo>
                  <a:lnTo>
                    <a:pt x="179" y="281"/>
                  </a:lnTo>
                  <a:lnTo>
                    <a:pt x="177" y="281"/>
                  </a:lnTo>
                  <a:lnTo>
                    <a:pt x="174" y="282"/>
                  </a:lnTo>
                  <a:lnTo>
                    <a:pt x="170" y="284"/>
                  </a:lnTo>
                  <a:lnTo>
                    <a:pt x="166" y="286"/>
                  </a:lnTo>
                  <a:lnTo>
                    <a:pt x="161" y="289"/>
                  </a:lnTo>
                  <a:lnTo>
                    <a:pt x="158" y="292"/>
                  </a:lnTo>
                  <a:lnTo>
                    <a:pt x="154" y="293"/>
                  </a:lnTo>
                  <a:lnTo>
                    <a:pt x="152" y="296"/>
                  </a:lnTo>
                  <a:lnTo>
                    <a:pt x="149" y="300"/>
                  </a:lnTo>
                  <a:lnTo>
                    <a:pt x="144" y="305"/>
                  </a:lnTo>
                  <a:lnTo>
                    <a:pt x="139" y="313"/>
                  </a:lnTo>
                  <a:lnTo>
                    <a:pt x="136" y="316"/>
                  </a:lnTo>
                  <a:lnTo>
                    <a:pt x="135" y="319"/>
                  </a:lnTo>
                  <a:lnTo>
                    <a:pt x="134" y="321"/>
                  </a:lnTo>
                  <a:lnTo>
                    <a:pt x="133" y="323"/>
                  </a:lnTo>
                  <a:lnTo>
                    <a:pt x="133" y="325"/>
                  </a:lnTo>
                  <a:lnTo>
                    <a:pt x="133" y="326"/>
                  </a:lnTo>
                  <a:lnTo>
                    <a:pt x="133" y="328"/>
                  </a:lnTo>
                  <a:lnTo>
                    <a:pt x="133" y="330"/>
                  </a:lnTo>
                  <a:lnTo>
                    <a:pt x="133" y="332"/>
                  </a:lnTo>
                  <a:lnTo>
                    <a:pt x="133" y="334"/>
                  </a:lnTo>
                  <a:lnTo>
                    <a:pt x="134" y="335"/>
                  </a:lnTo>
                  <a:lnTo>
                    <a:pt x="135" y="337"/>
                  </a:lnTo>
                  <a:lnTo>
                    <a:pt x="136" y="338"/>
                  </a:lnTo>
                  <a:lnTo>
                    <a:pt x="138" y="338"/>
                  </a:lnTo>
                  <a:lnTo>
                    <a:pt x="139" y="338"/>
                  </a:lnTo>
                  <a:lnTo>
                    <a:pt x="141" y="338"/>
                  </a:lnTo>
                  <a:lnTo>
                    <a:pt x="146" y="337"/>
                  </a:lnTo>
                  <a:lnTo>
                    <a:pt x="152" y="336"/>
                  </a:lnTo>
                  <a:lnTo>
                    <a:pt x="153" y="336"/>
                  </a:lnTo>
                  <a:lnTo>
                    <a:pt x="154" y="337"/>
                  </a:lnTo>
                  <a:lnTo>
                    <a:pt x="159" y="338"/>
                  </a:lnTo>
                  <a:lnTo>
                    <a:pt x="160" y="338"/>
                  </a:lnTo>
                  <a:lnTo>
                    <a:pt x="161" y="338"/>
                  </a:lnTo>
                  <a:lnTo>
                    <a:pt x="163" y="338"/>
                  </a:lnTo>
                  <a:lnTo>
                    <a:pt x="164" y="339"/>
                  </a:lnTo>
                  <a:lnTo>
                    <a:pt x="165" y="340"/>
                  </a:lnTo>
                  <a:lnTo>
                    <a:pt x="165" y="341"/>
                  </a:lnTo>
                  <a:lnTo>
                    <a:pt x="165" y="342"/>
                  </a:lnTo>
                  <a:lnTo>
                    <a:pt x="165" y="343"/>
                  </a:lnTo>
                  <a:lnTo>
                    <a:pt x="165" y="343"/>
                  </a:lnTo>
                  <a:lnTo>
                    <a:pt x="164" y="344"/>
                  </a:lnTo>
                  <a:lnTo>
                    <a:pt x="164" y="345"/>
                  </a:lnTo>
                  <a:lnTo>
                    <a:pt x="163" y="346"/>
                  </a:lnTo>
                  <a:lnTo>
                    <a:pt x="160" y="347"/>
                  </a:lnTo>
                  <a:lnTo>
                    <a:pt x="156" y="349"/>
                  </a:lnTo>
                  <a:lnTo>
                    <a:pt x="148" y="352"/>
                  </a:lnTo>
                  <a:lnTo>
                    <a:pt x="147" y="353"/>
                  </a:lnTo>
                  <a:lnTo>
                    <a:pt x="147" y="354"/>
                  </a:lnTo>
                  <a:lnTo>
                    <a:pt x="146" y="354"/>
                  </a:lnTo>
                  <a:lnTo>
                    <a:pt x="146" y="355"/>
                  </a:lnTo>
                  <a:lnTo>
                    <a:pt x="146" y="357"/>
                  </a:lnTo>
                  <a:lnTo>
                    <a:pt x="146" y="359"/>
                  </a:lnTo>
                  <a:lnTo>
                    <a:pt x="146" y="360"/>
                  </a:lnTo>
                  <a:lnTo>
                    <a:pt x="147" y="361"/>
                  </a:lnTo>
                  <a:lnTo>
                    <a:pt x="148" y="362"/>
                  </a:lnTo>
                  <a:lnTo>
                    <a:pt x="149" y="363"/>
                  </a:lnTo>
                  <a:lnTo>
                    <a:pt x="153" y="368"/>
                  </a:lnTo>
                  <a:lnTo>
                    <a:pt x="154" y="369"/>
                  </a:lnTo>
                  <a:lnTo>
                    <a:pt x="155" y="371"/>
                  </a:lnTo>
                  <a:lnTo>
                    <a:pt x="156" y="372"/>
                  </a:lnTo>
                  <a:lnTo>
                    <a:pt x="157" y="374"/>
                  </a:lnTo>
                  <a:lnTo>
                    <a:pt x="157" y="376"/>
                  </a:lnTo>
                  <a:lnTo>
                    <a:pt x="157" y="377"/>
                  </a:lnTo>
                  <a:lnTo>
                    <a:pt x="156" y="378"/>
                  </a:lnTo>
                  <a:lnTo>
                    <a:pt x="156" y="379"/>
                  </a:lnTo>
                  <a:lnTo>
                    <a:pt x="155" y="379"/>
                  </a:lnTo>
                  <a:lnTo>
                    <a:pt x="154" y="380"/>
                  </a:lnTo>
                  <a:lnTo>
                    <a:pt x="154" y="381"/>
                  </a:lnTo>
                  <a:lnTo>
                    <a:pt x="153" y="381"/>
                  </a:lnTo>
                  <a:lnTo>
                    <a:pt x="150" y="382"/>
                  </a:lnTo>
                  <a:lnTo>
                    <a:pt x="146" y="382"/>
                  </a:lnTo>
                  <a:lnTo>
                    <a:pt x="143" y="382"/>
                  </a:lnTo>
                  <a:lnTo>
                    <a:pt x="140" y="382"/>
                  </a:lnTo>
                  <a:lnTo>
                    <a:pt x="135" y="381"/>
                  </a:lnTo>
                  <a:lnTo>
                    <a:pt x="133" y="380"/>
                  </a:lnTo>
                  <a:lnTo>
                    <a:pt x="132" y="380"/>
                  </a:lnTo>
                  <a:lnTo>
                    <a:pt x="123" y="376"/>
                  </a:lnTo>
                  <a:lnTo>
                    <a:pt x="119" y="375"/>
                  </a:lnTo>
                  <a:lnTo>
                    <a:pt x="114" y="374"/>
                  </a:lnTo>
                  <a:lnTo>
                    <a:pt x="112" y="374"/>
                  </a:lnTo>
                  <a:lnTo>
                    <a:pt x="111" y="374"/>
                  </a:lnTo>
                  <a:lnTo>
                    <a:pt x="110" y="374"/>
                  </a:lnTo>
                  <a:lnTo>
                    <a:pt x="109" y="374"/>
                  </a:lnTo>
                  <a:lnTo>
                    <a:pt x="109" y="375"/>
                  </a:lnTo>
                  <a:lnTo>
                    <a:pt x="109" y="375"/>
                  </a:lnTo>
                  <a:lnTo>
                    <a:pt x="108" y="376"/>
                  </a:lnTo>
                  <a:lnTo>
                    <a:pt x="107" y="378"/>
                  </a:lnTo>
                  <a:lnTo>
                    <a:pt x="105" y="380"/>
                  </a:lnTo>
                  <a:lnTo>
                    <a:pt x="104" y="382"/>
                  </a:lnTo>
                  <a:lnTo>
                    <a:pt x="103" y="383"/>
                  </a:lnTo>
                  <a:lnTo>
                    <a:pt x="102" y="383"/>
                  </a:lnTo>
                  <a:lnTo>
                    <a:pt x="101" y="384"/>
                  </a:lnTo>
                  <a:lnTo>
                    <a:pt x="100" y="384"/>
                  </a:lnTo>
                  <a:lnTo>
                    <a:pt x="99" y="384"/>
                  </a:lnTo>
                  <a:lnTo>
                    <a:pt x="98" y="384"/>
                  </a:lnTo>
                  <a:lnTo>
                    <a:pt x="97" y="383"/>
                  </a:lnTo>
                  <a:lnTo>
                    <a:pt x="94" y="381"/>
                  </a:lnTo>
                  <a:lnTo>
                    <a:pt x="91" y="380"/>
                  </a:lnTo>
                  <a:lnTo>
                    <a:pt x="89" y="379"/>
                  </a:lnTo>
                  <a:lnTo>
                    <a:pt x="83" y="378"/>
                  </a:lnTo>
                  <a:lnTo>
                    <a:pt x="75" y="374"/>
                  </a:lnTo>
                  <a:lnTo>
                    <a:pt x="67" y="372"/>
                  </a:lnTo>
                  <a:lnTo>
                    <a:pt x="65" y="372"/>
                  </a:lnTo>
                  <a:lnTo>
                    <a:pt x="63" y="371"/>
                  </a:lnTo>
                  <a:lnTo>
                    <a:pt x="62" y="370"/>
                  </a:lnTo>
                  <a:lnTo>
                    <a:pt x="62" y="369"/>
                  </a:lnTo>
                  <a:lnTo>
                    <a:pt x="61" y="368"/>
                  </a:lnTo>
                  <a:lnTo>
                    <a:pt x="61" y="367"/>
                  </a:lnTo>
                  <a:lnTo>
                    <a:pt x="61" y="366"/>
                  </a:lnTo>
                  <a:lnTo>
                    <a:pt x="61" y="365"/>
                  </a:lnTo>
                  <a:lnTo>
                    <a:pt x="61" y="363"/>
                  </a:lnTo>
                  <a:lnTo>
                    <a:pt x="61" y="362"/>
                  </a:lnTo>
                  <a:lnTo>
                    <a:pt x="62" y="360"/>
                  </a:lnTo>
                  <a:lnTo>
                    <a:pt x="63" y="356"/>
                  </a:lnTo>
                  <a:lnTo>
                    <a:pt x="64" y="353"/>
                  </a:lnTo>
                  <a:lnTo>
                    <a:pt x="66" y="347"/>
                  </a:lnTo>
                  <a:lnTo>
                    <a:pt x="66" y="344"/>
                  </a:lnTo>
                  <a:lnTo>
                    <a:pt x="67" y="340"/>
                  </a:lnTo>
                  <a:lnTo>
                    <a:pt x="67" y="338"/>
                  </a:lnTo>
                  <a:lnTo>
                    <a:pt x="67" y="336"/>
                  </a:lnTo>
                  <a:lnTo>
                    <a:pt x="66" y="334"/>
                  </a:lnTo>
                  <a:lnTo>
                    <a:pt x="65" y="331"/>
                  </a:lnTo>
                  <a:lnTo>
                    <a:pt x="64" y="329"/>
                  </a:lnTo>
                  <a:lnTo>
                    <a:pt x="63" y="328"/>
                  </a:lnTo>
                  <a:lnTo>
                    <a:pt x="62" y="327"/>
                  </a:lnTo>
                  <a:lnTo>
                    <a:pt x="61" y="327"/>
                  </a:lnTo>
                  <a:lnTo>
                    <a:pt x="60" y="327"/>
                  </a:lnTo>
                  <a:lnTo>
                    <a:pt x="59" y="327"/>
                  </a:lnTo>
                  <a:lnTo>
                    <a:pt x="58" y="327"/>
                  </a:lnTo>
                  <a:lnTo>
                    <a:pt x="57" y="327"/>
                  </a:lnTo>
                  <a:lnTo>
                    <a:pt x="56" y="327"/>
                  </a:lnTo>
                  <a:lnTo>
                    <a:pt x="56" y="328"/>
                  </a:lnTo>
                  <a:lnTo>
                    <a:pt x="55" y="328"/>
                  </a:lnTo>
                  <a:lnTo>
                    <a:pt x="54" y="327"/>
                  </a:lnTo>
                  <a:lnTo>
                    <a:pt x="50" y="325"/>
                  </a:lnTo>
                  <a:lnTo>
                    <a:pt x="48" y="324"/>
                  </a:lnTo>
                  <a:lnTo>
                    <a:pt x="45" y="322"/>
                  </a:lnTo>
                  <a:lnTo>
                    <a:pt x="39" y="319"/>
                  </a:lnTo>
                  <a:lnTo>
                    <a:pt x="36" y="318"/>
                  </a:lnTo>
                  <a:lnTo>
                    <a:pt x="34" y="316"/>
                  </a:lnTo>
                  <a:lnTo>
                    <a:pt x="32" y="315"/>
                  </a:lnTo>
                  <a:lnTo>
                    <a:pt x="30" y="313"/>
                  </a:lnTo>
                  <a:lnTo>
                    <a:pt x="29" y="311"/>
                  </a:lnTo>
                  <a:lnTo>
                    <a:pt x="29" y="309"/>
                  </a:lnTo>
                  <a:lnTo>
                    <a:pt x="29" y="308"/>
                  </a:lnTo>
                  <a:lnTo>
                    <a:pt x="29" y="307"/>
                  </a:lnTo>
                  <a:lnTo>
                    <a:pt x="29" y="305"/>
                  </a:lnTo>
                  <a:lnTo>
                    <a:pt x="29" y="304"/>
                  </a:lnTo>
                  <a:lnTo>
                    <a:pt x="30" y="303"/>
                  </a:lnTo>
                  <a:lnTo>
                    <a:pt x="32" y="300"/>
                  </a:lnTo>
                  <a:lnTo>
                    <a:pt x="33" y="298"/>
                  </a:lnTo>
                  <a:lnTo>
                    <a:pt x="34" y="297"/>
                  </a:lnTo>
                  <a:lnTo>
                    <a:pt x="34" y="296"/>
                  </a:lnTo>
                  <a:lnTo>
                    <a:pt x="33" y="295"/>
                  </a:lnTo>
                  <a:lnTo>
                    <a:pt x="33" y="294"/>
                  </a:lnTo>
                  <a:lnTo>
                    <a:pt x="32" y="293"/>
                  </a:lnTo>
                  <a:lnTo>
                    <a:pt x="26" y="288"/>
                  </a:lnTo>
                  <a:lnTo>
                    <a:pt x="22" y="285"/>
                  </a:lnTo>
                  <a:lnTo>
                    <a:pt x="17" y="280"/>
                  </a:lnTo>
                  <a:lnTo>
                    <a:pt x="11" y="275"/>
                  </a:lnTo>
                  <a:lnTo>
                    <a:pt x="6" y="272"/>
                  </a:lnTo>
                  <a:lnTo>
                    <a:pt x="4" y="270"/>
                  </a:lnTo>
                  <a:lnTo>
                    <a:pt x="3" y="270"/>
                  </a:lnTo>
                  <a:lnTo>
                    <a:pt x="2" y="268"/>
                  </a:lnTo>
                  <a:lnTo>
                    <a:pt x="2" y="266"/>
                  </a:lnTo>
                  <a:lnTo>
                    <a:pt x="2" y="265"/>
                  </a:lnTo>
                  <a:lnTo>
                    <a:pt x="2" y="263"/>
                  </a:lnTo>
                  <a:lnTo>
                    <a:pt x="2" y="261"/>
                  </a:lnTo>
                  <a:lnTo>
                    <a:pt x="2" y="259"/>
                  </a:lnTo>
                  <a:lnTo>
                    <a:pt x="3" y="258"/>
                  </a:lnTo>
                  <a:lnTo>
                    <a:pt x="4" y="256"/>
                  </a:lnTo>
                  <a:lnTo>
                    <a:pt x="5" y="254"/>
                  </a:lnTo>
                  <a:lnTo>
                    <a:pt x="6" y="251"/>
                  </a:lnTo>
                  <a:lnTo>
                    <a:pt x="8" y="248"/>
                  </a:lnTo>
                  <a:lnTo>
                    <a:pt x="14" y="244"/>
                  </a:lnTo>
                  <a:lnTo>
                    <a:pt x="19" y="238"/>
                  </a:lnTo>
                  <a:lnTo>
                    <a:pt x="21" y="236"/>
                  </a:lnTo>
                  <a:lnTo>
                    <a:pt x="22" y="234"/>
                  </a:lnTo>
                  <a:lnTo>
                    <a:pt x="24" y="232"/>
                  </a:lnTo>
                  <a:lnTo>
                    <a:pt x="24" y="229"/>
                  </a:lnTo>
                  <a:lnTo>
                    <a:pt x="25" y="227"/>
                  </a:lnTo>
                  <a:lnTo>
                    <a:pt x="24" y="225"/>
                  </a:lnTo>
                  <a:lnTo>
                    <a:pt x="24" y="224"/>
                  </a:lnTo>
                  <a:lnTo>
                    <a:pt x="23" y="222"/>
                  </a:lnTo>
                  <a:lnTo>
                    <a:pt x="22" y="220"/>
                  </a:lnTo>
                  <a:lnTo>
                    <a:pt x="19" y="218"/>
                  </a:lnTo>
                  <a:lnTo>
                    <a:pt x="17" y="214"/>
                  </a:lnTo>
                  <a:lnTo>
                    <a:pt x="11" y="209"/>
                  </a:lnTo>
                  <a:lnTo>
                    <a:pt x="10" y="208"/>
                  </a:lnTo>
                  <a:lnTo>
                    <a:pt x="9" y="206"/>
                  </a:lnTo>
                  <a:lnTo>
                    <a:pt x="6" y="202"/>
                  </a:lnTo>
                  <a:lnTo>
                    <a:pt x="6" y="199"/>
                  </a:lnTo>
                  <a:lnTo>
                    <a:pt x="6" y="197"/>
                  </a:lnTo>
                  <a:lnTo>
                    <a:pt x="5" y="193"/>
                  </a:lnTo>
                  <a:lnTo>
                    <a:pt x="4" y="187"/>
                  </a:lnTo>
                  <a:lnTo>
                    <a:pt x="3" y="184"/>
                  </a:lnTo>
                  <a:lnTo>
                    <a:pt x="3" y="183"/>
                  </a:lnTo>
                  <a:lnTo>
                    <a:pt x="2" y="182"/>
                  </a:lnTo>
                  <a:lnTo>
                    <a:pt x="1" y="181"/>
                  </a:lnTo>
                  <a:lnTo>
                    <a:pt x="1" y="181"/>
                  </a:lnTo>
                  <a:lnTo>
                    <a:pt x="0" y="181"/>
                  </a:lnTo>
                  <a:lnTo>
                    <a:pt x="1" y="181"/>
                  </a:lnTo>
                  <a:lnTo>
                    <a:pt x="1" y="180"/>
                  </a:lnTo>
                  <a:lnTo>
                    <a:pt x="2" y="180"/>
                  </a:lnTo>
                  <a:lnTo>
                    <a:pt x="7" y="179"/>
                  </a:lnTo>
                  <a:lnTo>
                    <a:pt x="9" y="179"/>
                  </a:lnTo>
                  <a:lnTo>
                    <a:pt x="11" y="178"/>
                  </a:lnTo>
                  <a:lnTo>
                    <a:pt x="13" y="177"/>
                  </a:lnTo>
                  <a:lnTo>
                    <a:pt x="14" y="176"/>
                  </a:lnTo>
                  <a:lnTo>
                    <a:pt x="16" y="174"/>
                  </a:lnTo>
                  <a:lnTo>
                    <a:pt x="17" y="172"/>
                  </a:lnTo>
                  <a:lnTo>
                    <a:pt x="18" y="170"/>
                  </a:lnTo>
                  <a:lnTo>
                    <a:pt x="18" y="168"/>
                  </a:lnTo>
                  <a:lnTo>
                    <a:pt x="18" y="165"/>
                  </a:lnTo>
                  <a:lnTo>
                    <a:pt x="18" y="163"/>
                  </a:lnTo>
                  <a:lnTo>
                    <a:pt x="18" y="159"/>
                  </a:lnTo>
                  <a:lnTo>
                    <a:pt x="17" y="157"/>
                  </a:lnTo>
                  <a:lnTo>
                    <a:pt x="17" y="155"/>
                  </a:lnTo>
                  <a:lnTo>
                    <a:pt x="17" y="152"/>
                  </a:lnTo>
                  <a:lnTo>
                    <a:pt x="17" y="149"/>
                  </a:lnTo>
                  <a:lnTo>
                    <a:pt x="18" y="139"/>
                  </a:lnTo>
                  <a:lnTo>
                    <a:pt x="20" y="122"/>
                  </a:lnTo>
                  <a:lnTo>
                    <a:pt x="22" y="111"/>
                  </a:lnTo>
                  <a:lnTo>
                    <a:pt x="22" y="107"/>
                  </a:lnTo>
                  <a:lnTo>
                    <a:pt x="22" y="98"/>
                  </a:lnTo>
                  <a:lnTo>
                    <a:pt x="23" y="94"/>
                  </a:lnTo>
                  <a:lnTo>
                    <a:pt x="23" y="92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5" y="88"/>
                  </a:lnTo>
                  <a:lnTo>
                    <a:pt x="27" y="85"/>
                  </a:lnTo>
                  <a:lnTo>
                    <a:pt x="30" y="80"/>
                  </a:lnTo>
                  <a:lnTo>
                    <a:pt x="31" y="78"/>
                  </a:lnTo>
                  <a:lnTo>
                    <a:pt x="32" y="76"/>
                  </a:lnTo>
                  <a:lnTo>
                    <a:pt x="34" y="74"/>
                  </a:lnTo>
                  <a:lnTo>
                    <a:pt x="34" y="71"/>
                  </a:lnTo>
                  <a:lnTo>
                    <a:pt x="34" y="69"/>
                  </a:lnTo>
                  <a:lnTo>
                    <a:pt x="34" y="67"/>
                  </a:lnTo>
                  <a:lnTo>
                    <a:pt x="34" y="64"/>
                  </a:lnTo>
                  <a:lnTo>
                    <a:pt x="33" y="63"/>
                  </a:lnTo>
                  <a:lnTo>
                    <a:pt x="34" y="62"/>
                  </a:lnTo>
                  <a:lnTo>
                    <a:pt x="34" y="61"/>
                  </a:lnTo>
                  <a:lnTo>
                    <a:pt x="34" y="60"/>
                  </a:lnTo>
                  <a:lnTo>
                    <a:pt x="35" y="59"/>
                  </a:lnTo>
                  <a:lnTo>
                    <a:pt x="36" y="58"/>
                  </a:lnTo>
                  <a:lnTo>
                    <a:pt x="37" y="56"/>
                  </a:lnTo>
                  <a:lnTo>
                    <a:pt x="39" y="55"/>
                  </a:lnTo>
                  <a:lnTo>
                    <a:pt x="44" y="52"/>
                  </a:lnTo>
                  <a:lnTo>
                    <a:pt x="47" y="51"/>
                  </a:lnTo>
                  <a:lnTo>
                    <a:pt x="48" y="51"/>
                  </a:lnTo>
                  <a:lnTo>
                    <a:pt x="50" y="50"/>
                  </a:lnTo>
                  <a:lnTo>
                    <a:pt x="52" y="50"/>
                  </a:lnTo>
                  <a:lnTo>
                    <a:pt x="52" y="49"/>
                  </a:lnTo>
                  <a:lnTo>
                    <a:pt x="54" y="49"/>
                  </a:lnTo>
                  <a:lnTo>
                    <a:pt x="56" y="49"/>
                  </a:lnTo>
                  <a:lnTo>
                    <a:pt x="61" y="50"/>
                  </a:lnTo>
                  <a:lnTo>
                    <a:pt x="67" y="51"/>
                  </a:lnTo>
                  <a:lnTo>
                    <a:pt x="69" y="51"/>
                  </a:lnTo>
                  <a:lnTo>
                    <a:pt x="71" y="51"/>
                  </a:lnTo>
                  <a:lnTo>
                    <a:pt x="73" y="51"/>
                  </a:lnTo>
                  <a:lnTo>
                    <a:pt x="75" y="51"/>
                  </a:lnTo>
                  <a:lnTo>
                    <a:pt x="76" y="50"/>
                  </a:lnTo>
                  <a:lnTo>
                    <a:pt x="77" y="50"/>
                  </a:lnTo>
                  <a:lnTo>
                    <a:pt x="78" y="49"/>
                  </a:lnTo>
                  <a:lnTo>
                    <a:pt x="79" y="48"/>
                  </a:lnTo>
                  <a:lnTo>
                    <a:pt x="79" y="46"/>
                  </a:lnTo>
                  <a:lnTo>
                    <a:pt x="79" y="44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8" y="39"/>
                  </a:lnTo>
                  <a:lnTo>
                    <a:pt x="78" y="37"/>
                  </a:lnTo>
                  <a:lnTo>
                    <a:pt x="77" y="34"/>
                  </a:lnTo>
                  <a:lnTo>
                    <a:pt x="78" y="33"/>
                  </a:lnTo>
                  <a:lnTo>
                    <a:pt x="78" y="32"/>
                  </a:lnTo>
                  <a:lnTo>
                    <a:pt x="79" y="30"/>
                  </a:lnTo>
                  <a:lnTo>
                    <a:pt x="80" y="29"/>
                  </a:lnTo>
                  <a:lnTo>
                    <a:pt x="82" y="28"/>
                  </a:lnTo>
                  <a:lnTo>
                    <a:pt x="83" y="28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9" y="28"/>
                  </a:lnTo>
                  <a:lnTo>
                    <a:pt x="90" y="29"/>
                  </a:lnTo>
                  <a:lnTo>
                    <a:pt x="93" y="30"/>
                  </a:lnTo>
                  <a:lnTo>
                    <a:pt x="98" y="32"/>
                  </a:lnTo>
                  <a:lnTo>
                    <a:pt x="101" y="33"/>
                  </a:lnTo>
                  <a:lnTo>
                    <a:pt x="103" y="33"/>
                  </a:lnTo>
                  <a:lnTo>
                    <a:pt x="106" y="34"/>
                  </a:lnTo>
                  <a:lnTo>
                    <a:pt x="108" y="34"/>
                  </a:lnTo>
                  <a:lnTo>
                    <a:pt x="109" y="34"/>
                  </a:lnTo>
                  <a:lnTo>
                    <a:pt x="111" y="34"/>
                  </a:lnTo>
                  <a:lnTo>
                    <a:pt x="113" y="34"/>
                  </a:lnTo>
                  <a:lnTo>
                    <a:pt x="114" y="33"/>
                  </a:lnTo>
                  <a:lnTo>
                    <a:pt x="116" y="32"/>
                  </a:lnTo>
                  <a:lnTo>
                    <a:pt x="117" y="32"/>
                  </a:lnTo>
                  <a:lnTo>
                    <a:pt x="119" y="31"/>
                  </a:lnTo>
                  <a:lnTo>
                    <a:pt x="122" y="28"/>
                  </a:lnTo>
                  <a:lnTo>
                    <a:pt x="129" y="21"/>
                  </a:lnTo>
                  <a:lnTo>
                    <a:pt x="132" y="18"/>
                  </a:lnTo>
                  <a:lnTo>
                    <a:pt x="136" y="15"/>
                  </a:lnTo>
                  <a:lnTo>
                    <a:pt x="140" y="12"/>
                  </a:lnTo>
                  <a:lnTo>
                    <a:pt x="143" y="11"/>
                  </a:lnTo>
                  <a:lnTo>
                    <a:pt x="144" y="9"/>
                  </a:lnTo>
                  <a:lnTo>
                    <a:pt x="147" y="9"/>
                  </a:lnTo>
                  <a:lnTo>
                    <a:pt x="149" y="8"/>
                  </a:lnTo>
                  <a:lnTo>
                    <a:pt x="152" y="7"/>
                  </a:lnTo>
                  <a:lnTo>
                    <a:pt x="154" y="7"/>
                  </a:lnTo>
                  <a:lnTo>
                    <a:pt x="156" y="6"/>
                  </a:lnTo>
                  <a:lnTo>
                    <a:pt x="157" y="6"/>
                  </a:lnTo>
                  <a:lnTo>
                    <a:pt x="157" y="7"/>
                  </a:lnTo>
                  <a:lnTo>
                    <a:pt x="159" y="6"/>
                  </a:lnTo>
                  <a:lnTo>
                    <a:pt x="160" y="6"/>
                  </a:lnTo>
                  <a:lnTo>
                    <a:pt x="161" y="5"/>
                  </a:lnTo>
                  <a:lnTo>
                    <a:pt x="165" y="2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8" y="2"/>
                  </a:lnTo>
                  <a:lnTo>
                    <a:pt x="172" y="1"/>
                  </a:lnTo>
                  <a:lnTo>
                    <a:pt x="176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4" name="Freeform 31">
              <a:extLst>
                <a:ext uri="{FF2B5EF4-FFF2-40B4-BE49-F238E27FC236}">
                  <a16:creationId xmlns:a16="http://schemas.microsoft.com/office/drawing/2014/main" id="{B7E9811E-FB7B-4E12-AE7A-156D94407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" y="2273"/>
              <a:ext cx="535" cy="411"/>
            </a:xfrm>
            <a:custGeom>
              <a:avLst/>
              <a:gdLst>
                <a:gd name="T0" fmla="*/ 336 w 535"/>
                <a:gd name="T1" fmla="*/ 11 h 411"/>
                <a:gd name="T2" fmla="*/ 365 w 535"/>
                <a:gd name="T3" fmla="*/ 16 h 411"/>
                <a:gd name="T4" fmla="*/ 386 w 535"/>
                <a:gd name="T5" fmla="*/ 15 h 411"/>
                <a:gd name="T6" fmla="*/ 408 w 535"/>
                <a:gd name="T7" fmla="*/ 20 h 411"/>
                <a:gd name="T8" fmla="*/ 434 w 535"/>
                <a:gd name="T9" fmla="*/ 7 h 411"/>
                <a:gd name="T10" fmla="*/ 466 w 535"/>
                <a:gd name="T11" fmla="*/ 41 h 411"/>
                <a:gd name="T12" fmla="*/ 486 w 535"/>
                <a:gd name="T13" fmla="*/ 79 h 411"/>
                <a:gd name="T14" fmla="*/ 486 w 535"/>
                <a:gd name="T15" fmla="*/ 102 h 411"/>
                <a:gd name="T16" fmla="*/ 482 w 535"/>
                <a:gd name="T17" fmla="*/ 123 h 411"/>
                <a:gd name="T18" fmla="*/ 505 w 535"/>
                <a:gd name="T19" fmla="*/ 135 h 411"/>
                <a:gd name="T20" fmla="*/ 525 w 535"/>
                <a:gd name="T21" fmla="*/ 165 h 411"/>
                <a:gd name="T22" fmla="*/ 513 w 535"/>
                <a:gd name="T23" fmla="*/ 193 h 411"/>
                <a:gd name="T24" fmla="*/ 515 w 535"/>
                <a:gd name="T25" fmla="*/ 209 h 411"/>
                <a:gd name="T26" fmla="*/ 535 w 535"/>
                <a:gd name="T27" fmla="*/ 234 h 411"/>
                <a:gd name="T28" fmla="*/ 516 w 535"/>
                <a:gd name="T29" fmla="*/ 247 h 411"/>
                <a:gd name="T30" fmla="*/ 499 w 535"/>
                <a:gd name="T31" fmla="*/ 266 h 411"/>
                <a:gd name="T32" fmla="*/ 507 w 535"/>
                <a:gd name="T33" fmla="*/ 284 h 411"/>
                <a:gd name="T34" fmla="*/ 502 w 535"/>
                <a:gd name="T35" fmla="*/ 301 h 411"/>
                <a:gd name="T36" fmla="*/ 494 w 535"/>
                <a:gd name="T37" fmla="*/ 324 h 411"/>
                <a:gd name="T38" fmla="*/ 490 w 535"/>
                <a:gd name="T39" fmla="*/ 335 h 411"/>
                <a:gd name="T40" fmla="*/ 481 w 535"/>
                <a:gd name="T41" fmla="*/ 356 h 411"/>
                <a:gd name="T42" fmla="*/ 464 w 535"/>
                <a:gd name="T43" fmla="*/ 359 h 411"/>
                <a:gd name="T44" fmla="*/ 456 w 535"/>
                <a:gd name="T45" fmla="*/ 365 h 411"/>
                <a:gd name="T46" fmla="*/ 430 w 535"/>
                <a:gd name="T47" fmla="*/ 355 h 411"/>
                <a:gd name="T48" fmla="*/ 388 w 535"/>
                <a:gd name="T49" fmla="*/ 355 h 411"/>
                <a:gd name="T50" fmla="*/ 372 w 535"/>
                <a:gd name="T51" fmla="*/ 363 h 411"/>
                <a:gd name="T52" fmla="*/ 360 w 535"/>
                <a:gd name="T53" fmla="*/ 385 h 411"/>
                <a:gd name="T54" fmla="*/ 347 w 535"/>
                <a:gd name="T55" fmla="*/ 378 h 411"/>
                <a:gd name="T56" fmla="*/ 321 w 535"/>
                <a:gd name="T57" fmla="*/ 374 h 411"/>
                <a:gd name="T58" fmla="*/ 286 w 535"/>
                <a:gd name="T59" fmla="*/ 378 h 411"/>
                <a:gd name="T60" fmla="*/ 259 w 535"/>
                <a:gd name="T61" fmla="*/ 373 h 411"/>
                <a:gd name="T62" fmla="*/ 252 w 535"/>
                <a:gd name="T63" fmla="*/ 371 h 411"/>
                <a:gd name="T64" fmla="*/ 237 w 535"/>
                <a:gd name="T65" fmla="*/ 386 h 411"/>
                <a:gd name="T66" fmla="*/ 204 w 535"/>
                <a:gd name="T67" fmla="*/ 399 h 411"/>
                <a:gd name="T68" fmla="*/ 178 w 535"/>
                <a:gd name="T69" fmla="*/ 411 h 411"/>
                <a:gd name="T70" fmla="*/ 160 w 535"/>
                <a:gd name="T71" fmla="*/ 401 h 411"/>
                <a:gd name="T72" fmla="*/ 117 w 535"/>
                <a:gd name="T73" fmla="*/ 388 h 411"/>
                <a:gd name="T74" fmla="*/ 105 w 535"/>
                <a:gd name="T75" fmla="*/ 378 h 411"/>
                <a:gd name="T76" fmla="*/ 86 w 535"/>
                <a:gd name="T77" fmla="*/ 359 h 411"/>
                <a:gd name="T78" fmla="*/ 86 w 535"/>
                <a:gd name="T79" fmla="*/ 332 h 411"/>
                <a:gd name="T80" fmla="*/ 86 w 535"/>
                <a:gd name="T81" fmla="*/ 304 h 411"/>
                <a:gd name="T82" fmla="*/ 67 w 535"/>
                <a:gd name="T83" fmla="*/ 291 h 411"/>
                <a:gd name="T84" fmla="*/ 26 w 535"/>
                <a:gd name="T85" fmla="*/ 266 h 411"/>
                <a:gd name="T86" fmla="*/ 3 w 535"/>
                <a:gd name="T87" fmla="*/ 228 h 411"/>
                <a:gd name="T88" fmla="*/ 1 w 535"/>
                <a:gd name="T89" fmla="*/ 209 h 411"/>
                <a:gd name="T90" fmla="*/ 21 w 535"/>
                <a:gd name="T91" fmla="*/ 189 h 411"/>
                <a:gd name="T92" fmla="*/ 48 w 535"/>
                <a:gd name="T93" fmla="*/ 168 h 411"/>
                <a:gd name="T94" fmla="*/ 60 w 535"/>
                <a:gd name="T95" fmla="*/ 117 h 411"/>
                <a:gd name="T96" fmla="*/ 83 w 535"/>
                <a:gd name="T97" fmla="*/ 87 h 411"/>
                <a:gd name="T98" fmla="*/ 115 w 535"/>
                <a:gd name="T99" fmla="*/ 39 h 411"/>
                <a:gd name="T100" fmla="*/ 152 w 535"/>
                <a:gd name="T101" fmla="*/ 43 h 411"/>
                <a:gd name="T102" fmla="*/ 176 w 535"/>
                <a:gd name="T103" fmla="*/ 30 h 411"/>
                <a:gd name="T104" fmla="*/ 199 w 535"/>
                <a:gd name="T105" fmla="*/ 35 h 411"/>
                <a:gd name="T106" fmla="*/ 213 w 535"/>
                <a:gd name="T107" fmla="*/ 48 h 411"/>
                <a:gd name="T108" fmla="*/ 223 w 535"/>
                <a:gd name="T109" fmla="*/ 34 h 411"/>
                <a:gd name="T110" fmla="*/ 242 w 535"/>
                <a:gd name="T111" fmla="*/ 19 h 411"/>
                <a:gd name="T112" fmla="*/ 277 w 535"/>
                <a:gd name="T113" fmla="*/ 9 h 411"/>
                <a:gd name="T114" fmla="*/ 305 w 535"/>
                <a:gd name="T115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5" h="411">
                  <a:moveTo>
                    <a:pt x="305" y="0"/>
                  </a:moveTo>
                  <a:lnTo>
                    <a:pt x="310" y="2"/>
                  </a:lnTo>
                  <a:lnTo>
                    <a:pt x="312" y="3"/>
                  </a:lnTo>
                  <a:lnTo>
                    <a:pt x="314" y="4"/>
                  </a:lnTo>
                  <a:lnTo>
                    <a:pt x="319" y="6"/>
                  </a:lnTo>
                  <a:lnTo>
                    <a:pt x="322" y="8"/>
                  </a:lnTo>
                  <a:lnTo>
                    <a:pt x="325" y="8"/>
                  </a:lnTo>
                  <a:lnTo>
                    <a:pt x="334" y="10"/>
                  </a:lnTo>
                  <a:lnTo>
                    <a:pt x="336" y="11"/>
                  </a:lnTo>
                  <a:lnTo>
                    <a:pt x="340" y="13"/>
                  </a:lnTo>
                  <a:lnTo>
                    <a:pt x="347" y="16"/>
                  </a:lnTo>
                  <a:lnTo>
                    <a:pt x="348" y="16"/>
                  </a:lnTo>
                  <a:lnTo>
                    <a:pt x="350" y="16"/>
                  </a:lnTo>
                  <a:lnTo>
                    <a:pt x="352" y="17"/>
                  </a:lnTo>
                  <a:lnTo>
                    <a:pt x="355" y="17"/>
                  </a:lnTo>
                  <a:lnTo>
                    <a:pt x="359" y="17"/>
                  </a:lnTo>
                  <a:lnTo>
                    <a:pt x="363" y="16"/>
                  </a:lnTo>
                  <a:lnTo>
                    <a:pt x="365" y="16"/>
                  </a:lnTo>
                  <a:lnTo>
                    <a:pt x="367" y="16"/>
                  </a:lnTo>
                  <a:lnTo>
                    <a:pt x="372" y="14"/>
                  </a:lnTo>
                  <a:lnTo>
                    <a:pt x="375" y="14"/>
                  </a:lnTo>
                  <a:lnTo>
                    <a:pt x="378" y="13"/>
                  </a:lnTo>
                  <a:lnTo>
                    <a:pt x="380" y="13"/>
                  </a:lnTo>
                  <a:lnTo>
                    <a:pt x="381" y="13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86" y="15"/>
                  </a:lnTo>
                  <a:lnTo>
                    <a:pt x="389" y="16"/>
                  </a:lnTo>
                  <a:lnTo>
                    <a:pt x="394" y="18"/>
                  </a:lnTo>
                  <a:lnTo>
                    <a:pt x="398" y="20"/>
                  </a:lnTo>
                  <a:lnTo>
                    <a:pt x="400" y="21"/>
                  </a:lnTo>
                  <a:lnTo>
                    <a:pt x="401" y="21"/>
                  </a:lnTo>
                  <a:lnTo>
                    <a:pt x="402" y="22"/>
                  </a:lnTo>
                  <a:lnTo>
                    <a:pt x="403" y="21"/>
                  </a:lnTo>
                  <a:lnTo>
                    <a:pt x="404" y="21"/>
                  </a:lnTo>
                  <a:lnTo>
                    <a:pt x="408" y="20"/>
                  </a:lnTo>
                  <a:lnTo>
                    <a:pt x="410" y="19"/>
                  </a:lnTo>
                  <a:lnTo>
                    <a:pt x="412" y="18"/>
                  </a:lnTo>
                  <a:lnTo>
                    <a:pt x="415" y="16"/>
                  </a:lnTo>
                  <a:lnTo>
                    <a:pt x="418" y="14"/>
                  </a:lnTo>
                  <a:lnTo>
                    <a:pt x="427" y="5"/>
                  </a:lnTo>
                  <a:lnTo>
                    <a:pt x="429" y="5"/>
                  </a:lnTo>
                  <a:lnTo>
                    <a:pt x="430" y="5"/>
                  </a:lnTo>
                  <a:lnTo>
                    <a:pt x="431" y="5"/>
                  </a:lnTo>
                  <a:lnTo>
                    <a:pt x="434" y="7"/>
                  </a:lnTo>
                  <a:lnTo>
                    <a:pt x="436" y="9"/>
                  </a:lnTo>
                  <a:lnTo>
                    <a:pt x="439" y="11"/>
                  </a:lnTo>
                  <a:lnTo>
                    <a:pt x="445" y="16"/>
                  </a:lnTo>
                  <a:lnTo>
                    <a:pt x="451" y="25"/>
                  </a:lnTo>
                  <a:lnTo>
                    <a:pt x="458" y="32"/>
                  </a:lnTo>
                  <a:lnTo>
                    <a:pt x="460" y="34"/>
                  </a:lnTo>
                  <a:lnTo>
                    <a:pt x="463" y="37"/>
                  </a:lnTo>
                  <a:lnTo>
                    <a:pt x="465" y="39"/>
                  </a:lnTo>
                  <a:lnTo>
                    <a:pt x="466" y="41"/>
                  </a:lnTo>
                  <a:lnTo>
                    <a:pt x="469" y="49"/>
                  </a:lnTo>
                  <a:lnTo>
                    <a:pt x="471" y="52"/>
                  </a:lnTo>
                  <a:lnTo>
                    <a:pt x="475" y="61"/>
                  </a:lnTo>
                  <a:lnTo>
                    <a:pt x="478" y="66"/>
                  </a:lnTo>
                  <a:lnTo>
                    <a:pt x="480" y="69"/>
                  </a:lnTo>
                  <a:lnTo>
                    <a:pt x="483" y="75"/>
                  </a:lnTo>
                  <a:lnTo>
                    <a:pt x="484" y="76"/>
                  </a:lnTo>
                  <a:lnTo>
                    <a:pt x="485" y="77"/>
                  </a:lnTo>
                  <a:lnTo>
                    <a:pt x="486" y="79"/>
                  </a:lnTo>
                  <a:lnTo>
                    <a:pt x="486" y="82"/>
                  </a:lnTo>
                  <a:lnTo>
                    <a:pt x="487" y="84"/>
                  </a:lnTo>
                  <a:lnTo>
                    <a:pt x="487" y="85"/>
                  </a:lnTo>
                  <a:lnTo>
                    <a:pt x="488" y="87"/>
                  </a:lnTo>
                  <a:lnTo>
                    <a:pt x="488" y="90"/>
                  </a:lnTo>
                  <a:lnTo>
                    <a:pt x="488" y="93"/>
                  </a:lnTo>
                  <a:lnTo>
                    <a:pt x="488" y="95"/>
                  </a:lnTo>
                  <a:lnTo>
                    <a:pt x="487" y="98"/>
                  </a:lnTo>
                  <a:lnTo>
                    <a:pt x="486" y="102"/>
                  </a:lnTo>
                  <a:lnTo>
                    <a:pt x="485" y="105"/>
                  </a:lnTo>
                  <a:lnTo>
                    <a:pt x="482" y="111"/>
                  </a:lnTo>
                  <a:lnTo>
                    <a:pt x="481" y="113"/>
                  </a:lnTo>
                  <a:lnTo>
                    <a:pt x="481" y="115"/>
                  </a:lnTo>
                  <a:lnTo>
                    <a:pt x="481" y="118"/>
                  </a:lnTo>
                  <a:lnTo>
                    <a:pt x="481" y="119"/>
                  </a:lnTo>
                  <a:lnTo>
                    <a:pt x="481" y="121"/>
                  </a:lnTo>
                  <a:lnTo>
                    <a:pt x="481" y="122"/>
                  </a:lnTo>
                  <a:lnTo>
                    <a:pt x="482" y="123"/>
                  </a:lnTo>
                  <a:lnTo>
                    <a:pt x="483" y="124"/>
                  </a:lnTo>
                  <a:lnTo>
                    <a:pt x="484" y="125"/>
                  </a:lnTo>
                  <a:lnTo>
                    <a:pt x="485" y="125"/>
                  </a:lnTo>
                  <a:lnTo>
                    <a:pt x="487" y="127"/>
                  </a:lnTo>
                  <a:lnTo>
                    <a:pt x="493" y="129"/>
                  </a:lnTo>
                  <a:lnTo>
                    <a:pt x="498" y="131"/>
                  </a:lnTo>
                  <a:lnTo>
                    <a:pt x="502" y="132"/>
                  </a:lnTo>
                  <a:lnTo>
                    <a:pt x="503" y="134"/>
                  </a:lnTo>
                  <a:lnTo>
                    <a:pt x="505" y="135"/>
                  </a:lnTo>
                  <a:lnTo>
                    <a:pt x="507" y="136"/>
                  </a:lnTo>
                  <a:lnTo>
                    <a:pt x="509" y="139"/>
                  </a:lnTo>
                  <a:lnTo>
                    <a:pt x="513" y="143"/>
                  </a:lnTo>
                  <a:lnTo>
                    <a:pt x="515" y="147"/>
                  </a:lnTo>
                  <a:lnTo>
                    <a:pt x="518" y="152"/>
                  </a:lnTo>
                  <a:lnTo>
                    <a:pt x="521" y="156"/>
                  </a:lnTo>
                  <a:lnTo>
                    <a:pt x="523" y="159"/>
                  </a:lnTo>
                  <a:lnTo>
                    <a:pt x="524" y="163"/>
                  </a:lnTo>
                  <a:lnTo>
                    <a:pt x="525" y="165"/>
                  </a:lnTo>
                  <a:lnTo>
                    <a:pt x="525" y="168"/>
                  </a:lnTo>
                  <a:lnTo>
                    <a:pt x="525" y="170"/>
                  </a:lnTo>
                  <a:lnTo>
                    <a:pt x="525" y="172"/>
                  </a:lnTo>
                  <a:lnTo>
                    <a:pt x="524" y="174"/>
                  </a:lnTo>
                  <a:lnTo>
                    <a:pt x="523" y="175"/>
                  </a:lnTo>
                  <a:lnTo>
                    <a:pt x="519" y="181"/>
                  </a:lnTo>
                  <a:lnTo>
                    <a:pt x="515" y="187"/>
                  </a:lnTo>
                  <a:lnTo>
                    <a:pt x="514" y="191"/>
                  </a:lnTo>
                  <a:lnTo>
                    <a:pt x="513" y="193"/>
                  </a:lnTo>
                  <a:lnTo>
                    <a:pt x="512" y="196"/>
                  </a:lnTo>
                  <a:lnTo>
                    <a:pt x="512" y="197"/>
                  </a:lnTo>
                  <a:lnTo>
                    <a:pt x="512" y="199"/>
                  </a:lnTo>
                  <a:lnTo>
                    <a:pt x="512" y="202"/>
                  </a:lnTo>
                  <a:lnTo>
                    <a:pt x="512" y="203"/>
                  </a:lnTo>
                  <a:lnTo>
                    <a:pt x="513" y="205"/>
                  </a:lnTo>
                  <a:lnTo>
                    <a:pt x="514" y="206"/>
                  </a:lnTo>
                  <a:lnTo>
                    <a:pt x="515" y="208"/>
                  </a:lnTo>
                  <a:lnTo>
                    <a:pt x="515" y="209"/>
                  </a:lnTo>
                  <a:lnTo>
                    <a:pt x="519" y="214"/>
                  </a:lnTo>
                  <a:lnTo>
                    <a:pt x="523" y="219"/>
                  </a:lnTo>
                  <a:lnTo>
                    <a:pt x="525" y="220"/>
                  </a:lnTo>
                  <a:lnTo>
                    <a:pt x="526" y="223"/>
                  </a:lnTo>
                  <a:lnTo>
                    <a:pt x="531" y="228"/>
                  </a:lnTo>
                  <a:lnTo>
                    <a:pt x="533" y="231"/>
                  </a:lnTo>
                  <a:lnTo>
                    <a:pt x="534" y="232"/>
                  </a:lnTo>
                  <a:lnTo>
                    <a:pt x="535" y="233"/>
                  </a:lnTo>
                  <a:lnTo>
                    <a:pt x="535" y="234"/>
                  </a:lnTo>
                  <a:lnTo>
                    <a:pt x="535" y="235"/>
                  </a:lnTo>
                  <a:lnTo>
                    <a:pt x="535" y="236"/>
                  </a:lnTo>
                  <a:lnTo>
                    <a:pt x="534" y="237"/>
                  </a:lnTo>
                  <a:lnTo>
                    <a:pt x="534" y="238"/>
                  </a:lnTo>
                  <a:lnTo>
                    <a:pt x="532" y="239"/>
                  </a:lnTo>
                  <a:lnTo>
                    <a:pt x="530" y="240"/>
                  </a:lnTo>
                  <a:lnTo>
                    <a:pt x="524" y="243"/>
                  </a:lnTo>
                  <a:lnTo>
                    <a:pt x="520" y="245"/>
                  </a:lnTo>
                  <a:lnTo>
                    <a:pt x="516" y="247"/>
                  </a:lnTo>
                  <a:lnTo>
                    <a:pt x="514" y="249"/>
                  </a:lnTo>
                  <a:lnTo>
                    <a:pt x="512" y="251"/>
                  </a:lnTo>
                  <a:lnTo>
                    <a:pt x="510" y="253"/>
                  </a:lnTo>
                  <a:lnTo>
                    <a:pt x="508" y="254"/>
                  </a:lnTo>
                  <a:lnTo>
                    <a:pt x="503" y="259"/>
                  </a:lnTo>
                  <a:lnTo>
                    <a:pt x="503" y="261"/>
                  </a:lnTo>
                  <a:lnTo>
                    <a:pt x="501" y="264"/>
                  </a:lnTo>
                  <a:lnTo>
                    <a:pt x="500" y="265"/>
                  </a:lnTo>
                  <a:lnTo>
                    <a:pt x="499" y="266"/>
                  </a:lnTo>
                  <a:lnTo>
                    <a:pt x="499" y="268"/>
                  </a:lnTo>
                  <a:lnTo>
                    <a:pt x="499" y="269"/>
                  </a:lnTo>
                  <a:lnTo>
                    <a:pt x="499" y="271"/>
                  </a:lnTo>
                  <a:lnTo>
                    <a:pt x="499" y="273"/>
                  </a:lnTo>
                  <a:lnTo>
                    <a:pt x="500" y="274"/>
                  </a:lnTo>
                  <a:lnTo>
                    <a:pt x="501" y="276"/>
                  </a:lnTo>
                  <a:lnTo>
                    <a:pt x="504" y="280"/>
                  </a:lnTo>
                  <a:lnTo>
                    <a:pt x="506" y="283"/>
                  </a:lnTo>
                  <a:lnTo>
                    <a:pt x="507" y="284"/>
                  </a:lnTo>
                  <a:lnTo>
                    <a:pt x="507" y="285"/>
                  </a:lnTo>
                  <a:lnTo>
                    <a:pt x="507" y="286"/>
                  </a:lnTo>
                  <a:lnTo>
                    <a:pt x="507" y="288"/>
                  </a:lnTo>
                  <a:lnTo>
                    <a:pt x="507" y="288"/>
                  </a:lnTo>
                  <a:lnTo>
                    <a:pt x="507" y="289"/>
                  </a:lnTo>
                  <a:lnTo>
                    <a:pt x="503" y="296"/>
                  </a:lnTo>
                  <a:lnTo>
                    <a:pt x="503" y="297"/>
                  </a:lnTo>
                  <a:lnTo>
                    <a:pt x="503" y="299"/>
                  </a:lnTo>
                  <a:lnTo>
                    <a:pt x="502" y="301"/>
                  </a:lnTo>
                  <a:lnTo>
                    <a:pt x="501" y="308"/>
                  </a:lnTo>
                  <a:lnTo>
                    <a:pt x="500" y="310"/>
                  </a:lnTo>
                  <a:lnTo>
                    <a:pt x="499" y="312"/>
                  </a:lnTo>
                  <a:lnTo>
                    <a:pt x="496" y="318"/>
                  </a:lnTo>
                  <a:lnTo>
                    <a:pt x="495" y="319"/>
                  </a:lnTo>
                  <a:lnTo>
                    <a:pt x="494" y="321"/>
                  </a:lnTo>
                  <a:lnTo>
                    <a:pt x="494" y="322"/>
                  </a:lnTo>
                  <a:lnTo>
                    <a:pt x="494" y="323"/>
                  </a:lnTo>
                  <a:lnTo>
                    <a:pt x="494" y="324"/>
                  </a:lnTo>
                  <a:lnTo>
                    <a:pt x="494" y="327"/>
                  </a:lnTo>
                  <a:lnTo>
                    <a:pt x="495" y="327"/>
                  </a:lnTo>
                  <a:lnTo>
                    <a:pt x="495" y="328"/>
                  </a:lnTo>
                  <a:lnTo>
                    <a:pt x="494" y="328"/>
                  </a:lnTo>
                  <a:lnTo>
                    <a:pt x="493" y="330"/>
                  </a:lnTo>
                  <a:lnTo>
                    <a:pt x="492" y="331"/>
                  </a:lnTo>
                  <a:lnTo>
                    <a:pt x="492" y="332"/>
                  </a:lnTo>
                  <a:lnTo>
                    <a:pt x="491" y="333"/>
                  </a:lnTo>
                  <a:lnTo>
                    <a:pt x="490" y="335"/>
                  </a:lnTo>
                  <a:lnTo>
                    <a:pt x="490" y="336"/>
                  </a:lnTo>
                  <a:lnTo>
                    <a:pt x="490" y="340"/>
                  </a:lnTo>
                  <a:lnTo>
                    <a:pt x="489" y="341"/>
                  </a:lnTo>
                  <a:lnTo>
                    <a:pt x="489" y="342"/>
                  </a:lnTo>
                  <a:lnTo>
                    <a:pt x="485" y="345"/>
                  </a:lnTo>
                  <a:lnTo>
                    <a:pt x="484" y="347"/>
                  </a:lnTo>
                  <a:lnTo>
                    <a:pt x="482" y="350"/>
                  </a:lnTo>
                  <a:lnTo>
                    <a:pt x="481" y="354"/>
                  </a:lnTo>
                  <a:lnTo>
                    <a:pt x="481" y="356"/>
                  </a:lnTo>
                  <a:lnTo>
                    <a:pt x="480" y="356"/>
                  </a:lnTo>
                  <a:lnTo>
                    <a:pt x="479" y="356"/>
                  </a:lnTo>
                  <a:lnTo>
                    <a:pt x="478" y="356"/>
                  </a:lnTo>
                  <a:lnTo>
                    <a:pt x="476" y="356"/>
                  </a:lnTo>
                  <a:lnTo>
                    <a:pt x="473" y="356"/>
                  </a:lnTo>
                  <a:lnTo>
                    <a:pt x="470" y="356"/>
                  </a:lnTo>
                  <a:lnTo>
                    <a:pt x="469" y="356"/>
                  </a:lnTo>
                  <a:lnTo>
                    <a:pt x="469" y="357"/>
                  </a:lnTo>
                  <a:lnTo>
                    <a:pt x="464" y="359"/>
                  </a:lnTo>
                  <a:lnTo>
                    <a:pt x="462" y="360"/>
                  </a:lnTo>
                  <a:lnTo>
                    <a:pt x="461" y="361"/>
                  </a:lnTo>
                  <a:lnTo>
                    <a:pt x="459" y="362"/>
                  </a:lnTo>
                  <a:lnTo>
                    <a:pt x="458" y="364"/>
                  </a:lnTo>
                  <a:lnTo>
                    <a:pt x="457" y="367"/>
                  </a:lnTo>
                  <a:lnTo>
                    <a:pt x="457" y="367"/>
                  </a:lnTo>
                  <a:lnTo>
                    <a:pt x="457" y="367"/>
                  </a:lnTo>
                  <a:lnTo>
                    <a:pt x="457" y="366"/>
                  </a:lnTo>
                  <a:lnTo>
                    <a:pt x="456" y="365"/>
                  </a:lnTo>
                  <a:lnTo>
                    <a:pt x="455" y="364"/>
                  </a:lnTo>
                  <a:lnTo>
                    <a:pt x="453" y="362"/>
                  </a:lnTo>
                  <a:lnTo>
                    <a:pt x="450" y="360"/>
                  </a:lnTo>
                  <a:lnTo>
                    <a:pt x="447" y="358"/>
                  </a:lnTo>
                  <a:lnTo>
                    <a:pt x="444" y="356"/>
                  </a:lnTo>
                  <a:lnTo>
                    <a:pt x="440" y="356"/>
                  </a:lnTo>
                  <a:lnTo>
                    <a:pt x="436" y="355"/>
                  </a:lnTo>
                  <a:lnTo>
                    <a:pt x="434" y="355"/>
                  </a:lnTo>
                  <a:lnTo>
                    <a:pt x="430" y="355"/>
                  </a:lnTo>
                  <a:lnTo>
                    <a:pt x="427" y="355"/>
                  </a:lnTo>
                  <a:lnTo>
                    <a:pt x="421" y="356"/>
                  </a:lnTo>
                  <a:lnTo>
                    <a:pt x="416" y="356"/>
                  </a:lnTo>
                  <a:lnTo>
                    <a:pt x="412" y="356"/>
                  </a:lnTo>
                  <a:lnTo>
                    <a:pt x="402" y="355"/>
                  </a:lnTo>
                  <a:lnTo>
                    <a:pt x="396" y="354"/>
                  </a:lnTo>
                  <a:lnTo>
                    <a:pt x="393" y="354"/>
                  </a:lnTo>
                  <a:lnTo>
                    <a:pt x="390" y="355"/>
                  </a:lnTo>
                  <a:lnTo>
                    <a:pt x="388" y="355"/>
                  </a:lnTo>
                  <a:lnTo>
                    <a:pt x="386" y="355"/>
                  </a:lnTo>
                  <a:lnTo>
                    <a:pt x="381" y="356"/>
                  </a:lnTo>
                  <a:lnTo>
                    <a:pt x="379" y="356"/>
                  </a:lnTo>
                  <a:lnTo>
                    <a:pt x="378" y="357"/>
                  </a:lnTo>
                  <a:lnTo>
                    <a:pt x="377" y="358"/>
                  </a:lnTo>
                  <a:lnTo>
                    <a:pt x="376" y="358"/>
                  </a:lnTo>
                  <a:lnTo>
                    <a:pt x="375" y="359"/>
                  </a:lnTo>
                  <a:lnTo>
                    <a:pt x="374" y="361"/>
                  </a:lnTo>
                  <a:lnTo>
                    <a:pt x="372" y="363"/>
                  </a:lnTo>
                  <a:lnTo>
                    <a:pt x="369" y="367"/>
                  </a:lnTo>
                  <a:lnTo>
                    <a:pt x="368" y="368"/>
                  </a:lnTo>
                  <a:lnTo>
                    <a:pt x="367" y="371"/>
                  </a:lnTo>
                  <a:lnTo>
                    <a:pt x="366" y="374"/>
                  </a:lnTo>
                  <a:lnTo>
                    <a:pt x="364" y="380"/>
                  </a:lnTo>
                  <a:lnTo>
                    <a:pt x="363" y="382"/>
                  </a:lnTo>
                  <a:lnTo>
                    <a:pt x="362" y="384"/>
                  </a:lnTo>
                  <a:lnTo>
                    <a:pt x="361" y="384"/>
                  </a:lnTo>
                  <a:lnTo>
                    <a:pt x="360" y="385"/>
                  </a:lnTo>
                  <a:lnTo>
                    <a:pt x="359" y="385"/>
                  </a:lnTo>
                  <a:lnTo>
                    <a:pt x="358" y="385"/>
                  </a:lnTo>
                  <a:lnTo>
                    <a:pt x="356" y="384"/>
                  </a:lnTo>
                  <a:lnTo>
                    <a:pt x="355" y="382"/>
                  </a:lnTo>
                  <a:lnTo>
                    <a:pt x="352" y="379"/>
                  </a:lnTo>
                  <a:lnTo>
                    <a:pt x="351" y="379"/>
                  </a:lnTo>
                  <a:lnTo>
                    <a:pt x="349" y="378"/>
                  </a:lnTo>
                  <a:lnTo>
                    <a:pt x="348" y="378"/>
                  </a:lnTo>
                  <a:lnTo>
                    <a:pt x="347" y="378"/>
                  </a:lnTo>
                  <a:lnTo>
                    <a:pt x="340" y="378"/>
                  </a:lnTo>
                  <a:lnTo>
                    <a:pt x="338" y="378"/>
                  </a:lnTo>
                  <a:lnTo>
                    <a:pt x="336" y="377"/>
                  </a:lnTo>
                  <a:lnTo>
                    <a:pt x="332" y="376"/>
                  </a:lnTo>
                  <a:lnTo>
                    <a:pt x="328" y="374"/>
                  </a:lnTo>
                  <a:lnTo>
                    <a:pt x="326" y="374"/>
                  </a:lnTo>
                  <a:lnTo>
                    <a:pt x="324" y="374"/>
                  </a:lnTo>
                  <a:lnTo>
                    <a:pt x="322" y="374"/>
                  </a:lnTo>
                  <a:lnTo>
                    <a:pt x="321" y="374"/>
                  </a:lnTo>
                  <a:lnTo>
                    <a:pt x="314" y="376"/>
                  </a:lnTo>
                  <a:lnTo>
                    <a:pt x="307" y="378"/>
                  </a:lnTo>
                  <a:lnTo>
                    <a:pt x="305" y="378"/>
                  </a:lnTo>
                  <a:lnTo>
                    <a:pt x="302" y="378"/>
                  </a:lnTo>
                  <a:lnTo>
                    <a:pt x="300" y="378"/>
                  </a:lnTo>
                  <a:lnTo>
                    <a:pt x="298" y="378"/>
                  </a:lnTo>
                  <a:lnTo>
                    <a:pt x="291" y="378"/>
                  </a:lnTo>
                  <a:lnTo>
                    <a:pt x="288" y="378"/>
                  </a:lnTo>
                  <a:lnTo>
                    <a:pt x="286" y="378"/>
                  </a:lnTo>
                  <a:lnTo>
                    <a:pt x="279" y="379"/>
                  </a:lnTo>
                  <a:lnTo>
                    <a:pt x="276" y="380"/>
                  </a:lnTo>
                  <a:lnTo>
                    <a:pt x="273" y="380"/>
                  </a:lnTo>
                  <a:lnTo>
                    <a:pt x="270" y="379"/>
                  </a:lnTo>
                  <a:lnTo>
                    <a:pt x="267" y="379"/>
                  </a:lnTo>
                  <a:lnTo>
                    <a:pt x="265" y="378"/>
                  </a:lnTo>
                  <a:lnTo>
                    <a:pt x="263" y="377"/>
                  </a:lnTo>
                  <a:lnTo>
                    <a:pt x="261" y="375"/>
                  </a:lnTo>
                  <a:lnTo>
                    <a:pt x="259" y="373"/>
                  </a:lnTo>
                  <a:lnTo>
                    <a:pt x="258" y="370"/>
                  </a:lnTo>
                  <a:lnTo>
                    <a:pt x="257" y="369"/>
                  </a:lnTo>
                  <a:lnTo>
                    <a:pt x="256" y="367"/>
                  </a:lnTo>
                  <a:lnTo>
                    <a:pt x="256" y="367"/>
                  </a:lnTo>
                  <a:lnTo>
                    <a:pt x="256" y="366"/>
                  </a:lnTo>
                  <a:lnTo>
                    <a:pt x="255" y="367"/>
                  </a:lnTo>
                  <a:lnTo>
                    <a:pt x="254" y="367"/>
                  </a:lnTo>
                  <a:lnTo>
                    <a:pt x="253" y="368"/>
                  </a:lnTo>
                  <a:lnTo>
                    <a:pt x="252" y="371"/>
                  </a:lnTo>
                  <a:lnTo>
                    <a:pt x="249" y="377"/>
                  </a:lnTo>
                  <a:lnTo>
                    <a:pt x="248" y="378"/>
                  </a:lnTo>
                  <a:lnTo>
                    <a:pt x="247" y="380"/>
                  </a:lnTo>
                  <a:lnTo>
                    <a:pt x="246" y="381"/>
                  </a:lnTo>
                  <a:lnTo>
                    <a:pt x="245" y="382"/>
                  </a:lnTo>
                  <a:lnTo>
                    <a:pt x="243" y="383"/>
                  </a:lnTo>
                  <a:lnTo>
                    <a:pt x="242" y="384"/>
                  </a:lnTo>
                  <a:lnTo>
                    <a:pt x="240" y="385"/>
                  </a:lnTo>
                  <a:lnTo>
                    <a:pt x="237" y="386"/>
                  </a:lnTo>
                  <a:lnTo>
                    <a:pt x="235" y="387"/>
                  </a:lnTo>
                  <a:lnTo>
                    <a:pt x="230" y="388"/>
                  </a:lnTo>
                  <a:lnTo>
                    <a:pt x="226" y="389"/>
                  </a:lnTo>
                  <a:lnTo>
                    <a:pt x="221" y="390"/>
                  </a:lnTo>
                  <a:lnTo>
                    <a:pt x="217" y="391"/>
                  </a:lnTo>
                  <a:lnTo>
                    <a:pt x="211" y="393"/>
                  </a:lnTo>
                  <a:lnTo>
                    <a:pt x="208" y="395"/>
                  </a:lnTo>
                  <a:lnTo>
                    <a:pt x="207" y="396"/>
                  </a:lnTo>
                  <a:lnTo>
                    <a:pt x="204" y="399"/>
                  </a:lnTo>
                  <a:lnTo>
                    <a:pt x="200" y="401"/>
                  </a:lnTo>
                  <a:lnTo>
                    <a:pt x="198" y="403"/>
                  </a:lnTo>
                  <a:lnTo>
                    <a:pt x="192" y="408"/>
                  </a:lnTo>
                  <a:lnTo>
                    <a:pt x="190" y="409"/>
                  </a:lnTo>
                  <a:lnTo>
                    <a:pt x="188" y="409"/>
                  </a:lnTo>
                  <a:lnTo>
                    <a:pt x="185" y="410"/>
                  </a:lnTo>
                  <a:lnTo>
                    <a:pt x="183" y="411"/>
                  </a:lnTo>
                  <a:lnTo>
                    <a:pt x="181" y="411"/>
                  </a:lnTo>
                  <a:lnTo>
                    <a:pt x="178" y="411"/>
                  </a:lnTo>
                  <a:lnTo>
                    <a:pt x="176" y="411"/>
                  </a:lnTo>
                  <a:lnTo>
                    <a:pt x="174" y="410"/>
                  </a:lnTo>
                  <a:lnTo>
                    <a:pt x="174" y="409"/>
                  </a:lnTo>
                  <a:lnTo>
                    <a:pt x="172" y="408"/>
                  </a:lnTo>
                  <a:lnTo>
                    <a:pt x="164" y="402"/>
                  </a:lnTo>
                  <a:lnTo>
                    <a:pt x="163" y="401"/>
                  </a:lnTo>
                  <a:lnTo>
                    <a:pt x="162" y="401"/>
                  </a:lnTo>
                  <a:lnTo>
                    <a:pt x="161" y="401"/>
                  </a:lnTo>
                  <a:lnTo>
                    <a:pt x="160" y="401"/>
                  </a:lnTo>
                  <a:lnTo>
                    <a:pt x="159" y="401"/>
                  </a:lnTo>
                  <a:lnTo>
                    <a:pt x="155" y="401"/>
                  </a:lnTo>
                  <a:lnTo>
                    <a:pt x="152" y="401"/>
                  </a:lnTo>
                  <a:lnTo>
                    <a:pt x="151" y="401"/>
                  </a:lnTo>
                  <a:lnTo>
                    <a:pt x="149" y="400"/>
                  </a:lnTo>
                  <a:lnTo>
                    <a:pt x="146" y="399"/>
                  </a:lnTo>
                  <a:lnTo>
                    <a:pt x="137" y="395"/>
                  </a:lnTo>
                  <a:lnTo>
                    <a:pt x="120" y="389"/>
                  </a:lnTo>
                  <a:lnTo>
                    <a:pt x="117" y="388"/>
                  </a:lnTo>
                  <a:lnTo>
                    <a:pt x="116" y="387"/>
                  </a:lnTo>
                  <a:lnTo>
                    <a:pt x="115" y="386"/>
                  </a:lnTo>
                  <a:lnTo>
                    <a:pt x="114" y="386"/>
                  </a:lnTo>
                  <a:lnTo>
                    <a:pt x="114" y="385"/>
                  </a:lnTo>
                  <a:lnTo>
                    <a:pt x="113" y="383"/>
                  </a:lnTo>
                  <a:lnTo>
                    <a:pt x="111" y="381"/>
                  </a:lnTo>
                  <a:lnTo>
                    <a:pt x="109" y="380"/>
                  </a:lnTo>
                  <a:lnTo>
                    <a:pt x="107" y="378"/>
                  </a:lnTo>
                  <a:lnTo>
                    <a:pt x="105" y="378"/>
                  </a:lnTo>
                  <a:lnTo>
                    <a:pt x="99" y="374"/>
                  </a:lnTo>
                  <a:lnTo>
                    <a:pt x="96" y="373"/>
                  </a:lnTo>
                  <a:lnTo>
                    <a:pt x="94" y="372"/>
                  </a:lnTo>
                  <a:lnTo>
                    <a:pt x="94" y="370"/>
                  </a:lnTo>
                  <a:lnTo>
                    <a:pt x="92" y="369"/>
                  </a:lnTo>
                  <a:lnTo>
                    <a:pt x="90" y="367"/>
                  </a:lnTo>
                  <a:lnTo>
                    <a:pt x="88" y="363"/>
                  </a:lnTo>
                  <a:lnTo>
                    <a:pt x="87" y="361"/>
                  </a:lnTo>
                  <a:lnTo>
                    <a:pt x="86" y="359"/>
                  </a:lnTo>
                  <a:lnTo>
                    <a:pt x="86" y="357"/>
                  </a:lnTo>
                  <a:lnTo>
                    <a:pt x="86" y="356"/>
                  </a:lnTo>
                  <a:lnTo>
                    <a:pt x="86" y="350"/>
                  </a:lnTo>
                  <a:lnTo>
                    <a:pt x="85" y="348"/>
                  </a:lnTo>
                  <a:lnTo>
                    <a:pt x="85" y="344"/>
                  </a:lnTo>
                  <a:lnTo>
                    <a:pt x="84" y="343"/>
                  </a:lnTo>
                  <a:lnTo>
                    <a:pt x="84" y="341"/>
                  </a:lnTo>
                  <a:lnTo>
                    <a:pt x="85" y="338"/>
                  </a:lnTo>
                  <a:lnTo>
                    <a:pt x="86" y="332"/>
                  </a:lnTo>
                  <a:lnTo>
                    <a:pt x="87" y="325"/>
                  </a:lnTo>
                  <a:lnTo>
                    <a:pt x="88" y="320"/>
                  </a:lnTo>
                  <a:lnTo>
                    <a:pt x="89" y="317"/>
                  </a:lnTo>
                  <a:lnTo>
                    <a:pt x="89" y="315"/>
                  </a:lnTo>
                  <a:lnTo>
                    <a:pt x="89" y="313"/>
                  </a:lnTo>
                  <a:lnTo>
                    <a:pt x="88" y="311"/>
                  </a:lnTo>
                  <a:lnTo>
                    <a:pt x="87" y="308"/>
                  </a:lnTo>
                  <a:lnTo>
                    <a:pt x="86" y="306"/>
                  </a:lnTo>
                  <a:lnTo>
                    <a:pt x="86" y="304"/>
                  </a:lnTo>
                  <a:lnTo>
                    <a:pt x="85" y="302"/>
                  </a:lnTo>
                  <a:lnTo>
                    <a:pt x="84" y="300"/>
                  </a:lnTo>
                  <a:lnTo>
                    <a:pt x="83" y="299"/>
                  </a:lnTo>
                  <a:lnTo>
                    <a:pt x="82" y="298"/>
                  </a:lnTo>
                  <a:lnTo>
                    <a:pt x="81" y="297"/>
                  </a:lnTo>
                  <a:lnTo>
                    <a:pt x="79" y="296"/>
                  </a:lnTo>
                  <a:lnTo>
                    <a:pt x="78" y="295"/>
                  </a:lnTo>
                  <a:lnTo>
                    <a:pt x="76" y="294"/>
                  </a:lnTo>
                  <a:lnTo>
                    <a:pt x="67" y="291"/>
                  </a:lnTo>
                  <a:lnTo>
                    <a:pt x="65" y="290"/>
                  </a:lnTo>
                  <a:lnTo>
                    <a:pt x="62" y="288"/>
                  </a:lnTo>
                  <a:lnTo>
                    <a:pt x="60" y="288"/>
                  </a:lnTo>
                  <a:lnTo>
                    <a:pt x="52" y="283"/>
                  </a:lnTo>
                  <a:lnTo>
                    <a:pt x="39" y="276"/>
                  </a:lnTo>
                  <a:lnTo>
                    <a:pt x="35" y="273"/>
                  </a:lnTo>
                  <a:lnTo>
                    <a:pt x="32" y="271"/>
                  </a:lnTo>
                  <a:lnTo>
                    <a:pt x="29" y="268"/>
                  </a:lnTo>
                  <a:lnTo>
                    <a:pt x="26" y="266"/>
                  </a:lnTo>
                  <a:lnTo>
                    <a:pt x="25" y="264"/>
                  </a:lnTo>
                  <a:lnTo>
                    <a:pt x="23" y="262"/>
                  </a:lnTo>
                  <a:lnTo>
                    <a:pt x="20" y="257"/>
                  </a:lnTo>
                  <a:lnTo>
                    <a:pt x="16" y="252"/>
                  </a:lnTo>
                  <a:lnTo>
                    <a:pt x="11" y="243"/>
                  </a:lnTo>
                  <a:lnTo>
                    <a:pt x="6" y="236"/>
                  </a:lnTo>
                  <a:lnTo>
                    <a:pt x="4" y="232"/>
                  </a:lnTo>
                  <a:lnTo>
                    <a:pt x="3" y="231"/>
                  </a:lnTo>
                  <a:lnTo>
                    <a:pt x="3" y="228"/>
                  </a:lnTo>
                  <a:lnTo>
                    <a:pt x="2" y="226"/>
                  </a:lnTo>
                  <a:lnTo>
                    <a:pt x="1" y="224"/>
                  </a:lnTo>
                  <a:lnTo>
                    <a:pt x="1" y="222"/>
                  </a:lnTo>
                  <a:lnTo>
                    <a:pt x="1" y="220"/>
                  </a:lnTo>
                  <a:lnTo>
                    <a:pt x="0" y="218"/>
                  </a:lnTo>
                  <a:lnTo>
                    <a:pt x="0" y="216"/>
                  </a:lnTo>
                  <a:lnTo>
                    <a:pt x="0" y="213"/>
                  </a:lnTo>
                  <a:lnTo>
                    <a:pt x="1" y="211"/>
                  </a:lnTo>
                  <a:lnTo>
                    <a:pt x="1" y="209"/>
                  </a:lnTo>
                  <a:lnTo>
                    <a:pt x="2" y="207"/>
                  </a:lnTo>
                  <a:lnTo>
                    <a:pt x="3" y="205"/>
                  </a:lnTo>
                  <a:lnTo>
                    <a:pt x="3" y="203"/>
                  </a:lnTo>
                  <a:lnTo>
                    <a:pt x="5" y="201"/>
                  </a:lnTo>
                  <a:lnTo>
                    <a:pt x="7" y="199"/>
                  </a:lnTo>
                  <a:lnTo>
                    <a:pt x="9" y="198"/>
                  </a:lnTo>
                  <a:lnTo>
                    <a:pt x="11" y="196"/>
                  </a:lnTo>
                  <a:lnTo>
                    <a:pt x="15" y="193"/>
                  </a:lnTo>
                  <a:lnTo>
                    <a:pt x="21" y="189"/>
                  </a:lnTo>
                  <a:lnTo>
                    <a:pt x="34" y="181"/>
                  </a:lnTo>
                  <a:lnTo>
                    <a:pt x="37" y="179"/>
                  </a:lnTo>
                  <a:lnTo>
                    <a:pt x="39" y="177"/>
                  </a:lnTo>
                  <a:lnTo>
                    <a:pt x="41" y="175"/>
                  </a:lnTo>
                  <a:lnTo>
                    <a:pt x="43" y="174"/>
                  </a:lnTo>
                  <a:lnTo>
                    <a:pt x="45" y="172"/>
                  </a:lnTo>
                  <a:lnTo>
                    <a:pt x="46" y="171"/>
                  </a:lnTo>
                  <a:lnTo>
                    <a:pt x="47" y="169"/>
                  </a:lnTo>
                  <a:lnTo>
                    <a:pt x="48" y="168"/>
                  </a:lnTo>
                  <a:lnTo>
                    <a:pt x="48" y="166"/>
                  </a:lnTo>
                  <a:lnTo>
                    <a:pt x="49" y="164"/>
                  </a:lnTo>
                  <a:lnTo>
                    <a:pt x="49" y="157"/>
                  </a:lnTo>
                  <a:lnTo>
                    <a:pt x="51" y="148"/>
                  </a:lnTo>
                  <a:lnTo>
                    <a:pt x="52" y="143"/>
                  </a:lnTo>
                  <a:lnTo>
                    <a:pt x="57" y="126"/>
                  </a:lnTo>
                  <a:lnTo>
                    <a:pt x="58" y="123"/>
                  </a:lnTo>
                  <a:lnTo>
                    <a:pt x="59" y="119"/>
                  </a:lnTo>
                  <a:lnTo>
                    <a:pt x="60" y="117"/>
                  </a:lnTo>
                  <a:lnTo>
                    <a:pt x="62" y="115"/>
                  </a:lnTo>
                  <a:lnTo>
                    <a:pt x="64" y="113"/>
                  </a:lnTo>
                  <a:lnTo>
                    <a:pt x="69" y="109"/>
                  </a:lnTo>
                  <a:lnTo>
                    <a:pt x="71" y="107"/>
                  </a:lnTo>
                  <a:lnTo>
                    <a:pt x="71" y="107"/>
                  </a:lnTo>
                  <a:lnTo>
                    <a:pt x="73" y="103"/>
                  </a:lnTo>
                  <a:lnTo>
                    <a:pt x="77" y="95"/>
                  </a:lnTo>
                  <a:lnTo>
                    <a:pt x="79" y="93"/>
                  </a:lnTo>
                  <a:lnTo>
                    <a:pt x="83" y="87"/>
                  </a:lnTo>
                  <a:lnTo>
                    <a:pt x="85" y="84"/>
                  </a:lnTo>
                  <a:lnTo>
                    <a:pt x="87" y="80"/>
                  </a:lnTo>
                  <a:lnTo>
                    <a:pt x="94" y="68"/>
                  </a:lnTo>
                  <a:lnTo>
                    <a:pt x="97" y="62"/>
                  </a:lnTo>
                  <a:lnTo>
                    <a:pt x="99" y="59"/>
                  </a:lnTo>
                  <a:lnTo>
                    <a:pt x="103" y="54"/>
                  </a:lnTo>
                  <a:lnTo>
                    <a:pt x="105" y="50"/>
                  </a:lnTo>
                  <a:lnTo>
                    <a:pt x="112" y="42"/>
                  </a:lnTo>
                  <a:lnTo>
                    <a:pt x="115" y="39"/>
                  </a:lnTo>
                  <a:lnTo>
                    <a:pt x="117" y="37"/>
                  </a:lnTo>
                  <a:lnTo>
                    <a:pt x="117" y="36"/>
                  </a:lnTo>
                  <a:lnTo>
                    <a:pt x="121" y="37"/>
                  </a:lnTo>
                  <a:lnTo>
                    <a:pt x="131" y="39"/>
                  </a:lnTo>
                  <a:lnTo>
                    <a:pt x="143" y="43"/>
                  </a:lnTo>
                  <a:lnTo>
                    <a:pt x="147" y="44"/>
                  </a:lnTo>
                  <a:lnTo>
                    <a:pt x="149" y="44"/>
                  </a:lnTo>
                  <a:lnTo>
                    <a:pt x="150" y="44"/>
                  </a:lnTo>
                  <a:lnTo>
                    <a:pt x="152" y="43"/>
                  </a:lnTo>
                  <a:lnTo>
                    <a:pt x="154" y="43"/>
                  </a:lnTo>
                  <a:lnTo>
                    <a:pt x="156" y="42"/>
                  </a:lnTo>
                  <a:lnTo>
                    <a:pt x="158" y="41"/>
                  </a:lnTo>
                  <a:lnTo>
                    <a:pt x="161" y="39"/>
                  </a:lnTo>
                  <a:lnTo>
                    <a:pt x="164" y="36"/>
                  </a:lnTo>
                  <a:lnTo>
                    <a:pt x="167" y="34"/>
                  </a:lnTo>
                  <a:lnTo>
                    <a:pt x="170" y="33"/>
                  </a:lnTo>
                  <a:lnTo>
                    <a:pt x="173" y="31"/>
                  </a:lnTo>
                  <a:lnTo>
                    <a:pt x="176" y="30"/>
                  </a:lnTo>
                  <a:lnTo>
                    <a:pt x="179" y="29"/>
                  </a:lnTo>
                  <a:lnTo>
                    <a:pt x="183" y="29"/>
                  </a:lnTo>
                  <a:lnTo>
                    <a:pt x="185" y="29"/>
                  </a:lnTo>
                  <a:lnTo>
                    <a:pt x="187" y="29"/>
                  </a:lnTo>
                  <a:lnTo>
                    <a:pt x="190" y="30"/>
                  </a:lnTo>
                  <a:lnTo>
                    <a:pt x="193" y="31"/>
                  </a:lnTo>
                  <a:lnTo>
                    <a:pt x="196" y="32"/>
                  </a:lnTo>
                  <a:lnTo>
                    <a:pt x="197" y="33"/>
                  </a:lnTo>
                  <a:lnTo>
                    <a:pt x="199" y="35"/>
                  </a:lnTo>
                  <a:lnTo>
                    <a:pt x="202" y="38"/>
                  </a:lnTo>
                  <a:lnTo>
                    <a:pt x="204" y="39"/>
                  </a:lnTo>
                  <a:lnTo>
                    <a:pt x="208" y="45"/>
                  </a:lnTo>
                  <a:lnTo>
                    <a:pt x="209" y="46"/>
                  </a:lnTo>
                  <a:lnTo>
                    <a:pt x="210" y="47"/>
                  </a:lnTo>
                  <a:lnTo>
                    <a:pt x="210" y="48"/>
                  </a:lnTo>
                  <a:lnTo>
                    <a:pt x="211" y="48"/>
                  </a:lnTo>
                  <a:lnTo>
                    <a:pt x="212" y="48"/>
                  </a:lnTo>
                  <a:lnTo>
                    <a:pt x="213" y="48"/>
                  </a:lnTo>
                  <a:lnTo>
                    <a:pt x="213" y="47"/>
                  </a:lnTo>
                  <a:lnTo>
                    <a:pt x="214" y="46"/>
                  </a:lnTo>
                  <a:lnTo>
                    <a:pt x="215" y="45"/>
                  </a:lnTo>
                  <a:lnTo>
                    <a:pt x="216" y="41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9" y="37"/>
                  </a:lnTo>
                  <a:lnTo>
                    <a:pt x="220" y="36"/>
                  </a:lnTo>
                  <a:lnTo>
                    <a:pt x="223" y="34"/>
                  </a:lnTo>
                  <a:lnTo>
                    <a:pt x="225" y="33"/>
                  </a:lnTo>
                  <a:lnTo>
                    <a:pt x="230" y="29"/>
                  </a:lnTo>
                  <a:lnTo>
                    <a:pt x="233" y="28"/>
                  </a:lnTo>
                  <a:lnTo>
                    <a:pt x="234" y="27"/>
                  </a:lnTo>
                  <a:lnTo>
                    <a:pt x="235" y="26"/>
                  </a:lnTo>
                  <a:lnTo>
                    <a:pt x="238" y="22"/>
                  </a:lnTo>
                  <a:lnTo>
                    <a:pt x="239" y="21"/>
                  </a:lnTo>
                  <a:lnTo>
                    <a:pt x="240" y="20"/>
                  </a:lnTo>
                  <a:lnTo>
                    <a:pt x="242" y="19"/>
                  </a:lnTo>
                  <a:lnTo>
                    <a:pt x="242" y="18"/>
                  </a:lnTo>
                  <a:lnTo>
                    <a:pt x="244" y="18"/>
                  </a:lnTo>
                  <a:lnTo>
                    <a:pt x="250" y="16"/>
                  </a:lnTo>
                  <a:lnTo>
                    <a:pt x="253" y="16"/>
                  </a:lnTo>
                  <a:lnTo>
                    <a:pt x="256" y="15"/>
                  </a:lnTo>
                  <a:lnTo>
                    <a:pt x="263" y="12"/>
                  </a:lnTo>
                  <a:lnTo>
                    <a:pt x="265" y="11"/>
                  </a:lnTo>
                  <a:lnTo>
                    <a:pt x="269" y="10"/>
                  </a:lnTo>
                  <a:lnTo>
                    <a:pt x="277" y="9"/>
                  </a:lnTo>
                  <a:lnTo>
                    <a:pt x="287" y="8"/>
                  </a:lnTo>
                  <a:lnTo>
                    <a:pt x="288" y="7"/>
                  </a:lnTo>
                  <a:lnTo>
                    <a:pt x="290" y="7"/>
                  </a:lnTo>
                  <a:lnTo>
                    <a:pt x="293" y="6"/>
                  </a:lnTo>
                  <a:lnTo>
                    <a:pt x="298" y="4"/>
                  </a:lnTo>
                  <a:lnTo>
                    <a:pt x="300" y="2"/>
                  </a:lnTo>
                  <a:lnTo>
                    <a:pt x="303" y="0"/>
                  </a:lnTo>
                  <a:lnTo>
                    <a:pt x="304" y="0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5" name="Freeform 32">
              <a:extLst>
                <a:ext uri="{FF2B5EF4-FFF2-40B4-BE49-F238E27FC236}">
                  <a16:creationId xmlns:a16="http://schemas.microsoft.com/office/drawing/2014/main" id="{E8139EB4-A242-42F3-A2E3-8401528A0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" y="1803"/>
              <a:ext cx="649" cy="518"/>
            </a:xfrm>
            <a:custGeom>
              <a:avLst/>
              <a:gdLst>
                <a:gd name="T0" fmla="*/ 47 w 649"/>
                <a:gd name="T1" fmla="*/ 2 h 518"/>
                <a:gd name="T2" fmla="*/ 72 w 649"/>
                <a:gd name="T3" fmla="*/ 17 h 518"/>
                <a:gd name="T4" fmla="*/ 86 w 649"/>
                <a:gd name="T5" fmla="*/ 58 h 518"/>
                <a:gd name="T6" fmla="*/ 119 w 649"/>
                <a:gd name="T7" fmla="*/ 77 h 518"/>
                <a:gd name="T8" fmla="*/ 113 w 649"/>
                <a:gd name="T9" fmla="*/ 91 h 518"/>
                <a:gd name="T10" fmla="*/ 135 w 649"/>
                <a:gd name="T11" fmla="*/ 119 h 518"/>
                <a:gd name="T12" fmla="*/ 136 w 649"/>
                <a:gd name="T13" fmla="*/ 157 h 518"/>
                <a:gd name="T14" fmla="*/ 151 w 649"/>
                <a:gd name="T15" fmla="*/ 180 h 518"/>
                <a:gd name="T16" fmla="*/ 173 w 649"/>
                <a:gd name="T17" fmla="*/ 165 h 518"/>
                <a:gd name="T18" fmla="*/ 176 w 649"/>
                <a:gd name="T19" fmla="*/ 112 h 518"/>
                <a:gd name="T20" fmla="*/ 190 w 649"/>
                <a:gd name="T21" fmla="*/ 101 h 518"/>
                <a:gd name="T22" fmla="*/ 201 w 649"/>
                <a:gd name="T23" fmla="*/ 67 h 518"/>
                <a:gd name="T24" fmla="*/ 239 w 649"/>
                <a:gd name="T25" fmla="*/ 67 h 518"/>
                <a:gd name="T26" fmla="*/ 275 w 649"/>
                <a:gd name="T27" fmla="*/ 86 h 518"/>
                <a:gd name="T28" fmla="*/ 302 w 649"/>
                <a:gd name="T29" fmla="*/ 154 h 518"/>
                <a:gd name="T30" fmla="*/ 301 w 649"/>
                <a:gd name="T31" fmla="*/ 183 h 518"/>
                <a:gd name="T32" fmla="*/ 300 w 649"/>
                <a:gd name="T33" fmla="*/ 204 h 518"/>
                <a:gd name="T34" fmla="*/ 288 w 649"/>
                <a:gd name="T35" fmla="*/ 247 h 518"/>
                <a:gd name="T36" fmla="*/ 313 w 649"/>
                <a:gd name="T37" fmla="*/ 266 h 518"/>
                <a:gd name="T38" fmla="*/ 346 w 649"/>
                <a:gd name="T39" fmla="*/ 297 h 518"/>
                <a:gd name="T40" fmla="*/ 359 w 649"/>
                <a:gd name="T41" fmla="*/ 320 h 518"/>
                <a:gd name="T42" fmla="*/ 390 w 649"/>
                <a:gd name="T43" fmla="*/ 330 h 518"/>
                <a:gd name="T44" fmla="*/ 410 w 649"/>
                <a:gd name="T45" fmla="*/ 313 h 518"/>
                <a:gd name="T46" fmla="*/ 430 w 649"/>
                <a:gd name="T47" fmla="*/ 323 h 518"/>
                <a:gd name="T48" fmla="*/ 459 w 649"/>
                <a:gd name="T49" fmla="*/ 310 h 518"/>
                <a:gd name="T50" fmla="*/ 502 w 649"/>
                <a:gd name="T51" fmla="*/ 334 h 518"/>
                <a:gd name="T52" fmla="*/ 539 w 649"/>
                <a:gd name="T53" fmla="*/ 352 h 518"/>
                <a:gd name="T54" fmla="*/ 575 w 649"/>
                <a:gd name="T55" fmla="*/ 380 h 518"/>
                <a:gd name="T56" fmla="*/ 618 w 649"/>
                <a:gd name="T57" fmla="*/ 389 h 518"/>
                <a:gd name="T58" fmla="*/ 629 w 649"/>
                <a:gd name="T59" fmla="*/ 411 h 518"/>
                <a:gd name="T60" fmla="*/ 617 w 649"/>
                <a:gd name="T61" fmla="*/ 432 h 518"/>
                <a:gd name="T62" fmla="*/ 638 w 649"/>
                <a:gd name="T63" fmla="*/ 435 h 518"/>
                <a:gd name="T64" fmla="*/ 648 w 649"/>
                <a:gd name="T65" fmla="*/ 456 h 518"/>
                <a:gd name="T66" fmla="*/ 646 w 649"/>
                <a:gd name="T67" fmla="*/ 468 h 518"/>
                <a:gd name="T68" fmla="*/ 615 w 649"/>
                <a:gd name="T69" fmla="*/ 491 h 518"/>
                <a:gd name="T70" fmla="*/ 590 w 649"/>
                <a:gd name="T71" fmla="*/ 483 h 518"/>
                <a:gd name="T72" fmla="*/ 552 w 649"/>
                <a:gd name="T73" fmla="*/ 483 h 518"/>
                <a:gd name="T74" fmla="*/ 512 w 649"/>
                <a:gd name="T75" fmla="*/ 472 h 518"/>
                <a:gd name="T76" fmla="*/ 462 w 649"/>
                <a:gd name="T77" fmla="*/ 486 h 518"/>
                <a:gd name="T78" fmla="*/ 435 w 649"/>
                <a:gd name="T79" fmla="*/ 504 h 518"/>
                <a:gd name="T80" fmla="*/ 422 w 649"/>
                <a:gd name="T81" fmla="*/ 518 h 518"/>
                <a:gd name="T82" fmla="*/ 397 w 649"/>
                <a:gd name="T83" fmla="*/ 499 h 518"/>
                <a:gd name="T84" fmla="*/ 364 w 649"/>
                <a:gd name="T85" fmla="*/ 513 h 518"/>
                <a:gd name="T86" fmla="*/ 326 w 649"/>
                <a:gd name="T87" fmla="*/ 497 h 518"/>
                <a:gd name="T88" fmla="*/ 279 w 649"/>
                <a:gd name="T89" fmla="*/ 463 h 518"/>
                <a:gd name="T90" fmla="*/ 282 w 649"/>
                <a:gd name="T91" fmla="*/ 439 h 518"/>
                <a:gd name="T92" fmla="*/ 281 w 649"/>
                <a:gd name="T93" fmla="*/ 416 h 518"/>
                <a:gd name="T94" fmla="*/ 247 w 649"/>
                <a:gd name="T95" fmla="*/ 402 h 518"/>
                <a:gd name="T96" fmla="*/ 216 w 649"/>
                <a:gd name="T97" fmla="*/ 376 h 518"/>
                <a:gd name="T98" fmla="*/ 174 w 649"/>
                <a:gd name="T99" fmla="*/ 347 h 518"/>
                <a:gd name="T100" fmla="*/ 146 w 649"/>
                <a:gd name="T101" fmla="*/ 323 h 518"/>
                <a:gd name="T102" fmla="*/ 119 w 649"/>
                <a:gd name="T103" fmla="*/ 307 h 518"/>
                <a:gd name="T104" fmla="*/ 103 w 649"/>
                <a:gd name="T105" fmla="*/ 275 h 518"/>
                <a:gd name="T106" fmla="*/ 75 w 649"/>
                <a:gd name="T107" fmla="*/ 254 h 518"/>
                <a:gd name="T108" fmla="*/ 74 w 649"/>
                <a:gd name="T109" fmla="*/ 204 h 518"/>
                <a:gd name="T110" fmla="*/ 70 w 649"/>
                <a:gd name="T111" fmla="*/ 156 h 518"/>
                <a:gd name="T112" fmla="*/ 41 w 649"/>
                <a:gd name="T113" fmla="*/ 117 h 518"/>
                <a:gd name="T114" fmla="*/ 10 w 649"/>
                <a:gd name="T115" fmla="*/ 98 h 518"/>
                <a:gd name="T116" fmla="*/ 1 w 649"/>
                <a:gd name="T117" fmla="*/ 78 h 518"/>
                <a:gd name="T118" fmla="*/ 25 w 649"/>
                <a:gd name="T119" fmla="*/ 53 h 518"/>
                <a:gd name="T120" fmla="*/ 14 w 649"/>
                <a:gd name="T121" fmla="*/ 1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49" h="518">
                  <a:moveTo>
                    <a:pt x="10" y="1"/>
                  </a:moveTo>
                  <a:lnTo>
                    <a:pt x="10" y="2"/>
                  </a:lnTo>
                  <a:lnTo>
                    <a:pt x="11" y="2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8" y="4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37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7" y="2"/>
                  </a:lnTo>
                  <a:lnTo>
                    <a:pt x="51" y="2"/>
                  </a:lnTo>
                  <a:lnTo>
                    <a:pt x="54" y="3"/>
                  </a:lnTo>
                  <a:lnTo>
                    <a:pt x="56" y="3"/>
                  </a:lnTo>
                  <a:lnTo>
                    <a:pt x="57" y="4"/>
                  </a:lnTo>
                  <a:lnTo>
                    <a:pt x="59" y="5"/>
                  </a:lnTo>
                  <a:lnTo>
                    <a:pt x="61" y="6"/>
                  </a:lnTo>
                  <a:lnTo>
                    <a:pt x="63" y="7"/>
                  </a:lnTo>
                  <a:lnTo>
                    <a:pt x="64" y="8"/>
                  </a:lnTo>
                  <a:lnTo>
                    <a:pt x="66" y="9"/>
                  </a:lnTo>
                  <a:lnTo>
                    <a:pt x="67" y="11"/>
                  </a:lnTo>
                  <a:lnTo>
                    <a:pt x="70" y="14"/>
                  </a:lnTo>
                  <a:lnTo>
                    <a:pt x="72" y="17"/>
                  </a:lnTo>
                  <a:lnTo>
                    <a:pt x="73" y="20"/>
                  </a:lnTo>
                  <a:lnTo>
                    <a:pt x="75" y="22"/>
                  </a:lnTo>
                  <a:lnTo>
                    <a:pt x="75" y="24"/>
                  </a:lnTo>
                  <a:lnTo>
                    <a:pt x="76" y="26"/>
                  </a:lnTo>
                  <a:lnTo>
                    <a:pt x="77" y="35"/>
                  </a:lnTo>
                  <a:lnTo>
                    <a:pt x="78" y="38"/>
                  </a:lnTo>
                  <a:lnTo>
                    <a:pt x="79" y="45"/>
                  </a:lnTo>
                  <a:lnTo>
                    <a:pt x="80" y="49"/>
                  </a:lnTo>
                  <a:lnTo>
                    <a:pt x="81" y="52"/>
                  </a:lnTo>
                  <a:lnTo>
                    <a:pt x="83" y="55"/>
                  </a:lnTo>
                  <a:lnTo>
                    <a:pt x="84" y="56"/>
                  </a:lnTo>
                  <a:lnTo>
                    <a:pt x="86" y="58"/>
                  </a:lnTo>
                  <a:lnTo>
                    <a:pt x="88" y="59"/>
                  </a:lnTo>
                  <a:lnTo>
                    <a:pt x="90" y="61"/>
                  </a:lnTo>
                  <a:lnTo>
                    <a:pt x="92" y="62"/>
                  </a:lnTo>
                  <a:lnTo>
                    <a:pt x="94" y="63"/>
                  </a:lnTo>
                  <a:lnTo>
                    <a:pt x="96" y="64"/>
                  </a:lnTo>
                  <a:lnTo>
                    <a:pt x="110" y="68"/>
                  </a:lnTo>
                  <a:lnTo>
                    <a:pt x="112" y="69"/>
                  </a:lnTo>
                  <a:lnTo>
                    <a:pt x="113" y="70"/>
                  </a:lnTo>
                  <a:lnTo>
                    <a:pt x="115" y="71"/>
                  </a:lnTo>
                  <a:lnTo>
                    <a:pt x="116" y="73"/>
                  </a:lnTo>
                  <a:lnTo>
                    <a:pt x="118" y="74"/>
                  </a:lnTo>
                  <a:lnTo>
                    <a:pt x="119" y="77"/>
                  </a:lnTo>
                  <a:lnTo>
                    <a:pt x="120" y="78"/>
                  </a:lnTo>
                  <a:lnTo>
                    <a:pt x="121" y="79"/>
                  </a:lnTo>
                  <a:lnTo>
                    <a:pt x="121" y="81"/>
                  </a:lnTo>
                  <a:lnTo>
                    <a:pt x="121" y="83"/>
                  </a:lnTo>
                  <a:lnTo>
                    <a:pt x="120" y="84"/>
                  </a:lnTo>
                  <a:lnTo>
                    <a:pt x="119" y="85"/>
                  </a:lnTo>
                  <a:lnTo>
                    <a:pt x="118" y="85"/>
                  </a:lnTo>
                  <a:lnTo>
                    <a:pt x="116" y="87"/>
                  </a:lnTo>
                  <a:lnTo>
                    <a:pt x="115" y="88"/>
                  </a:lnTo>
                  <a:lnTo>
                    <a:pt x="114" y="89"/>
                  </a:lnTo>
                  <a:lnTo>
                    <a:pt x="113" y="89"/>
                  </a:lnTo>
                  <a:lnTo>
                    <a:pt x="113" y="91"/>
                  </a:lnTo>
                  <a:lnTo>
                    <a:pt x="113" y="92"/>
                  </a:lnTo>
                  <a:lnTo>
                    <a:pt x="113" y="94"/>
                  </a:lnTo>
                  <a:lnTo>
                    <a:pt x="114" y="96"/>
                  </a:lnTo>
                  <a:lnTo>
                    <a:pt x="115" y="98"/>
                  </a:lnTo>
                  <a:lnTo>
                    <a:pt x="117" y="101"/>
                  </a:lnTo>
                  <a:lnTo>
                    <a:pt x="119" y="103"/>
                  </a:lnTo>
                  <a:lnTo>
                    <a:pt x="121" y="105"/>
                  </a:lnTo>
                  <a:lnTo>
                    <a:pt x="124" y="108"/>
                  </a:lnTo>
                  <a:lnTo>
                    <a:pt x="131" y="113"/>
                  </a:lnTo>
                  <a:lnTo>
                    <a:pt x="133" y="115"/>
                  </a:lnTo>
                  <a:lnTo>
                    <a:pt x="134" y="117"/>
                  </a:lnTo>
                  <a:lnTo>
                    <a:pt x="135" y="119"/>
                  </a:lnTo>
                  <a:lnTo>
                    <a:pt x="138" y="123"/>
                  </a:lnTo>
                  <a:lnTo>
                    <a:pt x="139" y="124"/>
                  </a:lnTo>
                  <a:lnTo>
                    <a:pt x="139" y="125"/>
                  </a:lnTo>
                  <a:lnTo>
                    <a:pt x="140" y="127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39" y="135"/>
                  </a:lnTo>
                  <a:lnTo>
                    <a:pt x="138" y="143"/>
                  </a:lnTo>
                  <a:lnTo>
                    <a:pt x="137" y="146"/>
                  </a:lnTo>
                  <a:lnTo>
                    <a:pt x="136" y="152"/>
                  </a:lnTo>
                  <a:lnTo>
                    <a:pt x="136" y="155"/>
                  </a:lnTo>
                  <a:lnTo>
                    <a:pt x="136" y="157"/>
                  </a:lnTo>
                  <a:lnTo>
                    <a:pt x="136" y="158"/>
                  </a:lnTo>
                  <a:lnTo>
                    <a:pt x="136" y="160"/>
                  </a:lnTo>
                  <a:lnTo>
                    <a:pt x="137" y="162"/>
                  </a:lnTo>
                  <a:lnTo>
                    <a:pt x="139" y="166"/>
                  </a:lnTo>
                  <a:lnTo>
                    <a:pt x="142" y="170"/>
                  </a:lnTo>
                  <a:lnTo>
                    <a:pt x="144" y="173"/>
                  </a:lnTo>
                  <a:lnTo>
                    <a:pt x="145" y="175"/>
                  </a:lnTo>
                  <a:lnTo>
                    <a:pt x="147" y="176"/>
                  </a:lnTo>
                  <a:lnTo>
                    <a:pt x="147" y="177"/>
                  </a:lnTo>
                  <a:lnTo>
                    <a:pt x="148" y="178"/>
                  </a:lnTo>
                  <a:lnTo>
                    <a:pt x="150" y="179"/>
                  </a:lnTo>
                  <a:lnTo>
                    <a:pt x="151" y="180"/>
                  </a:lnTo>
                  <a:lnTo>
                    <a:pt x="156" y="181"/>
                  </a:lnTo>
                  <a:lnTo>
                    <a:pt x="159" y="182"/>
                  </a:lnTo>
                  <a:lnTo>
                    <a:pt x="161" y="182"/>
                  </a:lnTo>
                  <a:lnTo>
                    <a:pt x="163" y="182"/>
                  </a:lnTo>
                  <a:lnTo>
                    <a:pt x="166" y="182"/>
                  </a:lnTo>
                  <a:lnTo>
                    <a:pt x="168" y="182"/>
                  </a:lnTo>
                  <a:lnTo>
                    <a:pt x="169" y="182"/>
                  </a:lnTo>
                  <a:lnTo>
                    <a:pt x="170" y="181"/>
                  </a:lnTo>
                  <a:lnTo>
                    <a:pt x="170" y="180"/>
                  </a:lnTo>
                  <a:lnTo>
                    <a:pt x="170" y="180"/>
                  </a:lnTo>
                  <a:lnTo>
                    <a:pt x="171" y="172"/>
                  </a:lnTo>
                  <a:lnTo>
                    <a:pt x="173" y="165"/>
                  </a:lnTo>
                  <a:lnTo>
                    <a:pt x="173" y="160"/>
                  </a:lnTo>
                  <a:lnTo>
                    <a:pt x="173" y="158"/>
                  </a:lnTo>
                  <a:lnTo>
                    <a:pt x="173" y="156"/>
                  </a:lnTo>
                  <a:lnTo>
                    <a:pt x="172" y="147"/>
                  </a:lnTo>
                  <a:lnTo>
                    <a:pt x="172" y="145"/>
                  </a:lnTo>
                  <a:lnTo>
                    <a:pt x="172" y="141"/>
                  </a:lnTo>
                  <a:lnTo>
                    <a:pt x="172" y="136"/>
                  </a:lnTo>
                  <a:lnTo>
                    <a:pt x="172" y="133"/>
                  </a:lnTo>
                  <a:lnTo>
                    <a:pt x="174" y="126"/>
                  </a:lnTo>
                  <a:lnTo>
                    <a:pt x="174" y="121"/>
                  </a:lnTo>
                  <a:lnTo>
                    <a:pt x="175" y="117"/>
                  </a:lnTo>
                  <a:lnTo>
                    <a:pt x="176" y="112"/>
                  </a:lnTo>
                  <a:lnTo>
                    <a:pt x="177" y="111"/>
                  </a:lnTo>
                  <a:lnTo>
                    <a:pt x="178" y="109"/>
                  </a:lnTo>
                  <a:lnTo>
                    <a:pt x="178" y="108"/>
                  </a:lnTo>
                  <a:lnTo>
                    <a:pt x="179" y="107"/>
                  </a:lnTo>
                  <a:lnTo>
                    <a:pt x="180" y="106"/>
                  </a:lnTo>
                  <a:lnTo>
                    <a:pt x="181" y="106"/>
                  </a:lnTo>
                  <a:lnTo>
                    <a:pt x="181" y="105"/>
                  </a:lnTo>
                  <a:lnTo>
                    <a:pt x="186" y="104"/>
                  </a:lnTo>
                  <a:lnTo>
                    <a:pt x="188" y="103"/>
                  </a:lnTo>
                  <a:lnTo>
                    <a:pt x="189" y="103"/>
                  </a:lnTo>
                  <a:lnTo>
                    <a:pt x="189" y="102"/>
                  </a:lnTo>
                  <a:lnTo>
                    <a:pt x="190" y="101"/>
                  </a:lnTo>
                  <a:lnTo>
                    <a:pt x="191" y="101"/>
                  </a:lnTo>
                  <a:lnTo>
                    <a:pt x="192" y="99"/>
                  </a:lnTo>
                  <a:lnTo>
                    <a:pt x="192" y="97"/>
                  </a:lnTo>
                  <a:lnTo>
                    <a:pt x="192" y="94"/>
                  </a:lnTo>
                  <a:lnTo>
                    <a:pt x="193" y="88"/>
                  </a:lnTo>
                  <a:lnTo>
                    <a:pt x="193" y="86"/>
                  </a:lnTo>
                  <a:lnTo>
                    <a:pt x="194" y="83"/>
                  </a:lnTo>
                  <a:lnTo>
                    <a:pt x="194" y="81"/>
                  </a:lnTo>
                  <a:lnTo>
                    <a:pt x="195" y="78"/>
                  </a:lnTo>
                  <a:lnTo>
                    <a:pt x="197" y="76"/>
                  </a:lnTo>
                  <a:lnTo>
                    <a:pt x="198" y="72"/>
                  </a:lnTo>
                  <a:lnTo>
                    <a:pt x="201" y="67"/>
                  </a:lnTo>
                  <a:lnTo>
                    <a:pt x="204" y="63"/>
                  </a:lnTo>
                  <a:lnTo>
                    <a:pt x="205" y="59"/>
                  </a:lnTo>
                  <a:lnTo>
                    <a:pt x="207" y="55"/>
                  </a:lnTo>
                  <a:lnTo>
                    <a:pt x="210" y="53"/>
                  </a:lnTo>
                  <a:lnTo>
                    <a:pt x="213" y="50"/>
                  </a:lnTo>
                  <a:lnTo>
                    <a:pt x="215" y="48"/>
                  </a:lnTo>
                  <a:lnTo>
                    <a:pt x="215" y="47"/>
                  </a:lnTo>
                  <a:lnTo>
                    <a:pt x="221" y="53"/>
                  </a:lnTo>
                  <a:lnTo>
                    <a:pt x="227" y="57"/>
                  </a:lnTo>
                  <a:lnTo>
                    <a:pt x="234" y="63"/>
                  </a:lnTo>
                  <a:lnTo>
                    <a:pt x="238" y="66"/>
                  </a:lnTo>
                  <a:lnTo>
                    <a:pt x="239" y="67"/>
                  </a:lnTo>
                  <a:lnTo>
                    <a:pt x="241" y="67"/>
                  </a:lnTo>
                  <a:lnTo>
                    <a:pt x="243" y="67"/>
                  </a:lnTo>
                  <a:lnTo>
                    <a:pt x="247" y="67"/>
                  </a:lnTo>
                  <a:lnTo>
                    <a:pt x="248" y="67"/>
                  </a:lnTo>
                  <a:lnTo>
                    <a:pt x="249" y="68"/>
                  </a:lnTo>
                  <a:lnTo>
                    <a:pt x="253" y="70"/>
                  </a:lnTo>
                  <a:lnTo>
                    <a:pt x="257" y="72"/>
                  </a:lnTo>
                  <a:lnTo>
                    <a:pt x="262" y="76"/>
                  </a:lnTo>
                  <a:lnTo>
                    <a:pt x="270" y="81"/>
                  </a:lnTo>
                  <a:lnTo>
                    <a:pt x="272" y="82"/>
                  </a:lnTo>
                  <a:lnTo>
                    <a:pt x="273" y="84"/>
                  </a:lnTo>
                  <a:lnTo>
                    <a:pt x="275" y="86"/>
                  </a:lnTo>
                  <a:lnTo>
                    <a:pt x="276" y="88"/>
                  </a:lnTo>
                  <a:lnTo>
                    <a:pt x="277" y="89"/>
                  </a:lnTo>
                  <a:lnTo>
                    <a:pt x="283" y="99"/>
                  </a:lnTo>
                  <a:lnTo>
                    <a:pt x="296" y="123"/>
                  </a:lnTo>
                  <a:lnTo>
                    <a:pt x="298" y="126"/>
                  </a:lnTo>
                  <a:lnTo>
                    <a:pt x="299" y="129"/>
                  </a:lnTo>
                  <a:lnTo>
                    <a:pt x="300" y="132"/>
                  </a:lnTo>
                  <a:lnTo>
                    <a:pt x="300" y="134"/>
                  </a:lnTo>
                  <a:lnTo>
                    <a:pt x="301" y="135"/>
                  </a:lnTo>
                  <a:lnTo>
                    <a:pt x="301" y="138"/>
                  </a:lnTo>
                  <a:lnTo>
                    <a:pt x="301" y="147"/>
                  </a:lnTo>
                  <a:lnTo>
                    <a:pt x="302" y="154"/>
                  </a:lnTo>
                  <a:lnTo>
                    <a:pt x="302" y="157"/>
                  </a:lnTo>
                  <a:lnTo>
                    <a:pt x="302" y="159"/>
                  </a:lnTo>
                  <a:lnTo>
                    <a:pt x="301" y="162"/>
                  </a:lnTo>
                  <a:lnTo>
                    <a:pt x="300" y="165"/>
                  </a:lnTo>
                  <a:lnTo>
                    <a:pt x="298" y="169"/>
                  </a:lnTo>
                  <a:lnTo>
                    <a:pt x="298" y="171"/>
                  </a:lnTo>
                  <a:lnTo>
                    <a:pt x="297" y="173"/>
                  </a:lnTo>
                  <a:lnTo>
                    <a:pt x="297" y="175"/>
                  </a:lnTo>
                  <a:lnTo>
                    <a:pt x="297" y="176"/>
                  </a:lnTo>
                  <a:lnTo>
                    <a:pt x="298" y="178"/>
                  </a:lnTo>
                  <a:lnTo>
                    <a:pt x="299" y="180"/>
                  </a:lnTo>
                  <a:lnTo>
                    <a:pt x="301" y="183"/>
                  </a:lnTo>
                  <a:lnTo>
                    <a:pt x="302" y="184"/>
                  </a:lnTo>
                  <a:lnTo>
                    <a:pt x="303" y="186"/>
                  </a:lnTo>
                  <a:lnTo>
                    <a:pt x="303" y="188"/>
                  </a:lnTo>
                  <a:lnTo>
                    <a:pt x="304" y="191"/>
                  </a:lnTo>
                  <a:lnTo>
                    <a:pt x="304" y="192"/>
                  </a:lnTo>
                  <a:lnTo>
                    <a:pt x="304" y="194"/>
                  </a:lnTo>
                  <a:lnTo>
                    <a:pt x="304" y="196"/>
                  </a:lnTo>
                  <a:lnTo>
                    <a:pt x="303" y="198"/>
                  </a:lnTo>
                  <a:lnTo>
                    <a:pt x="303" y="199"/>
                  </a:lnTo>
                  <a:lnTo>
                    <a:pt x="302" y="201"/>
                  </a:lnTo>
                  <a:lnTo>
                    <a:pt x="301" y="203"/>
                  </a:lnTo>
                  <a:lnTo>
                    <a:pt x="300" y="204"/>
                  </a:lnTo>
                  <a:lnTo>
                    <a:pt x="296" y="210"/>
                  </a:lnTo>
                  <a:lnTo>
                    <a:pt x="294" y="213"/>
                  </a:lnTo>
                  <a:lnTo>
                    <a:pt x="294" y="214"/>
                  </a:lnTo>
                  <a:lnTo>
                    <a:pt x="293" y="216"/>
                  </a:lnTo>
                  <a:lnTo>
                    <a:pt x="291" y="220"/>
                  </a:lnTo>
                  <a:lnTo>
                    <a:pt x="290" y="224"/>
                  </a:lnTo>
                  <a:lnTo>
                    <a:pt x="290" y="227"/>
                  </a:lnTo>
                  <a:lnTo>
                    <a:pt x="289" y="232"/>
                  </a:lnTo>
                  <a:lnTo>
                    <a:pt x="288" y="237"/>
                  </a:lnTo>
                  <a:lnTo>
                    <a:pt x="288" y="240"/>
                  </a:lnTo>
                  <a:lnTo>
                    <a:pt x="288" y="243"/>
                  </a:lnTo>
                  <a:lnTo>
                    <a:pt x="288" y="247"/>
                  </a:lnTo>
                  <a:lnTo>
                    <a:pt x="289" y="248"/>
                  </a:lnTo>
                  <a:lnTo>
                    <a:pt x="289" y="249"/>
                  </a:lnTo>
                  <a:lnTo>
                    <a:pt x="290" y="250"/>
                  </a:lnTo>
                  <a:lnTo>
                    <a:pt x="291" y="251"/>
                  </a:lnTo>
                  <a:lnTo>
                    <a:pt x="292" y="252"/>
                  </a:lnTo>
                  <a:lnTo>
                    <a:pt x="294" y="253"/>
                  </a:lnTo>
                  <a:lnTo>
                    <a:pt x="300" y="257"/>
                  </a:lnTo>
                  <a:lnTo>
                    <a:pt x="306" y="260"/>
                  </a:lnTo>
                  <a:lnTo>
                    <a:pt x="308" y="261"/>
                  </a:lnTo>
                  <a:lnTo>
                    <a:pt x="311" y="263"/>
                  </a:lnTo>
                  <a:lnTo>
                    <a:pt x="312" y="265"/>
                  </a:lnTo>
                  <a:lnTo>
                    <a:pt x="313" y="266"/>
                  </a:lnTo>
                  <a:lnTo>
                    <a:pt x="316" y="271"/>
                  </a:lnTo>
                  <a:lnTo>
                    <a:pt x="317" y="273"/>
                  </a:lnTo>
                  <a:lnTo>
                    <a:pt x="320" y="279"/>
                  </a:lnTo>
                  <a:lnTo>
                    <a:pt x="322" y="282"/>
                  </a:lnTo>
                  <a:lnTo>
                    <a:pt x="323" y="283"/>
                  </a:lnTo>
                  <a:lnTo>
                    <a:pt x="325" y="285"/>
                  </a:lnTo>
                  <a:lnTo>
                    <a:pt x="328" y="288"/>
                  </a:lnTo>
                  <a:lnTo>
                    <a:pt x="330" y="290"/>
                  </a:lnTo>
                  <a:lnTo>
                    <a:pt x="333" y="292"/>
                  </a:lnTo>
                  <a:lnTo>
                    <a:pt x="336" y="293"/>
                  </a:lnTo>
                  <a:lnTo>
                    <a:pt x="342" y="295"/>
                  </a:lnTo>
                  <a:lnTo>
                    <a:pt x="346" y="297"/>
                  </a:lnTo>
                  <a:lnTo>
                    <a:pt x="350" y="299"/>
                  </a:lnTo>
                  <a:lnTo>
                    <a:pt x="351" y="300"/>
                  </a:lnTo>
                  <a:lnTo>
                    <a:pt x="351" y="301"/>
                  </a:lnTo>
                  <a:lnTo>
                    <a:pt x="352" y="302"/>
                  </a:lnTo>
                  <a:lnTo>
                    <a:pt x="353" y="304"/>
                  </a:lnTo>
                  <a:lnTo>
                    <a:pt x="353" y="305"/>
                  </a:lnTo>
                  <a:lnTo>
                    <a:pt x="354" y="305"/>
                  </a:lnTo>
                  <a:lnTo>
                    <a:pt x="355" y="308"/>
                  </a:lnTo>
                  <a:lnTo>
                    <a:pt x="356" y="315"/>
                  </a:lnTo>
                  <a:lnTo>
                    <a:pt x="358" y="317"/>
                  </a:lnTo>
                  <a:lnTo>
                    <a:pt x="358" y="319"/>
                  </a:lnTo>
                  <a:lnTo>
                    <a:pt x="359" y="320"/>
                  </a:lnTo>
                  <a:lnTo>
                    <a:pt x="360" y="321"/>
                  </a:lnTo>
                  <a:lnTo>
                    <a:pt x="361" y="322"/>
                  </a:lnTo>
                  <a:lnTo>
                    <a:pt x="363" y="324"/>
                  </a:lnTo>
                  <a:lnTo>
                    <a:pt x="365" y="326"/>
                  </a:lnTo>
                  <a:lnTo>
                    <a:pt x="377" y="331"/>
                  </a:lnTo>
                  <a:lnTo>
                    <a:pt x="379" y="331"/>
                  </a:lnTo>
                  <a:lnTo>
                    <a:pt x="381" y="332"/>
                  </a:lnTo>
                  <a:lnTo>
                    <a:pt x="382" y="332"/>
                  </a:lnTo>
                  <a:lnTo>
                    <a:pt x="385" y="332"/>
                  </a:lnTo>
                  <a:lnTo>
                    <a:pt x="386" y="331"/>
                  </a:lnTo>
                  <a:lnTo>
                    <a:pt x="387" y="331"/>
                  </a:lnTo>
                  <a:lnTo>
                    <a:pt x="390" y="330"/>
                  </a:lnTo>
                  <a:lnTo>
                    <a:pt x="393" y="328"/>
                  </a:lnTo>
                  <a:lnTo>
                    <a:pt x="395" y="327"/>
                  </a:lnTo>
                  <a:lnTo>
                    <a:pt x="397" y="326"/>
                  </a:lnTo>
                  <a:lnTo>
                    <a:pt x="398" y="325"/>
                  </a:lnTo>
                  <a:lnTo>
                    <a:pt x="400" y="322"/>
                  </a:lnTo>
                  <a:lnTo>
                    <a:pt x="402" y="319"/>
                  </a:lnTo>
                  <a:lnTo>
                    <a:pt x="405" y="316"/>
                  </a:lnTo>
                  <a:lnTo>
                    <a:pt x="406" y="315"/>
                  </a:lnTo>
                  <a:lnTo>
                    <a:pt x="408" y="313"/>
                  </a:lnTo>
                  <a:lnTo>
                    <a:pt x="408" y="313"/>
                  </a:lnTo>
                  <a:lnTo>
                    <a:pt x="409" y="313"/>
                  </a:lnTo>
                  <a:lnTo>
                    <a:pt x="410" y="313"/>
                  </a:lnTo>
                  <a:lnTo>
                    <a:pt x="410" y="314"/>
                  </a:lnTo>
                  <a:lnTo>
                    <a:pt x="412" y="315"/>
                  </a:lnTo>
                  <a:lnTo>
                    <a:pt x="415" y="317"/>
                  </a:lnTo>
                  <a:lnTo>
                    <a:pt x="416" y="319"/>
                  </a:lnTo>
                  <a:lnTo>
                    <a:pt x="418" y="320"/>
                  </a:lnTo>
                  <a:lnTo>
                    <a:pt x="420" y="321"/>
                  </a:lnTo>
                  <a:lnTo>
                    <a:pt x="421" y="322"/>
                  </a:lnTo>
                  <a:lnTo>
                    <a:pt x="423" y="323"/>
                  </a:lnTo>
                  <a:lnTo>
                    <a:pt x="425" y="323"/>
                  </a:lnTo>
                  <a:lnTo>
                    <a:pt x="427" y="323"/>
                  </a:lnTo>
                  <a:lnTo>
                    <a:pt x="428" y="323"/>
                  </a:lnTo>
                  <a:lnTo>
                    <a:pt x="430" y="323"/>
                  </a:lnTo>
                  <a:lnTo>
                    <a:pt x="431" y="322"/>
                  </a:lnTo>
                  <a:lnTo>
                    <a:pt x="432" y="321"/>
                  </a:lnTo>
                  <a:lnTo>
                    <a:pt x="434" y="320"/>
                  </a:lnTo>
                  <a:lnTo>
                    <a:pt x="439" y="316"/>
                  </a:lnTo>
                  <a:lnTo>
                    <a:pt x="441" y="315"/>
                  </a:lnTo>
                  <a:lnTo>
                    <a:pt x="443" y="314"/>
                  </a:lnTo>
                  <a:lnTo>
                    <a:pt x="446" y="313"/>
                  </a:lnTo>
                  <a:lnTo>
                    <a:pt x="451" y="311"/>
                  </a:lnTo>
                  <a:lnTo>
                    <a:pt x="453" y="311"/>
                  </a:lnTo>
                  <a:lnTo>
                    <a:pt x="455" y="310"/>
                  </a:lnTo>
                  <a:lnTo>
                    <a:pt x="457" y="310"/>
                  </a:lnTo>
                  <a:lnTo>
                    <a:pt x="459" y="310"/>
                  </a:lnTo>
                  <a:lnTo>
                    <a:pt x="461" y="310"/>
                  </a:lnTo>
                  <a:lnTo>
                    <a:pt x="463" y="310"/>
                  </a:lnTo>
                  <a:lnTo>
                    <a:pt x="465" y="311"/>
                  </a:lnTo>
                  <a:lnTo>
                    <a:pt x="468" y="312"/>
                  </a:lnTo>
                  <a:lnTo>
                    <a:pt x="474" y="315"/>
                  </a:lnTo>
                  <a:lnTo>
                    <a:pt x="481" y="318"/>
                  </a:lnTo>
                  <a:lnTo>
                    <a:pt x="485" y="320"/>
                  </a:lnTo>
                  <a:lnTo>
                    <a:pt x="488" y="322"/>
                  </a:lnTo>
                  <a:lnTo>
                    <a:pt x="489" y="324"/>
                  </a:lnTo>
                  <a:lnTo>
                    <a:pt x="497" y="329"/>
                  </a:lnTo>
                  <a:lnTo>
                    <a:pt x="499" y="332"/>
                  </a:lnTo>
                  <a:lnTo>
                    <a:pt x="502" y="334"/>
                  </a:lnTo>
                  <a:lnTo>
                    <a:pt x="505" y="335"/>
                  </a:lnTo>
                  <a:lnTo>
                    <a:pt x="506" y="336"/>
                  </a:lnTo>
                  <a:lnTo>
                    <a:pt x="508" y="337"/>
                  </a:lnTo>
                  <a:lnTo>
                    <a:pt x="510" y="338"/>
                  </a:lnTo>
                  <a:lnTo>
                    <a:pt x="514" y="339"/>
                  </a:lnTo>
                  <a:lnTo>
                    <a:pt x="516" y="339"/>
                  </a:lnTo>
                  <a:lnTo>
                    <a:pt x="517" y="339"/>
                  </a:lnTo>
                  <a:lnTo>
                    <a:pt x="520" y="340"/>
                  </a:lnTo>
                  <a:lnTo>
                    <a:pt x="522" y="342"/>
                  </a:lnTo>
                  <a:lnTo>
                    <a:pt x="530" y="347"/>
                  </a:lnTo>
                  <a:lnTo>
                    <a:pt x="536" y="350"/>
                  </a:lnTo>
                  <a:lnTo>
                    <a:pt x="539" y="352"/>
                  </a:lnTo>
                  <a:lnTo>
                    <a:pt x="542" y="353"/>
                  </a:lnTo>
                  <a:lnTo>
                    <a:pt x="544" y="354"/>
                  </a:lnTo>
                  <a:lnTo>
                    <a:pt x="545" y="354"/>
                  </a:lnTo>
                  <a:lnTo>
                    <a:pt x="545" y="355"/>
                  </a:lnTo>
                  <a:lnTo>
                    <a:pt x="545" y="355"/>
                  </a:lnTo>
                  <a:lnTo>
                    <a:pt x="547" y="357"/>
                  </a:lnTo>
                  <a:lnTo>
                    <a:pt x="560" y="366"/>
                  </a:lnTo>
                  <a:lnTo>
                    <a:pt x="563" y="369"/>
                  </a:lnTo>
                  <a:lnTo>
                    <a:pt x="567" y="372"/>
                  </a:lnTo>
                  <a:lnTo>
                    <a:pt x="569" y="374"/>
                  </a:lnTo>
                  <a:lnTo>
                    <a:pt x="572" y="377"/>
                  </a:lnTo>
                  <a:lnTo>
                    <a:pt x="575" y="380"/>
                  </a:lnTo>
                  <a:lnTo>
                    <a:pt x="578" y="384"/>
                  </a:lnTo>
                  <a:lnTo>
                    <a:pt x="579" y="385"/>
                  </a:lnTo>
                  <a:lnTo>
                    <a:pt x="581" y="387"/>
                  </a:lnTo>
                  <a:lnTo>
                    <a:pt x="583" y="388"/>
                  </a:lnTo>
                  <a:lnTo>
                    <a:pt x="584" y="389"/>
                  </a:lnTo>
                  <a:lnTo>
                    <a:pt x="586" y="389"/>
                  </a:lnTo>
                  <a:lnTo>
                    <a:pt x="587" y="389"/>
                  </a:lnTo>
                  <a:lnTo>
                    <a:pt x="589" y="390"/>
                  </a:lnTo>
                  <a:lnTo>
                    <a:pt x="603" y="389"/>
                  </a:lnTo>
                  <a:lnTo>
                    <a:pt x="612" y="388"/>
                  </a:lnTo>
                  <a:lnTo>
                    <a:pt x="615" y="388"/>
                  </a:lnTo>
                  <a:lnTo>
                    <a:pt x="618" y="389"/>
                  </a:lnTo>
                  <a:lnTo>
                    <a:pt x="620" y="389"/>
                  </a:lnTo>
                  <a:lnTo>
                    <a:pt x="621" y="390"/>
                  </a:lnTo>
                  <a:lnTo>
                    <a:pt x="623" y="391"/>
                  </a:lnTo>
                  <a:lnTo>
                    <a:pt x="624" y="393"/>
                  </a:lnTo>
                  <a:lnTo>
                    <a:pt x="625" y="395"/>
                  </a:lnTo>
                  <a:lnTo>
                    <a:pt x="627" y="397"/>
                  </a:lnTo>
                  <a:lnTo>
                    <a:pt x="628" y="400"/>
                  </a:lnTo>
                  <a:lnTo>
                    <a:pt x="629" y="402"/>
                  </a:lnTo>
                  <a:lnTo>
                    <a:pt x="629" y="404"/>
                  </a:lnTo>
                  <a:lnTo>
                    <a:pt x="629" y="407"/>
                  </a:lnTo>
                  <a:lnTo>
                    <a:pt x="629" y="408"/>
                  </a:lnTo>
                  <a:lnTo>
                    <a:pt x="629" y="411"/>
                  </a:lnTo>
                  <a:lnTo>
                    <a:pt x="628" y="413"/>
                  </a:lnTo>
                  <a:lnTo>
                    <a:pt x="627" y="415"/>
                  </a:lnTo>
                  <a:lnTo>
                    <a:pt x="626" y="417"/>
                  </a:lnTo>
                  <a:lnTo>
                    <a:pt x="625" y="418"/>
                  </a:lnTo>
                  <a:lnTo>
                    <a:pt x="624" y="418"/>
                  </a:lnTo>
                  <a:lnTo>
                    <a:pt x="618" y="424"/>
                  </a:lnTo>
                  <a:lnTo>
                    <a:pt x="617" y="425"/>
                  </a:lnTo>
                  <a:lnTo>
                    <a:pt x="617" y="426"/>
                  </a:lnTo>
                  <a:lnTo>
                    <a:pt x="616" y="427"/>
                  </a:lnTo>
                  <a:lnTo>
                    <a:pt x="616" y="429"/>
                  </a:lnTo>
                  <a:lnTo>
                    <a:pt x="617" y="430"/>
                  </a:lnTo>
                  <a:lnTo>
                    <a:pt x="617" y="432"/>
                  </a:lnTo>
                  <a:lnTo>
                    <a:pt x="618" y="433"/>
                  </a:lnTo>
                  <a:lnTo>
                    <a:pt x="619" y="434"/>
                  </a:lnTo>
                  <a:lnTo>
                    <a:pt x="620" y="435"/>
                  </a:lnTo>
                  <a:lnTo>
                    <a:pt x="620" y="436"/>
                  </a:lnTo>
                  <a:lnTo>
                    <a:pt x="621" y="437"/>
                  </a:lnTo>
                  <a:lnTo>
                    <a:pt x="622" y="437"/>
                  </a:lnTo>
                  <a:lnTo>
                    <a:pt x="624" y="437"/>
                  </a:lnTo>
                  <a:lnTo>
                    <a:pt x="624" y="438"/>
                  </a:lnTo>
                  <a:lnTo>
                    <a:pt x="626" y="438"/>
                  </a:lnTo>
                  <a:lnTo>
                    <a:pt x="628" y="438"/>
                  </a:lnTo>
                  <a:lnTo>
                    <a:pt x="630" y="437"/>
                  </a:lnTo>
                  <a:lnTo>
                    <a:pt x="638" y="435"/>
                  </a:lnTo>
                  <a:lnTo>
                    <a:pt x="641" y="435"/>
                  </a:lnTo>
                  <a:lnTo>
                    <a:pt x="641" y="437"/>
                  </a:lnTo>
                  <a:lnTo>
                    <a:pt x="642" y="439"/>
                  </a:lnTo>
                  <a:lnTo>
                    <a:pt x="642" y="440"/>
                  </a:lnTo>
                  <a:lnTo>
                    <a:pt x="643" y="441"/>
                  </a:lnTo>
                  <a:lnTo>
                    <a:pt x="644" y="442"/>
                  </a:lnTo>
                  <a:lnTo>
                    <a:pt x="647" y="447"/>
                  </a:lnTo>
                  <a:lnTo>
                    <a:pt x="648" y="449"/>
                  </a:lnTo>
                  <a:lnTo>
                    <a:pt x="648" y="452"/>
                  </a:lnTo>
                  <a:lnTo>
                    <a:pt x="649" y="452"/>
                  </a:lnTo>
                  <a:lnTo>
                    <a:pt x="648" y="455"/>
                  </a:lnTo>
                  <a:lnTo>
                    <a:pt x="648" y="456"/>
                  </a:lnTo>
                  <a:lnTo>
                    <a:pt x="647" y="457"/>
                  </a:lnTo>
                  <a:lnTo>
                    <a:pt x="645" y="458"/>
                  </a:lnTo>
                  <a:lnTo>
                    <a:pt x="645" y="459"/>
                  </a:lnTo>
                  <a:lnTo>
                    <a:pt x="644" y="459"/>
                  </a:lnTo>
                  <a:lnTo>
                    <a:pt x="644" y="460"/>
                  </a:lnTo>
                  <a:lnTo>
                    <a:pt x="644" y="462"/>
                  </a:lnTo>
                  <a:lnTo>
                    <a:pt x="644" y="463"/>
                  </a:lnTo>
                  <a:lnTo>
                    <a:pt x="645" y="463"/>
                  </a:lnTo>
                  <a:lnTo>
                    <a:pt x="646" y="465"/>
                  </a:lnTo>
                  <a:lnTo>
                    <a:pt x="646" y="466"/>
                  </a:lnTo>
                  <a:lnTo>
                    <a:pt x="646" y="467"/>
                  </a:lnTo>
                  <a:lnTo>
                    <a:pt x="646" y="468"/>
                  </a:lnTo>
                  <a:lnTo>
                    <a:pt x="645" y="469"/>
                  </a:lnTo>
                  <a:lnTo>
                    <a:pt x="645" y="471"/>
                  </a:lnTo>
                  <a:lnTo>
                    <a:pt x="643" y="473"/>
                  </a:lnTo>
                  <a:lnTo>
                    <a:pt x="641" y="475"/>
                  </a:lnTo>
                  <a:lnTo>
                    <a:pt x="639" y="475"/>
                  </a:lnTo>
                  <a:lnTo>
                    <a:pt x="630" y="484"/>
                  </a:lnTo>
                  <a:lnTo>
                    <a:pt x="627" y="486"/>
                  </a:lnTo>
                  <a:lnTo>
                    <a:pt x="624" y="488"/>
                  </a:lnTo>
                  <a:lnTo>
                    <a:pt x="622" y="489"/>
                  </a:lnTo>
                  <a:lnTo>
                    <a:pt x="620" y="490"/>
                  </a:lnTo>
                  <a:lnTo>
                    <a:pt x="616" y="491"/>
                  </a:lnTo>
                  <a:lnTo>
                    <a:pt x="615" y="491"/>
                  </a:lnTo>
                  <a:lnTo>
                    <a:pt x="614" y="492"/>
                  </a:lnTo>
                  <a:lnTo>
                    <a:pt x="613" y="491"/>
                  </a:lnTo>
                  <a:lnTo>
                    <a:pt x="612" y="491"/>
                  </a:lnTo>
                  <a:lnTo>
                    <a:pt x="610" y="490"/>
                  </a:lnTo>
                  <a:lnTo>
                    <a:pt x="606" y="488"/>
                  </a:lnTo>
                  <a:lnTo>
                    <a:pt x="601" y="486"/>
                  </a:lnTo>
                  <a:lnTo>
                    <a:pt x="598" y="485"/>
                  </a:lnTo>
                  <a:lnTo>
                    <a:pt x="597" y="484"/>
                  </a:lnTo>
                  <a:lnTo>
                    <a:pt x="595" y="484"/>
                  </a:lnTo>
                  <a:lnTo>
                    <a:pt x="593" y="483"/>
                  </a:lnTo>
                  <a:lnTo>
                    <a:pt x="592" y="483"/>
                  </a:lnTo>
                  <a:lnTo>
                    <a:pt x="590" y="483"/>
                  </a:lnTo>
                  <a:lnTo>
                    <a:pt x="587" y="484"/>
                  </a:lnTo>
                  <a:lnTo>
                    <a:pt x="584" y="484"/>
                  </a:lnTo>
                  <a:lnTo>
                    <a:pt x="579" y="486"/>
                  </a:lnTo>
                  <a:lnTo>
                    <a:pt x="577" y="486"/>
                  </a:lnTo>
                  <a:lnTo>
                    <a:pt x="575" y="486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4" y="487"/>
                  </a:lnTo>
                  <a:lnTo>
                    <a:pt x="562" y="486"/>
                  </a:lnTo>
                  <a:lnTo>
                    <a:pt x="560" y="486"/>
                  </a:lnTo>
                  <a:lnTo>
                    <a:pt x="559" y="486"/>
                  </a:lnTo>
                  <a:lnTo>
                    <a:pt x="552" y="483"/>
                  </a:lnTo>
                  <a:lnTo>
                    <a:pt x="548" y="481"/>
                  </a:lnTo>
                  <a:lnTo>
                    <a:pt x="546" y="480"/>
                  </a:lnTo>
                  <a:lnTo>
                    <a:pt x="537" y="478"/>
                  </a:lnTo>
                  <a:lnTo>
                    <a:pt x="534" y="478"/>
                  </a:lnTo>
                  <a:lnTo>
                    <a:pt x="531" y="476"/>
                  </a:lnTo>
                  <a:lnTo>
                    <a:pt x="526" y="474"/>
                  </a:lnTo>
                  <a:lnTo>
                    <a:pt x="524" y="473"/>
                  </a:lnTo>
                  <a:lnTo>
                    <a:pt x="522" y="472"/>
                  </a:lnTo>
                  <a:lnTo>
                    <a:pt x="517" y="470"/>
                  </a:lnTo>
                  <a:lnTo>
                    <a:pt x="516" y="470"/>
                  </a:lnTo>
                  <a:lnTo>
                    <a:pt x="515" y="470"/>
                  </a:lnTo>
                  <a:lnTo>
                    <a:pt x="512" y="472"/>
                  </a:lnTo>
                  <a:lnTo>
                    <a:pt x="510" y="474"/>
                  </a:lnTo>
                  <a:lnTo>
                    <a:pt x="505" y="476"/>
                  </a:lnTo>
                  <a:lnTo>
                    <a:pt x="502" y="477"/>
                  </a:lnTo>
                  <a:lnTo>
                    <a:pt x="500" y="477"/>
                  </a:lnTo>
                  <a:lnTo>
                    <a:pt x="499" y="478"/>
                  </a:lnTo>
                  <a:lnTo>
                    <a:pt x="489" y="479"/>
                  </a:lnTo>
                  <a:lnTo>
                    <a:pt x="481" y="480"/>
                  </a:lnTo>
                  <a:lnTo>
                    <a:pt x="477" y="481"/>
                  </a:lnTo>
                  <a:lnTo>
                    <a:pt x="475" y="482"/>
                  </a:lnTo>
                  <a:lnTo>
                    <a:pt x="468" y="485"/>
                  </a:lnTo>
                  <a:lnTo>
                    <a:pt x="465" y="486"/>
                  </a:lnTo>
                  <a:lnTo>
                    <a:pt x="462" y="486"/>
                  </a:lnTo>
                  <a:lnTo>
                    <a:pt x="456" y="488"/>
                  </a:lnTo>
                  <a:lnTo>
                    <a:pt x="454" y="488"/>
                  </a:lnTo>
                  <a:lnTo>
                    <a:pt x="454" y="489"/>
                  </a:lnTo>
                  <a:lnTo>
                    <a:pt x="452" y="490"/>
                  </a:lnTo>
                  <a:lnTo>
                    <a:pt x="451" y="491"/>
                  </a:lnTo>
                  <a:lnTo>
                    <a:pt x="450" y="492"/>
                  </a:lnTo>
                  <a:lnTo>
                    <a:pt x="447" y="496"/>
                  </a:lnTo>
                  <a:lnTo>
                    <a:pt x="446" y="497"/>
                  </a:lnTo>
                  <a:lnTo>
                    <a:pt x="445" y="498"/>
                  </a:lnTo>
                  <a:lnTo>
                    <a:pt x="442" y="499"/>
                  </a:lnTo>
                  <a:lnTo>
                    <a:pt x="437" y="503"/>
                  </a:lnTo>
                  <a:lnTo>
                    <a:pt x="435" y="504"/>
                  </a:lnTo>
                  <a:lnTo>
                    <a:pt x="432" y="506"/>
                  </a:lnTo>
                  <a:lnTo>
                    <a:pt x="431" y="507"/>
                  </a:lnTo>
                  <a:lnTo>
                    <a:pt x="430" y="509"/>
                  </a:lnTo>
                  <a:lnTo>
                    <a:pt x="430" y="509"/>
                  </a:lnTo>
                  <a:lnTo>
                    <a:pt x="428" y="511"/>
                  </a:lnTo>
                  <a:lnTo>
                    <a:pt x="427" y="515"/>
                  </a:lnTo>
                  <a:lnTo>
                    <a:pt x="426" y="516"/>
                  </a:lnTo>
                  <a:lnTo>
                    <a:pt x="425" y="517"/>
                  </a:lnTo>
                  <a:lnTo>
                    <a:pt x="425" y="518"/>
                  </a:lnTo>
                  <a:lnTo>
                    <a:pt x="424" y="518"/>
                  </a:lnTo>
                  <a:lnTo>
                    <a:pt x="423" y="518"/>
                  </a:lnTo>
                  <a:lnTo>
                    <a:pt x="422" y="518"/>
                  </a:lnTo>
                  <a:lnTo>
                    <a:pt x="422" y="517"/>
                  </a:lnTo>
                  <a:lnTo>
                    <a:pt x="421" y="516"/>
                  </a:lnTo>
                  <a:lnTo>
                    <a:pt x="420" y="515"/>
                  </a:lnTo>
                  <a:lnTo>
                    <a:pt x="416" y="509"/>
                  </a:lnTo>
                  <a:lnTo>
                    <a:pt x="414" y="508"/>
                  </a:lnTo>
                  <a:lnTo>
                    <a:pt x="411" y="505"/>
                  </a:lnTo>
                  <a:lnTo>
                    <a:pt x="409" y="503"/>
                  </a:lnTo>
                  <a:lnTo>
                    <a:pt x="408" y="502"/>
                  </a:lnTo>
                  <a:lnTo>
                    <a:pt x="405" y="501"/>
                  </a:lnTo>
                  <a:lnTo>
                    <a:pt x="402" y="500"/>
                  </a:lnTo>
                  <a:lnTo>
                    <a:pt x="399" y="499"/>
                  </a:lnTo>
                  <a:lnTo>
                    <a:pt x="397" y="499"/>
                  </a:lnTo>
                  <a:lnTo>
                    <a:pt x="395" y="499"/>
                  </a:lnTo>
                  <a:lnTo>
                    <a:pt x="391" y="499"/>
                  </a:lnTo>
                  <a:lnTo>
                    <a:pt x="388" y="500"/>
                  </a:lnTo>
                  <a:lnTo>
                    <a:pt x="385" y="501"/>
                  </a:lnTo>
                  <a:lnTo>
                    <a:pt x="382" y="503"/>
                  </a:lnTo>
                  <a:lnTo>
                    <a:pt x="379" y="504"/>
                  </a:lnTo>
                  <a:lnTo>
                    <a:pt x="376" y="506"/>
                  </a:lnTo>
                  <a:lnTo>
                    <a:pt x="373" y="509"/>
                  </a:lnTo>
                  <a:lnTo>
                    <a:pt x="370" y="511"/>
                  </a:lnTo>
                  <a:lnTo>
                    <a:pt x="368" y="512"/>
                  </a:lnTo>
                  <a:lnTo>
                    <a:pt x="366" y="513"/>
                  </a:lnTo>
                  <a:lnTo>
                    <a:pt x="364" y="513"/>
                  </a:lnTo>
                  <a:lnTo>
                    <a:pt x="362" y="514"/>
                  </a:lnTo>
                  <a:lnTo>
                    <a:pt x="361" y="514"/>
                  </a:lnTo>
                  <a:lnTo>
                    <a:pt x="359" y="514"/>
                  </a:lnTo>
                  <a:lnTo>
                    <a:pt x="355" y="513"/>
                  </a:lnTo>
                  <a:lnTo>
                    <a:pt x="343" y="509"/>
                  </a:lnTo>
                  <a:lnTo>
                    <a:pt x="333" y="507"/>
                  </a:lnTo>
                  <a:lnTo>
                    <a:pt x="329" y="506"/>
                  </a:lnTo>
                  <a:lnTo>
                    <a:pt x="329" y="505"/>
                  </a:lnTo>
                  <a:lnTo>
                    <a:pt x="329" y="503"/>
                  </a:lnTo>
                  <a:lnTo>
                    <a:pt x="328" y="501"/>
                  </a:lnTo>
                  <a:lnTo>
                    <a:pt x="327" y="498"/>
                  </a:lnTo>
                  <a:lnTo>
                    <a:pt x="326" y="497"/>
                  </a:lnTo>
                  <a:lnTo>
                    <a:pt x="324" y="495"/>
                  </a:lnTo>
                  <a:lnTo>
                    <a:pt x="321" y="492"/>
                  </a:lnTo>
                  <a:lnTo>
                    <a:pt x="319" y="490"/>
                  </a:lnTo>
                  <a:lnTo>
                    <a:pt x="317" y="488"/>
                  </a:lnTo>
                  <a:lnTo>
                    <a:pt x="315" y="486"/>
                  </a:lnTo>
                  <a:lnTo>
                    <a:pt x="309" y="483"/>
                  </a:lnTo>
                  <a:lnTo>
                    <a:pt x="306" y="481"/>
                  </a:lnTo>
                  <a:lnTo>
                    <a:pt x="292" y="474"/>
                  </a:lnTo>
                  <a:lnTo>
                    <a:pt x="287" y="471"/>
                  </a:lnTo>
                  <a:lnTo>
                    <a:pt x="283" y="467"/>
                  </a:lnTo>
                  <a:lnTo>
                    <a:pt x="281" y="465"/>
                  </a:lnTo>
                  <a:lnTo>
                    <a:pt x="279" y="463"/>
                  </a:lnTo>
                  <a:lnTo>
                    <a:pt x="278" y="463"/>
                  </a:lnTo>
                  <a:lnTo>
                    <a:pt x="277" y="462"/>
                  </a:lnTo>
                  <a:lnTo>
                    <a:pt x="276" y="459"/>
                  </a:lnTo>
                  <a:lnTo>
                    <a:pt x="275" y="458"/>
                  </a:lnTo>
                  <a:lnTo>
                    <a:pt x="275" y="456"/>
                  </a:lnTo>
                  <a:lnTo>
                    <a:pt x="275" y="454"/>
                  </a:lnTo>
                  <a:lnTo>
                    <a:pt x="275" y="452"/>
                  </a:lnTo>
                  <a:lnTo>
                    <a:pt x="275" y="451"/>
                  </a:lnTo>
                  <a:lnTo>
                    <a:pt x="276" y="448"/>
                  </a:lnTo>
                  <a:lnTo>
                    <a:pt x="277" y="446"/>
                  </a:lnTo>
                  <a:lnTo>
                    <a:pt x="279" y="443"/>
                  </a:lnTo>
                  <a:lnTo>
                    <a:pt x="282" y="439"/>
                  </a:lnTo>
                  <a:lnTo>
                    <a:pt x="283" y="435"/>
                  </a:lnTo>
                  <a:lnTo>
                    <a:pt x="283" y="433"/>
                  </a:lnTo>
                  <a:lnTo>
                    <a:pt x="283" y="431"/>
                  </a:lnTo>
                  <a:lnTo>
                    <a:pt x="284" y="429"/>
                  </a:lnTo>
                  <a:lnTo>
                    <a:pt x="284" y="427"/>
                  </a:lnTo>
                  <a:lnTo>
                    <a:pt x="284" y="425"/>
                  </a:lnTo>
                  <a:lnTo>
                    <a:pt x="284" y="424"/>
                  </a:lnTo>
                  <a:lnTo>
                    <a:pt x="283" y="422"/>
                  </a:lnTo>
                  <a:lnTo>
                    <a:pt x="283" y="420"/>
                  </a:lnTo>
                  <a:lnTo>
                    <a:pt x="283" y="418"/>
                  </a:lnTo>
                  <a:lnTo>
                    <a:pt x="282" y="418"/>
                  </a:lnTo>
                  <a:lnTo>
                    <a:pt x="281" y="416"/>
                  </a:lnTo>
                  <a:lnTo>
                    <a:pt x="279" y="415"/>
                  </a:lnTo>
                  <a:lnTo>
                    <a:pt x="274" y="410"/>
                  </a:lnTo>
                  <a:lnTo>
                    <a:pt x="271" y="407"/>
                  </a:lnTo>
                  <a:lnTo>
                    <a:pt x="268" y="406"/>
                  </a:lnTo>
                  <a:lnTo>
                    <a:pt x="267" y="405"/>
                  </a:lnTo>
                  <a:lnTo>
                    <a:pt x="265" y="404"/>
                  </a:lnTo>
                  <a:lnTo>
                    <a:pt x="262" y="403"/>
                  </a:lnTo>
                  <a:lnTo>
                    <a:pt x="260" y="403"/>
                  </a:lnTo>
                  <a:lnTo>
                    <a:pt x="257" y="403"/>
                  </a:lnTo>
                  <a:lnTo>
                    <a:pt x="251" y="403"/>
                  </a:lnTo>
                  <a:lnTo>
                    <a:pt x="249" y="402"/>
                  </a:lnTo>
                  <a:lnTo>
                    <a:pt x="247" y="402"/>
                  </a:lnTo>
                  <a:lnTo>
                    <a:pt x="245" y="401"/>
                  </a:lnTo>
                  <a:lnTo>
                    <a:pt x="243" y="400"/>
                  </a:lnTo>
                  <a:lnTo>
                    <a:pt x="242" y="399"/>
                  </a:lnTo>
                  <a:lnTo>
                    <a:pt x="241" y="398"/>
                  </a:lnTo>
                  <a:lnTo>
                    <a:pt x="239" y="395"/>
                  </a:lnTo>
                  <a:lnTo>
                    <a:pt x="238" y="393"/>
                  </a:lnTo>
                  <a:lnTo>
                    <a:pt x="237" y="391"/>
                  </a:lnTo>
                  <a:lnTo>
                    <a:pt x="235" y="390"/>
                  </a:lnTo>
                  <a:lnTo>
                    <a:pt x="230" y="387"/>
                  </a:lnTo>
                  <a:lnTo>
                    <a:pt x="223" y="382"/>
                  </a:lnTo>
                  <a:lnTo>
                    <a:pt x="219" y="380"/>
                  </a:lnTo>
                  <a:lnTo>
                    <a:pt x="216" y="376"/>
                  </a:lnTo>
                  <a:lnTo>
                    <a:pt x="215" y="375"/>
                  </a:lnTo>
                  <a:lnTo>
                    <a:pt x="213" y="374"/>
                  </a:lnTo>
                  <a:lnTo>
                    <a:pt x="207" y="372"/>
                  </a:lnTo>
                  <a:lnTo>
                    <a:pt x="205" y="371"/>
                  </a:lnTo>
                  <a:lnTo>
                    <a:pt x="203" y="369"/>
                  </a:lnTo>
                  <a:lnTo>
                    <a:pt x="196" y="365"/>
                  </a:lnTo>
                  <a:lnTo>
                    <a:pt x="193" y="363"/>
                  </a:lnTo>
                  <a:lnTo>
                    <a:pt x="189" y="360"/>
                  </a:lnTo>
                  <a:lnTo>
                    <a:pt x="180" y="350"/>
                  </a:lnTo>
                  <a:lnTo>
                    <a:pt x="178" y="350"/>
                  </a:lnTo>
                  <a:lnTo>
                    <a:pt x="176" y="348"/>
                  </a:lnTo>
                  <a:lnTo>
                    <a:pt x="174" y="347"/>
                  </a:lnTo>
                  <a:lnTo>
                    <a:pt x="172" y="346"/>
                  </a:lnTo>
                  <a:lnTo>
                    <a:pt x="167" y="343"/>
                  </a:lnTo>
                  <a:lnTo>
                    <a:pt x="165" y="343"/>
                  </a:lnTo>
                  <a:lnTo>
                    <a:pt x="164" y="342"/>
                  </a:lnTo>
                  <a:lnTo>
                    <a:pt x="162" y="340"/>
                  </a:lnTo>
                  <a:lnTo>
                    <a:pt x="160" y="338"/>
                  </a:lnTo>
                  <a:lnTo>
                    <a:pt x="158" y="335"/>
                  </a:lnTo>
                  <a:lnTo>
                    <a:pt x="154" y="330"/>
                  </a:lnTo>
                  <a:lnTo>
                    <a:pt x="153" y="328"/>
                  </a:lnTo>
                  <a:lnTo>
                    <a:pt x="151" y="327"/>
                  </a:lnTo>
                  <a:lnTo>
                    <a:pt x="149" y="326"/>
                  </a:lnTo>
                  <a:lnTo>
                    <a:pt x="146" y="323"/>
                  </a:lnTo>
                  <a:lnTo>
                    <a:pt x="142" y="322"/>
                  </a:lnTo>
                  <a:lnTo>
                    <a:pt x="139" y="320"/>
                  </a:lnTo>
                  <a:lnTo>
                    <a:pt x="131" y="318"/>
                  </a:lnTo>
                  <a:lnTo>
                    <a:pt x="128" y="317"/>
                  </a:lnTo>
                  <a:lnTo>
                    <a:pt x="124" y="315"/>
                  </a:lnTo>
                  <a:lnTo>
                    <a:pt x="123" y="314"/>
                  </a:lnTo>
                  <a:lnTo>
                    <a:pt x="122" y="313"/>
                  </a:lnTo>
                  <a:lnTo>
                    <a:pt x="121" y="312"/>
                  </a:lnTo>
                  <a:lnTo>
                    <a:pt x="120" y="311"/>
                  </a:lnTo>
                  <a:lnTo>
                    <a:pt x="119" y="310"/>
                  </a:lnTo>
                  <a:lnTo>
                    <a:pt x="119" y="308"/>
                  </a:lnTo>
                  <a:lnTo>
                    <a:pt x="119" y="307"/>
                  </a:lnTo>
                  <a:lnTo>
                    <a:pt x="118" y="306"/>
                  </a:lnTo>
                  <a:lnTo>
                    <a:pt x="119" y="301"/>
                  </a:lnTo>
                  <a:lnTo>
                    <a:pt x="119" y="299"/>
                  </a:lnTo>
                  <a:lnTo>
                    <a:pt x="118" y="296"/>
                  </a:lnTo>
                  <a:lnTo>
                    <a:pt x="118" y="294"/>
                  </a:lnTo>
                  <a:lnTo>
                    <a:pt x="117" y="293"/>
                  </a:lnTo>
                  <a:lnTo>
                    <a:pt x="114" y="289"/>
                  </a:lnTo>
                  <a:lnTo>
                    <a:pt x="113" y="285"/>
                  </a:lnTo>
                  <a:lnTo>
                    <a:pt x="109" y="281"/>
                  </a:lnTo>
                  <a:lnTo>
                    <a:pt x="107" y="279"/>
                  </a:lnTo>
                  <a:lnTo>
                    <a:pt x="104" y="276"/>
                  </a:lnTo>
                  <a:lnTo>
                    <a:pt x="103" y="275"/>
                  </a:lnTo>
                  <a:lnTo>
                    <a:pt x="101" y="273"/>
                  </a:lnTo>
                  <a:lnTo>
                    <a:pt x="100" y="272"/>
                  </a:lnTo>
                  <a:lnTo>
                    <a:pt x="95" y="271"/>
                  </a:lnTo>
                  <a:lnTo>
                    <a:pt x="92" y="269"/>
                  </a:lnTo>
                  <a:lnTo>
                    <a:pt x="91" y="268"/>
                  </a:lnTo>
                  <a:lnTo>
                    <a:pt x="87" y="265"/>
                  </a:lnTo>
                  <a:lnTo>
                    <a:pt x="82" y="262"/>
                  </a:lnTo>
                  <a:lnTo>
                    <a:pt x="80" y="260"/>
                  </a:lnTo>
                  <a:lnTo>
                    <a:pt x="79" y="259"/>
                  </a:lnTo>
                  <a:lnTo>
                    <a:pt x="78" y="258"/>
                  </a:lnTo>
                  <a:lnTo>
                    <a:pt x="76" y="256"/>
                  </a:lnTo>
                  <a:lnTo>
                    <a:pt x="75" y="254"/>
                  </a:lnTo>
                  <a:lnTo>
                    <a:pt x="73" y="252"/>
                  </a:lnTo>
                  <a:lnTo>
                    <a:pt x="72" y="249"/>
                  </a:lnTo>
                  <a:lnTo>
                    <a:pt x="71" y="246"/>
                  </a:lnTo>
                  <a:lnTo>
                    <a:pt x="70" y="241"/>
                  </a:lnTo>
                  <a:lnTo>
                    <a:pt x="69" y="238"/>
                  </a:lnTo>
                  <a:lnTo>
                    <a:pt x="69" y="235"/>
                  </a:lnTo>
                  <a:lnTo>
                    <a:pt x="69" y="230"/>
                  </a:lnTo>
                  <a:lnTo>
                    <a:pt x="69" y="226"/>
                  </a:lnTo>
                  <a:lnTo>
                    <a:pt x="69" y="222"/>
                  </a:lnTo>
                  <a:lnTo>
                    <a:pt x="70" y="219"/>
                  </a:lnTo>
                  <a:lnTo>
                    <a:pt x="71" y="216"/>
                  </a:lnTo>
                  <a:lnTo>
                    <a:pt x="74" y="204"/>
                  </a:lnTo>
                  <a:lnTo>
                    <a:pt x="77" y="196"/>
                  </a:lnTo>
                  <a:lnTo>
                    <a:pt x="78" y="193"/>
                  </a:lnTo>
                  <a:lnTo>
                    <a:pt x="79" y="190"/>
                  </a:lnTo>
                  <a:lnTo>
                    <a:pt x="79" y="188"/>
                  </a:lnTo>
                  <a:lnTo>
                    <a:pt x="79" y="185"/>
                  </a:lnTo>
                  <a:lnTo>
                    <a:pt x="78" y="181"/>
                  </a:lnTo>
                  <a:lnTo>
                    <a:pt x="78" y="178"/>
                  </a:lnTo>
                  <a:lnTo>
                    <a:pt x="77" y="173"/>
                  </a:lnTo>
                  <a:lnTo>
                    <a:pt x="75" y="169"/>
                  </a:lnTo>
                  <a:lnTo>
                    <a:pt x="74" y="166"/>
                  </a:lnTo>
                  <a:lnTo>
                    <a:pt x="73" y="163"/>
                  </a:lnTo>
                  <a:lnTo>
                    <a:pt x="70" y="156"/>
                  </a:lnTo>
                  <a:lnTo>
                    <a:pt x="68" y="151"/>
                  </a:lnTo>
                  <a:lnTo>
                    <a:pt x="67" y="150"/>
                  </a:lnTo>
                  <a:lnTo>
                    <a:pt x="67" y="148"/>
                  </a:lnTo>
                  <a:lnTo>
                    <a:pt x="63" y="145"/>
                  </a:lnTo>
                  <a:lnTo>
                    <a:pt x="60" y="141"/>
                  </a:lnTo>
                  <a:lnTo>
                    <a:pt x="56" y="136"/>
                  </a:lnTo>
                  <a:lnTo>
                    <a:pt x="54" y="135"/>
                  </a:lnTo>
                  <a:lnTo>
                    <a:pt x="50" y="131"/>
                  </a:lnTo>
                  <a:lnTo>
                    <a:pt x="48" y="129"/>
                  </a:lnTo>
                  <a:lnTo>
                    <a:pt x="46" y="127"/>
                  </a:lnTo>
                  <a:lnTo>
                    <a:pt x="44" y="120"/>
                  </a:lnTo>
                  <a:lnTo>
                    <a:pt x="41" y="117"/>
                  </a:lnTo>
                  <a:lnTo>
                    <a:pt x="39" y="114"/>
                  </a:lnTo>
                  <a:lnTo>
                    <a:pt x="36" y="111"/>
                  </a:lnTo>
                  <a:lnTo>
                    <a:pt x="34" y="110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24" y="106"/>
                  </a:lnTo>
                  <a:lnTo>
                    <a:pt x="21" y="104"/>
                  </a:lnTo>
                  <a:lnTo>
                    <a:pt x="18" y="103"/>
                  </a:lnTo>
                  <a:lnTo>
                    <a:pt x="16" y="102"/>
                  </a:lnTo>
                  <a:lnTo>
                    <a:pt x="14" y="101"/>
                  </a:lnTo>
                  <a:lnTo>
                    <a:pt x="12" y="100"/>
                  </a:lnTo>
                  <a:lnTo>
                    <a:pt x="10" y="98"/>
                  </a:lnTo>
                  <a:lnTo>
                    <a:pt x="9" y="97"/>
                  </a:lnTo>
                  <a:lnTo>
                    <a:pt x="7" y="94"/>
                  </a:lnTo>
                  <a:lnTo>
                    <a:pt x="4" y="92"/>
                  </a:lnTo>
                  <a:lnTo>
                    <a:pt x="3" y="90"/>
                  </a:lnTo>
                  <a:lnTo>
                    <a:pt x="2" y="89"/>
                  </a:lnTo>
                  <a:lnTo>
                    <a:pt x="1" y="87"/>
                  </a:lnTo>
                  <a:lnTo>
                    <a:pt x="0" y="86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1" y="78"/>
                  </a:lnTo>
                  <a:lnTo>
                    <a:pt x="2" y="77"/>
                  </a:lnTo>
                  <a:lnTo>
                    <a:pt x="3" y="75"/>
                  </a:lnTo>
                  <a:lnTo>
                    <a:pt x="4" y="74"/>
                  </a:lnTo>
                  <a:lnTo>
                    <a:pt x="6" y="71"/>
                  </a:lnTo>
                  <a:lnTo>
                    <a:pt x="9" y="69"/>
                  </a:lnTo>
                  <a:lnTo>
                    <a:pt x="10" y="67"/>
                  </a:lnTo>
                  <a:lnTo>
                    <a:pt x="17" y="62"/>
                  </a:lnTo>
                  <a:lnTo>
                    <a:pt x="20" y="60"/>
                  </a:lnTo>
                  <a:lnTo>
                    <a:pt x="22" y="59"/>
                  </a:lnTo>
                  <a:lnTo>
                    <a:pt x="22" y="56"/>
                  </a:lnTo>
                  <a:lnTo>
                    <a:pt x="24" y="55"/>
                  </a:lnTo>
                  <a:lnTo>
                    <a:pt x="25" y="53"/>
                  </a:lnTo>
                  <a:lnTo>
                    <a:pt x="25" y="50"/>
                  </a:lnTo>
                  <a:lnTo>
                    <a:pt x="25" y="48"/>
                  </a:lnTo>
                  <a:lnTo>
                    <a:pt x="25" y="45"/>
                  </a:lnTo>
                  <a:lnTo>
                    <a:pt x="24" y="43"/>
                  </a:lnTo>
                  <a:lnTo>
                    <a:pt x="22" y="36"/>
                  </a:lnTo>
                  <a:lnTo>
                    <a:pt x="22" y="33"/>
                  </a:lnTo>
                  <a:lnTo>
                    <a:pt x="21" y="29"/>
                  </a:lnTo>
                  <a:lnTo>
                    <a:pt x="20" y="23"/>
                  </a:lnTo>
                  <a:lnTo>
                    <a:pt x="19" y="20"/>
                  </a:lnTo>
                  <a:lnTo>
                    <a:pt x="17" y="17"/>
                  </a:lnTo>
                  <a:lnTo>
                    <a:pt x="16" y="13"/>
                  </a:lnTo>
                  <a:lnTo>
                    <a:pt x="14" y="10"/>
                  </a:lnTo>
                  <a:lnTo>
                    <a:pt x="10" y="5"/>
                  </a:lnTo>
                  <a:lnTo>
                    <a:pt x="9" y="4"/>
                  </a:lnTo>
                  <a:lnTo>
                    <a:pt x="9" y="2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10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6" name="Freeform 33">
              <a:extLst>
                <a:ext uri="{FF2B5EF4-FFF2-40B4-BE49-F238E27FC236}">
                  <a16:creationId xmlns:a16="http://schemas.microsoft.com/office/drawing/2014/main" id="{142C9A49-49B7-4B67-B5BB-28174F43F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" y="1660"/>
              <a:ext cx="494" cy="581"/>
            </a:xfrm>
            <a:custGeom>
              <a:avLst/>
              <a:gdLst>
                <a:gd name="T0" fmla="*/ 199 w 494"/>
                <a:gd name="T1" fmla="*/ 40 h 581"/>
                <a:gd name="T2" fmla="*/ 232 w 494"/>
                <a:gd name="T3" fmla="*/ 66 h 581"/>
                <a:gd name="T4" fmla="*/ 275 w 494"/>
                <a:gd name="T5" fmla="*/ 83 h 581"/>
                <a:gd name="T6" fmla="*/ 325 w 494"/>
                <a:gd name="T7" fmla="*/ 92 h 581"/>
                <a:gd name="T8" fmla="*/ 347 w 494"/>
                <a:gd name="T9" fmla="*/ 108 h 581"/>
                <a:gd name="T10" fmla="*/ 353 w 494"/>
                <a:gd name="T11" fmla="*/ 129 h 581"/>
                <a:gd name="T12" fmla="*/ 373 w 494"/>
                <a:gd name="T13" fmla="*/ 129 h 581"/>
                <a:gd name="T14" fmla="*/ 425 w 494"/>
                <a:gd name="T15" fmla="*/ 130 h 581"/>
                <a:gd name="T16" fmla="*/ 442 w 494"/>
                <a:gd name="T17" fmla="*/ 143 h 581"/>
                <a:gd name="T18" fmla="*/ 443 w 494"/>
                <a:gd name="T19" fmla="*/ 181 h 581"/>
                <a:gd name="T20" fmla="*/ 438 w 494"/>
                <a:gd name="T21" fmla="*/ 222 h 581"/>
                <a:gd name="T22" fmla="*/ 444 w 494"/>
                <a:gd name="T23" fmla="*/ 256 h 581"/>
                <a:gd name="T24" fmla="*/ 457 w 494"/>
                <a:gd name="T25" fmla="*/ 285 h 581"/>
                <a:gd name="T26" fmla="*/ 457 w 494"/>
                <a:gd name="T27" fmla="*/ 298 h 581"/>
                <a:gd name="T28" fmla="*/ 478 w 494"/>
                <a:gd name="T29" fmla="*/ 349 h 581"/>
                <a:gd name="T30" fmla="*/ 474 w 494"/>
                <a:gd name="T31" fmla="*/ 369 h 581"/>
                <a:gd name="T32" fmla="*/ 467 w 494"/>
                <a:gd name="T33" fmla="*/ 384 h 581"/>
                <a:gd name="T34" fmla="*/ 447 w 494"/>
                <a:gd name="T35" fmla="*/ 390 h 581"/>
                <a:gd name="T36" fmla="*/ 464 w 494"/>
                <a:gd name="T37" fmla="*/ 402 h 581"/>
                <a:gd name="T38" fmla="*/ 489 w 494"/>
                <a:gd name="T39" fmla="*/ 425 h 581"/>
                <a:gd name="T40" fmla="*/ 483 w 494"/>
                <a:gd name="T41" fmla="*/ 445 h 581"/>
                <a:gd name="T42" fmla="*/ 485 w 494"/>
                <a:gd name="T43" fmla="*/ 467 h 581"/>
                <a:gd name="T44" fmla="*/ 475 w 494"/>
                <a:gd name="T45" fmla="*/ 483 h 581"/>
                <a:gd name="T46" fmla="*/ 443 w 494"/>
                <a:gd name="T47" fmla="*/ 498 h 581"/>
                <a:gd name="T48" fmla="*/ 436 w 494"/>
                <a:gd name="T49" fmla="*/ 544 h 581"/>
                <a:gd name="T50" fmla="*/ 419 w 494"/>
                <a:gd name="T51" fmla="*/ 548 h 581"/>
                <a:gd name="T52" fmla="*/ 382 w 494"/>
                <a:gd name="T53" fmla="*/ 523 h 581"/>
                <a:gd name="T54" fmla="*/ 335 w 494"/>
                <a:gd name="T55" fmla="*/ 514 h 581"/>
                <a:gd name="T56" fmla="*/ 301 w 494"/>
                <a:gd name="T57" fmla="*/ 539 h 581"/>
                <a:gd name="T58" fmla="*/ 257 w 494"/>
                <a:gd name="T59" fmla="*/ 568 h 581"/>
                <a:gd name="T60" fmla="*/ 214 w 494"/>
                <a:gd name="T61" fmla="*/ 581 h 581"/>
                <a:gd name="T62" fmla="*/ 203 w 494"/>
                <a:gd name="T63" fmla="*/ 573 h 581"/>
                <a:gd name="T64" fmla="*/ 215 w 494"/>
                <a:gd name="T65" fmla="*/ 554 h 581"/>
                <a:gd name="T66" fmla="*/ 206 w 494"/>
                <a:gd name="T67" fmla="*/ 532 h 581"/>
                <a:gd name="T68" fmla="*/ 165 w 494"/>
                <a:gd name="T69" fmla="*/ 528 h 581"/>
                <a:gd name="T70" fmla="*/ 131 w 494"/>
                <a:gd name="T71" fmla="*/ 497 h 581"/>
                <a:gd name="T72" fmla="*/ 122 w 494"/>
                <a:gd name="T73" fmla="*/ 453 h 581"/>
                <a:gd name="T74" fmla="*/ 139 w 494"/>
                <a:gd name="T75" fmla="*/ 430 h 581"/>
                <a:gd name="T76" fmla="*/ 151 w 494"/>
                <a:gd name="T77" fmla="*/ 406 h 581"/>
                <a:gd name="T78" fmla="*/ 143 w 494"/>
                <a:gd name="T79" fmla="*/ 394 h 581"/>
                <a:gd name="T80" fmla="*/ 158 w 494"/>
                <a:gd name="T81" fmla="*/ 384 h 581"/>
                <a:gd name="T82" fmla="*/ 146 w 494"/>
                <a:gd name="T83" fmla="*/ 347 h 581"/>
                <a:gd name="T84" fmla="*/ 134 w 494"/>
                <a:gd name="T85" fmla="*/ 338 h 581"/>
                <a:gd name="T86" fmla="*/ 135 w 494"/>
                <a:gd name="T87" fmla="*/ 321 h 581"/>
                <a:gd name="T88" fmla="*/ 108 w 494"/>
                <a:gd name="T89" fmla="*/ 314 h 581"/>
                <a:gd name="T90" fmla="*/ 92 w 494"/>
                <a:gd name="T91" fmla="*/ 295 h 581"/>
                <a:gd name="T92" fmla="*/ 87 w 494"/>
                <a:gd name="T93" fmla="*/ 246 h 581"/>
                <a:gd name="T94" fmla="*/ 69 w 494"/>
                <a:gd name="T95" fmla="*/ 219 h 581"/>
                <a:gd name="T96" fmla="*/ 43 w 494"/>
                <a:gd name="T97" fmla="*/ 195 h 581"/>
                <a:gd name="T98" fmla="*/ 29 w 494"/>
                <a:gd name="T99" fmla="*/ 174 h 581"/>
                <a:gd name="T100" fmla="*/ 17 w 494"/>
                <a:gd name="T101" fmla="*/ 163 h 581"/>
                <a:gd name="T102" fmla="*/ 13 w 494"/>
                <a:gd name="T103" fmla="*/ 118 h 581"/>
                <a:gd name="T104" fmla="*/ 18 w 494"/>
                <a:gd name="T105" fmla="*/ 76 h 581"/>
                <a:gd name="T106" fmla="*/ 17 w 494"/>
                <a:gd name="T107" fmla="*/ 51 h 581"/>
                <a:gd name="T108" fmla="*/ 48 w 494"/>
                <a:gd name="T109" fmla="*/ 63 h 581"/>
                <a:gd name="T110" fmla="*/ 85 w 494"/>
                <a:gd name="T111" fmla="*/ 27 h 581"/>
                <a:gd name="T112" fmla="*/ 119 w 494"/>
                <a:gd name="T113" fmla="*/ 17 h 581"/>
                <a:gd name="T114" fmla="*/ 138 w 494"/>
                <a:gd name="T115" fmla="*/ 6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4" h="581">
                  <a:moveTo>
                    <a:pt x="141" y="0"/>
                  </a:moveTo>
                  <a:lnTo>
                    <a:pt x="142" y="1"/>
                  </a:lnTo>
                  <a:lnTo>
                    <a:pt x="145" y="3"/>
                  </a:lnTo>
                  <a:lnTo>
                    <a:pt x="150" y="6"/>
                  </a:lnTo>
                  <a:lnTo>
                    <a:pt x="153" y="7"/>
                  </a:lnTo>
                  <a:lnTo>
                    <a:pt x="165" y="17"/>
                  </a:lnTo>
                  <a:lnTo>
                    <a:pt x="177" y="25"/>
                  </a:lnTo>
                  <a:lnTo>
                    <a:pt x="184" y="29"/>
                  </a:lnTo>
                  <a:lnTo>
                    <a:pt x="188" y="31"/>
                  </a:lnTo>
                  <a:lnTo>
                    <a:pt x="194" y="37"/>
                  </a:lnTo>
                  <a:lnTo>
                    <a:pt x="199" y="40"/>
                  </a:lnTo>
                  <a:lnTo>
                    <a:pt x="200" y="42"/>
                  </a:lnTo>
                  <a:lnTo>
                    <a:pt x="202" y="43"/>
                  </a:lnTo>
                  <a:lnTo>
                    <a:pt x="208" y="46"/>
                  </a:lnTo>
                  <a:lnTo>
                    <a:pt x="209" y="46"/>
                  </a:lnTo>
                  <a:lnTo>
                    <a:pt x="212" y="48"/>
                  </a:lnTo>
                  <a:lnTo>
                    <a:pt x="216" y="51"/>
                  </a:lnTo>
                  <a:lnTo>
                    <a:pt x="222" y="57"/>
                  </a:lnTo>
                  <a:lnTo>
                    <a:pt x="225" y="60"/>
                  </a:lnTo>
                  <a:lnTo>
                    <a:pt x="229" y="63"/>
                  </a:lnTo>
                  <a:lnTo>
                    <a:pt x="231" y="65"/>
                  </a:lnTo>
                  <a:lnTo>
                    <a:pt x="232" y="66"/>
                  </a:lnTo>
                  <a:lnTo>
                    <a:pt x="233" y="67"/>
                  </a:lnTo>
                  <a:lnTo>
                    <a:pt x="233" y="67"/>
                  </a:lnTo>
                  <a:lnTo>
                    <a:pt x="234" y="67"/>
                  </a:lnTo>
                  <a:lnTo>
                    <a:pt x="244" y="74"/>
                  </a:lnTo>
                  <a:lnTo>
                    <a:pt x="248" y="75"/>
                  </a:lnTo>
                  <a:lnTo>
                    <a:pt x="251" y="77"/>
                  </a:lnTo>
                  <a:lnTo>
                    <a:pt x="254" y="78"/>
                  </a:lnTo>
                  <a:lnTo>
                    <a:pt x="258" y="79"/>
                  </a:lnTo>
                  <a:lnTo>
                    <a:pt x="265" y="81"/>
                  </a:lnTo>
                  <a:lnTo>
                    <a:pt x="270" y="82"/>
                  </a:lnTo>
                  <a:lnTo>
                    <a:pt x="275" y="83"/>
                  </a:lnTo>
                  <a:lnTo>
                    <a:pt x="283" y="83"/>
                  </a:lnTo>
                  <a:lnTo>
                    <a:pt x="287" y="84"/>
                  </a:lnTo>
                  <a:lnTo>
                    <a:pt x="290" y="85"/>
                  </a:lnTo>
                  <a:lnTo>
                    <a:pt x="298" y="86"/>
                  </a:lnTo>
                  <a:lnTo>
                    <a:pt x="303" y="88"/>
                  </a:lnTo>
                  <a:lnTo>
                    <a:pt x="306" y="88"/>
                  </a:lnTo>
                  <a:lnTo>
                    <a:pt x="312" y="89"/>
                  </a:lnTo>
                  <a:lnTo>
                    <a:pt x="315" y="89"/>
                  </a:lnTo>
                  <a:lnTo>
                    <a:pt x="320" y="90"/>
                  </a:lnTo>
                  <a:lnTo>
                    <a:pt x="324" y="91"/>
                  </a:lnTo>
                  <a:lnTo>
                    <a:pt x="325" y="92"/>
                  </a:lnTo>
                  <a:lnTo>
                    <a:pt x="327" y="92"/>
                  </a:lnTo>
                  <a:lnTo>
                    <a:pt x="331" y="94"/>
                  </a:lnTo>
                  <a:lnTo>
                    <a:pt x="338" y="98"/>
                  </a:lnTo>
                  <a:lnTo>
                    <a:pt x="341" y="99"/>
                  </a:lnTo>
                  <a:lnTo>
                    <a:pt x="342" y="101"/>
                  </a:lnTo>
                  <a:lnTo>
                    <a:pt x="344" y="102"/>
                  </a:lnTo>
                  <a:lnTo>
                    <a:pt x="345" y="103"/>
                  </a:lnTo>
                  <a:lnTo>
                    <a:pt x="346" y="104"/>
                  </a:lnTo>
                  <a:lnTo>
                    <a:pt x="347" y="106"/>
                  </a:lnTo>
                  <a:lnTo>
                    <a:pt x="347" y="107"/>
                  </a:lnTo>
                  <a:lnTo>
                    <a:pt x="347" y="108"/>
                  </a:lnTo>
                  <a:lnTo>
                    <a:pt x="347" y="110"/>
                  </a:lnTo>
                  <a:lnTo>
                    <a:pt x="348" y="112"/>
                  </a:lnTo>
                  <a:lnTo>
                    <a:pt x="348" y="119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48" y="124"/>
                  </a:lnTo>
                  <a:lnTo>
                    <a:pt x="349" y="125"/>
                  </a:lnTo>
                  <a:lnTo>
                    <a:pt x="350" y="126"/>
                  </a:lnTo>
                  <a:lnTo>
                    <a:pt x="351" y="127"/>
                  </a:lnTo>
                  <a:lnTo>
                    <a:pt x="352" y="128"/>
                  </a:lnTo>
                  <a:lnTo>
                    <a:pt x="353" y="129"/>
                  </a:lnTo>
                  <a:lnTo>
                    <a:pt x="354" y="130"/>
                  </a:lnTo>
                  <a:lnTo>
                    <a:pt x="356" y="130"/>
                  </a:lnTo>
                  <a:lnTo>
                    <a:pt x="357" y="130"/>
                  </a:lnTo>
                  <a:lnTo>
                    <a:pt x="358" y="131"/>
                  </a:lnTo>
                  <a:lnTo>
                    <a:pt x="359" y="131"/>
                  </a:lnTo>
                  <a:lnTo>
                    <a:pt x="360" y="131"/>
                  </a:lnTo>
                  <a:lnTo>
                    <a:pt x="361" y="131"/>
                  </a:lnTo>
                  <a:lnTo>
                    <a:pt x="364" y="130"/>
                  </a:lnTo>
                  <a:lnTo>
                    <a:pt x="369" y="130"/>
                  </a:lnTo>
                  <a:lnTo>
                    <a:pt x="371" y="129"/>
                  </a:lnTo>
                  <a:lnTo>
                    <a:pt x="373" y="129"/>
                  </a:lnTo>
                  <a:lnTo>
                    <a:pt x="376" y="129"/>
                  </a:lnTo>
                  <a:lnTo>
                    <a:pt x="379" y="129"/>
                  </a:lnTo>
                  <a:lnTo>
                    <a:pt x="382" y="129"/>
                  </a:lnTo>
                  <a:lnTo>
                    <a:pt x="392" y="130"/>
                  </a:lnTo>
                  <a:lnTo>
                    <a:pt x="397" y="130"/>
                  </a:lnTo>
                  <a:lnTo>
                    <a:pt x="402" y="131"/>
                  </a:lnTo>
                  <a:lnTo>
                    <a:pt x="409" y="131"/>
                  </a:lnTo>
                  <a:lnTo>
                    <a:pt x="411" y="131"/>
                  </a:lnTo>
                  <a:lnTo>
                    <a:pt x="413" y="131"/>
                  </a:lnTo>
                  <a:lnTo>
                    <a:pt x="423" y="130"/>
                  </a:lnTo>
                  <a:lnTo>
                    <a:pt x="425" y="130"/>
                  </a:lnTo>
                  <a:lnTo>
                    <a:pt x="426" y="130"/>
                  </a:lnTo>
                  <a:lnTo>
                    <a:pt x="427" y="130"/>
                  </a:lnTo>
                  <a:lnTo>
                    <a:pt x="428" y="130"/>
                  </a:lnTo>
                  <a:lnTo>
                    <a:pt x="430" y="130"/>
                  </a:lnTo>
                  <a:lnTo>
                    <a:pt x="431" y="130"/>
                  </a:lnTo>
                  <a:lnTo>
                    <a:pt x="432" y="131"/>
                  </a:lnTo>
                  <a:lnTo>
                    <a:pt x="434" y="133"/>
                  </a:lnTo>
                  <a:lnTo>
                    <a:pt x="437" y="136"/>
                  </a:lnTo>
                  <a:lnTo>
                    <a:pt x="438" y="138"/>
                  </a:lnTo>
                  <a:lnTo>
                    <a:pt x="440" y="141"/>
                  </a:lnTo>
                  <a:lnTo>
                    <a:pt x="442" y="143"/>
                  </a:lnTo>
                  <a:lnTo>
                    <a:pt x="444" y="148"/>
                  </a:lnTo>
                  <a:lnTo>
                    <a:pt x="446" y="152"/>
                  </a:lnTo>
                  <a:lnTo>
                    <a:pt x="447" y="154"/>
                  </a:lnTo>
                  <a:lnTo>
                    <a:pt x="447" y="156"/>
                  </a:lnTo>
                  <a:lnTo>
                    <a:pt x="447" y="160"/>
                  </a:lnTo>
                  <a:lnTo>
                    <a:pt x="447" y="164"/>
                  </a:lnTo>
                  <a:lnTo>
                    <a:pt x="447" y="167"/>
                  </a:lnTo>
                  <a:lnTo>
                    <a:pt x="446" y="170"/>
                  </a:lnTo>
                  <a:lnTo>
                    <a:pt x="444" y="177"/>
                  </a:lnTo>
                  <a:lnTo>
                    <a:pt x="443" y="179"/>
                  </a:lnTo>
                  <a:lnTo>
                    <a:pt x="443" y="181"/>
                  </a:lnTo>
                  <a:lnTo>
                    <a:pt x="443" y="184"/>
                  </a:lnTo>
                  <a:lnTo>
                    <a:pt x="443" y="186"/>
                  </a:lnTo>
                  <a:lnTo>
                    <a:pt x="443" y="194"/>
                  </a:lnTo>
                  <a:lnTo>
                    <a:pt x="443" y="196"/>
                  </a:lnTo>
                  <a:lnTo>
                    <a:pt x="443" y="198"/>
                  </a:lnTo>
                  <a:lnTo>
                    <a:pt x="442" y="199"/>
                  </a:lnTo>
                  <a:lnTo>
                    <a:pt x="441" y="205"/>
                  </a:lnTo>
                  <a:lnTo>
                    <a:pt x="438" y="213"/>
                  </a:lnTo>
                  <a:lnTo>
                    <a:pt x="438" y="217"/>
                  </a:lnTo>
                  <a:lnTo>
                    <a:pt x="438" y="221"/>
                  </a:lnTo>
                  <a:lnTo>
                    <a:pt x="438" y="222"/>
                  </a:lnTo>
                  <a:lnTo>
                    <a:pt x="438" y="225"/>
                  </a:lnTo>
                  <a:lnTo>
                    <a:pt x="438" y="227"/>
                  </a:lnTo>
                  <a:lnTo>
                    <a:pt x="441" y="232"/>
                  </a:lnTo>
                  <a:lnTo>
                    <a:pt x="442" y="233"/>
                  </a:lnTo>
                  <a:lnTo>
                    <a:pt x="442" y="236"/>
                  </a:lnTo>
                  <a:lnTo>
                    <a:pt x="443" y="241"/>
                  </a:lnTo>
                  <a:lnTo>
                    <a:pt x="444" y="243"/>
                  </a:lnTo>
                  <a:lnTo>
                    <a:pt x="444" y="245"/>
                  </a:lnTo>
                  <a:lnTo>
                    <a:pt x="445" y="250"/>
                  </a:lnTo>
                  <a:lnTo>
                    <a:pt x="444" y="254"/>
                  </a:lnTo>
                  <a:lnTo>
                    <a:pt x="444" y="256"/>
                  </a:lnTo>
                  <a:lnTo>
                    <a:pt x="443" y="262"/>
                  </a:lnTo>
                  <a:lnTo>
                    <a:pt x="442" y="264"/>
                  </a:lnTo>
                  <a:lnTo>
                    <a:pt x="442" y="266"/>
                  </a:lnTo>
                  <a:lnTo>
                    <a:pt x="443" y="267"/>
                  </a:lnTo>
                  <a:lnTo>
                    <a:pt x="443" y="269"/>
                  </a:lnTo>
                  <a:lnTo>
                    <a:pt x="444" y="271"/>
                  </a:lnTo>
                  <a:lnTo>
                    <a:pt x="445" y="273"/>
                  </a:lnTo>
                  <a:lnTo>
                    <a:pt x="447" y="275"/>
                  </a:lnTo>
                  <a:lnTo>
                    <a:pt x="448" y="276"/>
                  </a:lnTo>
                  <a:lnTo>
                    <a:pt x="454" y="281"/>
                  </a:lnTo>
                  <a:lnTo>
                    <a:pt x="457" y="285"/>
                  </a:lnTo>
                  <a:lnTo>
                    <a:pt x="458" y="286"/>
                  </a:lnTo>
                  <a:lnTo>
                    <a:pt x="458" y="288"/>
                  </a:lnTo>
                  <a:lnTo>
                    <a:pt x="459" y="289"/>
                  </a:lnTo>
                  <a:lnTo>
                    <a:pt x="458" y="289"/>
                  </a:lnTo>
                  <a:lnTo>
                    <a:pt x="458" y="289"/>
                  </a:lnTo>
                  <a:lnTo>
                    <a:pt x="457" y="290"/>
                  </a:lnTo>
                  <a:lnTo>
                    <a:pt x="457" y="292"/>
                  </a:lnTo>
                  <a:lnTo>
                    <a:pt x="456" y="294"/>
                  </a:lnTo>
                  <a:lnTo>
                    <a:pt x="456" y="296"/>
                  </a:lnTo>
                  <a:lnTo>
                    <a:pt x="456" y="297"/>
                  </a:lnTo>
                  <a:lnTo>
                    <a:pt x="457" y="298"/>
                  </a:lnTo>
                  <a:lnTo>
                    <a:pt x="457" y="300"/>
                  </a:lnTo>
                  <a:lnTo>
                    <a:pt x="458" y="301"/>
                  </a:lnTo>
                  <a:lnTo>
                    <a:pt x="459" y="303"/>
                  </a:lnTo>
                  <a:lnTo>
                    <a:pt x="462" y="310"/>
                  </a:lnTo>
                  <a:lnTo>
                    <a:pt x="464" y="312"/>
                  </a:lnTo>
                  <a:lnTo>
                    <a:pt x="468" y="320"/>
                  </a:lnTo>
                  <a:lnTo>
                    <a:pt x="470" y="323"/>
                  </a:lnTo>
                  <a:lnTo>
                    <a:pt x="474" y="334"/>
                  </a:lnTo>
                  <a:lnTo>
                    <a:pt x="475" y="338"/>
                  </a:lnTo>
                  <a:lnTo>
                    <a:pt x="477" y="343"/>
                  </a:lnTo>
                  <a:lnTo>
                    <a:pt x="478" y="349"/>
                  </a:lnTo>
                  <a:lnTo>
                    <a:pt x="479" y="354"/>
                  </a:lnTo>
                  <a:lnTo>
                    <a:pt x="479" y="356"/>
                  </a:lnTo>
                  <a:lnTo>
                    <a:pt x="479" y="357"/>
                  </a:lnTo>
                  <a:lnTo>
                    <a:pt x="479" y="359"/>
                  </a:lnTo>
                  <a:lnTo>
                    <a:pt x="479" y="361"/>
                  </a:lnTo>
                  <a:lnTo>
                    <a:pt x="478" y="362"/>
                  </a:lnTo>
                  <a:lnTo>
                    <a:pt x="478" y="363"/>
                  </a:lnTo>
                  <a:lnTo>
                    <a:pt x="475" y="366"/>
                  </a:lnTo>
                  <a:lnTo>
                    <a:pt x="475" y="368"/>
                  </a:lnTo>
                  <a:lnTo>
                    <a:pt x="474" y="368"/>
                  </a:lnTo>
                  <a:lnTo>
                    <a:pt x="474" y="369"/>
                  </a:lnTo>
                  <a:lnTo>
                    <a:pt x="474" y="371"/>
                  </a:lnTo>
                  <a:lnTo>
                    <a:pt x="474" y="372"/>
                  </a:lnTo>
                  <a:lnTo>
                    <a:pt x="476" y="378"/>
                  </a:lnTo>
                  <a:lnTo>
                    <a:pt x="476" y="380"/>
                  </a:lnTo>
                  <a:lnTo>
                    <a:pt x="476" y="381"/>
                  </a:lnTo>
                  <a:lnTo>
                    <a:pt x="476" y="383"/>
                  </a:lnTo>
                  <a:lnTo>
                    <a:pt x="475" y="384"/>
                  </a:lnTo>
                  <a:lnTo>
                    <a:pt x="473" y="385"/>
                  </a:lnTo>
                  <a:lnTo>
                    <a:pt x="472" y="385"/>
                  </a:lnTo>
                  <a:lnTo>
                    <a:pt x="472" y="385"/>
                  </a:lnTo>
                  <a:lnTo>
                    <a:pt x="467" y="384"/>
                  </a:lnTo>
                  <a:lnTo>
                    <a:pt x="464" y="384"/>
                  </a:lnTo>
                  <a:lnTo>
                    <a:pt x="460" y="383"/>
                  </a:lnTo>
                  <a:lnTo>
                    <a:pt x="458" y="383"/>
                  </a:lnTo>
                  <a:lnTo>
                    <a:pt x="457" y="384"/>
                  </a:lnTo>
                  <a:lnTo>
                    <a:pt x="455" y="384"/>
                  </a:lnTo>
                  <a:lnTo>
                    <a:pt x="453" y="385"/>
                  </a:lnTo>
                  <a:lnTo>
                    <a:pt x="451" y="386"/>
                  </a:lnTo>
                  <a:lnTo>
                    <a:pt x="450" y="386"/>
                  </a:lnTo>
                  <a:lnTo>
                    <a:pt x="449" y="387"/>
                  </a:lnTo>
                  <a:lnTo>
                    <a:pt x="448" y="388"/>
                  </a:lnTo>
                  <a:lnTo>
                    <a:pt x="447" y="390"/>
                  </a:lnTo>
                  <a:lnTo>
                    <a:pt x="446" y="391"/>
                  </a:lnTo>
                  <a:lnTo>
                    <a:pt x="445" y="392"/>
                  </a:lnTo>
                  <a:lnTo>
                    <a:pt x="445" y="394"/>
                  </a:lnTo>
                  <a:lnTo>
                    <a:pt x="446" y="394"/>
                  </a:lnTo>
                  <a:lnTo>
                    <a:pt x="446" y="395"/>
                  </a:lnTo>
                  <a:lnTo>
                    <a:pt x="448" y="397"/>
                  </a:lnTo>
                  <a:lnTo>
                    <a:pt x="449" y="399"/>
                  </a:lnTo>
                  <a:lnTo>
                    <a:pt x="451" y="400"/>
                  </a:lnTo>
                  <a:lnTo>
                    <a:pt x="453" y="401"/>
                  </a:lnTo>
                  <a:lnTo>
                    <a:pt x="454" y="401"/>
                  </a:lnTo>
                  <a:lnTo>
                    <a:pt x="464" y="402"/>
                  </a:lnTo>
                  <a:lnTo>
                    <a:pt x="466" y="403"/>
                  </a:lnTo>
                  <a:lnTo>
                    <a:pt x="468" y="404"/>
                  </a:lnTo>
                  <a:lnTo>
                    <a:pt x="471" y="405"/>
                  </a:lnTo>
                  <a:lnTo>
                    <a:pt x="472" y="406"/>
                  </a:lnTo>
                  <a:lnTo>
                    <a:pt x="474" y="407"/>
                  </a:lnTo>
                  <a:lnTo>
                    <a:pt x="477" y="409"/>
                  </a:lnTo>
                  <a:lnTo>
                    <a:pt x="479" y="411"/>
                  </a:lnTo>
                  <a:lnTo>
                    <a:pt x="480" y="413"/>
                  </a:lnTo>
                  <a:lnTo>
                    <a:pt x="485" y="420"/>
                  </a:lnTo>
                  <a:lnTo>
                    <a:pt x="487" y="423"/>
                  </a:lnTo>
                  <a:lnTo>
                    <a:pt x="489" y="425"/>
                  </a:lnTo>
                  <a:lnTo>
                    <a:pt x="490" y="427"/>
                  </a:lnTo>
                  <a:lnTo>
                    <a:pt x="492" y="430"/>
                  </a:lnTo>
                  <a:lnTo>
                    <a:pt x="493" y="435"/>
                  </a:lnTo>
                  <a:lnTo>
                    <a:pt x="494" y="435"/>
                  </a:lnTo>
                  <a:lnTo>
                    <a:pt x="491" y="436"/>
                  </a:lnTo>
                  <a:lnTo>
                    <a:pt x="489" y="436"/>
                  </a:lnTo>
                  <a:lnTo>
                    <a:pt x="487" y="437"/>
                  </a:lnTo>
                  <a:lnTo>
                    <a:pt x="486" y="438"/>
                  </a:lnTo>
                  <a:lnTo>
                    <a:pt x="485" y="439"/>
                  </a:lnTo>
                  <a:lnTo>
                    <a:pt x="484" y="441"/>
                  </a:lnTo>
                  <a:lnTo>
                    <a:pt x="483" y="445"/>
                  </a:lnTo>
                  <a:lnTo>
                    <a:pt x="481" y="448"/>
                  </a:lnTo>
                  <a:lnTo>
                    <a:pt x="480" y="451"/>
                  </a:lnTo>
                  <a:lnTo>
                    <a:pt x="480" y="453"/>
                  </a:lnTo>
                  <a:lnTo>
                    <a:pt x="480" y="455"/>
                  </a:lnTo>
                  <a:lnTo>
                    <a:pt x="480" y="457"/>
                  </a:lnTo>
                  <a:lnTo>
                    <a:pt x="480" y="459"/>
                  </a:lnTo>
                  <a:lnTo>
                    <a:pt x="481" y="459"/>
                  </a:lnTo>
                  <a:lnTo>
                    <a:pt x="481" y="461"/>
                  </a:lnTo>
                  <a:lnTo>
                    <a:pt x="483" y="464"/>
                  </a:lnTo>
                  <a:lnTo>
                    <a:pt x="484" y="466"/>
                  </a:lnTo>
                  <a:lnTo>
                    <a:pt x="485" y="467"/>
                  </a:lnTo>
                  <a:lnTo>
                    <a:pt x="485" y="470"/>
                  </a:lnTo>
                  <a:lnTo>
                    <a:pt x="485" y="470"/>
                  </a:lnTo>
                  <a:lnTo>
                    <a:pt x="485" y="471"/>
                  </a:lnTo>
                  <a:lnTo>
                    <a:pt x="485" y="473"/>
                  </a:lnTo>
                  <a:lnTo>
                    <a:pt x="484" y="475"/>
                  </a:lnTo>
                  <a:lnTo>
                    <a:pt x="483" y="476"/>
                  </a:lnTo>
                  <a:lnTo>
                    <a:pt x="483" y="478"/>
                  </a:lnTo>
                  <a:lnTo>
                    <a:pt x="482" y="480"/>
                  </a:lnTo>
                  <a:lnTo>
                    <a:pt x="480" y="481"/>
                  </a:lnTo>
                  <a:lnTo>
                    <a:pt x="478" y="482"/>
                  </a:lnTo>
                  <a:lnTo>
                    <a:pt x="475" y="483"/>
                  </a:lnTo>
                  <a:lnTo>
                    <a:pt x="472" y="486"/>
                  </a:lnTo>
                  <a:lnTo>
                    <a:pt x="470" y="487"/>
                  </a:lnTo>
                  <a:lnTo>
                    <a:pt x="467" y="489"/>
                  </a:lnTo>
                  <a:lnTo>
                    <a:pt x="460" y="492"/>
                  </a:lnTo>
                  <a:lnTo>
                    <a:pt x="455" y="493"/>
                  </a:lnTo>
                  <a:lnTo>
                    <a:pt x="453" y="493"/>
                  </a:lnTo>
                  <a:lnTo>
                    <a:pt x="449" y="494"/>
                  </a:lnTo>
                  <a:lnTo>
                    <a:pt x="446" y="496"/>
                  </a:lnTo>
                  <a:lnTo>
                    <a:pt x="445" y="496"/>
                  </a:lnTo>
                  <a:lnTo>
                    <a:pt x="444" y="497"/>
                  </a:lnTo>
                  <a:lnTo>
                    <a:pt x="443" y="498"/>
                  </a:lnTo>
                  <a:lnTo>
                    <a:pt x="442" y="499"/>
                  </a:lnTo>
                  <a:lnTo>
                    <a:pt x="442" y="501"/>
                  </a:lnTo>
                  <a:lnTo>
                    <a:pt x="441" y="503"/>
                  </a:lnTo>
                  <a:lnTo>
                    <a:pt x="441" y="504"/>
                  </a:lnTo>
                  <a:lnTo>
                    <a:pt x="442" y="510"/>
                  </a:lnTo>
                  <a:lnTo>
                    <a:pt x="442" y="516"/>
                  </a:lnTo>
                  <a:lnTo>
                    <a:pt x="442" y="520"/>
                  </a:lnTo>
                  <a:lnTo>
                    <a:pt x="441" y="524"/>
                  </a:lnTo>
                  <a:lnTo>
                    <a:pt x="438" y="539"/>
                  </a:lnTo>
                  <a:lnTo>
                    <a:pt x="437" y="542"/>
                  </a:lnTo>
                  <a:lnTo>
                    <a:pt x="436" y="544"/>
                  </a:lnTo>
                  <a:lnTo>
                    <a:pt x="435" y="546"/>
                  </a:lnTo>
                  <a:lnTo>
                    <a:pt x="434" y="547"/>
                  </a:lnTo>
                  <a:lnTo>
                    <a:pt x="433" y="549"/>
                  </a:lnTo>
                  <a:lnTo>
                    <a:pt x="432" y="549"/>
                  </a:lnTo>
                  <a:lnTo>
                    <a:pt x="430" y="550"/>
                  </a:lnTo>
                  <a:lnTo>
                    <a:pt x="429" y="550"/>
                  </a:lnTo>
                  <a:lnTo>
                    <a:pt x="427" y="550"/>
                  </a:lnTo>
                  <a:lnTo>
                    <a:pt x="426" y="550"/>
                  </a:lnTo>
                  <a:lnTo>
                    <a:pt x="424" y="550"/>
                  </a:lnTo>
                  <a:lnTo>
                    <a:pt x="421" y="549"/>
                  </a:lnTo>
                  <a:lnTo>
                    <a:pt x="419" y="548"/>
                  </a:lnTo>
                  <a:lnTo>
                    <a:pt x="416" y="547"/>
                  </a:lnTo>
                  <a:lnTo>
                    <a:pt x="414" y="545"/>
                  </a:lnTo>
                  <a:lnTo>
                    <a:pt x="410" y="542"/>
                  </a:lnTo>
                  <a:lnTo>
                    <a:pt x="403" y="537"/>
                  </a:lnTo>
                  <a:lnTo>
                    <a:pt x="399" y="535"/>
                  </a:lnTo>
                  <a:lnTo>
                    <a:pt x="398" y="534"/>
                  </a:lnTo>
                  <a:lnTo>
                    <a:pt x="393" y="529"/>
                  </a:lnTo>
                  <a:lnTo>
                    <a:pt x="390" y="527"/>
                  </a:lnTo>
                  <a:lnTo>
                    <a:pt x="386" y="525"/>
                  </a:lnTo>
                  <a:lnTo>
                    <a:pt x="384" y="524"/>
                  </a:lnTo>
                  <a:lnTo>
                    <a:pt x="382" y="523"/>
                  </a:lnTo>
                  <a:lnTo>
                    <a:pt x="381" y="522"/>
                  </a:lnTo>
                  <a:lnTo>
                    <a:pt x="375" y="520"/>
                  </a:lnTo>
                  <a:lnTo>
                    <a:pt x="372" y="519"/>
                  </a:lnTo>
                  <a:lnTo>
                    <a:pt x="370" y="519"/>
                  </a:lnTo>
                  <a:lnTo>
                    <a:pt x="360" y="518"/>
                  </a:lnTo>
                  <a:lnTo>
                    <a:pt x="353" y="517"/>
                  </a:lnTo>
                  <a:lnTo>
                    <a:pt x="350" y="517"/>
                  </a:lnTo>
                  <a:lnTo>
                    <a:pt x="345" y="516"/>
                  </a:lnTo>
                  <a:lnTo>
                    <a:pt x="338" y="515"/>
                  </a:lnTo>
                  <a:lnTo>
                    <a:pt x="336" y="514"/>
                  </a:lnTo>
                  <a:lnTo>
                    <a:pt x="335" y="514"/>
                  </a:lnTo>
                  <a:lnTo>
                    <a:pt x="333" y="515"/>
                  </a:lnTo>
                  <a:lnTo>
                    <a:pt x="331" y="516"/>
                  </a:lnTo>
                  <a:lnTo>
                    <a:pt x="329" y="516"/>
                  </a:lnTo>
                  <a:lnTo>
                    <a:pt x="327" y="517"/>
                  </a:lnTo>
                  <a:lnTo>
                    <a:pt x="326" y="519"/>
                  </a:lnTo>
                  <a:lnTo>
                    <a:pt x="323" y="523"/>
                  </a:lnTo>
                  <a:lnTo>
                    <a:pt x="317" y="527"/>
                  </a:lnTo>
                  <a:lnTo>
                    <a:pt x="313" y="532"/>
                  </a:lnTo>
                  <a:lnTo>
                    <a:pt x="311" y="534"/>
                  </a:lnTo>
                  <a:lnTo>
                    <a:pt x="309" y="535"/>
                  </a:lnTo>
                  <a:lnTo>
                    <a:pt x="301" y="539"/>
                  </a:lnTo>
                  <a:lnTo>
                    <a:pt x="297" y="543"/>
                  </a:lnTo>
                  <a:lnTo>
                    <a:pt x="292" y="546"/>
                  </a:lnTo>
                  <a:lnTo>
                    <a:pt x="288" y="550"/>
                  </a:lnTo>
                  <a:lnTo>
                    <a:pt x="281" y="553"/>
                  </a:lnTo>
                  <a:lnTo>
                    <a:pt x="275" y="558"/>
                  </a:lnTo>
                  <a:lnTo>
                    <a:pt x="273" y="559"/>
                  </a:lnTo>
                  <a:lnTo>
                    <a:pt x="267" y="561"/>
                  </a:lnTo>
                  <a:lnTo>
                    <a:pt x="265" y="562"/>
                  </a:lnTo>
                  <a:lnTo>
                    <a:pt x="263" y="563"/>
                  </a:lnTo>
                  <a:lnTo>
                    <a:pt x="259" y="567"/>
                  </a:lnTo>
                  <a:lnTo>
                    <a:pt x="257" y="568"/>
                  </a:lnTo>
                  <a:lnTo>
                    <a:pt x="256" y="569"/>
                  </a:lnTo>
                  <a:lnTo>
                    <a:pt x="254" y="570"/>
                  </a:lnTo>
                  <a:lnTo>
                    <a:pt x="245" y="572"/>
                  </a:lnTo>
                  <a:lnTo>
                    <a:pt x="240" y="574"/>
                  </a:lnTo>
                  <a:lnTo>
                    <a:pt x="230" y="576"/>
                  </a:lnTo>
                  <a:lnTo>
                    <a:pt x="228" y="577"/>
                  </a:lnTo>
                  <a:lnTo>
                    <a:pt x="227" y="577"/>
                  </a:lnTo>
                  <a:lnTo>
                    <a:pt x="227" y="578"/>
                  </a:lnTo>
                  <a:lnTo>
                    <a:pt x="224" y="578"/>
                  </a:lnTo>
                  <a:lnTo>
                    <a:pt x="216" y="580"/>
                  </a:lnTo>
                  <a:lnTo>
                    <a:pt x="214" y="581"/>
                  </a:lnTo>
                  <a:lnTo>
                    <a:pt x="212" y="581"/>
                  </a:lnTo>
                  <a:lnTo>
                    <a:pt x="210" y="581"/>
                  </a:lnTo>
                  <a:lnTo>
                    <a:pt x="210" y="580"/>
                  </a:lnTo>
                  <a:lnTo>
                    <a:pt x="208" y="580"/>
                  </a:lnTo>
                  <a:lnTo>
                    <a:pt x="207" y="580"/>
                  </a:lnTo>
                  <a:lnTo>
                    <a:pt x="206" y="579"/>
                  </a:lnTo>
                  <a:lnTo>
                    <a:pt x="206" y="578"/>
                  </a:lnTo>
                  <a:lnTo>
                    <a:pt x="205" y="577"/>
                  </a:lnTo>
                  <a:lnTo>
                    <a:pt x="204" y="576"/>
                  </a:lnTo>
                  <a:lnTo>
                    <a:pt x="203" y="575"/>
                  </a:lnTo>
                  <a:lnTo>
                    <a:pt x="203" y="573"/>
                  </a:lnTo>
                  <a:lnTo>
                    <a:pt x="202" y="572"/>
                  </a:lnTo>
                  <a:lnTo>
                    <a:pt x="202" y="570"/>
                  </a:lnTo>
                  <a:lnTo>
                    <a:pt x="203" y="569"/>
                  </a:lnTo>
                  <a:lnTo>
                    <a:pt x="203" y="568"/>
                  </a:lnTo>
                  <a:lnTo>
                    <a:pt x="204" y="567"/>
                  </a:lnTo>
                  <a:lnTo>
                    <a:pt x="210" y="561"/>
                  </a:lnTo>
                  <a:lnTo>
                    <a:pt x="211" y="561"/>
                  </a:lnTo>
                  <a:lnTo>
                    <a:pt x="212" y="560"/>
                  </a:lnTo>
                  <a:lnTo>
                    <a:pt x="213" y="558"/>
                  </a:lnTo>
                  <a:lnTo>
                    <a:pt x="214" y="556"/>
                  </a:lnTo>
                  <a:lnTo>
                    <a:pt x="215" y="554"/>
                  </a:lnTo>
                  <a:lnTo>
                    <a:pt x="215" y="551"/>
                  </a:lnTo>
                  <a:lnTo>
                    <a:pt x="215" y="550"/>
                  </a:lnTo>
                  <a:lnTo>
                    <a:pt x="215" y="547"/>
                  </a:lnTo>
                  <a:lnTo>
                    <a:pt x="215" y="545"/>
                  </a:lnTo>
                  <a:lnTo>
                    <a:pt x="214" y="543"/>
                  </a:lnTo>
                  <a:lnTo>
                    <a:pt x="213" y="540"/>
                  </a:lnTo>
                  <a:lnTo>
                    <a:pt x="211" y="538"/>
                  </a:lnTo>
                  <a:lnTo>
                    <a:pt x="210" y="536"/>
                  </a:lnTo>
                  <a:lnTo>
                    <a:pt x="209" y="534"/>
                  </a:lnTo>
                  <a:lnTo>
                    <a:pt x="207" y="533"/>
                  </a:lnTo>
                  <a:lnTo>
                    <a:pt x="206" y="532"/>
                  </a:lnTo>
                  <a:lnTo>
                    <a:pt x="204" y="532"/>
                  </a:lnTo>
                  <a:lnTo>
                    <a:pt x="201" y="531"/>
                  </a:lnTo>
                  <a:lnTo>
                    <a:pt x="198" y="531"/>
                  </a:lnTo>
                  <a:lnTo>
                    <a:pt x="189" y="532"/>
                  </a:lnTo>
                  <a:lnTo>
                    <a:pt x="175" y="533"/>
                  </a:lnTo>
                  <a:lnTo>
                    <a:pt x="173" y="532"/>
                  </a:lnTo>
                  <a:lnTo>
                    <a:pt x="172" y="532"/>
                  </a:lnTo>
                  <a:lnTo>
                    <a:pt x="170" y="532"/>
                  </a:lnTo>
                  <a:lnTo>
                    <a:pt x="169" y="531"/>
                  </a:lnTo>
                  <a:lnTo>
                    <a:pt x="167" y="530"/>
                  </a:lnTo>
                  <a:lnTo>
                    <a:pt x="165" y="528"/>
                  </a:lnTo>
                  <a:lnTo>
                    <a:pt x="164" y="527"/>
                  </a:lnTo>
                  <a:lnTo>
                    <a:pt x="161" y="523"/>
                  </a:lnTo>
                  <a:lnTo>
                    <a:pt x="158" y="520"/>
                  </a:lnTo>
                  <a:lnTo>
                    <a:pt x="155" y="517"/>
                  </a:lnTo>
                  <a:lnTo>
                    <a:pt x="153" y="515"/>
                  </a:lnTo>
                  <a:lnTo>
                    <a:pt x="149" y="512"/>
                  </a:lnTo>
                  <a:lnTo>
                    <a:pt x="146" y="509"/>
                  </a:lnTo>
                  <a:lnTo>
                    <a:pt x="133" y="500"/>
                  </a:lnTo>
                  <a:lnTo>
                    <a:pt x="131" y="498"/>
                  </a:lnTo>
                  <a:lnTo>
                    <a:pt x="131" y="498"/>
                  </a:lnTo>
                  <a:lnTo>
                    <a:pt x="131" y="497"/>
                  </a:lnTo>
                  <a:lnTo>
                    <a:pt x="131" y="496"/>
                  </a:lnTo>
                  <a:lnTo>
                    <a:pt x="130" y="493"/>
                  </a:lnTo>
                  <a:lnTo>
                    <a:pt x="130" y="486"/>
                  </a:lnTo>
                  <a:lnTo>
                    <a:pt x="131" y="479"/>
                  </a:lnTo>
                  <a:lnTo>
                    <a:pt x="131" y="476"/>
                  </a:lnTo>
                  <a:lnTo>
                    <a:pt x="130" y="473"/>
                  </a:lnTo>
                  <a:lnTo>
                    <a:pt x="129" y="469"/>
                  </a:lnTo>
                  <a:lnTo>
                    <a:pt x="128" y="465"/>
                  </a:lnTo>
                  <a:lnTo>
                    <a:pt x="126" y="460"/>
                  </a:lnTo>
                  <a:lnTo>
                    <a:pt x="123" y="455"/>
                  </a:lnTo>
                  <a:lnTo>
                    <a:pt x="122" y="453"/>
                  </a:lnTo>
                  <a:lnTo>
                    <a:pt x="122" y="452"/>
                  </a:lnTo>
                  <a:lnTo>
                    <a:pt x="122" y="450"/>
                  </a:lnTo>
                  <a:lnTo>
                    <a:pt x="122" y="449"/>
                  </a:lnTo>
                  <a:lnTo>
                    <a:pt x="122" y="448"/>
                  </a:lnTo>
                  <a:lnTo>
                    <a:pt x="123" y="447"/>
                  </a:lnTo>
                  <a:lnTo>
                    <a:pt x="124" y="445"/>
                  </a:lnTo>
                  <a:lnTo>
                    <a:pt x="125" y="443"/>
                  </a:lnTo>
                  <a:lnTo>
                    <a:pt x="127" y="441"/>
                  </a:lnTo>
                  <a:lnTo>
                    <a:pt x="130" y="438"/>
                  </a:lnTo>
                  <a:lnTo>
                    <a:pt x="136" y="433"/>
                  </a:lnTo>
                  <a:lnTo>
                    <a:pt x="139" y="430"/>
                  </a:lnTo>
                  <a:lnTo>
                    <a:pt x="143" y="425"/>
                  </a:lnTo>
                  <a:lnTo>
                    <a:pt x="149" y="419"/>
                  </a:lnTo>
                  <a:lnTo>
                    <a:pt x="153" y="414"/>
                  </a:lnTo>
                  <a:lnTo>
                    <a:pt x="154" y="413"/>
                  </a:lnTo>
                  <a:lnTo>
                    <a:pt x="154" y="411"/>
                  </a:lnTo>
                  <a:lnTo>
                    <a:pt x="155" y="410"/>
                  </a:lnTo>
                  <a:lnTo>
                    <a:pt x="154" y="409"/>
                  </a:lnTo>
                  <a:lnTo>
                    <a:pt x="154" y="408"/>
                  </a:lnTo>
                  <a:lnTo>
                    <a:pt x="153" y="407"/>
                  </a:lnTo>
                  <a:lnTo>
                    <a:pt x="153" y="406"/>
                  </a:lnTo>
                  <a:lnTo>
                    <a:pt x="151" y="406"/>
                  </a:lnTo>
                  <a:lnTo>
                    <a:pt x="149" y="406"/>
                  </a:lnTo>
                  <a:lnTo>
                    <a:pt x="147" y="405"/>
                  </a:lnTo>
                  <a:lnTo>
                    <a:pt x="145" y="404"/>
                  </a:lnTo>
                  <a:lnTo>
                    <a:pt x="143" y="403"/>
                  </a:lnTo>
                  <a:lnTo>
                    <a:pt x="142" y="402"/>
                  </a:lnTo>
                  <a:lnTo>
                    <a:pt x="142" y="401"/>
                  </a:lnTo>
                  <a:lnTo>
                    <a:pt x="141" y="400"/>
                  </a:lnTo>
                  <a:lnTo>
                    <a:pt x="141" y="398"/>
                  </a:lnTo>
                  <a:lnTo>
                    <a:pt x="142" y="397"/>
                  </a:lnTo>
                  <a:lnTo>
                    <a:pt x="142" y="396"/>
                  </a:lnTo>
                  <a:lnTo>
                    <a:pt x="143" y="394"/>
                  </a:lnTo>
                  <a:lnTo>
                    <a:pt x="144" y="393"/>
                  </a:lnTo>
                  <a:lnTo>
                    <a:pt x="148" y="391"/>
                  </a:lnTo>
                  <a:lnTo>
                    <a:pt x="150" y="391"/>
                  </a:lnTo>
                  <a:lnTo>
                    <a:pt x="151" y="390"/>
                  </a:lnTo>
                  <a:lnTo>
                    <a:pt x="153" y="389"/>
                  </a:lnTo>
                  <a:lnTo>
                    <a:pt x="157" y="388"/>
                  </a:lnTo>
                  <a:lnTo>
                    <a:pt x="158" y="388"/>
                  </a:lnTo>
                  <a:lnTo>
                    <a:pt x="158" y="387"/>
                  </a:lnTo>
                  <a:lnTo>
                    <a:pt x="158" y="386"/>
                  </a:lnTo>
                  <a:lnTo>
                    <a:pt x="158" y="385"/>
                  </a:lnTo>
                  <a:lnTo>
                    <a:pt x="158" y="384"/>
                  </a:lnTo>
                  <a:lnTo>
                    <a:pt x="157" y="382"/>
                  </a:lnTo>
                  <a:lnTo>
                    <a:pt x="153" y="377"/>
                  </a:lnTo>
                  <a:lnTo>
                    <a:pt x="151" y="375"/>
                  </a:lnTo>
                  <a:lnTo>
                    <a:pt x="149" y="372"/>
                  </a:lnTo>
                  <a:lnTo>
                    <a:pt x="148" y="369"/>
                  </a:lnTo>
                  <a:lnTo>
                    <a:pt x="148" y="367"/>
                  </a:lnTo>
                  <a:lnTo>
                    <a:pt x="147" y="364"/>
                  </a:lnTo>
                  <a:lnTo>
                    <a:pt x="147" y="352"/>
                  </a:lnTo>
                  <a:lnTo>
                    <a:pt x="147" y="350"/>
                  </a:lnTo>
                  <a:lnTo>
                    <a:pt x="147" y="349"/>
                  </a:lnTo>
                  <a:lnTo>
                    <a:pt x="146" y="347"/>
                  </a:lnTo>
                  <a:lnTo>
                    <a:pt x="145" y="345"/>
                  </a:lnTo>
                  <a:lnTo>
                    <a:pt x="145" y="344"/>
                  </a:lnTo>
                  <a:lnTo>
                    <a:pt x="144" y="343"/>
                  </a:lnTo>
                  <a:lnTo>
                    <a:pt x="143" y="342"/>
                  </a:lnTo>
                  <a:lnTo>
                    <a:pt x="142" y="341"/>
                  </a:lnTo>
                  <a:lnTo>
                    <a:pt x="141" y="341"/>
                  </a:lnTo>
                  <a:lnTo>
                    <a:pt x="140" y="340"/>
                  </a:lnTo>
                  <a:lnTo>
                    <a:pt x="137" y="340"/>
                  </a:lnTo>
                  <a:lnTo>
                    <a:pt x="136" y="339"/>
                  </a:lnTo>
                  <a:lnTo>
                    <a:pt x="135" y="339"/>
                  </a:lnTo>
                  <a:lnTo>
                    <a:pt x="134" y="338"/>
                  </a:lnTo>
                  <a:lnTo>
                    <a:pt x="134" y="336"/>
                  </a:lnTo>
                  <a:lnTo>
                    <a:pt x="134" y="335"/>
                  </a:lnTo>
                  <a:lnTo>
                    <a:pt x="135" y="334"/>
                  </a:lnTo>
                  <a:lnTo>
                    <a:pt x="137" y="330"/>
                  </a:lnTo>
                  <a:lnTo>
                    <a:pt x="137" y="328"/>
                  </a:lnTo>
                  <a:lnTo>
                    <a:pt x="138" y="327"/>
                  </a:lnTo>
                  <a:lnTo>
                    <a:pt x="138" y="325"/>
                  </a:lnTo>
                  <a:lnTo>
                    <a:pt x="137" y="324"/>
                  </a:lnTo>
                  <a:lnTo>
                    <a:pt x="137" y="323"/>
                  </a:lnTo>
                  <a:lnTo>
                    <a:pt x="136" y="322"/>
                  </a:lnTo>
                  <a:lnTo>
                    <a:pt x="135" y="321"/>
                  </a:lnTo>
                  <a:lnTo>
                    <a:pt x="134" y="320"/>
                  </a:lnTo>
                  <a:lnTo>
                    <a:pt x="132" y="318"/>
                  </a:lnTo>
                  <a:lnTo>
                    <a:pt x="130" y="317"/>
                  </a:lnTo>
                  <a:lnTo>
                    <a:pt x="127" y="316"/>
                  </a:lnTo>
                  <a:lnTo>
                    <a:pt x="123" y="315"/>
                  </a:lnTo>
                  <a:lnTo>
                    <a:pt x="119" y="315"/>
                  </a:lnTo>
                  <a:lnTo>
                    <a:pt x="117" y="315"/>
                  </a:lnTo>
                  <a:lnTo>
                    <a:pt x="112" y="315"/>
                  </a:lnTo>
                  <a:lnTo>
                    <a:pt x="110" y="315"/>
                  </a:lnTo>
                  <a:lnTo>
                    <a:pt x="108" y="315"/>
                  </a:lnTo>
                  <a:lnTo>
                    <a:pt x="108" y="314"/>
                  </a:lnTo>
                  <a:lnTo>
                    <a:pt x="106" y="313"/>
                  </a:lnTo>
                  <a:lnTo>
                    <a:pt x="103" y="312"/>
                  </a:lnTo>
                  <a:lnTo>
                    <a:pt x="100" y="310"/>
                  </a:lnTo>
                  <a:lnTo>
                    <a:pt x="98" y="308"/>
                  </a:lnTo>
                  <a:lnTo>
                    <a:pt x="97" y="306"/>
                  </a:lnTo>
                  <a:lnTo>
                    <a:pt x="96" y="304"/>
                  </a:lnTo>
                  <a:lnTo>
                    <a:pt x="94" y="303"/>
                  </a:lnTo>
                  <a:lnTo>
                    <a:pt x="93" y="301"/>
                  </a:lnTo>
                  <a:lnTo>
                    <a:pt x="92" y="300"/>
                  </a:lnTo>
                  <a:lnTo>
                    <a:pt x="92" y="298"/>
                  </a:lnTo>
                  <a:lnTo>
                    <a:pt x="92" y="295"/>
                  </a:lnTo>
                  <a:lnTo>
                    <a:pt x="91" y="288"/>
                  </a:lnTo>
                  <a:lnTo>
                    <a:pt x="91" y="284"/>
                  </a:lnTo>
                  <a:lnTo>
                    <a:pt x="90" y="281"/>
                  </a:lnTo>
                  <a:lnTo>
                    <a:pt x="89" y="274"/>
                  </a:lnTo>
                  <a:lnTo>
                    <a:pt x="88" y="269"/>
                  </a:lnTo>
                  <a:lnTo>
                    <a:pt x="87" y="266"/>
                  </a:lnTo>
                  <a:lnTo>
                    <a:pt x="87" y="264"/>
                  </a:lnTo>
                  <a:lnTo>
                    <a:pt x="87" y="261"/>
                  </a:lnTo>
                  <a:lnTo>
                    <a:pt x="87" y="250"/>
                  </a:lnTo>
                  <a:lnTo>
                    <a:pt x="87" y="248"/>
                  </a:lnTo>
                  <a:lnTo>
                    <a:pt x="87" y="246"/>
                  </a:lnTo>
                  <a:lnTo>
                    <a:pt x="86" y="244"/>
                  </a:lnTo>
                  <a:lnTo>
                    <a:pt x="85" y="242"/>
                  </a:lnTo>
                  <a:lnTo>
                    <a:pt x="82" y="235"/>
                  </a:lnTo>
                  <a:lnTo>
                    <a:pt x="78" y="228"/>
                  </a:lnTo>
                  <a:lnTo>
                    <a:pt x="76" y="225"/>
                  </a:lnTo>
                  <a:lnTo>
                    <a:pt x="75" y="223"/>
                  </a:lnTo>
                  <a:lnTo>
                    <a:pt x="74" y="222"/>
                  </a:lnTo>
                  <a:lnTo>
                    <a:pt x="73" y="221"/>
                  </a:lnTo>
                  <a:lnTo>
                    <a:pt x="72" y="221"/>
                  </a:lnTo>
                  <a:lnTo>
                    <a:pt x="71" y="220"/>
                  </a:lnTo>
                  <a:lnTo>
                    <a:pt x="69" y="219"/>
                  </a:lnTo>
                  <a:lnTo>
                    <a:pt x="63" y="217"/>
                  </a:lnTo>
                  <a:lnTo>
                    <a:pt x="61" y="216"/>
                  </a:lnTo>
                  <a:lnTo>
                    <a:pt x="60" y="215"/>
                  </a:lnTo>
                  <a:lnTo>
                    <a:pt x="58" y="213"/>
                  </a:lnTo>
                  <a:lnTo>
                    <a:pt x="55" y="210"/>
                  </a:lnTo>
                  <a:lnTo>
                    <a:pt x="51" y="206"/>
                  </a:lnTo>
                  <a:lnTo>
                    <a:pt x="50" y="204"/>
                  </a:lnTo>
                  <a:lnTo>
                    <a:pt x="48" y="202"/>
                  </a:lnTo>
                  <a:lnTo>
                    <a:pt x="46" y="199"/>
                  </a:lnTo>
                  <a:lnTo>
                    <a:pt x="44" y="198"/>
                  </a:lnTo>
                  <a:lnTo>
                    <a:pt x="43" y="195"/>
                  </a:lnTo>
                  <a:lnTo>
                    <a:pt x="42" y="192"/>
                  </a:lnTo>
                  <a:lnTo>
                    <a:pt x="41" y="190"/>
                  </a:lnTo>
                  <a:lnTo>
                    <a:pt x="40" y="185"/>
                  </a:lnTo>
                  <a:lnTo>
                    <a:pt x="40" y="183"/>
                  </a:lnTo>
                  <a:lnTo>
                    <a:pt x="40" y="182"/>
                  </a:lnTo>
                  <a:lnTo>
                    <a:pt x="39" y="181"/>
                  </a:lnTo>
                  <a:lnTo>
                    <a:pt x="38" y="180"/>
                  </a:lnTo>
                  <a:lnTo>
                    <a:pt x="37" y="179"/>
                  </a:lnTo>
                  <a:lnTo>
                    <a:pt x="35" y="177"/>
                  </a:lnTo>
                  <a:lnTo>
                    <a:pt x="30" y="175"/>
                  </a:lnTo>
                  <a:lnTo>
                    <a:pt x="29" y="174"/>
                  </a:lnTo>
                  <a:lnTo>
                    <a:pt x="27" y="172"/>
                  </a:lnTo>
                  <a:lnTo>
                    <a:pt x="26" y="172"/>
                  </a:lnTo>
                  <a:lnTo>
                    <a:pt x="24" y="171"/>
                  </a:lnTo>
                  <a:lnTo>
                    <a:pt x="21" y="171"/>
                  </a:lnTo>
                  <a:lnTo>
                    <a:pt x="20" y="171"/>
                  </a:lnTo>
                  <a:lnTo>
                    <a:pt x="19" y="170"/>
                  </a:lnTo>
                  <a:lnTo>
                    <a:pt x="18" y="169"/>
                  </a:lnTo>
                  <a:lnTo>
                    <a:pt x="18" y="168"/>
                  </a:lnTo>
                  <a:lnTo>
                    <a:pt x="17" y="166"/>
                  </a:lnTo>
                  <a:lnTo>
                    <a:pt x="17" y="164"/>
                  </a:lnTo>
                  <a:lnTo>
                    <a:pt x="17" y="163"/>
                  </a:lnTo>
                  <a:lnTo>
                    <a:pt x="17" y="161"/>
                  </a:lnTo>
                  <a:lnTo>
                    <a:pt x="17" y="156"/>
                  </a:lnTo>
                  <a:lnTo>
                    <a:pt x="17" y="149"/>
                  </a:lnTo>
                  <a:lnTo>
                    <a:pt x="17" y="145"/>
                  </a:lnTo>
                  <a:lnTo>
                    <a:pt x="17" y="142"/>
                  </a:lnTo>
                  <a:lnTo>
                    <a:pt x="17" y="138"/>
                  </a:lnTo>
                  <a:lnTo>
                    <a:pt x="17" y="134"/>
                  </a:lnTo>
                  <a:lnTo>
                    <a:pt x="17" y="131"/>
                  </a:lnTo>
                  <a:lnTo>
                    <a:pt x="16" y="127"/>
                  </a:lnTo>
                  <a:lnTo>
                    <a:pt x="14" y="121"/>
                  </a:lnTo>
                  <a:lnTo>
                    <a:pt x="13" y="118"/>
                  </a:lnTo>
                  <a:lnTo>
                    <a:pt x="13" y="114"/>
                  </a:lnTo>
                  <a:lnTo>
                    <a:pt x="12" y="111"/>
                  </a:lnTo>
                  <a:lnTo>
                    <a:pt x="13" y="108"/>
                  </a:lnTo>
                  <a:lnTo>
                    <a:pt x="13" y="105"/>
                  </a:lnTo>
                  <a:lnTo>
                    <a:pt x="14" y="103"/>
                  </a:lnTo>
                  <a:lnTo>
                    <a:pt x="16" y="97"/>
                  </a:lnTo>
                  <a:lnTo>
                    <a:pt x="19" y="85"/>
                  </a:lnTo>
                  <a:lnTo>
                    <a:pt x="19" y="81"/>
                  </a:lnTo>
                  <a:lnTo>
                    <a:pt x="19" y="80"/>
                  </a:lnTo>
                  <a:lnTo>
                    <a:pt x="19" y="79"/>
                  </a:lnTo>
                  <a:lnTo>
                    <a:pt x="18" y="76"/>
                  </a:lnTo>
                  <a:lnTo>
                    <a:pt x="17" y="74"/>
                  </a:lnTo>
                  <a:lnTo>
                    <a:pt x="16" y="70"/>
                  </a:lnTo>
                  <a:lnTo>
                    <a:pt x="14" y="66"/>
                  </a:lnTo>
                  <a:lnTo>
                    <a:pt x="12" y="64"/>
                  </a:lnTo>
                  <a:lnTo>
                    <a:pt x="10" y="62"/>
                  </a:lnTo>
                  <a:lnTo>
                    <a:pt x="3" y="54"/>
                  </a:lnTo>
                  <a:lnTo>
                    <a:pt x="1" y="51"/>
                  </a:lnTo>
                  <a:lnTo>
                    <a:pt x="0" y="51"/>
                  </a:lnTo>
                  <a:lnTo>
                    <a:pt x="3" y="51"/>
                  </a:lnTo>
                  <a:lnTo>
                    <a:pt x="13" y="51"/>
                  </a:lnTo>
                  <a:lnTo>
                    <a:pt x="17" y="51"/>
                  </a:lnTo>
                  <a:lnTo>
                    <a:pt x="20" y="52"/>
                  </a:lnTo>
                  <a:lnTo>
                    <a:pt x="23" y="53"/>
                  </a:lnTo>
                  <a:lnTo>
                    <a:pt x="27" y="54"/>
                  </a:lnTo>
                  <a:lnTo>
                    <a:pt x="29" y="55"/>
                  </a:lnTo>
                  <a:lnTo>
                    <a:pt x="31" y="56"/>
                  </a:lnTo>
                  <a:lnTo>
                    <a:pt x="36" y="59"/>
                  </a:lnTo>
                  <a:lnTo>
                    <a:pt x="41" y="62"/>
                  </a:lnTo>
                  <a:lnTo>
                    <a:pt x="44" y="63"/>
                  </a:lnTo>
                  <a:lnTo>
                    <a:pt x="45" y="63"/>
                  </a:lnTo>
                  <a:lnTo>
                    <a:pt x="46" y="63"/>
                  </a:lnTo>
                  <a:lnTo>
                    <a:pt x="48" y="63"/>
                  </a:lnTo>
                  <a:lnTo>
                    <a:pt x="49" y="63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7" y="55"/>
                  </a:lnTo>
                  <a:lnTo>
                    <a:pt x="60" y="51"/>
                  </a:lnTo>
                  <a:lnTo>
                    <a:pt x="68" y="41"/>
                  </a:lnTo>
                  <a:lnTo>
                    <a:pt x="73" y="37"/>
                  </a:lnTo>
                  <a:lnTo>
                    <a:pt x="75" y="33"/>
                  </a:lnTo>
                  <a:lnTo>
                    <a:pt x="78" y="30"/>
                  </a:lnTo>
                  <a:lnTo>
                    <a:pt x="81" y="28"/>
                  </a:lnTo>
                  <a:lnTo>
                    <a:pt x="85" y="27"/>
                  </a:lnTo>
                  <a:lnTo>
                    <a:pt x="89" y="24"/>
                  </a:lnTo>
                  <a:lnTo>
                    <a:pt x="93" y="23"/>
                  </a:lnTo>
                  <a:lnTo>
                    <a:pt x="96" y="21"/>
                  </a:lnTo>
                  <a:lnTo>
                    <a:pt x="102" y="19"/>
                  </a:lnTo>
                  <a:lnTo>
                    <a:pt x="108" y="17"/>
                  </a:lnTo>
                  <a:lnTo>
                    <a:pt x="111" y="17"/>
                  </a:lnTo>
                  <a:lnTo>
                    <a:pt x="113" y="17"/>
                  </a:lnTo>
                  <a:lnTo>
                    <a:pt x="116" y="17"/>
                  </a:lnTo>
                  <a:lnTo>
                    <a:pt x="117" y="17"/>
                  </a:lnTo>
                  <a:lnTo>
                    <a:pt x="118" y="17"/>
                  </a:lnTo>
                  <a:lnTo>
                    <a:pt x="119" y="17"/>
                  </a:lnTo>
                  <a:lnTo>
                    <a:pt x="121" y="18"/>
                  </a:lnTo>
                  <a:lnTo>
                    <a:pt x="122" y="19"/>
                  </a:lnTo>
                  <a:lnTo>
                    <a:pt x="127" y="22"/>
                  </a:lnTo>
                  <a:lnTo>
                    <a:pt x="128" y="23"/>
                  </a:lnTo>
                  <a:lnTo>
                    <a:pt x="129" y="24"/>
                  </a:lnTo>
                  <a:lnTo>
                    <a:pt x="130" y="24"/>
                  </a:lnTo>
                  <a:lnTo>
                    <a:pt x="131" y="23"/>
                  </a:lnTo>
                  <a:lnTo>
                    <a:pt x="131" y="22"/>
                  </a:lnTo>
                  <a:lnTo>
                    <a:pt x="131" y="21"/>
                  </a:lnTo>
                  <a:lnTo>
                    <a:pt x="134" y="15"/>
                  </a:lnTo>
                  <a:lnTo>
                    <a:pt x="138" y="6"/>
                  </a:lnTo>
                  <a:lnTo>
                    <a:pt x="140" y="1"/>
                  </a:lnTo>
                  <a:lnTo>
                    <a:pt x="141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7" name="Freeform 34">
              <a:extLst>
                <a:ext uri="{FF2B5EF4-FFF2-40B4-BE49-F238E27FC236}">
                  <a16:creationId xmlns:a16="http://schemas.microsoft.com/office/drawing/2014/main" id="{109562BC-1FE6-41C2-B2AD-0B4C39B6E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" y="1710"/>
              <a:ext cx="357" cy="447"/>
            </a:xfrm>
            <a:custGeom>
              <a:avLst/>
              <a:gdLst>
                <a:gd name="T0" fmla="*/ 209 w 357"/>
                <a:gd name="T1" fmla="*/ 12 h 447"/>
                <a:gd name="T2" fmla="*/ 218 w 357"/>
                <a:gd name="T3" fmla="*/ 31 h 447"/>
                <a:gd name="T4" fmla="*/ 212 w 357"/>
                <a:gd name="T5" fmla="*/ 68 h 447"/>
                <a:gd name="T6" fmla="*/ 216 w 357"/>
                <a:gd name="T7" fmla="*/ 99 h 447"/>
                <a:gd name="T8" fmla="*/ 218 w 357"/>
                <a:gd name="T9" fmla="*/ 120 h 447"/>
                <a:gd name="T10" fmla="*/ 229 w 357"/>
                <a:gd name="T11" fmla="*/ 125 h 447"/>
                <a:gd name="T12" fmla="*/ 240 w 357"/>
                <a:gd name="T13" fmla="*/ 140 h 447"/>
                <a:gd name="T14" fmla="*/ 254 w 357"/>
                <a:gd name="T15" fmla="*/ 160 h 447"/>
                <a:gd name="T16" fmla="*/ 272 w 357"/>
                <a:gd name="T17" fmla="*/ 171 h 447"/>
                <a:gd name="T18" fmla="*/ 286 w 357"/>
                <a:gd name="T19" fmla="*/ 196 h 447"/>
                <a:gd name="T20" fmla="*/ 289 w 357"/>
                <a:gd name="T21" fmla="*/ 231 h 447"/>
                <a:gd name="T22" fmla="*/ 295 w 357"/>
                <a:gd name="T23" fmla="*/ 254 h 447"/>
                <a:gd name="T24" fmla="*/ 309 w 357"/>
                <a:gd name="T25" fmla="*/ 265 h 447"/>
                <a:gd name="T26" fmla="*/ 333 w 357"/>
                <a:gd name="T27" fmla="*/ 270 h 447"/>
                <a:gd name="T28" fmla="*/ 336 w 357"/>
                <a:gd name="T29" fmla="*/ 280 h 447"/>
                <a:gd name="T30" fmla="*/ 336 w 357"/>
                <a:gd name="T31" fmla="*/ 290 h 447"/>
                <a:gd name="T32" fmla="*/ 345 w 357"/>
                <a:gd name="T33" fmla="*/ 297 h 447"/>
                <a:gd name="T34" fmla="*/ 350 w 357"/>
                <a:gd name="T35" fmla="*/ 325 h 447"/>
                <a:gd name="T36" fmla="*/ 357 w 357"/>
                <a:gd name="T37" fmla="*/ 338 h 447"/>
                <a:gd name="T38" fmla="*/ 341 w 357"/>
                <a:gd name="T39" fmla="*/ 346 h 447"/>
                <a:gd name="T40" fmla="*/ 344 w 357"/>
                <a:gd name="T41" fmla="*/ 354 h 447"/>
                <a:gd name="T42" fmla="*/ 354 w 357"/>
                <a:gd name="T43" fmla="*/ 360 h 447"/>
                <a:gd name="T44" fmla="*/ 329 w 357"/>
                <a:gd name="T45" fmla="*/ 388 h 447"/>
                <a:gd name="T46" fmla="*/ 321 w 357"/>
                <a:gd name="T47" fmla="*/ 402 h 447"/>
                <a:gd name="T48" fmla="*/ 330 w 357"/>
                <a:gd name="T49" fmla="*/ 429 h 447"/>
                <a:gd name="T50" fmla="*/ 327 w 357"/>
                <a:gd name="T51" fmla="*/ 446 h 447"/>
                <a:gd name="T52" fmla="*/ 299 w 357"/>
                <a:gd name="T53" fmla="*/ 432 h 447"/>
                <a:gd name="T54" fmla="*/ 274 w 357"/>
                <a:gd name="T55" fmla="*/ 417 h 447"/>
                <a:gd name="T56" fmla="*/ 246 w 357"/>
                <a:gd name="T57" fmla="*/ 403 h 447"/>
                <a:gd name="T58" fmla="*/ 226 w 357"/>
                <a:gd name="T59" fmla="*/ 408 h 447"/>
                <a:gd name="T60" fmla="*/ 210 w 357"/>
                <a:gd name="T61" fmla="*/ 416 h 447"/>
                <a:gd name="T62" fmla="*/ 195 w 357"/>
                <a:gd name="T63" fmla="*/ 407 h 447"/>
                <a:gd name="T64" fmla="*/ 187 w 357"/>
                <a:gd name="T65" fmla="*/ 412 h 447"/>
                <a:gd name="T66" fmla="*/ 171 w 357"/>
                <a:gd name="T67" fmla="*/ 424 h 447"/>
                <a:gd name="T68" fmla="*/ 146 w 357"/>
                <a:gd name="T69" fmla="*/ 415 h 447"/>
                <a:gd name="T70" fmla="*/ 138 w 357"/>
                <a:gd name="T71" fmla="*/ 398 h 447"/>
                <a:gd name="T72" fmla="*/ 121 w 357"/>
                <a:gd name="T73" fmla="*/ 386 h 447"/>
                <a:gd name="T74" fmla="*/ 102 w 357"/>
                <a:gd name="T75" fmla="*/ 366 h 447"/>
                <a:gd name="T76" fmla="*/ 79 w 357"/>
                <a:gd name="T77" fmla="*/ 346 h 447"/>
                <a:gd name="T78" fmla="*/ 73 w 357"/>
                <a:gd name="T79" fmla="*/ 333 h 447"/>
                <a:gd name="T80" fmla="*/ 79 w 357"/>
                <a:gd name="T81" fmla="*/ 306 h 447"/>
                <a:gd name="T82" fmla="*/ 89 w 357"/>
                <a:gd name="T83" fmla="*/ 287 h 447"/>
                <a:gd name="T84" fmla="*/ 83 w 357"/>
                <a:gd name="T85" fmla="*/ 271 h 447"/>
                <a:gd name="T86" fmla="*/ 87 w 357"/>
                <a:gd name="T87" fmla="*/ 252 h 447"/>
                <a:gd name="T88" fmla="*/ 84 w 357"/>
                <a:gd name="T89" fmla="*/ 222 h 447"/>
                <a:gd name="T90" fmla="*/ 57 w 357"/>
                <a:gd name="T91" fmla="*/ 175 h 447"/>
                <a:gd name="T92" fmla="*/ 28 w 357"/>
                <a:gd name="T93" fmla="*/ 160 h 447"/>
                <a:gd name="T94" fmla="*/ 1 w 357"/>
                <a:gd name="T95" fmla="*/ 140 h 447"/>
                <a:gd name="T96" fmla="*/ 13 w 357"/>
                <a:gd name="T97" fmla="*/ 118 h 447"/>
                <a:gd name="T98" fmla="*/ 27 w 357"/>
                <a:gd name="T99" fmla="*/ 102 h 447"/>
                <a:gd name="T100" fmla="*/ 50 w 357"/>
                <a:gd name="T101" fmla="*/ 81 h 447"/>
                <a:gd name="T102" fmla="*/ 76 w 357"/>
                <a:gd name="T103" fmla="*/ 68 h 447"/>
                <a:gd name="T104" fmla="*/ 87 w 357"/>
                <a:gd name="T105" fmla="*/ 46 h 447"/>
                <a:gd name="T106" fmla="*/ 100 w 357"/>
                <a:gd name="T107" fmla="*/ 26 h 447"/>
                <a:gd name="T108" fmla="*/ 128 w 357"/>
                <a:gd name="T109" fmla="*/ 13 h 447"/>
                <a:gd name="T110" fmla="*/ 193 w 357"/>
                <a:gd name="T111" fmla="*/ 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7" h="447">
                  <a:moveTo>
                    <a:pt x="195" y="0"/>
                  </a:moveTo>
                  <a:lnTo>
                    <a:pt x="197" y="0"/>
                  </a:lnTo>
                  <a:lnTo>
                    <a:pt x="198" y="1"/>
                  </a:lnTo>
                  <a:lnTo>
                    <a:pt x="199" y="1"/>
                  </a:lnTo>
                  <a:lnTo>
                    <a:pt x="199" y="1"/>
                  </a:lnTo>
                  <a:lnTo>
                    <a:pt x="200" y="1"/>
                  </a:lnTo>
                  <a:lnTo>
                    <a:pt x="202" y="4"/>
                  </a:lnTo>
                  <a:lnTo>
                    <a:pt x="209" y="12"/>
                  </a:lnTo>
                  <a:lnTo>
                    <a:pt x="211" y="14"/>
                  </a:lnTo>
                  <a:lnTo>
                    <a:pt x="213" y="16"/>
                  </a:lnTo>
                  <a:lnTo>
                    <a:pt x="215" y="20"/>
                  </a:lnTo>
                  <a:lnTo>
                    <a:pt x="216" y="24"/>
                  </a:lnTo>
                  <a:lnTo>
                    <a:pt x="217" y="26"/>
                  </a:lnTo>
                  <a:lnTo>
                    <a:pt x="218" y="29"/>
                  </a:lnTo>
                  <a:lnTo>
                    <a:pt x="218" y="30"/>
                  </a:lnTo>
                  <a:lnTo>
                    <a:pt x="218" y="31"/>
                  </a:lnTo>
                  <a:lnTo>
                    <a:pt x="218" y="35"/>
                  </a:lnTo>
                  <a:lnTo>
                    <a:pt x="215" y="47"/>
                  </a:lnTo>
                  <a:lnTo>
                    <a:pt x="213" y="53"/>
                  </a:lnTo>
                  <a:lnTo>
                    <a:pt x="212" y="55"/>
                  </a:lnTo>
                  <a:lnTo>
                    <a:pt x="212" y="58"/>
                  </a:lnTo>
                  <a:lnTo>
                    <a:pt x="211" y="61"/>
                  </a:lnTo>
                  <a:lnTo>
                    <a:pt x="212" y="64"/>
                  </a:lnTo>
                  <a:lnTo>
                    <a:pt x="212" y="68"/>
                  </a:lnTo>
                  <a:lnTo>
                    <a:pt x="213" y="71"/>
                  </a:lnTo>
                  <a:lnTo>
                    <a:pt x="215" y="77"/>
                  </a:lnTo>
                  <a:lnTo>
                    <a:pt x="216" y="81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92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6" y="106"/>
                  </a:lnTo>
                  <a:lnTo>
                    <a:pt x="216" y="111"/>
                  </a:lnTo>
                  <a:lnTo>
                    <a:pt x="216" y="113"/>
                  </a:lnTo>
                  <a:lnTo>
                    <a:pt x="216" y="114"/>
                  </a:lnTo>
                  <a:lnTo>
                    <a:pt x="216" y="116"/>
                  </a:lnTo>
                  <a:lnTo>
                    <a:pt x="217" y="118"/>
                  </a:lnTo>
                  <a:lnTo>
                    <a:pt x="217" y="119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19" y="121"/>
                  </a:lnTo>
                  <a:lnTo>
                    <a:pt x="220" y="121"/>
                  </a:lnTo>
                  <a:lnTo>
                    <a:pt x="223" y="121"/>
                  </a:lnTo>
                  <a:lnTo>
                    <a:pt x="225" y="122"/>
                  </a:lnTo>
                  <a:lnTo>
                    <a:pt x="226" y="122"/>
                  </a:lnTo>
                  <a:lnTo>
                    <a:pt x="228" y="124"/>
                  </a:lnTo>
                  <a:lnTo>
                    <a:pt x="229" y="125"/>
                  </a:lnTo>
                  <a:lnTo>
                    <a:pt x="234" y="127"/>
                  </a:lnTo>
                  <a:lnTo>
                    <a:pt x="236" y="129"/>
                  </a:lnTo>
                  <a:lnTo>
                    <a:pt x="237" y="130"/>
                  </a:lnTo>
                  <a:lnTo>
                    <a:pt x="238" y="131"/>
                  </a:lnTo>
                  <a:lnTo>
                    <a:pt x="239" y="132"/>
                  </a:lnTo>
                  <a:lnTo>
                    <a:pt x="239" y="133"/>
                  </a:lnTo>
                  <a:lnTo>
                    <a:pt x="239" y="135"/>
                  </a:lnTo>
                  <a:lnTo>
                    <a:pt x="240" y="140"/>
                  </a:lnTo>
                  <a:lnTo>
                    <a:pt x="241" y="142"/>
                  </a:lnTo>
                  <a:lnTo>
                    <a:pt x="242" y="145"/>
                  </a:lnTo>
                  <a:lnTo>
                    <a:pt x="243" y="148"/>
                  </a:lnTo>
                  <a:lnTo>
                    <a:pt x="245" y="149"/>
                  </a:lnTo>
                  <a:lnTo>
                    <a:pt x="247" y="152"/>
                  </a:lnTo>
                  <a:lnTo>
                    <a:pt x="249" y="154"/>
                  </a:lnTo>
                  <a:lnTo>
                    <a:pt x="250" y="156"/>
                  </a:lnTo>
                  <a:lnTo>
                    <a:pt x="254" y="160"/>
                  </a:lnTo>
                  <a:lnTo>
                    <a:pt x="257" y="163"/>
                  </a:lnTo>
                  <a:lnTo>
                    <a:pt x="259" y="165"/>
                  </a:lnTo>
                  <a:lnTo>
                    <a:pt x="260" y="166"/>
                  </a:lnTo>
                  <a:lnTo>
                    <a:pt x="262" y="167"/>
                  </a:lnTo>
                  <a:lnTo>
                    <a:pt x="268" y="169"/>
                  </a:lnTo>
                  <a:lnTo>
                    <a:pt x="270" y="170"/>
                  </a:lnTo>
                  <a:lnTo>
                    <a:pt x="271" y="171"/>
                  </a:lnTo>
                  <a:lnTo>
                    <a:pt x="272" y="171"/>
                  </a:lnTo>
                  <a:lnTo>
                    <a:pt x="273" y="172"/>
                  </a:lnTo>
                  <a:lnTo>
                    <a:pt x="274" y="173"/>
                  </a:lnTo>
                  <a:lnTo>
                    <a:pt x="275" y="175"/>
                  </a:lnTo>
                  <a:lnTo>
                    <a:pt x="277" y="178"/>
                  </a:lnTo>
                  <a:lnTo>
                    <a:pt x="281" y="185"/>
                  </a:lnTo>
                  <a:lnTo>
                    <a:pt x="284" y="192"/>
                  </a:lnTo>
                  <a:lnTo>
                    <a:pt x="285" y="194"/>
                  </a:lnTo>
                  <a:lnTo>
                    <a:pt x="286" y="196"/>
                  </a:lnTo>
                  <a:lnTo>
                    <a:pt x="286" y="198"/>
                  </a:lnTo>
                  <a:lnTo>
                    <a:pt x="286" y="200"/>
                  </a:lnTo>
                  <a:lnTo>
                    <a:pt x="286" y="211"/>
                  </a:lnTo>
                  <a:lnTo>
                    <a:pt x="286" y="214"/>
                  </a:lnTo>
                  <a:lnTo>
                    <a:pt x="286" y="216"/>
                  </a:lnTo>
                  <a:lnTo>
                    <a:pt x="287" y="219"/>
                  </a:lnTo>
                  <a:lnTo>
                    <a:pt x="288" y="224"/>
                  </a:lnTo>
                  <a:lnTo>
                    <a:pt x="289" y="231"/>
                  </a:lnTo>
                  <a:lnTo>
                    <a:pt x="290" y="234"/>
                  </a:lnTo>
                  <a:lnTo>
                    <a:pt x="290" y="238"/>
                  </a:lnTo>
                  <a:lnTo>
                    <a:pt x="291" y="245"/>
                  </a:lnTo>
                  <a:lnTo>
                    <a:pt x="291" y="248"/>
                  </a:lnTo>
                  <a:lnTo>
                    <a:pt x="291" y="250"/>
                  </a:lnTo>
                  <a:lnTo>
                    <a:pt x="292" y="251"/>
                  </a:lnTo>
                  <a:lnTo>
                    <a:pt x="293" y="253"/>
                  </a:lnTo>
                  <a:lnTo>
                    <a:pt x="295" y="254"/>
                  </a:lnTo>
                  <a:lnTo>
                    <a:pt x="296" y="256"/>
                  </a:lnTo>
                  <a:lnTo>
                    <a:pt x="297" y="258"/>
                  </a:lnTo>
                  <a:lnTo>
                    <a:pt x="299" y="260"/>
                  </a:lnTo>
                  <a:lnTo>
                    <a:pt x="302" y="262"/>
                  </a:lnTo>
                  <a:lnTo>
                    <a:pt x="305" y="263"/>
                  </a:lnTo>
                  <a:lnTo>
                    <a:pt x="307" y="264"/>
                  </a:lnTo>
                  <a:lnTo>
                    <a:pt x="307" y="265"/>
                  </a:lnTo>
                  <a:lnTo>
                    <a:pt x="309" y="265"/>
                  </a:lnTo>
                  <a:lnTo>
                    <a:pt x="311" y="265"/>
                  </a:lnTo>
                  <a:lnTo>
                    <a:pt x="316" y="265"/>
                  </a:lnTo>
                  <a:lnTo>
                    <a:pt x="318" y="265"/>
                  </a:lnTo>
                  <a:lnTo>
                    <a:pt x="322" y="265"/>
                  </a:lnTo>
                  <a:lnTo>
                    <a:pt x="326" y="266"/>
                  </a:lnTo>
                  <a:lnTo>
                    <a:pt x="329" y="267"/>
                  </a:lnTo>
                  <a:lnTo>
                    <a:pt x="331" y="268"/>
                  </a:lnTo>
                  <a:lnTo>
                    <a:pt x="333" y="270"/>
                  </a:lnTo>
                  <a:lnTo>
                    <a:pt x="334" y="271"/>
                  </a:lnTo>
                  <a:lnTo>
                    <a:pt x="335" y="272"/>
                  </a:lnTo>
                  <a:lnTo>
                    <a:pt x="336" y="273"/>
                  </a:lnTo>
                  <a:lnTo>
                    <a:pt x="336" y="274"/>
                  </a:lnTo>
                  <a:lnTo>
                    <a:pt x="337" y="275"/>
                  </a:lnTo>
                  <a:lnTo>
                    <a:pt x="337" y="277"/>
                  </a:lnTo>
                  <a:lnTo>
                    <a:pt x="336" y="278"/>
                  </a:lnTo>
                  <a:lnTo>
                    <a:pt x="336" y="280"/>
                  </a:lnTo>
                  <a:lnTo>
                    <a:pt x="334" y="284"/>
                  </a:lnTo>
                  <a:lnTo>
                    <a:pt x="333" y="285"/>
                  </a:lnTo>
                  <a:lnTo>
                    <a:pt x="333" y="286"/>
                  </a:lnTo>
                  <a:lnTo>
                    <a:pt x="333" y="288"/>
                  </a:lnTo>
                  <a:lnTo>
                    <a:pt x="333" y="288"/>
                  </a:lnTo>
                  <a:lnTo>
                    <a:pt x="334" y="289"/>
                  </a:lnTo>
                  <a:lnTo>
                    <a:pt x="335" y="289"/>
                  </a:lnTo>
                  <a:lnTo>
                    <a:pt x="336" y="290"/>
                  </a:lnTo>
                  <a:lnTo>
                    <a:pt x="339" y="290"/>
                  </a:lnTo>
                  <a:lnTo>
                    <a:pt x="340" y="291"/>
                  </a:lnTo>
                  <a:lnTo>
                    <a:pt x="341" y="291"/>
                  </a:lnTo>
                  <a:lnTo>
                    <a:pt x="342" y="292"/>
                  </a:lnTo>
                  <a:lnTo>
                    <a:pt x="343" y="293"/>
                  </a:lnTo>
                  <a:lnTo>
                    <a:pt x="344" y="294"/>
                  </a:lnTo>
                  <a:lnTo>
                    <a:pt x="344" y="295"/>
                  </a:lnTo>
                  <a:lnTo>
                    <a:pt x="345" y="297"/>
                  </a:lnTo>
                  <a:lnTo>
                    <a:pt x="346" y="299"/>
                  </a:lnTo>
                  <a:lnTo>
                    <a:pt x="346" y="300"/>
                  </a:lnTo>
                  <a:lnTo>
                    <a:pt x="346" y="302"/>
                  </a:lnTo>
                  <a:lnTo>
                    <a:pt x="346" y="314"/>
                  </a:lnTo>
                  <a:lnTo>
                    <a:pt x="347" y="317"/>
                  </a:lnTo>
                  <a:lnTo>
                    <a:pt x="347" y="319"/>
                  </a:lnTo>
                  <a:lnTo>
                    <a:pt x="348" y="322"/>
                  </a:lnTo>
                  <a:lnTo>
                    <a:pt x="350" y="325"/>
                  </a:lnTo>
                  <a:lnTo>
                    <a:pt x="352" y="327"/>
                  </a:lnTo>
                  <a:lnTo>
                    <a:pt x="356" y="332"/>
                  </a:lnTo>
                  <a:lnTo>
                    <a:pt x="357" y="334"/>
                  </a:lnTo>
                  <a:lnTo>
                    <a:pt x="357" y="335"/>
                  </a:lnTo>
                  <a:lnTo>
                    <a:pt x="357" y="336"/>
                  </a:lnTo>
                  <a:lnTo>
                    <a:pt x="357" y="337"/>
                  </a:lnTo>
                  <a:lnTo>
                    <a:pt x="357" y="338"/>
                  </a:lnTo>
                  <a:lnTo>
                    <a:pt x="357" y="338"/>
                  </a:lnTo>
                  <a:lnTo>
                    <a:pt x="356" y="338"/>
                  </a:lnTo>
                  <a:lnTo>
                    <a:pt x="352" y="339"/>
                  </a:lnTo>
                  <a:lnTo>
                    <a:pt x="350" y="340"/>
                  </a:lnTo>
                  <a:lnTo>
                    <a:pt x="349" y="341"/>
                  </a:lnTo>
                  <a:lnTo>
                    <a:pt x="347" y="341"/>
                  </a:lnTo>
                  <a:lnTo>
                    <a:pt x="343" y="343"/>
                  </a:lnTo>
                  <a:lnTo>
                    <a:pt x="342" y="344"/>
                  </a:lnTo>
                  <a:lnTo>
                    <a:pt x="341" y="346"/>
                  </a:lnTo>
                  <a:lnTo>
                    <a:pt x="341" y="347"/>
                  </a:lnTo>
                  <a:lnTo>
                    <a:pt x="340" y="348"/>
                  </a:lnTo>
                  <a:lnTo>
                    <a:pt x="340" y="350"/>
                  </a:lnTo>
                  <a:lnTo>
                    <a:pt x="341" y="351"/>
                  </a:lnTo>
                  <a:lnTo>
                    <a:pt x="341" y="351"/>
                  </a:lnTo>
                  <a:lnTo>
                    <a:pt x="341" y="352"/>
                  </a:lnTo>
                  <a:lnTo>
                    <a:pt x="342" y="353"/>
                  </a:lnTo>
                  <a:lnTo>
                    <a:pt x="344" y="354"/>
                  </a:lnTo>
                  <a:lnTo>
                    <a:pt x="346" y="355"/>
                  </a:lnTo>
                  <a:lnTo>
                    <a:pt x="348" y="356"/>
                  </a:lnTo>
                  <a:lnTo>
                    <a:pt x="350" y="356"/>
                  </a:lnTo>
                  <a:lnTo>
                    <a:pt x="352" y="356"/>
                  </a:lnTo>
                  <a:lnTo>
                    <a:pt x="352" y="357"/>
                  </a:lnTo>
                  <a:lnTo>
                    <a:pt x="353" y="358"/>
                  </a:lnTo>
                  <a:lnTo>
                    <a:pt x="353" y="359"/>
                  </a:lnTo>
                  <a:lnTo>
                    <a:pt x="354" y="360"/>
                  </a:lnTo>
                  <a:lnTo>
                    <a:pt x="353" y="361"/>
                  </a:lnTo>
                  <a:lnTo>
                    <a:pt x="353" y="363"/>
                  </a:lnTo>
                  <a:lnTo>
                    <a:pt x="352" y="364"/>
                  </a:lnTo>
                  <a:lnTo>
                    <a:pt x="348" y="369"/>
                  </a:lnTo>
                  <a:lnTo>
                    <a:pt x="342" y="375"/>
                  </a:lnTo>
                  <a:lnTo>
                    <a:pt x="338" y="380"/>
                  </a:lnTo>
                  <a:lnTo>
                    <a:pt x="335" y="383"/>
                  </a:lnTo>
                  <a:lnTo>
                    <a:pt x="329" y="388"/>
                  </a:lnTo>
                  <a:lnTo>
                    <a:pt x="326" y="391"/>
                  </a:lnTo>
                  <a:lnTo>
                    <a:pt x="324" y="393"/>
                  </a:lnTo>
                  <a:lnTo>
                    <a:pt x="323" y="395"/>
                  </a:lnTo>
                  <a:lnTo>
                    <a:pt x="322" y="397"/>
                  </a:lnTo>
                  <a:lnTo>
                    <a:pt x="321" y="398"/>
                  </a:lnTo>
                  <a:lnTo>
                    <a:pt x="321" y="399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1" y="403"/>
                  </a:lnTo>
                  <a:lnTo>
                    <a:pt x="322" y="405"/>
                  </a:lnTo>
                  <a:lnTo>
                    <a:pt x="325" y="410"/>
                  </a:lnTo>
                  <a:lnTo>
                    <a:pt x="327" y="415"/>
                  </a:lnTo>
                  <a:lnTo>
                    <a:pt x="328" y="419"/>
                  </a:lnTo>
                  <a:lnTo>
                    <a:pt x="329" y="423"/>
                  </a:lnTo>
                  <a:lnTo>
                    <a:pt x="330" y="426"/>
                  </a:lnTo>
                  <a:lnTo>
                    <a:pt x="330" y="429"/>
                  </a:lnTo>
                  <a:lnTo>
                    <a:pt x="329" y="436"/>
                  </a:lnTo>
                  <a:lnTo>
                    <a:pt x="329" y="443"/>
                  </a:lnTo>
                  <a:lnTo>
                    <a:pt x="330" y="446"/>
                  </a:lnTo>
                  <a:lnTo>
                    <a:pt x="330" y="447"/>
                  </a:lnTo>
                  <a:lnTo>
                    <a:pt x="330" y="447"/>
                  </a:lnTo>
                  <a:lnTo>
                    <a:pt x="330" y="447"/>
                  </a:lnTo>
                  <a:lnTo>
                    <a:pt x="329" y="447"/>
                  </a:lnTo>
                  <a:lnTo>
                    <a:pt x="327" y="446"/>
                  </a:lnTo>
                  <a:lnTo>
                    <a:pt x="324" y="445"/>
                  </a:lnTo>
                  <a:lnTo>
                    <a:pt x="321" y="443"/>
                  </a:lnTo>
                  <a:lnTo>
                    <a:pt x="315" y="440"/>
                  </a:lnTo>
                  <a:lnTo>
                    <a:pt x="307" y="435"/>
                  </a:lnTo>
                  <a:lnTo>
                    <a:pt x="305" y="433"/>
                  </a:lnTo>
                  <a:lnTo>
                    <a:pt x="302" y="432"/>
                  </a:lnTo>
                  <a:lnTo>
                    <a:pt x="301" y="432"/>
                  </a:lnTo>
                  <a:lnTo>
                    <a:pt x="299" y="432"/>
                  </a:lnTo>
                  <a:lnTo>
                    <a:pt x="295" y="431"/>
                  </a:lnTo>
                  <a:lnTo>
                    <a:pt x="293" y="430"/>
                  </a:lnTo>
                  <a:lnTo>
                    <a:pt x="291" y="429"/>
                  </a:lnTo>
                  <a:lnTo>
                    <a:pt x="290" y="428"/>
                  </a:lnTo>
                  <a:lnTo>
                    <a:pt x="287" y="427"/>
                  </a:lnTo>
                  <a:lnTo>
                    <a:pt x="284" y="425"/>
                  </a:lnTo>
                  <a:lnTo>
                    <a:pt x="282" y="422"/>
                  </a:lnTo>
                  <a:lnTo>
                    <a:pt x="274" y="417"/>
                  </a:lnTo>
                  <a:lnTo>
                    <a:pt x="273" y="415"/>
                  </a:lnTo>
                  <a:lnTo>
                    <a:pt x="270" y="413"/>
                  </a:lnTo>
                  <a:lnTo>
                    <a:pt x="266" y="411"/>
                  </a:lnTo>
                  <a:lnTo>
                    <a:pt x="259" y="408"/>
                  </a:lnTo>
                  <a:lnTo>
                    <a:pt x="253" y="405"/>
                  </a:lnTo>
                  <a:lnTo>
                    <a:pt x="250" y="404"/>
                  </a:lnTo>
                  <a:lnTo>
                    <a:pt x="248" y="403"/>
                  </a:lnTo>
                  <a:lnTo>
                    <a:pt x="246" y="403"/>
                  </a:lnTo>
                  <a:lnTo>
                    <a:pt x="244" y="403"/>
                  </a:lnTo>
                  <a:lnTo>
                    <a:pt x="242" y="403"/>
                  </a:lnTo>
                  <a:lnTo>
                    <a:pt x="240" y="403"/>
                  </a:lnTo>
                  <a:lnTo>
                    <a:pt x="238" y="404"/>
                  </a:lnTo>
                  <a:lnTo>
                    <a:pt x="236" y="404"/>
                  </a:lnTo>
                  <a:lnTo>
                    <a:pt x="231" y="406"/>
                  </a:lnTo>
                  <a:lnTo>
                    <a:pt x="228" y="407"/>
                  </a:lnTo>
                  <a:lnTo>
                    <a:pt x="226" y="408"/>
                  </a:lnTo>
                  <a:lnTo>
                    <a:pt x="224" y="409"/>
                  </a:lnTo>
                  <a:lnTo>
                    <a:pt x="219" y="413"/>
                  </a:lnTo>
                  <a:lnTo>
                    <a:pt x="217" y="414"/>
                  </a:lnTo>
                  <a:lnTo>
                    <a:pt x="216" y="415"/>
                  </a:lnTo>
                  <a:lnTo>
                    <a:pt x="215" y="416"/>
                  </a:lnTo>
                  <a:lnTo>
                    <a:pt x="213" y="416"/>
                  </a:lnTo>
                  <a:lnTo>
                    <a:pt x="212" y="416"/>
                  </a:lnTo>
                  <a:lnTo>
                    <a:pt x="210" y="416"/>
                  </a:lnTo>
                  <a:lnTo>
                    <a:pt x="208" y="416"/>
                  </a:lnTo>
                  <a:lnTo>
                    <a:pt x="206" y="415"/>
                  </a:lnTo>
                  <a:lnTo>
                    <a:pt x="205" y="414"/>
                  </a:lnTo>
                  <a:lnTo>
                    <a:pt x="203" y="413"/>
                  </a:lnTo>
                  <a:lnTo>
                    <a:pt x="201" y="412"/>
                  </a:lnTo>
                  <a:lnTo>
                    <a:pt x="200" y="410"/>
                  </a:lnTo>
                  <a:lnTo>
                    <a:pt x="197" y="408"/>
                  </a:lnTo>
                  <a:lnTo>
                    <a:pt x="195" y="407"/>
                  </a:lnTo>
                  <a:lnTo>
                    <a:pt x="195" y="406"/>
                  </a:lnTo>
                  <a:lnTo>
                    <a:pt x="194" y="406"/>
                  </a:lnTo>
                  <a:lnTo>
                    <a:pt x="193" y="406"/>
                  </a:lnTo>
                  <a:lnTo>
                    <a:pt x="193" y="406"/>
                  </a:lnTo>
                  <a:lnTo>
                    <a:pt x="193" y="406"/>
                  </a:lnTo>
                  <a:lnTo>
                    <a:pt x="191" y="408"/>
                  </a:lnTo>
                  <a:lnTo>
                    <a:pt x="190" y="409"/>
                  </a:lnTo>
                  <a:lnTo>
                    <a:pt x="187" y="412"/>
                  </a:lnTo>
                  <a:lnTo>
                    <a:pt x="185" y="415"/>
                  </a:lnTo>
                  <a:lnTo>
                    <a:pt x="183" y="418"/>
                  </a:lnTo>
                  <a:lnTo>
                    <a:pt x="182" y="419"/>
                  </a:lnTo>
                  <a:lnTo>
                    <a:pt x="180" y="420"/>
                  </a:lnTo>
                  <a:lnTo>
                    <a:pt x="178" y="421"/>
                  </a:lnTo>
                  <a:lnTo>
                    <a:pt x="175" y="423"/>
                  </a:lnTo>
                  <a:lnTo>
                    <a:pt x="172" y="424"/>
                  </a:lnTo>
                  <a:lnTo>
                    <a:pt x="171" y="424"/>
                  </a:lnTo>
                  <a:lnTo>
                    <a:pt x="170" y="425"/>
                  </a:lnTo>
                  <a:lnTo>
                    <a:pt x="167" y="425"/>
                  </a:lnTo>
                  <a:lnTo>
                    <a:pt x="166" y="425"/>
                  </a:lnTo>
                  <a:lnTo>
                    <a:pt x="164" y="424"/>
                  </a:lnTo>
                  <a:lnTo>
                    <a:pt x="162" y="424"/>
                  </a:lnTo>
                  <a:lnTo>
                    <a:pt x="150" y="419"/>
                  </a:lnTo>
                  <a:lnTo>
                    <a:pt x="148" y="417"/>
                  </a:lnTo>
                  <a:lnTo>
                    <a:pt x="146" y="415"/>
                  </a:lnTo>
                  <a:lnTo>
                    <a:pt x="145" y="414"/>
                  </a:lnTo>
                  <a:lnTo>
                    <a:pt x="144" y="413"/>
                  </a:lnTo>
                  <a:lnTo>
                    <a:pt x="143" y="412"/>
                  </a:lnTo>
                  <a:lnTo>
                    <a:pt x="143" y="410"/>
                  </a:lnTo>
                  <a:lnTo>
                    <a:pt x="141" y="408"/>
                  </a:lnTo>
                  <a:lnTo>
                    <a:pt x="140" y="401"/>
                  </a:lnTo>
                  <a:lnTo>
                    <a:pt x="139" y="398"/>
                  </a:lnTo>
                  <a:lnTo>
                    <a:pt x="138" y="398"/>
                  </a:lnTo>
                  <a:lnTo>
                    <a:pt x="138" y="397"/>
                  </a:lnTo>
                  <a:lnTo>
                    <a:pt x="137" y="395"/>
                  </a:lnTo>
                  <a:lnTo>
                    <a:pt x="136" y="394"/>
                  </a:lnTo>
                  <a:lnTo>
                    <a:pt x="136" y="393"/>
                  </a:lnTo>
                  <a:lnTo>
                    <a:pt x="135" y="392"/>
                  </a:lnTo>
                  <a:lnTo>
                    <a:pt x="131" y="390"/>
                  </a:lnTo>
                  <a:lnTo>
                    <a:pt x="127" y="388"/>
                  </a:lnTo>
                  <a:lnTo>
                    <a:pt x="121" y="386"/>
                  </a:lnTo>
                  <a:lnTo>
                    <a:pt x="118" y="385"/>
                  </a:lnTo>
                  <a:lnTo>
                    <a:pt x="115" y="383"/>
                  </a:lnTo>
                  <a:lnTo>
                    <a:pt x="113" y="381"/>
                  </a:lnTo>
                  <a:lnTo>
                    <a:pt x="110" y="378"/>
                  </a:lnTo>
                  <a:lnTo>
                    <a:pt x="108" y="376"/>
                  </a:lnTo>
                  <a:lnTo>
                    <a:pt x="107" y="375"/>
                  </a:lnTo>
                  <a:lnTo>
                    <a:pt x="105" y="372"/>
                  </a:lnTo>
                  <a:lnTo>
                    <a:pt x="102" y="366"/>
                  </a:lnTo>
                  <a:lnTo>
                    <a:pt x="101" y="364"/>
                  </a:lnTo>
                  <a:lnTo>
                    <a:pt x="98" y="359"/>
                  </a:lnTo>
                  <a:lnTo>
                    <a:pt x="97" y="358"/>
                  </a:lnTo>
                  <a:lnTo>
                    <a:pt x="96" y="356"/>
                  </a:lnTo>
                  <a:lnTo>
                    <a:pt x="93" y="354"/>
                  </a:lnTo>
                  <a:lnTo>
                    <a:pt x="91" y="353"/>
                  </a:lnTo>
                  <a:lnTo>
                    <a:pt x="85" y="350"/>
                  </a:lnTo>
                  <a:lnTo>
                    <a:pt x="79" y="346"/>
                  </a:lnTo>
                  <a:lnTo>
                    <a:pt x="77" y="345"/>
                  </a:lnTo>
                  <a:lnTo>
                    <a:pt x="76" y="344"/>
                  </a:lnTo>
                  <a:lnTo>
                    <a:pt x="75" y="343"/>
                  </a:lnTo>
                  <a:lnTo>
                    <a:pt x="74" y="342"/>
                  </a:lnTo>
                  <a:lnTo>
                    <a:pt x="74" y="341"/>
                  </a:lnTo>
                  <a:lnTo>
                    <a:pt x="73" y="340"/>
                  </a:lnTo>
                  <a:lnTo>
                    <a:pt x="73" y="336"/>
                  </a:lnTo>
                  <a:lnTo>
                    <a:pt x="73" y="333"/>
                  </a:lnTo>
                  <a:lnTo>
                    <a:pt x="73" y="330"/>
                  </a:lnTo>
                  <a:lnTo>
                    <a:pt x="74" y="325"/>
                  </a:lnTo>
                  <a:lnTo>
                    <a:pt x="75" y="320"/>
                  </a:lnTo>
                  <a:lnTo>
                    <a:pt x="75" y="317"/>
                  </a:lnTo>
                  <a:lnTo>
                    <a:pt x="76" y="313"/>
                  </a:lnTo>
                  <a:lnTo>
                    <a:pt x="78" y="309"/>
                  </a:lnTo>
                  <a:lnTo>
                    <a:pt x="79" y="307"/>
                  </a:lnTo>
                  <a:lnTo>
                    <a:pt x="79" y="306"/>
                  </a:lnTo>
                  <a:lnTo>
                    <a:pt x="81" y="303"/>
                  </a:lnTo>
                  <a:lnTo>
                    <a:pt x="85" y="297"/>
                  </a:lnTo>
                  <a:lnTo>
                    <a:pt x="86" y="296"/>
                  </a:lnTo>
                  <a:lnTo>
                    <a:pt x="87" y="294"/>
                  </a:lnTo>
                  <a:lnTo>
                    <a:pt x="88" y="292"/>
                  </a:lnTo>
                  <a:lnTo>
                    <a:pt x="88" y="291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89" y="285"/>
                  </a:lnTo>
                  <a:lnTo>
                    <a:pt x="89" y="284"/>
                  </a:lnTo>
                  <a:lnTo>
                    <a:pt x="88" y="281"/>
                  </a:lnTo>
                  <a:lnTo>
                    <a:pt x="88" y="279"/>
                  </a:lnTo>
                  <a:lnTo>
                    <a:pt x="87" y="277"/>
                  </a:lnTo>
                  <a:lnTo>
                    <a:pt x="86" y="276"/>
                  </a:lnTo>
                  <a:lnTo>
                    <a:pt x="84" y="273"/>
                  </a:lnTo>
                  <a:lnTo>
                    <a:pt x="83" y="271"/>
                  </a:lnTo>
                  <a:lnTo>
                    <a:pt x="82" y="269"/>
                  </a:lnTo>
                  <a:lnTo>
                    <a:pt x="82" y="268"/>
                  </a:lnTo>
                  <a:lnTo>
                    <a:pt x="82" y="266"/>
                  </a:lnTo>
                  <a:lnTo>
                    <a:pt x="83" y="264"/>
                  </a:lnTo>
                  <a:lnTo>
                    <a:pt x="83" y="262"/>
                  </a:lnTo>
                  <a:lnTo>
                    <a:pt x="85" y="258"/>
                  </a:lnTo>
                  <a:lnTo>
                    <a:pt x="86" y="255"/>
                  </a:lnTo>
                  <a:lnTo>
                    <a:pt x="87" y="252"/>
                  </a:lnTo>
                  <a:lnTo>
                    <a:pt x="87" y="250"/>
                  </a:lnTo>
                  <a:lnTo>
                    <a:pt x="87" y="247"/>
                  </a:lnTo>
                  <a:lnTo>
                    <a:pt x="86" y="240"/>
                  </a:lnTo>
                  <a:lnTo>
                    <a:pt x="86" y="231"/>
                  </a:lnTo>
                  <a:lnTo>
                    <a:pt x="86" y="228"/>
                  </a:lnTo>
                  <a:lnTo>
                    <a:pt x="85" y="227"/>
                  </a:lnTo>
                  <a:lnTo>
                    <a:pt x="85" y="225"/>
                  </a:lnTo>
                  <a:lnTo>
                    <a:pt x="84" y="222"/>
                  </a:lnTo>
                  <a:lnTo>
                    <a:pt x="83" y="219"/>
                  </a:lnTo>
                  <a:lnTo>
                    <a:pt x="81" y="216"/>
                  </a:lnTo>
                  <a:lnTo>
                    <a:pt x="68" y="192"/>
                  </a:lnTo>
                  <a:lnTo>
                    <a:pt x="62" y="182"/>
                  </a:lnTo>
                  <a:lnTo>
                    <a:pt x="61" y="181"/>
                  </a:lnTo>
                  <a:lnTo>
                    <a:pt x="60" y="179"/>
                  </a:lnTo>
                  <a:lnTo>
                    <a:pt x="58" y="177"/>
                  </a:lnTo>
                  <a:lnTo>
                    <a:pt x="57" y="175"/>
                  </a:lnTo>
                  <a:lnTo>
                    <a:pt x="55" y="174"/>
                  </a:lnTo>
                  <a:lnTo>
                    <a:pt x="47" y="169"/>
                  </a:lnTo>
                  <a:lnTo>
                    <a:pt x="42" y="165"/>
                  </a:lnTo>
                  <a:lnTo>
                    <a:pt x="38" y="163"/>
                  </a:lnTo>
                  <a:lnTo>
                    <a:pt x="34" y="161"/>
                  </a:lnTo>
                  <a:lnTo>
                    <a:pt x="33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6" y="160"/>
                  </a:lnTo>
                  <a:lnTo>
                    <a:pt x="24" y="160"/>
                  </a:lnTo>
                  <a:lnTo>
                    <a:pt x="23" y="159"/>
                  </a:lnTo>
                  <a:lnTo>
                    <a:pt x="19" y="156"/>
                  </a:lnTo>
                  <a:lnTo>
                    <a:pt x="12" y="150"/>
                  </a:lnTo>
                  <a:lnTo>
                    <a:pt x="6" y="146"/>
                  </a:lnTo>
                  <a:lnTo>
                    <a:pt x="0" y="140"/>
                  </a:lnTo>
                  <a:lnTo>
                    <a:pt x="1" y="140"/>
                  </a:lnTo>
                  <a:lnTo>
                    <a:pt x="2" y="140"/>
                  </a:lnTo>
                  <a:lnTo>
                    <a:pt x="2" y="140"/>
                  </a:lnTo>
                  <a:lnTo>
                    <a:pt x="3" y="139"/>
                  </a:lnTo>
                  <a:lnTo>
                    <a:pt x="5" y="137"/>
                  </a:lnTo>
                  <a:lnTo>
                    <a:pt x="7" y="135"/>
                  </a:lnTo>
                  <a:lnTo>
                    <a:pt x="9" y="132"/>
                  </a:lnTo>
                  <a:lnTo>
                    <a:pt x="10" y="129"/>
                  </a:lnTo>
                  <a:lnTo>
                    <a:pt x="13" y="118"/>
                  </a:lnTo>
                  <a:lnTo>
                    <a:pt x="16" y="113"/>
                  </a:lnTo>
                  <a:lnTo>
                    <a:pt x="17" y="110"/>
                  </a:lnTo>
                  <a:lnTo>
                    <a:pt x="19" y="108"/>
                  </a:lnTo>
                  <a:lnTo>
                    <a:pt x="20" y="106"/>
                  </a:lnTo>
                  <a:lnTo>
                    <a:pt x="22" y="105"/>
                  </a:lnTo>
                  <a:lnTo>
                    <a:pt x="23" y="103"/>
                  </a:lnTo>
                  <a:lnTo>
                    <a:pt x="24" y="103"/>
                  </a:lnTo>
                  <a:lnTo>
                    <a:pt x="27" y="102"/>
                  </a:lnTo>
                  <a:lnTo>
                    <a:pt x="31" y="99"/>
                  </a:lnTo>
                  <a:lnTo>
                    <a:pt x="34" y="98"/>
                  </a:lnTo>
                  <a:lnTo>
                    <a:pt x="36" y="96"/>
                  </a:lnTo>
                  <a:lnTo>
                    <a:pt x="38" y="95"/>
                  </a:lnTo>
                  <a:lnTo>
                    <a:pt x="39" y="93"/>
                  </a:lnTo>
                  <a:lnTo>
                    <a:pt x="41" y="92"/>
                  </a:lnTo>
                  <a:lnTo>
                    <a:pt x="46" y="85"/>
                  </a:lnTo>
                  <a:lnTo>
                    <a:pt x="50" y="81"/>
                  </a:lnTo>
                  <a:lnTo>
                    <a:pt x="54" y="79"/>
                  </a:lnTo>
                  <a:lnTo>
                    <a:pt x="57" y="76"/>
                  </a:lnTo>
                  <a:lnTo>
                    <a:pt x="62" y="73"/>
                  </a:lnTo>
                  <a:lnTo>
                    <a:pt x="64" y="72"/>
                  </a:lnTo>
                  <a:lnTo>
                    <a:pt x="66" y="71"/>
                  </a:lnTo>
                  <a:lnTo>
                    <a:pt x="68" y="70"/>
                  </a:lnTo>
                  <a:lnTo>
                    <a:pt x="74" y="69"/>
                  </a:lnTo>
                  <a:lnTo>
                    <a:pt x="76" y="68"/>
                  </a:lnTo>
                  <a:lnTo>
                    <a:pt x="78" y="67"/>
                  </a:lnTo>
                  <a:lnTo>
                    <a:pt x="79" y="66"/>
                  </a:lnTo>
                  <a:lnTo>
                    <a:pt x="80" y="65"/>
                  </a:lnTo>
                  <a:lnTo>
                    <a:pt x="81" y="63"/>
                  </a:lnTo>
                  <a:lnTo>
                    <a:pt x="82" y="60"/>
                  </a:lnTo>
                  <a:lnTo>
                    <a:pt x="83" y="58"/>
                  </a:lnTo>
                  <a:lnTo>
                    <a:pt x="86" y="50"/>
                  </a:lnTo>
                  <a:lnTo>
                    <a:pt x="87" y="46"/>
                  </a:lnTo>
                  <a:lnTo>
                    <a:pt x="88" y="45"/>
                  </a:lnTo>
                  <a:lnTo>
                    <a:pt x="89" y="42"/>
                  </a:lnTo>
                  <a:lnTo>
                    <a:pt x="91" y="38"/>
                  </a:lnTo>
                  <a:lnTo>
                    <a:pt x="92" y="35"/>
                  </a:lnTo>
                  <a:lnTo>
                    <a:pt x="94" y="33"/>
                  </a:lnTo>
                  <a:lnTo>
                    <a:pt x="96" y="30"/>
                  </a:lnTo>
                  <a:lnTo>
                    <a:pt x="98" y="28"/>
                  </a:lnTo>
                  <a:lnTo>
                    <a:pt x="100" y="26"/>
                  </a:lnTo>
                  <a:lnTo>
                    <a:pt x="102" y="24"/>
                  </a:lnTo>
                  <a:lnTo>
                    <a:pt x="103" y="23"/>
                  </a:lnTo>
                  <a:lnTo>
                    <a:pt x="106" y="21"/>
                  </a:lnTo>
                  <a:lnTo>
                    <a:pt x="109" y="19"/>
                  </a:lnTo>
                  <a:lnTo>
                    <a:pt x="113" y="17"/>
                  </a:lnTo>
                  <a:lnTo>
                    <a:pt x="118" y="15"/>
                  </a:lnTo>
                  <a:lnTo>
                    <a:pt x="123" y="14"/>
                  </a:lnTo>
                  <a:lnTo>
                    <a:pt x="128" y="13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7" y="10"/>
                  </a:lnTo>
                  <a:lnTo>
                    <a:pt x="157" y="7"/>
                  </a:lnTo>
                  <a:lnTo>
                    <a:pt x="172" y="4"/>
                  </a:lnTo>
                  <a:lnTo>
                    <a:pt x="184" y="1"/>
                  </a:lnTo>
                  <a:lnTo>
                    <a:pt x="189" y="1"/>
                  </a:lnTo>
                  <a:lnTo>
                    <a:pt x="193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8" name="Freeform 35">
              <a:extLst>
                <a:ext uri="{FF2B5EF4-FFF2-40B4-BE49-F238E27FC236}">
                  <a16:creationId xmlns:a16="http://schemas.microsoft.com/office/drawing/2014/main" id="{842706E3-8073-4997-B9E3-F07984DD3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5" y="976"/>
              <a:ext cx="452" cy="486"/>
            </a:xfrm>
            <a:custGeom>
              <a:avLst/>
              <a:gdLst>
                <a:gd name="T0" fmla="*/ 225 w 452"/>
                <a:gd name="T1" fmla="*/ 15 h 486"/>
                <a:gd name="T2" fmla="*/ 260 w 452"/>
                <a:gd name="T3" fmla="*/ 33 h 486"/>
                <a:gd name="T4" fmla="*/ 285 w 452"/>
                <a:gd name="T5" fmla="*/ 38 h 486"/>
                <a:gd name="T6" fmla="*/ 318 w 452"/>
                <a:gd name="T7" fmla="*/ 31 h 486"/>
                <a:gd name="T8" fmla="*/ 335 w 452"/>
                <a:gd name="T9" fmla="*/ 27 h 486"/>
                <a:gd name="T10" fmla="*/ 344 w 452"/>
                <a:gd name="T11" fmla="*/ 23 h 486"/>
                <a:gd name="T12" fmla="*/ 352 w 452"/>
                <a:gd name="T13" fmla="*/ 41 h 486"/>
                <a:gd name="T14" fmla="*/ 385 w 452"/>
                <a:gd name="T15" fmla="*/ 60 h 486"/>
                <a:gd name="T16" fmla="*/ 408 w 452"/>
                <a:gd name="T17" fmla="*/ 81 h 486"/>
                <a:gd name="T18" fmla="*/ 408 w 452"/>
                <a:gd name="T19" fmla="*/ 116 h 486"/>
                <a:gd name="T20" fmla="*/ 393 w 452"/>
                <a:gd name="T21" fmla="*/ 153 h 486"/>
                <a:gd name="T22" fmla="*/ 400 w 452"/>
                <a:gd name="T23" fmla="*/ 163 h 486"/>
                <a:gd name="T24" fmla="*/ 434 w 452"/>
                <a:gd name="T25" fmla="*/ 157 h 486"/>
                <a:gd name="T26" fmla="*/ 450 w 452"/>
                <a:gd name="T27" fmla="*/ 159 h 486"/>
                <a:gd name="T28" fmla="*/ 447 w 452"/>
                <a:gd name="T29" fmla="*/ 189 h 486"/>
                <a:gd name="T30" fmla="*/ 426 w 452"/>
                <a:gd name="T31" fmla="*/ 240 h 486"/>
                <a:gd name="T32" fmla="*/ 396 w 452"/>
                <a:gd name="T33" fmla="*/ 263 h 486"/>
                <a:gd name="T34" fmla="*/ 383 w 452"/>
                <a:gd name="T35" fmla="*/ 296 h 486"/>
                <a:gd name="T36" fmla="*/ 371 w 452"/>
                <a:gd name="T37" fmla="*/ 306 h 486"/>
                <a:gd name="T38" fmla="*/ 347 w 452"/>
                <a:gd name="T39" fmla="*/ 301 h 486"/>
                <a:gd name="T40" fmla="*/ 315 w 452"/>
                <a:gd name="T41" fmla="*/ 288 h 486"/>
                <a:gd name="T42" fmla="*/ 303 w 452"/>
                <a:gd name="T43" fmla="*/ 293 h 486"/>
                <a:gd name="T44" fmla="*/ 301 w 452"/>
                <a:gd name="T45" fmla="*/ 328 h 486"/>
                <a:gd name="T46" fmla="*/ 284 w 452"/>
                <a:gd name="T47" fmla="*/ 355 h 486"/>
                <a:gd name="T48" fmla="*/ 280 w 452"/>
                <a:gd name="T49" fmla="*/ 376 h 486"/>
                <a:gd name="T50" fmla="*/ 254 w 452"/>
                <a:gd name="T51" fmla="*/ 396 h 486"/>
                <a:gd name="T52" fmla="*/ 242 w 452"/>
                <a:gd name="T53" fmla="*/ 418 h 486"/>
                <a:gd name="T54" fmla="*/ 228 w 452"/>
                <a:gd name="T55" fmla="*/ 457 h 486"/>
                <a:gd name="T56" fmla="*/ 227 w 452"/>
                <a:gd name="T57" fmla="*/ 473 h 486"/>
                <a:gd name="T58" fmla="*/ 210 w 452"/>
                <a:gd name="T59" fmla="*/ 485 h 486"/>
                <a:gd name="T60" fmla="*/ 192 w 452"/>
                <a:gd name="T61" fmla="*/ 477 h 486"/>
                <a:gd name="T62" fmla="*/ 168 w 452"/>
                <a:gd name="T63" fmla="*/ 476 h 486"/>
                <a:gd name="T64" fmla="*/ 143 w 452"/>
                <a:gd name="T65" fmla="*/ 466 h 486"/>
                <a:gd name="T66" fmla="*/ 126 w 452"/>
                <a:gd name="T67" fmla="*/ 451 h 486"/>
                <a:gd name="T68" fmla="*/ 102 w 452"/>
                <a:gd name="T69" fmla="*/ 428 h 486"/>
                <a:gd name="T70" fmla="*/ 72 w 452"/>
                <a:gd name="T71" fmla="*/ 399 h 486"/>
                <a:gd name="T72" fmla="*/ 48 w 452"/>
                <a:gd name="T73" fmla="*/ 384 h 486"/>
                <a:gd name="T74" fmla="*/ 19 w 452"/>
                <a:gd name="T75" fmla="*/ 353 h 486"/>
                <a:gd name="T76" fmla="*/ 17 w 452"/>
                <a:gd name="T77" fmla="*/ 329 h 486"/>
                <a:gd name="T78" fmla="*/ 1 w 452"/>
                <a:gd name="T79" fmla="*/ 316 h 486"/>
                <a:gd name="T80" fmla="*/ 2 w 452"/>
                <a:gd name="T81" fmla="*/ 288 h 486"/>
                <a:gd name="T82" fmla="*/ 34 w 452"/>
                <a:gd name="T83" fmla="*/ 272 h 486"/>
                <a:gd name="T84" fmla="*/ 114 w 452"/>
                <a:gd name="T85" fmla="*/ 238 h 486"/>
                <a:gd name="T86" fmla="*/ 144 w 452"/>
                <a:gd name="T87" fmla="*/ 208 h 486"/>
                <a:gd name="T88" fmla="*/ 166 w 452"/>
                <a:gd name="T89" fmla="*/ 195 h 486"/>
                <a:gd name="T90" fmla="*/ 198 w 452"/>
                <a:gd name="T91" fmla="*/ 198 h 486"/>
                <a:gd name="T92" fmla="*/ 242 w 452"/>
                <a:gd name="T93" fmla="*/ 187 h 486"/>
                <a:gd name="T94" fmla="*/ 259 w 452"/>
                <a:gd name="T95" fmla="*/ 168 h 486"/>
                <a:gd name="T96" fmla="*/ 262 w 452"/>
                <a:gd name="T97" fmla="*/ 146 h 486"/>
                <a:gd name="T98" fmla="*/ 236 w 452"/>
                <a:gd name="T99" fmla="*/ 133 h 486"/>
                <a:gd name="T100" fmla="*/ 206 w 452"/>
                <a:gd name="T101" fmla="*/ 118 h 486"/>
                <a:gd name="T102" fmla="*/ 202 w 452"/>
                <a:gd name="T103" fmla="*/ 103 h 486"/>
                <a:gd name="T104" fmla="*/ 204 w 452"/>
                <a:gd name="T105" fmla="*/ 89 h 486"/>
                <a:gd name="T106" fmla="*/ 181 w 452"/>
                <a:gd name="T107" fmla="*/ 87 h 486"/>
                <a:gd name="T108" fmla="*/ 166 w 452"/>
                <a:gd name="T109" fmla="*/ 76 h 486"/>
                <a:gd name="T110" fmla="*/ 172 w 452"/>
                <a:gd name="T111" fmla="*/ 49 h 486"/>
                <a:gd name="T112" fmla="*/ 181 w 452"/>
                <a:gd name="T113" fmla="*/ 2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52" h="486">
                  <a:moveTo>
                    <a:pt x="197" y="1"/>
                  </a:moveTo>
                  <a:lnTo>
                    <a:pt x="198" y="1"/>
                  </a:lnTo>
                  <a:lnTo>
                    <a:pt x="199" y="2"/>
                  </a:lnTo>
                  <a:lnTo>
                    <a:pt x="203" y="4"/>
                  </a:lnTo>
                  <a:lnTo>
                    <a:pt x="212" y="10"/>
                  </a:lnTo>
                  <a:lnTo>
                    <a:pt x="216" y="11"/>
                  </a:lnTo>
                  <a:lnTo>
                    <a:pt x="219" y="13"/>
                  </a:lnTo>
                  <a:lnTo>
                    <a:pt x="221" y="14"/>
                  </a:lnTo>
                  <a:lnTo>
                    <a:pt x="225" y="15"/>
                  </a:lnTo>
                  <a:lnTo>
                    <a:pt x="234" y="17"/>
                  </a:lnTo>
                  <a:lnTo>
                    <a:pt x="237" y="18"/>
                  </a:lnTo>
                  <a:lnTo>
                    <a:pt x="240" y="19"/>
                  </a:lnTo>
                  <a:lnTo>
                    <a:pt x="242" y="21"/>
                  </a:lnTo>
                  <a:lnTo>
                    <a:pt x="245" y="22"/>
                  </a:lnTo>
                  <a:lnTo>
                    <a:pt x="250" y="24"/>
                  </a:lnTo>
                  <a:lnTo>
                    <a:pt x="252" y="26"/>
                  </a:lnTo>
                  <a:lnTo>
                    <a:pt x="258" y="32"/>
                  </a:lnTo>
                  <a:lnTo>
                    <a:pt x="260" y="33"/>
                  </a:lnTo>
                  <a:lnTo>
                    <a:pt x="262" y="35"/>
                  </a:lnTo>
                  <a:lnTo>
                    <a:pt x="265" y="36"/>
                  </a:lnTo>
                  <a:lnTo>
                    <a:pt x="268" y="38"/>
                  </a:lnTo>
                  <a:lnTo>
                    <a:pt x="271" y="39"/>
                  </a:lnTo>
                  <a:lnTo>
                    <a:pt x="274" y="39"/>
                  </a:lnTo>
                  <a:lnTo>
                    <a:pt x="276" y="39"/>
                  </a:lnTo>
                  <a:lnTo>
                    <a:pt x="279" y="39"/>
                  </a:lnTo>
                  <a:lnTo>
                    <a:pt x="282" y="39"/>
                  </a:lnTo>
                  <a:lnTo>
                    <a:pt x="285" y="38"/>
                  </a:lnTo>
                  <a:lnTo>
                    <a:pt x="288" y="38"/>
                  </a:lnTo>
                  <a:lnTo>
                    <a:pt x="289" y="37"/>
                  </a:lnTo>
                  <a:lnTo>
                    <a:pt x="299" y="33"/>
                  </a:lnTo>
                  <a:lnTo>
                    <a:pt x="302" y="32"/>
                  </a:lnTo>
                  <a:lnTo>
                    <a:pt x="305" y="31"/>
                  </a:lnTo>
                  <a:lnTo>
                    <a:pt x="309" y="31"/>
                  </a:lnTo>
                  <a:lnTo>
                    <a:pt x="311" y="30"/>
                  </a:lnTo>
                  <a:lnTo>
                    <a:pt x="314" y="31"/>
                  </a:lnTo>
                  <a:lnTo>
                    <a:pt x="318" y="31"/>
                  </a:lnTo>
                  <a:lnTo>
                    <a:pt x="323" y="32"/>
                  </a:lnTo>
                  <a:lnTo>
                    <a:pt x="325" y="32"/>
                  </a:lnTo>
                  <a:lnTo>
                    <a:pt x="327" y="32"/>
                  </a:lnTo>
                  <a:lnTo>
                    <a:pt x="330" y="32"/>
                  </a:lnTo>
                  <a:lnTo>
                    <a:pt x="331" y="32"/>
                  </a:lnTo>
                  <a:lnTo>
                    <a:pt x="332" y="31"/>
                  </a:lnTo>
                  <a:lnTo>
                    <a:pt x="333" y="30"/>
                  </a:lnTo>
                  <a:lnTo>
                    <a:pt x="333" y="29"/>
                  </a:lnTo>
                  <a:lnTo>
                    <a:pt x="335" y="27"/>
                  </a:lnTo>
                  <a:lnTo>
                    <a:pt x="338" y="23"/>
                  </a:lnTo>
                  <a:lnTo>
                    <a:pt x="339" y="21"/>
                  </a:lnTo>
                  <a:lnTo>
                    <a:pt x="340" y="21"/>
                  </a:lnTo>
                  <a:lnTo>
                    <a:pt x="341" y="21"/>
                  </a:lnTo>
                  <a:lnTo>
                    <a:pt x="342" y="21"/>
                  </a:lnTo>
                  <a:lnTo>
                    <a:pt x="342" y="21"/>
                  </a:lnTo>
                  <a:lnTo>
                    <a:pt x="343" y="21"/>
                  </a:lnTo>
                  <a:lnTo>
                    <a:pt x="343" y="22"/>
                  </a:lnTo>
                  <a:lnTo>
                    <a:pt x="344" y="23"/>
                  </a:lnTo>
                  <a:lnTo>
                    <a:pt x="344" y="25"/>
                  </a:lnTo>
                  <a:lnTo>
                    <a:pt x="345" y="29"/>
                  </a:lnTo>
                  <a:lnTo>
                    <a:pt x="345" y="32"/>
                  </a:lnTo>
                  <a:lnTo>
                    <a:pt x="346" y="33"/>
                  </a:lnTo>
                  <a:lnTo>
                    <a:pt x="347" y="35"/>
                  </a:lnTo>
                  <a:lnTo>
                    <a:pt x="348" y="37"/>
                  </a:lnTo>
                  <a:lnTo>
                    <a:pt x="349" y="38"/>
                  </a:lnTo>
                  <a:lnTo>
                    <a:pt x="350" y="40"/>
                  </a:lnTo>
                  <a:lnTo>
                    <a:pt x="352" y="41"/>
                  </a:lnTo>
                  <a:lnTo>
                    <a:pt x="355" y="43"/>
                  </a:lnTo>
                  <a:lnTo>
                    <a:pt x="362" y="48"/>
                  </a:lnTo>
                  <a:lnTo>
                    <a:pt x="365" y="51"/>
                  </a:lnTo>
                  <a:lnTo>
                    <a:pt x="369" y="55"/>
                  </a:lnTo>
                  <a:lnTo>
                    <a:pt x="371" y="56"/>
                  </a:lnTo>
                  <a:lnTo>
                    <a:pt x="373" y="57"/>
                  </a:lnTo>
                  <a:lnTo>
                    <a:pt x="376" y="58"/>
                  </a:lnTo>
                  <a:lnTo>
                    <a:pt x="378" y="58"/>
                  </a:lnTo>
                  <a:lnTo>
                    <a:pt x="385" y="60"/>
                  </a:lnTo>
                  <a:lnTo>
                    <a:pt x="387" y="61"/>
                  </a:lnTo>
                  <a:lnTo>
                    <a:pt x="389" y="62"/>
                  </a:lnTo>
                  <a:lnTo>
                    <a:pt x="391" y="63"/>
                  </a:lnTo>
                  <a:lnTo>
                    <a:pt x="393" y="65"/>
                  </a:lnTo>
                  <a:lnTo>
                    <a:pt x="396" y="67"/>
                  </a:lnTo>
                  <a:lnTo>
                    <a:pt x="399" y="68"/>
                  </a:lnTo>
                  <a:lnTo>
                    <a:pt x="401" y="72"/>
                  </a:lnTo>
                  <a:lnTo>
                    <a:pt x="405" y="78"/>
                  </a:lnTo>
                  <a:lnTo>
                    <a:pt x="408" y="81"/>
                  </a:lnTo>
                  <a:lnTo>
                    <a:pt x="410" y="84"/>
                  </a:lnTo>
                  <a:lnTo>
                    <a:pt x="411" y="87"/>
                  </a:lnTo>
                  <a:lnTo>
                    <a:pt x="412" y="90"/>
                  </a:lnTo>
                  <a:lnTo>
                    <a:pt x="412" y="94"/>
                  </a:lnTo>
                  <a:lnTo>
                    <a:pt x="412" y="98"/>
                  </a:lnTo>
                  <a:lnTo>
                    <a:pt x="412" y="101"/>
                  </a:lnTo>
                  <a:lnTo>
                    <a:pt x="411" y="106"/>
                  </a:lnTo>
                  <a:lnTo>
                    <a:pt x="410" y="112"/>
                  </a:lnTo>
                  <a:lnTo>
                    <a:pt x="408" y="116"/>
                  </a:lnTo>
                  <a:lnTo>
                    <a:pt x="406" y="121"/>
                  </a:lnTo>
                  <a:lnTo>
                    <a:pt x="403" y="129"/>
                  </a:lnTo>
                  <a:lnTo>
                    <a:pt x="401" y="134"/>
                  </a:lnTo>
                  <a:lnTo>
                    <a:pt x="397" y="141"/>
                  </a:lnTo>
                  <a:lnTo>
                    <a:pt x="396" y="144"/>
                  </a:lnTo>
                  <a:lnTo>
                    <a:pt x="395" y="146"/>
                  </a:lnTo>
                  <a:lnTo>
                    <a:pt x="394" y="148"/>
                  </a:lnTo>
                  <a:lnTo>
                    <a:pt x="393" y="152"/>
                  </a:lnTo>
                  <a:lnTo>
                    <a:pt x="393" y="153"/>
                  </a:lnTo>
                  <a:lnTo>
                    <a:pt x="393" y="154"/>
                  </a:lnTo>
                  <a:lnTo>
                    <a:pt x="393" y="156"/>
                  </a:lnTo>
                  <a:lnTo>
                    <a:pt x="393" y="157"/>
                  </a:lnTo>
                  <a:lnTo>
                    <a:pt x="394" y="157"/>
                  </a:lnTo>
                  <a:lnTo>
                    <a:pt x="394" y="158"/>
                  </a:lnTo>
                  <a:lnTo>
                    <a:pt x="395" y="160"/>
                  </a:lnTo>
                  <a:lnTo>
                    <a:pt x="396" y="161"/>
                  </a:lnTo>
                  <a:lnTo>
                    <a:pt x="398" y="162"/>
                  </a:lnTo>
                  <a:lnTo>
                    <a:pt x="400" y="163"/>
                  </a:lnTo>
                  <a:lnTo>
                    <a:pt x="401" y="163"/>
                  </a:lnTo>
                  <a:lnTo>
                    <a:pt x="402" y="164"/>
                  </a:lnTo>
                  <a:lnTo>
                    <a:pt x="404" y="164"/>
                  </a:lnTo>
                  <a:lnTo>
                    <a:pt x="406" y="164"/>
                  </a:lnTo>
                  <a:lnTo>
                    <a:pt x="410" y="163"/>
                  </a:lnTo>
                  <a:lnTo>
                    <a:pt x="413" y="163"/>
                  </a:lnTo>
                  <a:lnTo>
                    <a:pt x="418" y="161"/>
                  </a:lnTo>
                  <a:lnTo>
                    <a:pt x="428" y="157"/>
                  </a:lnTo>
                  <a:lnTo>
                    <a:pt x="434" y="157"/>
                  </a:lnTo>
                  <a:lnTo>
                    <a:pt x="437" y="156"/>
                  </a:lnTo>
                  <a:lnTo>
                    <a:pt x="440" y="156"/>
                  </a:lnTo>
                  <a:lnTo>
                    <a:pt x="442" y="156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7" y="157"/>
                  </a:lnTo>
                  <a:lnTo>
                    <a:pt x="448" y="157"/>
                  </a:lnTo>
                  <a:lnTo>
                    <a:pt x="449" y="157"/>
                  </a:lnTo>
                  <a:lnTo>
                    <a:pt x="450" y="159"/>
                  </a:lnTo>
                  <a:lnTo>
                    <a:pt x="451" y="160"/>
                  </a:lnTo>
                  <a:lnTo>
                    <a:pt x="452" y="162"/>
                  </a:lnTo>
                  <a:lnTo>
                    <a:pt x="452" y="164"/>
                  </a:lnTo>
                  <a:lnTo>
                    <a:pt x="452" y="168"/>
                  </a:lnTo>
                  <a:lnTo>
                    <a:pt x="452" y="170"/>
                  </a:lnTo>
                  <a:lnTo>
                    <a:pt x="452" y="174"/>
                  </a:lnTo>
                  <a:lnTo>
                    <a:pt x="451" y="178"/>
                  </a:lnTo>
                  <a:lnTo>
                    <a:pt x="450" y="180"/>
                  </a:lnTo>
                  <a:lnTo>
                    <a:pt x="447" y="189"/>
                  </a:lnTo>
                  <a:lnTo>
                    <a:pt x="444" y="194"/>
                  </a:lnTo>
                  <a:lnTo>
                    <a:pt x="436" y="216"/>
                  </a:lnTo>
                  <a:lnTo>
                    <a:pt x="430" y="232"/>
                  </a:lnTo>
                  <a:lnTo>
                    <a:pt x="429" y="235"/>
                  </a:lnTo>
                  <a:lnTo>
                    <a:pt x="429" y="236"/>
                  </a:lnTo>
                  <a:lnTo>
                    <a:pt x="429" y="236"/>
                  </a:lnTo>
                  <a:lnTo>
                    <a:pt x="429" y="237"/>
                  </a:lnTo>
                  <a:lnTo>
                    <a:pt x="428" y="238"/>
                  </a:lnTo>
                  <a:lnTo>
                    <a:pt x="426" y="240"/>
                  </a:lnTo>
                  <a:lnTo>
                    <a:pt x="424" y="243"/>
                  </a:lnTo>
                  <a:lnTo>
                    <a:pt x="421" y="246"/>
                  </a:lnTo>
                  <a:lnTo>
                    <a:pt x="417" y="248"/>
                  </a:lnTo>
                  <a:lnTo>
                    <a:pt x="413" y="251"/>
                  </a:lnTo>
                  <a:lnTo>
                    <a:pt x="410" y="253"/>
                  </a:lnTo>
                  <a:lnTo>
                    <a:pt x="402" y="258"/>
                  </a:lnTo>
                  <a:lnTo>
                    <a:pt x="400" y="259"/>
                  </a:lnTo>
                  <a:lnTo>
                    <a:pt x="397" y="262"/>
                  </a:lnTo>
                  <a:lnTo>
                    <a:pt x="396" y="263"/>
                  </a:lnTo>
                  <a:lnTo>
                    <a:pt x="395" y="264"/>
                  </a:lnTo>
                  <a:lnTo>
                    <a:pt x="394" y="266"/>
                  </a:lnTo>
                  <a:lnTo>
                    <a:pt x="393" y="268"/>
                  </a:lnTo>
                  <a:lnTo>
                    <a:pt x="392" y="270"/>
                  </a:lnTo>
                  <a:lnTo>
                    <a:pt x="390" y="274"/>
                  </a:lnTo>
                  <a:lnTo>
                    <a:pt x="389" y="278"/>
                  </a:lnTo>
                  <a:lnTo>
                    <a:pt x="385" y="292"/>
                  </a:lnTo>
                  <a:lnTo>
                    <a:pt x="384" y="294"/>
                  </a:lnTo>
                  <a:lnTo>
                    <a:pt x="383" y="296"/>
                  </a:lnTo>
                  <a:lnTo>
                    <a:pt x="382" y="298"/>
                  </a:lnTo>
                  <a:lnTo>
                    <a:pt x="381" y="299"/>
                  </a:lnTo>
                  <a:lnTo>
                    <a:pt x="379" y="302"/>
                  </a:lnTo>
                  <a:lnTo>
                    <a:pt x="379" y="303"/>
                  </a:lnTo>
                  <a:lnTo>
                    <a:pt x="378" y="304"/>
                  </a:lnTo>
                  <a:lnTo>
                    <a:pt x="376" y="304"/>
                  </a:lnTo>
                  <a:lnTo>
                    <a:pt x="375" y="304"/>
                  </a:lnTo>
                  <a:lnTo>
                    <a:pt x="373" y="305"/>
                  </a:lnTo>
                  <a:lnTo>
                    <a:pt x="371" y="306"/>
                  </a:lnTo>
                  <a:lnTo>
                    <a:pt x="368" y="306"/>
                  </a:lnTo>
                  <a:lnTo>
                    <a:pt x="367" y="306"/>
                  </a:lnTo>
                  <a:lnTo>
                    <a:pt x="365" y="306"/>
                  </a:lnTo>
                  <a:lnTo>
                    <a:pt x="362" y="306"/>
                  </a:lnTo>
                  <a:lnTo>
                    <a:pt x="360" y="305"/>
                  </a:lnTo>
                  <a:lnTo>
                    <a:pt x="357" y="305"/>
                  </a:lnTo>
                  <a:lnTo>
                    <a:pt x="354" y="304"/>
                  </a:lnTo>
                  <a:lnTo>
                    <a:pt x="350" y="302"/>
                  </a:lnTo>
                  <a:lnTo>
                    <a:pt x="347" y="301"/>
                  </a:lnTo>
                  <a:lnTo>
                    <a:pt x="340" y="296"/>
                  </a:lnTo>
                  <a:lnTo>
                    <a:pt x="336" y="293"/>
                  </a:lnTo>
                  <a:lnTo>
                    <a:pt x="333" y="293"/>
                  </a:lnTo>
                  <a:lnTo>
                    <a:pt x="328" y="291"/>
                  </a:lnTo>
                  <a:lnTo>
                    <a:pt x="323" y="289"/>
                  </a:lnTo>
                  <a:lnTo>
                    <a:pt x="322" y="288"/>
                  </a:lnTo>
                  <a:lnTo>
                    <a:pt x="320" y="288"/>
                  </a:lnTo>
                  <a:lnTo>
                    <a:pt x="318" y="288"/>
                  </a:lnTo>
                  <a:lnTo>
                    <a:pt x="315" y="288"/>
                  </a:lnTo>
                  <a:lnTo>
                    <a:pt x="313" y="288"/>
                  </a:lnTo>
                  <a:lnTo>
                    <a:pt x="309" y="289"/>
                  </a:lnTo>
                  <a:lnTo>
                    <a:pt x="307" y="290"/>
                  </a:lnTo>
                  <a:lnTo>
                    <a:pt x="305" y="291"/>
                  </a:lnTo>
                  <a:lnTo>
                    <a:pt x="304" y="291"/>
                  </a:lnTo>
                  <a:lnTo>
                    <a:pt x="304" y="292"/>
                  </a:lnTo>
                  <a:lnTo>
                    <a:pt x="303" y="292"/>
                  </a:lnTo>
                  <a:lnTo>
                    <a:pt x="303" y="293"/>
                  </a:lnTo>
                  <a:lnTo>
                    <a:pt x="303" y="293"/>
                  </a:lnTo>
                  <a:lnTo>
                    <a:pt x="303" y="295"/>
                  </a:lnTo>
                  <a:lnTo>
                    <a:pt x="303" y="298"/>
                  </a:lnTo>
                  <a:lnTo>
                    <a:pt x="304" y="307"/>
                  </a:lnTo>
                  <a:lnTo>
                    <a:pt x="304" y="311"/>
                  </a:lnTo>
                  <a:lnTo>
                    <a:pt x="304" y="314"/>
                  </a:lnTo>
                  <a:lnTo>
                    <a:pt x="304" y="316"/>
                  </a:lnTo>
                  <a:lnTo>
                    <a:pt x="303" y="324"/>
                  </a:lnTo>
                  <a:lnTo>
                    <a:pt x="302" y="326"/>
                  </a:lnTo>
                  <a:lnTo>
                    <a:pt x="301" y="328"/>
                  </a:lnTo>
                  <a:lnTo>
                    <a:pt x="300" y="330"/>
                  </a:lnTo>
                  <a:lnTo>
                    <a:pt x="299" y="333"/>
                  </a:lnTo>
                  <a:lnTo>
                    <a:pt x="297" y="335"/>
                  </a:lnTo>
                  <a:lnTo>
                    <a:pt x="293" y="338"/>
                  </a:lnTo>
                  <a:lnTo>
                    <a:pt x="291" y="341"/>
                  </a:lnTo>
                  <a:lnTo>
                    <a:pt x="288" y="345"/>
                  </a:lnTo>
                  <a:lnTo>
                    <a:pt x="287" y="349"/>
                  </a:lnTo>
                  <a:lnTo>
                    <a:pt x="286" y="351"/>
                  </a:lnTo>
                  <a:lnTo>
                    <a:pt x="284" y="355"/>
                  </a:lnTo>
                  <a:lnTo>
                    <a:pt x="283" y="359"/>
                  </a:lnTo>
                  <a:lnTo>
                    <a:pt x="282" y="362"/>
                  </a:lnTo>
                  <a:lnTo>
                    <a:pt x="282" y="364"/>
                  </a:lnTo>
                  <a:lnTo>
                    <a:pt x="281" y="367"/>
                  </a:lnTo>
                  <a:lnTo>
                    <a:pt x="281" y="369"/>
                  </a:lnTo>
                  <a:lnTo>
                    <a:pt x="281" y="373"/>
                  </a:lnTo>
                  <a:lnTo>
                    <a:pt x="281" y="374"/>
                  </a:lnTo>
                  <a:lnTo>
                    <a:pt x="280" y="375"/>
                  </a:lnTo>
                  <a:lnTo>
                    <a:pt x="280" y="376"/>
                  </a:lnTo>
                  <a:lnTo>
                    <a:pt x="279" y="378"/>
                  </a:lnTo>
                  <a:lnTo>
                    <a:pt x="278" y="379"/>
                  </a:lnTo>
                  <a:lnTo>
                    <a:pt x="277" y="380"/>
                  </a:lnTo>
                  <a:lnTo>
                    <a:pt x="276" y="380"/>
                  </a:lnTo>
                  <a:lnTo>
                    <a:pt x="274" y="382"/>
                  </a:lnTo>
                  <a:lnTo>
                    <a:pt x="271" y="383"/>
                  </a:lnTo>
                  <a:lnTo>
                    <a:pt x="264" y="389"/>
                  </a:lnTo>
                  <a:lnTo>
                    <a:pt x="257" y="395"/>
                  </a:lnTo>
                  <a:lnTo>
                    <a:pt x="254" y="396"/>
                  </a:lnTo>
                  <a:lnTo>
                    <a:pt x="252" y="398"/>
                  </a:lnTo>
                  <a:lnTo>
                    <a:pt x="250" y="400"/>
                  </a:lnTo>
                  <a:lnTo>
                    <a:pt x="248" y="403"/>
                  </a:lnTo>
                  <a:lnTo>
                    <a:pt x="247" y="406"/>
                  </a:lnTo>
                  <a:lnTo>
                    <a:pt x="245" y="408"/>
                  </a:lnTo>
                  <a:lnTo>
                    <a:pt x="244" y="411"/>
                  </a:lnTo>
                  <a:lnTo>
                    <a:pt x="243" y="414"/>
                  </a:lnTo>
                  <a:lnTo>
                    <a:pt x="242" y="416"/>
                  </a:lnTo>
                  <a:lnTo>
                    <a:pt x="242" y="418"/>
                  </a:lnTo>
                  <a:lnTo>
                    <a:pt x="242" y="420"/>
                  </a:lnTo>
                  <a:lnTo>
                    <a:pt x="241" y="429"/>
                  </a:lnTo>
                  <a:lnTo>
                    <a:pt x="241" y="430"/>
                  </a:lnTo>
                  <a:lnTo>
                    <a:pt x="240" y="432"/>
                  </a:lnTo>
                  <a:lnTo>
                    <a:pt x="239" y="435"/>
                  </a:lnTo>
                  <a:lnTo>
                    <a:pt x="238" y="438"/>
                  </a:lnTo>
                  <a:lnTo>
                    <a:pt x="232" y="448"/>
                  </a:lnTo>
                  <a:lnTo>
                    <a:pt x="230" y="452"/>
                  </a:lnTo>
                  <a:lnTo>
                    <a:pt x="228" y="457"/>
                  </a:lnTo>
                  <a:lnTo>
                    <a:pt x="226" y="461"/>
                  </a:lnTo>
                  <a:lnTo>
                    <a:pt x="226" y="463"/>
                  </a:lnTo>
                  <a:lnTo>
                    <a:pt x="225" y="465"/>
                  </a:lnTo>
                  <a:lnTo>
                    <a:pt x="225" y="467"/>
                  </a:lnTo>
                  <a:lnTo>
                    <a:pt x="225" y="469"/>
                  </a:lnTo>
                  <a:lnTo>
                    <a:pt x="225" y="471"/>
                  </a:lnTo>
                  <a:lnTo>
                    <a:pt x="225" y="472"/>
                  </a:lnTo>
                  <a:lnTo>
                    <a:pt x="226" y="473"/>
                  </a:lnTo>
                  <a:lnTo>
                    <a:pt x="227" y="473"/>
                  </a:lnTo>
                  <a:lnTo>
                    <a:pt x="227" y="474"/>
                  </a:lnTo>
                  <a:lnTo>
                    <a:pt x="226" y="474"/>
                  </a:lnTo>
                  <a:lnTo>
                    <a:pt x="225" y="476"/>
                  </a:lnTo>
                  <a:lnTo>
                    <a:pt x="224" y="477"/>
                  </a:lnTo>
                  <a:lnTo>
                    <a:pt x="223" y="478"/>
                  </a:lnTo>
                  <a:lnTo>
                    <a:pt x="221" y="480"/>
                  </a:lnTo>
                  <a:lnTo>
                    <a:pt x="219" y="481"/>
                  </a:lnTo>
                  <a:lnTo>
                    <a:pt x="217" y="482"/>
                  </a:lnTo>
                  <a:lnTo>
                    <a:pt x="210" y="485"/>
                  </a:lnTo>
                  <a:lnTo>
                    <a:pt x="208" y="485"/>
                  </a:lnTo>
                  <a:lnTo>
                    <a:pt x="207" y="486"/>
                  </a:lnTo>
                  <a:lnTo>
                    <a:pt x="206" y="486"/>
                  </a:lnTo>
                  <a:lnTo>
                    <a:pt x="204" y="485"/>
                  </a:lnTo>
                  <a:lnTo>
                    <a:pt x="202" y="484"/>
                  </a:lnTo>
                  <a:lnTo>
                    <a:pt x="200" y="483"/>
                  </a:lnTo>
                  <a:lnTo>
                    <a:pt x="197" y="480"/>
                  </a:lnTo>
                  <a:lnTo>
                    <a:pt x="195" y="479"/>
                  </a:lnTo>
                  <a:lnTo>
                    <a:pt x="192" y="477"/>
                  </a:lnTo>
                  <a:lnTo>
                    <a:pt x="190" y="477"/>
                  </a:lnTo>
                  <a:lnTo>
                    <a:pt x="188" y="476"/>
                  </a:lnTo>
                  <a:lnTo>
                    <a:pt x="185" y="476"/>
                  </a:lnTo>
                  <a:lnTo>
                    <a:pt x="184" y="475"/>
                  </a:lnTo>
                  <a:lnTo>
                    <a:pt x="182" y="475"/>
                  </a:lnTo>
                  <a:lnTo>
                    <a:pt x="179" y="475"/>
                  </a:lnTo>
                  <a:lnTo>
                    <a:pt x="175" y="476"/>
                  </a:lnTo>
                  <a:lnTo>
                    <a:pt x="170" y="476"/>
                  </a:lnTo>
                  <a:lnTo>
                    <a:pt x="168" y="476"/>
                  </a:lnTo>
                  <a:lnTo>
                    <a:pt x="166" y="476"/>
                  </a:lnTo>
                  <a:lnTo>
                    <a:pt x="164" y="475"/>
                  </a:lnTo>
                  <a:lnTo>
                    <a:pt x="159" y="474"/>
                  </a:lnTo>
                  <a:lnTo>
                    <a:pt x="151" y="472"/>
                  </a:lnTo>
                  <a:lnTo>
                    <a:pt x="149" y="471"/>
                  </a:lnTo>
                  <a:lnTo>
                    <a:pt x="147" y="470"/>
                  </a:lnTo>
                  <a:lnTo>
                    <a:pt x="145" y="469"/>
                  </a:lnTo>
                  <a:lnTo>
                    <a:pt x="145" y="468"/>
                  </a:lnTo>
                  <a:lnTo>
                    <a:pt x="143" y="466"/>
                  </a:lnTo>
                  <a:lnTo>
                    <a:pt x="143" y="465"/>
                  </a:lnTo>
                  <a:lnTo>
                    <a:pt x="142" y="464"/>
                  </a:lnTo>
                  <a:lnTo>
                    <a:pt x="140" y="463"/>
                  </a:lnTo>
                  <a:lnTo>
                    <a:pt x="140" y="463"/>
                  </a:lnTo>
                  <a:lnTo>
                    <a:pt x="139" y="462"/>
                  </a:lnTo>
                  <a:lnTo>
                    <a:pt x="138" y="461"/>
                  </a:lnTo>
                  <a:lnTo>
                    <a:pt x="137" y="460"/>
                  </a:lnTo>
                  <a:lnTo>
                    <a:pt x="134" y="457"/>
                  </a:lnTo>
                  <a:lnTo>
                    <a:pt x="126" y="451"/>
                  </a:lnTo>
                  <a:lnTo>
                    <a:pt x="123" y="449"/>
                  </a:lnTo>
                  <a:lnTo>
                    <a:pt x="119" y="446"/>
                  </a:lnTo>
                  <a:lnTo>
                    <a:pt x="117" y="443"/>
                  </a:lnTo>
                  <a:lnTo>
                    <a:pt x="114" y="440"/>
                  </a:lnTo>
                  <a:lnTo>
                    <a:pt x="109" y="434"/>
                  </a:lnTo>
                  <a:lnTo>
                    <a:pt x="108" y="433"/>
                  </a:lnTo>
                  <a:lnTo>
                    <a:pt x="107" y="431"/>
                  </a:lnTo>
                  <a:lnTo>
                    <a:pt x="103" y="429"/>
                  </a:lnTo>
                  <a:lnTo>
                    <a:pt x="102" y="428"/>
                  </a:lnTo>
                  <a:lnTo>
                    <a:pt x="101" y="427"/>
                  </a:lnTo>
                  <a:lnTo>
                    <a:pt x="98" y="424"/>
                  </a:lnTo>
                  <a:lnTo>
                    <a:pt x="92" y="414"/>
                  </a:lnTo>
                  <a:lnTo>
                    <a:pt x="90" y="412"/>
                  </a:lnTo>
                  <a:lnTo>
                    <a:pt x="88" y="410"/>
                  </a:lnTo>
                  <a:lnTo>
                    <a:pt x="86" y="408"/>
                  </a:lnTo>
                  <a:lnTo>
                    <a:pt x="77" y="402"/>
                  </a:lnTo>
                  <a:lnTo>
                    <a:pt x="74" y="400"/>
                  </a:lnTo>
                  <a:lnTo>
                    <a:pt x="72" y="399"/>
                  </a:lnTo>
                  <a:lnTo>
                    <a:pt x="69" y="397"/>
                  </a:lnTo>
                  <a:lnTo>
                    <a:pt x="66" y="395"/>
                  </a:lnTo>
                  <a:lnTo>
                    <a:pt x="63" y="395"/>
                  </a:lnTo>
                  <a:lnTo>
                    <a:pt x="59" y="393"/>
                  </a:lnTo>
                  <a:lnTo>
                    <a:pt x="57" y="392"/>
                  </a:lnTo>
                  <a:lnTo>
                    <a:pt x="55" y="391"/>
                  </a:lnTo>
                  <a:lnTo>
                    <a:pt x="52" y="389"/>
                  </a:lnTo>
                  <a:lnTo>
                    <a:pt x="50" y="387"/>
                  </a:lnTo>
                  <a:lnTo>
                    <a:pt x="48" y="384"/>
                  </a:lnTo>
                  <a:lnTo>
                    <a:pt x="35" y="371"/>
                  </a:lnTo>
                  <a:lnTo>
                    <a:pt x="31" y="367"/>
                  </a:lnTo>
                  <a:lnTo>
                    <a:pt x="28" y="365"/>
                  </a:lnTo>
                  <a:lnTo>
                    <a:pt x="23" y="361"/>
                  </a:lnTo>
                  <a:lnTo>
                    <a:pt x="22" y="360"/>
                  </a:lnTo>
                  <a:lnTo>
                    <a:pt x="21" y="359"/>
                  </a:lnTo>
                  <a:lnTo>
                    <a:pt x="20" y="357"/>
                  </a:lnTo>
                  <a:lnTo>
                    <a:pt x="19" y="355"/>
                  </a:lnTo>
                  <a:lnTo>
                    <a:pt x="19" y="353"/>
                  </a:lnTo>
                  <a:lnTo>
                    <a:pt x="18" y="351"/>
                  </a:lnTo>
                  <a:lnTo>
                    <a:pt x="18" y="348"/>
                  </a:lnTo>
                  <a:lnTo>
                    <a:pt x="18" y="345"/>
                  </a:lnTo>
                  <a:lnTo>
                    <a:pt x="18" y="342"/>
                  </a:lnTo>
                  <a:lnTo>
                    <a:pt x="18" y="338"/>
                  </a:lnTo>
                  <a:lnTo>
                    <a:pt x="18" y="335"/>
                  </a:lnTo>
                  <a:lnTo>
                    <a:pt x="18" y="332"/>
                  </a:lnTo>
                  <a:lnTo>
                    <a:pt x="17" y="330"/>
                  </a:lnTo>
                  <a:lnTo>
                    <a:pt x="17" y="329"/>
                  </a:lnTo>
                  <a:lnTo>
                    <a:pt x="16" y="329"/>
                  </a:lnTo>
                  <a:lnTo>
                    <a:pt x="15" y="327"/>
                  </a:lnTo>
                  <a:lnTo>
                    <a:pt x="13" y="327"/>
                  </a:lnTo>
                  <a:lnTo>
                    <a:pt x="7" y="323"/>
                  </a:lnTo>
                  <a:lnTo>
                    <a:pt x="6" y="322"/>
                  </a:lnTo>
                  <a:lnTo>
                    <a:pt x="4" y="321"/>
                  </a:lnTo>
                  <a:lnTo>
                    <a:pt x="3" y="319"/>
                  </a:lnTo>
                  <a:lnTo>
                    <a:pt x="2" y="317"/>
                  </a:lnTo>
                  <a:lnTo>
                    <a:pt x="1" y="316"/>
                  </a:lnTo>
                  <a:lnTo>
                    <a:pt x="1" y="313"/>
                  </a:lnTo>
                  <a:lnTo>
                    <a:pt x="0" y="311"/>
                  </a:lnTo>
                  <a:lnTo>
                    <a:pt x="0" y="309"/>
                  </a:lnTo>
                  <a:lnTo>
                    <a:pt x="0" y="306"/>
                  </a:lnTo>
                  <a:lnTo>
                    <a:pt x="0" y="304"/>
                  </a:lnTo>
                  <a:lnTo>
                    <a:pt x="0" y="300"/>
                  </a:lnTo>
                  <a:lnTo>
                    <a:pt x="0" y="297"/>
                  </a:lnTo>
                  <a:lnTo>
                    <a:pt x="2" y="292"/>
                  </a:lnTo>
                  <a:lnTo>
                    <a:pt x="2" y="288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6" y="287"/>
                  </a:lnTo>
                  <a:lnTo>
                    <a:pt x="9" y="286"/>
                  </a:lnTo>
                  <a:lnTo>
                    <a:pt x="13" y="285"/>
                  </a:lnTo>
                  <a:lnTo>
                    <a:pt x="15" y="284"/>
                  </a:lnTo>
                  <a:lnTo>
                    <a:pt x="17" y="282"/>
                  </a:lnTo>
                  <a:lnTo>
                    <a:pt x="30" y="274"/>
                  </a:lnTo>
                  <a:lnTo>
                    <a:pt x="34" y="272"/>
                  </a:lnTo>
                  <a:lnTo>
                    <a:pt x="37" y="270"/>
                  </a:lnTo>
                  <a:lnTo>
                    <a:pt x="46" y="267"/>
                  </a:lnTo>
                  <a:lnTo>
                    <a:pt x="65" y="259"/>
                  </a:lnTo>
                  <a:lnTo>
                    <a:pt x="79" y="252"/>
                  </a:lnTo>
                  <a:lnTo>
                    <a:pt x="84" y="249"/>
                  </a:lnTo>
                  <a:lnTo>
                    <a:pt x="89" y="248"/>
                  </a:lnTo>
                  <a:lnTo>
                    <a:pt x="103" y="243"/>
                  </a:lnTo>
                  <a:lnTo>
                    <a:pt x="108" y="241"/>
                  </a:lnTo>
                  <a:lnTo>
                    <a:pt x="114" y="238"/>
                  </a:lnTo>
                  <a:lnTo>
                    <a:pt x="118" y="236"/>
                  </a:lnTo>
                  <a:lnTo>
                    <a:pt x="122" y="234"/>
                  </a:lnTo>
                  <a:lnTo>
                    <a:pt x="127" y="231"/>
                  </a:lnTo>
                  <a:lnTo>
                    <a:pt x="130" y="227"/>
                  </a:lnTo>
                  <a:lnTo>
                    <a:pt x="133" y="225"/>
                  </a:lnTo>
                  <a:lnTo>
                    <a:pt x="135" y="223"/>
                  </a:lnTo>
                  <a:lnTo>
                    <a:pt x="137" y="219"/>
                  </a:lnTo>
                  <a:lnTo>
                    <a:pt x="140" y="215"/>
                  </a:lnTo>
                  <a:lnTo>
                    <a:pt x="144" y="208"/>
                  </a:lnTo>
                  <a:lnTo>
                    <a:pt x="145" y="205"/>
                  </a:lnTo>
                  <a:lnTo>
                    <a:pt x="147" y="203"/>
                  </a:lnTo>
                  <a:lnTo>
                    <a:pt x="149" y="202"/>
                  </a:lnTo>
                  <a:lnTo>
                    <a:pt x="151" y="201"/>
                  </a:lnTo>
                  <a:lnTo>
                    <a:pt x="152" y="200"/>
                  </a:lnTo>
                  <a:lnTo>
                    <a:pt x="155" y="198"/>
                  </a:lnTo>
                  <a:lnTo>
                    <a:pt x="160" y="197"/>
                  </a:lnTo>
                  <a:lnTo>
                    <a:pt x="163" y="196"/>
                  </a:lnTo>
                  <a:lnTo>
                    <a:pt x="166" y="195"/>
                  </a:lnTo>
                  <a:lnTo>
                    <a:pt x="169" y="195"/>
                  </a:lnTo>
                  <a:lnTo>
                    <a:pt x="172" y="195"/>
                  </a:lnTo>
                  <a:lnTo>
                    <a:pt x="174" y="195"/>
                  </a:lnTo>
                  <a:lnTo>
                    <a:pt x="177" y="196"/>
                  </a:lnTo>
                  <a:lnTo>
                    <a:pt x="185" y="198"/>
                  </a:lnTo>
                  <a:lnTo>
                    <a:pt x="189" y="198"/>
                  </a:lnTo>
                  <a:lnTo>
                    <a:pt x="192" y="198"/>
                  </a:lnTo>
                  <a:lnTo>
                    <a:pt x="196" y="198"/>
                  </a:lnTo>
                  <a:lnTo>
                    <a:pt x="198" y="198"/>
                  </a:lnTo>
                  <a:lnTo>
                    <a:pt x="203" y="197"/>
                  </a:lnTo>
                  <a:lnTo>
                    <a:pt x="208" y="196"/>
                  </a:lnTo>
                  <a:lnTo>
                    <a:pt x="213" y="195"/>
                  </a:lnTo>
                  <a:lnTo>
                    <a:pt x="219" y="193"/>
                  </a:lnTo>
                  <a:lnTo>
                    <a:pt x="223" y="192"/>
                  </a:lnTo>
                  <a:lnTo>
                    <a:pt x="229" y="190"/>
                  </a:lnTo>
                  <a:lnTo>
                    <a:pt x="231" y="189"/>
                  </a:lnTo>
                  <a:lnTo>
                    <a:pt x="235" y="188"/>
                  </a:lnTo>
                  <a:lnTo>
                    <a:pt x="242" y="187"/>
                  </a:lnTo>
                  <a:lnTo>
                    <a:pt x="244" y="186"/>
                  </a:lnTo>
                  <a:lnTo>
                    <a:pt x="246" y="186"/>
                  </a:lnTo>
                  <a:lnTo>
                    <a:pt x="249" y="184"/>
                  </a:lnTo>
                  <a:lnTo>
                    <a:pt x="251" y="183"/>
                  </a:lnTo>
                  <a:lnTo>
                    <a:pt x="253" y="181"/>
                  </a:lnTo>
                  <a:lnTo>
                    <a:pt x="254" y="180"/>
                  </a:lnTo>
                  <a:lnTo>
                    <a:pt x="255" y="177"/>
                  </a:lnTo>
                  <a:lnTo>
                    <a:pt x="256" y="174"/>
                  </a:lnTo>
                  <a:lnTo>
                    <a:pt x="259" y="168"/>
                  </a:lnTo>
                  <a:lnTo>
                    <a:pt x="262" y="161"/>
                  </a:lnTo>
                  <a:lnTo>
                    <a:pt x="263" y="158"/>
                  </a:lnTo>
                  <a:lnTo>
                    <a:pt x="263" y="156"/>
                  </a:lnTo>
                  <a:lnTo>
                    <a:pt x="264" y="155"/>
                  </a:lnTo>
                  <a:lnTo>
                    <a:pt x="264" y="153"/>
                  </a:lnTo>
                  <a:lnTo>
                    <a:pt x="263" y="151"/>
                  </a:lnTo>
                  <a:lnTo>
                    <a:pt x="263" y="149"/>
                  </a:lnTo>
                  <a:lnTo>
                    <a:pt x="262" y="148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5"/>
                  </a:lnTo>
                  <a:lnTo>
                    <a:pt x="258" y="143"/>
                  </a:lnTo>
                  <a:lnTo>
                    <a:pt x="257" y="142"/>
                  </a:lnTo>
                  <a:lnTo>
                    <a:pt x="255" y="140"/>
                  </a:lnTo>
                  <a:lnTo>
                    <a:pt x="254" y="139"/>
                  </a:lnTo>
                  <a:lnTo>
                    <a:pt x="251" y="138"/>
                  </a:lnTo>
                  <a:lnTo>
                    <a:pt x="246" y="136"/>
                  </a:lnTo>
                  <a:lnTo>
                    <a:pt x="236" y="133"/>
                  </a:lnTo>
                  <a:lnTo>
                    <a:pt x="230" y="130"/>
                  </a:lnTo>
                  <a:lnTo>
                    <a:pt x="218" y="125"/>
                  </a:lnTo>
                  <a:lnTo>
                    <a:pt x="215" y="124"/>
                  </a:lnTo>
                  <a:lnTo>
                    <a:pt x="212" y="123"/>
                  </a:lnTo>
                  <a:lnTo>
                    <a:pt x="210" y="122"/>
                  </a:lnTo>
                  <a:lnTo>
                    <a:pt x="209" y="121"/>
                  </a:lnTo>
                  <a:lnTo>
                    <a:pt x="208" y="120"/>
                  </a:lnTo>
                  <a:lnTo>
                    <a:pt x="207" y="119"/>
                  </a:lnTo>
                  <a:lnTo>
                    <a:pt x="206" y="118"/>
                  </a:lnTo>
                  <a:lnTo>
                    <a:pt x="205" y="116"/>
                  </a:lnTo>
                  <a:lnTo>
                    <a:pt x="204" y="114"/>
                  </a:lnTo>
                  <a:lnTo>
                    <a:pt x="203" y="112"/>
                  </a:lnTo>
                  <a:lnTo>
                    <a:pt x="202" y="110"/>
                  </a:lnTo>
                  <a:lnTo>
                    <a:pt x="202" y="108"/>
                  </a:lnTo>
                  <a:lnTo>
                    <a:pt x="201" y="107"/>
                  </a:lnTo>
                  <a:lnTo>
                    <a:pt x="202" y="106"/>
                  </a:lnTo>
                  <a:lnTo>
                    <a:pt x="202" y="105"/>
                  </a:lnTo>
                  <a:lnTo>
                    <a:pt x="202" y="103"/>
                  </a:lnTo>
                  <a:lnTo>
                    <a:pt x="203" y="101"/>
                  </a:lnTo>
                  <a:lnTo>
                    <a:pt x="206" y="97"/>
                  </a:lnTo>
                  <a:lnTo>
                    <a:pt x="206" y="96"/>
                  </a:lnTo>
                  <a:lnTo>
                    <a:pt x="207" y="95"/>
                  </a:lnTo>
                  <a:lnTo>
                    <a:pt x="207" y="94"/>
                  </a:lnTo>
                  <a:lnTo>
                    <a:pt x="207" y="92"/>
                  </a:lnTo>
                  <a:lnTo>
                    <a:pt x="206" y="91"/>
                  </a:lnTo>
                  <a:lnTo>
                    <a:pt x="205" y="90"/>
                  </a:lnTo>
                  <a:lnTo>
                    <a:pt x="204" y="89"/>
                  </a:lnTo>
                  <a:lnTo>
                    <a:pt x="203" y="89"/>
                  </a:lnTo>
                  <a:lnTo>
                    <a:pt x="202" y="89"/>
                  </a:lnTo>
                  <a:lnTo>
                    <a:pt x="200" y="89"/>
                  </a:lnTo>
                  <a:lnTo>
                    <a:pt x="197" y="88"/>
                  </a:lnTo>
                  <a:lnTo>
                    <a:pt x="190" y="89"/>
                  </a:lnTo>
                  <a:lnTo>
                    <a:pt x="186" y="88"/>
                  </a:lnTo>
                  <a:lnTo>
                    <a:pt x="185" y="88"/>
                  </a:lnTo>
                  <a:lnTo>
                    <a:pt x="183" y="88"/>
                  </a:lnTo>
                  <a:lnTo>
                    <a:pt x="181" y="87"/>
                  </a:lnTo>
                  <a:lnTo>
                    <a:pt x="179" y="87"/>
                  </a:lnTo>
                  <a:lnTo>
                    <a:pt x="177" y="86"/>
                  </a:lnTo>
                  <a:lnTo>
                    <a:pt x="174" y="84"/>
                  </a:lnTo>
                  <a:lnTo>
                    <a:pt x="173" y="83"/>
                  </a:lnTo>
                  <a:lnTo>
                    <a:pt x="171" y="82"/>
                  </a:lnTo>
                  <a:lnTo>
                    <a:pt x="169" y="80"/>
                  </a:lnTo>
                  <a:lnTo>
                    <a:pt x="168" y="78"/>
                  </a:lnTo>
                  <a:lnTo>
                    <a:pt x="167" y="78"/>
                  </a:lnTo>
                  <a:lnTo>
                    <a:pt x="166" y="76"/>
                  </a:lnTo>
                  <a:lnTo>
                    <a:pt x="166" y="75"/>
                  </a:lnTo>
                  <a:lnTo>
                    <a:pt x="166" y="73"/>
                  </a:lnTo>
                  <a:lnTo>
                    <a:pt x="165" y="69"/>
                  </a:lnTo>
                  <a:lnTo>
                    <a:pt x="166" y="64"/>
                  </a:lnTo>
                  <a:lnTo>
                    <a:pt x="166" y="62"/>
                  </a:lnTo>
                  <a:lnTo>
                    <a:pt x="166" y="60"/>
                  </a:lnTo>
                  <a:lnTo>
                    <a:pt x="167" y="58"/>
                  </a:lnTo>
                  <a:lnTo>
                    <a:pt x="168" y="56"/>
                  </a:lnTo>
                  <a:lnTo>
                    <a:pt x="172" y="49"/>
                  </a:lnTo>
                  <a:lnTo>
                    <a:pt x="173" y="47"/>
                  </a:lnTo>
                  <a:lnTo>
                    <a:pt x="174" y="44"/>
                  </a:lnTo>
                  <a:lnTo>
                    <a:pt x="175" y="41"/>
                  </a:lnTo>
                  <a:lnTo>
                    <a:pt x="176" y="38"/>
                  </a:lnTo>
                  <a:lnTo>
                    <a:pt x="177" y="35"/>
                  </a:lnTo>
                  <a:lnTo>
                    <a:pt x="178" y="33"/>
                  </a:lnTo>
                  <a:lnTo>
                    <a:pt x="179" y="25"/>
                  </a:lnTo>
                  <a:lnTo>
                    <a:pt x="180" y="22"/>
                  </a:lnTo>
                  <a:lnTo>
                    <a:pt x="181" y="21"/>
                  </a:lnTo>
                  <a:lnTo>
                    <a:pt x="181" y="20"/>
                  </a:lnTo>
                  <a:lnTo>
                    <a:pt x="182" y="18"/>
                  </a:lnTo>
                  <a:lnTo>
                    <a:pt x="184" y="15"/>
                  </a:lnTo>
                  <a:lnTo>
                    <a:pt x="192" y="4"/>
                  </a:lnTo>
                  <a:lnTo>
                    <a:pt x="195" y="2"/>
                  </a:lnTo>
                  <a:lnTo>
                    <a:pt x="196" y="0"/>
                  </a:lnTo>
                  <a:lnTo>
                    <a:pt x="197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9" name="Freeform 36">
              <a:extLst>
                <a:ext uri="{FF2B5EF4-FFF2-40B4-BE49-F238E27FC236}">
                  <a16:creationId xmlns:a16="http://schemas.microsoft.com/office/drawing/2014/main" id="{D829346C-1510-4600-BEEF-D333CF39A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481"/>
              <a:ext cx="466" cy="468"/>
            </a:xfrm>
            <a:custGeom>
              <a:avLst/>
              <a:gdLst>
                <a:gd name="T0" fmla="*/ 323 w 466"/>
                <a:gd name="T1" fmla="*/ 15 h 468"/>
                <a:gd name="T2" fmla="*/ 338 w 466"/>
                <a:gd name="T3" fmla="*/ 39 h 468"/>
                <a:gd name="T4" fmla="*/ 357 w 466"/>
                <a:gd name="T5" fmla="*/ 49 h 468"/>
                <a:gd name="T6" fmla="*/ 375 w 466"/>
                <a:gd name="T7" fmla="*/ 51 h 468"/>
                <a:gd name="T8" fmla="*/ 375 w 466"/>
                <a:gd name="T9" fmla="*/ 69 h 468"/>
                <a:gd name="T10" fmla="*/ 392 w 466"/>
                <a:gd name="T11" fmla="*/ 73 h 468"/>
                <a:gd name="T12" fmla="*/ 414 w 466"/>
                <a:gd name="T13" fmla="*/ 94 h 468"/>
                <a:gd name="T14" fmla="*/ 430 w 466"/>
                <a:gd name="T15" fmla="*/ 124 h 468"/>
                <a:gd name="T16" fmla="*/ 448 w 466"/>
                <a:gd name="T17" fmla="*/ 152 h 468"/>
                <a:gd name="T18" fmla="*/ 460 w 466"/>
                <a:gd name="T19" fmla="*/ 173 h 468"/>
                <a:gd name="T20" fmla="*/ 465 w 466"/>
                <a:gd name="T21" fmla="*/ 208 h 468"/>
                <a:gd name="T22" fmla="*/ 457 w 466"/>
                <a:gd name="T23" fmla="*/ 242 h 468"/>
                <a:gd name="T24" fmla="*/ 452 w 466"/>
                <a:gd name="T25" fmla="*/ 265 h 468"/>
                <a:gd name="T26" fmla="*/ 456 w 466"/>
                <a:gd name="T27" fmla="*/ 285 h 468"/>
                <a:gd name="T28" fmla="*/ 430 w 466"/>
                <a:gd name="T29" fmla="*/ 282 h 468"/>
                <a:gd name="T30" fmla="*/ 415 w 466"/>
                <a:gd name="T31" fmla="*/ 287 h 468"/>
                <a:gd name="T32" fmla="*/ 398 w 466"/>
                <a:gd name="T33" fmla="*/ 298 h 468"/>
                <a:gd name="T34" fmla="*/ 371 w 466"/>
                <a:gd name="T35" fmla="*/ 306 h 468"/>
                <a:gd name="T36" fmla="*/ 375 w 466"/>
                <a:gd name="T37" fmla="*/ 326 h 468"/>
                <a:gd name="T38" fmla="*/ 371 w 466"/>
                <a:gd name="T39" fmla="*/ 345 h 468"/>
                <a:gd name="T40" fmla="*/ 362 w 466"/>
                <a:gd name="T41" fmla="*/ 371 h 468"/>
                <a:gd name="T42" fmla="*/ 345 w 466"/>
                <a:gd name="T43" fmla="*/ 389 h 468"/>
                <a:gd name="T44" fmla="*/ 328 w 466"/>
                <a:gd name="T45" fmla="*/ 415 h 468"/>
                <a:gd name="T46" fmla="*/ 316 w 466"/>
                <a:gd name="T47" fmla="*/ 418 h 468"/>
                <a:gd name="T48" fmla="*/ 292 w 466"/>
                <a:gd name="T49" fmla="*/ 409 h 468"/>
                <a:gd name="T50" fmla="*/ 273 w 466"/>
                <a:gd name="T51" fmla="*/ 422 h 468"/>
                <a:gd name="T52" fmla="*/ 246 w 466"/>
                <a:gd name="T53" fmla="*/ 449 h 468"/>
                <a:gd name="T54" fmla="*/ 233 w 466"/>
                <a:gd name="T55" fmla="*/ 467 h 468"/>
                <a:gd name="T56" fmla="*/ 225 w 466"/>
                <a:gd name="T57" fmla="*/ 467 h 468"/>
                <a:gd name="T58" fmla="*/ 210 w 466"/>
                <a:gd name="T59" fmla="*/ 446 h 468"/>
                <a:gd name="T60" fmla="*/ 210 w 466"/>
                <a:gd name="T61" fmla="*/ 420 h 468"/>
                <a:gd name="T62" fmla="*/ 205 w 466"/>
                <a:gd name="T63" fmla="*/ 392 h 468"/>
                <a:gd name="T64" fmla="*/ 210 w 466"/>
                <a:gd name="T65" fmla="*/ 358 h 468"/>
                <a:gd name="T66" fmla="*/ 211 w 466"/>
                <a:gd name="T67" fmla="*/ 327 h 468"/>
                <a:gd name="T68" fmla="*/ 195 w 466"/>
                <a:gd name="T69" fmla="*/ 309 h 468"/>
                <a:gd name="T70" fmla="*/ 164 w 466"/>
                <a:gd name="T71" fmla="*/ 309 h 468"/>
                <a:gd name="T72" fmla="*/ 128 w 466"/>
                <a:gd name="T73" fmla="*/ 310 h 468"/>
                <a:gd name="T74" fmla="*/ 118 w 466"/>
                <a:gd name="T75" fmla="*/ 306 h 468"/>
                <a:gd name="T76" fmla="*/ 114 w 466"/>
                <a:gd name="T77" fmla="*/ 287 h 468"/>
                <a:gd name="T78" fmla="*/ 98 w 466"/>
                <a:gd name="T79" fmla="*/ 273 h 468"/>
                <a:gd name="T80" fmla="*/ 65 w 466"/>
                <a:gd name="T81" fmla="*/ 265 h 468"/>
                <a:gd name="T82" fmla="*/ 18 w 466"/>
                <a:gd name="T83" fmla="*/ 256 h 468"/>
                <a:gd name="T84" fmla="*/ 3 w 466"/>
                <a:gd name="T85" fmla="*/ 241 h 468"/>
                <a:gd name="T86" fmla="*/ 46 w 466"/>
                <a:gd name="T87" fmla="*/ 207 h 468"/>
                <a:gd name="T88" fmla="*/ 59 w 466"/>
                <a:gd name="T89" fmla="*/ 164 h 468"/>
                <a:gd name="T90" fmla="*/ 68 w 466"/>
                <a:gd name="T91" fmla="*/ 133 h 468"/>
                <a:gd name="T92" fmla="*/ 95 w 466"/>
                <a:gd name="T93" fmla="*/ 131 h 468"/>
                <a:gd name="T94" fmla="*/ 134 w 466"/>
                <a:gd name="T95" fmla="*/ 124 h 468"/>
                <a:gd name="T96" fmla="*/ 159 w 466"/>
                <a:gd name="T97" fmla="*/ 128 h 468"/>
                <a:gd name="T98" fmla="*/ 186 w 466"/>
                <a:gd name="T99" fmla="*/ 129 h 468"/>
                <a:gd name="T100" fmla="*/ 207 w 466"/>
                <a:gd name="T101" fmla="*/ 97 h 468"/>
                <a:gd name="T102" fmla="*/ 217 w 466"/>
                <a:gd name="T103" fmla="*/ 63 h 468"/>
                <a:gd name="T104" fmla="*/ 232 w 466"/>
                <a:gd name="T105" fmla="*/ 37 h 468"/>
                <a:gd name="T106" fmla="*/ 250 w 466"/>
                <a:gd name="T107" fmla="*/ 33 h 468"/>
                <a:gd name="T108" fmla="*/ 270 w 466"/>
                <a:gd name="T109" fmla="*/ 44 h 468"/>
                <a:gd name="T110" fmla="*/ 284 w 466"/>
                <a:gd name="T111" fmla="*/ 40 h 468"/>
                <a:gd name="T112" fmla="*/ 296 w 466"/>
                <a:gd name="T113" fmla="*/ 17 h 468"/>
                <a:gd name="T114" fmla="*/ 319 w 466"/>
                <a:gd name="T115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6" h="468">
                  <a:moveTo>
                    <a:pt x="319" y="0"/>
                  </a:moveTo>
                  <a:lnTo>
                    <a:pt x="320" y="0"/>
                  </a:lnTo>
                  <a:lnTo>
                    <a:pt x="321" y="1"/>
                  </a:lnTo>
                  <a:lnTo>
                    <a:pt x="321" y="2"/>
                  </a:lnTo>
                  <a:lnTo>
                    <a:pt x="321" y="4"/>
                  </a:lnTo>
                  <a:lnTo>
                    <a:pt x="321" y="7"/>
                  </a:lnTo>
                  <a:lnTo>
                    <a:pt x="322" y="10"/>
                  </a:lnTo>
                  <a:lnTo>
                    <a:pt x="323" y="13"/>
                  </a:lnTo>
                  <a:lnTo>
                    <a:pt x="323" y="15"/>
                  </a:lnTo>
                  <a:lnTo>
                    <a:pt x="324" y="18"/>
                  </a:lnTo>
                  <a:lnTo>
                    <a:pt x="326" y="21"/>
                  </a:lnTo>
                  <a:lnTo>
                    <a:pt x="327" y="24"/>
                  </a:lnTo>
                  <a:lnTo>
                    <a:pt x="328" y="26"/>
                  </a:lnTo>
                  <a:lnTo>
                    <a:pt x="331" y="31"/>
                  </a:lnTo>
                  <a:lnTo>
                    <a:pt x="332" y="34"/>
                  </a:lnTo>
                  <a:lnTo>
                    <a:pt x="334" y="36"/>
                  </a:lnTo>
                  <a:lnTo>
                    <a:pt x="336" y="37"/>
                  </a:lnTo>
                  <a:lnTo>
                    <a:pt x="338" y="39"/>
                  </a:lnTo>
                  <a:lnTo>
                    <a:pt x="340" y="41"/>
                  </a:lnTo>
                  <a:lnTo>
                    <a:pt x="341" y="42"/>
                  </a:lnTo>
                  <a:lnTo>
                    <a:pt x="343" y="44"/>
                  </a:lnTo>
                  <a:lnTo>
                    <a:pt x="345" y="45"/>
                  </a:lnTo>
                  <a:lnTo>
                    <a:pt x="348" y="47"/>
                  </a:lnTo>
                  <a:lnTo>
                    <a:pt x="351" y="48"/>
                  </a:lnTo>
                  <a:lnTo>
                    <a:pt x="353" y="49"/>
                  </a:lnTo>
                  <a:lnTo>
                    <a:pt x="355" y="49"/>
                  </a:lnTo>
                  <a:lnTo>
                    <a:pt x="357" y="49"/>
                  </a:lnTo>
                  <a:lnTo>
                    <a:pt x="360" y="49"/>
                  </a:lnTo>
                  <a:lnTo>
                    <a:pt x="362" y="49"/>
                  </a:lnTo>
                  <a:lnTo>
                    <a:pt x="367" y="47"/>
                  </a:lnTo>
                  <a:lnTo>
                    <a:pt x="370" y="46"/>
                  </a:lnTo>
                  <a:lnTo>
                    <a:pt x="372" y="46"/>
                  </a:lnTo>
                  <a:lnTo>
                    <a:pt x="373" y="46"/>
                  </a:lnTo>
                  <a:lnTo>
                    <a:pt x="374" y="47"/>
                  </a:lnTo>
                  <a:lnTo>
                    <a:pt x="375" y="49"/>
                  </a:lnTo>
                  <a:lnTo>
                    <a:pt x="375" y="51"/>
                  </a:lnTo>
                  <a:lnTo>
                    <a:pt x="376" y="53"/>
                  </a:lnTo>
                  <a:lnTo>
                    <a:pt x="376" y="54"/>
                  </a:lnTo>
                  <a:lnTo>
                    <a:pt x="376" y="56"/>
                  </a:lnTo>
                  <a:lnTo>
                    <a:pt x="375" y="61"/>
                  </a:lnTo>
                  <a:lnTo>
                    <a:pt x="375" y="63"/>
                  </a:lnTo>
                  <a:lnTo>
                    <a:pt x="375" y="64"/>
                  </a:lnTo>
                  <a:lnTo>
                    <a:pt x="375" y="66"/>
                  </a:lnTo>
                  <a:lnTo>
                    <a:pt x="375" y="68"/>
                  </a:lnTo>
                  <a:lnTo>
                    <a:pt x="375" y="69"/>
                  </a:lnTo>
                  <a:lnTo>
                    <a:pt x="376" y="70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9" y="71"/>
                  </a:lnTo>
                  <a:lnTo>
                    <a:pt x="381" y="71"/>
                  </a:lnTo>
                  <a:lnTo>
                    <a:pt x="386" y="72"/>
                  </a:lnTo>
                  <a:lnTo>
                    <a:pt x="388" y="72"/>
                  </a:lnTo>
                  <a:lnTo>
                    <a:pt x="390" y="73"/>
                  </a:lnTo>
                  <a:lnTo>
                    <a:pt x="392" y="73"/>
                  </a:lnTo>
                  <a:lnTo>
                    <a:pt x="393" y="74"/>
                  </a:lnTo>
                  <a:lnTo>
                    <a:pt x="394" y="75"/>
                  </a:lnTo>
                  <a:lnTo>
                    <a:pt x="396" y="76"/>
                  </a:lnTo>
                  <a:lnTo>
                    <a:pt x="398" y="78"/>
                  </a:lnTo>
                  <a:lnTo>
                    <a:pt x="401" y="83"/>
                  </a:lnTo>
                  <a:lnTo>
                    <a:pt x="406" y="87"/>
                  </a:lnTo>
                  <a:lnTo>
                    <a:pt x="408" y="88"/>
                  </a:lnTo>
                  <a:lnTo>
                    <a:pt x="409" y="90"/>
                  </a:lnTo>
                  <a:lnTo>
                    <a:pt x="414" y="94"/>
                  </a:lnTo>
                  <a:lnTo>
                    <a:pt x="416" y="95"/>
                  </a:lnTo>
                  <a:lnTo>
                    <a:pt x="417" y="96"/>
                  </a:lnTo>
                  <a:lnTo>
                    <a:pt x="419" y="98"/>
                  </a:lnTo>
                  <a:lnTo>
                    <a:pt x="421" y="103"/>
                  </a:lnTo>
                  <a:lnTo>
                    <a:pt x="423" y="105"/>
                  </a:lnTo>
                  <a:lnTo>
                    <a:pt x="424" y="109"/>
                  </a:lnTo>
                  <a:lnTo>
                    <a:pt x="426" y="113"/>
                  </a:lnTo>
                  <a:lnTo>
                    <a:pt x="429" y="120"/>
                  </a:lnTo>
                  <a:lnTo>
                    <a:pt x="430" y="124"/>
                  </a:lnTo>
                  <a:lnTo>
                    <a:pt x="431" y="126"/>
                  </a:lnTo>
                  <a:lnTo>
                    <a:pt x="432" y="127"/>
                  </a:lnTo>
                  <a:lnTo>
                    <a:pt x="434" y="129"/>
                  </a:lnTo>
                  <a:lnTo>
                    <a:pt x="435" y="131"/>
                  </a:lnTo>
                  <a:lnTo>
                    <a:pt x="436" y="132"/>
                  </a:lnTo>
                  <a:lnTo>
                    <a:pt x="438" y="137"/>
                  </a:lnTo>
                  <a:lnTo>
                    <a:pt x="443" y="145"/>
                  </a:lnTo>
                  <a:lnTo>
                    <a:pt x="445" y="150"/>
                  </a:lnTo>
                  <a:lnTo>
                    <a:pt x="448" y="152"/>
                  </a:lnTo>
                  <a:lnTo>
                    <a:pt x="450" y="155"/>
                  </a:lnTo>
                  <a:lnTo>
                    <a:pt x="455" y="160"/>
                  </a:lnTo>
                  <a:lnTo>
                    <a:pt x="456" y="162"/>
                  </a:lnTo>
                  <a:lnTo>
                    <a:pt x="458" y="164"/>
                  </a:lnTo>
                  <a:lnTo>
                    <a:pt x="459" y="165"/>
                  </a:lnTo>
                  <a:lnTo>
                    <a:pt x="459" y="167"/>
                  </a:lnTo>
                  <a:lnTo>
                    <a:pt x="460" y="169"/>
                  </a:lnTo>
                  <a:lnTo>
                    <a:pt x="460" y="170"/>
                  </a:lnTo>
                  <a:lnTo>
                    <a:pt x="460" y="173"/>
                  </a:lnTo>
                  <a:lnTo>
                    <a:pt x="460" y="176"/>
                  </a:lnTo>
                  <a:lnTo>
                    <a:pt x="459" y="185"/>
                  </a:lnTo>
                  <a:lnTo>
                    <a:pt x="459" y="186"/>
                  </a:lnTo>
                  <a:lnTo>
                    <a:pt x="459" y="189"/>
                  </a:lnTo>
                  <a:lnTo>
                    <a:pt x="460" y="193"/>
                  </a:lnTo>
                  <a:lnTo>
                    <a:pt x="461" y="196"/>
                  </a:lnTo>
                  <a:lnTo>
                    <a:pt x="462" y="199"/>
                  </a:lnTo>
                  <a:lnTo>
                    <a:pt x="464" y="206"/>
                  </a:lnTo>
                  <a:lnTo>
                    <a:pt x="465" y="208"/>
                  </a:lnTo>
                  <a:lnTo>
                    <a:pt x="466" y="212"/>
                  </a:lnTo>
                  <a:lnTo>
                    <a:pt x="466" y="216"/>
                  </a:lnTo>
                  <a:lnTo>
                    <a:pt x="466" y="219"/>
                  </a:lnTo>
                  <a:lnTo>
                    <a:pt x="466" y="223"/>
                  </a:lnTo>
                  <a:lnTo>
                    <a:pt x="466" y="227"/>
                  </a:lnTo>
                  <a:lnTo>
                    <a:pt x="465" y="229"/>
                  </a:lnTo>
                  <a:lnTo>
                    <a:pt x="465" y="230"/>
                  </a:lnTo>
                  <a:lnTo>
                    <a:pt x="464" y="230"/>
                  </a:lnTo>
                  <a:lnTo>
                    <a:pt x="457" y="242"/>
                  </a:lnTo>
                  <a:lnTo>
                    <a:pt x="455" y="246"/>
                  </a:lnTo>
                  <a:lnTo>
                    <a:pt x="454" y="249"/>
                  </a:lnTo>
                  <a:lnTo>
                    <a:pt x="453" y="253"/>
                  </a:lnTo>
                  <a:lnTo>
                    <a:pt x="453" y="255"/>
                  </a:lnTo>
                  <a:lnTo>
                    <a:pt x="452" y="257"/>
                  </a:lnTo>
                  <a:lnTo>
                    <a:pt x="452" y="260"/>
                  </a:lnTo>
                  <a:lnTo>
                    <a:pt x="452" y="262"/>
                  </a:lnTo>
                  <a:lnTo>
                    <a:pt x="452" y="264"/>
                  </a:lnTo>
                  <a:lnTo>
                    <a:pt x="452" y="265"/>
                  </a:lnTo>
                  <a:lnTo>
                    <a:pt x="453" y="267"/>
                  </a:lnTo>
                  <a:lnTo>
                    <a:pt x="455" y="273"/>
                  </a:lnTo>
                  <a:lnTo>
                    <a:pt x="456" y="276"/>
                  </a:lnTo>
                  <a:lnTo>
                    <a:pt x="456" y="278"/>
                  </a:lnTo>
                  <a:lnTo>
                    <a:pt x="457" y="279"/>
                  </a:lnTo>
                  <a:lnTo>
                    <a:pt x="457" y="281"/>
                  </a:lnTo>
                  <a:lnTo>
                    <a:pt x="457" y="283"/>
                  </a:lnTo>
                  <a:lnTo>
                    <a:pt x="457" y="284"/>
                  </a:lnTo>
                  <a:lnTo>
                    <a:pt x="456" y="285"/>
                  </a:lnTo>
                  <a:lnTo>
                    <a:pt x="455" y="285"/>
                  </a:lnTo>
                  <a:lnTo>
                    <a:pt x="455" y="286"/>
                  </a:lnTo>
                  <a:lnTo>
                    <a:pt x="447" y="287"/>
                  </a:lnTo>
                  <a:lnTo>
                    <a:pt x="444" y="287"/>
                  </a:lnTo>
                  <a:lnTo>
                    <a:pt x="443" y="287"/>
                  </a:lnTo>
                  <a:lnTo>
                    <a:pt x="441" y="287"/>
                  </a:lnTo>
                  <a:lnTo>
                    <a:pt x="440" y="287"/>
                  </a:lnTo>
                  <a:lnTo>
                    <a:pt x="432" y="283"/>
                  </a:lnTo>
                  <a:lnTo>
                    <a:pt x="430" y="282"/>
                  </a:lnTo>
                  <a:lnTo>
                    <a:pt x="428" y="282"/>
                  </a:lnTo>
                  <a:lnTo>
                    <a:pt x="426" y="281"/>
                  </a:lnTo>
                  <a:lnTo>
                    <a:pt x="424" y="281"/>
                  </a:lnTo>
                  <a:lnTo>
                    <a:pt x="423" y="282"/>
                  </a:lnTo>
                  <a:lnTo>
                    <a:pt x="421" y="282"/>
                  </a:lnTo>
                  <a:lnTo>
                    <a:pt x="420" y="283"/>
                  </a:lnTo>
                  <a:lnTo>
                    <a:pt x="418" y="284"/>
                  </a:lnTo>
                  <a:lnTo>
                    <a:pt x="417" y="285"/>
                  </a:lnTo>
                  <a:lnTo>
                    <a:pt x="415" y="287"/>
                  </a:lnTo>
                  <a:lnTo>
                    <a:pt x="414" y="287"/>
                  </a:lnTo>
                  <a:lnTo>
                    <a:pt x="413" y="289"/>
                  </a:lnTo>
                  <a:lnTo>
                    <a:pt x="411" y="292"/>
                  </a:lnTo>
                  <a:lnTo>
                    <a:pt x="410" y="293"/>
                  </a:lnTo>
                  <a:lnTo>
                    <a:pt x="409" y="294"/>
                  </a:lnTo>
                  <a:lnTo>
                    <a:pt x="409" y="295"/>
                  </a:lnTo>
                  <a:lnTo>
                    <a:pt x="405" y="297"/>
                  </a:lnTo>
                  <a:lnTo>
                    <a:pt x="401" y="298"/>
                  </a:lnTo>
                  <a:lnTo>
                    <a:pt x="398" y="298"/>
                  </a:lnTo>
                  <a:lnTo>
                    <a:pt x="392" y="299"/>
                  </a:lnTo>
                  <a:lnTo>
                    <a:pt x="383" y="299"/>
                  </a:lnTo>
                  <a:lnTo>
                    <a:pt x="381" y="300"/>
                  </a:lnTo>
                  <a:lnTo>
                    <a:pt x="378" y="300"/>
                  </a:lnTo>
                  <a:lnTo>
                    <a:pt x="376" y="301"/>
                  </a:lnTo>
                  <a:lnTo>
                    <a:pt x="374" y="302"/>
                  </a:lnTo>
                  <a:lnTo>
                    <a:pt x="373" y="303"/>
                  </a:lnTo>
                  <a:lnTo>
                    <a:pt x="372" y="304"/>
                  </a:lnTo>
                  <a:lnTo>
                    <a:pt x="371" y="306"/>
                  </a:lnTo>
                  <a:lnTo>
                    <a:pt x="371" y="307"/>
                  </a:lnTo>
                  <a:lnTo>
                    <a:pt x="371" y="309"/>
                  </a:lnTo>
                  <a:lnTo>
                    <a:pt x="371" y="310"/>
                  </a:lnTo>
                  <a:lnTo>
                    <a:pt x="371" y="312"/>
                  </a:lnTo>
                  <a:lnTo>
                    <a:pt x="372" y="315"/>
                  </a:lnTo>
                  <a:lnTo>
                    <a:pt x="374" y="321"/>
                  </a:lnTo>
                  <a:lnTo>
                    <a:pt x="375" y="321"/>
                  </a:lnTo>
                  <a:lnTo>
                    <a:pt x="375" y="324"/>
                  </a:lnTo>
                  <a:lnTo>
                    <a:pt x="375" y="326"/>
                  </a:lnTo>
                  <a:lnTo>
                    <a:pt x="375" y="329"/>
                  </a:lnTo>
                  <a:lnTo>
                    <a:pt x="374" y="332"/>
                  </a:lnTo>
                  <a:lnTo>
                    <a:pt x="374" y="333"/>
                  </a:lnTo>
                  <a:lnTo>
                    <a:pt x="374" y="336"/>
                  </a:lnTo>
                  <a:lnTo>
                    <a:pt x="374" y="340"/>
                  </a:lnTo>
                  <a:lnTo>
                    <a:pt x="374" y="341"/>
                  </a:lnTo>
                  <a:lnTo>
                    <a:pt x="373" y="343"/>
                  </a:lnTo>
                  <a:lnTo>
                    <a:pt x="372" y="344"/>
                  </a:lnTo>
                  <a:lnTo>
                    <a:pt x="371" y="345"/>
                  </a:lnTo>
                  <a:lnTo>
                    <a:pt x="367" y="351"/>
                  </a:lnTo>
                  <a:lnTo>
                    <a:pt x="365" y="353"/>
                  </a:lnTo>
                  <a:lnTo>
                    <a:pt x="364" y="355"/>
                  </a:lnTo>
                  <a:lnTo>
                    <a:pt x="364" y="356"/>
                  </a:lnTo>
                  <a:lnTo>
                    <a:pt x="363" y="359"/>
                  </a:lnTo>
                  <a:lnTo>
                    <a:pt x="362" y="363"/>
                  </a:lnTo>
                  <a:lnTo>
                    <a:pt x="362" y="365"/>
                  </a:lnTo>
                  <a:lnTo>
                    <a:pt x="362" y="368"/>
                  </a:lnTo>
                  <a:lnTo>
                    <a:pt x="362" y="371"/>
                  </a:lnTo>
                  <a:lnTo>
                    <a:pt x="361" y="374"/>
                  </a:lnTo>
                  <a:lnTo>
                    <a:pt x="360" y="376"/>
                  </a:lnTo>
                  <a:lnTo>
                    <a:pt x="359" y="377"/>
                  </a:lnTo>
                  <a:lnTo>
                    <a:pt x="357" y="379"/>
                  </a:lnTo>
                  <a:lnTo>
                    <a:pt x="354" y="381"/>
                  </a:lnTo>
                  <a:lnTo>
                    <a:pt x="350" y="384"/>
                  </a:lnTo>
                  <a:lnTo>
                    <a:pt x="348" y="386"/>
                  </a:lnTo>
                  <a:lnTo>
                    <a:pt x="346" y="388"/>
                  </a:lnTo>
                  <a:lnTo>
                    <a:pt x="345" y="389"/>
                  </a:lnTo>
                  <a:lnTo>
                    <a:pt x="344" y="390"/>
                  </a:lnTo>
                  <a:lnTo>
                    <a:pt x="342" y="392"/>
                  </a:lnTo>
                  <a:lnTo>
                    <a:pt x="340" y="399"/>
                  </a:lnTo>
                  <a:lnTo>
                    <a:pt x="334" y="408"/>
                  </a:lnTo>
                  <a:lnTo>
                    <a:pt x="333" y="411"/>
                  </a:lnTo>
                  <a:lnTo>
                    <a:pt x="332" y="411"/>
                  </a:lnTo>
                  <a:lnTo>
                    <a:pt x="331" y="412"/>
                  </a:lnTo>
                  <a:lnTo>
                    <a:pt x="330" y="414"/>
                  </a:lnTo>
                  <a:lnTo>
                    <a:pt x="328" y="415"/>
                  </a:lnTo>
                  <a:lnTo>
                    <a:pt x="326" y="417"/>
                  </a:lnTo>
                  <a:lnTo>
                    <a:pt x="325" y="417"/>
                  </a:lnTo>
                  <a:lnTo>
                    <a:pt x="324" y="418"/>
                  </a:lnTo>
                  <a:lnTo>
                    <a:pt x="322" y="419"/>
                  </a:lnTo>
                  <a:lnTo>
                    <a:pt x="321" y="419"/>
                  </a:lnTo>
                  <a:lnTo>
                    <a:pt x="319" y="419"/>
                  </a:lnTo>
                  <a:lnTo>
                    <a:pt x="318" y="419"/>
                  </a:lnTo>
                  <a:lnTo>
                    <a:pt x="317" y="419"/>
                  </a:lnTo>
                  <a:lnTo>
                    <a:pt x="316" y="418"/>
                  </a:lnTo>
                  <a:lnTo>
                    <a:pt x="314" y="418"/>
                  </a:lnTo>
                  <a:lnTo>
                    <a:pt x="311" y="416"/>
                  </a:lnTo>
                  <a:lnTo>
                    <a:pt x="304" y="411"/>
                  </a:lnTo>
                  <a:lnTo>
                    <a:pt x="301" y="410"/>
                  </a:lnTo>
                  <a:lnTo>
                    <a:pt x="299" y="409"/>
                  </a:lnTo>
                  <a:lnTo>
                    <a:pt x="297" y="409"/>
                  </a:lnTo>
                  <a:lnTo>
                    <a:pt x="296" y="409"/>
                  </a:lnTo>
                  <a:lnTo>
                    <a:pt x="294" y="409"/>
                  </a:lnTo>
                  <a:lnTo>
                    <a:pt x="292" y="409"/>
                  </a:lnTo>
                  <a:lnTo>
                    <a:pt x="289" y="410"/>
                  </a:lnTo>
                  <a:lnTo>
                    <a:pt x="287" y="411"/>
                  </a:lnTo>
                  <a:lnTo>
                    <a:pt x="285" y="411"/>
                  </a:lnTo>
                  <a:lnTo>
                    <a:pt x="284" y="412"/>
                  </a:lnTo>
                  <a:lnTo>
                    <a:pt x="282" y="413"/>
                  </a:lnTo>
                  <a:lnTo>
                    <a:pt x="279" y="414"/>
                  </a:lnTo>
                  <a:lnTo>
                    <a:pt x="278" y="416"/>
                  </a:lnTo>
                  <a:lnTo>
                    <a:pt x="276" y="417"/>
                  </a:lnTo>
                  <a:lnTo>
                    <a:pt x="273" y="422"/>
                  </a:lnTo>
                  <a:lnTo>
                    <a:pt x="268" y="427"/>
                  </a:lnTo>
                  <a:lnTo>
                    <a:pt x="264" y="431"/>
                  </a:lnTo>
                  <a:lnTo>
                    <a:pt x="262" y="435"/>
                  </a:lnTo>
                  <a:lnTo>
                    <a:pt x="258" y="441"/>
                  </a:lnTo>
                  <a:lnTo>
                    <a:pt x="256" y="443"/>
                  </a:lnTo>
                  <a:lnTo>
                    <a:pt x="254" y="444"/>
                  </a:lnTo>
                  <a:lnTo>
                    <a:pt x="253" y="445"/>
                  </a:lnTo>
                  <a:lnTo>
                    <a:pt x="248" y="448"/>
                  </a:lnTo>
                  <a:lnTo>
                    <a:pt x="246" y="449"/>
                  </a:lnTo>
                  <a:lnTo>
                    <a:pt x="243" y="452"/>
                  </a:lnTo>
                  <a:lnTo>
                    <a:pt x="241" y="454"/>
                  </a:lnTo>
                  <a:lnTo>
                    <a:pt x="239" y="456"/>
                  </a:lnTo>
                  <a:lnTo>
                    <a:pt x="239" y="457"/>
                  </a:lnTo>
                  <a:lnTo>
                    <a:pt x="238" y="459"/>
                  </a:lnTo>
                  <a:lnTo>
                    <a:pt x="236" y="463"/>
                  </a:lnTo>
                  <a:lnTo>
                    <a:pt x="235" y="465"/>
                  </a:lnTo>
                  <a:lnTo>
                    <a:pt x="234" y="466"/>
                  </a:lnTo>
                  <a:lnTo>
                    <a:pt x="233" y="467"/>
                  </a:lnTo>
                  <a:lnTo>
                    <a:pt x="232" y="468"/>
                  </a:lnTo>
                  <a:lnTo>
                    <a:pt x="231" y="468"/>
                  </a:lnTo>
                  <a:lnTo>
                    <a:pt x="229" y="468"/>
                  </a:lnTo>
                  <a:lnTo>
                    <a:pt x="228" y="468"/>
                  </a:lnTo>
                  <a:lnTo>
                    <a:pt x="227" y="468"/>
                  </a:lnTo>
                  <a:lnTo>
                    <a:pt x="226" y="468"/>
                  </a:lnTo>
                  <a:lnTo>
                    <a:pt x="225" y="468"/>
                  </a:lnTo>
                  <a:lnTo>
                    <a:pt x="226" y="468"/>
                  </a:lnTo>
                  <a:lnTo>
                    <a:pt x="225" y="467"/>
                  </a:lnTo>
                  <a:lnTo>
                    <a:pt x="225" y="465"/>
                  </a:lnTo>
                  <a:lnTo>
                    <a:pt x="224" y="464"/>
                  </a:lnTo>
                  <a:lnTo>
                    <a:pt x="221" y="460"/>
                  </a:lnTo>
                  <a:lnTo>
                    <a:pt x="215" y="455"/>
                  </a:lnTo>
                  <a:lnTo>
                    <a:pt x="214" y="454"/>
                  </a:lnTo>
                  <a:lnTo>
                    <a:pt x="212" y="452"/>
                  </a:lnTo>
                  <a:lnTo>
                    <a:pt x="211" y="450"/>
                  </a:lnTo>
                  <a:lnTo>
                    <a:pt x="210" y="448"/>
                  </a:lnTo>
                  <a:lnTo>
                    <a:pt x="210" y="446"/>
                  </a:lnTo>
                  <a:lnTo>
                    <a:pt x="209" y="445"/>
                  </a:lnTo>
                  <a:lnTo>
                    <a:pt x="209" y="443"/>
                  </a:lnTo>
                  <a:lnTo>
                    <a:pt x="210" y="441"/>
                  </a:lnTo>
                  <a:lnTo>
                    <a:pt x="211" y="435"/>
                  </a:lnTo>
                  <a:lnTo>
                    <a:pt x="211" y="433"/>
                  </a:lnTo>
                  <a:lnTo>
                    <a:pt x="212" y="429"/>
                  </a:lnTo>
                  <a:lnTo>
                    <a:pt x="211" y="424"/>
                  </a:lnTo>
                  <a:lnTo>
                    <a:pt x="211" y="422"/>
                  </a:lnTo>
                  <a:lnTo>
                    <a:pt x="210" y="420"/>
                  </a:lnTo>
                  <a:lnTo>
                    <a:pt x="209" y="415"/>
                  </a:lnTo>
                  <a:lnTo>
                    <a:pt x="209" y="412"/>
                  </a:lnTo>
                  <a:lnTo>
                    <a:pt x="208" y="411"/>
                  </a:lnTo>
                  <a:lnTo>
                    <a:pt x="205" y="406"/>
                  </a:lnTo>
                  <a:lnTo>
                    <a:pt x="205" y="404"/>
                  </a:lnTo>
                  <a:lnTo>
                    <a:pt x="205" y="401"/>
                  </a:lnTo>
                  <a:lnTo>
                    <a:pt x="205" y="400"/>
                  </a:lnTo>
                  <a:lnTo>
                    <a:pt x="205" y="396"/>
                  </a:lnTo>
                  <a:lnTo>
                    <a:pt x="205" y="392"/>
                  </a:lnTo>
                  <a:lnTo>
                    <a:pt x="208" y="384"/>
                  </a:lnTo>
                  <a:lnTo>
                    <a:pt x="209" y="378"/>
                  </a:lnTo>
                  <a:lnTo>
                    <a:pt x="210" y="377"/>
                  </a:lnTo>
                  <a:lnTo>
                    <a:pt x="210" y="375"/>
                  </a:lnTo>
                  <a:lnTo>
                    <a:pt x="210" y="373"/>
                  </a:lnTo>
                  <a:lnTo>
                    <a:pt x="210" y="365"/>
                  </a:lnTo>
                  <a:lnTo>
                    <a:pt x="210" y="363"/>
                  </a:lnTo>
                  <a:lnTo>
                    <a:pt x="210" y="360"/>
                  </a:lnTo>
                  <a:lnTo>
                    <a:pt x="210" y="358"/>
                  </a:lnTo>
                  <a:lnTo>
                    <a:pt x="211" y="356"/>
                  </a:lnTo>
                  <a:lnTo>
                    <a:pt x="213" y="349"/>
                  </a:lnTo>
                  <a:lnTo>
                    <a:pt x="214" y="346"/>
                  </a:lnTo>
                  <a:lnTo>
                    <a:pt x="214" y="343"/>
                  </a:lnTo>
                  <a:lnTo>
                    <a:pt x="214" y="339"/>
                  </a:lnTo>
                  <a:lnTo>
                    <a:pt x="214" y="335"/>
                  </a:lnTo>
                  <a:lnTo>
                    <a:pt x="214" y="333"/>
                  </a:lnTo>
                  <a:lnTo>
                    <a:pt x="213" y="331"/>
                  </a:lnTo>
                  <a:lnTo>
                    <a:pt x="211" y="327"/>
                  </a:lnTo>
                  <a:lnTo>
                    <a:pt x="209" y="322"/>
                  </a:lnTo>
                  <a:lnTo>
                    <a:pt x="207" y="320"/>
                  </a:lnTo>
                  <a:lnTo>
                    <a:pt x="205" y="317"/>
                  </a:lnTo>
                  <a:lnTo>
                    <a:pt x="204" y="315"/>
                  </a:lnTo>
                  <a:lnTo>
                    <a:pt x="201" y="312"/>
                  </a:lnTo>
                  <a:lnTo>
                    <a:pt x="199" y="310"/>
                  </a:lnTo>
                  <a:lnTo>
                    <a:pt x="198" y="309"/>
                  </a:lnTo>
                  <a:lnTo>
                    <a:pt x="197" y="309"/>
                  </a:lnTo>
                  <a:lnTo>
                    <a:pt x="195" y="309"/>
                  </a:lnTo>
                  <a:lnTo>
                    <a:pt x="194" y="309"/>
                  </a:lnTo>
                  <a:lnTo>
                    <a:pt x="193" y="309"/>
                  </a:lnTo>
                  <a:lnTo>
                    <a:pt x="192" y="309"/>
                  </a:lnTo>
                  <a:lnTo>
                    <a:pt x="190" y="309"/>
                  </a:lnTo>
                  <a:lnTo>
                    <a:pt x="180" y="310"/>
                  </a:lnTo>
                  <a:lnTo>
                    <a:pt x="178" y="310"/>
                  </a:lnTo>
                  <a:lnTo>
                    <a:pt x="176" y="310"/>
                  </a:lnTo>
                  <a:lnTo>
                    <a:pt x="169" y="310"/>
                  </a:lnTo>
                  <a:lnTo>
                    <a:pt x="164" y="309"/>
                  </a:lnTo>
                  <a:lnTo>
                    <a:pt x="159" y="309"/>
                  </a:lnTo>
                  <a:lnTo>
                    <a:pt x="149" y="308"/>
                  </a:lnTo>
                  <a:lnTo>
                    <a:pt x="146" y="308"/>
                  </a:lnTo>
                  <a:lnTo>
                    <a:pt x="143" y="308"/>
                  </a:lnTo>
                  <a:lnTo>
                    <a:pt x="140" y="308"/>
                  </a:lnTo>
                  <a:lnTo>
                    <a:pt x="138" y="308"/>
                  </a:lnTo>
                  <a:lnTo>
                    <a:pt x="136" y="309"/>
                  </a:lnTo>
                  <a:lnTo>
                    <a:pt x="131" y="309"/>
                  </a:lnTo>
                  <a:lnTo>
                    <a:pt x="128" y="310"/>
                  </a:lnTo>
                  <a:lnTo>
                    <a:pt x="127" y="310"/>
                  </a:lnTo>
                  <a:lnTo>
                    <a:pt x="126" y="310"/>
                  </a:lnTo>
                  <a:lnTo>
                    <a:pt x="125" y="310"/>
                  </a:lnTo>
                  <a:lnTo>
                    <a:pt x="124" y="309"/>
                  </a:lnTo>
                  <a:lnTo>
                    <a:pt x="123" y="309"/>
                  </a:lnTo>
                  <a:lnTo>
                    <a:pt x="121" y="309"/>
                  </a:lnTo>
                  <a:lnTo>
                    <a:pt x="120" y="308"/>
                  </a:lnTo>
                  <a:lnTo>
                    <a:pt x="119" y="307"/>
                  </a:lnTo>
                  <a:lnTo>
                    <a:pt x="118" y="306"/>
                  </a:lnTo>
                  <a:lnTo>
                    <a:pt x="117" y="305"/>
                  </a:lnTo>
                  <a:lnTo>
                    <a:pt x="116" y="304"/>
                  </a:lnTo>
                  <a:lnTo>
                    <a:pt x="115" y="303"/>
                  </a:lnTo>
                  <a:lnTo>
                    <a:pt x="115" y="302"/>
                  </a:lnTo>
                  <a:lnTo>
                    <a:pt x="115" y="300"/>
                  </a:lnTo>
                  <a:lnTo>
                    <a:pt x="115" y="298"/>
                  </a:lnTo>
                  <a:lnTo>
                    <a:pt x="115" y="291"/>
                  </a:lnTo>
                  <a:lnTo>
                    <a:pt x="114" y="289"/>
                  </a:lnTo>
                  <a:lnTo>
                    <a:pt x="114" y="287"/>
                  </a:lnTo>
                  <a:lnTo>
                    <a:pt x="114" y="286"/>
                  </a:lnTo>
                  <a:lnTo>
                    <a:pt x="114" y="285"/>
                  </a:lnTo>
                  <a:lnTo>
                    <a:pt x="113" y="283"/>
                  </a:lnTo>
                  <a:lnTo>
                    <a:pt x="112" y="282"/>
                  </a:lnTo>
                  <a:lnTo>
                    <a:pt x="111" y="281"/>
                  </a:lnTo>
                  <a:lnTo>
                    <a:pt x="109" y="280"/>
                  </a:lnTo>
                  <a:lnTo>
                    <a:pt x="108" y="278"/>
                  </a:lnTo>
                  <a:lnTo>
                    <a:pt x="105" y="277"/>
                  </a:lnTo>
                  <a:lnTo>
                    <a:pt x="98" y="273"/>
                  </a:lnTo>
                  <a:lnTo>
                    <a:pt x="94" y="271"/>
                  </a:lnTo>
                  <a:lnTo>
                    <a:pt x="92" y="271"/>
                  </a:lnTo>
                  <a:lnTo>
                    <a:pt x="91" y="270"/>
                  </a:lnTo>
                  <a:lnTo>
                    <a:pt x="87" y="269"/>
                  </a:lnTo>
                  <a:lnTo>
                    <a:pt x="82" y="268"/>
                  </a:lnTo>
                  <a:lnTo>
                    <a:pt x="79" y="268"/>
                  </a:lnTo>
                  <a:lnTo>
                    <a:pt x="73" y="267"/>
                  </a:lnTo>
                  <a:lnTo>
                    <a:pt x="70" y="267"/>
                  </a:lnTo>
                  <a:lnTo>
                    <a:pt x="65" y="265"/>
                  </a:lnTo>
                  <a:lnTo>
                    <a:pt x="57" y="264"/>
                  </a:lnTo>
                  <a:lnTo>
                    <a:pt x="54" y="263"/>
                  </a:lnTo>
                  <a:lnTo>
                    <a:pt x="50" y="262"/>
                  </a:lnTo>
                  <a:lnTo>
                    <a:pt x="42" y="262"/>
                  </a:lnTo>
                  <a:lnTo>
                    <a:pt x="37" y="261"/>
                  </a:lnTo>
                  <a:lnTo>
                    <a:pt x="32" y="260"/>
                  </a:lnTo>
                  <a:lnTo>
                    <a:pt x="25" y="258"/>
                  </a:lnTo>
                  <a:lnTo>
                    <a:pt x="21" y="257"/>
                  </a:lnTo>
                  <a:lnTo>
                    <a:pt x="18" y="256"/>
                  </a:lnTo>
                  <a:lnTo>
                    <a:pt x="15" y="254"/>
                  </a:lnTo>
                  <a:lnTo>
                    <a:pt x="11" y="253"/>
                  </a:lnTo>
                  <a:lnTo>
                    <a:pt x="1" y="246"/>
                  </a:lnTo>
                  <a:lnTo>
                    <a:pt x="0" y="246"/>
                  </a:lnTo>
                  <a:lnTo>
                    <a:pt x="0" y="245"/>
                  </a:lnTo>
                  <a:lnTo>
                    <a:pt x="0" y="244"/>
                  </a:lnTo>
                  <a:lnTo>
                    <a:pt x="0" y="243"/>
                  </a:lnTo>
                  <a:lnTo>
                    <a:pt x="1" y="242"/>
                  </a:lnTo>
                  <a:lnTo>
                    <a:pt x="3" y="241"/>
                  </a:lnTo>
                  <a:lnTo>
                    <a:pt x="5" y="240"/>
                  </a:lnTo>
                  <a:lnTo>
                    <a:pt x="7" y="239"/>
                  </a:lnTo>
                  <a:lnTo>
                    <a:pt x="17" y="233"/>
                  </a:lnTo>
                  <a:lnTo>
                    <a:pt x="22" y="230"/>
                  </a:lnTo>
                  <a:lnTo>
                    <a:pt x="27" y="227"/>
                  </a:lnTo>
                  <a:lnTo>
                    <a:pt x="29" y="225"/>
                  </a:lnTo>
                  <a:lnTo>
                    <a:pt x="31" y="224"/>
                  </a:lnTo>
                  <a:lnTo>
                    <a:pt x="34" y="219"/>
                  </a:lnTo>
                  <a:lnTo>
                    <a:pt x="46" y="207"/>
                  </a:lnTo>
                  <a:lnTo>
                    <a:pt x="49" y="203"/>
                  </a:lnTo>
                  <a:lnTo>
                    <a:pt x="52" y="199"/>
                  </a:lnTo>
                  <a:lnTo>
                    <a:pt x="54" y="197"/>
                  </a:lnTo>
                  <a:lnTo>
                    <a:pt x="55" y="195"/>
                  </a:lnTo>
                  <a:lnTo>
                    <a:pt x="56" y="192"/>
                  </a:lnTo>
                  <a:lnTo>
                    <a:pt x="57" y="188"/>
                  </a:lnTo>
                  <a:lnTo>
                    <a:pt x="57" y="185"/>
                  </a:lnTo>
                  <a:lnTo>
                    <a:pt x="58" y="172"/>
                  </a:lnTo>
                  <a:lnTo>
                    <a:pt x="59" y="164"/>
                  </a:lnTo>
                  <a:lnTo>
                    <a:pt x="60" y="156"/>
                  </a:lnTo>
                  <a:lnTo>
                    <a:pt x="61" y="152"/>
                  </a:lnTo>
                  <a:lnTo>
                    <a:pt x="62" y="150"/>
                  </a:lnTo>
                  <a:lnTo>
                    <a:pt x="63" y="147"/>
                  </a:lnTo>
                  <a:lnTo>
                    <a:pt x="64" y="143"/>
                  </a:lnTo>
                  <a:lnTo>
                    <a:pt x="65" y="140"/>
                  </a:lnTo>
                  <a:lnTo>
                    <a:pt x="67" y="138"/>
                  </a:lnTo>
                  <a:lnTo>
                    <a:pt x="68" y="135"/>
                  </a:lnTo>
                  <a:lnTo>
                    <a:pt x="68" y="133"/>
                  </a:lnTo>
                  <a:lnTo>
                    <a:pt x="70" y="132"/>
                  </a:lnTo>
                  <a:lnTo>
                    <a:pt x="71" y="130"/>
                  </a:lnTo>
                  <a:lnTo>
                    <a:pt x="73" y="129"/>
                  </a:lnTo>
                  <a:lnTo>
                    <a:pt x="74" y="129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81" y="128"/>
                  </a:lnTo>
                  <a:lnTo>
                    <a:pt x="90" y="130"/>
                  </a:lnTo>
                  <a:lnTo>
                    <a:pt x="95" y="131"/>
                  </a:lnTo>
                  <a:lnTo>
                    <a:pt x="99" y="132"/>
                  </a:lnTo>
                  <a:lnTo>
                    <a:pt x="102" y="132"/>
                  </a:lnTo>
                  <a:lnTo>
                    <a:pt x="105" y="131"/>
                  </a:lnTo>
                  <a:lnTo>
                    <a:pt x="108" y="131"/>
                  </a:lnTo>
                  <a:lnTo>
                    <a:pt x="114" y="130"/>
                  </a:lnTo>
                  <a:lnTo>
                    <a:pt x="118" y="129"/>
                  </a:lnTo>
                  <a:lnTo>
                    <a:pt x="122" y="128"/>
                  </a:lnTo>
                  <a:lnTo>
                    <a:pt x="131" y="125"/>
                  </a:lnTo>
                  <a:lnTo>
                    <a:pt x="134" y="124"/>
                  </a:lnTo>
                  <a:lnTo>
                    <a:pt x="137" y="123"/>
                  </a:lnTo>
                  <a:lnTo>
                    <a:pt x="138" y="123"/>
                  </a:lnTo>
                  <a:lnTo>
                    <a:pt x="140" y="123"/>
                  </a:lnTo>
                  <a:lnTo>
                    <a:pt x="142" y="123"/>
                  </a:lnTo>
                  <a:lnTo>
                    <a:pt x="145" y="124"/>
                  </a:lnTo>
                  <a:lnTo>
                    <a:pt x="147" y="125"/>
                  </a:lnTo>
                  <a:lnTo>
                    <a:pt x="152" y="127"/>
                  </a:lnTo>
                  <a:lnTo>
                    <a:pt x="156" y="128"/>
                  </a:lnTo>
                  <a:lnTo>
                    <a:pt x="159" y="128"/>
                  </a:lnTo>
                  <a:lnTo>
                    <a:pt x="164" y="129"/>
                  </a:lnTo>
                  <a:lnTo>
                    <a:pt x="171" y="130"/>
                  </a:lnTo>
                  <a:lnTo>
                    <a:pt x="176" y="131"/>
                  </a:lnTo>
                  <a:lnTo>
                    <a:pt x="178" y="131"/>
                  </a:lnTo>
                  <a:lnTo>
                    <a:pt x="180" y="130"/>
                  </a:lnTo>
                  <a:lnTo>
                    <a:pt x="182" y="130"/>
                  </a:lnTo>
                  <a:lnTo>
                    <a:pt x="183" y="130"/>
                  </a:lnTo>
                  <a:lnTo>
                    <a:pt x="185" y="129"/>
                  </a:lnTo>
                  <a:lnTo>
                    <a:pt x="186" y="129"/>
                  </a:lnTo>
                  <a:lnTo>
                    <a:pt x="187" y="128"/>
                  </a:lnTo>
                  <a:lnTo>
                    <a:pt x="189" y="128"/>
                  </a:lnTo>
                  <a:lnTo>
                    <a:pt x="190" y="127"/>
                  </a:lnTo>
                  <a:lnTo>
                    <a:pt x="191" y="125"/>
                  </a:lnTo>
                  <a:lnTo>
                    <a:pt x="193" y="123"/>
                  </a:lnTo>
                  <a:lnTo>
                    <a:pt x="198" y="115"/>
                  </a:lnTo>
                  <a:lnTo>
                    <a:pt x="200" y="112"/>
                  </a:lnTo>
                  <a:lnTo>
                    <a:pt x="201" y="109"/>
                  </a:lnTo>
                  <a:lnTo>
                    <a:pt x="207" y="97"/>
                  </a:lnTo>
                  <a:lnTo>
                    <a:pt x="209" y="94"/>
                  </a:lnTo>
                  <a:lnTo>
                    <a:pt x="211" y="89"/>
                  </a:lnTo>
                  <a:lnTo>
                    <a:pt x="213" y="83"/>
                  </a:lnTo>
                  <a:lnTo>
                    <a:pt x="214" y="81"/>
                  </a:lnTo>
                  <a:lnTo>
                    <a:pt x="215" y="78"/>
                  </a:lnTo>
                  <a:lnTo>
                    <a:pt x="215" y="76"/>
                  </a:lnTo>
                  <a:lnTo>
                    <a:pt x="216" y="69"/>
                  </a:lnTo>
                  <a:lnTo>
                    <a:pt x="216" y="66"/>
                  </a:lnTo>
                  <a:lnTo>
                    <a:pt x="217" y="63"/>
                  </a:lnTo>
                  <a:lnTo>
                    <a:pt x="218" y="60"/>
                  </a:lnTo>
                  <a:lnTo>
                    <a:pt x="221" y="54"/>
                  </a:lnTo>
                  <a:lnTo>
                    <a:pt x="223" y="49"/>
                  </a:lnTo>
                  <a:lnTo>
                    <a:pt x="225" y="46"/>
                  </a:lnTo>
                  <a:lnTo>
                    <a:pt x="226" y="44"/>
                  </a:lnTo>
                  <a:lnTo>
                    <a:pt x="227" y="42"/>
                  </a:lnTo>
                  <a:lnTo>
                    <a:pt x="228" y="40"/>
                  </a:lnTo>
                  <a:lnTo>
                    <a:pt x="230" y="38"/>
                  </a:lnTo>
                  <a:lnTo>
                    <a:pt x="232" y="37"/>
                  </a:lnTo>
                  <a:lnTo>
                    <a:pt x="234" y="35"/>
                  </a:lnTo>
                  <a:lnTo>
                    <a:pt x="236" y="34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40" y="32"/>
                  </a:lnTo>
                  <a:lnTo>
                    <a:pt x="243" y="32"/>
                  </a:lnTo>
                  <a:lnTo>
                    <a:pt x="245" y="32"/>
                  </a:lnTo>
                  <a:lnTo>
                    <a:pt x="247" y="33"/>
                  </a:lnTo>
                  <a:lnTo>
                    <a:pt x="250" y="33"/>
                  </a:lnTo>
                  <a:lnTo>
                    <a:pt x="251" y="34"/>
                  </a:lnTo>
                  <a:lnTo>
                    <a:pt x="253" y="35"/>
                  </a:lnTo>
                  <a:lnTo>
                    <a:pt x="255" y="36"/>
                  </a:lnTo>
                  <a:lnTo>
                    <a:pt x="257" y="37"/>
                  </a:lnTo>
                  <a:lnTo>
                    <a:pt x="262" y="40"/>
                  </a:lnTo>
                  <a:lnTo>
                    <a:pt x="264" y="42"/>
                  </a:lnTo>
                  <a:lnTo>
                    <a:pt x="266" y="43"/>
                  </a:lnTo>
                  <a:lnTo>
                    <a:pt x="268" y="44"/>
                  </a:lnTo>
                  <a:lnTo>
                    <a:pt x="270" y="44"/>
                  </a:lnTo>
                  <a:lnTo>
                    <a:pt x="272" y="44"/>
                  </a:lnTo>
                  <a:lnTo>
                    <a:pt x="273" y="44"/>
                  </a:lnTo>
                  <a:lnTo>
                    <a:pt x="274" y="44"/>
                  </a:lnTo>
                  <a:lnTo>
                    <a:pt x="276" y="44"/>
                  </a:lnTo>
                  <a:lnTo>
                    <a:pt x="278" y="44"/>
                  </a:lnTo>
                  <a:lnTo>
                    <a:pt x="279" y="43"/>
                  </a:lnTo>
                  <a:lnTo>
                    <a:pt x="281" y="43"/>
                  </a:lnTo>
                  <a:lnTo>
                    <a:pt x="283" y="42"/>
                  </a:lnTo>
                  <a:lnTo>
                    <a:pt x="284" y="40"/>
                  </a:lnTo>
                  <a:lnTo>
                    <a:pt x="285" y="39"/>
                  </a:lnTo>
                  <a:lnTo>
                    <a:pt x="286" y="37"/>
                  </a:lnTo>
                  <a:lnTo>
                    <a:pt x="287" y="37"/>
                  </a:lnTo>
                  <a:lnTo>
                    <a:pt x="288" y="35"/>
                  </a:lnTo>
                  <a:lnTo>
                    <a:pt x="291" y="26"/>
                  </a:lnTo>
                  <a:lnTo>
                    <a:pt x="292" y="24"/>
                  </a:lnTo>
                  <a:lnTo>
                    <a:pt x="293" y="22"/>
                  </a:lnTo>
                  <a:lnTo>
                    <a:pt x="295" y="19"/>
                  </a:lnTo>
                  <a:lnTo>
                    <a:pt x="296" y="17"/>
                  </a:lnTo>
                  <a:lnTo>
                    <a:pt x="297" y="15"/>
                  </a:lnTo>
                  <a:lnTo>
                    <a:pt x="299" y="14"/>
                  </a:lnTo>
                  <a:lnTo>
                    <a:pt x="301" y="13"/>
                  </a:lnTo>
                  <a:lnTo>
                    <a:pt x="304" y="10"/>
                  </a:lnTo>
                  <a:lnTo>
                    <a:pt x="307" y="7"/>
                  </a:lnTo>
                  <a:lnTo>
                    <a:pt x="310" y="4"/>
                  </a:lnTo>
                  <a:lnTo>
                    <a:pt x="318" y="1"/>
                  </a:lnTo>
                  <a:lnTo>
                    <a:pt x="318" y="0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0" name="Freeform 37">
              <a:extLst>
                <a:ext uri="{FF2B5EF4-FFF2-40B4-BE49-F238E27FC236}">
                  <a16:creationId xmlns:a16="http://schemas.microsoft.com/office/drawing/2014/main" id="{A73B3CFE-88A9-44C5-8F75-27955CCA9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6" y="1437"/>
              <a:ext cx="466" cy="399"/>
            </a:xfrm>
            <a:custGeom>
              <a:avLst/>
              <a:gdLst>
                <a:gd name="T0" fmla="*/ 284 w 466"/>
                <a:gd name="T1" fmla="*/ 7 h 399"/>
                <a:gd name="T2" fmla="*/ 305 w 466"/>
                <a:gd name="T3" fmla="*/ 15 h 399"/>
                <a:gd name="T4" fmla="*/ 327 w 466"/>
                <a:gd name="T5" fmla="*/ 15 h 399"/>
                <a:gd name="T6" fmla="*/ 345 w 466"/>
                <a:gd name="T7" fmla="*/ 25 h 399"/>
                <a:gd name="T8" fmla="*/ 363 w 466"/>
                <a:gd name="T9" fmla="*/ 16 h 399"/>
                <a:gd name="T10" fmla="*/ 368 w 466"/>
                <a:gd name="T11" fmla="*/ 13 h 399"/>
                <a:gd name="T12" fmla="*/ 377 w 466"/>
                <a:gd name="T13" fmla="*/ 48 h 399"/>
                <a:gd name="T14" fmla="*/ 401 w 466"/>
                <a:gd name="T15" fmla="*/ 92 h 399"/>
                <a:gd name="T16" fmla="*/ 419 w 466"/>
                <a:gd name="T17" fmla="*/ 133 h 399"/>
                <a:gd name="T18" fmla="*/ 445 w 466"/>
                <a:gd name="T19" fmla="*/ 166 h 399"/>
                <a:gd name="T20" fmla="*/ 465 w 466"/>
                <a:gd name="T21" fmla="*/ 188 h 399"/>
                <a:gd name="T22" fmla="*/ 459 w 466"/>
                <a:gd name="T23" fmla="*/ 188 h 399"/>
                <a:gd name="T24" fmla="*/ 451 w 466"/>
                <a:gd name="T25" fmla="*/ 195 h 399"/>
                <a:gd name="T26" fmla="*/ 453 w 466"/>
                <a:gd name="T27" fmla="*/ 228 h 399"/>
                <a:gd name="T28" fmla="*/ 451 w 466"/>
                <a:gd name="T29" fmla="*/ 250 h 399"/>
                <a:gd name="T30" fmla="*/ 434 w 466"/>
                <a:gd name="T31" fmla="*/ 258 h 399"/>
                <a:gd name="T32" fmla="*/ 413 w 466"/>
                <a:gd name="T33" fmla="*/ 279 h 399"/>
                <a:gd name="T34" fmla="*/ 406 w 466"/>
                <a:gd name="T35" fmla="*/ 285 h 399"/>
                <a:gd name="T36" fmla="*/ 382 w 466"/>
                <a:gd name="T37" fmla="*/ 279 h 399"/>
                <a:gd name="T38" fmla="*/ 376 w 466"/>
                <a:gd name="T39" fmla="*/ 285 h 399"/>
                <a:gd name="T40" fmla="*/ 378 w 466"/>
                <a:gd name="T41" fmla="*/ 310 h 399"/>
                <a:gd name="T42" fmla="*/ 381 w 466"/>
                <a:gd name="T43" fmla="*/ 339 h 399"/>
                <a:gd name="T44" fmla="*/ 374 w 466"/>
                <a:gd name="T45" fmla="*/ 365 h 399"/>
                <a:gd name="T46" fmla="*/ 364 w 466"/>
                <a:gd name="T47" fmla="*/ 372 h 399"/>
                <a:gd name="T48" fmla="*/ 326 w 466"/>
                <a:gd name="T49" fmla="*/ 371 h 399"/>
                <a:gd name="T50" fmla="*/ 301 w 466"/>
                <a:gd name="T51" fmla="*/ 377 h 399"/>
                <a:gd name="T52" fmla="*/ 286 w 466"/>
                <a:gd name="T53" fmla="*/ 399 h 399"/>
                <a:gd name="T54" fmla="*/ 254 w 466"/>
                <a:gd name="T55" fmla="*/ 387 h 399"/>
                <a:gd name="T56" fmla="*/ 237 w 466"/>
                <a:gd name="T57" fmla="*/ 383 h 399"/>
                <a:gd name="T58" fmla="*/ 209 w 466"/>
                <a:gd name="T59" fmla="*/ 393 h 399"/>
                <a:gd name="T60" fmla="*/ 154 w 466"/>
                <a:gd name="T61" fmla="*/ 387 h 399"/>
                <a:gd name="T62" fmla="*/ 126 w 466"/>
                <a:gd name="T63" fmla="*/ 365 h 399"/>
                <a:gd name="T64" fmla="*/ 108 w 466"/>
                <a:gd name="T65" fmla="*/ 349 h 399"/>
                <a:gd name="T66" fmla="*/ 74 w 466"/>
                <a:gd name="T67" fmla="*/ 334 h 399"/>
                <a:gd name="T68" fmla="*/ 68 w 466"/>
                <a:gd name="T69" fmla="*/ 322 h 399"/>
                <a:gd name="T70" fmla="*/ 75 w 466"/>
                <a:gd name="T71" fmla="*/ 295 h 399"/>
                <a:gd name="T72" fmla="*/ 69 w 466"/>
                <a:gd name="T73" fmla="*/ 279 h 399"/>
                <a:gd name="T74" fmla="*/ 53 w 466"/>
                <a:gd name="T75" fmla="*/ 274 h 399"/>
                <a:gd name="T76" fmla="*/ 29 w 466"/>
                <a:gd name="T77" fmla="*/ 277 h 399"/>
                <a:gd name="T78" fmla="*/ 17 w 466"/>
                <a:gd name="T79" fmla="*/ 270 h 399"/>
                <a:gd name="T80" fmla="*/ 8 w 466"/>
                <a:gd name="T81" fmla="*/ 251 h 399"/>
                <a:gd name="T82" fmla="*/ 5 w 466"/>
                <a:gd name="T83" fmla="*/ 210 h 399"/>
                <a:gd name="T84" fmla="*/ 5 w 466"/>
                <a:gd name="T85" fmla="*/ 198 h 399"/>
                <a:gd name="T86" fmla="*/ 0 w 466"/>
                <a:gd name="T87" fmla="*/ 198 h 399"/>
                <a:gd name="T88" fmla="*/ 13 w 466"/>
                <a:gd name="T89" fmla="*/ 191 h 399"/>
                <a:gd name="T90" fmla="*/ 16 w 466"/>
                <a:gd name="T91" fmla="*/ 177 h 399"/>
                <a:gd name="T92" fmla="*/ 24 w 466"/>
                <a:gd name="T93" fmla="*/ 156 h 399"/>
                <a:gd name="T94" fmla="*/ 29 w 466"/>
                <a:gd name="T95" fmla="*/ 128 h 399"/>
                <a:gd name="T96" fmla="*/ 49 w 466"/>
                <a:gd name="T97" fmla="*/ 122 h 399"/>
                <a:gd name="T98" fmla="*/ 92 w 466"/>
                <a:gd name="T99" fmla="*/ 102 h 399"/>
                <a:gd name="T100" fmla="*/ 111 w 466"/>
                <a:gd name="T101" fmla="*/ 97 h 399"/>
                <a:gd name="T102" fmla="*/ 147 w 466"/>
                <a:gd name="T103" fmla="*/ 94 h 399"/>
                <a:gd name="T104" fmla="*/ 172 w 466"/>
                <a:gd name="T105" fmla="*/ 92 h 399"/>
                <a:gd name="T106" fmla="*/ 189 w 466"/>
                <a:gd name="T107" fmla="*/ 93 h 399"/>
                <a:gd name="T108" fmla="*/ 212 w 466"/>
                <a:gd name="T109" fmla="*/ 75 h 399"/>
                <a:gd name="T110" fmla="*/ 230 w 466"/>
                <a:gd name="T111" fmla="*/ 67 h 399"/>
                <a:gd name="T112" fmla="*/ 244 w 466"/>
                <a:gd name="T113" fmla="*/ 51 h 399"/>
                <a:gd name="T114" fmla="*/ 262 w 466"/>
                <a:gd name="T115" fmla="*/ 47 h 399"/>
                <a:gd name="T116" fmla="*/ 274 w 466"/>
                <a:gd name="T117" fmla="*/ 25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6" h="399">
                  <a:moveTo>
                    <a:pt x="278" y="1"/>
                  </a:moveTo>
                  <a:lnTo>
                    <a:pt x="278" y="1"/>
                  </a:lnTo>
                  <a:lnTo>
                    <a:pt x="279" y="2"/>
                  </a:lnTo>
                  <a:lnTo>
                    <a:pt x="279" y="2"/>
                  </a:lnTo>
                  <a:lnTo>
                    <a:pt x="281" y="3"/>
                  </a:lnTo>
                  <a:lnTo>
                    <a:pt x="282" y="4"/>
                  </a:lnTo>
                  <a:lnTo>
                    <a:pt x="282" y="5"/>
                  </a:lnTo>
                  <a:lnTo>
                    <a:pt x="284" y="7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86" y="9"/>
                  </a:lnTo>
                  <a:lnTo>
                    <a:pt x="288" y="10"/>
                  </a:lnTo>
                  <a:lnTo>
                    <a:pt x="290" y="11"/>
                  </a:lnTo>
                  <a:lnTo>
                    <a:pt x="298" y="13"/>
                  </a:lnTo>
                  <a:lnTo>
                    <a:pt x="303" y="14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09" y="15"/>
                  </a:lnTo>
                  <a:lnTo>
                    <a:pt x="314" y="15"/>
                  </a:lnTo>
                  <a:lnTo>
                    <a:pt x="318" y="14"/>
                  </a:lnTo>
                  <a:lnTo>
                    <a:pt x="321" y="14"/>
                  </a:lnTo>
                  <a:lnTo>
                    <a:pt x="323" y="14"/>
                  </a:lnTo>
                  <a:lnTo>
                    <a:pt x="324" y="15"/>
                  </a:lnTo>
                  <a:lnTo>
                    <a:pt x="327" y="15"/>
                  </a:lnTo>
                  <a:lnTo>
                    <a:pt x="329" y="16"/>
                  </a:lnTo>
                  <a:lnTo>
                    <a:pt x="331" y="16"/>
                  </a:lnTo>
                  <a:lnTo>
                    <a:pt x="334" y="18"/>
                  </a:lnTo>
                  <a:lnTo>
                    <a:pt x="336" y="19"/>
                  </a:lnTo>
                  <a:lnTo>
                    <a:pt x="339" y="22"/>
                  </a:lnTo>
                  <a:lnTo>
                    <a:pt x="341" y="23"/>
                  </a:lnTo>
                  <a:lnTo>
                    <a:pt x="343" y="24"/>
                  </a:lnTo>
                  <a:lnTo>
                    <a:pt x="345" y="25"/>
                  </a:lnTo>
                  <a:lnTo>
                    <a:pt x="346" y="25"/>
                  </a:lnTo>
                  <a:lnTo>
                    <a:pt x="347" y="24"/>
                  </a:lnTo>
                  <a:lnTo>
                    <a:pt x="349" y="24"/>
                  </a:lnTo>
                  <a:lnTo>
                    <a:pt x="356" y="21"/>
                  </a:lnTo>
                  <a:lnTo>
                    <a:pt x="358" y="20"/>
                  </a:lnTo>
                  <a:lnTo>
                    <a:pt x="360" y="19"/>
                  </a:lnTo>
                  <a:lnTo>
                    <a:pt x="362" y="17"/>
                  </a:lnTo>
                  <a:lnTo>
                    <a:pt x="363" y="16"/>
                  </a:lnTo>
                  <a:lnTo>
                    <a:pt x="364" y="15"/>
                  </a:lnTo>
                  <a:lnTo>
                    <a:pt x="365" y="13"/>
                  </a:lnTo>
                  <a:lnTo>
                    <a:pt x="366" y="13"/>
                  </a:lnTo>
                  <a:lnTo>
                    <a:pt x="366" y="12"/>
                  </a:lnTo>
                  <a:lnTo>
                    <a:pt x="366" y="12"/>
                  </a:lnTo>
                  <a:lnTo>
                    <a:pt x="367" y="12"/>
                  </a:lnTo>
                  <a:lnTo>
                    <a:pt x="367" y="12"/>
                  </a:lnTo>
                  <a:lnTo>
                    <a:pt x="368" y="13"/>
                  </a:lnTo>
                  <a:lnTo>
                    <a:pt x="369" y="14"/>
                  </a:lnTo>
                  <a:lnTo>
                    <a:pt x="370" y="17"/>
                  </a:lnTo>
                  <a:lnTo>
                    <a:pt x="371" y="22"/>
                  </a:lnTo>
                  <a:lnTo>
                    <a:pt x="372" y="27"/>
                  </a:lnTo>
                  <a:lnTo>
                    <a:pt x="373" y="32"/>
                  </a:lnTo>
                  <a:lnTo>
                    <a:pt x="375" y="40"/>
                  </a:lnTo>
                  <a:lnTo>
                    <a:pt x="376" y="44"/>
                  </a:lnTo>
                  <a:lnTo>
                    <a:pt x="377" y="48"/>
                  </a:lnTo>
                  <a:lnTo>
                    <a:pt x="381" y="55"/>
                  </a:lnTo>
                  <a:lnTo>
                    <a:pt x="384" y="64"/>
                  </a:lnTo>
                  <a:lnTo>
                    <a:pt x="390" y="74"/>
                  </a:lnTo>
                  <a:lnTo>
                    <a:pt x="391" y="78"/>
                  </a:lnTo>
                  <a:lnTo>
                    <a:pt x="393" y="81"/>
                  </a:lnTo>
                  <a:lnTo>
                    <a:pt x="396" y="85"/>
                  </a:lnTo>
                  <a:lnTo>
                    <a:pt x="397" y="88"/>
                  </a:lnTo>
                  <a:lnTo>
                    <a:pt x="401" y="92"/>
                  </a:lnTo>
                  <a:lnTo>
                    <a:pt x="403" y="94"/>
                  </a:lnTo>
                  <a:lnTo>
                    <a:pt x="404" y="98"/>
                  </a:lnTo>
                  <a:lnTo>
                    <a:pt x="407" y="104"/>
                  </a:lnTo>
                  <a:lnTo>
                    <a:pt x="409" y="107"/>
                  </a:lnTo>
                  <a:lnTo>
                    <a:pt x="411" y="111"/>
                  </a:lnTo>
                  <a:lnTo>
                    <a:pt x="416" y="127"/>
                  </a:lnTo>
                  <a:lnTo>
                    <a:pt x="418" y="129"/>
                  </a:lnTo>
                  <a:lnTo>
                    <a:pt x="419" y="133"/>
                  </a:lnTo>
                  <a:lnTo>
                    <a:pt x="426" y="144"/>
                  </a:lnTo>
                  <a:lnTo>
                    <a:pt x="431" y="154"/>
                  </a:lnTo>
                  <a:lnTo>
                    <a:pt x="432" y="155"/>
                  </a:lnTo>
                  <a:lnTo>
                    <a:pt x="433" y="157"/>
                  </a:lnTo>
                  <a:lnTo>
                    <a:pt x="435" y="160"/>
                  </a:lnTo>
                  <a:lnTo>
                    <a:pt x="437" y="161"/>
                  </a:lnTo>
                  <a:lnTo>
                    <a:pt x="438" y="162"/>
                  </a:lnTo>
                  <a:lnTo>
                    <a:pt x="445" y="166"/>
                  </a:lnTo>
                  <a:lnTo>
                    <a:pt x="449" y="169"/>
                  </a:lnTo>
                  <a:lnTo>
                    <a:pt x="452" y="172"/>
                  </a:lnTo>
                  <a:lnTo>
                    <a:pt x="455" y="174"/>
                  </a:lnTo>
                  <a:lnTo>
                    <a:pt x="457" y="176"/>
                  </a:lnTo>
                  <a:lnTo>
                    <a:pt x="459" y="178"/>
                  </a:lnTo>
                  <a:lnTo>
                    <a:pt x="461" y="183"/>
                  </a:lnTo>
                  <a:lnTo>
                    <a:pt x="463" y="185"/>
                  </a:lnTo>
                  <a:lnTo>
                    <a:pt x="465" y="188"/>
                  </a:lnTo>
                  <a:lnTo>
                    <a:pt x="466" y="191"/>
                  </a:lnTo>
                  <a:lnTo>
                    <a:pt x="466" y="191"/>
                  </a:lnTo>
                  <a:lnTo>
                    <a:pt x="466" y="192"/>
                  </a:lnTo>
                  <a:lnTo>
                    <a:pt x="465" y="191"/>
                  </a:lnTo>
                  <a:lnTo>
                    <a:pt x="464" y="190"/>
                  </a:lnTo>
                  <a:lnTo>
                    <a:pt x="463" y="190"/>
                  </a:lnTo>
                  <a:lnTo>
                    <a:pt x="461" y="189"/>
                  </a:lnTo>
                  <a:lnTo>
                    <a:pt x="459" y="188"/>
                  </a:lnTo>
                  <a:lnTo>
                    <a:pt x="458" y="188"/>
                  </a:lnTo>
                  <a:lnTo>
                    <a:pt x="457" y="187"/>
                  </a:lnTo>
                  <a:lnTo>
                    <a:pt x="456" y="186"/>
                  </a:lnTo>
                  <a:lnTo>
                    <a:pt x="455" y="186"/>
                  </a:lnTo>
                  <a:lnTo>
                    <a:pt x="454" y="186"/>
                  </a:lnTo>
                  <a:lnTo>
                    <a:pt x="454" y="188"/>
                  </a:lnTo>
                  <a:lnTo>
                    <a:pt x="453" y="190"/>
                  </a:lnTo>
                  <a:lnTo>
                    <a:pt x="451" y="195"/>
                  </a:lnTo>
                  <a:lnTo>
                    <a:pt x="451" y="197"/>
                  </a:lnTo>
                  <a:lnTo>
                    <a:pt x="450" y="200"/>
                  </a:lnTo>
                  <a:lnTo>
                    <a:pt x="450" y="203"/>
                  </a:lnTo>
                  <a:lnTo>
                    <a:pt x="450" y="206"/>
                  </a:lnTo>
                  <a:lnTo>
                    <a:pt x="450" y="210"/>
                  </a:lnTo>
                  <a:lnTo>
                    <a:pt x="451" y="216"/>
                  </a:lnTo>
                  <a:lnTo>
                    <a:pt x="453" y="225"/>
                  </a:lnTo>
                  <a:lnTo>
                    <a:pt x="453" y="228"/>
                  </a:lnTo>
                  <a:lnTo>
                    <a:pt x="454" y="231"/>
                  </a:lnTo>
                  <a:lnTo>
                    <a:pt x="454" y="238"/>
                  </a:lnTo>
                  <a:lnTo>
                    <a:pt x="454" y="241"/>
                  </a:lnTo>
                  <a:lnTo>
                    <a:pt x="453" y="243"/>
                  </a:lnTo>
                  <a:lnTo>
                    <a:pt x="453" y="245"/>
                  </a:lnTo>
                  <a:lnTo>
                    <a:pt x="453" y="247"/>
                  </a:lnTo>
                  <a:lnTo>
                    <a:pt x="452" y="249"/>
                  </a:lnTo>
                  <a:lnTo>
                    <a:pt x="451" y="250"/>
                  </a:lnTo>
                  <a:lnTo>
                    <a:pt x="450" y="251"/>
                  </a:lnTo>
                  <a:lnTo>
                    <a:pt x="449" y="251"/>
                  </a:lnTo>
                  <a:lnTo>
                    <a:pt x="449" y="252"/>
                  </a:lnTo>
                  <a:lnTo>
                    <a:pt x="448" y="253"/>
                  </a:lnTo>
                  <a:lnTo>
                    <a:pt x="446" y="253"/>
                  </a:lnTo>
                  <a:lnTo>
                    <a:pt x="444" y="254"/>
                  </a:lnTo>
                  <a:lnTo>
                    <a:pt x="439" y="255"/>
                  </a:lnTo>
                  <a:lnTo>
                    <a:pt x="434" y="258"/>
                  </a:lnTo>
                  <a:lnTo>
                    <a:pt x="426" y="259"/>
                  </a:lnTo>
                  <a:lnTo>
                    <a:pt x="424" y="260"/>
                  </a:lnTo>
                  <a:lnTo>
                    <a:pt x="423" y="261"/>
                  </a:lnTo>
                  <a:lnTo>
                    <a:pt x="421" y="263"/>
                  </a:lnTo>
                  <a:lnTo>
                    <a:pt x="420" y="263"/>
                  </a:lnTo>
                  <a:lnTo>
                    <a:pt x="416" y="271"/>
                  </a:lnTo>
                  <a:lnTo>
                    <a:pt x="414" y="277"/>
                  </a:lnTo>
                  <a:lnTo>
                    <a:pt x="413" y="279"/>
                  </a:lnTo>
                  <a:lnTo>
                    <a:pt x="413" y="282"/>
                  </a:lnTo>
                  <a:lnTo>
                    <a:pt x="412" y="283"/>
                  </a:lnTo>
                  <a:lnTo>
                    <a:pt x="412" y="283"/>
                  </a:lnTo>
                  <a:lnTo>
                    <a:pt x="411" y="284"/>
                  </a:lnTo>
                  <a:lnTo>
                    <a:pt x="411" y="285"/>
                  </a:lnTo>
                  <a:lnTo>
                    <a:pt x="410" y="285"/>
                  </a:lnTo>
                  <a:lnTo>
                    <a:pt x="408" y="285"/>
                  </a:lnTo>
                  <a:lnTo>
                    <a:pt x="406" y="285"/>
                  </a:lnTo>
                  <a:lnTo>
                    <a:pt x="404" y="285"/>
                  </a:lnTo>
                  <a:lnTo>
                    <a:pt x="403" y="285"/>
                  </a:lnTo>
                  <a:lnTo>
                    <a:pt x="400" y="284"/>
                  </a:lnTo>
                  <a:lnTo>
                    <a:pt x="397" y="284"/>
                  </a:lnTo>
                  <a:lnTo>
                    <a:pt x="388" y="280"/>
                  </a:lnTo>
                  <a:lnTo>
                    <a:pt x="385" y="279"/>
                  </a:lnTo>
                  <a:lnTo>
                    <a:pt x="384" y="279"/>
                  </a:lnTo>
                  <a:lnTo>
                    <a:pt x="382" y="279"/>
                  </a:lnTo>
                  <a:lnTo>
                    <a:pt x="381" y="279"/>
                  </a:lnTo>
                  <a:lnTo>
                    <a:pt x="381" y="280"/>
                  </a:lnTo>
                  <a:lnTo>
                    <a:pt x="379" y="280"/>
                  </a:lnTo>
                  <a:lnTo>
                    <a:pt x="379" y="280"/>
                  </a:lnTo>
                  <a:lnTo>
                    <a:pt x="377" y="281"/>
                  </a:lnTo>
                  <a:lnTo>
                    <a:pt x="377" y="282"/>
                  </a:lnTo>
                  <a:lnTo>
                    <a:pt x="376" y="283"/>
                  </a:lnTo>
                  <a:lnTo>
                    <a:pt x="376" y="285"/>
                  </a:lnTo>
                  <a:lnTo>
                    <a:pt x="376" y="286"/>
                  </a:lnTo>
                  <a:lnTo>
                    <a:pt x="376" y="292"/>
                  </a:lnTo>
                  <a:lnTo>
                    <a:pt x="377" y="297"/>
                  </a:lnTo>
                  <a:lnTo>
                    <a:pt x="377" y="299"/>
                  </a:lnTo>
                  <a:lnTo>
                    <a:pt x="377" y="302"/>
                  </a:lnTo>
                  <a:lnTo>
                    <a:pt x="377" y="306"/>
                  </a:lnTo>
                  <a:lnTo>
                    <a:pt x="377" y="308"/>
                  </a:lnTo>
                  <a:lnTo>
                    <a:pt x="378" y="310"/>
                  </a:lnTo>
                  <a:lnTo>
                    <a:pt x="378" y="313"/>
                  </a:lnTo>
                  <a:lnTo>
                    <a:pt x="380" y="319"/>
                  </a:lnTo>
                  <a:lnTo>
                    <a:pt x="381" y="322"/>
                  </a:lnTo>
                  <a:lnTo>
                    <a:pt x="381" y="325"/>
                  </a:lnTo>
                  <a:lnTo>
                    <a:pt x="381" y="327"/>
                  </a:lnTo>
                  <a:lnTo>
                    <a:pt x="381" y="332"/>
                  </a:lnTo>
                  <a:lnTo>
                    <a:pt x="381" y="335"/>
                  </a:lnTo>
                  <a:lnTo>
                    <a:pt x="381" y="339"/>
                  </a:lnTo>
                  <a:lnTo>
                    <a:pt x="380" y="341"/>
                  </a:lnTo>
                  <a:lnTo>
                    <a:pt x="379" y="344"/>
                  </a:lnTo>
                  <a:lnTo>
                    <a:pt x="379" y="347"/>
                  </a:lnTo>
                  <a:lnTo>
                    <a:pt x="377" y="356"/>
                  </a:lnTo>
                  <a:lnTo>
                    <a:pt x="377" y="359"/>
                  </a:lnTo>
                  <a:lnTo>
                    <a:pt x="376" y="361"/>
                  </a:lnTo>
                  <a:lnTo>
                    <a:pt x="375" y="364"/>
                  </a:lnTo>
                  <a:lnTo>
                    <a:pt x="374" y="365"/>
                  </a:lnTo>
                  <a:lnTo>
                    <a:pt x="373" y="367"/>
                  </a:lnTo>
                  <a:lnTo>
                    <a:pt x="371" y="369"/>
                  </a:lnTo>
                  <a:lnTo>
                    <a:pt x="370" y="369"/>
                  </a:lnTo>
                  <a:lnTo>
                    <a:pt x="370" y="370"/>
                  </a:lnTo>
                  <a:lnTo>
                    <a:pt x="369" y="370"/>
                  </a:lnTo>
                  <a:lnTo>
                    <a:pt x="367" y="371"/>
                  </a:lnTo>
                  <a:lnTo>
                    <a:pt x="366" y="371"/>
                  </a:lnTo>
                  <a:lnTo>
                    <a:pt x="364" y="372"/>
                  </a:lnTo>
                  <a:lnTo>
                    <a:pt x="362" y="372"/>
                  </a:lnTo>
                  <a:lnTo>
                    <a:pt x="361" y="371"/>
                  </a:lnTo>
                  <a:lnTo>
                    <a:pt x="353" y="369"/>
                  </a:lnTo>
                  <a:lnTo>
                    <a:pt x="350" y="369"/>
                  </a:lnTo>
                  <a:lnTo>
                    <a:pt x="347" y="369"/>
                  </a:lnTo>
                  <a:lnTo>
                    <a:pt x="344" y="369"/>
                  </a:lnTo>
                  <a:lnTo>
                    <a:pt x="334" y="370"/>
                  </a:lnTo>
                  <a:lnTo>
                    <a:pt x="326" y="371"/>
                  </a:lnTo>
                  <a:lnTo>
                    <a:pt x="318" y="372"/>
                  </a:lnTo>
                  <a:lnTo>
                    <a:pt x="313" y="373"/>
                  </a:lnTo>
                  <a:lnTo>
                    <a:pt x="310" y="373"/>
                  </a:lnTo>
                  <a:lnTo>
                    <a:pt x="308" y="374"/>
                  </a:lnTo>
                  <a:lnTo>
                    <a:pt x="307" y="374"/>
                  </a:lnTo>
                  <a:lnTo>
                    <a:pt x="305" y="375"/>
                  </a:lnTo>
                  <a:lnTo>
                    <a:pt x="302" y="376"/>
                  </a:lnTo>
                  <a:lnTo>
                    <a:pt x="301" y="377"/>
                  </a:lnTo>
                  <a:lnTo>
                    <a:pt x="300" y="379"/>
                  </a:lnTo>
                  <a:lnTo>
                    <a:pt x="297" y="382"/>
                  </a:lnTo>
                  <a:lnTo>
                    <a:pt x="293" y="386"/>
                  </a:lnTo>
                  <a:lnTo>
                    <a:pt x="290" y="391"/>
                  </a:lnTo>
                  <a:lnTo>
                    <a:pt x="289" y="393"/>
                  </a:lnTo>
                  <a:lnTo>
                    <a:pt x="287" y="396"/>
                  </a:lnTo>
                  <a:lnTo>
                    <a:pt x="286" y="398"/>
                  </a:lnTo>
                  <a:lnTo>
                    <a:pt x="286" y="399"/>
                  </a:lnTo>
                  <a:lnTo>
                    <a:pt x="283" y="397"/>
                  </a:lnTo>
                  <a:lnTo>
                    <a:pt x="279" y="394"/>
                  </a:lnTo>
                  <a:lnTo>
                    <a:pt x="274" y="392"/>
                  </a:lnTo>
                  <a:lnTo>
                    <a:pt x="268" y="390"/>
                  </a:lnTo>
                  <a:lnTo>
                    <a:pt x="266" y="389"/>
                  </a:lnTo>
                  <a:lnTo>
                    <a:pt x="262" y="388"/>
                  </a:lnTo>
                  <a:lnTo>
                    <a:pt x="259" y="387"/>
                  </a:lnTo>
                  <a:lnTo>
                    <a:pt x="254" y="387"/>
                  </a:lnTo>
                  <a:lnTo>
                    <a:pt x="251" y="387"/>
                  </a:lnTo>
                  <a:lnTo>
                    <a:pt x="249" y="387"/>
                  </a:lnTo>
                  <a:lnTo>
                    <a:pt x="247" y="386"/>
                  </a:lnTo>
                  <a:lnTo>
                    <a:pt x="244" y="383"/>
                  </a:lnTo>
                  <a:lnTo>
                    <a:pt x="243" y="383"/>
                  </a:lnTo>
                  <a:lnTo>
                    <a:pt x="241" y="383"/>
                  </a:lnTo>
                  <a:lnTo>
                    <a:pt x="239" y="383"/>
                  </a:lnTo>
                  <a:lnTo>
                    <a:pt x="237" y="383"/>
                  </a:lnTo>
                  <a:lnTo>
                    <a:pt x="236" y="384"/>
                  </a:lnTo>
                  <a:lnTo>
                    <a:pt x="233" y="387"/>
                  </a:lnTo>
                  <a:lnTo>
                    <a:pt x="231" y="387"/>
                  </a:lnTo>
                  <a:lnTo>
                    <a:pt x="228" y="389"/>
                  </a:lnTo>
                  <a:lnTo>
                    <a:pt x="222" y="390"/>
                  </a:lnTo>
                  <a:lnTo>
                    <a:pt x="219" y="391"/>
                  </a:lnTo>
                  <a:lnTo>
                    <a:pt x="214" y="392"/>
                  </a:lnTo>
                  <a:lnTo>
                    <a:pt x="209" y="393"/>
                  </a:lnTo>
                  <a:lnTo>
                    <a:pt x="204" y="393"/>
                  </a:lnTo>
                  <a:lnTo>
                    <a:pt x="197" y="393"/>
                  </a:lnTo>
                  <a:lnTo>
                    <a:pt x="191" y="392"/>
                  </a:lnTo>
                  <a:lnTo>
                    <a:pt x="179" y="391"/>
                  </a:lnTo>
                  <a:lnTo>
                    <a:pt x="168" y="390"/>
                  </a:lnTo>
                  <a:lnTo>
                    <a:pt x="163" y="389"/>
                  </a:lnTo>
                  <a:lnTo>
                    <a:pt x="158" y="388"/>
                  </a:lnTo>
                  <a:lnTo>
                    <a:pt x="154" y="387"/>
                  </a:lnTo>
                  <a:lnTo>
                    <a:pt x="150" y="387"/>
                  </a:lnTo>
                  <a:lnTo>
                    <a:pt x="140" y="383"/>
                  </a:lnTo>
                  <a:lnTo>
                    <a:pt x="138" y="382"/>
                  </a:lnTo>
                  <a:lnTo>
                    <a:pt x="136" y="382"/>
                  </a:lnTo>
                  <a:lnTo>
                    <a:pt x="134" y="379"/>
                  </a:lnTo>
                  <a:lnTo>
                    <a:pt x="132" y="376"/>
                  </a:lnTo>
                  <a:lnTo>
                    <a:pt x="131" y="373"/>
                  </a:lnTo>
                  <a:lnTo>
                    <a:pt x="126" y="365"/>
                  </a:lnTo>
                  <a:lnTo>
                    <a:pt x="123" y="360"/>
                  </a:lnTo>
                  <a:lnTo>
                    <a:pt x="121" y="358"/>
                  </a:lnTo>
                  <a:lnTo>
                    <a:pt x="120" y="356"/>
                  </a:lnTo>
                  <a:lnTo>
                    <a:pt x="118" y="354"/>
                  </a:lnTo>
                  <a:lnTo>
                    <a:pt x="116" y="353"/>
                  </a:lnTo>
                  <a:lnTo>
                    <a:pt x="114" y="351"/>
                  </a:lnTo>
                  <a:lnTo>
                    <a:pt x="110" y="350"/>
                  </a:lnTo>
                  <a:lnTo>
                    <a:pt x="108" y="349"/>
                  </a:lnTo>
                  <a:lnTo>
                    <a:pt x="102" y="347"/>
                  </a:lnTo>
                  <a:lnTo>
                    <a:pt x="99" y="346"/>
                  </a:lnTo>
                  <a:lnTo>
                    <a:pt x="97" y="345"/>
                  </a:lnTo>
                  <a:lnTo>
                    <a:pt x="92" y="343"/>
                  </a:lnTo>
                  <a:lnTo>
                    <a:pt x="85" y="340"/>
                  </a:lnTo>
                  <a:lnTo>
                    <a:pt x="80" y="338"/>
                  </a:lnTo>
                  <a:lnTo>
                    <a:pt x="76" y="336"/>
                  </a:lnTo>
                  <a:lnTo>
                    <a:pt x="74" y="334"/>
                  </a:lnTo>
                  <a:lnTo>
                    <a:pt x="70" y="331"/>
                  </a:lnTo>
                  <a:lnTo>
                    <a:pt x="69" y="331"/>
                  </a:lnTo>
                  <a:lnTo>
                    <a:pt x="69" y="330"/>
                  </a:lnTo>
                  <a:lnTo>
                    <a:pt x="68" y="328"/>
                  </a:lnTo>
                  <a:lnTo>
                    <a:pt x="68" y="327"/>
                  </a:lnTo>
                  <a:lnTo>
                    <a:pt x="67" y="326"/>
                  </a:lnTo>
                  <a:lnTo>
                    <a:pt x="68" y="324"/>
                  </a:lnTo>
                  <a:lnTo>
                    <a:pt x="68" y="322"/>
                  </a:lnTo>
                  <a:lnTo>
                    <a:pt x="70" y="318"/>
                  </a:lnTo>
                  <a:lnTo>
                    <a:pt x="72" y="311"/>
                  </a:lnTo>
                  <a:lnTo>
                    <a:pt x="74" y="306"/>
                  </a:lnTo>
                  <a:lnTo>
                    <a:pt x="74" y="303"/>
                  </a:lnTo>
                  <a:lnTo>
                    <a:pt x="74" y="301"/>
                  </a:lnTo>
                  <a:lnTo>
                    <a:pt x="74" y="299"/>
                  </a:lnTo>
                  <a:lnTo>
                    <a:pt x="75" y="297"/>
                  </a:lnTo>
                  <a:lnTo>
                    <a:pt x="75" y="295"/>
                  </a:lnTo>
                  <a:lnTo>
                    <a:pt x="75" y="293"/>
                  </a:lnTo>
                  <a:lnTo>
                    <a:pt x="74" y="290"/>
                  </a:lnTo>
                  <a:lnTo>
                    <a:pt x="74" y="288"/>
                  </a:lnTo>
                  <a:lnTo>
                    <a:pt x="74" y="285"/>
                  </a:lnTo>
                  <a:lnTo>
                    <a:pt x="73" y="284"/>
                  </a:lnTo>
                  <a:lnTo>
                    <a:pt x="72" y="282"/>
                  </a:lnTo>
                  <a:lnTo>
                    <a:pt x="71" y="281"/>
                  </a:lnTo>
                  <a:lnTo>
                    <a:pt x="69" y="279"/>
                  </a:lnTo>
                  <a:lnTo>
                    <a:pt x="67" y="277"/>
                  </a:lnTo>
                  <a:lnTo>
                    <a:pt x="65" y="276"/>
                  </a:lnTo>
                  <a:lnTo>
                    <a:pt x="64" y="275"/>
                  </a:lnTo>
                  <a:lnTo>
                    <a:pt x="63" y="274"/>
                  </a:lnTo>
                  <a:lnTo>
                    <a:pt x="61" y="274"/>
                  </a:lnTo>
                  <a:lnTo>
                    <a:pt x="59" y="274"/>
                  </a:lnTo>
                  <a:lnTo>
                    <a:pt x="56" y="274"/>
                  </a:lnTo>
                  <a:lnTo>
                    <a:pt x="53" y="274"/>
                  </a:lnTo>
                  <a:lnTo>
                    <a:pt x="47" y="274"/>
                  </a:lnTo>
                  <a:lnTo>
                    <a:pt x="44" y="274"/>
                  </a:lnTo>
                  <a:lnTo>
                    <a:pt x="42" y="274"/>
                  </a:lnTo>
                  <a:lnTo>
                    <a:pt x="40" y="274"/>
                  </a:lnTo>
                  <a:lnTo>
                    <a:pt x="39" y="274"/>
                  </a:lnTo>
                  <a:lnTo>
                    <a:pt x="32" y="276"/>
                  </a:lnTo>
                  <a:lnTo>
                    <a:pt x="30" y="276"/>
                  </a:lnTo>
                  <a:lnTo>
                    <a:pt x="29" y="277"/>
                  </a:lnTo>
                  <a:lnTo>
                    <a:pt x="26" y="276"/>
                  </a:lnTo>
                  <a:lnTo>
                    <a:pt x="25" y="276"/>
                  </a:lnTo>
                  <a:lnTo>
                    <a:pt x="23" y="275"/>
                  </a:lnTo>
                  <a:lnTo>
                    <a:pt x="22" y="275"/>
                  </a:lnTo>
                  <a:lnTo>
                    <a:pt x="20" y="274"/>
                  </a:lnTo>
                  <a:lnTo>
                    <a:pt x="19" y="273"/>
                  </a:lnTo>
                  <a:lnTo>
                    <a:pt x="17" y="272"/>
                  </a:lnTo>
                  <a:lnTo>
                    <a:pt x="17" y="270"/>
                  </a:lnTo>
                  <a:lnTo>
                    <a:pt x="15" y="268"/>
                  </a:lnTo>
                  <a:lnTo>
                    <a:pt x="13" y="265"/>
                  </a:lnTo>
                  <a:lnTo>
                    <a:pt x="11" y="261"/>
                  </a:lnTo>
                  <a:lnTo>
                    <a:pt x="9" y="257"/>
                  </a:lnTo>
                  <a:lnTo>
                    <a:pt x="9" y="256"/>
                  </a:lnTo>
                  <a:lnTo>
                    <a:pt x="8" y="254"/>
                  </a:lnTo>
                  <a:lnTo>
                    <a:pt x="8" y="252"/>
                  </a:lnTo>
                  <a:lnTo>
                    <a:pt x="8" y="251"/>
                  </a:lnTo>
                  <a:lnTo>
                    <a:pt x="9" y="242"/>
                  </a:lnTo>
                  <a:lnTo>
                    <a:pt x="9" y="240"/>
                  </a:lnTo>
                  <a:lnTo>
                    <a:pt x="9" y="236"/>
                  </a:lnTo>
                  <a:lnTo>
                    <a:pt x="7" y="229"/>
                  </a:lnTo>
                  <a:lnTo>
                    <a:pt x="6" y="224"/>
                  </a:lnTo>
                  <a:lnTo>
                    <a:pt x="6" y="219"/>
                  </a:lnTo>
                  <a:lnTo>
                    <a:pt x="5" y="213"/>
                  </a:lnTo>
                  <a:lnTo>
                    <a:pt x="5" y="210"/>
                  </a:lnTo>
                  <a:lnTo>
                    <a:pt x="5" y="207"/>
                  </a:lnTo>
                  <a:lnTo>
                    <a:pt x="5" y="206"/>
                  </a:lnTo>
                  <a:lnTo>
                    <a:pt x="5" y="201"/>
                  </a:lnTo>
                  <a:lnTo>
                    <a:pt x="6" y="198"/>
                  </a:lnTo>
                  <a:lnTo>
                    <a:pt x="6" y="198"/>
                  </a:lnTo>
                  <a:lnTo>
                    <a:pt x="6" y="198"/>
                  </a:lnTo>
                  <a:lnTo>
                    <a:pt x="6" y="198"/>
                  </a:lnTo>
                  <a:lnTo>
                    <a:pt x="5" y="198"/>
                  </a:lnTo>
                  <a:lnTo>
                    <a:pt x="5" y="198"/>
                  </a:lnTo>
                  <a:lnTo>
                    <a:pt x="4" y="200"/>
                  </a:lnTo>
                  <a:lnTo>
                    <a:pt x="4" y="201"/>
                  </a:lnTo>
                  <a:lnTo>
                    <a:pt x="4" y="201"/>
                  </a:lnTo>
                  <a:lnTo>
                    <a:pt x="3" y="201"/>
                  </a:lnTo>
                  <a:lnTo>
                    <a:pt x="2" y="200"/>
                  </a:lnTo>
                  <a:lnTo>
                    <a:pt x="1" y="200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1" y="197"/>
                  </a:lnTo>
                  <a:lnTo>
                    <a:pt x="3" y="196"/>
                  </a:lnTo>
                  <a:lnTo>
                    <a:pt x="6" y="195"/>
                  </a:lnTo>
                  <a:lnTo>
                    <a:pt x="9" y="194"/>
                  </a:lnTo>
                  <a:lnTo>
                    <a:pt x="10" y="193"/>
                  </a:lnTo>
                  <a:lnTo>
                    <a:pt x="12" y="192"/>
                  </a:lnTo>
                  <a:lnTo>
                    <a:pt x="13" y="191"/>
                  </a:lnTo>
                  <a:lnTo>
                    <a:pt x="13" y="190"/>
                  </a:lnTo>
                  <a:lnTo>
                    <a:pt x="14" y="189"/>
                  </a:lnTo>
                  <a:lnTo>
                    <a:pt x="14" y="186"/>
                  </a:lnTo>
                  <a:lnTo>
                    <a:pt x="15" y="184"/>
                  </a:lnTo>
                  <a:lnTo>
                    <a:pt x="15" y="180"/>
                  </a:lnTo>
                  <a:lnTo>
                    <a:pt x="15" y="178"/>
                  </a:lnTo>
                  <a:lnTo>
                    <a:pt x="16" y="177"/>
                  </a:lnTo>
                  <a:lnTo>
                    <a:pt x="16" y="177"/>
                  </a:lnTo>
                  <a:lnTo>
                    <a:pt x="18" y="174"/>
                  </a:lnTo>
                  <a:lnTo>
                    <a:pt x="19" y="173"/>
                  </a:lnTo>
                  <a:lnTo>
                    <a:pt x="20" y="172"/>
                  </a:lnTo>
                  <a:lnTo>
                    <a:pt x="21" y="170"/>
                  </a:lnTo>
                  <a:lnTo>
                    <a:pt x="23" y="166"/>
                  </a:lnTo>
                  <a:lnTo>
                    <a:pt x="24" y="162"/>
                  </a:lnTo>
                  <a:lnTo>
                    <a:pt x="24" y="161"/>
                  </a:lnTo>
                  <a:lnTo>
                    <a:pt x="24" y="156"/>
                  </a:lnTo>
                  <a:lnTo>
                    <a:pt x="25" y="149"/>
                  </a:lnTo>
                  <a:lnTo>
                    <a:pt x="25" y="146"/>
                  </a:lnTo>
                  <a:lnTo>
                    <a:pt x="26" y="141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29" y="133"/>
                  </a:lnTo>
                  <a:lnTo>
                    <a:pt x="29" y="130"/>
                  </a:lnTo>
                  <a:lnTo>
                    <a:pt x="29" y="128"/>
                  </a:lnTo>
                  <a:lnTo>
                    <a:pt x="29" y="127"/>
                  </a:lnTo>
                  <a:lnTo>
                    <a:pt x="29" y="127"/>
                  </a:lnTo>
                  <a:lnTo>
                    <a:pt x="30" y="127"/>
                  </a:lnTo>
                  <a:lnTo>
                    <a:pt x="31" y="126"/>
                  </a:lnTo>
                  <a:lnTo>
                    <a:pt x="33" y="126"/>
                  </a:lnTo>
                  <a:lnTo>
                    <a:pt x="37" y="125"/>
                  </a:lnTo>
                  <a:lnTo>
                    <a:pt x="40" y="124"/>
                  </a:lnTo>
                  <a:lnTo>
                    <a:pt x="49" y="122"/>
                  </a:lnTo>
                  <a:lnTo>
                    <a:pt x="53" y="120"/>
                  </a:lnTo>
                  <a:lnTo>
                    <a:pt x="62" y="116"/>
                  </a:lnTo>
                  <a:lnTo>
                    <a:pt x="72" y="112"/>
                  </a:lnTo>
                  <a:lnTo>
                    <a:pt x="80" y="107"/>
                  </a:lnTo>
                  <a:lnTo>
                    <a:pt x="89" y="104"/>
                  </a:lnTo>
                  <a:lnTo>
                    <a:pt x="91" y="103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3" y="103"/>
                  </a:lnTo>
                  <a:lnTo>
                    <a:pt x="94" y="103"/>
                  </a:lnTo>
                  <a:lnTo>
                    <a:pt x="96" y="103"/>
                  </a:lnTo>
                  <a:lnTo>
                    <a:pt x="97" y="103"/>
                  </a:lnTo>
                  <a:lnTo>
                    <a:pt x="99" y="102"/>
                  </a:lnTo>
                  <a:lnTo>
                    <a:pt x="106" y="99"/>
                  </a:lnTo>
                  <a:lnTo>
                    <a:pt x="111" y="97"/>
                  </a:lnTo>
                  <a:lnTo>
                    <a:pt x="117" y="95"/>
                  </a:lnTo>
                  <a:lnTo>
                    <a:pt x="119" y="95"/>
                  </a:lnTo>
                  <a:lnTo>
                    <a:pt x="121" y="95"/>
                  </a:lnTo>
                  <a:lnTo>
                    <a:pt x="129" y="94"/>
                  </a:lnTo>
                  <a:lnTo>
                    <a:pt x="137" y="93"/>
                  </a:lnTo>
                  <a:lnTo>
                    <a:pt x="140" y="93"/>
                  </a:lnTo>
                  <a:lnTo>
                    <a:pt x="142" y="93"/>
                  </a:lnTo>
                  <a:lnTo>
                    <a:pt x="147" y="94"/>
                  </a:lnTo>
                  <a:lnTo>
                    <a:pt x="149" y="94"/>
                  </a:lnTo>
                  <a:lnTo>
                    <a:pt x="154" y="95"/>
                  </a:lnTo>
                  <a:lnTo>
                    <a:pt x="155" y="94"/>
                  </a:lnTo>
                  <a:lnTo>
                    <a:pt x="158" y="94"/>
                  </a:lnTo>
                  <a:lnTo>
                    <a:pt x="163" y="93"/>
                  </a:lnTo>
                  <a:lnTo>
                    <a:pt x="165" y="93"/>
                  </a:lnTo>
                  <a:lnTo>
                    <a:pt x="170" y="92"/>
                  </a:lnTo>
                  <a:lnTo>
                    <a:pt x="172" y="92"/>
                  </a:lnTo>
                  <a:lnTo>
                    <a:pt x="174" y="92"/>
                  </a:lnTo>
                  <a:lnTo>
                    <a:pt x="175" y="91"/>
                  </a:lnTo>
                  <a:lnTo>
                    <a:pt x="177" y="91"/>
                  </a:lnTo>
                  <a:lnTo>
                    <a:pt x="179" y="92"/>
                  </a:lnTo>
                  <a:lnTo>
                    <a:pt x="186" y="93"/>
                  </a:lnTo>
                  <a:lnTo>
                    <a:pt x="188" y="93"/>
                  </a:lnTo>
                  <a:lnTo>
                    <a:pt x="188" y="93"/>
                  </a:lnTo>
                  <a:lnTo>
                    <a:pt x="189" y="93"/>
                  </a:lnTo>
                  <a:lnTo>
                    <a:pt x="190" y="93"/>
                  </a:lnTo>
                  <a:lnTo>
                    <a:pt x="191" y="93"/>
                  </a:lnTo>
                  <a:lnTo>
                    <a:pt x="194" y="91"/>
                  </a:lnTo>
                  <a:lnTo>
                    <a:pt x="201" y="84"/>
                  </a:lnTo>
                  <a:lnTo>
                    <a:pt x="205" y="81"/>
                  </a:lnTo>
                  <a:lnTo>
                    <a:pt x="210" y="77"/>
                  </a:lnTo>
                  <a:lnTo>
                    <a:pt x="211" y="76"/>
                  </a:lnTo>
                  <a:lnTo>
                    <a:pt x="212" y="75"/>
                  </a:lnTo>
                  <a:lnTo>
                    <a:pt x="214" y="74"/>
                  </a:lnTo>
                  <a:lnTo>
                    <a:pt x="217" y="73"/>
                  </a:lnTo>
                  <a:lnTo>
                    <a:pt x="219" y="72"/>
                  </a:lnTo>
                  <a:lnTo>
                    <a:pt x="223" y="71"/>
                  </a:lnTo>
                  <a:lnTo>
                    <a:pt x="225" y="70"/>
                  </a:lnTo>
                  <a:lnTo>
                    <a:pt x="227" y="70"/>
                  </a:lnTo>
                  <a:lnTo>
                    <a:pt x="228" y="69"/>
                  </a:lnTo>
                  <a:lnTo>
                    <a:pt x="230" y="67"/>
                  </a:lnTo>
                  <a:lnTo>
                    <a:pt x="232" y="65"/>
                  </a:lnTo>
                  <a:lnTo>
                    <a:pt x="233" y="62"/>
                  </a:lnTo>
                  <a:lnTo>
                    <a:pt x="237" y="57"/>
                  </a:lnTo>
                  <a:lnTo>
                    <a:pt x="238" y="55"/>
                  </a:lnTo>
                  <a:lnTo>
                    <a:pt x="239" y="53"/>
                  </a:lnTo>
                  <a:lnTo>
                    <a:pt x="241" y="52"/>
                  </a:lnTo>
                  <a:lnTo>
                    <a:pt x="243" y="51"/>
                  </a:lnTo>
                  <a:lnTo>
                    <a:pt x="244" y="51"/>
                  </a:lnTo>
                  <a:lnTo>
                    <a:pt x="245" y="51"/>
                  </a:lnTo>
                  <a:lnTo>
                    <a:pt x="246" y="51"/>
                  </a:lnTo>
                  <a:lnTo>
                    <a:pt x="250" y="51"/>
                  </a:lnTo>
                  <a:lnTo>
                    <a:pt x="252" y="51"/>
                  </a:lnTo>
                  <a:lnTo>
                    <a:pt x="254" y="51"/>
                  </a:lnTo>
                  <a:lnTo>
                    <a:pt x="256" y="51"/>
                  </a:lnTo>
                  <a:lnTo>
                    <a:pt x="258" y="49"/>
                  </a:lnTo>
                  <a:lnTo>
                    <a:pt x="262" y="47"/>
                  </a:lnTo>
                  <a:lnTo>
                    <a:pt x="266" y="45"/>
                  </a:lnTo>
                  <a:lnTo>
                    <a:pt x="268" y="43"/>
                  </a:lnTo>
                  <a:lnTo>
                    <a:pt x="269" y="41"/>
                  </a:lnTo>
                  <a:lnTo>
                    <a:pt x="270" y="39"/>
                  </a:lnTo>
                  <a:lnTo>
                    <a:pt x="271" y="38"/>
                  </a:lnTo>
                  <a:lnTo>
                    <a:pt x="272" y="36"/>
                  </a:lnTo>
                  <a:lnTo>
                    <a:pt x="273" y="32"/>
                  </a:lnTo>
                  <a:lnTo>
                    <a:pt x="274" y="25"/>
                  </a:lnTo>
                  <a:lnTo>
                    <a:pt x="275" y="19"/>
                  </a:lnTo>
                  <a:lnTo>
                    <a:pt x="276" y="11"/>
                  </a:lnTo>
                  <a:lnTo>
                    <a:pt x="277" y="2"/>
                  </a:lnTo>
                  <a:lnTo>
                    <a:pt x="277" y="1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8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1" name="Freeform 38">
              <a:extLst>
                <a:ext uri="{FF2B5EF4-FFF2-40B4-BE49-F238E27FC236}">
                  <a16:creationId xmlns:a16="http://schemas.microsoft.com/office/drawing/2014/main" id="{E0393725-AE10-47F8-B5F5-0C927BD26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9" y="1635"/>
              <a:ext cx="623" cy="484"/>
            </a:xfrm>
            <a:custGeom>
              <a:avLst/>
              <a:gdLst>
                <a:gd name="T0" fmla="*/ 492 w 623"/>
                <a:gd name="T1" fmla="*/ 15 h 484"/>
                <a:gd name="T2" fmla="*/ 498 w 623"/>
                <a:gd name="T3" fmla="*/ 63 h 484"/>
                <a:gd name="T4" fmla="*/ 517 w 623"/>
                <a:gd name="T5" fmla="*/ 78 h 484"/>
                <a:gd name="T6" fmla="*/ 551 w 623"/>
                <a:gd name="T7" fmla="*/ 77 h 484"/>
                <a:gd name="T8" fmla="*/ 562 w 623"/>
                <a:gd name="T9" fmla="*/ 99 h 484"/>
                <a:gd name="T10" fmla="*/ 556 w 623"/>
                <a:gd name="T11" fmla="*/ 132 h 484"/>
                <a:gd name="T12" fmla="*/ 597 w 623"/>
                <a:gd name="T13" fmla="*/ 152 h 484"/>
                <a:gd name="T14" fmla="*/ 618 w 623"/>
                <a:gd name="T15" fmla="*/ 182 h 484"/>
                <a:gd name="T16" fmla="*/ 604 w 623"/>
                <a:gd name="T17" fmla="*/ 182 h 484"/>
                <a:gd name="T18" fmla="*/ 583 w 623"/>
                <a:gd name="T19" fmla="*/ 188 h 484"/>
                <a:gd name="T20" fmla="*/ 574 w 623"/>
                <a:gd name="T21" fmla="*/ 212 h 484"/>
                <a:gd name="T22" fmla="*/ 559 w 623"/>
                <a:gd name="T23" fmla="*/ 227 h 484"/>
                <a:gd name="T24" fmla="*/ 538 w 623"/>
                <a:gd name="T25" fmla="*/ 249 h 484"/>
                <a:gd name="T26" fmla="*/ 501 w 623"/>
                <a:gd name="T27" fmla="*/ 267 h 484"/>
                <a:gd name="T28" fmla="*/ 479 w 623"/>
                <a:gd name="T29" fmla="*/ 295 h 484"/>
                <a:gd name="T30" fmla="*/ 459 w 623"/>
                <a:gd name="T31" fmla="*/ 298 h 484"/>
                <a:gd name="T32" fmla="*/ 448 w 623"/>
                <a:gd name="T33" fmla="*/ 279 h 484"/>
                <a:gd name="T34" fmla="*/ 418 w 623"/>
                <a:gd name="T35" fmla="*/ 296 h 484"/>
                <a:gd name="T36" fmla="*/ 386 w 623"/>
                <a:gd name="T37" fmla="*/ 316 h 484"/>
                <a:gd name="T38" fmla="*/ 338 w 623"/>
                <a:gd name="T39" fmla="*/ 314 h 484"/>
                <a:gd name="T40" fmla="*/ 319 w 623"/>
                <a:gd name="T41" fmla="*/ 315 h 484"/>
                <a:gd name="T42" fmla="*/ 275 w 623"/>
                <a:gd name="T43" fmla="*/ 354 h 484"/>
                <a:gd name="T44" fmla="*/ 232 w 623"/>
                <a:gd name="T45" fmla="*/ 360 h 484"/>
                <a:gd name="T46" fmla="*/ 196 w 623"/>
                <a:gd name="T47" fmla="*/ 390 h 484"/>
                <a:gd name="T48" fmla="*/ 190 w 623"/>
                <a:gd name="T49" fmla="*/ 422 h 484"/>
                <a:gd name="T50" fmla="*/ 175 w 623"/>
                <a:gd name="T51" fmla="*/ 440 h 484"/>
                <a:gd name="T52" fmla="*/ 152 w 623"/>
                <a:gd name="T53" fmla="*/ 454 h 484"/>
                <a:gd name="T54" fmla="*/ 128 w 623"/>
                <a:gd name="T55" fmla="*/ 473 h 484"/>
                <a:gd name="T56" fmla="*/ 105 w 623"/>
                <a:gd name="T57" fmla="*/ 484 h 484"/>
                <a:gd name="T58" fmla="*/ 87 w 623"/>
                <a:gd name="T59" fmla="*/ 458 h 484"/>
                <a:gd name="T60" fmla="*/ 70 w 623"/>
                <a:gd name="T61" fmla="*/ 470 h 484"/>
                <a:gd name="T62" fmla="*/ 63 w 623"/>
                <a:gd name="T63" fmla="*/ 458 h 484"/>
                <a:gd name="T64" fmla="*/ 44 w 623"/>
                <a:gd name="T65" fmla="*/ 450 h 484"/>
                <a:gd name="T66" fmla="*/ 9 w 623"/>
                <a:gd name="T67" fmla="*/ 426 h 484"/>
                <a:gd name="T68" fmla="*/ 4 w 623"/>
                <a:gd name="T69" fmla="*/ 412 h 484"/>
                <a:gd name="T70" fmla="*/ 28 w 623"/>
                <a:gd name="T71" fmla="*/ 410 h 484"/>
                <a:gd name="T72" fmla="*/ 33 w 623"/>
                <a:gd name="T73" fmla="*/ 388 h 484"/>
                <a:gd name="T74" fmla="*/ 23 w 623"/>
                <a:gd name="T75" fmla="*/ 345 h 484"/>
                <a:gd name="T76" fmla="*/ 13 w 623"/>
                <a:gd name="T77" fmla="*/ 314 h 484"/>
                <a:gd name="T78" fmla="*/ 26 w 623"/>
                <a:gd name="T79" fmla="*/ 305 h 484"/>
                <a:gd name="T80" fmla="*/ 52 w 623"/>
                <a:gd name="T81" fmla="*/ 277 h 484"/>
                <a:gd name="T82" fmla="*/ 82 w 623"/>
                <a:gd name="T83" fmla="*/ 255 h 484"/>
                <a:gd name="T84" fmla="*/ 109 w 623"/>
                <a:gd name="T85" fmla="*/ 265 h 484"/>
                <a:gd name="T86" fmla="*/ 130 w 623"/>
                <a:gd name="T87" fmla="*/ 238 h 484"/>
                <a:gd name="T88" fmla="*/ 150 w 623"/>
                <a:gd name="T89" fmla="*/ 214 h 484"/>
                <a:gd name="T90" fmla="*/ 162 w 623"/>
                <a:gd name="T91" fmla="*/ 186 h 484"/>
                <a:gd name="T92" fmla="*/ 159 w 623"/>
                <a:gd name="T93" fmla="*/ 155 h 484"/>
                <a:gd name="T94" fmla="*/ 189 w 623"/>
                <a:gd name="T95" fmla="*/ 144 h 484"/>
                <a:gd name="T96" fmla="*/ 209 w 623"/>
                <a:gd name="T97" fmla="*/ 128 h 484"/>
                <a:gd name="T98" fmla="*/ 243 w 623"/>
                <a:gd name="T99" fmla="*/ 132 h 484"/>
                <a:gd name="T100" fmla="*/ 240 w 623"/>
                <a:gd name="T101" fmla="*/ 110 h 484"/>
                <a:gd name="T102" fmla="*/ 256 w 623"/>
                <a:gd name="T103" fmla="*/ 78 h 484"/>
                <a:gd name="T104" fmla="*/ 292 w 623"/>
                <a:gd name="T105" fmla="*/ 87 h 484"/>
                <a:gd name="T106" fmla="*/ 343 w 623"/>
                <a:gd name="T107" fmla="*/ 83 h 484"/>
                <a:gd name="T108" fmla="*/ 396 w 623"/>
                <a:gd name="T109" fmla="*/ 86 h 484"/>
                <a:gd name="T110" fmla="*/ 425 w 623"/>
                <a:gd name="T111" fmla="*/ 67 h 484"/>
                <a:gd name="T112" fmla="*/ 420 w 623"/>
                <a:gd name="T113" fmla="*/ 32 h 484"/>
                <a:gd name="T114" fmla="*/ 447 w 623"/>
                <a:gd name="T115" fmla="*/ 30 h 484"/>
                <a:gd name="T116" fmla="*/ 465 w 623"/>
                <a:gd name="T117" fmla="*/ 18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3" h="484">
                  <a:moveTo>
                    <a:pt x="488" y="2"/>
                  </a:moveTo>
                  <a:lnTo>
                    <a:pt x="489" y="2"/>
                  </a:lnTo>
                  <a:lnTo>
                    <a:pt x="490" y="3"/>
                  </a:lnTo>
                  <a:lnTo>
                    <a:pt x="491" y="3"/>
                  </a:lnTo>
                  <a:lnTo>
                    <a:pt x="491" y="2"/>
                  </a:lnTo>
                  <a:lnTo>
                    <a:pt x="492" y="0"/>
                  </a:lnTo>
                  <a:lnTo>
                    <a:pt x="493" y="0"/>
                  </a:lnTo>
                  <a:lnTo>
                    <a:pt x="492" y="3"/>
                  </a:lnTo>
                  <a:lnTo>
                    <a:pt x="492" y="8"/>
                  </a:lnTo>
                  <a:lnTo>
                    <a:pt x="492" y="9"/>
                  </a:lnTo>
                  <a:lnTo>
                    <a:pt x="492" y="12"/>
                  </a:lnTo>
                  <a:lnTo>
                    <a:pt x="492" y="15"/>
                  </a:lnTo>
                  <a:lnTo>
                    <a:pt x="493" y="21"/>
                  </a:lnTo>
                  <a:lnTo>
                    <a:pt x="493" y="26"/>
                  </a:lnTo>
                  <a:lnTo>
                    <a:pt x="494" y="31"/>
                  </a:lnTo>
                  <a:lnTo>
                    <a:pt x="496" y="38"/>
                  </a:lnTo>
                  <a:lnTo>
                    <a:pt x="496" y="42"/>
                  </a:lnTo>
                  <a:lnTo>
                    <a:pt x="496" y="44"/>
                  </a:lnTo>
                  <a:lnTo>
                    <a:pt x="495" y="53"/>
                  </a:lnTo>
                  <a:lnTo>
                    <a:pt x="495" y="54"/>
                  </a:lnTo>
                  <a:lnTo>
                    <a:pt x="495" y="56"/>
                  </a:lnTo>
                  <a:lnTo>
                    <a:pt x="496" y="58"/>
                  </a:lnTo>
                  <a:lnTo>
                    <a:pt x="496" y="59"/>
                  </a:lnTo>
                  <a:lnTo>
                    <a:pt x="498" y="63"/>
                  </a:lnTo>
                  <a:lnTo>
                    <a:pt x="500" y="67"/>
                  </a:lnTo>
                  <a:lnTo>
                    <a:pt x="502" y="70"/>
                  </a:lnTo>
                  <a:lnTo>
                    <a:pt x="504" y="72"/>
                  </a:lnTo>
                  <a:lnTo>
                    <a:pt x="504" y="74"/>
                  </a:lnTo>
                  <a:lnTo>
                    <a:pt x="506" y="75"/>
                  </a:lnTo>
                  <a:lnTo>
                    <a:pt x="507" y="76"/>
                  </a:lnTo>
                  <a:lnTo>
                    <a:pt x="509" y="77"/>
                  </a:lnTo>
                  <a:lnTo>
                    <a:pt x="510" y="77"/>
                  </a:lnTo>
                  <a:lnTo>
                    <a:pt x="512" y="78"/>
                  </a:lnTo>
                  <a:lnTo>
                    <a:pt x="513" y="78"/>
                  </a:lnTo>
                  <a:lnTo>
                    <a:pt x="516" y="79"/>
                  </a:lnTo>
                  <a:lnTo>
                    <a:pt x="517" y="78"/>
                  </a:lnTo>
                  <a:lnTo>
                    <a:pt x="519" y="78"/>
                  </a:lnTo>
                  <a:lnTo>
                    <a:pt x="526" y="76"/>
                  </a:lnTo>
                  <a:lnTo>
                    <a:pt x="527" y="76"/>
                  </a:lnTo>
                  <a:lnTo>
                    <a:pt x="529" y="76"/>
                  </a:lnTo>
                  <a:lnTo>
                    <a:pt x="531" y="76"/>
                  </a:lnTo>
                  <a:lnTo>
                    <a:pt x="534" y="76"/>
                  </a:lnTo>
                  <a:lnTo>
                    <a:pt x="540" y="76"/>
                  </a:lnTo>
                  <a:lnTo>
                    <a:pt x="543" y="76"/>
                  </a:lnTo>
                  <a:lnTo>
                    <a:pt x="546" y="76"/>
                  </a:lnTo>
                  <a:lnTo>
                    <a:pt x="548" y="76"/>
                  </a:lnTo>
                  <a:lnTo>
                    <a:pt x="550" y="76"/>
                  </a:lnTo>
                  <a:lnTo>
                    <a:pt x="551" y="77"/>
                  </a:lnTo>
                  <a:lnTo>
                    <a:pt x="552" y="78"/>
                  </a:lnTo>
                  <a:lnTo>
                    <a:pt x="554" y="79"/>
                  </a:lnTo>
                  <a:lnTo>
                    <a:pt x="556" y="81"/>
                  </a:lnTo>
                  <a:lnTo>
                    <a:pt x="558" y="83"/>
                  </a:lnTo>
                  <a:lnTo>
                    <a:pt x="559" y="84"/>
                  </a:lnTo>
                  <a:lnTo>
                    <a:pt x="560" y="86"/>
                  </a:lnTo>
                  <a:lnTo>
                    <a:pt x="561" y="87"/>
                  </a:lnTo>
                  <a:lnTo>
                    <a:pt x="561" y="90"/>
                  </a:lnTo>
                  <a:lnTo>
                    <a:pt x="561" y="92"/>
                  </a:lnTo>
                  <a:lnTo>
                    <a:pt x="562" y="95"/>
                  </a:lnTo>
                  <a:lnTo>
                    <a:pt x="562" y="97"/>
                  </a:lnTo>
                  <a:lnTo>
                    <a:pt x="562" y="99"/>
                  </a:lnTo>
                  <a:lnTo>
                    <a:pt x="561" y="101"/>
                  </a:lnTo>
                  <a:lnTo>
                    <a:pt x="561" y="103"/>
                  </a:lnTo>
                  <a:lnTo>
                    <a:pt x="561" y="105"/>
                  </a:lnTo>
                  <a:lnTo>
                    <a:pt x="561" y="108"/>
                  </a:lnTo>
                  <a:lnTo>
                    <a:pt x="559" y="113"/>
                  </a:lnTo>
                  <a:lnTo>
                    <a:pt x="557" y="120"/>
                  </a:lnTo>
                  <a:lnTo>
                    <a:pt x="555" y="124"/>
                  </a:lnTo>
                  <a:lnTo>
                    <a:pt x="555" y="126"/>
                  </a:lnTo>
                  <a:lnTo>
                    <a:pt x="554" y="128"/>
                  </a:lnTo>
                  <a:lnTo>
                    <a:pt x="555" y="129"/>
                  </a:lnTo>
                  <a:lnTo>
                    <a:pt x="555" y="130"/>
                  </a:lnTo>
                  <a:lnTo>
                    <a:pt x="556" y="132"/>
                  </a:lnTo>
                  <a:lnTo>
                    <a:pt x="556" y="133"/>
                  </a:lnTo>
                  <a:lnTo>
                    <a:pt x="557" y="133"/>
                  </a:lnTo>
                  <a:lnTo>
                    <a:pt x="561" y="136"/>
                  </a:lnTo>
                  <a:lnTo>
                    <a:pt x="563" y="138"/>
                  </a:lnTo>
                  <a:lnTo>
                    <a:pt x="567" y="140"/>
                  </a:lnTo>
                  <a:lnTo>
                    <a:pt x="572" y="142"/>
                  </a:lnTo>
                  <a:lnTo>
                    <a:pt x="579" y="145"/>
                  </a:lnTo>
                  <a:lnTo>
                    <a:pt x="584" y="147"/>
                  </a:lnTo>
                  <a:lnTo>
                    <a:pt x="586" y="148"/>
                  </a:lnTo>
                  <a:lnTo>
                    <a:pt x="589" y="149"/>
                  </a:lnTo>
                  <a:lnTo>
                    <a:pt x="595" y="151"/>
                  </a:lnTo>
                  <a:lnTo>
                    <a:pt x="597" y="152"/>
                  </a:lnTo>
                  <a:lnTo>
                    <a:pt x="601" y="153"/>
                  </a:lnTo>
                  <a:lnTo>
                    <a:pt x="603" y="155"/>
                  </a:lnTo>
                  <a:lnTo>
                    <a:pt x="605" y="156"/>
                  </a:lnTo>
                  <a:lnTo>
                    <a:pt x="607" y="158"/>
                  </a:lnTo>
                  <a:lnTo>
                    <a:pt x="608" y="160"/>
                  </a:lnTo>
                  <a:lnTo>
                    <a:pt x="610" y="162"/>
                  </a:lnTo>
                  <a:lnTo>
                    <a:pt x="613" y="167"/>
                  </a:lnTo>
                  <a:lnTo>
                    <a:pt x="618" y="175"/>
                  </a:lnTo>
                  <a:lnTo>
                    <a:pt x="619" y="178"/>
                  </a:lnTo>
                  <a:lnTo>
                    <a:pt x="621" y="181"/>
                  </a:lnTo>
                  <a:lnTo>
                    <a:pt x="623" y="184"/>
                  </a:lnTo>
                  <a:lnTo>
                    <a:pt x="618" y="182"/>
                  </a:lnTo>
                  <a:lnTo>
                    <a:pt x="613" y="179"/>
                  </a:lnTo>
                  <a:lnTo>
                    <a:pt x="612" y="179"/>
                  </a:lnTo>
                  <a:lnTo>
                    <a:pt x="611" y="178"/>
                  </a:lnTo>
                  <a:lnTo>
                    <a:pt x="611" y="179"/>
                  </a:lnTo>
                  <a:lnTo>
                    <a:pt x="609" y="180"/>
                  </a:lnTo>
                  <a:lnTo>
                    <a:pt x="608" y="180"/>
                  </a:lnTo>
                  <a:lnTo>
                    <a:pt x="608" y="181"/>
                  </a:lnTo>
                  <a:lnTo>
                    <a:pt x="607" y="183"/>
                  </a:lnTo>
                  <a:lnTo>
                    <a:pt x="607" y="184"/>
                  </a:lnTo>
                  <a:lnTo>
                    <a:pt x="607" y="184"/>
                  </a:lnTo>
                  <a:lnTo>
                    <a:pt x="606" y="184"/>
                  </a:lnTo>
                  <a:lnTo>
                    <a:pt x="604" y="182"/>
                  </a:lnTo>
                  <a:lnTo>
                    <a:pt x="602" y="181"/>
                  </a:lnTo>
                  <a:lnTo>
                    <a:pt x="602" y="180"/>
                  </a:lnTo>
                  <a:lnTo>
                    <a:pt x="601" y="179"/>
                  </a:lnTo>
                  <a:lnTo>
                    <a:pt x="600" y="178"/>
                  </a:lnTo>
                  <a:lnTo>
                    <a:pt x="599" y="178"/>
                  </a:lnTo>
                  <a:lnTo>
                    <a:pt x="597" y="179"/>
                  </a:lnTo>
                  <a:lnTo>
                    <a:pt x="595" y="179"/>
                  </a:lnTo>
                  <a:lnTo>
                    <a:pt x="594" y="180"/>
                  </a:lnTo>
                  <a:lnTo>
                    <a:pt x="591" y="181"/>
                  </a:lnTo>
                  <a:lnTo>
                    <a:pt x="589" y="182"/>
                  </a:lnTo>
                  <a:lnTo>
                    <a:pt x="585" y="185"/>
                  </a:lnTo>
                  <a:lnTo>
                    <a:pt x="583" y="188"/>
                  </a:lnTo>
                  <a:lnTo>
                    <a:pt x="581" y="189"/>
                  </a:lnTo>
                  <a:lnTo>
                    <a:pt x="579" y="190"/>
                  </a:lnTo>
                  <a:lnTo>
                    <a:pt x="578" y="192"/>
                  </a:lnTo>
                  <a:lnTo>
                    <a:pt x="577" y="193"/>
                  </a:lnTo>
                  <a:lnTo>
                    <a:pt x="575" y="196"/>
                  </a:lnTo>
                  <a:lnTo>
                    <a:pt x="575" y="197"/>
                  </a:lnTo>
                  <a:lnTo>
                    <a:pt x="574" y="200"/>
                  </a:lnTo>
                  <a:lnTo>
                    <a:pt x="574" y="201"/>
                  </a:lnTo>
                  <a:lnTo>
                    <a:pt x="574" y="202"/>
                  </a:lnTo>
                  <a:lnTo>
                    <a:pt x="574" y="204"/>
                  </a:lnTo>
                  <a:lnTo>
                    <a:pt x="574" y="211"/>
                  </a:lnTo>
                  <a:lnTo>
                    <a:pt x="574" y="212"/>
                  </a:lnTo>
                  <a:lnTo>
                    <a:pt x="574" y="216"/>
                  </a:lnTo>
                  <a:lnTo>
                    <a:pt x="574" y="220"/>
                  </a:lnTo>
                  <a:lnTo>
                    <a:pt x="574" y="221"/>
                  </a:lnTo>
                  <a:lnTo>
                    <a:pt x="573" y="222"/>
                  </a:lnTo>
                  <a:lnTo>
                    <a:pt x="573" y="223"/>
                  </a:lnTo>
                  <a:lnTo>
                    <a:pt x="572" y="224"/>
                  </a:lnTo>
                  <a:lnTo>
                    <a:pt x="571" y="225"/>
                  </a:lnTo>
                  <a:lnTo>
                    <a:pt x="570" y="225"/>
                  </a:lnTo>
                  <a:lnTo>
                    <a:pt x="568" y="226"/>
                  </a:lnTo>
                  <a:lnTo>
                    <a:pt x="567" y="227"/>
                  </a:lnTo>
                  <a:lnTo>
                    <a:pt x="563" y="227"/>
                  </a:lnTo>
                  <a:lnTo>
                    <a:pt x="559" y="227"/>
                  </a:lnTo>
                  <a:lnTo>
                    <a:pt x="555" y="227"/>
                  </a:lnTo>
                  <a:lnTo>
                    <a:pt x="553" y="228"/>
                  </a:lnTo>
                  <a:lnTo>
                    <a:pt x="551" y="228"/>
                  </a:lnTo>
                  <a:lnTo>
                    <a:pt x="550" y="229"/>
                  </a:lnTo>
                  <a:lnTo>
                    <a:pt x="550" y="231"/>
                  </a:lnTo>
                  <a:lnTo>
                    <a:pt x="550" y="232"/>
                  </a:lnTo>
                  <a:lnTo>
                    <a:pt x="548" y="235"/>
                  </a:lnTo>
                  <a:lnTo>
                    <a:pt x="547" y="238"/>
                  </a:lnTo>
                  <a:lnTo>
                    <a:pt x="546" y="240"/>
                  </a:lnTo>
                  <a:lnTo>
                    <a:pt x="545" y="242"/>
                  </a:lnTo>
                  <a:lnTo>
                    <a:pt x="542" y="245"/>
                  </a:lnTo>
                  <a:lnTo>
                    <a:pt x="538" y="249"/>
                  </a:lnTo>
                  <a:lnTo>
                    <a:pt x="536" y="252"/>
                  </a:lnTo>
                  <a:lnTo>
                    <a:pt x="533" y="254"/>
                  </a:lnTo>
                  <a:lnTo>
                    <a:pt x="530" y="256"/>
                  </a:lnTo>
                  <a:lnTo>
                    <a:pt x="527" y="257"/>
                  </a:lnTo>
                  <a:lnTo>
                    <a:pt x="525" y="258"/>
                  </a:lnTo>
                  <a:lnTo>
                    <a:pt x="522" y="260"/>
                  </a:lnTo>
                  <a:lnTo>
                    <a:pt x="518" y="261"/>
                  </a:lnTo>
                  <a:lnTo>
                    <a:pt x="512" y="263"/>
                  </a:lnTo>
                  <a:lnTo>
                    <a:pt x="508" y="264"/>
                  </a:lnTo>
                  <a:lnTo>
                    <a:pt x="505" y="265"/>
                  </a:lnTo>
                  <a:lnTo>
                    <a:pt x="503" y="266"/>
                  </a:lnTo>
                  <a:lnTo>
                    <a:pt x="501" y="267"/>
                  </a:lnTo>
                  <a:lnTo>
                    <a:pt x="499" y="268"/>
                  </a:lnTo>
                  <a:lnTo>
                    <a:pt x="496" y="269"/>
                  </a:lnTo>
                  <a:lnTo>
                    <a:pt x="493" y="271"/>
                  </a:lnTo>
                  <a:lnTo>
                    <a:pt x="491" y="274"/>
                  </a:lnTo>
                  <a:lnTo>
                    <a:pt x="488" y="277"/>
                  </a:lnTo>
                  <a:lnTo>
                    <a:pt x="485" y="280"/>
                  </a:lnTo>
                  <a:lnTo>
                    <a:pt x="482" y="284"/>
                  </a:lnTo>
                  <a:lnTo>
                    <a:pt x="482" y="286"/>
                  </a:lnTo>
                  <a:lnTo>
                    <a:pt x="481" y="287"/>
                  </a:lnTo>
                  <a:lnTo>
                    <a:pt x="480" y="291"/>
                  </a:lnTo>
                  <a:lnTo>
                    <a:pt x="479" y="293"/>
                  </a:lnTo>
                  <a:lnTo>
                    <a:pt x="479" y="295"/>
                  </a:lnTo>
                  <a:lnTo>
                    <a:pt x="479" y="296"/>
                  </a:lnTo>
                  <a:lnTo>
                    <a:pt x="479" y="297"/>
                  </a:lnTo>
                  <a:lnTo>
                    <a:pt x="477" y="297"/>
                  </a:lnTo>
                  <a:lnTo>
                    <a:pt x="474" y="298"/>
                  </a:lnTo>
                  <a:lnTo>
                    <a:pt x="471" y="299"/>
                  </a:lnTo>
                  <a:lnTo>
                    <a:pt x="468" y="299"/>
                  </a:lnTo>
                  <a:lnTo>
                    <a:pt x="465" y="300"/>
                  </a:lnTo>
                  <a:lnTo>
                    <a:pt x="462" y="300"/>
                  </a:lnTo>
                  <a:lnTo>
                    <a:pt x="461" y="300"/>
                  </a:lnTo>
                  <a:lnTo>
                    <a:pt x="460" y="300"/>
                  </a:lnTo>
                  <a:lnTo>
                    <a:pt x="459" y="299"/>
                  </a:lnTo>
                  <a:lnTo>
                    <a:pt x="459" y="298"/>
                  </a:lnTo>
                  <a:lnTo>
                    <a:pt x="459" y="297"/>
                  </a:lnTo>
                  <a:lnTo>
                    <a:pt x="458" y="295"/>
                  </a:lnTo>
                  <a:lnTo>
                    <a:pt x="457" y="291"/>
                  </a:lnTo>
                  <a:lnTo>
                    <a:pt x="456" y="289"/>
                  </a:lnTo>
                  <a:lnTo>
                    <a:pt x="453" y="282"/>
                  </a:lnTo>
                  <a:lnTo>
                    <a:pt x="452" y="280"/>
                  </a:lnTo>
                  <a:lnTo>
                    <a:pt x="451" y="280"/>
                  </a:lnTo>
                  <a:lnTo>
                    <a:pt x="450" y="279"/>
                  </a:lnTo>
                  <a:lnTo>
                    <a:pt x="450" y="278"/>
                  </a:lnTo>
                  <a:lnTo>
                    <a:pt x="449" y="278"/>
                  </a:lnTo>
                  <a:lnTo>
                    <a:pt x="448" y="278"/>
                  </a:lnTo>
                  <a:lnTo>
                    <a:pt x="448" y="279"/>
                  </a:lnTo>
                  <a:lnTo>
                    <a:pt x="447" y="279"/>
                  </a:lnTo>
                  <a:lnTo>
                    <a:pt x="446" y="278"/>
                  </a:lnTo>
                  <a:lnTo>
                    <a:pt x="444" y="276"/>
                  </a:lnTo>
                  <a:lnTo>
                    <a:pt x="443" y="275"/>
                  </a:lnTo>
                  <a:lnTo>
                    <a:pt x="442" y="274"/>
                  </a:lnTo>
                  <a:lnTo>
                    <a:pt x="441" y="274"/>
                  </a:lnTo>
                  <a:lnTo>
                    <a:pt x="440" y="274"/>
                  </a:lnTo>
                  <a:lnTo>
                    <a:pt x="439" y="275"/>
                  </a:lnTo>
                  <a:lnTo>
                    <a:pt x="437" y="277"/>
                  </a:lnTo>
                  <a:lnTo>
                    <a:pt x="436" y="278"/>
                  </a:lnTo>
                  <a:lnTo>
                    <a:pt x="432" y="282"/>
                  </a:lnTo>
                  <a:lnTo>
                    <a:pt x="418" y="296"/>
                  </a:lnTo>
                  <a:lnTo>
                    <a:pt x="414" y="300"/>
                  </a:lnTo>
                  <a:lnTo>
                    <a:pt x="412" y="302"/>
                  </a:lnTo>
                  <a:lnTo>
                    <a:pt x="409" y="303"/>
                  </a:lnTo>
                  <a:lnTo>
                    <a:pt x="407" y="304"/>
                  </a:lnTo>
                  <a:lnTo>
                    <a:pt x="405" y="305"/>
                  </a:lnTo>
                  <a:lnTo>
                    <a:pt x="402" y="306"/>
                  </a:lnTo>
                  <a:lnTo>
                    <a:pt x="400" y="307"/>
                  </a:lnTo>
                  <a:lnTo>
                    <a:pt x="396" y="310"/>
                  </a:lnTo>
                  <a:lnTo>
                    <a:pt x="391" y="314"/>
                  </a:lnTo>
                  <a:lnTo>
                    <a:pt x="390" y="314"/>
                  </a:lnTo>
                  <a:lnTo>
                    <a:pt x="389" y="315"/>
                  </a:lnTo>
                  <a:lnTo>
                    <a:pt x="386" y="316"/>
                  </a:lnTo>
                  <a:lnTo>
                    <a:pt x="383" y="316"/>
                  </a:lnTo>
                  <a:lnTo>
                    <a:pt x="380" y="317"/>
                  </a:lnTo>
                  <a:lnTo>
                    <a:pt x="377" y="317"/>
                  </a:lnTo>
                  <a:lnTo>
                    <a:pt x="371" y="318"/>
                  </a:lnTo>
                  <a:lnTo>
                    <a:pt x="362" y="318"/>
                  </a:lnTo>
                  <a:lnTo>
                    <a:pt x="358" y="318"/>
                  </a:lnTo>
                  <a:lnTo>
                    <a:pt x="355" y="318"/>
                  </a:lnTo>
                  <a:lnTo>
                    <a:pt x="352" y="318"/>
                  </a:lnTo>
                  <a:lnTo>
                    <a:pt x="349" y="317"/>
                  </a:lnTo>
                  <a:lnTo>
                    <a:pt x="345" y="316"/>
                  </a:lnTo>
                  <a:lnTo>
                    <a:pt x="340" y="315"/>
                  </a:lnTo>
                  <a:lnTo>
                    <a:pt x="338" y="314"/>
                  </a:lnTo>
                  <a:lnTo>
                    <a:pt x="336" y="314"/>
                  </a:lnTo>
                  <a:lnTo>
                    <a:pt x="334" y="314"/>
                  </a:lnTo>
                  <a:lnTo>
                    <a:pt x="332" y="312"/>
                  </a:lnTo>
                  <a:lnTo>
                    <a:pt x="330" y="311"/>
                  </a:lnTo>
                  <a:lnTo>
                    <a:pt x="329" y="310"/>
                  </a:lnTo>
                  <a:lnTo>
                    <a:pt x="328" y="310"/>
                  </a:lnTo>
                  <a:lnTo>
                    <a:pt x="327" y="310"/>
                  </a:lnTo>
                  <a:lnTo>
                    <a:pt x="326" y="311"/>
                  </a:lnTo>
                  <a:lnTo>
                    <a:pt x="325" y="311"/>
                  </a:lnTo>
                  <a:lnTo>
                    <a:pt x="323" y="312"/>
                  </a:lnTo>
                  <a:lnTo>
                    <a:pt x="322" y="314"/>
                  </a:lnTo>
                  <a:lnTo>
                    <a:pt x="319" y="315"/>
                  </a:lnTo>
                  <a:lnTo>
                    <a:pt x="308" y="325"/>
                  </a:lnTo>
                  <a:lnTo>
                    <a:pt x="302" y="331"/>
                  </a:lnTo>
                  <a:lnTo>
                    <a:pt x="297" y="336"/>
                  </a:lnTo>
                  <a:lnTo>
                    <a:pt x="296" y="337"/>
                  </a:lnTo>
                  <a:lnTo>
                    <a:pt x="294" y="338"/>
                  </a:lnTo>
                  <a:lnTo>
                    <a:pt x="290" y="343"/>
                  </a:lnTo>
                  <a:lnTo>
                    <a:pt x="288" y="346"/>
                  </a:lnTo>
                  <a:lnTo>
                    <a:pt x="285" y="348"/>
                  </a:lnTo>
                  <a:lnTo>
                    <a:pt x="283" y="349"/>
                  </a:lnTo>
                  <a:lnTo>
                    <a:pt x="281" y="351"/>
                  </a:lnTo>
                  <a:lnTo>
                    <a:pt x="279" y="352"/>
                  </a:lnTo>
                  <a:lnTo>
                    <a:pt x="275" y="354"/>
                  </a:lnTo>
                  <a:lnTo>
                    <a:pt x="270" y="356"/>
                  </a:lnTo>
                  <a:lnTo>
                    <a:pt x="266" y="357"/>
                  </a:lnTo>
                  <a:lnTo>
                    <a:pt x="262" y="358"/>
                  </a:lnTo>
                  <a:lnTo>
                    <a:pt x="258" y="359"/>
                  </a:lnTo>
                  <a:lnTo>
                    <a:pt x="255" y="359"/>
                  </a:lnTo>
                  <a:lnTo>
                    <a:pt x="253" y="359"/>
                  </a:lnTo>
                  <a:lnTo>
                    <a:pt x="246" y="358"/>
                  </a:lnTo>
                  <a:lnTo>
                    <a:pt x="243" y="358"/>
                  </a:lnTo>
                  <a:lnTo>
                    <a:pt x="241" y="358"/>
                  </a:lnTo>
                  <a:lnTo>
                    <a:pt x="237" y="359"/>
                  </a:lnTo>
                  <a:lnTo>
                    <a:pt x="234" y="359"/>
                  </a:lnTo>
                  <a:lnTo>
                    <a:pt x="232" y="360"/>
                  </a:lnTo>
                  <a:lnTo>
                    <a:pt x="229" y="361"/>
                  </a:lnTo>
                  <a:lnTo>
                    <a:pt x="225" y="364"/>
                  </a:lnTo>
                  <a:lnTo>
                    <a:pt x="221" y="367"/>
                  </a:lnTo>
                  <a:lnTo>
                    <a:pt x="217" y="371"/>
                  </a:lnTo>
                  <a:lnTo>
                    <a:pt x="215" y="371"/>
                  </a:lnTo>
                  <a:lnTo>
                    <a:pt x="211" y="376"/>
                  </a:lnTo>
                  <a:lnTo>
                    <a:pt x="208" y="379"/>
                  </a:lnTo>
                  <a:lnTo>
                    <a:pt x="205" y="382"/>
                  </a:lnTo>
                  <a:lnTo>
                    <a:pt x="199" y="385"/>
                  </a:lnTo>
                  <a:lnTo>
                    <a:pt x="197" y="387"/>
                  </a:lnTo>
                  <a:lnTo>
                    <a:pt x="196" y="388"/>
                  </a:lnTo>
                  <a:lnTo>
                    <a:pt x="196" y="390"/>
                  </a:lnTo>
                  <a:lnTo>
                    <a:pt x="195" y="391"/>
                  </a:lnTo>
                  <a:lnTo>
                    <a:pt x="194" y="394"/>
                  </a:lnTo>
                  <a:lnTo>
                    <a:pt x="194" y="396"/>
                  </a:lnTo>
                  <a:lnTo>
                    <a:pt x="193" y="402"/>
                  </a:lnTo>
                  <a:lnTo>
                    <a:pt x="193" y="405"/>
                  </a:lnTo>
                  <a:lnTo>
                    <a:pt x="192" y="406"/>
                  </a:lnTo>
                  <a:lnTo>
                    <a:pt x="191" y="410"/>
                  </a:lnTo>
                  <a:lnTo>
                    <a:pt x="191" y="412"/>
                  </a:lnTo>
                  <a:lnTo>
                    <a:pt x="190" y="413"/>
                  </a:lnTo>
                  <a:lnTo>
                    <a:pt x="190" y="417"/>
                  </a:lnTo>
                  <a:lnTo>
                    <a:pt x="190" y="420"/>
                  </a:lnTo>
                  <a:lnTo>
                    <a:pt x="190" y="422"/>
                  </a:lnTo>
                  <a:lnTo>
                    <a:pt x="189" y="424"/>
                  </a:lnTo>
                  <a:lnTo>
                    <a:pt x="188" y="425"/>
                  </a:lnTo>
                  <a:lnTo>
                    <a:pt x="188" y="426"/>
                  </a:lnTo>
                  <a:lnTo>
                    <a:pt x="187" y="426"/>
                  </a:lnTo>
                  <a:lnTo>
                    <a:pt x="186" y="427"/>
                  </a:lnTo>
                  <a:lnTo>
                    <a:pt x="186" y="427"/>
                  </a:lnTo>
                  <a:lnTo>
                    <a:pt x="181" y="429"/>
                  </a:lnTo>
                  <a:lnTo>
                    <a:pt x="180" y="430"/>
                  </a:lnTo>
                  <a:lnTo>
                    <a:pt x="179" y="431"/>
                  </a:lnTo>
                  <a:lnTo>
                    <a:pt x="178" y="433"/>
                  </a:lnTo>
                  <a:lnTo>
                    <a:pt x="177" y="434"/>
                  </a:lnTo>
                  <a:lnTo>
                    <a:pt x="175" y="440"/>
                  </a:lnTo>
                  <a:lnTo>
                    <a:pt x="175" y="442"/>
                  </a:lnTo>
                  <a:lnTo>
                    <a:pt x="173" y="445"/>
                  </a:lnTo>
                  <a:lnTo>
                    <a:pt x="170" y="449"/>
                  </a:lnTo>
                  <a:lnTo>
                    <a:pt x="168" y="450"/>
                  </a:lnTo>
                  <a:lnTo>
                    <a:pt x="167" y="450"/>
                  </a:lnTo>
                  <a:lnTo>
                    <a:pt x="166" y="451"/>
                  </a:lnTo>
                  <a:lnTo>
                    <a:pt x="164" y="452"/>
                  </a:lnTo>
                  <a:lnTo>
                    <a:pt x="163" y="452"/>
                  </a:lnTo>
                  <a:lnTo>
                    <a:pt x="161" y="452"/>
                  </a:lnTo>
                  <a:lnTo>
                    <a:pt x="159" y="453"/>
                  </a:lnTo>
                  <a:lnTo>
                    <a:pt x="154" y="453"/>
                  </a:lnTo>
                  <a:lnTo>
                    <a:pt x="152" y="454"/>
                  </a:lnTo>
                  <a:lnTo>
                    <a:pt x="150" y="454"/>
                  </a:lnTo>
                  <a:lnTo>
                    <a:pt x="147" y="455"/>
                  </a:lnTo>
                  <a:lnTo>
                    <a:pt x="145" y="456"/>
                  </a:lnTo>
                  <a:lnTo>
                    <a:pt x="143" y="457"/>
                  </a:lnTo>
                  <a:lnTo>
                    <a:pt x="141" y="459"/>
                  </a:lnTo>
                  <a:lnTo>
                    <a:pt x="137" y="461"/>
                  </a:lnTo>
                  <a:lnTo>
                    <a:pt x="134" y="464"/>
                  </a:lnTo>
                  <a:lnTo>
                    <a:pt x="131" y="466"/>
                  </a:lnTo>
                  <a:lnTo>
                    <a:pt x="129" y="468"/>
                  </a:lnTo>
                  <a:lnTo>
                    <a:pt x="129" y="470"/>
                  </a:lnTo>
                  <a:lnTo>
                    <a:pt x="128" y="472"/>
                  </a:lnTo>
                  <a:lnTo>
                    <a:pt x="128" y="473"/>
                  </a:lnTo>
                  <a:lnTo>
                    <a:pt x="128" y="473"/>
                  </a:lnTo>
                  <a:lnTo>
                    <a:pt x="126" y="476"/>
                  </a:lnTo>
                  <a:lnTo>
                    <a:pt x="125" y="477"/>
                  </a:lnTo>
                  <a:lnTo>
                    <a:pt x="124" y="478"/>
                  </a:lnTo>
                  <a:lnTo>
                    <a:pt x="121" y="480"/>
                  </a:lnTo>
                  <a:lnTo>
                    <a:pt x="118" y="482"/>
                  </a:lnTo>
                  <a:lnTo>
                    <a:pt x="117" y="483"/>
                  </a:lnTo>
                  <a:lnTo>
                    <a:pt x="116" y="484"/>
                  </a:lnTo>
                  <a:lnTo>
                    <a:pt x="109" y="484"/>
                  </a:lnTo>
                  <a:lnTo>
                    <a:pt x="106" y="484"/>
                  </a:lnTo>
                  <a:lnTo>
                    <a:pt x="106" y="484"/>
                  </a:lnTo>
                  <a:lnTo>
                    <a:pt x="105" y="484"/>
                  </a:lnTo>
                  <a:lnTo>
                    <a:pt x="104" y="484"/>
                  </a:lnTo>
                  <a:lnTo>
                    <a:pt x="103" y="484"/>
                  </a:lnTo>
                  <a:lnTo>
                    <a:pt x="102" y="483"/>
                  </a:lnTo>
                  <a:lnTo>
                    <a:pt x="101" y="482"/>
                  </a:lnTo>
                  <a:lnTo>
                    <a:pt x="100" y="480"/>
                  </a:lnTo>
                  <a:lnTo>
                    <a:pt x="98" y="475"/>
                  </a:lnTo>
                  <a:lnTo>
                    <a:pt x="97" y="473"/>
                  </a:lnTo>
                  <a:lnTo>
                    <a:pt x="95" y="471"/>
                  </a:lnTo>
                  <a:lnTo>
                    <a:pt x="92" y="466"/>
                  </a:lnTo>
                  <a:lnTo>
                    <a:pt x="90" y="461"/>
                  </a:lnTo>
                  <a:lnTo>
                    <a:pt x="88" y="459"/>
                  </a:lnTo>
                  <a:lnTo>
                    <a:pt x="87" y="458"/>
                  </a:lnTo>
                  <a:lnTo>
                    <a:pt x="86" y="459"/>
                  </a:lnTo>
                  <a:lnTo>
                    <a:pt x="84" y="459"/>
                  </a:lnTo>
                  <a:lnTo>
                    <a:pt x="83" y="461"/>
                  </a:lnTo>
                  <a:lnTo>
                    <a:pt x="82" y="461"/>
                  </a:lnTo>
                  <a:lnTo>
                    <a:pt x="80" y="462"/>
                  </a:lnTo>
                  <a:lnTo>
                    <a:pt x="77" y="467"/>
                  </a:lnTo>
                  <a:lnTo>
                    <a:pt x="75" y="469"/>
                  </a:lnTo>
                  <a:lnTo>
                    <a:pt x="74" y="469"/>
                  </a:lnTo>
                  <a:lnTo>
                    <a:pt x="73" y="470"/>
                  </a:lnTo>
                  <a:lnTo>
                    <a:pt x="72" y="470"/>
                  </a:lnTo>
                  <a:lnTo>
                    <a:pt x="72" y="470"/>
                  </a:lnTo>
                  <a:lnTo>
                    <a:pt x="70" y="470"/>
                  </a:lnTo>
                  <a:lnTo>
                    <a:pt x="69" y="469"/>
                  </a:lnTo>
                  <a:lnTo>
                    <a:pt x="68" y="468"/>
                  </a:lnTo>
                  <a:lnTo>
                    <a:pt x="67" y="467"/>
                  </a:lnTo>
                  <a:lnTo>
                    <a:pt x="66" y="465"/>
                  </a:lnTo>
                  <a:lnTo>
                    <a:pt x="66" y="463"/>
                  </a:lnTo>
                  <a:lnTo>
                    <a:pt x="65" y="460"/>
                  </a:lnTo>
                  <a:lnTo>
                    <a:pt x="65" y="458"/>
                  </a:lnTo>
                  <a:lnTo>
                    <a:pt x="65" y="457"/>
                  </a:lnTo>
                  <a:lnTo>
                    <a:pt x="65" y="456"/>
                  </a:lnTo>
                  <a:lnTo>
                    <a:pt x="64" y="456"/>
                  </a:lnTo>
                  <a:lnTo>
                    <a:pt x="63" y="457"/>
                  </a:lnTo>
                  <a:lnTo>
                    <a:pt x="63" y="458"/>
                  </a:lnTo>
                  <a:lnTo>
                    <a:pt x="62" y="458"/>
                  </a:lnTo>
                  <a:lnTo>
                    <a:pt x="57" y="459"/>
                  </a:lnTo>
                  <a:lnTo>
                    <a:pt x="53" y="459"/>
                  </a:lnTo>
                  <a:lnTo>
                    <a:pt x="52" y="459"/>
                  </a:lnTo>
                  <a:lnTo>
                    <a:pt x="51" y="459"/>
                  </a:lnTo>
                  <a:lnTo>
                    <a:pt x="50" y="459"/>
                  </a:lnTo>
                  <a:lnTo>
                    <a:pt x="50" y="459"/>
                  </a:lnTo>
                  <a:lnTo>
                    <a:pt x="49" y="460"/>
                  </a:lnTo>
                  <a:lnTo>
                    <a:pt x="48" y="460"/>
                  </a:lnTo>
                  <a:lnTo>
                    <a:pt x="47" y="455"/>
                  </a:lnTo>
                  <a:lnTo>
                    <a:pt x="45" y="452"/>
                  </a:lnTo>
                  <a:lnTo>
                    <a:pt x="44" y="450"/>
                  </a:lnTo>
                  <a:lnTo>
                    <a:pt x="42" y="448"/>
                  </a:lnTo>
                  <a:lnTo>
                    <a:pt x="40" y="445"/>
                  </a:lnTo>
                  <a:lnTo>
                    <a:pt x="35" y="438"/>
                  </a:lnTo>
                  <a:lnTo>
                    <a:pt x="34" y="436"/>
                  </a:lnTo>
                  <a:lnTo>
                    <a:pt x="32" y="434"/>
                  </a:lnTo>
                  <a:lnTo>
                    <a:pt x="29" y="432"/>
                  </a:lnTo>
                  <a:lnTo>
                    <a:pt x="27" y="431"/>
                  </a:lnTo>
                  <a:lnTo>
                    <a:pt x="26" y="430"/>
                  </a:lnTo>
                  <a:lnTo>
                    <a:pt x="23" y="429"/>
                  </a:lnTo>
                  <a:lnTo>
                    <a:pt x="21" y="428"/>
                  </a:lnTo>
                  <a:lnTo>
                    <a:pt x="19" y="427"/>
                  </a:lnTo>
                  <a:lnTo>
                    <a:pt x="9" y="426"/>
                  </a:lnTo>
                  <a:lnTo>
                    <a:pt x="8" y="426"/>
                  </a:lnTo>
                  <a:lnTo>
                    <a:pt x="6" y="425"/>
                  </a:lnTo>
                  <a:lnTo>
                    <a:pt x="4" y="424"/>
                  </a:lnTo>
                  <a:lnTo>
                    <a:pt x="3" y="422"/>
                  </a:lnTo>
                  <a:lnTo>
                    <a:pt x="1" y="420"/>
                  </a:lnTo>
                  <a:lnTo>
                    <a:pt x="1" y="419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6"/>
                  </a:lnTo>
                  <a:lnTo>
                    <a:pt x="2" y="415"/>
                  </a:lnTo>
                  <a:lnTo>
                    <a:pt x="3" y="413"/>
                  </a:lnTo>
                  <a:lnTo>
                    <a:pt x="4" y="412"/>
                  </a:lnTo>
                  <a:lnTo>
                    <a:pt x="5" y="411"/>
                  </a:lnTo>
                  <a:lnTo>
                    <a:pt x="6" y="411"/>
                  </a:lnTo>
                  <a:lnTo>
                    <a:pt x="8" y="410"/>
                  </a:lnTo>
                  <a:lnTo>
                    <a:pt x="10" y="409"/>
                  </a:lnTo>
                  <a:lnTo>
                    <a:pt x="12" y="409"/>
                  </a:lnTo>
                  <a:lnTo>
                    <a:pt x="13" y="408"/>
                  </a:lnTo>
                  <a:lnTo>
                    <a:pt x="15" y="408"/>
                  </a:lnTo>
                  <a:lnTo>
                    <a:pt x="19" y="409"/>
                  </a:lnTo>
                  <a:lnTo>
                    <a:pt x="22" y="409"/>
                  </a:lnTo>
                  <a:lnTo>
                    <a:pt x="27" y="410"/>
                  </a:lnTo>
                  <a:lnTo>
                    <a:pt x="27" y="410"/>
                  </a:lnTo>
                  <a:lnTo>
                    <a:pt x="28" y="410"/>
                  </a:lnTo>
                  <a:lnTo>
                    <a:pt x="30" y="409"/>
                  </a:lnTo>
                  <a:lnTo>
                    <a:pt x="31" y="408"/>
                  </a:lnTo>
                  <a:lnTo>
                    <a:pt x="31" y="406"/>
                  </a:lnTo>
                  <a:lnTo>
                    <a:pt x="31" y="405"/>
                  </a:lnTo>
                  <a:lnTo>
                    <a:pt x="31" y="403"/>
                  </a:lnTo>
                  <a:lnTo>
                    <a:pt x="29" y="397"/>
                  </a:lnTo>
                  <a:lnTo>
                    <a:pt x="29" y="396"/>
                  </a:lnTo>
                  <a:lnTo>
                    <a:pt x="29" y="394"/>
                  </a:lnTo>
                  <a:lnTo>
                    <a:pt x="29" y="393"/>
                  </a:lnTo>
                  <a:lnTo>
                    <a:pt x="30" y="393"/>
                  </a:lnTo>
                  <a:lnTo>
                    <a:pt x="30" y="391"/>
                  </a:lnTo>
                  <a:lnTo>
                    <a:pt x="33" y="388"/>
                  </a:lnTo>
                  <a:lnTo>
                    <a:pt x="33" y="387"/>
                  </a:lnTo>
                  <a:lnTo>
                    <a:pt x="34" y="386"/>
                  </a:lnTo>
                  <a:lnTo>
                    <a:pt x="34" y="384"/>
                  </a:lnTo>
                  <a:lnTo>
                    <a:pt x="34" y="382"/>
                  </a:lnTo>
                  <a:lnTo>
                    <a:pt x="34" y="381"/>
                  </a:lnTo>
                  <a:lnTo>
                    <a:pt x="34" y="379"/>
                  </a:lnTo>
                  <a:lnTo>
                    <a:pt x="33" y="374"/>
                  </a:lnTo>
                  <a:lnTo>
                    <a:pt x="32" y="368"/>
                  </a:lnTo>
                  <a:lnTo>
                    <a:pt x="30" y="363"/>
                  </a:lnTo>
                  <a:lnTo>
                    <a:pt x="29" y="359"/>
                  </a:lnTo>
                  <a:lnTo>
                    <a:pt x="25" y="348"/>
                  </a:lnTo>
                  <a:lnTo>
                    <a:pt x="23" y="345"/>
                  </a:lnTo>
                  <a:lnTo>
                    <a:pt x="19" y="337"/>
                  </a:lnTo>
                  <a:lnTo>
                    <a:pt x="17" y="335"/>
                  </a:lnTo>
                  <a:lnTo>
                    <a:pt x="14" y="328"/>
                  </a:lnTo>
                  <a:lnTo>
                    <a:pt x="13" y="326"/>
                  </a:lnTo>
                  <a:lnTo>
                    <a:pt x="12" y="325"/>
                  </a:lnTo>
                  <a:lnTo>
                    <a:pt x="12" y="323"/>
                  </a:lnTo>
                  <a:lnTo>
                    <a:pt x="11" y="322"/>
                  </a:lnTo>
                  <a:lnTo>
                    <a:pt x="11" y="321"/>
                  </a:lnTo>
                  <a:lnTo>
                    <a:pt x="11" y="319"/>
                  </a:lnTo>
                  <a:lnTo>
                    <a:pt x="12" y="317"/>
                  </a:lnTo>
                  <a:lnTo>
                    <a:pt x="12" y="315"/>
                  </a:lnTo>
                  <a:lnTo>
                    <a:pt x="13" y="314"/>
                  </a:lnTo>
                  <a:lnTo>
                    <a:pt x="13" y="314"/>
                  </a:lnTo>
                  <a:lnTo>
                    <a:pt x="14" y="314"/>
                  </a:lnTo>
                  <a:lnTo>
                    <a:pt x="15" y="314"/>
                  </a:lnTo>
                  <a:lnTo>
                    <a:pt x="16" y="314"/>
                  </a:lnTo>
                  <a:lnTo>
                    <a:pt x="17" y="314"/>
                  </a:lnTo>
                  <a:lnTo>
                    <a:pt x="19" y="314"/>
                  </a:lnTo>
                  <a:lnTo>
                    <a:pt x="20" y="314"/>
                  </a:lnTo>
                  <a:lnTo>
                    <a:pt x="21" y="313"/>
                  </a:lnTo>
                  <a:lnTo>
                    <a:pt x="22" y="312"/>
                  </a:lnTo>
                  <a:lnTo>
                    <a:pt x="23" y="311"/>
                  </a:lnTo>
                  <a:lnTo>
                    <a:pt x="24" y="309"/>
                  </a:lnTo>
                  <a:lnTo>
                    <a:pt x="26" y="305"/>
                  </a:lnTo>
                  <a:lnTo>
                    <a:pt x="27" y="303"/>
                  </a:lnTo>
                  <a:lnTo>
                    <a:pt x="27" y="302"/>
                  </a:lnTo>
                  <a:lnTo>
                    <a:pt x="29" y="300"/>
                  </a:lnTo>
                  <a:lnTo>
                    <a:pt x="31" y="298"/>
                  </a:lnTo>
                  <a:lnTo>
                    <a:pt x="34" y="295"/>
                  </a:lnTo>
                  <a:lnTo>
                    <a:pt x="36" y="294"/>
                  </a:lnTo>
                  <a:lnTo>
                    <a:pt x="41" y="291"/>
                  </a:lnTo>
                  <a:lnTo>
                    <a:pt x="42" y="290"/>
                  </a:lnTo>
                  <a:lnTo>
                    <a:pt x="44" y="289"/>
                  </a:lnTo>
                  <a:lnTo>
                    <a:pt x="46" y="287"/>
                  </a:lnTo>
                  <a:lnTo>
                    <a:pt x="50" y="281"/>
                  </a:lnTo>
                  <a:lnTo>
                    <a:pt x="52" y="277"/>
                  </a:lnTo>
                  <a:lnTo>
                    <a:pt x="56" y="273"/>
                  </a:lnTo>
                  <a:lnTo>
                    <a:pt x="61" y="268"/>
                  </a:lnTo>
                  <a:lnTo>
                    <a:pt x="64" y="263"/>
                  </a:lnTo>
                  <a:lnTo>
                    <a:pt x="66" y="262"/>
                  </a:lnTo>
                  <a:lnTo>
                    <a:pt x="67" y="260"/>
                  </a:lnTo>
                  <a:lnTo>
                    <a:pt x="70" y="259"/>
                  </a:lnTo>
                  <a:lnTo>
                    <a:pt x="72" y="258"/>
                  </a:lnTo>
                  <a:lnTo>
                    <a:pt x="73" y="257"/>
                  </a:lnTo>
                  <a:lnTo>
                    <a:pt x="75" y="257"/>
                  </a:lnTo>
                  <a:lnTo>
                    <a:pt x="77" y="256"/>
                  </a:lnTo>
                  <a:lnTo>
                    <a:pt x="80" y="255"/>
                  </a:lnTo>
                  <a:lnTo>
                    <a:pt x="82" y="255"/>
                  </a:lnTo>
                  <a:lnTo>
                    <a:pt x="84" y="255"/>
                  </a:lnTo>
                  <a:lnTo>
                    <a:pt x="85" y="255"/>
                  </a:lnTo>
                  <a:lnTo>
                    <a:pt x="87" y="255"/>
                  </a:lnTo>
                  <a:lnTo>
                    <a:pt x="89" y="256"/>
                  </a:lnTo>
                  <a:lnTo>
                    <a:pt x="92" y="257"/>
                  </a:lnTo>
                  <a:lnTo>
                    <a:pt x="99" y="262"/>
                  </a:lnTo>
                  <a:lnTo>
                    <a:pt x="102" y="264"/>
                  </a:lnTo>
                  <a:lnTo>
                    <a:pt x="104" y="264"/>
                  </a:lnTo>
                  <a:lnTo>
                    <a:pt x="105" y="265"/>
                  </a:lnTo>
                  <a:lnTo>
                    <a:pt x="106" y="265"/>
                  </a:lnTo>
                  <a:lnTo>
                    <a:pt x="107" y="265"/>
                  </a:lnTo>
                  <a:lnTo>
                    <a:pt x="109" y="265"/>
                  </a:lnTo>
                  <a:lnTo>
                    <a:pt x="110" y="265"/>
                  </a:lnTo>
                  <a:lnTo>
                    <a:pt x="112" y="264"/>
                  </a:lnTo>
                  <a:lnTo>
                    <a:pt x="113" y="263"/>
                  </a:lnTo>
                  <a:lnTo>
                    <a:pt x="114" y="263"/>
                  </a:lnTo>
                  <a:lnTo>
                    <a:pt x="116" y="261"/>
                  </a:lnTo>
                  <a:lnTo>
                    <a:pt x="118" y="260"/>
                  </a:lnTo>
                  <a:lnTo>
                    <a:pt x="119" y="258"/>
                  </a:lnTo>
                  <a:lnTo>
                    <a:pt x="120" y="257"/>
                  </a:lnTo>
                  <a:lnTo>
                    <a:pt x="121" y="257"/>
                  </a:lnTo>
                  <a:lnTo>
                    <a:pt x="122" y="254"/>
                  </a:lnTo>
                  <a:lnTo>
                    <a:pt x="128" y="245"/>
                  </a:lnTo>
                  <a:lnTo>
                    <a:pt x="130" y="238"/>
                  </a:lnTo>
                  <a:lnTo>
                    <a:pt x="132" y="236"/>
                  </a:lnTo>
                  <a:lnTo>
                    <a:pt x="133" y="235"/>
                  </a:lnTo>
                  <a:lnTo>
                    <a:pt x="134" y="234"/>
                  </a:lnTo>
                  <a:lnTo>
                    <a:pt x="136" y="232"/>
                  </a:lnTo>
                  <a:lnTo>
                    <a:pt x="138" y="230"/>
                  </a:lnTo>
                  <a:lnTo>
                    <a:pt x="142" y="227"/>
                  </a:lnTo>
                  <a:lnTo>
                    <a:pt x="145" y="225"/>
                  </a:lnTo>
                  <a:lnTo>
                    <a:pt x="147" y="223"/>
                  </a:lnTo>
                  <a:lnTo>
                    <a:pt x="148" y="222"/>
                  </a:lnTo>
                  <a:lnTo>
                    <a:pt x="149" y="220"/>
                  </a:lnTo>
                  <a:lnTo>
                    <a:pt x="150" y="217"/>
                  </a:lnTo>
                  <a:lnTo>
                    <a:pt x="150" y="214"/>
                  </a:lnTo>
                  <a:lnTo>
                    <a:pt x="150" y="211"/>
                  </a:lnTo>
                  <a:lnTo>
                    <a:pt x="150" y="209"/>
                  </a:lnTo>
                  <a:lnTo>
                    <a:pt x="151" y="205"/>
                  </a:lnTo>
                  <a:lnTo>
                    <a:pt x="152" y="202"/>
                  </a:lnTo>
                  <a:lnTo>
                    <a:pt x="152" y="201"/>
                  </a:lnTo>
                  <a:lnTo>
                    <a:pt x="153" y="199"/>
                  </a:lnTo>
                  <a:lnTo>
                    <a:pt x="155" y="197"/>
                  </a:lnTo>
                  <a:lnTo>
                    <a:pt x="159" y="191"/>
                  </a:lnTo>
                  <a:lnTo>
                    <a:pt x="160" y="190"/>
                  </a:lnTo>
                  <a:lnTo>
                    <a:pt x="161" y="189"/>
                  </a:lnTo>
                  <a:lnTo>
                    <a:pt x="162" y="187"/>
                  </a:lnTo>
                  <a:lnTo>
                    <a:pt x="162" y="186"/>
                  </a:lnTo>
                  <a:lnTo>
                    <a:pt x="162" y="182"/>
                  </a:lnTo>
                  <a:lnTo>
                    <a:pt x="162" y="179"/>
                  </a:lnTo>
                  <a:lnTo>
                    <a:pt x="162" y="178"/>
                  </a:lnTo>
                  <a:lnTo>
                    <a:pt x="163" y="175"/>
                  </a:lnTo>
                  <a:lnTo>
                    <a:pt x="163" y="172"/>
                  </a:lnTo>
                  <a:lnTo>
                    <a:pt x="163" y="170"/>
                  </a:lnTo>
                  <a:lnTo>
                    <a:pt x="163" y="167"/>
                  </a:lnTo>
                  <a:lnTo>
                    <a:pt x="162" y="167"/>
                  </a:lnTo>
                  <a:lnTo>
                    <a:pt x="160" y="161"/>
                  </a:lnTo>
                  <a:lnTo>
                    <a:pt x="159" y="158"/>
                  </a:lnTo>
                  <a:lnTo>
                    <a:pt x="159" y="156"/>
                  </a:lnTo>
                  <a:lnTo>
                    <a:pt x="159" y="155"/>
                  </a:lnTo>
                  <a:lnTo>
                    <a:pt x="159" y="153"/>
                  </a:lnTo>
                  <a:lnTo>
                    <a:pt x="159" y="152"/>
                  </a:lnTo>
                  <a:lnTo>
                    <a:pt x="160" y="150"/>
                  </a:lnTo>
                  <a:lnTo>
                    <a:pt x="161" y="149"/>
                  </a:lnTo>
                  <a:lnTo>
                    <a:pt x="162" y="148"/>
                  </a:lnTo>
                  <a:lnTo>
                    <a:pt x="164" y="147"/>
                  </a:lnTo>
                  <a:lnTo>
                    <a:pt x="166" y="146"/>
                  </a:lnTo>
                  <a:lnTo>
                    <a:pt x="169" y="146"/>
                  </a:lnTo>
                  <a:lnTo>
                    <a:pt x="171" y="145"/>
                  </a:lnTo>
                  <a:lnTo>
                    <a:pt x="180" y="145"/>
                  </a:lnTo>
                  <a:lnTo>
                    <a:pt x="186" y="144"/>
                  </a:lnTo>
                  <a:lnTo>
                    <a:pt x="189" y="144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40"/>
                  </a:lnTo>
                  <a:lnTo>
                    <a:pt x="198" y="139"/>
                  </a:lnTo>
                  <a:lnTo>
                    <a:pt x="199" y="138"/>
                  </a:lnTo>
                  <a:lnTo>
                    <a:pt x="201" y="135"/>
                  </a:lnTo>
                  <a:lnTo>
                    <a:pt x="202" y="133"/>
                  </a:lnTo>
                  <a:lnTo>
                    <a:pt x="203" y="133"/>
                  </a:lnTo>
                  <a:lnTo>
                    <a:pt x="205" y="131"/>
                  </a:lnTo>
                  <a:lnTo>
                    <a:pt x="206" y="130"/>
                  </a:lnTo>
                  <a:lnTo>
                    <a:pt x="208" y="129"/>
                  </a:lnTo>
                  <a:lnTo>
                    <a:pt x="209" y="128"/>
                  </a:lnTo>
                  <a:lnTo>
                    <a:pt x="211" y="128"/>
                  </a:lnTo>
                  <a:lnTo>
                    <a:pt x="212" y="127"/>
                  </a:lnTo>
                  <a:lnTo>
                    <a:pt x="214" y="127"/>
                  </a:lnTo>
                  <a:lnTo>
                    <a:pt x="216" y="128"/>
                  </a:lnTo>
                  <a:lnTo>
                    <a:pt x="218" y="128"/>
                  </a:lnTo>
                  <a:lnTo>
                    <a:pt x="220" y="129"/>
                  </a:lnTo>
                  <a:lnTo>
                    <a:pt x="228" y="133"/>
                  </a:lnTo>
                  <a:lnTo>
                    <a:pt x="229" y="133"/>
                  </a:lnTo>
                  <a:lnTo>
                    <a:pt x="231" y="133"/>
                  </a:lnTo>
                  <a:lnTo>
                    <a:pt x="232" y="133"/>
                  </a:lnTo>
                  <a:lnTo>
                    <a:pt x="235" y="133"/>
                  </a:lnTo>
                  <a:lnTo>
                    <a:pt x="243" y="132"/>
                  </a:lnTo>
                  <a:lnTo>
                    <a:pt x="243" y="131"/>
                  </a:lnTo>
                  <a:lnTo>
                    <a:pt x="244" y="131"/>
                  </a:lnTo>
                  <a:lnTo>
                    <a:pt x="245" y="130"/>
                  </a:lnTo>
                  <a:lnTo>
                    <a:pt x="245" y="129"/>
                  </a:lnTo>
                  <a:lnTo>
                    <a:pt x="245" y="127"/>
                  </a:lnTo>
                  <a:lnTo>
                    <a:pt x="245" y="125"/>
                  </a:lnTo>
                  <a:lnTo>
                    <a:pt x="244" y="124"/>
                  </a:lnTo>
                  <a:lnTo>
                    <a:pt x="244" y="122"/>
                  </a:lnTo>
                  <a:lnTo>
                    <a:pt x="243" y="119"/>
                  </a:lnTo>
                  <a:lnTo>
                    <a:pt x="241" y="113"/>
                  </a:lnTo>
                  <a:lnTo>
                    <a:pt x="240" y="111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06"/>
                  </a:lnTo>
                  <a:lnTo>
                    <a:pt x="240" y="103"/>
                  </a:lnTo>
                  <a:lnTo>
                    <a:pt x="241" y="101"/>
                  </a:lnTo>
                  <a:lnTo>
                    <a:pt x="241" y="99"/>
                  </a:lnTo>
                  <a:lnTo>
                    <a:pt x="242" y="95"/>
                  </a:lnTo>
                  <a:lnTo>
                    <a:pt x="243" y="92"/>
                  </a:lnTo>
                  <a:lnTo>
                    <a:pt x="245" y="88"/>
                  </a:lnTo>
                  <a:lnTo>
                    <a:pt x="252" y="76"/>
                  </a:lnTo>
                  <a:lnTo>
                    <a:pt x="253" y="76"/>
                  </a:lnTo>
                  <a:lnTo>
                    <a:pt x="253" y="75"/>
                  </a:lnTo>
                  <a:lnTo>
                    <a:pt x="256" y="78"/>
                  </a:lnTo>
                  <a:lnTo>
                    <a:pt x="262" y="81"/>
                  </a:lnTo>
                  <a:lnTo>
                    <a:pt x="266" y="84"/>
                  </a:lnTo>
                  <a:lnTo>
                    <a:pt x="270" y="86"/>
                  </a:lnTo>
                  <a:lnTo>
                    <a:pt x="274" y="87"/>
                  </a:lnTo>
                  <a:lnTo>
                    <a:pt x="277" y="89"/>
                  </a:lnTo>
                  <a:lnTo>
                    <a:pt x="279" y="90"/>
                  </a:lnTo>
                  <a:lnTo>
                    <a:pt x="282" y="90"/>
                  </a:lnTo>
                  <a:lnTo>
                    <a:pt x="283" y="90"/>
                  </a:lnTo>
                  <a:lnTo>
                    <a:pt x="285" y="90"/>
                  </a:lnTo>
                  <a:lnTo>
                    <a:pt x="287" y="89"/>
                  </a:lnTo>
                  <a:lnTo>
                    <a:pt x="288" y="89"/>
                  </a:lnTo>
                  <a:lnTo>
                    <a:pt x="292" y="87"/>
                  </a:lnTo>
                  <a:lnTo>
                    <a:pt x="299" y="85"/>
                  </a:lnTo>
                  <a:lnTo>
                    <a:pt x="306" y="81"/>
                  </a:lnTo>
                  <a:lnTo>
                    <a:pt x="310" y="79"/>
                  </a:lnTo>
                  <a:lnTo>
                    <a:pt x="311" y="79"/>
                  </a:lnTo>
                  <a:lnTo>
                    <a:pt x="312" y="78"/>
                  </a:lnTo>
                  <a:lnTo>
                    <a:pt x="316" y="78"/>
                  </a:lnTo>
                  <a:lnTo>
                    <a:pt x="320" y="78"/>
                  </a:lnTo>
                  <a:lnTo>
                    <a:pt x="323" y="78"/>
                  </a:lnTo>
                  <a:lnTo>
                    <a:pt x="328" y="79"/>
                  </a:lnTo>
                  <a:lnTo>
                    <a:pt x="332" y="80"/>
                  </a:lnTo>
                  <a:lnTo>
                    <a:pt x="336" y="81"/>
                  </a:lnTo>
                  <a:lnTo>
                    <a:pt x="343" y="83"/>
                  </a:lnTo>
                  <a:lnTo>
                    <a:pt x="350" y="85"/>
                  </a:lnTo>
                  <a:lnTo>
                    <a:pt x="360" y="88"/>
                  </a:lnTo>
                  <a:lnTo>
                    <a:pt x="363" y="88"/>
                  </a:lnTo>
                  <a:lnTo>
                    <a:pt x="366" y="89"/>
                  </a:lnTo>
                  <a:lnTo>
                    <a:pt x="368" y="89"/>
                  </a:lnTo>
                  <a:lnTo>
                    <a:pt x="372" y="89"/>
                  </a:lnTo>
                  <a:lnTo>
                    <a:pt x="377" y="89"/>
                  </a:lnTo>
                  <a:lnTo>
                    <a:pt x="380" y="88"/>
                  </a:lnTo>
                  <a:lnTo>
                    <a:pt x="384" y="88"/>
                  </a:lnTo>
                  <a:lnTo>
                    <a:pt x="389" y="87"/>
                  </a:lnTo>
                  <a:lnTo>
                    <a:pt x="392" y="87"/>
                  </a:lnTo>
                  <a:lnTo>
                    <a:pt x="396" y="86"/>
                  </a:lnTo>
                  <a:lnTo>
                    <a:pt x="402" y="84"/>
                  </a:lnTo>
                  <a:lnTo>
                    <a:pt x="411" y="81"/>
                  </a:lnTo>
                  <a:lnTo>
                    <a:pt x="414" y="79"/>
                  </a:lnTo>
                  <a:lnTo>
                    <a:pt x="416" y="78"/>
                  </a:lnTo>
                  <a:lnTo>
                    <a:pt x="419" y="77"/>
                  </a:lnTo>
                  <a:lnTo>
                    <a:pt x="421" y="76"/>
                  </a:lnTo>
                  <a:lnTo>
                    <a:pt x="422" y="75"/>
                  </a:lnTo>
                  <a:lnTo>
                    <a:pt x="423" y="74"/>
                  </a:lnTo>
                  <a:lnTo>
                    <a:pt x="424" y="72"/>
                  </a:lnTo>
                  <a:lnTo>
                    <a:pt x="425" y="71"/>
                  </a:lnTo>
                  <a:lnTo>
                    <a:pt x="425" y="69"/>
                  </a:lnTo>
                  <a:lnTo>
                    <a:pt x="425" y="67"/>
                  </a:lnTo>
                  <a:lnTo>
                    <a:pt x="425" y="65"/>
                  </a:lnTo>
                  <a:lnTo>
                    <a:pt x="424" y="64"/>
                  </a:lnTo>
                  <a:lnTo>
                    <a:pt x="421" y="55"/>
                  </a:lnTo>
                  <a:lnTo>
                    <a:pt x="419" y="52"/>
                  </a:lnTo>
                  <a:lnTo>
                    <a:pt x="419" y="50"/>
                  </a:lnTo>
                  <a:lnTo>
                    <a:pt x="418" y="48"/>
                  </a:lnTo>
                  <a:lnTo>
                    <a:pt x="418" y="43"/>
                  </a:lnTo>
                  <a:lnTo>
                    <a:pt x="418" y="41"/>
                  </a:lnTo>
                  <a:lnTo>
                    <a:pt x="418" y="39"/>
                  </a:lnTo>
                  <a:lnTo>
                    <a:pt x="419" y="37"/>
                  </a:lnTo>
                  <a:lnTo>
                    <a:pt x="419" y="34"/>
                  </a:lnTo>
                  <a:lnTo>
                    <a:pt x="420" y="32"/>
                  </a:lnTo>
                  <a:lnTo>
                    <a:pt x="421" y="31"/>
                  </a:lnTo>
                  <a:lnTo>
                    <a:pt x="422" y="30"/>
                  </a:lnTo>
                  <a:lnTo>
                    <a:pt x="423" y="29"/>
                  </a:lnTo>
                  <a:lnTo>
                    <a:pt x="424" y="29"/>
                  </a:lnTo>
                  <a:lnTo>
                    <a:pt x="425" y="28"/>
                  </a:lnTo>
                  <a:lnTo>
                    <a:pt x="431" y="27"/>
                  </a:lnTo>
                  <a:lnTo>
                    <a:pt x="433" y="27"/>
                  </a:lnTo>
                  <a:lnTo>
                    <a:pt x="436" y="27"/>
                  </a:lnTo>
                  <a:lnTo>
                    <a:pt x="437" y="27"/>
                  </a:lnTo>
                  <a:lnTo>
                    <a:pt x="438" y="27"/>
                  </a:lnTo>
                  <a:lnTo>
                    <a:pt x="444" y="29"/>
                  </a:lnTo>
                  <a:lnTo>
                    <a:pt x="447" y="30"/>
                  </a:lnTo>
                  <a:lnTo>
                    <a:pt x="448" y="30"/>
                  </a:lnTo>
                  <a:lnTo>
                    <a:pt x="449" y="28"/>
                  </a:lnTo>
                  <a:lnTo>
                    <a:pt x="450" y="28"/>
                  </a:lnTo>
                  <a:lnTo>
                    <a:pt x="451" y="28"/>
                  </a:lnTo>
                  <a:lnTo>
                    <a:pt x="452" y="27"/>
                  </a:lnTo>
                  <a:lnTo>
                    <a:pt x="453" y="28"/>
                  </a:lnTo>
                  <a:lnTo>
                    <a:pt x="457" y="28"/>
                  </a:lnTo>
                  <a:lnTo>
                    <a:pt x="458" y="28"/>
                  </a:lnTo>
                  <a:lnTo>
                    <a:pt x="459" y="27"/>
                  </a:lnTo>
                  <a:lnTo>
                    <a:pt x="460" y="25"/>
                  </a:lnTo>
                  <a:lnTo>
                    <a:pt x="462" y="23"/>
                  </a:lnTo>
                  <a:lnTo>
                    <a:pt x="465" y="18"/>
                  </a:lnTo>
                  <a:lnTo>
                    <a:pt x="466" y="18"/>
                  </a:lnTo>
                  <a:lnTo>
                    <a:pt x="467" y="16"/>
                  </a:lnTo>
                  <a:lnTo>
                    <a:pt x="471" y="12"/>
                  </a:lnTo>
                  <a:lnTo>
                    <a:pt x="478" y="7"/>
                  </a:lnTo>
                  <a:lnTo>
                    <a:pt x="481" y="5"/>
                  </a:lnTo>
                  <a:lnTo>
                    <a:pt x="486" y="1"/>
                  </a:lnTo>
                  <a:lnTo>
                    <a:pt x="487" y="0"/>
                  </a:lnTo>
                  <a:lnTo>
                    <a:pt x="488" y="2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2" name="Freeform 39">
              <a:extLst>
                <a:ext uri="{FF2B5EF4-FFF2-40B4-BE49-F238E27FC236}">
                  <a16:creationId xmlns:a16="http://schemas.microsoft.com/office/drawing/2014/main" id="{DDC2B71A-D63C-45D8-B225-E3B22C82B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8" y="1371"/>
              <a:ext cx="316" cy="354"/>
            </a:xfrm>
            <a:custGeom>
              <a:avLst/>
              <a:gdLst>
                <a:gd name="T0" fmla="*/ 157 w 316"/>
                <a:gd name="T1" fmla="*/ 2 h 354"/>
                <a:gd name="T2" fmla="*/ 168 w 316"/>
                <a:gd name="T3" fmla="*/ 3 h 354"/>
                <a:gd name="T4" fmla="*/ 172 w 316"/>
                <a:gd name="T5" fmla="*/ 7 h 354"/>
                <a:gd name="T6" fmla="*/ 191 w 316"/>
                <a:gd name="T7" fmla="*/ 28 h 354"/>
                <a:gd name="T8" fmla="*/ 199 w 316"/>
                <a:gd name="T9" fmla="*/ 42 h 354"/>
                <a:gd name="T10" fmla="*/ 197 w 316"/>
                <a:gd name="T11" fmla="*/ 62 h 354"/>
                <a:gd name="T12" fmla="*/ 198 w 316"/>
                <a:gd name="T13" fmla="*/ 71 h 354"/>
                <a:gd name="T14" fmla="*/ 217 w 316"/>
                <a:gd name="T15" fmla="*/ 98 h 354"/>
                <a:gd name="T16" fmla="*/ 226 w 316"/>
                <a:gd name="T17" fmla="*/ 125 h 354"/>
                <a:gd name="T18" fmla="*/ 238 w 316"/>
                <a:gd name="T19" fmla="*/ 141 h 354"/>
                <a:gd name="T20" fmla="*/ 249 w 316"/>
                <a:gd name="T21" fmla="*/ 158 h 354"/>
                <a:gd name="T22" fmla="*/ 252 w 316"/>
                <a:gd name="T23" fmla="*/ 169 h 354"/>
                <a:gd name="T24" fmla="*/ 246 w 316"/>
                <a:gd name="T25" fmla="*/ 188 h 354"/>
                <a:gd name="T26" fmla="*/ 249 w 316"/>
                <a:gd name="T27" fmla="*/ 193 h 354"/>
                <a:gd name="T28" fmla="*/ 279 w 316"/>
                <a:gd name="T29" fmla="*/ 205 h 354"/>
                <a:gd name="T30" fmla="*/ 290 w 316"/>
                <a:gd name="T31" fmla="*/ 215 h 354"/>
                <a:gd name="T32" fmla="*/ 295 w 316"/>
                <a:gd name="T33" fmla="*/ 234 h 354"/>
                <a:gd name="T34" fmla="*/ 301 w 316"/>
                <a:gd name="T35" fmla="*/ 257 h 354"/>
                <a:gd name="T36" fmla="*/ 308 w 316"/>
                <a:gd name="T37" fmla="*/ 272 h 354"/>
                <a:gd name="T38" fmla="*/ 313 w 316"/>
                <a:gd name="T39" fmla="*/ 292 h 354"/>
                <a:gd name="T40" fmla="*/ 311 w 316"/>
                <a:gd name="T41" fmla="*/ 296 h 354"/>
                <a:gd name="T42" fmla="*/ 309 w 316"/>
                <a:gd name="T43" fmla="*/ 312 h 354"/>
                <a:gd name="T44" fmla="*/ 316 w 316"/>
                <a:gd name="T45" fmla="*/ 331 h 354"/>
                <a:gd name="T46" fmla="*/ 312 w 316"/>
                <a:gd name="T47" fmla="*/ 340 h 354"/>
                <a:gd name="T48" fmla="*/ 287 w 316"/>
                <a:gd name="T49" fmla="*/ 350 h 354"/>
                <a:gd name="T50" fmla="*/ 263 w 316"/>
                <a:gd name="T51" fmla="*/ 353 h 354"/>
                <a:gd name="T52" fmla="*/ 234 w 316"/>
                <a:gd name="T53" fmla="*/ 347 h 354"/>
                <a:gd name="T54" fmla="*/ 207 w 316"/>
                <a:gd name="T55" fmla="*/ 342 h 354"/>
                <a:gd name="T56" fmla="*/ 183 w 316"/>
                <a:gd name="T57" fmla="*/ 351 h 354"/>
                <a:gd name="T58" fmla="*/ 170 w 316"/>
                <a:gd name="T59" fmla="*/ 354 h 354"/>
                <a:gd name="T60" fmla="*/ 147 w 316"/>
                <a:gd name="T61" fmla="*/ 342 h 354"/>
                <a:gd name="T62" fmla="*/ 145 w 316"/>
                <a:gd name="T63" fmla="*/ 326 h 354"/>
                <a:gd name="T64" fmla="*/ 139 w 316"/>
                <a:gd name="T65" fmla="*/ 303 h 354"/>
                <a:gd name="T66" fmla="*/ 139 w 316"/>
                <a:gd name="T67" fmla="*/ 280 h 354"/>
                <a:gd name="T68" fmla="*/ 134 w 316"/>
                <a:gd name="T69" fmla="*/ 270 h 354"/>
                <a:gd name="T70" fmla="*/ 115 w 316"/>
                <a:gd name="T71" fmla="*/ 242 h 354"/>
                <a:gd name="T72" fmla="*/ 108 w 316"/>
                <a:gd name="T73" fmla="*/ 230 h 354"/>
                <a:gd name="T74" fmla="*/ 96 w 316"/>
                <a:gd name="T75" fmla="*/ 206 h 354"/>
                <a:gd name="T76" fmla="*/ 80 w 316"/>
                <a:gd name="T77" fmla="*/ 193 h 354"/>
                <a:gd name="T78" fmla="*/ 69 w 316"/>
                <a:gd name="T79" fmla="*/ 183 h 354"/>
                <a:gd name="T80" fmla="*/ 57 w 316"/>
                <a:gd name="T81" fmla="*/ 181 h 354"/>
                <a:gd name="T82" fmla="*/ 54 w 316"/>
                <a:gd name="T83" fmla="*/ 173 h 354"/>
                <a:gd name="T84" fmla="*/ 54 w 316"/>
                <a:gd name="T85" fmla="*/ 159 h 354"/>
                <a:gd name="T86" fmla="*/ 49 w 316"/>
                <a:gd name="T87" fmla="*/ 156 h 354"/>
                <a:gd name="T88" fmla="*/ 32 w 316"/>
                <a:gd name="T89" fmla="*/ 159 h 354"/>
                <a:gd name="T90" fmla="*/ 19 w 316"/>
                <a:gd name="T91" fmla="*/ 151 h 354"/>
                <a:gd name="T92" fmla="*/ 7 w 316"/>
                <a:gd name="T93" fmla="*/ 136 h 354"/>
                <a:gd name="T94" fmla="*/ 1 w 316"/>
                <a:gd name="T95" fmla="*/ 120 h 354"/>
                <a:gd name="T96" fmla="*/ 0 w 316"/>
                <a:gd name="T97" fmla="*/ 112 h 354"/>
                <a:gd name="T98" fmla="*/ 8 w 316"/>
                <a:gd name="T99" fmla="*/ 89 h 354"/>
                <a:gd name="T100" fmla="*/ 11 w 316"/>
                <a:gd name="T101" fmla="*/ 79 h 354"/>
                <a:gd name="T102" fmla="*/ 18 w 316"/>
                <a:gd name="T103" fmla="*/ 81 h 354"/>
                <a:gd name="T104" fmla="*/ 36 w 316"/>
                <a:gd name="T105" fmla="*/ 104 h 354"/>
                <a:gd name="T106" fmla="*/ 51 w 316"/>
                <a:gd name="T107" fmla="*/ 119 h 354"/>
                <a:gd name="T108" fmla="*/ 67 w 316"/>
                <a:gd name="T109" fmla="*/ 125 h 354"/>
                <a:gd name="T110" fmla="*/ 77 w 316"/>
                <a:gd name="T111" fmla="*/ 125 h 354"/>
                <a:gd name="T112" fmla="*/ 96 w 316"/>
                <a:gd name="T113" fmla="*/ 108 h 354"/>
                <a:gd name="T114" fmla="*/ 119 w 316"/>
                <a:gd name="T115" fmla="*/ 81 h 354"/>
                <a:gd name="T116" fmla="*/ 122 w 316"/>
                <a:gd name="T117" fmla="*/ 66 h 354"/>
                <a:gd name="T118" fmla="*/ 132 w 316"/>
                <a:gd name="T119" fmla="*/ 48 h 354"/>
                <a:gd name="T120" fmla="*/ 133 w 316"/>
                <a:gd name="T121" fmla="*/ 25 h 354"/>
                <a:gd name="T122" fmla="*/ 134 w 316"/>
                <a:gd name="T123" fmla="*/ 13 h 354"/>
                <a:gd name="T124" fmla="*/ 145 w 316"/>
                <a:gd name="T125" fmla="*/ 1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6" h="354">
                  <a:moveTo>
                    <a:pt x="148" y="0"/>
                  </a:moveTo>
                  <a:lnTo>
                    <a:pt x="150" y="0"/>
                  </a:lnTo>
                  <a:lnTo>
                    <a:pt x="154" y="2"/>
                  </a:lnTo>
                  <a:lnTo>
                    <a:pt x="155" y="2"/>
                  </a:lnTo>
                  <a:lnTo>
                    <a:pt x="156" y="2"/>
                  </a:lnTo>
                  <a:lnTo>
                    <a:pt x="157" y="2"/>
                  </a:lnTo>
                  <a:lnTo>
                    <a:pt x="159" y="2"/>
                  </a:lnTo>
                  <a:lnTo>
                    <a:pt x="160" y="2"/>
                  </a:lnTo>
                  <a:lnTo>
                    <a:pt x="161" y="2"/>
                  </a:lnTo>
                  <a:lnTo>
                    <a:pt x="163" y="2"/>
                  </a:lnTo>
                  <a:lnTo>
                    <a:pt x="165" y="3"/>
                  </a:lnTo>
                  <a:lnTo>
                    <a:pt x="168" y="3"/>
                  </a:lnTo>
                  <a:lnTo>
                    <a:pt x="170" y="2"/>
                  </a:lnTo>
                  <a:lnTo>
                    <a:pt x="170" y="3"/>
                  </a:lnTo>
                  <a:lnTo>
                    <a:pt x="170" y="3"/>
                  </a:lnTo>
                  <a:lnTo>
                    <a:pt x="170" y="4"/>
                  </a:lnTo>
                  <a:lnTo>
                    <a:pt x="171" y="6"/>
                  </a:lnTo>
                  <a:lnTo>
                    <a:pt x="172" y="7"/>
                  </a:lnTo>
                  <a:lnTo>
                    <a:pt x="175" y="10"/>
                  </a:lnTo>
                  <a:lnTo>
                    <a:pt x="182" y="16"/>
                  </a:lnTo>
                  <a:lnTo>
                    <a:pt x="184" y="18"/>
                  </a:lnTo>
                  <a:lnTo>
                    <a:pt x="185" y="20"/>
                  </a:lnTo>
                  <a:lnTo>
                    <a:pt x="188" y="23"/>
                  </a:lnTo>
                  <a:lnTo>
                    <a:pt x="191" y="28"/>
                  </a:lnTo>
                  <a:lnTo>
                    <a:pt x="194" y="31"/>
                  </a:lnTo>
                  <a:lnTo>
                    <a:pt x="196" y="33"/>
                  </a:lnTo>
                  <a:lnTo>
                    <a:pt x="198" y="36"/>
                  </a:lnTo>
                  <a:lnTo>
                    <a:pt x="198" y="37"/>
                  </a:lnTo>
                  <a:lnTo>
                    <a:pt x="199" y="39"/>
                  </a:lnTo>
                  <a:lnTo>
                    <a:pt x="199" y="42"/>
                  </a:lnTo>
                  <a:lnTo>
                    <a:pt x="198" y="45"/>
                  </a:lnTo>
                  <a:lnTo>
                    <a:pt x="199" y="50"/>
                  </a:lnTo>
                  <a:lnTo>
                    <a:pt x="199" y="52"/>
                  </a:lnTo>
                  <a:lnTo>
                    <a:pt x="198" y="55"/>
                  </a:lnTo>
                  <a:lnTo>
                    <a:pt x="197" y="59"/>
                  </a:lnTo>
                  <a:lnTo>
                    <a:pt x="197" y="62"/>
                  </a:lnTo>
                  <a:lnTo>
                    <a:pt x="196" y="64"/>
                  </a:lnTo>
                  <a:lnTo>
                    <a:pt x="196" y="66"/>
                  </a:lnTo>
                  <a:lnTo>
                    <a:pt x="196" y="67"/>
                  </a:lnTo>
                  <a:lnTo>
                    <a:pt x="197" y="68"/>
                  </a:lnTo>
                  <a:lnTo>
                    <a:pt x="197" y="70"/>
                  </a:lnTo>
                  <a:lnTo>
                    <a:pt x="198" y="71"/>
                  </a:lnTo>
                  <a:lnTo>
                    <a:pt x="199" y="73"/>
                  </a:lnTo>
                  <a:lnTo>
                    <a:pt x="200" y="76"/>
                  </a:lnTo>
                  <a:lnTo>
                    <a:pt x="210" y="87"/>
                  </a:lnTo>
                  <a:lnTo>
                    <a:pt x="212" y="90"/>
                  </a:lnTo>
                  <a:lnTo>
                    <a:pt x="213" y="91"/>
                  </a:lnTo>
                  <a:lnTo>
                    <a:pt x="217" y="98"/>
                  </a:lnTo>
                  <a:lnTo>
                    <a:pt x="225" y="112"/>
                  </a:lnTo>
                  <a:lnTo>
                    <a:pt x="225" y="113"/>
                  </a:lnTo>
                  <a:lnTo>
                    <a:pt x="225" y="115"/>
                  </a:lnTo>
                  <a:lnTo>
                    <a:pt x="226" y="117"/>
                  </a:lnTo>
                  <a:lnTo>
                    <a:pt x="226" y="122"/>
                  </a:lnTo>
                  <a:lnTo>
                    <a:pt x="226" y="125"/>
                  </a:lnTo>
                  <a:lnTo>
                    <a:pt x="227" y="127"/>
                  </a:lnTo>
                  <a:lnTo>
                    <a:pt x="228" y="129"/>
                  </a:lnTo>
                  <a:lnTo>
                    <a:pt x="230" y="131"/>
                  </a:lnTo>
                  <a:lnTo>
                    <a:pt x="231" y="133"/>
                  </a:lnTo>
                  <a:lnTo>
                    <a:pt x="236" y="138"/>
                  </a:lnTo>
                  <a:lnTo>
                    <a:pt x="238" y="141"/>
                  </a:lnTo>
                  <a:lnTo>
                    <a:pt x="240" y="144"/>
                  </a:lnTo>
                  <a:lnTo>
                    <a:pt x="244" y="149"/>
                  </a:lnTo>
                  <a:lnTo>
                    <a:pt x="245" y="151"/>
                  </a:lnTo>
                  <a:lnTo>
                    <a:pt x="246" y="153"/>
                  </a:lnTo>
                  <a:lnTo>
                    <a:pt x="248" y="156"/>
                  </a:lnTo>
                  <a:lnTo>
                    <a:pt x="249" y="158"/>
                  </a:lnTo>
                  <a:lnTo>
                    <a:pt x="251" y="159"/>
                  </a:lnTo>
                  <a:lnTo>
                    <a:pt x="252" y="161"/>
                  </a:lnTo>
                  <a:lnTo>
                    <a:pt x="252" y="163"/>
                  </a:lnTo>
                  <a:lnTo>
                    <a:pt x="253" y="165"/>
                  </a:lnTo>
                  <a:lnTo>
                    <a:pt x="253" y="166"/>
                  </a:lnTo>
                  <a:lnTo>
                    <a:pt x="252" y="169"/>
                  </a:lnTo>
                  <a:lnTo>
                    <a:pt x="252" y="170"/>
                  </a:lnTo>
                  <a:lnTo>
                    <a:pt x="251" y="171"/>
                  </a:lnTo>
                  <a:lnTo>
                    <a:pt x="249" y="177"/>
                  </a:lnTo>
                  <a:lnTo>
                    <a:pt x="247" y="185"/>
                  </a:lnTo>
                  <a:lnTo>
                    <a:pt x="247" y="187"/>
                  </a:lnTo>
                  <a:lnTo>
                    <a:pt x="246" y="188"/>
                  </a:lnTo>
                  <a:lnTo>
                    <a:pt x="247" y="189"/>
                  </a:lnTo>
                  <a:lnTo>
                    <a:pt x="247" y="191"/>
                  </a:lnTo>
                  <a:lnTo>
                    <a:pt x="248" y="192"/>
                  </a:lnTo>
                  <a:lnTo>
                    <a:pt x="248" y="193"/>
                  </a:lnTo>
                  <a:lnTo>
                    <a:pt x="248" y="193"/>
                  </a:lnTo>
                  <a:lnTo>
                    <a:pt x="249" y="193"/>
                  </a:lnTo>
                  <a:lnTo>
                    <a:pt x="260" y="199"/>
                  </a:lnTo>
                  <a:lnTo>
                    <a:pt x="262" y="201"/>
                  </a:lnTo>
                  <a:lnTo>
                    <a:pt x="264" y="202"/>
                  </a:lnTo>
                  <a:lnTo>
                    <a:pt x="268" y="203"/>
                  </a:lnTo>
                  <a:lnTo>
                    <a:pt x="274" y="204"/>
                  </a:lnTo>
                  <a:lnTo>
                    <a:pt x="279" y="205"/>
                  </a:lnTo>
                  <a:lnTo>
                    <a:pt x="281" y="206"/>
                  </a:lnTo>
                  <a:lnTo>
                    <a:pt x="282" y="207"/>
                  </a:lnTo>
                  <a:lnTo>
                    <a:pt x="283" y="208"/>
                  </a:lnTo>
                  <a:lnTo>
                    <a:pt x="285" y="210"/>
                  </a:lnTo>
                  <a:lnTo>
                    <a:pt x="288" y="213"/>
                  </a:lnTo>
                  <a:lnTo>
                    <a:pt x="290" y="215"/>
                  </a:lnTo>
                  <a:lnTo>
                    <a:pt x="291" y="217"/>
                  </a:lnTo>
                  <a:lnTo>
                    <a:pt x="293" y="224"/>
                  </a:lnTo>
                  <a:lnTo>
                    <a:pt x="294" y="226"/>
                  </a:lnTo>
                  <a:lnTo>
                    <a:pt x="294" y="229"/>
                  </a:lnTo>
                  <a:lnTo>
                    <a:pt x="295" y="231"/>
                  </a:lnTo>
                  <a:lnTo>
                    <a:pt x="295" y="234"/>
                  </a:lnTo>
                  <a:lnTo>
                    <a:pt x="294" y="245"/>
                  </a:lnTo>
                  <a:lnTo>
                    <a:pt x="295" y="247"/>
                  </a:lnTo>
                  <a:lnTo>
                    <a:pt x="295" y="249"/>
                  </a:lnTo>
                  <a:lnTo>
                    <a:pt x="296" y="250"/>
                  </a:lnTo>
                  <a:lnTo>
                    <a:pt x="297" y="253"/>
                  </a:lnTo>
                  <a:lnTo>
                    <a:pt x="301" y="257"/>
                  </a:lnTo>
                  <a:lnTo>
                    <a:pt x="305" y="263"/>
                  </a:lnTo>
                  <a:lnTo>
                    <a:pt x="306" y="264"/>
                  </a:lnTo>
                  <a:lnTo>
                    <a:pt x="307" y="266"/>
                  </a:lnTo>
                  <a:lnTo>
                    <a:pt x="307" y="268"/>
                  </a:lnTo>
                  <a:lnTo>
                    <a:pt x="308" y="271"/>
                  </a:lnTo>
                  <a:lnTo>
                    <a:pt x="308" y="272"/>
                  </a:lnTo>
                  <a:lnTo>
                    <a:pt x="309" y="279"/>
                  </a:lnTo>
                  <a:lnTo>
                    <a:pt x="309" y="282"/>
                  </a:lnTo>
                  <a:lnTo>
                    <a:pt x="310" y="284"/>
                  </a:lnTo>
                  <a:lnTo>
                    <a:pt x="311" y="287"/>
                  </a:lnTo>
                  <a:lnTo>
                    <a:pt x="312" y="290"/>
                  </a:lnTo>
                  <a:lnTo>
                    <a:pt x="313" y="292"/>
                  </a:lnTo>
                  <a:lnTo>
                    <a:pt x="314" y="293"/>
                  </a:lnTo>
                  <a:lnTo>
                    <a:pt x="314" y="293"/>
                  </a:lnTo>
                  <a:lnTo>
                    <a:pt x="314" y="293"/>
                  </a:lnTo>
                  <a:lnTo>
                    <a:pt x="313" y="294"/>
                  </a:lnTo>
                  <a:lnTo>
                    <a:pt x="312" y="295"/>
                  </a:lnTo>
                  <a:lnTo>
                    <a:pt x="311" y="296"/>
                  </a:lnTo>
                  <a:lnTo>
                    <a:pt x="310" y="298"/>
                  </a:lnTo>
                  <a:lnTo>
                    <a:pt x="310" y="301"/>
                  </a:lnTo>
                  <a:lnTo>
                    <a:pt x="309" y="303"/>
                  </a:lnTo>
                  <a:lnTo>
                    <a:pt x="309" y="305"/>
                  </a:lnTo>
                  <a:lnTo>
                    <a:pt x="309" y="307"/>
                  </a:lnTo>
                  <a:lnTo>
                    <a:pt x="309" y="312"/>
                  </a:lnTo>
                  <a:lnTo>
                    <a:pt x="310" y="314"/>
                  </a:lnTo>
                  <a:lnTo>
                    <a:pt x="310" y="316"/>
                  </a:lnTo>
                  <a:lnTo>
                    <a:pt x="312" y="319"/>
                  </a:lnTo>
                  <a:lnTo>
                    <a:pt x="315" y="328"/>
                  </a:lnTo>
                  <a:lnTo>
                    <a:pt x="316" y="329"/>
                  </a:lnTo>
                  <a:lnTo>
                    <a:pt x="316" y="331"/>
                  </a:lnTo>
                  <a:lnTo>
                    <a:pt x="316" y="333"/>
                  </a:lnTo>
                  <a:lnTo>
                    <a:pt x="316" y="335"/>
                  </a:lnTo>
                  <a:lnTo>
                    <a:pt x="315" y="336"/>
                  </a:lnTo>
                  <a:lnTo>
                    <a:pt x="314" y="338"/>
                  </a:lnTo>
                  <a:lnTo>
                    <a:pt x="313" y="339"/>
                  </a:lnTo>
                  <a:lnTo>
                    <a:pt x="312" y="340"/>
                  </a:lnTo>
                  <a:lnTo>
                    <a:pt x="310" y="341"/>
                  </a:lnTo>
                  <a:lnTo>
                    <a:pt x="307" y="342"/>
                  </a:lnTo>
                  <a:lnTo>
                    <a:pt x="305" y="343"/>
                  </a:lnTo>
                  <a:lnTo>
                    <a:pt x="302" y="345"/>
                  </a:lnTo>
                  <a:lnTo>
                    <a:pt x="293" y="348"/>
                  </a:lnTo>
                  <a:lnTo>
                    <a:pt x="287" y="350"/>
                  </a:lnTo>
                  <a:lnTo>
                    <a:pt x="283" y="351"/>
                  </a:lnTo>
                  <a:lnTo>
                    <a:pt x="280" y="351"/>
                  </a:lnTo>
                  <a:lnTo>
                    <a:pt x="275" y="352"/>
                  </a:lnTo>
                  <a:lnTo>
                    <a:pt x="271" y="352"/>
                  </a:lnTo>
                  <a:lnTo>
                    <a:pt x="268" y="353"/>
                  </a:lnTo>
                  <a:lnTo>
                    <a:pt x="263" y="353"/>
                  </a:lnTo>
                  <a:lnTo>
                    <a:pt x="259" y="353"/>
                  </a:lnTo>
                  <a:lnTo>
                    <a:pt x="257" y="353"/>
                  </a:lnTo>
                  <a:lnTo>
                    <a:pt x="254" y="352"/>
                  </a:lnTo>
                  <a:lnTo>
                    <a:pt x="251" y="352"/>
                  </a:lnTo>
                  <a:lnTo>
                    <a:pt x="241" y="349"/>
                  </a:lnTo>
                  <a:lnTo>
                    <a:pt x="234" y="347"/>
                  </a:lnTo>
                  <a:lnTo>
                    <a:pt x="227" y="345"/>
                  </a:lnTo>
                  <a:lnTo>
                    <a:pt x="223" y="344"/>
                  </a:lnTo>
                  <a:lnTo>
                    <a:pt x="219" y="343"/>
                  </a:lnTo>
                  <a:lnTo>
                    <a:pt x="214" y="342"/>
                  </a:lnTo>
                  <a:lnTo>
                    <a:pt x="211" y="342"/>
                  </a:lnTo>
                  <a:lnTo>
                    <a:pt x="207" y="342"/>
                  </a:lnTo>
                  <a:lnTo>
                    <a:pt x="203" y="342"/>
                  </a:lnTo>
                  <a:lnTo>
                    <a:pt x="202" y="343"/>
                  </a:lnTo>
                  <a:lnTo>
                    <a:pt x="201" y="343"/>
                  </a:lnTo>
                  <a:lnTo>
                    <a:pt x="197" y="345"/>
                  </a:lnTo>
                  <a:lnTo>
                    <a:pt x="190" y="349"/>
                  </a:lnTo>
                  <a:lnTo>
                    <a:pt x="183" y="351"/>
                  </a:lnTo>
                  <a:lnTo>
                    <a:pt x="179" y="353"/>
                  </a:lnTo>
                  <a:lnTo>
                    <a:pt x="178" y="353"/>
                  </a:lnTo>
                  <a:lnTo>
                    <a:pt x="176" y="354"/>
                  </a:lnTo>
                  <a:lnTo>
                    <a:pt x="174" y="354"/>
                  </a:lnTo>
                  <a:lnTo>
                    <a:pt x="173" y="354"/>
                  </a:lnTo>
                  <a:lnTo>
                    <a:pt x="170" y="354"/>
                  </a:lnTo>
                  <a:lnTo>
                    <a:pt x="168" y="353"/>
                  </a:lnTo>
                  <a:lnTo>
                    <a:pt x="165" y="351"/>
                  </a:lnTo>
                  <a:lnTo>
                    <a:pt x="161" y="350"/>
                  </a:lnTo>
                  <a:lnTo>
                    <a:pt x="157" y="348"/>
                  </a:lnTo>
                  <a:lnTo>
                    <a:pt x="153" y="345"/>
                  </a:lnTo>
                  <a:lnTo>
                    <a:pt x="147" y="342"/>
                  </a:lnTo>
                  <a:lnTo>
                    <a:pt x="144" y="339"/>
                  </a:lnTo>
                  <a:lnTo>
                    <a:pt x="144" y="339"/>
                  </a:lnTo>
                  <a:lnTo>
                    <a:pt x="145" y="337"/>
                  </a:lnTo>
                  <a:lnTo>
                    <a:pt x="145" y="333"/>
                  </a:lnTo>
                  <a:lnTo>
                    <a:pt x="145" y="329"/>
                  </a:lnTo>
                  <a:lnTo>
                    <a:pt x="145" y="326"/>
                  </a:lnTo>
                  <a:lnTo>
                    <a:pt x="145" y="322"/>
                  </a:lnTo>
                  <a:lnTo>
                    <a:pt x="144" y="318"/>
                  </a:lnTo>
                  <a:lnTo>
                    <a:pt x="143" y="316"/>
                  </a:lnTo>
                  <a:lnTo>
                    <a:pt x="141" y="309"/>
                  </a:lnTo>
                  <a:lnTo>
                    <a:pt x="140" y="306"/>
                  </a:lnTo>
                  <a:lnTo>
                    <a:pt x="139" y="303"/>
                  </a:lnTo>
                  <a:lnTo>
                    <a:pt x="138" y="299"/>
                  </a:lnTo>
                  <a:lnTo>
                    <a:pt x="138" y="296"/>
                  </a:lnTo>
                  <a:lnTo>
                    <a:pt x="138" y="295"/>
                  </a:lnTo>
                  <a:lnTo>
                    <a:pt x="139" y="286"/>
                  </a:lnTo>
                  <a:lnTo>
                    <a:pt x="139" y="283"/>
                  </a:lnTo>
                  <a:lnTo>
                    <a:pt x="139" y="280"/>
                  </a:lnTo>
                  <a:lnTo>
                    <a:pt x="139" y="279"/>
                  </a:lnTo>
                  <a:lnTo>
                    <a:pt x="138" y="277"/>
                  </a:lnTo>
                  <a:lnTo>
                    <a:pt x="138" y="275"/>
                  </a:lnTo>
                  <a:lnTo>
                    <a:pt x="137" y="274"/>
                  </a:lnTo>
                  <a:lnTo>
                    <a:pt x="135" y="272"/>
                  </a:lnTo>
                  <a:lnTo>
                    <a:pt x="134" y="270"/>
                  </a:lnTo>
                  <a:lnTo>
                    <a:pt x="129" y="265"/>
                  </a:lnTo>
                  <a:lnTo>
                    <a:pt x="127" y="262"/>
                  </a:lnTo>
                  <a:lnTo>
                    <a:pt x="124" y="260"/>
                  </a:lnTo>
                  <a:lnTo>
                    <a:pt x="122" y="255"/>
                  </a:lnTo>
                  <a:lnTo>
                    <a:pt x="117" y="247"/>
                  </a:lnTo>
                  <a:lnTo>
                    <a:pt x="115" y="242"/>
                  </a:lnTo>
                  <a:lnTo>
                    <a:pt x="114" y="241"/>
                  </a:lnTo>
                  <a:lnTo>
                    <a:pt x="113" y="239"/>
                  </a:lnTo>
                  <a:lnTo>
                    <a:pt x="111" y="237"/>
                  </a:lnTo>
                  <a:lnTo>
                    <a:pt x="110" y="236"/>
                  </a:lnTo>
                  <a:lnTo>
                    <a:pt x="109" y="234"/>
                  </a:lnTo>
                  <a:lnTo>
                    <a:pt x="108" y="230"/>
                  </a:lnTo>
                  <a:lnTo>
                    <a:pt x="105" y="223"/>
                  </a:lnTo>
                  <a:lnTo>
                    <a:pt x="103" y="219"/>
                  </a:lnTo>
                  <a:lnTo>
                    <a:pt x="102" y="215"/>
                  </a:lnTo>
                  <a:lnTo>
                    <a:pt x="100" y="213"/>
                  </a:lnTo>
                  <a:lnTo>
                    <a:pt x="98" y="208"/>
                  </a:lnTo>
                  <a:lnTo>
                    <a:pt x="96" y="206"/>
                  </a:lnTo>
                  <a:lnTo>
                    <a:pt x="95" y="205"/>
                  </a:lnTo>
                  <a:lnTo>
                    <a:pt x="93" y="204"/>
                  </a:lnTo>
                  <a:lnTo>
                    <a:pt x="88" y="200"/>
                  </a:lnTo>
                  <a:lnTo>
                    <a:pt x="87" y="198"/>
                  </a:lnTo>
                  <a:lnTo>
                    <a:pt x="85" y="197"/>
                  </a:lnTo>
                  <a:lnTo>
                    <a:pt x="80" y="193"/>
                  </a:lnTo>
                  <a:lnTo>
                    <a:pt x="77" y="188"/>
                  </a:lnTo>
                  <a:lnTo>
                    <a:pt x="75" y="186"/>
                  </a:lnTo>
                  <a:lnTo>
                    <a:pt x="73" y="185"/>
                  </a:lnTo>
                  <a:lnTo>
                    <a:pt x="72" y="184"/>
                  </a:lnTo>
                  <a:lnTo>
                    <a:pt x="71" y="183"/>
                  </a:lnTo>
                  <a:lnTo>
                    <a:pt x="69" y="183"/>
                  </a:lnTo>
                  <a:lnTo>
                    <a:pt x="67" y="182"/>
                  </a:lnTo>
                  <a:lnTo>
                    <a:pt x="65" y="182"/>
                  </a:lnTo>
                  <a:lnTo>
                    <a:pt x="60" y="181"/>
                  </a:lnTo>
                  <a:lnTo>
                    <a:pt x="58" y="181"/>
                  </a:lnTo>
                  <a:lnTo>
                    <a:pt x="57" y="181"/>
                  </a:lnTo>
                  <a:lnTo>
                    <a:pt x="57" y="181"/>
                  </a:lnTo>
                  <a:lnTo>
                    <a:pt x="55" y="180"/>
                  </a:lnTo>
                  <a:lnTo>
                    <a:pt x="54" y="179"/>
                  </a:lnTo>
                  <a:lnTo>
                    <a:pt x="54" y="178"/>
                  </a:lnTo>
                  <a:lnTo>
                    <a:pt x="54" y="176"/>
                  </a:lnTo>
                  <a:lnTo>
                    <a:pt x="54" y="174"/>
                  </a:lnTo>
                  <a:lnTo>
                    <a:pt x="54" y="173"/>
                  </a:lnTo>
                  <a:lnTo>
                    <a:pt x="54" y="171"/>
                  </a:lnTo>
                  <a:lnTo>
                    <a:pt x="55" y="166"/>
                  </a:lnTo>
                  <a:lnTo>
                    <a:pt x="55" y="164"/>
                  </a:lnTo>
                  <a:lnTo>
                    <a:pt x="55" y="163"/>
                  </a:lnTo>
                  <a:lnTo>
                    <a:pt x="54" y="161"/>
                  </a:lnTo>
                  <a:lnTo>
                    <a:pt x="54" y="159"/>
                  </a:lnTo>
                  <a:lnTo>
                    <a:pt x="53" y="157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1" y="156"/>
                  </a:lnTo>
                  <a:lnTo>
                    <a:pt x="49" y="156"/>
                  </a:lnTo>
                  <a:lnTo>
                    <a:pt x="49" y="156"/>
                  </a:lnTo>
                  <a:lnTo>
                    <a:pt x="46" y="157"/>
                  </a:lnTo>
                  <a:lnTo>
                    <a:pt x="41" y="159"/>
                  </a:lnTo>
                  <a:lnTo>
                    <a:pt x="39" y="159"/>
                  </a:lnTo>
                  <a:lnTo>
                    <a:pt x="36" y="159"/>
                  </a:lnTo>
                  <a:lnTo>
                    <a:pt x="34" y="159"/>
                  </a:lnTo>
                  <a:lnTo>
                    <a:pt x="32" y="159"/>
                  </a:lnTo>
                  <a:lnTo>
                    <a:pt x="30" y="158"/>
                  </a:lnTo>
                  <a:lnTo>
                    <a:pt x="27" y="157"/>
                  </a:lnTo>
                  <a:lnTo>
                    <a:pt x="24" y="155"/>
                  </a:lnTo>
                  <a:lnTo>
                    <a:pt x="22" y="154"/>
                  </a:lnTo>
                  <a:lnTo>
                    <a:pt x="20" y="152"/>
                  </a:lnTo>
                  <a:lnTo>
                    <a:pt x="19" y="151"/>
                  </a:lnTo>
                  <a:lnTo>
                    <a:pt x="17" y="149"/>
                  </a:lnTo>
                  <a:lnTo>
                    <a:pt x="15" y="147"/>
                  </a:lnTo>
                  <a:lnTo>
                    <a:pt x="13" y="146"/>
                  </a:lnTo>
                  <a:lnTo>
                    <a:pt x="11" y="144"/>
                  </a:lnTo>
                  <a:lnTo>
                    <a:pt x="10" y="141"/>
                  </a:lnTo>
                  <a:lnTo>
                    <a:pt x="7" y="136"/>
                  </a:lnTo>
                  <a:lnTo>
                    <a:pt x="6" y="134"/>
                  </a:lnTo>
                  <a:lnTo>
                    <a:pt x="5" y="131"/>
                  </a:lnTo>
                  <a:lnTo>
                    <a:pt x="3" y="128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1" y="120"/>
                  </a:lnTo>
                  <a:lnTo>
                    <a:pt x="0" y="117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1" y="112"/>
                  </a:lnTo>
                  <a:lnTo>
                    <a:pt x="1" y="110"/>
                  </a:lnTo>
                  <a:lnTo>
                    <a:pt x="3" y="108"/>
                  </a:lnTo>
                  <a:lnTo>
                    <a:pt x="4" y="105"/>
                  </a:lnTo>
                  <a:lnTo>
                    <a:pt x="5" y="101"/>
                  </a:lnTo>
                  <a:lnTo>
                    <a:pt x="8" y="89"/>
                  </a:lnTo>
                  <a:lnTo>
                    <a:pt x="8" y="85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2" y="79"/>
                  </a:lnTo>
                  <a:lnTo>
                    <a:pt x="13" y="79"/>
                  </a:lnTo>
                  <a:lnTo>
                    <a:pt x="14" y="79"/>
                  </a:lnTo>
                  <a:lnTo>
                    <a:pt x="15" y="80"/>
                  </a:lnTo>
                  <a:lnTo>
                    <a:pt x="18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5" y="89"/>
                  </a:lnTo>
                  <a:lnTo>
                    <a:pt x="29" y="93"/>
                  </a:lnTo>
                  <a:lnTo>
                    <a:pt x="31" y="96"/>
                  </a:lnTo>
                  <a:lnTo>
                    <a:pt x="36" y="104"/>
                  </a:lnTo>
                  <a:lnTo>
                    <a:pt x="38" y="108"/>
                  </a:lnTo>
                  <a:lnTo>
                    <a:pt x="40" y="110"/>
                  </a:lnTo>
                  <a:lnTo>
                    <a:pt x="42" y="112"/>
                  </a:lnTo>
                  <a:lnTo>
                    <a:pt x="43" y="114"/>
                  </a:lnTo>
                  <a:lnTo>
                    <a:pt x="48" y="117"/>
                  </a:lnTo>
                  <a:lnTo>
                    <a:pt x="51" y="119"/>
                  </a:lnTo>
                  <a:lnTo>
                    <a:pt x="53" y="120"/>
                  </a:lnTo>
                  <a:lnTo>
                    <a:pt x="54" y="122"/>
                  </a:lnTo>
                  <a:lnTo>
                    <a:pt x="61" y="124"/>
                  </a:lnTo>
                  <a:lnTo>
                    <a:pt x="63" y="125"/>
                  </a:lnTo>
                  <a:lnTo>
                    <a:pt x="66" y="125"/>
                  </a:lnTo>
                  <a:lnTo>
                    <a:pt x="67" y="125"/>
                  </a:lnTo>
                  <a:lnTo>
                    <a:pt x="69" y="126"/>
                  </a:lnTo>
                  <a:lnTo>
                    <a:pt x="71" y="126"/>
                  </a:lnTo>
                  <a:lnTo>
                    <a:pt x="72" y="126"/>
                  </a:lnTo>
                  <a:lnTo>
                    <a:pt x="74" y="125"/>
                  </a:lnTo>
                  <a:lnTo>
                    <a:pt x="75" y="125"/>
                  </a:lnTo>
                  <a:lnTo>
                    <a:pt x="77" y="125"/>
                  </a:lnTo>
                  <a:lnTo>
                    <a:pt x="78" y="125"/>
                  </a:lnTo>
                  <a:lnTo>
                    <a:pt x="79" y="124"/>
                  </a:lnTo>
                  <a:lnTo>
                    <a:pt x="81" y="122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96" y="108"/>
                  </a:lnTo>
                  <a:lnTo>
                    <a:pt x="103" y="100"/>
                  </a:lnTo>
                  <a:lnTo>
                    <a:pt x="112" y="91"/>
                  </a:lnTo>
                  <a:lnTo>
                    <a:pt x="115" y="89"/>
                  </a:lnTo>
                  <a:lnTo>
                    <a:pt x="116" y="87"/>
                  </a:lnTo>
                  <a:lnTo>
                    <a:pt x="118" y="84"/>
                  </a:lnTo>
                  <a:lnTo>
                    <a:pt x="119" y="81"/>
                  </a:lnTo>
                  <a:lnTo>
                    <a:pt x="119" y="79"/>
                  </a:lnTo>
                  <a:lnTo>
                    <a:pt x="119" y="75"/>
                  </a:lnTo>
                  <a:lnTo>
                    <a:pt x="119" y="73"/>
                  </a:lnTo>
                  <a:lnTo>
                    <a:pt x="120" y="70"/>
                  </a:lnTo>
                  <a:lnTo>
                    <a:pt x="121" y="68"/>
                  </a:lnTo>
                  <a:lnTo>
                    <a:pt x="122" y="66"/>
                  </a:lnTo>
                  <a:lnTo>
                    <a:pt x="123" y="63"/>
                  </a:lnTo>
                  <a:lnTo>
                    <a:pt x="125" y="59"/>
                  </a:lnTo>
                  <a:lnTo>
                    <a:pt x="129" y="54"/>
                  </a:lnTo>
                  <a:lnTo>
                    <a:pt x="130" y="52"/>
                  </a:lnTo>
                  <a:lnTo>
                    <a:pt x="131" y="50"/>
                  </a:lnTo>
                  <a:lnTo>
                    <a:pt x="132" y="48"/>
                  </a:lnTo>
                  <a:lnTo>
                    <a:pt x="133" y="45"/>
                  </a:lnTo>
                  <a:lnTo>
                    <a:pt x="134" y="43"/>
                  </a:lnTo>
                  <a:lnTo>
                    <a:pt x="134" y="41"/>
                  </a:lnTo>
                  <a:lnTo>
                    <a:pt x="134" y="36"/>
                  </a:lnTo>
                  <a:lnTo>
                    <a:pt x="134" y="34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1"/>
                  </a:lnTo>
                  <a:lnTo>
                    <a:pt x="133" y="19"/>
                  </a:lnTo>
                  <a:lnTo>
                    <a:pt x="133" y="17"/>
                  </a:lnTo>
                  <a:lnTo>
                    <a:pt x="134" y="15"/>
                  </a:lnTo>
                  <a:lnTo>
                    <a:pt x="134" y="13"/>
                  </a:lnTo>
                  <a:lnTo>
                    <a:pt x="134" y="11"/>
                  </a:lnTo>
                  <a:lnTo>
                    <a:pt x="135" y="10"/>
                  </a:lnTo>
                  <a:lnTo>
                    <a:pt x="137" y="8"/>
                  </a:lnTo>
                  <a:lnTo>
                    <a:pt x="140" y="5"/>
                  </a:lnTo>
                  <a:lnTo>
                    <a:pt x="142" y="3"/>
                  </a:lnTo>
                  <a:lnTo>
                    <a:pt x="145" y="1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3" name="Freeform 40">
              <a:extLst>
                <a:ext uri="{FF2B5EF4-FFF2-40B4-BE49-F238E27FC236}">
                  <a16:creationId xmlns:a16="http://schemas.microsoft.com/office/drawing/2014/main" id="{902A7C9F-D34C-4FE8-AE43-364DC666D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" y="1347"/>
              <a:ext cx="300" cy="318"/>
            </a:xfrm>
            <a:custGeom>
              <a:avLst/>
              <a:gdLst>
                <a:gd name="T0" fmla="*/ 74 w 300"/>
                <a:gd name="T1" fmla="*/ 16 h 318"/>
                <a:gd name="T2" fmla="*/ 87 w 300"/>
                <a:gd name="T3" fmla="*/ 19 h 318"/>
                <a:gd name="T4" fmla="*/ 99 w 300"/>
                <a:gd name="T5" fmla="*/ 13 h 318"/>
                <a:gd name="T6" fmla="*/ 118 w 300"/>
                <a:gd name="T7" fmla="*/ 8 h 318"/>
                <a:gd name="T8" fmla="*/ 145 w 300"/>
                <a:gd name="T9" fmla="*/ 4 h 318"/>
                <a:gd name="T10" fmla="*/ 175 w 300"/>
                <a:gd name="T11" fmla="*/ 12 h 318"/>
                <a:gd name="T12" fmla="*/ 192 w 300"/>
                <a:gd name="T13" fmla="*/ 13 h 318"/>
                <a:gd name="T14" fmla="*/ 204 w 300"/>
                <a:gd name="T15" fmla="*/ 8 h 318"/>
                <a:gd name="T16" fmla="*/ 223 w 300"/>
                <a:gd name="T17" fmla="*/ 0 h 318"/>
                <a:gd name="T18" fmla="*/ 232 w 300"/>
                <a:gd name="T19" fmla="*/ 3 h 318"/>
                <a:gd name="T20" fmla="*/ 248 w 300"/>
                <a:gd name="T21" fmla="*/ 13 h 318"/>
                <a:gd name="T22" fmla="*/ 249 w 300"/>
                <a:gd name="T23" fmla="*/ 22 h 318"/>
                <a:gd name="T24" fmla="*/ 240 w 300"/>
                <a:gd name="T25" fmla="*/ 46 h 318"/>
                <a:gd name="T26" fmla="*/ 242 w 300"/>
                <a:gd name="T27" fmla="*/ 69 h 318"/>
                <a:gd name="T28" fmla="*/ 240 w 300"/>
                <a:gd name="T29" fmla="*/ 95 h 318"/>
                <a:gd name="T30" fmla="*/ 245 w 300"/>
                <a:gd name="T31" fmla="*/ 117 h 318"/>
                <a:gd name="T32" fmla="*/ 256 w 300"/>
                <a:gd name="T33" fmla="*/ 150 h 318"/>
                <a:gd name="T34" fmla="*/ 256 w 300"/>
                <a:gd name="T35" fmla="*/ 160 h 318"/>
                <a:gd name="T36" fmla="*/ 269 w 300"/>
                <a:gd name="T37" fmla="*/ 170 h 318"/>
                <a:gd name="T38" fmla="*/ 293 w 300"/>
                <a:gd name="T39" fmla="*/ 182 h 318"/>
                <a:gd name="T40" fmla="*/ 300 w 300"/>
                <a:gd name="T41" fmla="*/ 191 h 318"/>
                <a:gd name="T42" fmla="*/ 288 w 300"/>
                <a:gd name="T43" fmla="*/ 197 h 318"/>
                <a:gd name="T44" fmla="*/ 245 w 300"/>
                <a:gd name="T45" fmla="*/ 215 h 318"/>
                <a:gd name="T46" fmla="*/ 237 w 300"/>
                <a:gd name="T47" fmla="*/ 218 h 318"/>
                <a:gd name="T48" fmla="*/ 233 w 300"/>
                <a:gd name="T49" fmla="*/ 236 h 318"/>
                <a:gd name="T50" fmla="*/ 229 w 300"/>
                <a:gd name="T51" fmla="*/ 260 h 318"/>
                <a:gd name="T52" fmla="*/ 223 w 300"/>
                <a:gd name="T53" fmla="*/ 268 h 318"/>
                <a:gd name="T54" fmla="*/ 221 w 300"/>
                <a:gd name="T55" fmla="*/ 281 h 318"/>
                <a:gd name="T56" fmla="*/ 209 w 300"/>
                <a:gd name="T57" fmla="*/ 287 h 318"/>
                <a:gd name="T58" fmla="*/ 192 w 300"/>
                <a:gd name="T59" fmla="*/ 300 h 318"/>
                <a:gd name="T60" fmla="*/ 180 w 300"/>
                <a:gd name="T61" fmla="*/ 315 h 318"/>
                <a:gd name="T62" fmla="*/ 172 w 300"/>
                <a:gd name="T63" fmla="*/ 316 h 318"/>
                <a:gd name="T64" fmla="*/ 159 w 300"/>
                <a:gd name="T65" fmla="*/ 315 h 318"/>
                <a:gd name="T66" fmla="*/ 145 w 300"/>
                <a:gd name="T67" fmla="*/ 317 h 318"/>
                <a:gd name="T68" fmla="*/ 142 w 300"/>
                <a:gd name="T69" fmla="*/ 314 h 318"/>
                <a:gd name="T70" fmla="*/ 138 w 300"/>
                <a:gd name="T71" fmla="*/ 295 h 318"/>
                <a:gd name="T72" fmla="*/ 127 w 300"/>
                <a:gd name="T73" fmla="*/ 277 h 318"/>
                <a:gd name="T74" fmla="*/ 125 w 300"/>
                <a:gd name="T75" fmla="*/ 255 h 318"/>
                <a:gd name="T76" fmla="*/ 118 w 300"/>
                <a:gd name="T77" fmla="*/ 237 h 318"/>
                <a:gd name="T78" fmla="*/ 104 w 300"/>
                <a:gd name="T79" fmla="*/ 228 h 318"/>
                <a:gd name="T80" fmla="*/ 78 w 300"/>
                <a:gd name="T81" fmla="*/ 217 h 318"/>
                <a:gd name="T82" fmla="*/ 77 w 300"/>
                <a:gd name="T83" fmla="*/ 211 h 318"/>
                <a:gd name="T84" fmla="*/ 83 w 300"/>
                <a:gd name="T85" fmla="*/ 190 h 318"/>
                <a:gd name="T86" fmla="*/ 78 w 300"/>
                <a:gd name="T87" fmla="*/ 180 h 318"/>
                <a:gd name="T88" fmla="*/ 66 w 300"/>
                <a:gd name="T89" fmla="*/ 162 h 318"/>
                <a:gd name="T90" fmla="*/ 56 w 300"/>
                <a:gd name="T91" fmla="*/ 146 h 318"/>
                <a:gd name="T92" fmla="*/ 43 w 300"/>
                <a:gd name="T93" fmla="*/ 115 h 318"/>
                <a:gd name="T94" fmla="*/ 27 w 300"/>
                <a:gd name="T95" fmla="*/ 94 h 318"/>
                <a:gd name="T96" fmla="*/ 27 w 300"/>
                <a:gd name="T97" fmla="*/ 83 h 318"/>
                <a:gd name="T98" fmla="*/ 29 w 300"/>
                <a:gd name="T99" fmla="*/ 63 h 318"/>
                <a:gd name="T100" fmla="*/ 18 w 300"/>
                <a:gd name="T101" fmla="*/ 47 h 318"/>
                <a:gd name="T102" fmla="*/ 1 w 300"/>
                <a:gd name="T103" fmla="*/ 30 h 318"/>
                <a:gd name="T104" fmla="*/ 5 w 300"/>
                <a:gd name="T105" fmla="*/ 28 h 318"/>
                <a:gd name="T106" fmla="*/ 18 w 300"/>
                <a:gd name="T107" fmla="*/ 27 h 318"/>
                <a:gd name="T108" fmla="*/ 29 w 300"/>
                <a:gd name="T109" fmla="*/ 23 h 318"/>
                <a:gd name="T110" fmla="*/ 37 w 300"/>
                <a:gd name="T111" fmla="*/ 13 h 318"/>
                <a:gd name="T112" fmla="*/ 52 w 300"/>
                <a:gd name="T113" fmla="*/ 6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0" h="318">
                  <a:moveTo>
                    <a:pt x="54" y="6"/>
                  </a:moveTo>
                  <a:lnTo>
                    <a:pt x="55" y="7"/>
                  </a:lnTo>
                  <a:lnTo>
                    <a:pt x="56" y="8"/>
                  </a:lnTo>
                  <a:lnTo>
                    <a:pt x="60" y="10"/>
                  </a:lnTo>
                  <a:lnTo>
                    <a:pt x="71" y="15"/>
                  </a:lnTo>
                  <a:lnTo>
                    <a:pt x="74" y="16"/>
                  </a:lnTo>
                  <a:lnTo>
                    <a:pt x="76" y="17"/>
                  </a:lnTo>
                  <a:lnTo>
                    <a:pt x="78" y="18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20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90" y="18"/>
                  </a:lnTo>
                  <a:lnTo>
                    <a:pt x="92" y="17"/>
                  </a:lnTo>
                  <a:lnTo>
                    <a:pt x="96" y="14"/>
                  </a:lnTo>
                  <a:lnTo>
                    <a:pt x="99" y="13"/>
                  </a:lnTo>
                  <a:lnTo>
                    <a:pt x="102" y="11"/>
                  </a:lnTo>
                  <a:lnTo>
                    <a:pt x="106" y="10"/>
                  </a:lnTo>
                  <a:lnTo>
                    <a:pt x="108" y="9"/>
                  </a:lnTo>
                  <a:lnTo>
                    <a:pt x="109" y="9"/>
                  </a:lnTo>
                  <a:lnTo>
                    <a:pt x="115" y="8"/>
                  </a:lnTo>
                  <a:lnTo>
                    <a:pt x="118" y="8"/>
                  </a:lnTo>
                  <a:lnTo>
                    <a:pt x="122" y="7"/>
                  </a:lnTo>
                  <a:lnTo>
                    <a:pt x="129" y="5"/>
                  </a:lnTo>
                  <a:lnTo>
                    <a:pt x="133" y="5"/>
                  </a:lnTo>
                  <a:lnTo>
                    <a:pt x="136" y="4"/>
                  </a:lnTo>
                  <a:lnTo>
                    <a:pt x="141" y="4"/>
                  </a:lnTo>
                  <a:lnTo>
                    <a:pt x="145" y="4"/>
                  </a:lnTo>
                  <a:lnTo>
                    <a:pt x="148" y="4"/>
                  </a:lnTo>
                  <a:lnTo>
                    <a:pt x="153" y="5"/>
                  </a:lnTo>
                  <a:lnTo>
                    <a:pt x="158" y="6"/>
                  </a:lnTo>
                  <a:lnTo>
                    <a:pt x="163" y="7"/>
                  </a:lnTo>
                  <a:lnTo>
                    <a:pt x="167" y="8"/>
                  </a:lnTo>
                  <a:lnTo>
                    <a:pt x="175" y="12"/>
                  </a:lnTo>
                  <a:lnTo>
                    <a:pt x="178" y="13"/>
                  </a:lnTo>
                  <a:lnTo>
                    <a:pt x="180" y="13"/>
                  </a:lnTo>
                  <a:lnTo>
                    <a:pt x="183" y="13"/>
                  </a:lnTo>
                  <a:lnTo>
                    <a:pt x="186" y="13"/>
                  </a:lnTo>
                  <a:lnTo>
                    <a:pt x="190" y="13"/>
                  </a:lnTo>
                  <a:lnTo>
                    <a:pt x="192" y="13"/>
                  </a:lnTo>
                  <a:lnTo>
                    <a:pt x="194" y="13"/>
                  </a:lnTo>
                  <a:lnTo>
                    <a:pt x="196" y="13"/>
                  </a:lnTo>
                  <a:lnTo>
                    <a:pt x="199" y="12"/>
                  </a:lnTo>
                  <a:lnTo>
                    <a:pt x="201" y="10"/>
                  </a:lnTo>
                  <a:lnTo>
                    <a:pt x="203" y="9"/>
                  </a:lnTo>
                  <a:lnTo>
                    <a:pt x="204" y="8"/>
                  </a:lnTo>
                  <a:lnTo>
                    <a:pt x="212" y="2"/>
                  </a:lnTo>
                  <a:lnTo>
                    <a:pt x="214" y="1"/>
                  </a:lnTo>
                  <a:lnTo>
                    <a:pt x="215" y="1"/>
                  </a:lnTo>
                  <a:lnTo>
                    <a:pt x="217" y="0"/>
                  </a:lnTo>
                  <a:lnTo>
                    <a:pt x="220" y="0"/>
                  </a:lnTo>
                  <a:lnTo>
                    <a:pt x="223" y="0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5" y="0"/>
                  </a:lnTo>
                  <a:lnTo>
                    <a:pt x="227" y="1"/>
                  </a:lnTo>
                  <a:lnTo>
                    <a:pt x="230" y="1"/>
                  </a:lnTo>
                  <a:lnTo>
                    <a:pt x="232" y="3"/>
                  </a:lnTo>
                  <a:lnTo>
                    <a:pt x="237" y="6"/>
                  </a:lnTo>
                  <a:lnTo>
                    <a:pt x="241" y="8"/>
                  </a:lnTo>
                  <a:lnTo>
                    <a:pt x="244" y="10"/>
                  </a:lnTo>
                  <a:lnTo>
                    <a:pt x="246" y="12"/>
                  </a:lnTo>
                  <a:lnTo>
                    <a:pt x="247" y="13"/>
                  </a:lnTo>
                  <a:lnTo>
                    <a:pt x="248" y="13"/>
                  </a:lnTo>
                  <a:lnTo>
                    <a:pt x="248" y="15"/>
                  </a:lnTo>
                  <a:lnTo>
                    <a:pt x="248" y="15"/>
                  </a:lnTo>
                  <a:lnTo>
                    <a:pt x="249" y="16"/>
                  </a:lnTo>
                  <a:lnTo>
                    <a:pt x="249" y="17"/>
                  </a:lnTo>
                  <a:lnTo>
                    <a:pt x="249" y="20"/>
                  </a:lnTo>
                  <a:lnTo>
                    <a:pt x="249" y="22"/>
                  </a:lnTo>
                  <a:lnTo>
                    <a:pt x="249" y="24"/>
                  </a:lnTo>
                  <a:lnTo>
                    <a:pt x="248" y="28"/>
                  </a:lnTo>
                  <a:lnTo>
                    <a:pt x="247" y="32"/>
                  </a:lnTo>
                  <a:lnTo>
                    <a:pt x="246" y="34"/>
                  </a:lnTo>
                  <a:lnTo>
                    <a:pt x="242" y="42"/>
                  </a:lnTo>
                  <a:lnTo>
                    <a:pt x="240" y="46"/>
                  </a:lnTo>
                  <a:lnTo>
                    <a:pt x="239" y="47"/>
                  </a:lnTo>
                  <a:lnTo>
                    <a:pt x="239" y="49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0" y="58"/>
                  </a:lnTo>
                  <a:lnTo>
                    <a:pt x="242" y="69"/>
                  </a:lnTo>
                  <a:lnTo>
                    <a:pt x="243" y="71"/>
                  </a:lnTo>
                  <a:lnTo>
                    <a:pt x="243" y="74"/>
                  </a:lnTo>
                  <a:lnTo>
                    <a:pt x="243" y="77"/>
                  </a:lnTo>
                  <a:lnTo>
                    <a:pt x="242" y="80"/>
                  </a:lnTo>
                  <a:lnTo>
                    <a:pt x="240" y="93"/>
                  </a:lnTo>
                  <a:lnTo>
                    <a:pt x="240" y="95"/>
                  </a:lnTo>
                  <a:lnTo>
                    <a:pt x="240" y="99"/>
                  </a:lnTo>
                  <a:lnTo>
                    <a:pt x="240" y="102"/>
                  </a:lnTo>
                  <a:lnTo>
                    <a:pt x="241" y="105"/>
                  </a:lnTo>
                  <a:lnTo>
                    <a:pt x="242" y="108"/>
                  </a:lnTo>
                  <a:lnTo>
                    <a:pt x="243" y="111"/>
                  </a:lnTo>
                  <a:lnTo>
                    <a:pt x="245" y="117"/>
                  </a:lnTo>
                  <a:lnTo>
                    <a:pt x="250" y="133"/>
                  </a:lnTo>
                  <a:lnTo>
                    <a:pt x="253" y="139"/>
                  </a:lnTo>
                  <a:lnTo>
                    <a:pt x="256" y="145"/>
                  </a:lnTo>
                  <a:lnTo>
                    <a:pt x="256" y="147"/>
                  </a:lnTo>
                  <a:lnTo>
                    <a:pt x="257" y="149"/>
                  </a:lnTo>
                  <a:lnTo>
                    <a:pt x="256" y="150"/>
                  </a:lnTo>
                  <a:lnTo>
                    <a:pt x="256" y="152"/>
                  </a:lnTo>
                  <a:lnTo>
                    <a:pt x="255" y="156"/>
                  </a:lnTo>
                  <a:lnTo>
                    <a:pt x="255" y="157"/>
                  </a:lnTo>
                  <a:lnTo>
                    <a:pt x="255" y="158"/>
                  </a:lnTo>
                  <a:lnTo>
                    <a:pt x="255" y="160"/>
                  </a:lnTo>
                  <a:lnTo>
                    <a:pt x="256" y="160"/>
                  </a:lnTo>
                  <a:lnTo>
                    <a:pt x="256" y="161"/>
                  </a:lnTo>
                  <a:lnTo>
                    <a:pt x="258" y="163"/>
                  </a:lnTo>
                  <a:lnTo>
                    <a:pt x="259" y="165"/>
                  </a:lnTo>
                  <a:lnTo>
                    <a:pt x="261" y="167"/>
                  </a:lnTo>
                  <a:lnTo>
                    <a:pt x="263" y="168"/>
                  </a:lnTo>
                  <a:lnTo>
                    <a:pt x="269" y="170"/>
                  </a:lnTo>
                  <a:lnTo>
                    <a:pt x="272" y="171"/>
                  </a:lnTo>
                  <a:lnTo>
                    <a:pt x="279" y="173"/>
                  </a:lnTo>
                  <a:lnTo>
                    <a:pt x="282" y="175"/>
                  </a:lnTo>
                  <a:lnTo>
                    <a:pt x="287" y="177"/>
                  </a:lnTo>
                  <a:lnTo>
                    <a:pt x="291" y="180"/>
                  </a:lnTo>
                  <a:lnTo>
                    <a:pt x="293" y="182"/>
                  </a:lnTo>
                  <a:lnTo>
                    <a:pt x="294" y="183"/>
                  </a:lnTo>
                  <a:lnTo>
                    <a:pt x="295" y="184"/>
                  </a:lnTo>
                  <a:lnTo>
                    <a:pt x="297" y="186"/>
                  </a:lnTo>
                  <a:lnTo>
                    <a:pt x="298" y="188"/>
                  </a:lnTo>
                  <a:lnTo>
                    <a:pt x="299" y="190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299" y="193"/>
                  </a:lnTo>
                  <a:lnTo>
                    <a:pt x="297" y="194"/>
                  </a:lnTo>
                  <a:lnTo>
                    <a:pt x="288" y="197"/>
                  </a:lnTo>
                  <a:lnTo>
                    <a:pt x="280" y="202"/>
                  </a:lnTo>
                  <a:lnTo>
                    <a:pt x="270" y="206"/>
                  </a:lnTo>
                  <a:lnTo>
                    <a:pt x="261" y="210"/>
                  </a:lnTo>
                  <a:lnTo>
                    <a:pt x="257" y="212"/>
                  </a:lnTo>
                  <a:lnTo>
                    <a:pt x="248" y="214"/>
                  </a:lnTo>
                  <a:lnTo>
                    <a:pt x="245" y="215"/>
                  </a:lnTo>
                  <a:lnTo>
                    <a:pt x="241" y="216"/>
                  </a:lnTo>
                  <a:lnTo>
                    <a:pt x="239" y="216"/>
                  </a:lnTo>
                  <a:lnTo>
                    <a:pt x="238" y="217"/>
                  </a:lnTo>
                  <a:lnTo>
                    <a:pt x="237" y="217"/>
                  </a:lnTo>
                  <a:lnTo>
                    <a:pt x="237" y="217"/>
                  </a:lnTo>
                  <a:lnTo>
                    <a:pt x="237" y="218"/>
                  </a:lnTo>
                  <a:lnTo>
                    <a:pt x="237" y="220"/>
                  </a:lnTo>
                  <a:lnTo>
                    <a:pt x="237" y="223"/>
                  </a:lnTo>
                  <a:lnTo>
                    <a:pt x="237" y="224"/>
                  </a:lnTo>
                  <a:lnTo>
                    <a:pt x="236" y="227"/>
                  </a:lnTo>
                  <a:lnTo>
                    <a:pt x="234" y="231"/>
                  </a:lnTo>
                  <a:lnTo>
                    <a:pt x="233" y="236"/>
                  </a:lnTo>
                  <a:lnTo>
                    <a:pt x="233" y="239"/>
                  </a:lnTo>
                  <a:lnTo>
                    <a:pt x="232" y="246"/>
                  </a:lnTo>
                  <a:lnTo>
                    <a:pt x="232" y="251"/>
                  </a:lnTo>
                  <a:lnTo>
                    <a:pt x="232" y="252"/>
                  </a:lnTo>
                  <a:lnTo>
                    <a:pt x="231" y="256"/>
                  </a:lnTo>
                  <a:lnTo>
                    <a:pt x="229" y="260"/>
                  </a:lnTo>
                  <a:lnTo>
                    <a:pt x="228" y="262"/>
                  </a:lnTo>
                  <a:lnTo>
                    <a:pt x="227" y="263"/>
                  </a:lnTo>
                  <a:lnTo>
                    <a:pt x="226" y="264"/>
                  </a:lnTo>
                  <a:lnTo>
                    <a:pt x="224" y="267"/>
                  </a:lnTo>
                  <a:lnTo>
                    <a:pt x="224" y="267"/>
                  </a:lnTo>
                  <a:lnTo>
                    <a:pt x="223" y="268"/>
                  </a:lnTo>
                  <a:lnTo>
                    <a:pt x="223" y="270"/>
                  </a:lnTo>
                  <a:lnTo>
                    <a:pt x="223" y="274"/>
                  </a:lnTo>
                  <a:lnTo>
                    <a:pt x="222" y="276"/>
                  </a:lnTo>
                  <a:lnTo>
                    <a:pt x="222" y="279"/>
                  </a:lnTo>
                  <a:lnTo>
                    <a:pt x="221" y="280"/>
                  </a:lnTo>
                  <a:lnTo>
                    <a:pt x="221" y="281"/>
                  </a:lnTo>
                  <a:lnTo>
                    <a:pt x="220" y="282"/>
                  </a:lnTo>
                  <a:lnTo>
                    <a:pt x="218" y="283"/>
                  </a:lnTo>
                  <a:lnTo>
                    <a:pt x="217" y="284"/>
                  </a:lnTo>
                  <a:lnTo>
                    <a:pt x="214" y="285"/>
                  </a:lnTo>
                  <a:lnTo>
                    <a:pt x="211" y="286"/>
                  </a:lnTo>
                  <a:lnTo>
                    <a:pt x="209" y="287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7" y="289"/>
                  </a:lnTo>
                  <a:lnTo>
                    <a:pt x="202" y="293"/>
                  </a:lnTo>
                  <a:lnTo>
                    <a:pt x="199" y="295"/>
                  </a:lnTo>
                  <a:lnTo>
                    <a:pt x="192" y="300"/>
                  </a:lnTo>
                  <a:lnTo>
                    <a:pt x="188" y="304"/>
                  </a:lnTo>
                  <a:lnTo>
                    <a:pt x="187" y="306"/>
                  </a:lnTo>
                  <a:lnTo>
                    <a:pt x="186" y="306"/>
                  </a:lnTo>
                  <a:lnTo>
                    <a:pt x="183" y="311"/>
                  </a:lnTo>
                  <a:lnTo>
                    <a:pt x="181" y="313"/>
                  </a:lnTo>
                  <a:lnTo>
                    <a:pt x="180" y="315"/>
                  </a:lnTo>
                  <a:lnTo>
                    <a:pt x="179" y="316"/>
                  </a:lnTo>
                  <a:lnTo>
                    <a:pt x="179" y="316"/>
                  </a:lnTo>
                  <a:lnTo>
                    <a:pt x="178" y="316"/>
                  </a:lnTo>
                  <a:lnTo>
                    <a:pt x="174" y="316"/>
                  </a:lnTo>
                  <a:lnTo>
                    <a:pt x="173" y="315"/>
                  </a:lnTo>
                  <a:lnTo>
                    <a:pt x="172" y="316"/>
                  </a:lnTo>
                  <a:lnTo>
                    <a:pt x="171" y="316"/>
                  </a:lnTo>
                  <a:lnTo>
                    <a:pt x="170" y="316"/>
                  </a:lnTo>
                  <a:lnTo>
                    <a:pt x="169" y="318"/>
                  </a:lnTo>
                  <a:lnTo>
                    <a:pt x="168" y="318"/>
                  </a:lnTo>
                  <a:lnTo>
                    <a:pt x="165" y="317"/>
                  </a:lnTo>
                  <a:lnTo>
                    <a:pt x="159" y="315"/>
                  </a:lnTo>
                  <a:lnTo>
                    <a:pt x="158" y="315"/>
                  </a:lnTo>
                  <a:lnTo>
                    <a:pt x="157" y="315"/>
                  </a:lnTo>
                  <a:lnTo>
                    <a:pt x="154" y="315"/>
                  </a:lnTo>
                  <a:lnTo>
                    <a:pt x="152" y="315"/>
                  </a:lnTo>
                  <a:lnTo>
                    <a:pt x="146" y="316"/>
                  </a:lnTo>
                  <a:lnTo>
                    <a:pt x="145" y="317"/>
                  </a:lnTo>
                  <a:lnTo>
                    <a:pt x="145" y="317"/>
                  </a:lnTo>
                  <a:lnTo>
                    <a:pt x="144" y="317"/>
                  </a:lnTo>
                  <a:lnTo>
                    <a:pt x="144" y="317"/>
                  </a:lnTo>
                  <a:lnTo>
                    <a:pt x="144" y="317"/>
                  </a:lnTo>
                  <a:lnTo>
                    <a:pt x="143" y="316"/>
                  </a:lnTo>
                  <a:lnTo>
                    <a:pt x="142" y="314"/>
                  </a:lnTo>
                  <a:lnTo>
                    <a:pt x="141" y="311"/>
                  </a:lnTo>
                  <a:lnTo>
                    <a:pt x="140" y="308"/>
                  </a:lnTo>
                  <a:lnTo>
                    <a:pt x="139" y="306"/>
                  </a:lnTo>
                  <a:lnTo>
                    <a:pt x="139" y="303"/>
                  </a:lnTo>
                  <a:lnTo>
                    <a:pt x="138" y="296"/>
                  </a:lnTo>
                  <a:lnTo>
                    <a:pt x="138" y="295"/>
                  </a:lnTo>
                  <a:lnTo>
                    <a:pt x="137" y="292"/>
                  </a:lnTo>
                  <a:lnTo>
                    <a:pt x="137" y="290"/>
                  </a:lnTo>
                  <a:lnTo>
                    <a:pt x="136" y="288"/>
                  </a:lnTo>
                  <a:lnTo>
                    <a:pt x="135" y="287"/>
                  </a:lnTo>
                  <a:lnTo>
                    <a:pt x="131" y="281"/>
                  </a:lnTo>
                  <a:lnTo>
                    <a:pt x="127" y="277"/>
                  </a:lnTo>
                  <a:lnTo>
                    <a:pt x="126" y="274"/>
                  </a:lnTo>
                  <a:lnTo>
                    <a:pt x="125" y="273"/>
                  </a:lnTo>
                  <a:lnTo>
                    <a:pt x="125" y="271"/>
                  </a:lnTo>
                  <a:lnTo>
                    <a:pt x="124" y="269"/>
                  </a:lnTo>
                  <a:lnTo>
                    <a:pt x="125" y="258"/>
                  </a:lnTo>
                  <a:lnTo>
                    <a:pt x="125" y="255"/>
                  </a:lnTo>
                  <a:lnTo>
                    <a:pt x="124" y="253"/>
                  </a:lnTo>
                  <a:lnTo>
                    <a:pt x="124" y="250"/>
                  </a:lnTo>
                  <a:lnTo>
                    <a:pt x="123" y="248"/>
                  </a:lnTo>
                  <a:lnTo>
                    <a:pt x="121" y="241"/>
                  </a:lnTo>
                  <a:lnTo>
                    <a:pt x="120" y="239"/>
                  </a:lnTo>
                  <a:lnTo>
                    <a:pt x="118" y="237"/>
                  </a:lnTo>
                  <a:lnTo>
                    <a:pt x="115" y="234"/>
                  </a:lnTo>
                  <a:lnTo>
                    <a:pt x="113" y="232"/>
                  </a:lnTo>
                  <a:lnTo>
                    <a:pt x="112" y="231"/>
                  </a:lnTo>
                  <a:lnTo>
                    <a:pt x="111" y="230"/>
                  </a:lnTo>
                  <a:lnTo>
                    <a:pt x="109" y="229"/>
                  </a:lnTo>
                  <a:lnTo>
                    <a:pt x="104" y="228"/>
                  </a:lnTo>
                  <a:lnTo>
                    <a:pt x="98" y="227"/>
                  </a:lnTo>
                  <a:lnTo>
                    <a:pt x="94" y="226"/>
                  </a:lnTo>
                  <a:lnTo>
                    <a:pt x="92" y="225"/>
                  </a:lnTo>
                  <a:lnTo>
                    <a:pt x="90" y="223"/>
                  </a:lnTo>
                  <a:lnTo>
                    <a:pt x="79" y="217"/>
                  </a:lnTo>
                  <a:lnTo>
                    <a:pt x="78" y="217"/>
                  </a:lnTo>
                  <a:lnTo>
                    <a:pt x="78" y="217"/>
                  </a:lnTo>
                  <a:lnTo>
                    <a:pt x="78" y="216"/>
                  </a:lnTo>
                  <a:lnTo>
                    <a:pt x="77" y="215"/>
                  </a:lnTo>
                  <a:lnTo>
                    <a:pt x="77" y="213"/>
                  </a:lnTo>
                  <a:lnTo>
                    <a:pt x="76" y="212"/>
                  </a:lnTo>
                  <a:lnTo>
                    <a:pt x="77" y="211"/>
                  </a:lnTo>
                  <a:lnTo>
                    <a:pt x="77" y="209"/>
                  </a:lnTo>
                  <a:lnTo>
                    <a:pt x="79" y="201"/>
                  </a:lnTo>
                  <a:lnTo>
                    <a:pt x="81" y="195"/>
                  </a:lnTo>
                  <a:lnTo>
                    <a:pt x="82" y="194"/>
                  </a:lnTo>
                  <a:lnTo>
                    <a:pt x="82" y="193"/>
                  </a:lnTo>
                  <a:lnTo>
                    <a:pt x="83" y="190"/>
                  </a:lnTo>
                  <a:lnTo>
                    <a:pt x="83" y="189"/>
                  </a:lnTo>
                  <a:lnTo>
                    <a:pt x="82" y="187"/>
                  </a:lnTo>
                  <a:lnTo>
                    <a:pt x="82" y="185"/>
                  </a:lnTo>
                  <a:lnTo>
                    <a:pt x="81" y="183"/>
                  </a:lnTo>
                  <a:lnTo>
                    <a:pt x="79" y="182"/>
                  </a:lnTo>
                  <a:lnTo>
                    <a:pt x="78" y="180"/>
                  </a:lnTo>
                  <a:lnTo>
                    <a:pt x="76" y="177"/>
                  </a:lnTo>
                  <a:lnTo>
                    <a:pt x="75" y="175"/>
                  </a:lnTo>
                  <a:lnTo>
                    <a:pt x="74" y="173"/>
                  </a:lnTo>
                  <a:lnTo>
                    <a:pt x="70" y="168"/>
                  </a:lnTo>
                  <a:lnTo>
                    <a:pt x="68" y="165"/>
                  </a:lnTo>
                  <a:lnTo>
                    <a:pt x="66" y="162"/>
                  </a:lnTo>
                  <a:lnTo>
                    <a:pt x="61" y="157"/>
                  </a:lnTo>
                  <a:lnTo>
                    <a:pt x="60" y="155"/>
                  </a:lnTo>
                  <a:lnTo>
                    <a:pt x="58" y="153"/>
                  </a:lnTo>
                  <a:lnTo>
                    <a:pt x="57" y="151"/>
                  </a:lnTo>
                  <a:lnTo>
                    <a:pt x="56" y="149"/>
                  </a:lnTo>
                  <a:lnTo>
                    <a:pt x="56" y="146"/>
                  </a:lnTo>
                  <a:lnTo>
                    <a:pt x="56" y="141"/>
                  </a:lnTo>
                  <a:lnTo>
                    <a:pt x="55" y="139"/>
                  </a:lnTo>
                  <a:lnTo>
                    <a:pt x="55" y="137"/>
                  </a:lnTo>
                  <a:lnTo>
                    <a:pt x="55" y="136"/>
                  </a:lnTo>
                  <a:lnTo>
                    <a:pt x="47" y="122"/>
                  </a:lnTo>
                  <a:lnTo>
                    <a:pt x="43" y="115"/>
                  </a:lnTo>
                  <a:lnTo>
                    <a:pt x="42" y="114"/>
                  </a:lnTo>
                  <a:lnTo>
                    <a:pt x="40" y="111"/>
                  </a:lnTo>
                  <a:lnTo>
                    <a:pt x="30" y="100"/>
                  </a:lnTo>
                  <a:lnTo>
                    <a:pt x="29" y="97"/>
                  </a:lnTo>
                  <a:lnTo>
                    <a:pt x="28" y="95"/>
                  </a:lnTo>
                  <a:lnTo>
                    <a:pt x="27" y="94"/>
                  </a:lnTo>
                  <a:lnTo>
                    <a:pt x="27" y="92"/>
                  </a:lnTo>
                  <a:lnTo>
                    <a:pt x="26" y="91"/>
                  </a:lnTo>
                  <a:lnTo>
                    <a:pt x="26" y="90"/>
                  </a:lnTo>
                  <a:lnTo>
                    <a:pt x="26" y="88"/>
                  </a:lnTo>
                  <a:lnTo>
                    <a:pt x="27" y="86"/>
                  </a:lnTo>
                  <a:lnTo>
                    <a:pt x="27" y="83"/>
                  </a:lnTo>
                  <a:lnTo>
                    <a:pt x="28" y="79"/>
                  </a:lnTo>
                  <a:lnTo>
                    <a:pt x="29" y="76"/>
                  </a:lnTo>
                  <a:lnTo>
                    <a:pt x="29" y="74"/>
                  </a:lnTo>
                  <a:lnTo>
                    <a:pt x="28" y="69"/>
                  </a:lnTo>
                  <a:lnTo>
                    <a:pt x="29" y="66"/>
                  </a:lnTo>
                  <a:lnTo>
                    <a:pt x="29" y="63"/>
                  </a:lnTo>
                  <a:lnTo>
                    <a:pt x="28" y="61"/>
                  </a:lnTo>
                  <a:lnTo>
                    <a:pt x="28" y="60"/>
                  </a:lnTo>
                  <a:lnTo>
                    <a:pt x="26" y="57"/>
                  </a:lnTo>
                  <a:lnTo>
                    <a:pt x="24" y="55"/>
                  </a:lnTo>
                  <a:lnTo>
                    <a:pt x="21" y="52"/>
                  </a:lnTo>
                  <a:lnTo>
                    <a:pt x="18" y="47"/>
                  </a:lnTo>
                  <a:lnTo>
                    <a:pt x="15" y="44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5" y="34"/>
                  </a:lnTo>
                  <a:lnTo>
                    <a:pt x="2" y="31"/>
                  </a:lnTo>
                  <a:lnTo>
                    <a:pt x="1" y="30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5" y="28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3" y="29"/>
                  </a:lnTo>
                  <a:lnTo>
                    <a:pt x="14" y="29"/>
                  </a:lnTo>
                  <a:lnTo>
                    <a:pt x="18" y="27"/>
                  </a:lnTo>
                  <a:lnTo>
                    <a:pt x="23" y="26"/>
                  </a:lnTo>
                  <a:lnTo>
                    <a:pt x="24" y="25"/>
                  </a:lnTo>
                  <a:lnTo>
                    <a:pt x="26" y="25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30" y="21"/>
                  </a:lnTo>
                  <a:lnTo>
                    <a:pt x="30" y="17"/>
                  </a:lnTo>
                  <a:lnTo>
                    <a:pt x="31" y="16"/>
                  </a:lnTo>
                  <a:lnTo>
                    <a:pt x="32" y="15"/>
                  </a:lnTo>
                  <a:lnTo>
                    <a:pt x="37" y="13"/>
                  </a:lnTo>
                  <a:lnTo>
                    <a:pt x="41" y="10"/>
                  </a:lnTo>
                  <a:lnTo>
                    <a:pt x="43" y="9"/>
                  </a:lnTo>
                  <a:lnTo>
                    <a:pt x="45" y="8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4" y="6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4" name="Freeform 41">
              <a:extLst>
                <a:ext uri="{FF2B5EF4-FFF2-40B4-BE49-F238E27FC236}">
                  <a16:creationId xmlns:a16="http://schemas.microsoft.com/office/drawing/2014/main" id="{A94D3E0D-C1A1-4D13-B081-12134CC3D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2" y="1254"/>
              <a:ext cx="261" cy="286"/>
            </a:xfrm>
            <a:custGeom>
              <a:avLst/>
              <a:gdLst>
                <a:gd name="T0" fmla="*/ 87 w 261"/>
                <a:gd name="T1" fmla="*/ 3 h 286"/>
                <a:gd name="T2" fmla="*/ 92 w 261"/>
                <a:gd name="T3" fmla="*/ 8 h 286"/>
                <a:gd name="T4" fmla="*/ 100 w 261"/>
                <a:gd name="T5" fmla="*/ 9 h 286"/>
                <a:gd name="T6" fmla="*/ 109 w 261"/>
                <a:gd name="T7" fmla="*/ 15 h 286"/>
                <a:gd name="T8" fmla="*/ 113 w 261"/>
                <a:gd name="T9" fmla="*/ 15 h 286"/>
                <a:gd name="T10" fmla="*/ 120 w 261"/>
                <a:gd name="T11" fmla="*/ 11 h 286"/>
                <a:gd name="T12" fmla="*/ 123 w 261"/>
                <a:gd name="T13" fmla="*/ 19 h 286"/>
                <a:gd name="T14" fmla="*/ 123 w 261"/>
                <a:gd name="T15" fmla="*/ 33 h 286"/>
                <a:gd name="T16" fmla="*/ 127 w 261"/>
                <a:gd name="T17" fmla="*/ 43 h 286"/>
                <a:gd name="T18" fmla="*/ 139 w 261"/>
                <a:gd name="T19" fmla="*/ 51 h 286"/>
                <a:gd name="T20" fmla="*/ 141 w 261"/>
                <a:gd name="T21" fmla="*/ 60 h 286"/>
                <a:gd name="T22" fmla="*/ 142 w 261"/>
                <a:gd name="T23" fmla="*/ 75 h 286"/>
                <a:gd name="T24" fmla="*/ 146 w 261"/>
                <a:gd name="T25" fmla="*/ 83 h 286"/>
                <a:gd name="T26" fmla="*/ 173 w 261"/>
                <a:gd name="T27" fmla="*/ 109 h 286"/>
                <a:gd name="T28" fmla="*/ 186 w 261"/>
                <a:gd name="T29" fmla="*/ 117 h 286"/>
                <a:gd name="T30" fmla="*/ 200 w 261"/>
                <a:gd name="T31" fmla="*/ 124 h 286"/>
                <a:gd name="T32" fmla="*/ 221 w 261"/>
                <a:gd name="T33" fmla="*/ 146 h 286"/>
                <a:gd name="T34" fmla="*/ 231 w 261"/>
                <a:gd name="T35" fmla="*/ 155 h 286"/>
                <a:gd name="T36" fmla="*/ 246 w 261"/>
                <a:gd name="T37" fmla="*/ 171 h 286"/>
                <a:gd name="T38" fmla="*/ 261 w 261"/>
                <a:gd name="T39" fmla="*/ 183 h 286"/>
                <a:gd name="T40" fmla="*/ 258 w 261"/>
                <a:gd name="T41" fmla="*/ 208 h 286"/>
                <a:gd name="T42" fmla="*/ 253 w 261"/>
                <a:gd name="T43" fmla="*/ 224 h 286"/>
                <a:gd name="T44" fmla="*/ 240 w 261"/>
                <a:gd name="T45" fmla="*/ 234 h 286"/>
                <a:gd name="T46" fmla="*/ 229 w 261"/>
                <a:gd name="T47" fmla="*/ 234 h 286"/>
                <a:gd name="T48" fmla="*/ 222 w 261"/>
                <a:gd name="T49" fmla="*/ 238 h 286"/>
                <a:gd name="T50" fmla="*/ 212 w 261"/>
                <a:gd name="T51" fmla="*/ 252 h 286"/>
                <a:gd name="T52" fmla="*/ 201 w 261"/>
                <a:gd name="T53" fmla="*/ 256 h 286"/>
                <a:gd name="T54" fmla="*/ 189 w 261"/>
                <a:gd name="T55" fmla="*/ 264 h 286"/>
                <a:gd name="T56" fmla="*/ 173 w 261"/>
                <a:gd name="T57" fmla="*/ 276 h 286"/>
                <a:gd name="T58" fmla="*/ 161 w 261"/>
                <a:gd name="T59" fmla="*/ 274 h 286"/>
                <a:gd name="T60" fmla="*/ 149 w 261"/>
                <a:gd name="T61" fmla="*/ 276 h 286"/>
                <a:gd name="T62" fmla="*/ 133 w 261"/>
                <a:gd name="T63" fmla="*/ 277 h 286"/>
                <a:gd name="T64" fmla="*/ 113 w 261"/>
                <a:gd name="T65" fmla="*/ 277 h 286"/>
                <a:gd name="T66" fmla="*/ 90 w 261"/>
                <a:gd name="T67" fmla="*/ 282 h 286"/>
                <a:gd name="T68" fmla="*/ 77 w 261"/>
                <a:gd name="T69" fmla="*/ 286 h 286"/>
                <a:gd name="T70" fmla="*/ 75 w 261"/>
                <a:gd name="T71" fmla="*/ 283 h 286"/>
                <a:gd name="T72" fmla="*/ 69 w 261"/>
                <a:gd name="T73" fmla="*/ 275 h 286"/>
                <a:gd name="T74" fmla="*/ 48 w 261"/>
                <a:gd name="T75" fmla="*/ 264 h 286"/>
                <a:gd name="T76" fmla="*/ 34 w 261"/>
                <a:gd name="T77" fmla="*/ 256 h 286"/>
                <a:gd name="T78" fmla="*/ 31 w 261"/>
                <a:gd name="T79" fmla="*/ 250 h 286"/>
                <a:gd name="T80" fmla="*/ 32 w 261"/>
                <a:gd name="T81" fmla="*/ 240 h 286"/>
                <a:gd name="T82" fmla="*/ 19 w 261"/>
                <a:gd name="T83" fmla="*/ 204 h 286"/>
                <a:gd name="T84" fmla="*/ 16 w 261"/>
                <a:gd name="T85" fmla="*/ 188 h 286"/>
                <a:gd name="T86" fmla="*/ 19 w 261"/>
                <a:gd name="T87" fmla="*/ 164 h 286"/>
                <a:gd name="T88" fmla="*/ 15 w 261"/>
                <a:gd name="T89" fmla="*/ 142 h 286"/>
                <a:gd name="T90" fmla="*/ 23 w 261"/>
                <a:gd name="T91" fmla="*/ 125 h 286"/>
                <a:gd name="T92" fmla="*/ 25 w 261"/>
                <a:gd name="T93" fmla="*/ 110 h 286"/>
                <a:gd name="T94" fmla="*/ 23 w 261"/>
                <a:gd name="T95" fmla="*/ 106 h 286"/>
                <a:gd name="T96" fmla="*/ 8 w 261"/>
                <a:gd name="T97" fmla="*/ 96 h 286"/>
                <a:gd name="T98" fmla="*/ 1 w 261"/>
                <a:gd name="T99" fmla="*/ 93 h 286"/>
                <a:gd name="T100" fmla="*/ 6 w 261"/>
                <a:gd name="T101" fmla="*/ 87 h 286"/>
                <a:gd name="T102" fmla="*/ 9 w 261"/>
                <a:gd name="T103" fmla="*/ 78 h 286"/>
                <a:gd name="T104" fmla="*/ 6 w 261"/>
                <a:gd name="T105" fmla="*/ 65 h 286"/>
                <a:gd name="T106" fmla="*/ 5 w 261"/>
                <a:gd name="T107" fmla="*/ 55 h 286"/>
                <a:gd name="T108" fmla="*/ 12 w 261"/>
                <a:gd name="T109" fmla="*/ 37 h 286"/>
                <a:gd name="T110" fmla="*/ 16 w 261"/>
                <a:gd name="T111" fmla="*/ 32 h 286"/>
                <a:gd name="T112" fmla="*/ 31 w 261"/>
                <a:gd name="T113" fmla="*/ 32 h 286"/>
                <a:gd name="T114" fmla="*/ 42 w 261"/>
                <a:gd name="T115" fmla="*/ 30 h 286"/>
                <a:gd name="T116" fmla="*/ 50 w 261"/>
                <a:gd name="T117" fmla="*/ 23 h 286"/>
                <a:gd name="T118" fmla="*/ 61 w 261"/>
                <a:gd name="T119" fmla="*/ 11 h 286"/>
                <a:gd name="T120" fmla="*/ 81 w 261"/>
                <a:gd name="T121" fmla="*/ 1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1" h="286">
                  <a:moveTo>
                    <a:pt x="83" y="0"/>
                  </a:moveTo>
                  <a:lnTo>
                    <a:pt x="83" y="1"/>
                  </a:lnTo>
                  <a:lnTo>
                    <a:pt x="84" y="1"/>
                  </a:lnTo>
                  <a:lnTo>
                    <a:pt x="86" y="2"/>
                  </a:lnTo>
                  <a:lnTo>
                    <a:pt x="87" y="3"/>
                  </a:lnTo>
                  <a:lnTo>
                    <a:pt x="88" y="4"/>
                  </a:lnTo>
                  <a:lnTo>
                    <a:pt x="90" y="5"/>
                  </a:lnTo>
                  <a:lnTo>
                    <a:pt x="91" y="7"/>
                  </a:lnTo>
                  <a:lnTo>
                    <a:pt x="91" y="8"/>
                  </a:lnTo>
                  <a:lnTo>
                    <a:pt x="92" y="8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6" y="9"/>
                  </a:lnTo>
                  <a:lnTo>
                    <a:pt x="98" y="9"/>
                  </a:lnTo>
                  <a:lnTo>
                    <a:pt x="100" y="9"/>
                  </a:lnTo>
                  <a:lnTo>
                    <a:pt x="101" y="10"/>
                  </a:lnTo>
                  <a:lnTo>
                    <a:pt x="103" y="11"/>
                  </a:lnTo>
                  <a:lnTo>
                    <a:pt x="104" y="12"/>
                  </a:lnTo>
                  <a:lnTo>
                    <a:pt x="105" y="13"/>
                  </a:lnTo>
                  <a:lnTo>
                    <a:pt x="109" y="15"/>
                  </a:lnTo>
                  <a:lnTo>
                    <a:pt x="110" y="15"/>
                  </a:lnTo>
                  <a:lnTo>
                    <a:pt x="111" y="15"/>
                  </a:lnTo>
                  <a:lnTo>
                    <a:pt x="111" y="16"/>
                  </a:lnTo>
                  <a:lnTo>
                    <a:pt x="112" y="16"/>
                  </a:lnTo>
                  <a:lnTo>
                    <a:pt x="113" y="15"/>
                  </a:lnTo>
                  <a:lnTo>
                    <a:pt x="114" y="15"/>
                  </a:lnTo>
                  <a:lnTo>
                    <a:pt x="115" y="15"/>
                  </a:lnTo>
                  <a:lnTo>
                    <a:pt x="117" y="12"/>
                  </a:lnTo>
                  <a:lnTo>
                    <a:pt x="119" y="11"/>
                  </a:lnTo>
                  <a:lnTo>
                    <a:pt x="120" y="11"/>
                  </a:lnTo>
                  <a:lnTo>
                    <a:pt x="121" y="10"/>
                  </a:lnTo>
                  <a:lnTo>
                    <a:pt x="122" y="10"/>
                  </a:lnTo>
                  <a:lnTo>
                    <a:pt x="125" y="10"/>
                  </a:lnTo>
                  <a:lnTo>
                    <a:pt x="125" y="14"/>
                  </a:lnTo>
                  <a:lnTo>
                    <a:pt x="123" y="19"/>
                  </a:lnTo>
                  <a:lnTo>
                    <a:pt x="123" y="22"/>
                  </a:lnTo>
                  <a:lnTo>
                    <a:pt x="123" y="26"/>
                  </a:lnTo>
                  <a:lnTo>
                    <a:pt x="123" y="28"/>
                  </a:lnTo>
                  <a:lnTo>
                    <a:pt x="123" y="31"/>
                  </a:lnTo>
                  <a:lnTo>
                    <a:pt x="123" y="33"/>
                  </a:lnTo>
                  <a:lnTo>
                    <a:pt x="124" y="35"/>
                  </a:lnTo>
                  <a:lnTo>
                    <a:pt x="124" y="38"/>
                  </a:lnTo>
                  <a:lnTo>
                    <a:pt x="125" y="39"/>
                  </a:lnTo>
                  <a:lnTo>
                    <a:pt x="126" y="41"/>
                  </a:lnTo>
                  <a:lnTo>
                    <a:pt x="127" y="43"/>
                  </a:lnTo>
                  <a:lnTo>
                    <a:pt x="129" y="44"/>
                  </a:lnTo>
                  <a:lnTo>
                    <a:pt x="130" y="45"/>
                  </a:lnTo>
                  <a:lnTo>
                    <a:pt x="136" y="49"/>
                  </a:lnTo>
                  <a:lnTo>
                    <a:pt x="138" y="49"/>
                  </a:lnTo>
                  <a:lnTo>
                    <a:pt x="139" y="51"/>
                  </a:lnTo>
                  <a:lnTo>
                    <a:pt x="140" y="51"/>
                  </a:lnTo>
                  <a:lnTo>
                    <a:pt x="140" y="52"/>
                  </a:lnTo>
                  <a:lnTo>
                    <a:pt x="141" y="54"/>
                  </a:lnTo>
                  <a:lnTo>
                    <a:pt x="141" y="57"/>
                  </a:lnTo>
                  <a:lnTo>
                    <a:pt x="141" y="60"/>
                  </a:lnTo>
                  <a:lnTo>
                    <a:pt x="141" y="64"/>
                  </a:lnTo>
                  <a:lnTo>
                    <a:pt x="141" y="67"/>
                  </a:lnTo>
                  <a:lnTo>
                    <a:pt x="141" y="70"/>
                  </a:lnTo>
                  <a:lnTo>
                    <a:pt x="141" y="73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3" y="79"/>
                  </a:lnTo>
                  <a:lnTo>
                    <a:pt x="144" y="81"/>
                  </a:lnTo>
                  <a:lnTo>
                    <a:pt x="145" y="82"/>
                  </a:lnTo>
                  <a:lnTo>
                    <a:pt x="146" y="83"/>
                  </a:lnTo>
                  <a:lnTo>
                    <a:pt x="151" y="87"/>
                  </a:lnTo>
                  <a:lnTo>
                    <a:pt x="154" y="89"/>
                  </a:lnTo>
                  <a:lnTo>
                    <a:pt x="158" y="93"/>
                  </a:lnTo>
                  <a:lnTo>
                    <a:pt x="171" y="106"/>
                  </a:lnTo>
                  <a:lnTo>
                    <a:pt x="173" y="109"/>
                  </a:lnTo>
                  <a:lnTo>
                    <a:pt x="175" y="111"/>
                  </a:lnTo>
                  <a:lnTo>
                    <a:pt x="178" y="113"/>
                  </a:lnTo>
                  <a:lnTo>
                    <a:pt x="180" y="114"/>
                  </a:lnTo>
                  <a:lnTo>
                    <a:pt x="182" y="115"/>
                  </a:lnTo>
                  <a:lnTo>
                    <a:pt x="186" y="117"/>
                  </a:lnTo>
                  <a:lnTo>
                    <a:pt x="189" y="117"/>
                  </a:lnTo>
                  <a:lnTo>
                    <a:pt x="192" y="119"/>
                  </a:lnTo>
                  <a:lnTo>
                    <a:pt x="195" y="121"/>
                  </a:lnTo>
                  <a:lnTo>
                    <a:pt x="197" y="122"/>
                  </a:lnTo>
                  <a:lnTo>
                    <a:pt x="200" y="124"/>
                  </a:lnTo>
                  <a:lnTo>
                    <a:pt x="209" y="130"/>
                  </a:lnTo>
                  <a:lnTo>
                    <a:pt x="211" y="132"/>
                  </a:lnTo>
                  <a:lnTo>
                    <a:pt x="213" y="134"/>
                  </a:lnTo>
                  <a:lnTo>
                    <a:pt x="215" y="136"/>
                  </a:lnTo>
                  <a:lnTo>
                    <a:pt x="221" y="146"/>
                  </a:lnTo>
                  <a:lnTo>
                    <a:pt x="224" y="149"/>
                  </a:lnTo>
                  <a:lnTo>
                    <a:pt x="225" y="150"/>
                  </a:lnTo>
                  <a:lnTo>
                    <a:pt x="226" y="151"/>
                  </a:lnTo>
                  <a:lnTo>
                    <a:pt x="230" y="153"/>
                  </a:lnTo>
                  <a:lnTo>
                    <a:pt x="231" y="155"/>
                  </a:lnTo>
                  <a:lnTo>
                    <a:pt x="232" y="156"/>
                  </a:lnTo>
                  <a:lnTo>
                    <a:pt x="237" y="162"/>
                  </a:lnTo>
                  <a:lnTo>
                    <a:pt x="240" y="165"/>
                  </a:lnTo>
                  <a:lnTo>
                    <a:pt x="242" y="168"/>
                  </a:lnTo>
                  <a:lnTo>
                    <a:pt x="246" y="171"/>
                  </a:lnTo>
                  <a:lnTo>
                    <a:pt x="249" y="173"/>
                  </a:lnTo>
                  <a:lnTo>
                    <a:pt x="257" y="179"/>
                  </a:lnTo>
                  <a:lnTo>
                    <a:pt x="260" y="182"/>
                  </a:lnTo>
                  <a:lnTo>
                    <a:pt x="261" y="183"/>
                  </a:lnTo>
                  <a:lnTo>
                    <a:pt x="261" y="183"/>
                  </a:lnTo>
                  <a:lnTo>
                    <a:pt x="261" y="184"/>
                  </a:lnTo>
                  <a:lnTo>
                    <a:pt x="261" y="185"/>
                  </a:lnTo>
                  <a:lnTo>
                    <a:pt x="260" y="194"/>
                  </a:lnTo>
                  <a:lnTo>
                    <a:pt x="259" y="202"/>
                  </a:lnTo>
                  <a:lnTo>
                    <a:pt x="258" y="208"/>
                  </a:lnTo>
                  <a:lnTo>
                    <a:pt x="257" y="215"/>
                  </a:lnTo>
                  <a:lnTo>
                    <a:pt x="256" y="219"/>
                  </a:lnTo>
                  <a:lnTo>
                    <a:pt x="255" y="221"/>
                  </a:lnTo>
                  <a:lnTo>
                    <a:pt x="254" y="222"/>
                  </a:lnTo>
                  <a:lnTo>
                    <a:pt x="253" y="224"/>
                  </a:lnTo>
                  <a:lnTo>
                    <a:pt x="252" y="226"/>
                  </a:lnTo>
                  <a:lnTo>
                    <a:pt x="250" y="228"/>
                  </a:lnTo>
                  <a:lnTo>
                    <a:pt x="246" y="230"/>
                  </a:lnTo>
                  <a:lnTo>
                    <a:pt x="242" y="232"/>
                  </a:lnTo>
                  <a:lnTo>
                    <a:pt x="240" y="234"/>
                  </a:lnTo>
                  <a:lnTo>
                    <a:pt x="238" y="234"/>
                  </a:lnTo>
                  <a:lnTo>
                    <a:pt x="236" y="234"/>
                  </a:lnTo>
                  <a:lnTo>
                    <a:pt x="234" y="234"/>
                  </a:lnTo>
                  <a:lnTo>
                    <a:pt x="230" y="234"/>
                  </a:lnTo>
                  <a:lnTo>
                    <a:pt x="229" y="234"/>
                  </a:lnTo>
                  <a:lnTo>
                    <a:pt x="228" y="234"/>
                  </a:lnTo>
                  <a:lnTo>
                    <a:pt x="227" y="234"/>
                  </a:lnTo>
                  <a:lnTo>
                    <a:pt x="225" y="235"/>
                  </a:lnTo>
                  <a:lnTo>
                    <a:pt x="223" y="236"/>
                  </a:lnTo>
                  <a:lnTo>
                    <a:pt x="222" y="238"/>
                  </a:lnTo>
                  <a:lnTo>
                    <a:pt x="221" y="240"/>
                  </a:lnTo>
                  <a:lnTo>
                    <a:pt x="217" y="245"/>
                  </a:lnTo>
                  <a:lnTo>
                    <a:pt x="216" y="248"/>
                  </a:lnTo>
                  <a:lnTo>
                    <a:pt x="214" y="250"/>
                  </a:lnTo>
                  <a:lnTo>
                    <a:pt x="212" y="252"/>
                  </a:lnTo>
                  <a:lnTo>
                    <a:pt x="211" y="253"/>
                  </a:lnTo>
                  <a:lnTo>
                    <a:pt x="209" y="253"/>
                  </a:lnTo>
                  <a:lnTo>
                    <a:pt x="207" y="254"/>
                  </a:lnTo>
                  <a:lnTo>
                    <a:pt x="203" y="255"/>
                  </a:lnTo>
                  <a:lnTo>
                    <a:pt x="201" y="256"/>
                  </a:lnTo>
                  <a:lnTo>
                    <a:pt x="198" y="257"/>
                  </a:lnTo>
                  <a:lnTo>
                    <a:pt x="196" y="258"/>
                  </a:lnTo>
                  <a:lnTo>
                    <a:pt x="195" y="259"/>
                  </a:lnTo>
                  <a:lnTo>
                    <a:pt x="194" y="260"/>
                  </a:lnTo>
                  <a:lnTo>
                    <a:pt x="189" y="264"/>
                  </a:lnTo>
                  <a:lnTo>
                    <a:pt x="185" y="267"/>
                  </a:lnTo>
                  <a:lnTo>
                    <a:pt x="178" y="274"/>
                  </a:lnTo>
                  <a:lnTo>
                    <a:pt x="175" y="276"/>
                  </a:lnTo>
                  <a:lnTo>
                    <a:pt x="174" y="276"/>
                  </a:lnTo>
                  <a:lnTo>
                    <a:pt x="173" y="276"/>
                  </a:lnTo>
                  <a:lnTo>
                    <a:pt x="172" y="276"/>
                  </a:lnTo>
                  <a:lnTo>
                    <a:pt x="172" y="276"/>
                  </a:lnTo>
                  <a:lnTo>
                    <a:pt x="170" y="276"/>
                  </a:lnTo>
                  <a:lnTo>
                    <a:pt x="163" y="275"/>
                  </a:lnTo>
                  <a:lnTo>
                    <a:pt x="161" y="274"/>
                  </a:lnTo>
                  <a:lnTo>
                    <a:pt x="159" y="274"/>
                  </a:lnTo>
                  <a:lnTo>
                    <a:pt x="158" y="275"/>
                  </a:lnTo>
                  <a:lnTo>
                    <a:pt x="156" y="275"/>
                  </a:lnTo>
                  <a:lnTo>
                    <a:pt x="154" y="275"/>
                  </a:lnTo>
                  <a:lnTo>
                    <a:pt x="149" y="276"/>
                  </a:lnTo>
                  <a:lnTo>
                    <a:pt x="147" y="276"/>
                  </a:lnTo>
                  <a:lnTo>
                    <a:pt x="142" y="277"/>
                  </a:lnTo>
                  <a:lnTo>
                    <a:pt x="139" y="277"/>
                  </a:lnTo>
                  <a:lnTo>
                    <a:pt x="138" y="278"/>
                  </a:lnTo>
                  <a:lnTo>
                    <a:pt x="133" y="277"/>
                  </a:lnTo>
                  <a:lnTo>
                    <a:pt x="131" y="277"/>
                  </a:lnTo>
                  <a:lnTo>
                    <a:pt x="126" y="276"/>
                  </a:lnTo>
                  <a:lnTo>
                    <a:pt x="124" y="276"/>
                  </a:lnTo>
                  <a:lnTo>
                    <a:pt x="121" y="276"/>
                  </a:lnTo>
                  <a:lnTo>
                    <a:pt x="113" y="277"/>
                  </a:lnTo>
                  <a:lnTo>
                    <a:pt x="105" y="278"/>
                  </a:lnTo>
                  <a:lnTo>
                    <a:pt x="103" y="278"/>
                  </a:lnTo>
                  <a:lnTo>
                    <a:pt x="101" y="278"/>
                  </a:lnTo>
                  <a:lnTo>
                    <a:pt x="95" y="280"/>
                  </a:lnTo>
                  <a:lnTo>
                    <a:pt x="90" y="282"/>
                  </a:lnTo>
                  <a:lnTo>
                    <a:pt x="83" y="285"/>
                  </a:lnTo>
                  <a:lnTo>
                    <a:pt x="81" y="286"/>
                  </a:lnTo>
                  <a:lnTo>
                    <a:pt x="80" y="286"/>
                  </a:lnTo>
                  <a:lnTo>
                    <a:pt x="78" y="286"/>
                  </a:lnTo>
                  <a:lnTo>
                    <a:pt x="77" y="286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5" y="283"/>
                  </a:lnTo>
                  <a:lnTo>
                    <a:pt x="74" y="281"/>
                  </a:lnTo>
                  <a:lnTo>
                    <a:pt x="73" y="279"/>
                  </a:lnTo>
                  <a:lnTo>
                    <a:pt x="71" y="277"/>
                  </a:lnTo>
                  <a:lnTo>
                    <a:pt x="70" y="276"/>
                  </a:lnTo>
                  <a:lnTo>
                    <a:pt x="69" y="275"/>
                  </a:lnTo>
                  <a:lnTo>
                    <a:pt x="67" y="273"/>
                  </a:lnTo>
                  <a:lnTo>
                    <a:pt x="63" y="270"/>
                  </a:lnTo>
                  <a:lnTo>
                    <a:pt x="58" y="268"/>
                  </a:lnTo>
                  <a:lnTo>
                    <a:pt x="55" y="266"/>
                  </a:lnTo>
                  <a:lnTo>
                    <a:pt x="48" y="264"/>
                  </a:lnTo>
                  <a:lnTo>
                    <a:pt x="45" y="263"/>
                  </a:lnTo>
                  <a:lnTo>
                    <a:pt x="39" y="261"/>
                  </a:lnTo>
                  <a:lnTo>
                    <a:pt x="37" y="260"/>
                  </a:lnTo>
                  <a:lnTo>
                    <a:pt x="35" y="258"/>
                  </a:lnTo>
                  <a:lnTo>
                    <a:pt x="34" y="256"/>
                  </a:lnTo>
                  <a:lnTo>
                    <a:pt x="32" y="254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1"/>
                  </a:lnTo>
                  <a:lnTo>
                    <a:pt x="31" y="250"/>
                  </a:lnTo>
                  <a:lnTo>
                    <a:pt x="31" y="249"/>
                  </a:lnTo>
                  <a:lnTo>
                    <a:pt x="32" y="245"/>
                  </a:lnTo>
                  <a:lnTo>
                    <a:pt x="32" y="243"/>
                  </a:lnTo>
                  <a:lnTo>
                    <a:pt x="33" y="242"/>
                  </a:lnTo>
                  <a:lnTo>
                    <a:pt x="32" y="240"/>
                  </a:lnTo>
                  <a:lnTo>
                    <a:pt x="32" y="238"/>
                  </a:lnTo>
                  <a:lnTo>
                    <a:pt x="29" y="232"/>
                  </a:lnTo>
                  <a:lnTo>
                    <a:pt x="26" y="226"/>
                  </a:lnTo>
                  <a:lnTo>
                    <a:pt x="21" y="210"/>
                  </a:lnTo>
                  <a:lnTo>
                    <a:pt x="19" y="204"/>
                  </a:lnTo>
                  <a:lnTo>
                    <a:pt x="18" y="201"/>
                  </a:lnTo>
                  <a:lnTo>
                    <a:pt x="17" y="198"/>
                  </a:lnTo>
                  <a:lnTo>
                    <a:pt x="16" y="195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6" y="186"/>
                  </a:lnTo>
                  <a:lnTo>
                    <a:pt x="18" y="173"/>
                  </a:lnTo>
                  <a:lnTo>
                    <a:pt x="19" y="170"/>
                  </a:lnTo>
                  <a:lnTo>
                    <a:pt x="19" y="167"/>
                  </a:lnTo>
                  <a:lnTo>
                    <a:pt x="19" y="164"/>
                  </a:lnTo>
                  <a:lnTo>
                    <a:pt x="18" y="162"/>
                  </a:lnTo>
                  <a:lnTo>
                    <a:pt x="16" y="151"/>
                  </a:lnTo>
                  <a:lnTo>
                    <a:pt x="15" y="149"/>
                  </a:lnTo>
                  <a:lnTo>
                    <a:pt x="15" y="145"/>
                  </a:lnTo>
                  <a:lnTo>
                    <a:pt x="15" y="142"/>
                  </a:lnTo>
                  <a:lnTo>
                    <a:pt x="15" y="140"/>
                  </a:lnTo>
                  <a:lnTo>
                    <a:pt x="16" y="139"/>
                  </a:lnTo>
                  <a:lnTo>
                    <a:pt x="18" y="135"/>
                  </a:lnTo>
                  <a:lnTo>
                    <a:pt x="22" y="127"/>
                  </a:lnTo>
                  <a:lnTo>
                    <a:pt x="23" y="125"/>
                  </a:lnTo>
                  <a:lnTo>
                    <a:pt x="24" y="121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0"/>
                  </a:lnTo>
                  <a:lnTo>
                    <a:pt x="25" y="109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6"/>
                  </a:lnTo>
                  <a:lnTo>
                    <a:pt x="23" y="106"/>
                  </a:lnTo>
                  <a:lnTo>
                    <a:pt x="22" y="105"/>
                  </a:lnTo>
                  <a:lnTo>
                    <a:pt x="20" y="103"/>
                  </a:lnTo>
                  <a:lnTo>
                    <a:pt x="17" y="101"/>
                  </a:lnTo>
                  <a:lnTo>
                    <a:pt x="13" y="99"/>
                  </a:lnTo>
                  <a:lnTo>
                    <a:pt x="8" y="96"/>
                  </a:lnTo>
                  <a:lnTo>
                    <a:pt x="6" y="94"/>
                  </a:lnTo>
                  <a:lnTo>
                    <a:pt x="3" y="94"/>
                  </a:lnTo>
                  <a:lnTo>
                    <a:pt x="1" y="93"/>
                  </a:lnTo>
                  <a:lnTo>
                    <a:pt x="0" y="93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2" y="91"/>
                  </a:lnTo>
                  <a:lnTo>
                    <a:pt x="3" y="90"/>
                  </a:lnTo>
                  <a:lnTo>
                    <a:pt x="5" y="88"/>
                  </a:lnTo>
                  <a:lnTo>
                    <a:pt x="6" y="87"/>
                  </a:lnTo>
                  <a:lnTo>
                    <a:pt x="7" y="85"/>
                  </a:lnTo>
                  <a:lnTo>
                    <a:pt x="8" y="83"/>
                  </a:lnTo>
                  <a:lnTo>
                    <a:pt x="8" y="81"/>
                  </a:lnTo>
                  <a:lnTo>
                    <a:pt x="9" y="79"/>
                  </a:lnTo>
                  <a:lnTo>
                    <a:pt x="9" y="78"/>
                  </a:lnTo>
                  <a:lnTo>
                    <a:pt x="9" y="76"/>
                  </a:lnTo>
                  <a:lnTo>
                    <a:pt x="9" y="74"/>
                  </a:lnTo>
                  <a:lnTo>
                    <a:pt x="9" y="72"/>
                  </a:lnTo>
                  <a:lnTo>
                    <a:pt x="8" y="71"/>
                  </a:lnTo>
                  <a:lnTo>
                    <a:pt x="6" y="65"/>
                  </a:lnTo>
                  <a:lnTo>
                    <a:pt x="5" y="62"/>
                  </a:lnTo>
                  <a:lnTo>
                    <a:pt x="5" y="60"/>
                  </a:lnTo>
                  <a:lnTo>
                    <a:pt x="5" y="59"/>
                  </a:lnTo>
                  <a:lnTo>
                    <a:pt x="5" y="57"/>
                  </a:lnTo>
                  <a:lnTo>
                    <a:pt x="5" y="55"/>
                  </a:lnTo>
                  <a:lnTo>
                    <a:pt x="5" y="53"/>
                  </a:lnTo>
                  <a:lnTo>
                    <a:pt x="6" y="51"/>
                  </a:lnTo>
                  <a:lnTo>
                    <a:pt x="7" y="48"/>
                  </a:lnTo>
                  <a:lnTo>
                    <a:pt x="8" y="45"/>
                  </a:lnTo>
                  <a:lnTo>
                    <a:pt x="12" y="37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21" y="32"/>
                  </a:lnTo>
                  <a:lnTo>
                    <a:pt x="29" y="32"/>
                  </a:lnTo>
                  <a:lnTo>
                    <a:pt x="31" y="32"/>
                  </a:lnTo>
                  <a:lnTo>
                    <a:pt x="33" y="32"/>
                  </a:lnTo>
                  <a:lnTo>
                    <a:pt x="35" y="32"/>
                  </a:lnTo>
                  <a:lnTo>
                    <a:pt x="38" y="31"/>
                  </a:lnTo>
                  <a:lnTo>
                    <a:pt x="40" y="31"/>
                  </a:lnTo>
                  <a:lnTo>
                    <a:pt x="42" y="30"/>
                  </a:lnTo>
                  <a:lnTo>
                    <a:pt x="44" y="29"/>
                  </a:lnTo>
                  <a:lnTo>
                    <a:pt x="46" y="28"/>
                  </a:lnTo>
                  <a:lnTo>
                    <a:pt x="47" y="26"/>
                  </a:lnTo>
                  <a:lnTo>
                    <a:pt x="48" y="26"/>
                  </a:lnTo>
                  <a:lnTo>
                    <a:pt x="50" y="23"/>
                  </a:lnTo>
                  <a:lnTo>
                    <a:pt x="52" y="21"/>
                  </a:lnTo>
                  <a:lnTo>
                    <a:pt x="56" y="16"/>
                  </a:lnTo>
                  <a:lnTo>
                    <a:pt x="57" y="15"/>
                  </a:lnTo>
                  <a:lnTo>
                    <a:pt x="58" y="13"/>
                  </a:lnTo>
                  <a:lnTo>
                    <a:pt x="61" y="11"/>
                  </a:lnTo>
                  <a:lnTo>
                    <a:pt x="63" y="10"/>
                  </a:lnTo>
                  <a:lnTo>
                    <a:pt x="66" y="8"/>
                  </a:lnTo>
                  <a:lnTo>
                    <a:pt x="74" y="4"/>
                  </a:lnTo>
                  <a:lnTo>
                    <a:pt x="78" y="2"/>
                  </a:lnTo>
                  <a:lnTo>
                    <a:pt x="81" y="1"/>
                  </a:lnTo>
                  <a:lnTo>
                    <a:pt x="82" y="0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5" name="Freeform 42">
              <a:extLst>
                <a:ext uri="{FF2B5EF4-FFF2-40B4-BE49-F238E27FC236}">
                  <a16:creationId xmlns:a16="http://schemas.microsoft.com/office/drawing/2014/main" id="{DEADB03B-C96D-4C7F-9D0A-6A9EF1918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0" y="1212"/>
              <a:ext cx="423" cy="451"/>
            </a:xfrm>
            <a:custGeom>
              <a:avLst/>
              <a:gdLst>
                <a:gd name="T0" fmla="*/ 223 w 423"/>
                <a:gd name="T1" fmla="*/ 9 h 451"/>
                <a:gd name="T2" fmla="*/ 253 w 423"/>
                <a:gd name="T3" fmla="*/ 20 h 451"/>
                <a:gd name="T4" fmla="*/ 269 w 423"/>
                <a:gd name="T5" fmla="*/ 22 h 451"/>
                <a:gd name="T6" fmla="*/ 279 w 423"/>
                <a:gd name="T7" fmla="*/ 31 h 451"/>
                <a:gd name="T8" fmla="*/ 279 w 423"/>
                <a:gd name="T9" fmla="*/ 44 h 451"/>
                <a:gd name="T10" fmla="*/ 269 w 423"/>
                <a:gd name="T11" fmla="*/ 60 h 451"/>
                <a:gd name="T12" fmla="*/ 269 w 423"/>
                <a:gd name="T13" fmla="*/ 82 h 451"/>
                <a:gd name="T14" fmla="*/ 279 w 423"/>
                <a:gd name="T15" fmla="*/ 102 h 451"/>
                <a:gd name="T16" fmla="*/ 300 w 423"/>
                <a:gd name="T17" fmla="*/ 120 h 451"/>
                <a:gd name="T18" fmla="*/ 299 w 423"/>
                <a:gd name="T19" fmla="*/ 136 h 451"/>
                <a:gd name="T20" fmla="*/ 297 w 423"/>
                <a:gd name="T21" fmla="*/ 152 h 451"/>
                <a:gd name="T22" fmla="*/ 307 w 423"/>
                <a:gd name="T23" fmla="*/ 156 h 451"/>
                <a:gd name="T24" fmla="*/ 324 w 423"/>
                <a:gd name="T25" fmla="*/ 148 h 451"/>
                <a:gd name="T26" fmla="*/ 341 w 423"/>
                <a:gd name="T27" fmla="*/ 125 h 451"/>
                <a:gd name="T28" fmla="*/ 355 w 423"/>
                <a:gd name="T29" fmla="*/ 128 h 451"/>
                <a:gd name="T30" fmla="*/ 373 w 423"/>
                <a:gd name="T31" fmla="*/ 150 h 451"/>
                <a:gd name="T32" fmla="*/ 396 w 423"/>
                <a:gd name="T33" fmla="*/ 165 h 451"/>
                <a:gd name="T34" fmla="*/ 400 w 423"/>
                <a:gd name="T35" fmla="*/ 187 h 451"/>
                <a:gd name="T36" fmla="*/ 419 w 423"/>
                <a:gd name="T37" fmla="*/ 222 h 451"/>
                <a:gd name="T38" fmla="*/ 419 w 423"/>
                <a:gd name="T39" fmla="*/ 236 h 451"/>
                <a:gd name="T40" fmla="*/ 414 w 423"/>
                <a:gd name="T41" fmla="*/ 256 h 451"/>
                <a:gd name="T42" fmla="*/ 422 w 423"/>
                <a:gd name="T43" fmla="*/ 288 h 451"/>
                <a:gd name="T44" fmla="*/ 416 w 423"/>
                <a:gd name="T45" fmla="*/ 312 h 451"/>
                <a:gd name="T46" fmla="*/ 409 w 423"/>
                <a:gd name="T47" fmla="*/ 325 h 451"/>
                <a:gd name="T48" fmla="*/ 382 w 423"/>
                <a:gd name="T49" fmla="*/ 340 h 451"/>
                <a:gd name="T50" fmla="*/ 377 w 423"/>
                <a:gd name="T51" fmla="*/ 357 h 451"/>
                <a:gd name="T52" fmla="*/ 362 w 423"/>
                <a:gd name="T53" fmla="*/ 369 h 451"/>
                <a:gd name="T54" fmla="*/ 338 w 423"/>
                <a:gd name="T55" fmla="*/ 365 h 451"/>
                <a:gd name="T56" fmla="*/ 311 w 423"/>
                <a:gd name="T57" fmla="*/ 363 h 451"/>
                <a:gd name="T58" fmla="*/ 303 w 423"/>
                <a:gd name="T59" fmla="*/ 383 h 451"/>
                <a:gd name="T60" fmla="*/ 294 w 423"/>
                <a:gd name="T61" fmla="*/ 400 h 451"/>
                <a:gd name="T62" fmla="*/ 264 w 423"/>
                <a:gd name="T63" fmla="*/ 433 h 451"/>
                <a:gd name="T64" fmla="*/ 256 w 423"/>
                <a:gd name="T65" fmla="*/ 446 h 451"/>
                <a:gd name="T66" fmla="*/ 242 w 423"/>
                <a:gd name="T67" fmla="*/ 443 h 451"/>
                <a:gd name="T68" fmla="*/ 203 w 423"/>
                <a:gd name="T69" fmla="*/ 447 h 451"/>
                <a:gd name="T70" fmla="*/ 188 w 423"/>
                <a:gd name="T71" fmla="*/ 450 h 451"/>
                <a:gd name="T72" fmla="*/ 176 w 423"/>
                <a:gd name="T73" fmla="*/ 442 h 451"/>
                <a:gd name="T74" fmla="*/ 169 w 423"/>
                <a:gd name="T75" fmla="*/ 419 h 451"/>
                <a:gd name="T76" fmla="*/ 158 w 423"/>
                <a:gd name="T77" fmla="*/ 417 h 451"/>
                <a:gd name="T78" fmla="*/ 142 w 423"/>
                <a:gd name="T79" fmla="*/ 420 h 451"/>
                <a:gd name="T80" fmla="*/ 120 w 423"/>
                <a:gd name="T81" fmla="*/ 417 h 451"/>
                <a:gd name="T82" fmla="*/ 106 w 423"/>
                <a:gd name="T83" fmla="*/ 420 h 451"/>
                <a:gd name="T84" fmla="*/ 97 w 423"/>
                <a:gd name="T85" fmla="*/ 408 h 451"/>
                <a:gd name="T86" fmla="*/ 73 w 423"/>
                <a:gd name="T87" fmla="*/ 386 h 451"/>
                <a:gd name="T88" fmla="*/ 52 w 423"/>
                <a:gd name="T89" fmla="*/ 352 h 451"/>
                <a:gd name="T90" fmla="*/ 32 w 423"/>
                <a:gd name="T91" fmla="*/ 310 h 451"/>
                <a:gd name="T92" fmla="*/ 11 w 423"/>
                <a:gd name="T93" fmla="*/ 265 h 451"/>
                <a:gd name="T94" fmla="*/ 2 w 423"/>
                <a:gd name="T95" fmla="*/ 237 h 451"/>
                <a:gd name="T96" fmla="*/ 1 w 423"/>
                <a:gd name="T97" fmla="*/ 225 h 451"/>
                <a:gd name="T98" fmla="*/ 16 w 423"/>
                <a:gd name="T99" fmla="*/ 193 h 451"/>
                <a:gd name="T100" fmla="*/ 23 w 423"/>
                <a:gd name="T101" fmla="*/ 167 h 451"/>
                <a:gd name="T102" fmla="*/ 51 w 423"/>
                <a:gd name="T103" fmla="*/ 144 h 451"/>
                <a:gd name="T104" fmla="*/ 56 w 423"/>
                <a:gd name="T105" fmla="*/ 133 h 451"/>
                <a:gd name="T106" fmla="*/ 63 w 423"/>
                <a:gd name="T107" fmla="*/ 109 h 451"/>
                <a:gd name="T108" fmla="*/ 78 w 423"/>
                <a:gd name="T109" fmla="*/ 88 h 451"/>
                <a:gd name="T110" fmla="*/ 78 w 423"/>
                <a:gd name="T111" fmla="*/ 57 h 451"/>
                <a:gd name="T112" fmla="*/ 90 w 423"/>
                <a:gd name="T113" fmla="*/ 52 h 451"/>
                <a:gd name="T114" fmla="*/ 115 w 423"/>
                <a:gd name="T115" fmla="*/ 60 h 451"/>
                <a:gd name="T116" fmla="*/ 142 w 423"/>
                <a:gd name="T117" fmla="*/ 70 h 451"/>
                <a:gd name="T118" fmla="*/ 154 w 423"/>
                <a:gd name="T119" fmla="*/ 66 h 451"/>
                <a:gd name="T120" fmla="*/ 167 w 423"/>
                <a:gd name="T121" fmla="*/ 34 h 451"/>
                <a:gd name="T122" fmla="*/ 185 w 423"/>
                <a:gd name="T123" fmla="*/ 17 h 451"/>
                <a:gd name="T124" fmla="*/ 204 w 423"/>
                <a:gd name="T125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3" h="451">
                  <a:moveTo>
                    <a:pt x="207" y="0"/>
                  </a:moveTo>
                  <a:lnTo>
                    <a:pt x="211" y="1"/>
                  </a:lnTo>
                  <a:lnTo>
                    <a:pt x="212" y="1"/>
                  </a:lnTo>
                  <a:lnTo>
                    <a:pt x="214" y="3"/>
                  </a:lnTo>
                  <a:lnTo>
                    <a:pt x="216" y="3"/>
                  </a:lnTo>
                  <a:lnTo>
                    <a:pt x="217" y="5"/>
                  </a:lnTo>
                  <a:lnTo>
                    <a:pt x="220" y="7"/>
                  </a:lnTo>
                  <a:lnTo>
                    <a:pt x="223" y="9"/>
                  </a:lnTo>
                  <a:lnTo>
                    <a:pt x="225" y="9"/>
                  </a:lnTo>
                  <a:lnTo>
                    <a:pt x="229" y="10"/>
                  </a:lnTo>
                  <a:lnTo>
                    <a:pt x="235" y="10"/>
                  </a:lnTo>
                  <a:lnTo>
                    <a:pt x="236" y="11"/>
                  </a:lnTo>
                  <a:lnTo>
                    <a:pt x="238" y="11"/>
                  </a:lnTo>
                  <a:lnTo>
                    <a:pt x="241" y="12"/>
                  </a:lnTo>
                  <a:lnTo>
                    <a:pt x="243" y="13"/>
                  </a:lnTo>
                  <a:lnTo>
                    <a:pt x="253" y="20"/>
                  </a:lnTo>
                  <a:lnTo>
                    <a:pt x="255" y="21"/>
                  </a:lnTo>
                  <a:lnTo>
                    <a:pt x="256" y="22"/>
                  </a:lnTo>
                  <a:lnTo>
                    <a:pt x="257" y="22"/>
                  </a:lnTo>
                  <a:lnTo>
                    <a:pt x="259" y="22"/>
                  </a:lnTo>
                  <a:lnTo>
                    <a:pt x="263" y="22"/>
                  </a:lnTo>
                  <a:lnTo>
                    <a:pt x="267" y="22"/>
                  </a:lnTo>
                  <a:lnTo>
                    <a:pt x="268" y="22"/>
                  </a:lnTo>
                  <a:lnTo>
                    <a:pt x="269" y="22"/>
                  </a:lnTo>
                  <a:lnTo>
                    <a:pt x="270" y="22"/>
                  </a:lnTo>
                  <a:lnTo>
                    <a:pt x="273" y="23"/>
                  </a:lnTo>
                  <a:lnTo>
                    <a:pt x="274" y="24"/>
                  </a:lnTo>
                  <a:lnTo>
                    <a:pt x="276" y="25"/>
                  </a:lnTo>
                  <a:lnTo>
                    <a:pt x="277" y="27"/>
                  </a:lnTo>
                  <a:lnTo>
                    <a:pt x="278" y="28"/>
                  </a:lnTo>
                  <a:lnTo>
                    <a:pt x="278" y="29"/>
                  </a:lnTo>
                  <a:lnTo>
                    <a:pt x="279" y="31"/>
                  </a:lnTo>
                  <a:lnTo>
                    <a:pt x="279" y="35"/>
                  </a:lnTo>
                  <a:lnTo>
                    <a:pt x="279" y="39"/>
                  </a:lnTo>
                  <a:lnTo>
                    <a:pt x="279" y="40"/>
                  </a:lnTo>
                  <a:lnTo>
                    <a:pt x="280" y="41"/>
                  </a:lnTo>
                  <a:lnTo>
                    <a:pt x="281" y="42"/>
                  </a:lnTo>
                  <a:lnTo>
                    <a:pt x="281" y="43"/>
                  </a:lnTo>
                  <a:lnTo>
                    <a:pt x="280" y="43"/>
                  </a:lnTo>
                  <a:lnTo>
                    <a:pt x="279" y="44"/>
                  </a:lnTo>
                  <a:lnTo>
                    <a:pt x="277" y="46"/>
                  </a:lnTo>
                  <a:lnTo>
                    <a:pt x="275" y="47"/>
                  </a:lnTo>
                  <a:lnTo>
                    <a:pt x="274" y="49"/>
                  </a:lnTo>
                  <a:lnTo>
                    <a:pt x="273" y="51"/>
                  </a:lnTo>
                  <a:lnTo>
                    <a:pt x="272" y="53"/>
                  </a:lnTo>
                  <a:lnTo>
                    <a:pt x="270" y="56"/>
                  </a:lnTo>
                  <a:lnTo>
                    <a:pt x="270" y="57"/>
                  </a:lnTo>
                  <a:lnTo>
                    <a:pt x="269" y="60"/>
                  </a:lnTo>
                  <a:lnTo>
                    <a:pt x="268" y="63"/>
                  </a:lnTo>
                  <a:lnTo>
                    <a:pt x="268" y="66"/>
                  </a:lnTo>
                  <a:lnTo>
                    <a:pt x="268" y="68"/>
                  </a:lnTo>
                  <a:lnTo>
                    <a:pt x="268" y="71"/>
                  </a:lnTo>
                  <a:lnTo>
                    <a:pt x="268" y="74"/>
                  </a:lnTo>
                  <a:lnTo>
                    <a:pt x="268" y="77"/>
                  </a:lnTo>
                  <a:lnTo>
                    <a:pt x="268" y="80"/>
                  </a:lnTo>
                  <a:lnTo>
                    <a:pt x="269" y="82"/>
                  </a:lnTo>
                  <a:lnTo>
                    <a:pt x="270" y="84"/>
                  </a:lnTo>
                  <a:lnTo>
                    <a:pt x="271" y="86"/>
                  </a:lnTo>
                  <a:lnTo>
                    <a:pt x="272" y="90"/>
                  </a:lnTo>
                  <a:lnTo>
                    <a:pt x="274" y="93"/>
                  </a:lnTo>
                  <a:lnTo>
                    <a:pt x="275" y="96"/>
                  </a:lnTo>
                  <a:lnTo>
                    <a:pt x="277" y="98"/>
                  </a:lnTo>
                  <a:lnTo>
                    <a:pt x="278" y="100"/>
                  </a:lnTo>
                  <a:lnTo>
                    <a:pt x="279" y="102"/>
                  </a:lnTo>
                  <a:lnTo>
                    <a:pt x="281" y="102"/>
                  </a:lnTo>
                  <a:lnTo>
                    <a:pt x="286" y="105"/>
                  </a:lnTo>
                  <a:lnTo>
                    <a:pt x="289" y="107"/>
                  </a:lnTo>
                  <a:lnTo>
                    <a:pt x="290" y="109"/>
                  </a:lnTo>
                  <a:lnTo>
                    <a:pt x="292" y="111"/>
                  </a:lnTo>
                  <a:lnTo>
                    <a:pt x="296" y="114"/>
                  </a:lnTo>
                  <a:lnTo>
                    <a:pt x="299" y="118"/>
                  </a:lnTo>
                  <a:lnTo>
                    <a:pt x="300" y="120"/>
                  </a:lnTo>
                  <a:lnTo>
                    <a:pt x="301" y="121"/>
                  </a:lnTo>
                  <a:lnTo>
                    <a:pt x="301" y="125"/>
                  </a:lnTo>
                  <a:lnTo>
                    <a:pt x="302" y="126"/>
                  </a:lnTo>
                  <a:lnTo>
                    <a:pt x="302" y="128"/>
                  </a:lnTo>
                  <a:lnTo>
                    <a:pt x="302" y="129"/>
                  </a:lnTo>
                  <a:lnTo>
                    <a:pt x="302" y="131"/>
                  </a:lnTo>
                  <a:lnTo>
                    <a:pt x="301" y="133"/>
                  </a:lnTo>
                  <a:lnTo>
                    <a:pt x="299" y="136"/>
                  </a:lnTo>
                  <a:lnTo>
                    <a:pt x="298" y="138"/>
                  </a:lnTo>
                  <a:lnTo>
                    <a:pt x="296" y="142"/>
                  </a:lnTo>
                  <a:lnTo>
                    <a:pt x="296" y="145"/>
                  </a:lnTo>
                  <a:lnTo>
                    <a:pt x="295" y="147"/>
                  </a:lnTo>
                  <a:lnTo>
                    <a:pt x="295" y="148"/>
                  </a:lnTo>
                  <a:lnTo>
                    <a:pt x="295" y="150"/>
                  </a:lnTo>
                  <a:lnTo>
                    <a:pt x="296" y="151"/>
                  </a:lnTo>
                  <a:lnTo>
                    <a:pt x="297" y="152"/>
                  </a:lnTo>
                  <a:lnTo>
                    <a:pt x="297" y="153"/>
                  </a:lnTo>
                  <a:lnTo>
                    <a:pt x="298" y="154"/>
                  </a:lnTo>
                  <a:lnTo>
                    <a:pt x="299" y="154"/>
                  </a:lnTo>
                  <a:lnTo>
                    <a:pt x="301" y="155"/>
                  </a:lnTo>
                  <a:lnTo>
                    <a:pt x="302" y="155"/>
                  </a:lnTo>
                  <a:lnTo>
                    <a:pt x="304" y="156"/>
                  </a:lnTo>
                  <a:lnTo>
                    <a:pt x="306" y="156"/>
                  </a:lnTo>
                  <a:lnTo>
                    <a:pt x="307" y="156"/>
                  </a:lnTo>
                  <a:lnTo>
                    <a:pt x="309" y="156"/>
                  </a:lnTo>
                  <a:lnTo>
                    <a:pt x="312" y="156"/>
                  </a:lnTo>
                  <a:lnTo>
                    <a:pt x="315" y="155"/>
                  </a:lnTo>
                  <a:lnTo>
                    <a:pt x="317" y="154"/>
                  </a:lnTo>
                  <a:lnTo>
                    <a:pt x="319" y="152"/>
                  </a:lnTo>
                  <a:lnTo>
                    <a:pt x="320" y="151"/>
                  </a:lnTo>
                  <a:lnTo>
                    <a:pt x="322" y="150"/>
                  </a:lnTo>
                  <a:lnTo>
                    <a:pt x="324" y="148"/>
                  </a:lnTo>
                  <a:lnTo>
                    <a:pt x="325" y="145"/>
                  </a:lnTo>
                  <a:lnTo>
                    <a:pt x="333" y="133"/>
                  </a:lnTo>
                  <a:lnTo>
                    <a:pt x="335" y="130"/>
                  </a:lnTo>
                  <a:lnTo>
                    <a:pt x="336" y="128"/>
                  </a:lnTo>
                  <a:lnTo>
                    <a:pt x="337" y="127"/>
                  </a:lnTo>
                  <a:lnTo>
                    <a:pt x="338" y="126"/>
                  </a:lnTo>
                  <a:lnTo>
                    <a:pt x="339" y="125"/>
                  </a:lnTo>
                  <a:lnTo>
                    <a:pt x="341" y="125"/>
                  </a:lnTo>
                  <a:lnTo>
                    <a:pt x="342" y="125"/>
                  </a:lnTo>
                  <a:lnTo>
                    <a:pt x="343" y="125"/>
                  </a:lnTo>
                  <a:lnTo>
                    <a:pt x="345" y="125"/>
                  </a:lnTo>
                  <a:lnTo>
                    <a:pt x="346" y="125"/>
                  </a:lnTo>
                  <a:lnTo>
                    <a:pt x="347" y="125"/>
                  </a:lnTo>
                  <a:lnTo>
                    <a:pt x="349" y="125"/>
                  </a:lnTo>
                  <a:lnTo>
                    <a:pt x="352" y="126"/>
                  </a:lnTo>
                  <a:lnTo>
                    <a:pt x="355" y="128"/>
                  </a:lnTo>
                  <a:lnTo>
                    <a:pt x="357" y="129"/>
                  </a:lnTo>
                  <a:lnTo>
                    <a:pt x="358" y="130"/>
                  </a:lnTo>
                  <a:lnTo>
                    <a:pt x="360" y="132"/>
                  </a:lnTo>
                  <a:lnTo>
                    <a:pt x="363" y="135"/>
                  </a:lnTo>
                  <a:lnTo>
                    <a:pt x="366" y="139"/>
                  </a:lnTo>
                  <a:lnTo>
                    <a:pt x="370" y="146"/>
                  </a:lnTo>
                  <a:lnTo>
                    <a:pt x="371" y="148"/>
                  </a:lnTo>
                  <a:lnTo>
                    <a:pt x="373" y="150"/>
                  </a:lnTo>
                  <a:lnTo>
                    <a:pt x="375" y="152"/>
                  </a:lnTo>
                  <a:lnTo>
                    <a:pt x="377" y="154"/>
                  </a:lnTo>
                  <a:lnTo>
                    <a:pt x="380" y="155"/>
                  </a:lnTo>
                  <a:lnTo>
                    <a:pt x="382" y="157"/>
                  </a:lnTo>
                  <a:lnTo>
                    <a:pt x="389" y="159"/>
                  </a:lnTo>
                  <a:lnTo>
                    <a:pt x="392" y="161"/>
                  </a:lnTo>
                  <a:lnTo>
                    <a:pt x="394" y="163"/>
                  </a:lnTo>
                  <a:lnTo>
                    <a:pt x="396" y="165"/>
                  </a:lnTo>
                  <a:lnTo>
                    <a:pt x="397" y="167"/>
                  </a:lnTo>
                  <a:lnTo>
                    <a:pt x="398" y="168"/>
                  </a:lnTo>
                  <a:lnTo>
                    <a:pt x="399" y="170"/>
                  </a:lnTo>
                  <a:lnTo>
                    <a:pt x="400" y="171"/>
                  </a:lnTo>
                  <a:lnTo>
                    <a:pt x="400" y="173"/>
                  </a:lnTo>
                  <a:lnTo>
                    <a:pt x="400" y="176"/>
                  </a:lnTo>
                  <a:lnTo>
                    <a:pt x="400" y="184"/>
                  </a:lnTo>
                  <a:lnTo>
                    <a:pt x="400" y="187"/>
                  </a:lnTo>
                  <a:lnTo>
                    <a:pt x="401" y="191"/>
                  </a:lnTo>
                  <a:lnTo>
                    <a:pt x="402" y="193"/>
                  </a:lnTo>
                  <a:lnTo>
                    <a:pt x="403" y="196"/>
                  </a:lnTo>
                  <a:lnTo>
                    <a:pt x="405" y="200"/>
                  </a:lnTo>
                  <a:lnTo>
                    <a:pt x="415" y="214"/>
                  </a:lnTo>
                  <a:lnTo>
                    <a:pt x="416" y="218"/>
                  </a:lnTo>
                  <a:lnTo>
                    <a:pt x="418" y="220"/>
                  </a:lnTo>
                  <a:lnTo>
                    <a:pt x="419" y="222"/>
                  </a:lnTo>
                  <a:lnTo>
                    <a:pt x="419" y="224"/>
                  </a:lnTo>
                  <a:lnTo>
                    <a:pt x="420" y="227"/>
                  </a:lnTo>
                  <a:lnTo>
                    <a:pt x="420" y="227"/>
                  </a:lnTo>
                  <a:lnTo>
                    <a:pt x="420" y="229"/>
                  </a:lnTo>
                  <a:lnTo>
                    <a:pt x="420" y="231"/>
                  </a:lnTo>
                  <a:lnTo>
                    <a:pt x="420" y="232"/>
                  </a:lnTo>
                  <a:lnTo>
                    <a:pt x="420" y="234"/>
                  </a:lnTo>
                  <a:lnTo>
                    <a:pt x="419" y="236"/>
                  </a:lnTo>
                  <a:lnTo>
                    <a:pt x="416" y="241"/>
                  </a:lnTo>
                  <a:lnTo>
                    <a:pt x="415" y="243"/>
                  </a:lnTo>
                  <a:lnTo>
                    <a:pt x="415" y="245"/>
                  </a:lnTo>
                  <a:lnTo>
                    <a:pt x="415" y="247"/>
                  </a:lnTo>
                  <a:lnTo>
                    <a:pt x="414" y="250"/>
                  </a:lnTo>
                  <a:lnTo>
                    <a:pt x="414" y="251"/>
                  </a:lnTo>
                  <a:lnTo>
                    <a:pt x="414" y="254"/>
                  </a:lnTo>
                  <a:lnTo>
                    <a:pt x="414" y="256"/>
                  </a:lnTo>
                  <a:lnTo>
                    <a:pt x="414" y="258"/>
                  </a:lnTo>
                  <a:lnTo>
                    <a:pt x="415" y="262"/>
                  </a:lnTo>
                  <a:lnTo>
                    <a:pt x="419" y="276"/>
                  </a:lnTo>
                  <a:lnTo>
                    <a:pt x="421" y="284"/>
                  </a:lnTo>
                  <a:lnTo>
                    <a:pt x="420" y="284"/>
                  </a:lnTo>
                  <a:lnTo>
                    <a:pt x="421" y="285"/>
                  </a:lnTo>
                  <a:lnTo>
                    <a:pt x="422" y="287"/>
                  </a:lnTo>
                  <a:lnTo>
                    <a:pt x="422" y="288"/>
                  </a:lnTo>
                  <a:lnTo>
                    <a:pt x="423" y="289"/>
                  </a:lnTo>
                  <a:lnTo>
                    <a:pt x="423" y="290"/>
                  </a:lnTo>
                  <a:lnTo>
                    <a:pt x="422" y="291"/>
                  </a:lnTo>
                  <a:lnTo>
                    <a:pt x="422" y="294"/>
                  </a:lnTo>
                  <a:lnTo>
                    <a:pt x="419" y="299"/>
                  </a:lnTo>
                  <a:lnTo>
                    <a:pt x="418" y="302"/>
                  </a:lnTo>
                  <a:lnTo>
                    <a:pt x="417" y="305"/>
                  </a:lnTo>
                  <a:lnTo>
                    <a:pt x="416" y="312"/>
                  </a:lnTo>
                  <a:lnTo>
                    <a:pt x="416" y="315"/>
                  </a:lnTo>
                  <a:lnTo>
                    <a:pt x="415" y="318"/>
                  </a:lnTo>
                  <a:lnTo>
                    <a:pt x="415" y="318"/>
                  </a:lnTo>
                  <a:lnTo>
                    <a:pt x="414" y="320"/>
                  </a:lnTo>
                  <a:lnTo>
                    <a:pt x="413" y="321"/>
                  </a:lnTo>
                  <a:lnTo>
                    <a:pt x="412" y="322"/>
                  </a:lnTo>
                  <a:lnTo>
                    <a:pt x="411" y="324"/>
                  </a:lnTo>
                  <a:lnTo>
                    <a:pt x="409" y="325"/>
                  </a:lnTo>
                  <a:lnTo>
                    <a:pt x="406" y="326"/>
                  </a:lnTo>
                  <a:lnTo>
                    <a:pt x="397" y="330"/>
                  </a:lnTo>
                  <a:lnTo>
                    <a:pt x="392" y="333"/>
                  </a:lnTo>
                  <a:lnTo>
                    <a:pt x="390" y="335"/>
                  </a:lnTo>
                  <a:lnTo>
                    <a:pt x="387" y="337"/>
                  </a:lnTo>
                  <a:lnTo>
                    <a:pt x="384" y="339"/>
                  </a:lnTo>
                  <a:lnTo>
                    <a:pt x="383" y="340"/>
                  </a:lnTo>
                  <a:lnTo>
                    <a:pt x="382" y="340"/>
                  </a:lnTo>
                  <a:lnTo>
                    <a:pt x="381" y="341"/>
                  </a:lnTo>
                  <a:lnTo>
                    <a:pt x="381" y="343"/>
                  </a:lnTo>
                  <a:lnTo>
                    <a:pt x="380" y="344"/>
                  </a:lnTo>
                  <a:lnTo>
                    <a:pt x="380" y="347"/>
                  </a:lnTo>
                  <a:lnTo>
                    <a:pt x="379" y="352"/>
                  </a:lnTo>
                  <a:lnTo>
                    <a:pt x="378" y="353"/>
                  </a:lnTo>
                  <a:lnTo>
                    <a:pt x="378" y="355"/>
                  </a:lnTo>
                  <a:lnTo>
                    <a:pt x="377" y="357"/>
                  </a:lnTo>
                  <a:lnTo>
                    <a:pt x="375" y="359"/>
                  </a:lnTo>
                  <a:lnTo>
                    <a:pt x="373" y="362"/>
                  </a:lnTo>
                  <a:lnTo>
                    <a:pt x="370" y="363"/>
                  </a:lnTo>
                  <a:lnTo>
                    <a:pt x="369" y="365"/>
                  </a:lnTo>
                  <a:lnTo>
                    <a:pt x="367" y="367"/>
                  </a:lnTo>
                  <a:lnTo>
                    <a:pt x="365" y="368"/>
                  </a:lnTo>
                  <a:lnTo>
                    <a:pt x="364" y="368"/>
                  </a:lnTo>
                  <a:lnTo>
                    <a:pt x="362" y="369"/>
                  </a:lnTo>
                  <a:lnTo>
                    <a:pt x="360" y="369"/>
                  </a:lnTo>
                  <a:lnTo>
                    <a:pt x="358" y="370"/>
                  </a:lnTo>
                  <a:lnTo>
                    <a:pt x="358" y="370"/>
                  </a:lnTo>
                  <a:lnTo>
                    <a:pt x="356" y="370"/>
                  </a:lnTo>
                  <a:lnTo>
                    <a:pt x="355" y="370"/>
                  </a:lnTo>
                  <a:lnTo>
                    <a:pt x="352" y="369"/>
                  </a:lnTo>
                  <a:lnTo>
                    <a:pt x="348" y="368"/>
                  </a:lnTo>
                  <a:lnTo>
                    <a:pt x="338" y="365"/>
                  </a:lnTo>
                  <a:lnTo>
                    <a:pt x="332" y="363"/>
                  </a:lnTo>
                  <a:lnTo>
                    <a:pt x="326" y="363"/>
                  </a:lnTo>
                  <a:lnTo>
                    <a:pt x="324" y="362"/>
                  </a:lnTo>
                  <a:lnTo>
                    <a:pt x="321" y="362"/>
                  </a:lnTo>
                  <a:lnTo>
                    <a:pt x="317" y="362"/>
                  </a:lnTo>
                  <a:lnTo>
                    <a:pt x="314" y="362"/>
                  </a:lnTo>
                  <a:lnTo>
                    <a:pt x="313" y="362"/>
                  </a:lnTo>
                  <a:lnTo>
                    <a:pt x="311" y="363"/>
                  </a:lnTo>
                  <a:lnTo>
                    <a:pt x="308" y="363"/>
                  </a:lnTo>
                  <a:lnTo>
                    <a:pt x="308" y="364"/>
                  </a:lnTo>
                  <a:lnTo>
                    <a:pt x="306" y="366"/>
                  </a:lnTo>
                  <a:lnTo>
                    <a:pt x="305" y="369"/>
                  </a:lnTo>
                  <a:lnTo>
                    <a:pt x="304" y="370"/>
                  </a:lnTo>
                  <a:lnTo>
                    <a:pt x="304" y="372"/>
                  </a:lnTo>
                  <a:lnTo>
                    <a:pt x="304" y="374"/>
                  </a:lnTo>
                  <a:lnTo>
                    <a:pt x="303" y="383"/>
                  </a:lnTo>
                  <a:lnTo>
                    <a:pt x="302" y="387"/>
                  </a:lnTo>
                  <a:lnTo>
                    <a:pt x="301" y="390"/>
                  </a:lnTo>
                  <a:lnTo>
                    <a:pt x="301" y="393"/>
                  </a:lnTo>
                  <a:lnTo>
                    <a:pt x="300" y="395"/>
                  </a:lnTo>
                  <a:lnTo>
                    <a:pt x="299" y="396"/>
                  </a:lnTo>
                  <a:lnTo>
                    <a:pt x="298" y="397"/>
                  </a:lnTo>
                  <a:lnTo>
                    <a:pt x="296" y="399"/>
                  </a:lnTo>
                  <a:lnTo>
                    <a:pt x="294" y="400"/>
                  </a:lnTo>
                  <a:lnTo>
                    <a:pt x="288" y="405"/>
                  </a:lnTo>
                  <a:lnTo>
                    <a:pt x="287" y="406"/>
                  </a:lnTo>
                  <a:lnTo>
                    <a:pt x="285" y="407"/>
                  </a:lnTo>
                  <a:lnTo>
                    <a:pt x="282" y="410"/>
                  </a:lnTo>
                  <a:lnTo>
                    <a:pt x="277" y="419"/>
                  </a:lnTo>
                  <a:lnTo>
                    <a:pt x="274" y="422"/>
                  </a:lnTo>
                  <a:lnTo>
                    <a:pt x="270" y="427"/>
                  </a:lnTo>
                  <a:lnTo>
                    <a:pt x="264" y="433"/>
                  </a:lnTo>
                  <a:lnTo>
                    <a:pt x="261" y="436"/>
                  </a:lnTo>
                  <a:lnTo>
                    <a:pt x="260" y="438"/>
                  </a:lnTo>
                  <a:lnTo>
                    <a:pt x="259" y="440"/>
                  </a:lnTo>
                  <a:lnTo>
                    <a:pt x="258" y="441"/>
                  </a:lnTo>
                  <a:lnTo>
                    <a:pt x="257" y="442"/>
                  </a:lnTo>
                  <a:lnTo>
                    <a:pt x="257" y="443"/>
                  </a:lnTo>
                  <a:lnTo>
                    <a:pt x="256" y="445"/>
                  </a:lnTo>
                  <a:lnTo>
                    <a:pt x="256" y="446"/>
                  </a:lnTo>
                  <a:lnTo>
                    <a:pt x="257" y="446"/>
                  </a:lnTo>
                  <a:lnTo>
                    <a:pt x="257" y="447"/>
                  </a:lnTo>
                  <a:lnTo>
                    <a:pt x="256" y="446"/>
                  </a:lnTo>
                  <a:lnTo>
                    <a:pt x="256" y="445"/>
                  </a:lnTo>
                  <a:lnTo>
                    <a:pt x="254" y="445"/>
                  </a:lnTo>
                  <a:lnTo>
                    <a:pt x="252" y="444"/>
                  </a:lnTo>
                  <a:lnTo>
                    <a:pt x="246" y="443"/>
                  </a:lnTo>
                  <a:lnTo>
                    <a:pt x="242" y="443"/>
                  </a:lnTo>
                  <a:lnTo>
                    <a:pt x="237" y="442"/>
                  </a:lnTo>
                  <a:lnTo>
                    <a:pt x="233" y="442"/>
                  </a:lnTo>
                  <a:lnTo>
                    <a:pt x="230" y="443"/>
                  </a:lnTo>
                  <a:lnTo>
                    <a:pt x="223" y="443"/>
                  </a:lnTo>
                  <a:lnTo>
                    <a:pt x="216" y="443"/>
                  </a:lnTo>
                  <a:lnTo>
                    <a:pt x="213" y="444"/>
                  </a:lnTo>
                  <a:lnTo>
                    <a:pt x="212" y="444"/>
                  </a:lnTo>
                  <a:lnTo>
                    <a:pt x="203" y="447"/>
                  </a:lnTo>
                  <a:lnTo>
                    <a:pt x="200" y="448"/>
                  </a:lnTo>
                  <a:lnTo>
                    <a:pt x="197" y="450"/>
                  </a:lnTo>
                  <a:lnTo>
                    <a:pt x="195" y="451"/>
                  </a:lnTo>
                  <a:lnTo>
                    <a:pt x="193" y="451"/>
                  </a:lnTo>
                  <a:lnTo>
                    <a:pt x="192" y="451"/>
                  </a:lnTo>
                  <a:lnTo>
                    <a:pt x="191" y="451"/>
                  </a:lnTo>
                  <a:lnTo>
                    <a:pt x="189" y="451"/>
                  </a:lnTo>
                  <a:lnTo>
                    <a:pt x="188" y="450"/>
                  </a:lnTo>
                  <a:lnTo>
                    <a:pt x="185" y="450"/>
                  </a:lnTo>
                  <a:lnTo>
                    <a:pt x="183" y="449"/>
                  </a:lnTo>
                  <a:lnTo>
                    <a:pt x="181" y="448"/>
                  </a:lnTo>
                  <a:lnTo>
                    <a:pt x="180" y="447"/>
                  </a:lnTo>
                  <a:lnTo>
                    <a:pt x="179" y="446"/>
                  </a:lnTo>
                  <a:lnTo>
                    <a:pt x="178" y="445"/>
                  </a:lnTo>
                  <a:lnTo>
                    <a:pt x="177" y="443"/>
                  </a:lnTo>
                  <a:lnTo>
                    <a:pt x="176" y="442"/>
                  </a:lnTo>
                  <a:lnTo>
                    <a:pt x="176" y="440"/>
                  </a:lnTo>
                  <a:lnTo>
                    <a:pt x="175" y="438"/>
                  </a:lnTo>
                  <a:lnTo>
                    <a:pt x="174" y="435"/>
                  </a:lnTo>
                  <a:lnTo>
                    <a:pt x="173" y="431"/>
                  </a:lnTo>
                  <a:lnTo>
                    <a:pt x="171" y="424"/>
                  </a:lnTo>
                  <a:lnTo>
                    <a:pt x="171" y="422"/>
                  </a:lnTo>
                  <a:lnTo>
                    <a:pt x="170" y="420"/>
                  </a:lnTo>
                  <a:lnTo>
                    <a:pt x="169" y="419"/>
                  </a:lnTo>
                  <a:lnTo>
                    <a:pt x="168" y="417"/>
                  </a:lnTo>
                  <a:lnTo>
                    <a:pt x="167" y="416"/>
                  </a:lnTo>
                  <a:lnTo>
                    <a:pt x="166" y="416"/>
                  </a:lnTo>
                  <a:lnTo>
                    <a:pt x="165" y="415"/>
                  </a:lnTo>
                  <a:lnTo>
                    <a:pt x="164" y="415"/>
                  </a:lnTo>
                  <a:lnTo>
                    <a:pt x="163" y="415"/>
                  </a:lnTo>
                  <a:lnTo>
                    <a:pt x="161" y="416"/>
                  </a:lnTo>
                  <a:lnTo>
                    <a:pt x="158" y="417"/>
                  </a:lnTo>
                  <a:lnTo>
                    <a:pt x="155" y="418"/>
                  </a:lnTo>
                  <a:lnTo>
                    <a:pt x="154" y="419"/>
                  </a:lnTo>
                  <a:lnTo>
                    <a:pt x="150" y="420"/>
                  </a:lnTo>
                  <a:lnTo>
                    <a:pt x="149" y="420"/>
                  </a:lnTo>
                  <a:lnTo>
                    <a:pt x="147" y="421"/>
                  </a:lnTo>
                  <a:lnTo>
                    <a:pt x="144" y="421"/>
                  </a:lnTo>
                  <a:lnTo>
                    <a:pt x="143" y="421"/>
                  </a:lnTo>
                  <a:lnTo>
                    <a:pt x="142" y="420"/>
                  </a:lnTo>
                  <a:lnTo>
                    <a:pt x="139" y="420"/>
                  </a:lnTo>
                  <a:lnTo>
                    <a:pt x="137" y="420"/>
                  </a:lnTo>
                  <a:lnTo>
                    <a:pt x="131" y="417"/>
                  </a:lnTo>
                  <a:lnTo>
                    <a:pt x="129" y="416"/>
                  </a:lnTo>
                  <a:lnTo>
                    <a:pt x="127" y="416"/>
                  </a:lnTo>
                  <a:lnTo>
                    <a:pt x="125" y="416"/>
                  </a:lnTo>
                  <a:lnTo>
                    <a:pt x="123" y="416"/>
                  </a:lnTo>
                  <a:lnTo>
                    <a:pt x="120" y="417"/>
                  </a:lnTo>
                  <a:lnTo>
                    <a:pt x="119" y="418"/>
                  </a:lnTo>
                  <a:lnTo>
                    <a:pt x="115" y="420"/>
                  </a:lnTo>
                  <a:lnTo>
                    <a:pt x="113" y="421"/>
                  </a:lnTo>
                  <a:lnTo>
                    <a:pt x="111" y="421"/>
                  </a:lnTo>
                  <a:lnTo>
                    <a:pt x="109" y="421"/>
                  </a:lnTo>
                  <a:lnTo>
                    <a:pt x="108" y="421"/>
                  </a:lnTo>
                  <a:lnTo>
                    <a:pt x="108" y="421"/>
                  </a:lnTo>
                  <a:lnTo>
                    <a:pt x="106" y="420"/>
                  </a:lnTo>
                  <a:lnTo>
                    <a:pt x="105" y="420"/>
                  </a:lnTo>
                  <a:lnTo>
                    <a:pt x="104" y="419"/>
                  </a:lnTo>
                  <a:lnTo>
                    <a:pt x="103" y="418"/>
                  </a:lnTo>
                  <a:lnTo>
                    <a:pt x="102" y="417"/>
                  </a:lnTo>
                  <a:lnTo>
                    <a:pt x="102" y="416"/>
                  </a:lnTo>
                  <a:lnTo>
                    <a:pt x="101" y="413"/>
                  </a:lnTo>
                  <a:lnTo>
                    <a:pt x="99" y="410"/>
                  </a:lnTo>
                  <a:lnTo>
                    <a:pt x="97" y="408"/>
                  </a:lnTo>
                  <a:lnTo>
                    <a:pt x="95" y="403"/>
                  </a:lnTo>
                  <a:lnTo>
                    <a:pt x="93" y="401"/>
                  </a:lnTo>
                  <a:lnTo>
                    <a:pt x="91" y="399"/>
                  </a:lnTo>
                  <a:lnTo>
                    <a:pt x="88" y="397"/>
                  </a:lnTo>
                  <a:lnTo>
                    <a:pt x="85" y="394"/>
                  </a:lnTo>
                  <a:lnTo>
                    <a:pt x="81" y="391"/>
                  </a:lnTo>
                  <a:lnTo>
                    <a:pt x="74" y="387"/>
                  </a:lnTo>
                  <a:lnTo>
                    <a:pt x="73" y="386"/>
                  </a:lnTo>
                  <a:lnTo>
                    <a:pt x="71" y="385"/>
                  </a:lnTo>
                  <a:lnTo>
                    <a:pt x="69" y="382"/>
                  </a:lnTo>
                  <a:lnTo>
                    <a:pt x="68" y="380"/>
                  </a:lnTo>
                  <a:lnTo>
                    <a:pt x="67" y="379"/>
                  </a:lnTo>
                  <a:lnTo>
                    <a:pt x="62" y="369"/>
                  </a:lnTo>
                  <a:lnTo>
                    <a:pt x="55" y="358"/>
                  </a:lnTo>
                  <a:lnTo>
                    <a:pt x="54" y="354"/>
                  </a:lnTo>
                  <a:lnTo>
                    <a:pt x="52" y="352"/>
                  </a:lnTo>
                  <a:lnTo>
                    <a:pt x="47" y="336"/>
                  </a:lnTo>
                  <a:lnTo>
                    <a:pt x="45" y="332"/>
                  </a:lnTo>
                  <a:lnTo>
                    <a:pt x="43" y="329"/>
                  </a:lnTo>
                  <a:lnTo>
                    <a:pt x="40" y="323"/>
                  </a:lnTo>
                  <a:lnTo>
                    <a:pt x="39" y="319"/>
                  </a:lnTo>
                  <a:lnTo>
                    <a:pt x="37" y="317"/>
                  </a:lnTo>
                  <a:lnTo>
                    <a:pt x="33" y="313"/>
                  </a:lnTo>
                  <a:lnTo>
                    <a:pt x="32" y="310"/>
                  </a:lnTo>
                  <a:lnTo>
                    <a:pt x="29" y="306"/>
                  </a:lnTo>
                  <a:lnTo>
                    <a:pt x="27" y="303"/>
                  </a:lnTo>
                  <a:lnTo>
                    <a:pt x="26" y="299"/>
                  </a:lnTo>
                  <a:lnTo>
                    <a:pt x="20" y="289"/>
                  </a:lnTo>
                  <a:lnTo>
                    <a:pt x="17" y="280"/>
                  </a:lnTo>
                  <a:lnTo>
                    <a:pt x="13" y="273"/>
                  </a:lnTo>
                  <a:lnTo>
                    <a:pt x="12" y="269"/>
                  </a:lnTo>
                  <a:lnTo>
                    <a:pt x="11" y="265"/>
                  </a:lnTo>
                  <a:lnTo>
                    <a:pt x="9" y="257"/>
                  </a:lnTo>
                  <a:lnTo>
                    <a:pt x="8" y="252"/>
                  </a:lnTo>
                  <a:lnTo>
                    <a:pt x="7" y="247"/>
                  </a:lnTo>
                  <a:lnTo>
                    <a:pt x="6" y="242"/>
                  </a:lnTo>
                  <a:lnTo>
                    <a:pt x="5" y="239"/>
                  </a:lnTo>
                  <a:lnTo>
                    <a:pt x="4" y="238"/>
                  </a:lnTo>
                  <a:lnTo>
                    <a:pt x="3" y="237"/>
                  </a:lnTo>
                  <a:lnTo>
                    <a:pt x="2" y="237"/>
                  </a:lnTo>
                  <a:lnTo>
                    <a:pt x="1" y="237"/>
                  </a:lnTo>
                  <a:lnTo>
                    <a:pt x="0" y="236"/>
                  </a:lnTo>
                  <a:lnTo>
                    <a:pt x="0" y="235"/>
                  </a:lnTo>
                  <a:lnTo>
                    <a:pt x="0" y="233"/>
                  </a:lnTo>
                  <a:lnTo>
                    <a:pt x="0" y="231"/>
                  </a:lnTo>
                  <a:lnTo>
                    <a:pt x="0" y="229"/>
                  </a:lnTo>
                  <a:lnTo>
                    <a:pt x="1" y="227"/>
                  </a:lnTo>
                  <a:lnTo>
                    <a:pt x="1" y="225"/>
                  </a:lnTo>
                  <a:lnTo>
                    <a:pt x="3" y="221"/>
                  </a:lnTo>
                  <a:lnTo>
                    <a:pt x="5" y="216"/>
                  </a:lnTo>
                  <a:lnTo>
                    <a:pt x="7" y="212"/>
                  </a:lnTo>
                  <a:lnTo>
                    <a:pt x="13" y="202"/>
                  </a:lnTo>
                  <a:lnTo>
                    <a:pt x="14" y="199"/>
                  </a:lnTo>
                  <a:lnTo>
                    <a:pt x="15" y="196"/>
                  </a:lnTo>
                  <a:lnTo>
                    <a:pt x="16" y="194"/>
                  </a:lnTo>
                  <a:lnTo>
                    <a:pt x="16" y="193"/>
                  </a:lnTo>
                  <a:lnTo>
                    <a:pt x="17" y="184"/>
                  </a:lnTo>
                  <a:lnTo>
                    <a:pt x="17" y="182"/>
                  </a:lnTo>
                  <a:lnTo>
                    <a:pt x="17" y="180"/>
                  </a:lnTo>
                  <a:lnTo>
                    <a:pt x="18" y="178"/>
                  </a:lnTo>
                  <a:lnTo>
                    <a:pt x="19" y="175"/>
                  </a:lnTo>
                  <a:lnTo>
                    <a:pt x="20" y="172"/>
                  </a:lnTo>
                  <a:lnTo>
                    <a:pt x="22" y="170"/>
                  </a:lnTo>
                  <a:lnTo>
                    <a:pt x="23" y="167"/>
                  </a:lnTo>
                  <a:lnTo>
                    <a:pt x="25" y="164"/>
                  </a:lnTo>
                  <a:lnTo>
                    <a:pt x="27" y="162"/>
                  </a:lnTo>
                  <a:lnTo>
                    <a:pt x="29" y="160"/>
                  </a:lnTo>
                  <a:lnTo>
                    <a:pt x="32" y="159"/>
                  </a:lnTo>
                  <a:lnTo>
                    <a:pt x="39" y="153"/>
                  </a:lnTo>
                  <a:lnTo>
                    <a:pt x="46" y="147"/>
                  </a:lnTo>
                  <a:lnTo>
                    <a:pt x="49" y="146"/>
                  </a:lnTo>
                  <a:lnTo>
                    <a:pt x="51" y="144"/>
                  </a:lnTo>
                  <a:lnTo>
                    <a:pt x="52" y="144"/>
                  </a:lnTo>
                  <a:lnTo>
                    <a:pt x="53" y="143"/>
                  </a:lnTo>
                  <a:lnTo>
                    <a:pt x="54" y="142"/>
                  </a:lnTo>
                  <a:lnTo>
                    <a:pt x="55" y="140"/>
                  </a:lnTo>
                  <a:lnTo>
                    <a:pt x="55" y="139"/>
                  </a:lnTo>
                  <a:lnTo>
                    <a:pt x="56" y="138"/>
                  </a:lnTo>
                  <a:lnTo>
                    <a:pt x="56" y="137"/>
                  </a:lnTo>
                  <a:lnTo>
                    <a:pt x="56" y="133"/>
                  </a:lnTo>
                  <a:lnTo>
                    <a:pt x="56" y="131"/>
                  </a:lnTo>
                  <a:lnTo>
                    <a:pt x="57" y="128"/>
                  </a:lnTo>
                  <a:lnTo>
                    <a:pt x="57" y="126"/>
                  </a:lnTo>
                  <a:lnTo>
                    <a:pt x="58" y="123"/>
                  </a:lnTo>
                  <a:lnTo>
                    <a:pt x="59" y="119"/>
                  </a:lnTo>
                  <a:lnTo>
                    <a:pt x="61" y="115"/>
                  </a:lnTo>
                  <a:lnTo>
                    <a:pt x="62" y="113"/>
                  </a:lnTo>
                  <a:lnTo>
                    <a:pt x="63" y="109"/>
                  </a:lnTo>
                  <a:lnTo>
                    <a:pt x="66" y="105"/>
                  </a:lnTo>
                  <a:lnTo>
                    <a:pt x="68" y="102"/>
                  </a:lnTo>
                  <a:lnTo>
                    <a:pt x="72" y="99"/>
                  </a:lnTo>
                  <a:lnTo>
                    <a:pt x="74" y="97"/>
                  </a:lnTo>
                  <a:lnTo>
                    <a:pt x="75" y="94"/>
                  </a:lnTo>
                  <a:lnTo>
                    <a:pt x="76" y="92"/>
                  </a:lnTo>
                  <a:lnTo>
                    <a:pt x="77" y="90"/>
                  </a:lnTo>
                  <a:lnTo>
                    <a:pt x="78" y="88"/>
                  </a:lnTo>
                  <a:lnTo>
                    <a:pt x="79" y="80"/>
                  </a:lnTo>
                  <a:lnTo>
                    <a:pt x="79" y="78"/>
                  </a:lnTo>
                  <a:lnTo>
                    <a:pt x="79" y="75"/>
                  </a:lnTo>
                  <a:lnTo>
                    <a:pt x="79" y="71"/>
                  </a:lnTo>
                  <a:lnTo>
                    <a:pt x="78" y="62"/>
                  </a:lnTo>
                  <a:lnTo>
                    <a:pt x="78" y="59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8" y="56"/>
                  </a:lnTo>
                  <a:lnTo>
                    <a:pt x="79" y="56"/>
                  </a:lnTo>
                  <a:lnTo>
                    <a:pt x="79" y="55"/>
                  </a:lnTo>
                  <a:lnTo>
                    <a:pt x="80" y="55"/>
                  </a:lnTo>
                  <a:lnTo>
                    <a:pt x="82" y="54"/>
                  </a:lnTo>
                  <a:lnTo>
                    <a:pt x="84" y="53"/>
                  </a:lnTo>
                  <a:lnTo>
                    <a:pt x="88" y="52"/>
                  </a:lnTo>
                  <a:lnTo>
                    <a:pt x="90" y="52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7" y="52"/>
                  </a:lnTo>
                  <a:lnTo>
                    <a:pt x="98" y="53"/>
                  </a:lnTo>
                  <a:lnTo>
                    <a:pt x="103" y="55"/>
                  </a:lnTo>
                  <a:lnTo>
                    <a:pt x="108" y="57"/>
                  </a:lnTo>
                  <a:lnTo>
                    <a:pt x="111" y="57"/>
                  </a:lnTo>
                  <a:lnTo>
                    <a:pt x="115" y="60"/>
                  </a:lnTo>
                  <a:lnTo>
                    <a:pt x="122" y="65"/>
                  </a:lnTo>
                  <a:lnTo>
                    <a:pt x="125" y="66"/>
                  </a:lnTo>
                  <a:lnTo>
                    <a:pt x="129" y="68"/>
                  </a:lnTo>
                  <a:lnTo>
                    <a:pt x="132" y="69"/>
                  </a:lnTo>
                  <a:lnTo>
                    <a:pt x="135" y="69"/>
                  </a:lnTo>
                  <a:lnTo>
                    <a:pt x="137" y="70"/>
                  </a:lnTo>
                  <a:lnTo>
                    <a:pt x="140" y="70"/>
                  </a:lnTo>
                  <a:lnTo>
                    <a:pt x="142" y="70"/>
                  </a:lnTo>
                  <a:lnTo>
                    <a:pt x="143" y="70"/>
                  </a:lnTo>
                  <a:lnTo>
                    <a:pt x="146" y="70"/>
                  </a:lnTo>
                  <a:lnTo>
                    <a:pt x="148" y="69"/>
                  </a:lnTo>
                  <a:lnTo>
                    <a:pt x="150" y="68"/>
                  </a:lnTo>
                  <a:lnTo>
                    <a:pt x="151" y="68"/>
                  </a:lnTo>
                  <a:lnTo>
                    <a:pt x="153" y="68"/>
                  </a:lnTo>
                  <a:lnTo>
                    <a:pt x="154" y="67"/>
                  </a:lnTo>
                  <a:lnTo>
                    <a:pt x="154" y="66"/>
                  </a:lnTo>
                  <a:lnTo>
                    <a:pt x="156" y="63"/>
                  </a:lnTo>
                  <a:lnTo>
                    <a:pt x="157" y="62"/>
                  </a:lnTo>
                  <a:lnTo>
                    <a:pt x="158" y="60"/>
                  </a:lnTo>
                  <a:lnTo>
                    <a:pt x="159" y="58"/>
                  </a:lnTo>
                  <a:lnTo>
                    <a:pt x="160" y="56"/>
                  </a:lnTo>
                  <a:lnTo>
                    <a:pt x="164" y="42"/>
                  </a:lnTo>
                  <a:lnTo>
                    <a:pt x="165" y="38"/>
                  </a:lnTo>
                  <a:lnTo>
                    <a:pt x="167" y="34"/>
                  </a:lnTo>
                  <a:lnTo>
                    <a:pt x="168" y="32"/>
                  </a:lnTo>
                  <a:lnTo>
                    <a:pt x="169" y="30"/>
                  </a:lnTo>
                  <a:lnTo>
                    <a:pt x="170" y="28"/>
                  </a:lnTo>
                  <a:lnTo>
                    <a:pt x="171" y="27"/>
                  </a:lnTo>
                  <a:lnTo>
                    <a:pt x="172" y="26"/>
                  </a:lnTo>
                  <a:lnTo>
                    <a:pt x="175" y="23"/>
                  </a:lnTo>
                  <a:lnTo>
                    <a:pt x="177" y="22"/>
                  </a:lnTo>
                  <a:lnTo>
                    <a:pt x="185" y="17"/>
                  </a:lnTo>
                  <a:lnTo>
                    <a:pt x="188" y="15"/>
                  </a:lnTo>
                  <a:lnTo>
                    <a:pt x="192" y="12"/>
                  </a:lnTo>
                  <a:lnTo>
                    <a:pt x="196" y="10"/>
                  </a:lnTo>
                  <a:lnTo>
                    <a:pt x="199" y="7"/>
                  </a:lnTo>
                  <a:lnTo>
                    <a:pt x="201" y="4"/>
                  </a:lnTo>
                  <a:lnTo>
                    <a:pt x="203" y="2"/>
                  </a:lnTo>
                  <a:lnTo>
                    <a:pt x="204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6" name="Freeform 43">
              <a:extLst>
                <a:ext uri="{FF2B5EF4-FFF2-40B4-BE49-F238E27FC236}">
                  <a16:creationId xmlns:a16="http://schemas.microsoft.com/office/drawing/2014/main" id="{A598B964-2BE2-432D-A6B0-05E82E6E02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9" y="1209"/>
              <a:ext cx="216" cy="288"/>
            </a:xfrm>
            <a:custGeom>
              <a:avLst/>
              <a:gdLst>
                <a:gd name="T0" fmla="*/ 174 w 216"/>
                <a:gd name="T1" fmla="*/ 4 h 288"/>
                <a:gd name="T2" fmla="*/ 185 w 216"/>
                <a:gd name="T3" fmla="*/ 12 h 288"/>
                <a:gd name="T4" fmla="*/ 195 w 216"/>
                <a:gd name="T5" fmla="*/ 27 h 288"/>
                <a:gd name="T6" fmla="*/ 199 w 216"/>
                <a:gd name="T7" fmla="*/ 41 h 288"/>
                <a:gd name="T8" fmla="*/ 199 w 216"/>
                <a:gd name="T9" fmla="*/ 67 h 288"/>
                <a:gd name="T10" fmla="*/ 200 w 216"/>
                <a:gd name="T11" fmla="*/ 86 h 288"/>
                <a:gd name="T12" fmla="*/ 206 w 216"/>
                <a:gd name="T13" fmla="*/ 95 h 288"/>
                <a:gd name="T14" fmla="*/ 214 w 216"/>
                <a:gd name="T15" fmla="*/ 99 h 288"/>
                <a:gd name="T16" fmla="*/ 212 w 216"/>
                <a:gd name="T17" fmla="*/ 111 h 288"/>
                <a:gd name="T18" fmla="*/ 201 w 216"/>
                <a:gd name="T19" fmla="*/ 127 h 288"/>
                <a:gd name="T20" fmla="*/ 200 w 216"/>
                <a:gd name="T21" fmla="*/ 140 h 288"/>
                <a:gd name="T22" fmla="*/ 204 w 216"/>
                <a:gd name="T23" fmla="*/ 191 h 288"/>
                <a:gd name="T24" fmla="*/ 200 w 216"/>
                <a:gd name="T25" fmla="*/ 205 h 288"/>
                <a:gd name="T26" fmla="*/ 189 w 216"/>
                <a:gd name="T27" fmla="*/ 210 h 288"/>
                <a:gd name="T28" fmla="*/ 177 w 216"/>
                <a:gd name="T29" fmla="*/ 217 h 288"/>
                <a:gd name="T30" fmla="*/ 167 w 216"/>
                <a:gd name="T31" fmla="*/ 230 h 288"/>
                <a:gd name="T32" fmla="*/ 154 w 216"/>
                <a:gd name="T33" fmla="*/ 257 h 288"/>
                <a:gd name="T34" fmla="*/ 144 w 216"/>
                <a:gd name="T35" fmla="*/ 266 h 288"/>
                <a:gd name="T36" fmla="*/ 126 w 216"/>
                <a:gd name="T37" fmla="*/ 272 h 288"/>
                <a:gd name="T38" fmla="*/ 113 w 216"/>
                <a:gd name="T39" fmla="*/ 274 h 288"/>
                <a:gd name="T40" fmla="*/ 103 w 216"/>
                <a:gd name="T41" fmla="*/ 281 h 288"/>
                <a:gd name="T42" fmla="*/ 97 w 216"/>
                <a:gd name="T43" fmla="*/ 285 h 288"/>
                <a:gd name="T44" fmla="*/ 87 w 216"/>
                <a:gd name="T45" fmla="*/ 284 h 288"/>
                <a:gd name="T46" fmla="*/ 80 w 216"/>
                <a:gd name="T47" fmla="*/ 285 h 288"/>
                <a:gd name="T48" fmla="*/ 70 w 216"/>
                <a:gd name="T49" fmla="*/ 288 h 288"/>
                <a:gd name="T50" fmla="*/ 56 w 216"/>
                <a:gd name="T51" fmla="*/ 283 h 288"/>
                <a:gd name="T52" fmla="*/ 38 w 216"/>
                <a:gd name="T53" fmla="*/ 285 h 288"/>
                <a:gd name="T54" fmla="*/ 18 w 216"/>
                <a:gd name="T55" fmla="*/ 288 h 288"/>
                <a:gd name="T56" fmla="*/ 14 w 216"/>
                <a:gd name="T57" fmla="*/ 283 h 288"/>
                <a:gd name="T58" fmla="*/ 8 w 216"/>
                <a:gd name="T59" fmla="*/ 254 h 288"/>
                <a:gd name="T60" fmla="*/ 4 w 216"/>
                <a:gd name="T61" fmla="*/ 227 h 288"/>
                <a:gd name="T62" fmla="*/ 0 w 216"/>
                <a:gd name="T63" fmla="*/ 210 h 288"/>
                <a:gd name="T64" fmla="*/ 3 w 216"/>
                <a:gd name="T65" fmla="*/ 181 h 288"/>
                <a:gd name="T66" fmla="*/ 8 w 216"/>
                <a:gd name="T67" fmla="*/ 164 h 288"/>
                <a:gd name="T68" fmla="*/ 6 w 216"/>
                <a:gd name="T69" fmla="*/ 151 h 288"/>
                <a:gd name="T70" fmla="*/ 9 w 216"/>
                <a:gd name="T71" fmla="*/ 139 h 288"/>
                <a:gd name="T72" fmla="*/ 18 w 216"/>
                <a:gd name="T73" fmla="*/ 123 h 288"/>
                <a:gd name="T74" fmla="*/ 25 w 216"/>
                <a:gd name="T75" fmla="*/ 103 h 288"/>
                <a:gd name="T76" fmla="*/ 22 w 216"/>
                <a:gd name="T77" fmla="*/ 94 h 288"/>
                <a:gd name="T78" fmla="*/ 13 w 216"/>
                <a:gd name="T79" fmla="*/ 80 h 288"/>
                <a:gd name="T80" fmla="*/ 12 w 216"/>
                <a:gd name="T81" fmla="*/ 71 h 288"/>
                <a:gd name="T82" fmla="*/ 17 w 216"/>
                <a:gd name="T83" fmla="*/ 52 h 288"/>
                <a:gd name="T84" fmla="*/ 24 w 216"/>
                <a:gd name="T85" fmla="*/ 40 h 288"/>
                <a:gd name="T86" fmla="*/ 35 w 216"/>
                <a:gd name="T87" fmla="*/ 30 h 288"/>
                <a:gd name="T88" fmla="*/ 42 w 216"/>
                <a:gd name="T89" fmla="*/ 28 h 288"/>
                <a:gd name="T90" fmla="*/ 61 w 216"/>
                <a:gd name="T91" fmla="*/ 33 h 288"/>
                <a:gd name="T92" fmla="*/ 81 w 216"/>
                <a:gd name="T93" fmla="*/ 37 h 288"/>
                <a:gd name="T94" fmla="*/ 102 w 216"/>
                <a:gd name="T95" fmla="*/ 44 h 288"/>
                <a:gd name="T96" fmla="*/ 130 w 216"/>
                <a:gd name="T97" fmla="*/ 52 h 288"/>
                <a:gd name="T98" fmla="*/ 135 w 216"/>
                <a:gd name="T99" fmla="*/ 49 h 288"/>
                <a:gd name="T100" fmla="*/ 137 w 216"/>
                <a:gd name="T101" fmla="*/ 32 h 288"/>
                <a:gd name="T102" fmla="*/ 155 w 216"/>
                <a:gd name="T103" fmla="*/ 1 h 288"/>
                <a:gd name="T104" fmla="*/ 156 w 216"/>
                <a:gd name="T105" fmla="*/ 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6" h="288">
                  <a:moveTo>
                    <a:pt x="159" y="0"/>
                  </a:moveTo>
                  <a:lnTo>
                    <a:pt x="159" y="1"/>
                  </a:lnTo>
                  <a:lnTo>
                    <a:pt x="165" y="3"/>
                  </a:lnTo>
                  <a:lnTo>
                    <a:pt x="172" y="4"/>
                  </a:lnTo>
                  <a:lnTo>
                    <a:pt x="174" y="4"/>
                  </a:lnTo>
                  <a:lnTo>
                    <a:pt x="176" y="6"/>
                  </a:lnTo>
                  <a:lnTo>
                    <a:pt x="180" y="8"/>
                  </a:lnTo>
                  <a:lnTo>
                    <a:pt x="182" y="10"/>
                  </a:lnTo>
                  <a:lnTo>
                    <a:pt x="184" y="11"/>
                  </a:lnTo>
                  <a:lnTo>
                    <a:pt x="185" y="12"/>
                  </a:lnTo>
                  <a:lnTo>
                    <a:pt x="187" y="14"/>
                  </a:lnTo>
                  <a:lnTo>
                    <a:pt x="187" y="15"/>
                  </a:lnTo>
                  <a:lnTo>
                    <a:pt x="189" y="17"/>
                  </a:lnTo>
                  <a:lnTo>
                    <a:pt x="192" y="23"/>
                  </a:lnTo>
                  <a:lnTo>
                    <a:pt x="195" y="27"/>
                  </a:lnTo>
                  <a:lnTo>
                    <a:pt x="196" y="29"/>
                  </a:lnTo>
                  <a:lnTo>
                    <a:pt x="197" y="32"/>
                  </a:lnTo>
                  <a:lnTo>
                    <a:pt x="198" y="35"/>
                  </a:lnTo>
                  <a:lnTo>
                    <a:pt x="199" y="38"/>
                  </a:lnTo>
                  <a:lnTo>
                    <a:pt x="199" y="41"/>
                  </a:lnTo>
                  <a:lnTo>
                    <a:pt x="199" y="44"/>
                  </a:lnTo>
                  <a:lnTo>
                    <a:pt x="199" y="47"/>
                  </a:lnTo>
                  <a:lnTo>
                    <a:pt x="199" y="58"/>
                  </a:lnTo>
                  <a:lnTo>
                    <a:pt x="199" y="61"/>
                  </a:lnTo>
                  <a:lnTo>
                    <a:pt x="199" y="67"/>
                  </a:lnTo>
                  <a:lnTo>
                    <a:pt x="199" y="71"/>
                  </a:lnTo>
                  <a:lnTo>
                    <a:pt x="199" y="73"/>
                  </a:lnTo>
                  <a:lnTo>
                    <a:pt x="199" y="81"/>
                  </a:lnTo>
                  <a:lnTo>
                    <a:pt x="200" y="83"/>
                  </a:lnTo>
                  <a:lnTo>
                    <a:pt x="200" y="86"/>
                  </a:lnTo>
                  <a:lnTo>
                    <a:pt x="202" y="90"/>
                  </a:lnTo>
                  <a:lnTo>
                    <a:pt x="203" y="92"/>
                  </a:lnTo>
                  <a:lnTo>
                    <a:pt x="204" y="94"/>
                  </a:lnTo>
                  <a:lnTo>
                    <a:pt x="205" y="94"/>
                  </a:lnTo>
                  <a:lnTo>
                    <a:pt x="206" y="95"/>
                  </a:lnTo>
                  <a:lnTo>
                    <a:pt x="208" y="96"/>
                  </a:lnTo>
                  <a:lnTo>
                    <a:pt x="209" y="97"/>
                  </a:lnTo>
                  <a:lnTo>
                    <a:pt x="211" y="98"/>
                  </a:lnTo>
                  <a:lnTo>
                    <a:pt x="213" y="99"/>
                  </a:lnTo>
                  <a:lnTo>
                    <a:pt x="214" y="99"/>
                  </a:lnTo>
                  <a:lnTo>
                    <a:pt x="216" y="99"/>
                  </a:lnTo>
                  <a:lnTo>
                    <a:pt x="216" y="99"/>
                  </a:lnTo>
                  <a:lnTo>
                    <a:pt x="214" y="104"/>
                  </a:lnTo>
                  <a:lnTo>
                    <a:pt x="213" y="108"/>
                  </a:lnTo>
                  <a:lnTo>
                    <a:pt x="212" y="111"/>
                  </a:lnTo>
                  <a:lnTo>
                    <a:pt x="210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2" y="125"/>
                  </a:lnTo>
                  <a:lnTo>
                    <a:pt x="201" y="127"/>
                  </a:lnTo>
                  <a:lnTo>
                    <a:pt x="201" y="128"/>
                  </a:lnTo>
                  <a:lnTo>
                    <a:pt x="200" y="130"/>
                  </a:lnTo>
                  <a:lnTo>
                    <a:pt x="200" y="132"/>
                  </a:lnTo>
                  <a:lnTo>
                    <a:pt x="200" y="134"/>
                  </a:lnTo>
                  <a:lnTo>
                    <a:pt x="200" y="140"/>
                  </a:lnTo>
                  <a:lnTo>
                    <a:pt x="202" y="154"/>
                  </a:lnTo>
                  <a:lnTo>
                    <a:pt x="204" y="169"/>
                  </a:lnTo>
                  <a:lnTo>
                    <a:pt x="204" y="174"/>
                  </a:lnTo>
                  <a:lnTo>
                    <a:pt x="204" y="186"/>
                  </a:lnTo>
                  <a:lnTo>
                    <a:pt x="204" y="191"/>
                  </a:lnTo>
                  <a:lnTo>
                    <a:pt x="204" y="195"/>
                  </a:lnTo>
                  <a:lnTo>
                    <a:pt x="203" y="197"/>
                  </a:lnTo>
                  <a:lnTo>
                    <a:pt x="202" y="201"/>
                  </a:lnTo>
                  <a:lnTo>
                    <a:pt x="201" y="203"/>
                  </a:lnTo>
                  <a:lnTo>
                    <a:pt x="200" y="205"/>
                  </a:lnTo>
                  <a:lnTo>
                    <a:pt x="199" y="206"/>
                  </a:lnTo>
                  <a:lnTo>
                    <a:pt x="198" y="207"/>
                  </a:lnTo>
                  <a:lnTo>
                    <a:pt x="196" y="207"/>
                  </a:lnTo>
                  <a:lnTo>
                    <a:pt x="194" y="208"/>
                  </a:lnTo>
                  <a:lnTo>
                    <a:pt x="189" y="210"/>
                  </a:lnTo>
                  <a:lnTo>
                    <a:pt x="187" y="211"/>
                  </a:lnTo>
                  <a:lnTo>
                    <a:pt x="185" y="212"/>
                  </a:lnTo>
                  <a:lnTo>
                    <a:pt x="183" y="213"/>
                  </a:lnTo>
                  <a:lnTo>
                    <a:pt x="180" y="215"/>
                  </a:lnTo>
                  <a:lnTo>
                    <a:pt x="177" y="217"/>
                  </a:lnTo>
                  <a:lnTo>
                    <a:pt x="175" y="219"/>
                  </a:lnTo>
                  <a:lnTo>
                    <a:pt x="170" y="225"/>
                  </a:lnTo>
                  <a:lnTo>
                    <a:pt x="169" y="226"/>
                  </a:lnTo>
                  <a:lnTo>
                    <a:pt x="168" y="227"/>
                  </a:lnTo>
                  <a:lnTo>
                    <a:pt x="167" y="230"/>
                  </a:lnTo>
                  <a:lnTo>
                    <a:pt x="165" y="234"/>
                  </a:lnTo>
                  <a:lnTo>
                    <a:pt x="163" y="242"/>
                  </a:lnTo>
                  <a:lnTo>
                    <a:pt x="162" y="244"/>
                  </a:lnTo>
                  <a:lnTo>
                    <a:pt x="161" y="247"/>
                  </a:lnTo>
                  <a:lnTo>
                    <a:pt x="154" y="257"/>
                  </a:lnTo>
                  <a:lnTo>
                    <a:pt x="153" y="259"/>
                  </a:lnTo>
                  <a:lnTo>
                    <a:pt x="151" y="261"/>
                  </a:lnTo>
                  <a:lnTo>
                    <a:pt x="149" y="263"/>
                  </a:lnTo>
                  <a:lnTo>
                    <a:pt x="148" y="264"/>
                  </a:lnTo>
                  <a:lnTo>
                    <a:pt x="144" y="266"/>
                  </a:lnTo>
                  <a:lnTo>
                    <a:pt x="136" y="270"/>
                  </a:lnTo>
                  <a:lnTo>
                    <a:pt x="133" y="271"/>
                  </a:lnTo>
                  <a:lnTo>
                    <a:pt x="131" y="272"/>
                  </a:lnTo>
                  <a:lnTo>
                    <a:pt x="129" y="272"/>
                  </a:lnTo>
                  <a:lnTo>
                    <a:pt x="126" y="272"/>
                  </a:lnTo>
                  <a:lnTo>
                    <a:pt x="120" y="272"/>
                  </a:lnTo>
                  <a:lnTo>
                    <a:pt x="119" y="273"/>
                  </a:lnTo>
                  <a:lnTo>
                    <a:pt x="116" y="273"/>
                  </a:lnTo>
                  <a:lnTo>
                    <a:pt x="114" y="273"/>
                  </a:lnTo>
                  <a:lnTo>
                    <a:pt x="113" y="274"/>
                  </a:lnTo>
                  <a:lnTo>
                    <a:pt x="111" y="274"/>
                  </a:lnTo>
                  <a:lnTo>
                    <a:pt x="109" y="275"/>
                  </a:lnTo>
                  <a:lnTo>
                    <a:pt x="108" y="276"/>
                  </a:lnTo>
                  <a:lnTo>
                    <a:pt x="106" y="278"/>
                  </a:lnTo>
                  <a:lnTo>
                    <a:pt x="103" y="281"/>
                  </a:lnTo>
                  <a:lnTo>
                    <a:pt x="102" y="282"/>
                  </a:lnTo>
                  <a:lnTo>
                    <a:pt x="101" y="283"/>
                  </a:lnTo>
                  <a:lnTo>
                    <a:pt x="99" y="284"/>
                  </a:lnTo>
                  <a:lnTo>
                    <a:pt x="98" y="284"/>
                  </a:lnTo>
                  <a:lnTo>
                    <a:pt x="97" y="285"/>
                  </a:lnTo>
                  <a:lnTo>
                    <a:pt x="96" y="285"/>
                  </a:lnTo>
                  <a:lnTo>
                    <a:pt x="94" y="286"/>
                  </a:lnTo>
                  <a:lnTo>
                    <a:pt x="93" y="285"/>
                  </a:lnTo>
                  <a:lnTo>
                    <a:pt x="91" y="285"/>
                  </a:lnTo>
                  <a:lnTo>
                    <a:pt x="87" y="284"/>
                  </a:lnTo>
                  <a:lnTo>
                    <a:pt x="86" y="283"/>
                  </a:lnTo>
                  <a:lnTo>
                    <a:pt x="85" y="284"/>
                  </a:lnTo>
                  <a:lnTo>
                    <a:pt x="83" y="284"/>
                  </a:lnTo>
                  <a:lnTo>
                    <a:pt x="81" y="284"/>
                  </a:lnTo>
                  <a:lnTo>
                    <a:pt x="80" y="285"/>
                  </a:lnTo>
                  <a:lnTo>
                    <a:pt x="77" y="287"/>
                  </a:lnTo>
                  <a:lnTo>
                    <a:pt x="74" y="287"/>
                  </a:lnTo>
                  <a:lnTo>
                    <a:pt x="74" y="288"/>
                  </a:lnTo>
                  <a:lnTo>
                    <a:pt x="72" y="288"/>
                  </a:lnTo>
                  <a:lnTo>
                    <a:pt x="70" y="288"/>
                  </a:lnTo>
                  <a:lnTo>
                    <a:pt x="69" y="287"/>
                  </a:lnTo>
                  <a:lnTo>
                    <a:pt x="63" y="285"/>
                  </a:lnTo>
                  <a:lnTo>
                    <a:pt x="60" y="283"/>
                  </a:lnTo>
                  <a:lnTo>
                    <a:pt x="58" y="283"/>
                  </a:lnTo>
                  <a:lnTo>
                    <a:pt x="56" y="283"/>
                  </a:lnTo>
                  <a:lnTo>
                    <a:pt x="54" y="283"/>
                  </a:lnTo>
                  <a:lnTo>
                    <a:pt x="50" y="284"/>
                  </a:lnTo>
                  <a:lnTo>
                    <a:pt x="47" y="285"/>
                  </a:lnTo>
                  <a:lnTo>
                    <a:pt x="43" y="285"/>
                  </a:lnTo>
                  <a:lnTo>
                    <a:pt x="38" y="285"/>
                  </a:lnTo>
                  <a:lnTo>
                    <a:pt x="35" y="286"/>
                  </a:lnTo>
                  <a:lnTo>
                    <a:pt x="25" y="287"/>
                  </a:lnTo>
                  <a:lnTo>
                    <a:pt x="22" y="288"/>
                  </a:lnTo>
                  <a:lnTo>
                    <a:pt x="20" y="288"/>
                  </a:lnTo>
                  <a:lnTo>
                    <a:pt x="18" y="288"/>
                  </a:lnTo>
                  <a:lnTo>
                    <a:pt x="17" y="288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6" y="286"/>
                  </a:lnTo>
                  <a:lnTo>
                    <a:pt x="14" y="283"/>
                  </a:lnTo>
                  <a:lnTo>
                    <a:pt x="13" y="281"/>
                  </a:lnTo>
                  <a:lnTo>
                    <a:pt x="11" y="276"/>
                  </a:lnTo>
                  <a:lnTo>
                    <a:pt x="10" y="272"/>
                  </a:lnTo>
                  <a:lnTo>
                    <a:pt x="9" y="267"/>
                  </a:lnTo>
                  <a:lnTo>
                    <a:pt x="8" y="254"/>
                  </a:lnTo>
                  <a:lnTo>
                    <a:pt x="6" y="246"/>
                  </a:lnTo>
                  <a:lnTo>
                    <a:pt x="5" y="240"/>
                  </a:lnTo>
                  <a:lnTo>
                    <a:pt x="5" y="230"/>
                  </a:lnTo>
                  <a:lnTo>
                    <a:pt x="4" y="229"/>
                  </a:lnTo>
                  <a:lnTo>
                    <a:pt x="4" y="227"/>
                  </a:lnTo>
                  <a:lnTo>
                    <a:pt x="1" y="221"/>
                  </a:lnTo>
                  <a:lnTo>
                    <a:pt x="0" y="218"/>
                  </a:lnTo>
                  <a:lnTo>
                    <a:pt x="0" y="217"/>
                  </a:lnTo>
                  <a:lnTo>
                    <a:pt x="0" y="215"/>
                  </a:lnTo>
                  <a:lnTo>
                    <a:pt x="0" y="210"/>
                  </a:lnTo>
                  <a:lnTo>
                    <a:pt x="0" y="207"/>
                  </a:lnTo>
                  <a:lnTo>
                    <a:pt x="1" y="195"/>
                  </a:lnTo>
                  <a:lnTo>
                    <a:pt x="1" y="190"/>
                  </a:lnTo>
                  <a:lnTo>
                    <a:pt x="2" y="185"/>
                  </a:lnTo>
                  <a:lnTo>
                    <a:pt x="3" y="181"/>
                  </a:lnTo>
                  <a:lnTo>
                    <a:pt x="4" y="178"/>
                  </a:lnTo>
                  <a:lnTo>
                    <a:pt x="5" y="175"/>
                  </a:lnTo>
                  <a:lnTo>
                    <a:pt x="7" y="168"/>
                  </a:lnTo>
                  <a:lnTo>
                    <a:pt x="8" y="166"/>
                  </a:lnTo>
                  <a:lnTo>
                    <a:pt x="8" y="164"/>
                  </a:lnTo>
                  <a:lnTo>
                    <a:pt x="8" y="162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6" y="153"/>
                  </a:lnTo>
                  <a:lnTo>
                    <a:pt x="6" y="151"/>
                  </a:lnTo>
                  <a:lnTo>
                    <a:pt x="5" y="148"/>
                  </a:lnTo>
                  <a:lnTo>
                    <a:pt x="6" y="146"/>
                  </a:lnTo>
                  <a:lnTo>
                    <a:pt x="6" y="144"/>
                  </a:lnTo>
                  <a:lnTo>
                    <a:pt x="8" y="141"/>
                  </a:lnTo>
                  <a:lnTo>
                    <a:pt x="9" y="139"/>
                  </a:lnTo>
                  <a:lnTo>
                    <a:pt x="13" y="135"/>
                  </a:lnTo>
                  <a:lnTo>
                    <a:pt x="14" y="133"/>
                  </a:lnTo>
                  <a:lnTo>
                    <a:pt x="15" y="131"/>
                  </a:lnTo>
                  <a:lnTo>
                    <a:pt x="17" y="127"/>
                  </a:lnTo>
                  <a:lnTo>
                    <a:pt x="18" y="123"/>
                  </a:lnTo>
                  <a:lnTo>
                    <a:pt x="19" y="121"/>
                  </a:lnTo>
                  <a:lnTo>
                    <a:pt x="20" y="118"/>
                  </a:lnTo>
                  <a:lnTo>
                    <a:pt x="22" y="114"/>
                  </a:lnTo>
                  <a:lnTo>
                    <a:pt x="24" y="105"/>
                  </a:lnTo>
                  <a:lnTo>
                    <a:pt x="25" y="103"/>
                  </a:lnTo>
                  <a:lnTo>
                    <a:pt x="25" y="101"/>
                  </a:lnTo>
                  <a:lnTo>
                    <a:pt x="24" y="99"/>
                  </a:lnTo>
                  <a:lnTo>
                    <a:pt x="24" y="97"/>
                  </a:lnTo>
                  <a:lnTo>
                    <a:pt x="23" y="95"/>
                  </a:lnTo>
                  <a:lnTo>
                    <a:pt x="22" y="94"/>
                  </a:lnTo>
                  <a:lnTo>
                    <a:pt x="20" y="91"/>
                  </a:lnTo>
                  <a:lnTo>
                    <a:pt x="18" y="88"/>
                  </a:lnTo>
                  <a:lnTo>
                    <a:pt x="15" y="83"/>
                  </a:lnTo>
                  <a:lnTo>
                    <a:pt x="14" y="81"/>
                  </a:lnTo>
                  <a:lnTo>
                    <a:pt x="13" y="80"/>
                  </a:lnTo>
                  <a:lnTo>
                    <a:pt x="12" y="78"/>
                  </a:lnTo>
                  <a:lnTo>
                    <a:pt x="12" y="77"/>
                  </a:lnTo>
                  <a:lnTo>
                    <a:pt x="12" y="75"/>
                  </a:lnTo>
                  <a:lnTo>
                    <a:pt x="12" y="73"/>
                  </a:lnTo>
                  <a:lnTo>
                    <a:pt x="12" y="71"/>
                  </a:lnTo>
                  <a:lnTo>
                    <a:pt x="12" y="68"/>
                  </a:lnTo>
                  <a:lnTo>
                    <a:pt x="13" y="65"/>
                  </a:lnTo>
                  <a:lnTo>
                    <a:pt x="14" y="61"/>
                  </a:lnTo>
                  <a:lnTo>
                    <a:pt x="17" y="56"/>
                  </a:lnTo>
                  <a:lnTo>
                    <a:pt x="17" y="52"/>
                  </a:lnTo>
                  <a:lnTo>
                    <a:pt x="19" y="49"/>
                  </a:lnTo>
                  <a:lnTo>
                    <a:pt x="20" y="47"/>
                  </a:lnTo>
                  <a:lnTo>
                    <a:pt x="21" y="44"/>
                  </a:lnTo>
                  <a:lnTo>
                    <a:pt x="23" y="42"/>
                  </a:lnTo>
                  <a:lnTo>
                    <a:pt x="24" y="40"/>
                  </a:lnTo>
                  <a:lnTo>
                    <a:pt x="27" y="37"/>
                  </a:lnTo>
                  <a:lnTo>
                    <a:pt x="28" y="36"/>
                  </a:lnTo>
                  <a:lnTo>
                    <a:pt x="30" y="34"/>
                  </a:lnTo>
                  <a:lnTo>
                    <a:pt x="32" y="32"/>
                  </a:lnTo>
                  <a:lnTo>
                    <a:pt x="35" y="30"/>
                  </a:lnTo>
                  <a:lnTo>
                    <a:pt x="36" y="30"/>
                  </a:lnTo>
                  <a:lnTo>
                    <a:pt x="38" y="29"/>
                  </a:lnTo>
                  <a:lnTo>
                    <a:pt x="39" y="29"/>
                  </a:lnTo>
                  <a:lnTo>
                    <a:pt x="40" y="28"/>
                  </a:lnTo>
                  <a:lnTo>
                    <a:pt x="42" y="28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51" y="29"/>
                  </a:lnTo>
                  <a:lnTo>
                    <a:pt x="53" y="30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6" y="34"/>
                  </a:lnTo>
                  <a:lnTo>
                    <a:pt x="74" y="35"/>
                  </a:lnTo>
                  <a:lnTo>
                    <a:pt x="77" y="36"/>
                  </a:lnTo>
                  <a:lnTo>
                    <a:pt x="81" y="37"/>
                  </a:lnTo>
                  <a:lnTo>
                    <a:pt x="87" y="39"/>
                  </a:lnTo>
                  <a:lnTo>
                    <a:pt x="90" y="40"/>
                  </a:lnTo>
                  <a:lnTo>
                    <a:pt x="92" y="41"/>
                  </a:lnTo>
                  <a:lnTo>
                    <a:pt x="98" y="42"/>
                  </a:lnTo>
                  <a:lnTo>
                    <a:pt x="102" y="44"/>
                  </a:lnTo>
                  <a:lnTo>
                    <a:pt x="118" y="49"/>
                  </a:lnTo>
                  <a:lnTo>
                    <a:pt x="123" y="50"/>
                  </a:lnTo>
                  <a:lnTo>
                    <a:pt x="126" y="51"/>
                  </a:lnTo>
                  <a:lnTo>
                    <a:pt x="129" y="52"/>
                  </a:lnTo>
                  <a:lnTo>
                    <a:pt x="130" y="52"/>
                  </a:lnTo>
                  <a:lnTo>
                    <a:pt x="131" y="52"/>
                  </a:lnTo>
                  <a:lnTo>
                    <a:pt x="132" y="51"/>
                  </a:lnTo>
                  <a:lnTo>
                    <a:pt x="133" y="50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5" y="46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7" y="34"/>
                  </a:lnTo>
                  <a:lnTo>
                    <a:pt x="137" y="32"/>
                  </a:lnTo>
                  <a:lnTo>
                    <a:pt x="140" y="27"/>
                  </a:lnTo>
                  <a:lnTo>
                    <a:pt x="142" y="21"/>
                  </a:lnTo>
                  <a:lnTo>
                    <a:pt x="147" y="15"/>
                  </a:lnTo>
                  <a:lnTo>
                    <a:pt x="152" y="6"/>
                  </a:lnTo>
                  <a:lnTo>
                    <a:pt x="155" y="1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8" y="0"/>
                  </a:lnTo>
                  <a:lnTo>
                    <a:pt x="159" y="1"/>
                  </a:lnTo>
                  <a:lnTo>
                    <a:pt x="159" y="0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7" name="Freeform 44">
              <a:extLst>
                <a:ext uri="{FF2B5EF4-FFF2-40B4-BE49-F238E27FC236}">
                  <a16:creationId xmlns:a16="http://schemas.microsoft.com/office/drawing/2014/main" id="{936EB71C-9642-410C-B0DD-CF08519BB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8" y="1020"/>
              <a:ext cx="457" cy="542"/>
            </a:xfrm>
            <a:custGeom>
              <a:avLst/>
              <a:gdLst>
                <a:gd name="T0" fmla="*/ 262 w 457"/>
                <a:gd name="T1" fmla="*/ 4 h 542"/>
                <a:gd name="T2" fmla="*/ 294 w 457"/>
                <a:gd name="T3" fmla="*/ 11 h 542"/>
                <a:gd name="T4" fmla="*/ 301 w 457"/>
                <a:gd name="T5" fmla="*/ 29 h 542"/>
                <a:gd name="T6" fmla="*/ 318 w 457"/>
                <a:gd name="T7" fmla="*/ 33 h 542"/>
                <a:gd name="T8" fmla="*/ 334 w 457"/>
                <a:gd name="T9" fmla="*/ 12 h 542"/>
                <a:gd name="T10" fmla="*/ 347 w 457"/>
                <a:gd name="T11" fmla="*/ 12 h 542"/>
                <a:gd name="T12" fmla="*/ 360 w 457"/>
                <a:gd name="T13" fmla="*/ 39 h 542"/>
                <a:gd name="T14" fmla="*/ 385 w 457"/>
                <a:gd name="T15" fmla="*/ 33 h 542"/>
                <a:gd name="T16" fmla="*/ 406 w 457"/>
                <a:gd name="T17" fmla="*/ 40 h 542"/>
                <a:gd name="T18" fmla="*/ 433 w 457"/>
                <a:gd name="T19" fmla="*/ 75 h 542"/>
                <a:gd name="T20" fmla="*/ 425 w 457"/>
                <a:gd name="T21" fmla="*/ 109 h 542"/>
                <a:gd name="T22" fmla="*/ 430 w 457"/>
                <a:gd name="T23" fmla="*/ 147 h 542"/>
                <a:gd name="T24" fmla="*/ 454 w 457"/>
                <a:gd name="T25" fmla="*/ 187 h 542"/>
                <a:gd name="T26" fmla="*/ 437 w 457"/>
                <a:gd name="T27" fmla="*/ 225 h 542"/>
                <a:gd name="T28" fmla="*/ 427 w 457"/>
                <a:gd name="T29" fmla="*/ 240 h 542"/>
                <a:gd name="T30" fmla="*/ 375 w 457"/>
                <a:gd name="T31" fmla="*/ 224 h 542"/>
                <a:gd name="T32" fmla="*/ 340 w 457"/>
                <a:gd name="T33" fmla="*/ 218 h 542"/>
                <a:gd name="T34" fmla="*/ 322 w 457"/>
                <a:gd name="T35" fmla="*/ 233 h 542"/>
                <a:gd name="T36" fmla="*/ 313 w 457"/>
                <a:gd name="T37" fmla="*/ 264 h 542"/>
                <a:gd name="T38" fmla="*/ 325 w 457"/>
                <a:gd name="T39" fmla="*/ 286 h 542"/>
                <a:gd name="T40" fmla="*/ 316 w 457"/>
                <a:gd name="T41" fmla="*/ 320 h 542"/>
                <a:gd name="T42" fmla="*/ 309 w 457"/>
                <a:gd name="T43" fmla="*/ 347 h 542"/>
                <a:gd name="T44" fmla="*/ 302 w 457"/>
                <a:gd name="T45" fmla="*/ 379 h 542"/>
                <a:gd name="T46" fmla="*/ 306 w 457"/>
                <a:gd name="T47" fmla="*/ 419 h 542"/>
                <a:gd name="T48" fmla="*/ 318 w 457"/>
                <a:gd name="T49" fmla="*/ 476 h 542"/>
                <a:gd name="T50" fmla="*/ 309 w 457"/>
                <a:gd name="T51" fmla="*/ 498 h 542"/>
                <a:gd name="T52" fmla="*/ 296 w 457"/>
                <a:gd name="T53" fmla="*/ 515 h 542"/>
                <a:gd name="T54" fmla="*/ 289 w 457"/>
                <a:gd name="T55" fmla="*/ 537 h 542"/>
                <a:gd name="T56" fmla="*/ 263 w 457"/>
                <a:gd name="T57" fmla="*/ 536 h 542"/>
                <a:gd name="T58" fmla="*/ 226 w 457"/>
                <a:gd name="T59" fmla="*/ 499 h 542"/>
                <a:gd name="T60" fmla="*/ 204 w 457"/>
                <a:gd name="T61" fmla="*/ 496 h 542"/>
                <a:gd name="T62" fmla="*/ 187 w 457"/>
                <a:gd name="T63" fmla="*/ 500 h 542"/>
                <a:gd name="T64" fmla="*/ 163 w 457"/>
                <a:gd name="T65" fmla="*/ 478 h 542"/>
                <a:gd name="T66" fmla="*/ 146 w 457"/>
                <a:gd name="T67" fmla="*/ 450 h 542"/>
                <a:gd name="T68" fmla="*/ 152 w 457"/>
                <a:gd name="T69" fmla="*/ 426 h 542"/>
                <a:gd name="T70" fmla="*/ 147 w 457"/>
                <a:gd name="T71" fmla="*/ 406 h 542"/>
                <a:gd name="T72" fmla="*/ 131 w 457"/>
                <a:gd name="T73" fmla="*/ 362 h 542"/>
                <a:gd name="T74" fmla="*/ 107 w 457"/>
                <a:gd name="T75" fmla="*/ 344 h 542"/>
                <a:gd name="T76" fmla="*/ 84 w 457"/>
                <a:gd name="T77" fmla="*/ 318 h 542"/>
                <a:gd name="T78" fmla="*/ 69 w 457"/>
                <a:gd name="T79" fmla="*/ 319 h 542"/>
                <a:gd name="T80" fmla="*/ 47 w 457"/>
                <a:gd name="T81" fmla="*/ 347 h 542"/>
                <a:gd name="T82" fmla="*/ 29 w 457"/>
                <a:gd name="T83" fmla="*/ 345 h 542"/>
                <a:gd name="T84" fmla="*/ 33 w 457"/>
                <a:gd name="T85" fmla="*/ 325 h 542"/>
                <a:gd name="T86" fmla="*/ 24 w 457"/>
                <a:gd name="T87" fmla="*/ 303 h 542"/>
                <a:gd name="T88" fmla="*/ 4 w 457"/>
                <a:gd name="T89" fmla="*/ 282 h 542"/>
                <a:gd name="T90" fmla="*/ 0 w 457"/>
                <a:gd name="T91" fmla="*/ 255 h 542"/>
                <a:gd name="T92" fmla="*/ 12 w 457"/>
                <a:gd name="T93" fmla="*/ 235 h 542"/>
                <a:gd name="T94" fmla="*/ 45 w 457"/>
                <a:gd name="T95" fmla="*/ 235 h 542"/>
                <a:gd name="T96" fmla="*/ 68 w 457"/>
                <a:gd name="T97" fmla="*/ 228 h 542"/>
                <a:gd name="T98" fmla="*/ 90 w 457"/>
                <a:gd name="T99" fmla="*/ 186 h 542"/>
                <a:gd name="T100" fmla="*/ 123 w 457"/>
                <a:gd name="T101" fmla="*/ 174 h 542"/>
                <a:gd name="T102" fmla="*/ 159 w 457"/>
                <a:gd name="T103" fmla="*/ 177 h 542"/>
                <a:gd name="T104" fmla="*/ 203 w 457"/>
                <a:gd name="T105" fmla="*/ 181 h 542"/>
                <a:gd name="T106" fmla="*/ 219 w 457"/>
                <a:gd name="T107" fmla="*/ 169 h 542"/>
                <a:gd name="T108" fmla="*/ 221 w 457"/>
                <a:gd name="T109" fmla="*/ 117 h 542"/>
                <a:gd name="T110" fmla="*/ 232 w 457"/>
                <a:gd name="T111" fmla="*/ 61 h 542"/>
                <a:gd name="T112" fmla="*/ 220 w 457"/>
                <a:gd name="T113" fmla="*/ 45 h 542"/>
                <a:gd name="T114" fmla="*/ 205 w 457"/>
                <a:gd name="T115" fmla="*/ 34 h 542"/>
                <a:gd name="T116" fmla="*/ 214 w 457"/>
                <a:gd name="T117" fmla="*/ 1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57" h="542">
                  <a:moveTo>
                    <a:pt x="240" y="0"/>
                  </a:moveTo>
                  <a:lnTo>
                    <a:pt x="243" y="1"/>
                  </a:lnTo>
                  <a:lnTo>
                    <a:pt x="245" y="1"/>
                  </a:lnTo>
                  <a:lnTo>
                    <a:pt x="249" y="3"/>
                  </a:lnTo>
                  <a:lnTo>
                    <a:pt x="251" y="4"/>
                  </a:lnTo>
                  <a:lnTo>
                    <a:pt x="253" y="5"/>
                  </a:lnTo>
                  <a:lnTo>
                    <a:pt x="255" y="5"/>
                  </a:lnTo>
                  <a:lnTo>
                    <a:pt x="258" y="5"/>
                  </a:lnTo>
                  <a:lnTo>
                    <a:pt x="261" y="5"/>
                  </a:lnTo>
                  <a:lnTo>
                    <a:pt x="262" y="4"/>
                  </a:lnTo>
                  <a:lnTo>
                    <a:pt x="265" y="3"/>
                  </a:lnTo>
                  <a:lnTo>
                    <a:pt x="267" y="3"/>
                  </a:lnTo>
                  <a:lnTo>
                    <a:pt x="270" y="3"/>
                  </a:lnTo>
                  <a:lnTo>
                    <a:pt x="272" y="3"/>
                  </a:lnTo>
                  <a:lnTo>
                    <a:pt x="274" y="4"/>
                  </a:lnTo>
                  <a:lnTo>
                    <a:pt x="277" y="5"/>
                  </a:lnTo>
                  <a:lnTo>
                    <a:pt x="287" y="8"/>
                  </a:lnTo>
                  <a:lnTo>
                    <a:pt x="290" y="9"/>
                  </a:lnTo>
                  <a:lnTo>
                    <a:pt x="292" y="11"/>
                  </a:lnTo>
                  <a:lnTo>
                    <a:pt x="294" y="11"/>
                  </a:lnTo>
                  <a:lnTo>
                    <a:pt x="295" y="12"/>
                  </a:lnTo>
                  <a:lnTo>
                    <a:pt x="296" y="14"/>
                  </a:lnTo>
                  <a:lnTo>
                    <a:pt x="297" y="15"/>
                  </a:lnTo>
                  <a:lnTo>
                    <a:pt x="297" y="16"/>
                  </a:lnTo>
                  <a:lnTo>
                    <a:pt x="297" y="22"/>
                  </a:lnTo>
                  <a:lnTo>
                    <a:pt x="298" y="23"/>
                  </a:lnTo>
                  <a:lnTo>
                    <a:pt x="298" y="25"/>
                  </a:lnTo>
                  <a:lnTo>
                    <a:pt x="299" y="26"/>
                  </a:lnTo>
                  <a:lnTo>
                    <a:pt x="300" y="27"/>
                  </a:lnTo>
                  <a:lnTo>
                    <a:pt x="301" y="29"/>
                  </a:lnTo>
                  <a:lnTo>
                    <a:pt x="302" y="30"/>
                  </a:lnTo>
                  <a:lnTo>
                    <a:pt x="303" y="30"/>
                  </a:lnTo>
                  <a:lnTo>
                    <a:pt x="304" y="31"/>
                  </a:lnTo>
                  <a:lnTo>
                    <a:pt x="305" y="32"/>
                  </a:lnTo>
                  <a:lnTo>
                    <a:pt x="306" y="32"/>
                  </a:lnTo>
                  <a:lnTo>
                    <a:pt x="307" y="33"/>
                  </a:lnTo>
                  <a:lnTo>
                    <a:pt x="311" y="33"/>
                  </a:lnTo>
                  <a:lnTo>
                    <a:pt x="314" y="33"/>
                  </a:lnTo>
                  <a:lnTo>
                    <a:pt x="317" y="33"/>
                  </a:lnTo>
                  <a:lnTo>
                    <a:pt x="318" y="33"/>
                  </a:lnTo>
                  <a:lnTo>
                    <a:pt x="318" y="32"/>
                  </a:lnTo>
                  <a:lnTo>
                    <a:pt x="319" y="32"/>
                  </a:lnTo>
                  <a:lnTo>
                    <a:pt x="320" y="31"/>
                  </a:lnTo>
                  <a:lnTo>
                    <a:pt x="322" y="30"/>
                  </a:lnTo>
                  <a:lnTo>
                    <a:pt x="323" y="29"/>
                  </a:lnTo>
                  <a:lnTo>
                    <a:pt x="326" y="23"/>
                  </a:lnTo>
                  <a:lnTo>
                    <a:pt x="329" y="18"/>
                  </a:lnTo>
                  <a:lnTo>
                    <a:pt x="330" y="15"/>
                  </a:lnTo>
                  <a:lnTo>
                    <a:pt x="332" y="13"/>
                  </a:lnTo>
                  <a:lnTo>
                    <a:pt x="334" y="12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9" y="10"/>
                  </a:lnTo>
                  <a:lnTo>
                    <a:pt x="340" y="10"/>
                  </a:lnTo>
                  <a:lnTo>
                    <a:pt x="341" y="10"/>
                  </a:lnTo>
                  <a:lnTo>
                    <a:pt x="343" y="10"/>
                  </a:lnTo>
                  <a:lnTo>
                    <a:pt x="344" y="10"/>
                  </a:lnTo>
                  <a:lnTo>
                    <a:pt x="345" y="11"/>
                  </a:lnTo>
                  <a:lnTo>
                    <a:pt x="346" y="11"/>
                  </a:lnTo>
                  <a:lnTo>
                    <a:pt x="347" y="12"/>
                  </a:lnTo>
                  <a:lnTo>
                    <a:pt x="348" y="13"/>
                  </a:lnTo>
                  <a:lnTo>
                    <a:pt x="349" y="15"/>
                  </a:lnTo>
                  <a:lnTo>
                    <a:pt x="350" y="18"/>
                  </a:lnTo>
                  <a:lnTo>
                    <a:pt x="353" y="29"/>
                  </a:lnTo>
                  <a:lnTo>
                    <a:pt x="354" y="32"/>
                  </a:lnTo>
                  <a:lnTo>
                    <a:pt x="355" y="34"/>
                  </a:lnTo>
                  <a:lnTo>
                    <a:pt x="356" y="35"/>
                  </a:lnTo>
                  <a:lnTo>
                    <a:pt x="357" y="36"/>
                  </a:lnTo>
                  <a:lnTo>
                    <a:pt x="358" y="38"/>
                  </a:lnTo>
                  <a:lnTo>
                    <a:pt x="360" y="39"/>
                  </a:lnTo>
                  <a:lnTo>
                    <a:pt x="362" y="39"/>
                  </a:lnTo>
                  <a:lnTo>
                    <a:pt x="363" y="40"/>
                  </a:lnTo>
                  <a:lnTo>
                    <a:pt x="364" y="40"/>
                  </a:lnTo>
                  <a:lnTo>
                    <a:pt x="366" y="39"/>
                  </a:lnTo>
                  <a:lnTo>
                    <a:pt x="367" y="39"/>
                  </a:lnTo>
                  <a:lnTo>
                    <a:pt x="368" y="39"/>
                  </a:lnTo>
                  <a:lnTo>
                    <a:pt x="374" y="36"/>
                  </a:lnTo>
                  <a:lnTo>
                    <a:pt x="376" y="34"/>
                  </a:lnTo>
                  <a:lnTo>
                    <a:pt x="380" y="34"/>
                  </a:lnTo>
                  <a:lnTo>
                    <a:pt x="385" y="33"/>
                  </a:lnTo>
                  <a:lnTo>
                    <a:pt x="387" y="32"/>
                  </a:lnTo>
                  <a:lnTo>
                    <a:pt x="390" y="31"/>
                  </a:lnTo>
                  <a:lnTo>
                    <a:pt x="393" y="31"/>
                  </a:lnTo>
                  <a:lnTo>
                    <a:pt x="395" y="32"/>
                  </a:lnTo>
                  <a:lnTo>
                    <a:pt x="396" y="32"/>
                  </a:lnTo>
                  <a:lnTo>
                    <a:pt x="397" y="32"/>
                  </a:lnTo>
                  <a:lnTo>
                    <a:pt x="397" y="33"/>
                  </a:lnTo>
                  <a:lnTo>
                    <a:pt x="398" y="34"/>
                  </a:lnTo>
                  <a:lnTo>
                    <a:pt x="401" y="35"/>
                  </a:lnTo>
                  <a:lnTo>
                    <a:pt x="406" y="40"/>
                  </a:lnTo>
                  <a:lnTo>
                    <a:pt x="408" y="42"/>
                  </a:lnTo>
                  <a:lnTo>
                    <a:pt x="410" y="44"/>
                  </a:lnTo>
                  <a:lnTo>
                    <a:pt x="417" y="48"/>
                  </a:lnTo>
                  <a:lnTo>
                    <a:pt x="420" y="51"/>
                  </a:lnTo>
                  <a:lnTo>
                    <a:pt x="422" y="53"/>
                  </a:lnTo>
                  <a:lnTo>
                    <a:pt x="424" y="55"/>
                  </a:lnTo>
                  <a:lnTo>
                    <a:pt x="426" y="57"/>
                  </a:lnTo>
                  <a:lnTo>
                    <a:pt x="427" y="59"/>
                  </a:lnTo>
                  <a:lnTo>
                    <a:pt x="432" y="72"/>
                  </a:lnTo>
                  <a:lnTo>
                    <a:pt x="433" y="75"/>
                  </a:lnTo>
                  <a:lnTo>
                    <a:pt x="433" y="79"/>
                  </a:lnTo>
                  <a:lnTo>
                    <a:pt x="433" y="80"/>
                  </a:lnTo>
                  <a:lnTo>
                    <a:pt x="433" y="82"/>
                  </a:lnTo>
                  <a:lnTo>
                    <a:pt x="433" y="84"/>
                  </a:lnTo>
                  <a:lnTo>
                    <a:pt x="432" y="86"/>
                  </a:lnTo>
                  <a:lnTo>
                    <a:pt x="431" y="90"/>
                  </a:lnTo>
                  <a:lnTo>
                    <a:pt x="428" y="99"/>
                  </a:lnTo>
                  <a:lnTo>
                    <a:pt x="427" y="103"/>
                  </a:lnTo>
                  <a:lnTo>
                    <a:pt x="426" y="105"/>
                  </a:lnTo>
                  <a:lnTo>
                    <a:pt x="425" y="109"/>
                  </a:lnTo>
                  <a:lnTo>
                    <a:pt x="424" y="114"/>
                  </a:lnTo>
                  <a:lnTo>
                    <a:pt x="424" y="117"/>
                  </a:lnTo>
                  <a:lnTo>
                    <a:pt x="424" y="120"/>
                  </a:lnTo>
                  <a:lnTo>
                    <a:pt x="424" y="124"/>
                  </a:lnTo>
                  <a:lnTo>
                    <a:pt x="425" y="127"/>
                  </a:lnTo>
                  <a:lnTo>
                    <a:pt x="425" y="130"/>
                  </a:lnTo>
                  <a:lnTo>
                    <a:pt x="426" y="134"/>
                  </a:lnTo>
                  <a:lnTo>
                    <a:pt x="427" y="137"/>
                  </a:lnTo>
                  <a:lnTo>
                    <a:pt x="428" y="142"/>
                  </a:lnTo>
                  <a:lnTo>
                    <a:pt x="430" y="147"/>
                  </a:lnTo>
                  <a:lnTo>
                    <a:pt x="431" y="149"/>
                  </a:lnTo>
                  <a:lnTo>
                    <a:pt x="431" y="152"/>
                  </a:lnTo>
                  <a:lnTo>
                    <a:pt x="432" y="155"/>
                  </a:lnTo>
                  <a:lnTo>
                    <a:pt x="434" y="158"/>
                  </a:lnTo>
                  <a:lnTo>
                    <a:pt x="438" y="164"/>
                  </a:lnTo>
                  <a:lnTo>
                    <a:pt x="441" y="168"/>
                  </a:lnTo>
                  <a:lnTo>
                    <a:pt x="443" y="173"/>
                  </a:lnTo>
                  <a:lnTo>
                    <a:pt x="448" y="179"/>
                  </a:lnTo>
                  <a:lnTo>
                    <a:pt x="451" y="183"/>
                  </a:lnTo>
                  <a:lnTo>
                    <a:pt x="454" y="187"/>
                  </a:lnTo>
                  <a:lnTo>
                    <a:pt x="456" y="189"/>
                  </a:lnTo>
                  <a:lnTo>
                    <a:pt x="457" y="190"/>
                  </a:lnTo>
                  <a:lnTo>
                    <a:pt x="456" y="190"/>
                  </a:lnTo>
                  <a:lnTo>
                    <a:pt x="453" y="195"/>
                  </a:lnTo>
                  <a:lnTo>
                    <a:pt x="448" y="204"/>
                  </a:lnTo>
                  <a:lnTo>
                    <a:pt x="443" y="210"/>
                  </a:lnTo>
                  <a:lnTo>
                    <a:pt x="441" y="216"/>
                  </a:lnTo>
                  <a:lnTo>
                    <a:pt x="438" y="221"/>
                  </a:lnTo>
                  <a:lnTo>
                    <a:pt x="438" y="223"/>
                  </a:lnTo>
                  <a:lnTo>
                    <a:pt x="437" y="225"/>
                  </a:lnTo>
                  <a:lnTo>
                    <a:pt x="437" y="228"/>
                  </a:lnTo>
                  <a:lnTo>
                    <a:pt x="436" y="235"/>
                  </a:lnTo>
                  <a:lnTo>
                    <a:pt x="436" y="238"/>
                  </a:lnTo>
                  <a:lnTo>
                    <a:pt x="435" y="238"/>
                  </a:lnTo>
                  <a:lnTo>
                    <a:pt x="434" y="239"/>
                  </a:lnTo>
                  <a:lnTo>
                    <a:pt x="433" y="240"/>
                  </a:lnTo>
                  <a:lnTo>
                    <a:pt x="432" y="241"/>
                  </a:lnTo>
                  <a:lnTo>
                    <a:pt x="431" y="241"/>
                  </a:lnTo>
                  <a:lnTo>
                    <a:pt x="430" y="241"/>
                  </a:lnTo>
                  <a:lnTo>
                    <a:pt x="427" y="240"/>
                  </a:lnTo>
                  <a:lnTo>
                    <a:pt x="424" y="239"/>
                  </a:lnTo>
                  <a:lnTo>
                    <a:pt x="419" y="238"/>
                  </a:lnTo>
                  <a:lnTo>
                    <a:pt x="403" y="233"/>
                  </a:lnTo>
                  <a:lnTo>
                    <a:pt x="399" y="231"/>
                  </a:lnTo>
                  <a:lnTo>
                    <a:pt x="393" y="230"/>
                  </a:lnTo>
                  <a:lnTo>
                    <a:pt x="391" y="229"/>
                  </a:lnTo>
                  <a:lnTo>
                    <a:pt x="388" y="228"/>
                  </a:lnTo>
                  <a:lnTo>
                    <a:pt x="382" y="226"/>
                  </a:lnTo>
                  <a:lnTo>
                    <a:pt x="378" y="225"/>
                  </a:lnTo>
                  <a:lnTo>
                    <a:pt x="375" y="224"/>
                  </a:lnTo>
                  <a:lnTo>
                    <a:pt x="367" y="223"/>
                  </a:lnTo>
                  <a:lnTo>
                    <a:pt x="364" y="222"/>
                  </a:lnTo>
                  <a:lnTo>
                    <a:pt x="362" y="222"/>
                  </a:lnTo>
                  <a:lnTo>
                    <a:pt x="354" y="219"/>
                  </a:lnTo>
                  <a:lnTo>
                    <a:pt x="352" y="218"/>
                  </a:lnTo>
                  <a:lnTo>
                    <a:pt x="348" y="217"/>
                  </a:lnTo>
                  <a:lnTo>
                    <a:pt x="345" y="217"/>
                  </a:lnTo>
                  <a:lnTo>
                    <a:pt x="343" y="217"/>
                  </a:lnTo>
                  <a:lnTo>
                    <a:pt x="341" y="217"/>
                  </a:lnTo>
                  <a:lnTo>
                    <a:pt x="340" y="218"/>
                  </a:lnTo>
                  <a:lnTo>
                    <a:pt x="339" y="218"/>
                  </a:lnTo>
                  <a:lnTo>
                    <a:pt x="337" y="219"/>
                  </a:lnTo>
                  <a:lnTo>
                    <a:pt x="336" y="219"/>
                  </a:lnTo>
                  <a:lnTo>
                    <a:pt x="333" y="221"/>
                  </a:lnTo>
                  <a:lnTo>
                    <a:pt x="331" y="223"/>
                  </a:lnTo>
                  <a:lnTo>
                    <a:pt x="329" y="225"/>
                  </a:lnTo>
                  <a:lnTo>
                    <a:pt x="328" y="226"/>
                  </a:lnTo>
                  <a:lnTo>
                    <a:pt x="325" y="229"/>
                  </a:lnTo>
                  <a:lnTo>
                    <a:pt x="324" y="231"/>
                  </a:lnTo>
                  <a:lnTo>
                    <a:pt x="322" y="233"/>
                  </a:lnTo>
                  <a:lnTo>
                    <a:pt x="321" y="236"/>
                  </a:lnTo>
                  <a:lnTo>
                    <a:pt x="320" y="238"/>
                  </a:lnTo>
                  <a:lnTo>
                    <a:pt x="318" y="241"/>
                  </a:lnTo>
                  <a:lnTo>
                    <a:pt x="318" y="245"/>
                  </a:lnTo>
                  <a:lnTo>
                    <a:pt x="315" y="250"/>
                  </a:lnTo>
                  <a:lnTo>
                    <a:pt x="314" y="254"/>
                  </a:lnTo>
                  <a:lnTo>
                    <a:pt x="313" y="257"/>
                  </a:lnTo>
                  <a:lnTo>
                    <a:pt x="313" y="260"/>
                  </a:lnTo>
                  <a:lnTo>
                    <a:pt x="313" y="262"/>
                  </a:lnTo>
                  <a:lnTo>
                    <a:pt x="313" y="264"/>
                  </a:lnTo>
                  <a:lnTo>
                    <a:pt x="313" y="266"/>
                  </a:lnTo>
                  <a:lnTo>
                    <a:pt x="313" y="267"/>
                  </a:lnTo>
                  <a:lnTo>
                    <a:pt x="314" y="269"/>
                  </a:lnTo>
                  <a:lnTo>
                    <a:pt x="315" y="270"/>
                  </a:lnTo>
                  <a:lnTo>
                    <a:pt x="316" y="272"/>
                  </a:lnTo>
                  <a:lnTo>
                    <a:pt x="319" y="277"/>
                  </a:lnTo>
                  <a:lnTo>
                    <a:pt x="321" y="280"/>
                  </a:lnTo>
                  <a:lnTo>
                    <a:pt x="323" y="283"/>
                  </a:lnTo>
                  <a:lnTo>
                    <a:pt x="324" y="284"/>
                  </a:lnTo>
                  <a:lnTo>
                    <a:pt x="325" y="286"/>
                  </a:lnTo>
                  <a:lnTo>
                    <a:pt x="325" y="288"/>
                  </a:lnTo>
                  <a:lnTo>
                    <a:pt x="326" y="290"/>
                  </a:lnTo>
                  <a:lnTo>
                    <a:pt x="326" y="292"/>
                  </a:lnTo>
                  <a:lnTo>
                    <a:pt x="325" y="294"/>
                  </a:lnTo>
                  <a:lnTo>
                    <a:pt x="323" y="303"/>
                  </a:lnTo>
                  <a:lnTo>
                    <a:pt x="321" y="307"/>
                  </a:lnTo>
                  <a:lnTo>
                    <a:pt x="320" y="310"/>
                  </a:lnTo>
                  <a:lnTo>
                    <a:pt x="319" y="312"/>
                  </a:lnTo>
                  <a:lnTo>
                    <a:pt x="318" y="316"/>
                  </a:lnTo>
                  <a:lnTo>
                    <a:pt x="316" y="320"/>
                  </a:lnTo>
                  <a:lnTo>
                    <a:pt x="315" y="322"/>
                  </a:lnTo>
                  <a:lnTo>
                    <a:pt x="314" y="324"/>
                  </a:lnTo>
                  <a:lnTo>
                    <a:pt x="310" y="328"/>
                  </a:lnTo>
                  <a:lnTo>
                    <a:pt x="309" y="330"/>
                  </a:lnTo>
                  <a:lnTo>
                    <a:pt x="307" y="333"/>
                  </a:lnTo>
                  <a:lnTo>
                    <a:pt x="307" y="335"/>
                  </a:lnTo>
                  <a:lnTo>
                    <a:pt x="306" y="337"/>
                  </a:lnTo>
                  <a:lnTo>
                    <a:pt x="307" y="340"/>
                  </a:lnTo>
                  <a:lnTo>
                    <a:pt x="307" y="342"/>
                  </a:lnTo>
                  <a:lnTo>
                    <a:pt x="309" y="347"/>
                  </a:lnTo>
                  <a:lnTo>
                    <a:pt x="309" y="350"/>
                  </a:lnTo>
                  <a:lnTo>
                    <a:pt x="309" y="351"/>
                  </a:lnTo>
                  <a:lnTo>
                    <a:pt x="309" y="353"/>
                  </a:lnTo>
                  <a:lnTo>
                    <a:pt x="309" y="355"/>
                  </a:lnTo>
                  <a:lnTo>
                    <a:pt x="308" y="357"/>
                  </a:lnTo>
                  <a:lnTo>
                    <a:pt x="306" y="364"/>
                  </a:lnTo>
                  <a:lnTo>
                    <a:pt x="305" y="367"/>
                  </a:lnTo>
                  <a:lnTo>
                    <a:pt x="304" y="370"/>
                  </a:lnTo>
                  <a:lnTo>
                    <a:pt x="303" y="374"/>
                  </a:lnTo>
                  <a:lnTo>
                    <a:pt x="302" y="379"/>
                  </a:lnTo>
                  <a:lnTo>
                    <a:pt x="302" y="384"/>
                  </a:lnTo>
                  <a:lnTo>
                    <a:pt x="301" y="396"/>
                  </a:lnTo>
                  <a:lnTo>
                    <a:pt x="301" y="399"/>
                  </a:lnTo>
                  <a:lnTo>
                    <a:pt x="301" y="404"/>
                  </a:lnTo>
                  <a:lnTo>
                    <a:pt x="301" y="406"/>
                  </a:lnTo>
                  <a:lnTo>
                    <a:pt x="301" y="407"/>
                  </a:lnTo>
                  <a:lnTo>
                    <a:pt x="302" y="410"/>
                  </a:lnTo>
                  <a:lnTo>
                    <a:pt x="305" y="416"/>
                  </a:lnTo>
                  <a:lnTo>
                    <a:pt x="305" y="418"/>
                  </a:lnTo>
                  <a:lnTo>
                    <a:pt x="306" y="419"/>
                  </a:lnTo>
                  <a:lnTo>
                    <a:pt x="306" y="429"/>
                  </a:lnTo>
                  <a:lnTo>
                    <a:pt x="307" y="435"/>
                  </a:lnTo>
                  <a:lnTo>
                    <a:pt x="309" y="443"/>
                  </a:lnTo>
                  <a:lnTo>
                    <a:pt x="310" y="456"/>
                  </a:lnTo>
                  <a:lnTo>
                    <a:pt x="311" y="461"/>
                  </a:lnTo>
                  <a:lnTo>
                    <a:pt x="312" y="465"/>
                  </a:lnTo>
                  <a:lnTo>
                    <a:pt x="314" y="470"/>
                  </a:lnTo>
                  <a:lnTo>
                    <a:pt x="315" y="472"/>
                  </a:lnTo>
                  <a:lnTo>
                    <a:pt x="317" y="475"/>
                  </a:lnTo>
                  <a:lnTo>
                    <a:pt x="318" y="476"/>
                  </a:lnTo>
                  <a:lnTo>
                    <a:pt x="318" y="476"/>
                  </a:lnTo>
                  <a:lnTo>
                    <a:pt x="318" y="476"/>
                  </a:lnTo>
                  <a:lnTo>
                    <a:pt x="318" y="477"/>
                  </a:lnTo>
                  <a:lnTo>
                    <a:pt x="316" y="480"/>
                  </a:lnTo>
                  <a:lnTo>
                    <a:pt x="313" y="484"/>
                  </a:lnTo>
                  <a:lnTo>
                    <a:pt x="313" y="486"/>
                  </a:lnTo>
                  <a:lnTo>
                    <a:pt x="312" y="487"/>
                  </a:lnTo>
                  <a:lnTo>
                    <a:pt x="311" y="491"/>
                  </a:lnTo>
                  <a:lnTo>
                    <a:pt x="310" y="494"/>
                  </a:lnTo>
                  <a:lnTo>
                    <a:pt x="309" y="498"/>
                  </a:lnTo>
                  <a:lnTo>
                    <a:pt x="308" y="498"/>
                  </a:lnTo>
                  <a:lnTo>
                    <a:pt x="308" y="500"/>
                  </a:lnTo>
                  <a:lnTo>
                    <a:pt x="307" y="500"/>
                  </a:lnTo>
                  <a:lnTo>
                    <a:pt x="306" y="501"/>
                  </a:lnTo>
                  <a:lnTo>
                    <a:pt x="305" y="503"/>
                  </a:lnTo>
                  <a:lnTo>
                    <a:pt x="304" y="504"/>
                  </a:lnTo>
                  <a:lnTo>
                    <a:pt x="301" y="509"/>
                  </a:lnTo>
                  <a:lnTo>
                    <a:pt x="300" y="510"/>
                  </a:lnTo>
                  <a:lnTo>
                    <a:pt x="297" y="514"/>
                  </a:lnTo>
                  <a:lnTo>
                    <a:pt x="296" y="515"/>
                  </a:lnTo>
                  <a:lnTo>
                    <a:pt x="295" y="517"/>
                  </a:lnTo>
                  <a:lnTo>
                    <a:pt x="295" y="518"/>
                  </a:lnTo>
                  <a:lnTo>
                    <a:pt x="295" y="522"/>
                  </a:lnTo>
                  <a:lnTo>
                    <a:pt x="295" y="525"/>
                  </a:lnTo>
                  <a:lnTo>
                    <a:pt x="295" y="529"/>
                  </a:lnTo>
                  <a:lnTo>
                    <a:pt x="295" y="531"/>
                  </a:lnTo>
                  <a:lnTo>
                    <a:pt x="295" y="532"/>
                  </a:lnTo>
                  <a:lnTo>
                    <a:pt x="293" y="533"/>
                  </a:lnTo>
                  <a:lnTo>
                    <a:pt x="291" y="535"/>
                  </a:lnTo>
                  <a:lnTo>
                    <a:pt x="289" y="537"/>
                  </a:lnTo>
                  <a:lnTo>
                    <a:pt x="285" y="539"/>
                  </a:lnTo>
                  <a:lnTo>
                    <a:pt x="284" y="540"/>
                  </a:lnTo>
                  <a:lnTo>
                    <a:pt x="283" y="541"/>
                  </a:lnTo>
                  <a:lnTo>
                    <a:pt x="280" y="542"/>
                  </a:lnTo>
                  <a:lnTo>
                    <a:pt x="279" y="542"/>
                  </a:lnTo>
                  <a:lnTo>
                    <a:pt x="278" y="541"/>
                  </a:lnTo>
                  <a:lnTo>
                    <a:pt x="276" y="540"/>
                  </a:lnTo>
                  <a:lnTo>
                    <a:pt x="273" y="539"/>
                  </a:lnTo>
                  <a:lnTo>
                    <a:pt x="271" y="538"/>
                  </a:lnTo>
                  <a:lnTo>
                    <a:pt x="263" y="536"/>
                  </a:lnTo>
                  <a:lnTo>
                    <a:pt x="260" y="534"/>
                  </a:lnTo>
                  <a:lnTo>
                    <a:pt x="258" y="533"/>
                  </a:lnTo>
                  <a:lnTo>
                    <a:pt x="255" y="532"/>
                  </a:lnTo>
                  <a:lnTo>
                    <a:pt x="252" y="530"/>
                  </a:lnTo>
                  <a:lnTo>
                    <a:pt x="250" y="527"/>
                  </a:lnTo>
                  <a:lnTo>
                    <a:pt x="247" y="522"/>
                  </a:lnTo>
                  <a:lnTo>
                    <a:pt x="237" y="511"/>
                  </a:lnTo>
                  <a:lnTo>
                    <a:pt x="231" y="505"/>
                  </a:lnTo>
                  <a:lnTo>
                    <a:pt x="229" y="503"/>
                  </a:lnTo>
                  <a:lnTo>
                    <a:pt x="226" y="499"/>
                  </a:lnTo>
                  <a:lnTo>
                    <a:pt x="225" y="498"/>
                  </a:lnTo>
                  <a:lnTo>
                    <a:pt x="224" y="498"/>
                  </a:lnTo>
                  <a:lnTo>
                    <a:pt x="223" y="498"/>
                  </a:lnTo>
                  <a:lnTo>
                    <a:pt x="221" y="497"/>
                  </a:lnTo>
                  <a:lnTo>
                    <a:pt x="217" y="496"/>
                  </a:lnTo>
                  <a:lnTo>
                    <a:pt x="210" y="495"/>
                  </a:lnTo>
                  <a:lnTo>
                    <a:pt x="208" y="495"/>
                  </a:lnTo>
                  <a:lnTo>
                    <a:pt x="206" y="495"/>
                  </a:lnTo>
                  <a:lnTo>
                    <a:pt x="204" y="495"/>
                  </a:lnTo>
                  <a:lnTo>
                    <a:pt x="204" y="496"/>
                  </a:lnTo>
                  <a:lnTo>
                    <a:pt x="203" y="496"/>
                  </a:lnTo>
                  <a:lnTo>
                    <a:pt x="199" y="498"/>
                  </a:lnTo>
                  <a:lnTo>
                    <a:pt x="197" y="499"/>
                  </a:lnTo>
                  <a:lnTo>
                    <a:pt x="195" y="500"/>
                  </a:lnTo>
                  <a:lnTo>
                    <a:pt x="194" y="501"/>
                  </a:lnTo>
                  <a:lnTo>
                    <a:pt x="193" y="501"/>
                  </a:lnTo>
                  <a:lnTo>
                    <a:pt x="192" y="501"/>
                  </a:lnTo>
                  <a:lnTo>
                    <a:pt x="191" y="501"/>
                  </a:lnTo>
                  <a:lnTo>
                    <a:pt x="189" y="501"/>
                  </a:lnTo>
                  <a:lnTo>
                    <a:pt x="187" y="500"/>
                  </a:lnTo>
                  <a:lnTo>
                    <a:pt x="186" y="499"/>
                  </a:lnTo>
                  <a:lnTo>
                    <a:pt x="185" y="498"/>
                  </a:lnTo>
                  <a:lnTo>
                    <a:pt x="183" y="496"/>
                  </a:lnTo>
                  <a:lnTo>
                    <a:pt x="181" y="494"/>
                  </a:lnTo>
                  <a:lnTo>
                    <a:pt x="180" y="492"/>
                  </a:lnTo>
                  <a:lnTo>
                    <a:pt x="174" y="488"/>
                  </a:lnTo>
                  <a:lnTo>
                    <a:pt x="171" y="486"/>
                  </a:lnTo>
                  <a:lnTo>
                    <a:pt x="170" y="484"/>
                  </a:lnTo>
                  <a:lnTo>
                    <a:pt x="165" y="479"/>
                  </a:lnTo>
                  <a:lnTo>
                    <a:pt x="163" y="478"/>
                  </a:lnTo>
                  <a:lnTo>
                    <a:pt x="161" y="476"/>
                  </a:lnTo>
                  <a:lnTo>
                    <a:pt x="159" y="476"/>
                  </a:lnTo>
                  <a:lnTo>
                    <a:pt x="159" y="476"/>
                  </a:lnTo>
                  <a:lnTo>
                    <a:pt x="158" y="476"/>
                  </a:lnTo>
                  <a:lnTo>
                    <a:pt x="156" y="476"/>
                  </a:lnTo>
                  <a:lnTo>
                    <a:pt x="154" y="476"/>
                  </a:lnTo>
                  <a:lnTo>
                    <a:pt x="153" y="476"/>
                  </a:lnTo>
                  <a:lnTo>
                    <a:pt x="151" y="468"/>
                  </a:lnTo>
                  <a:lnTo>
                    <a:pt x="147" y="454"/>
                  </a:lnTo>
                  <a:lnTo>
                    <a:pt x="146" y="450"/>
                  </a:lnTo>
                  <a:lnTo>
                    <a:pt x="146" y="448"/>
                  </a:lnTo>
                  <a:lnTo>
                    <a:pt x="146" y="446"/>
                  </a:lnTo>
                  <a:lnTo>
                    <a:pt x="146" y="443"/>
                  </a:lnTo>
                  <a:lnTo>
                    <a:pt x="146" y="442"/>
                  </a:lnTo>
                  <a:lnTo>
                    <a:pt x="147" y="439"/>
                  </a:lnTo>
                  <a:lnTo>
                    <a:pt x="147" y="437"/>
                  </a:lnTo>
                  <a:lnTo>
                    <a:pt x="147" y="435"/>
                  </a:lnTo>
                  <a:lnTo>
                    <a:pt x="148" y="433"/>
                  </a:lnTo>
                  <a:lnTo>
                    <a:pt x="151" y="428"/>
                  </a:lnTo>
                  <a:lnTo>
                    <a:pt x="152" y="426"/>
                  </a:lnTo>
                  <a:lnTo>
                    <a:pt x="152" y="424"/>
                  </a:lnTo>
                  <a:lnTo>
                    <a:pt x="152" y="423"/>
                  </a:lnTo>
                  <a:lnTo>
                    <a:pt x="152" y="421"/>
                  </a:lnTo>
                  <a:lnTo>
                    <a:pt x="152" y="419"/>
                  </a:lnTo>
                  <a:lnTo>
                    <a:pt x="152" y="419"/>
                  </a:lnTo>
                  <a:lnTo>
                    <a:pt x="151" y="416"/>
                  </a:lnTo>
                  <a:lnTo>
                    <a:pt x="151" y="414"/>
                  </a:lnTo>
                  <a:lnTo>
                    <a:pt x="150" y="412"/>
                  </a:lnTo>
                  <a:lnTo>
                    <a:pt x="148" y="410"/>
                  </a:lnTo>
                  <a:lnTo>
                    <a:pt x="147" y="406"/>
                  </a:lnTo>
                  <a:lnTo>
                    <a:pt x="137" y="392"/>
                  </a:lnTo>
                  <a:lnTo>
                    <a:pt x="135" y="388"/>
                  </a:lnTo>
                  <a:lnTo>
                    <a:pt x="134" y="385"/>
                  </a:lnTo>
                  <a:lnTo>
                    <a:pt x="133" y="383"/>
                  </a:lnTo>
                  <a:lnTo>
                    <a:pt x="132" y="379"/>
                  </a:lnTo>
                  <a:lnTo>
                    <a:pt x="132" y="376"/>
                  </a:lnTo>
                  <a:lnTo>
                    <a:pt x="132" y="368"/>
                  </a:lnTo>
                  <a:lnTo>
                    <a:pt x="132" y="365"/>
                  </a:lnTo>
                  <a:lnTo>
                    <a:pt x="132" y="363"/>
                  </a:lnTo>
                  <a:lnTo>
                    <a:pt x="131" y="362"/>
                  </a:lnTo>
                  <a:lnTo>
                    <a:pt x="130" y="360"/>
                  </a:lnTo>
                  <a:lnTo>
                    <a:pt x="129" y="359"/>
                  </a:lnTo>
                  <a:lnTo>
                    <a:pt x="128" y="357"/>
                  </a:lnTo>
                  <a:lnTo>
                    <a:pt x="126" y="355"/>
                  </a:lnTo>
                  <a:lnTo>
                    <a:pt x="124" y="353"/>
                  </a:lnTo>
                  <a:lnTo>
                    <a:pt x="121" y="351"/>
                  </a:lnTo>
                  <a:lnTo>
                    <a:pt x="114" y="349"/>
                  </a:lnTo>
                  <a:lnTo>
                    <a:pt x="112" y="347"/>
                  </a:lnTo>
                  <a:lnTo>
                    <a:pt x="109" y="346"/>
                  </a:lnTo>
                  <a:lnTo>
                    <a:pt x="107" y="344"/>
                  </a:lnTo>
                  <a:lnTo>
                    <a:pt x="105" y="342"/>
                  </a:lnTo>
                  <a:lnTo>
                    <a:pt x="103" y="340"/>
                  </a:lnTo>
                  <a:lnTo>
                    <a:pt x="102" y="338"/>
                  </a:lnTo>
                  <a:lnTo>
                    <a:pt x="98" y="331"/>
                  </a:lnTo>
                  <a:lnTo>
                    <a:pt x="95" y="327"/>
                  </a:lnTo>
                  <a:lnTo>
                    <a:pt x="92" y="324"/>
                  </a:lnTo>
                  <a:lnTo>
                    <a:pt x="90" y="322"/>
                  </a:lnTo>
                  <a:lnTo>
                    <a:pt x="89" y="321"/>
                  </a:lnTo>
                  <a:lnTo>
                    <a:pt x="87" y="320"/>
                  </a:lnTo>
                  <a:lnTo>
                    <a:pt x="84" y="318"/>
                  </a:lnTo>
                  <a:lnTo>
                    <a:pt x="81" y="317"/>
                  </a:lnTo>
                  <a:lnTo>
                    <a:pt x="79" y="317"/>
                  </a:lnTo>
                  <a:lnTo>
                    <a:pt x="78" y="317"/>
                  </a:lnTo>
                  <a:lnTo>
                    <a:pt x="77" y="317"/>
                  </a:lnTo>
                  <a:lnTo>
                    <a:pt x="75" y="317"/>
                  </a:lnTo>
                  <a:lnTo>
                    <a:pt x="74" y="317"/>
                  </a:lnTo>
                  <a:lnTo>
                    <a:pt x="73" y="317"/>
                  </a:lnTo>
                  <a:lnTo>
                    <a:pt x="71" y="317"/>
                  </a:lnTo>
                  <a:lnTo>
                    <a:pt x="70" y="318"/>
                  </a:lnTo>
                  <a:lnTo>
                    <a:pt x="69" y="319"/>
                  </a:lnTo>
                  <a:lnTo>
                    <a:pt x="68" y="320"/>
                  </a:lnTo>
                  <a:lnTo>
                    <a:pt x="67" y="322"/>
                  </a:lnTo>
                  <a:lnTo>
                    <a:pt x="65" y="325"/>
                  </a:lnTo>
                  <a:lnTo>
                    <a:pt x="57" y="337"/>
                  </a:lnTo>
                  <a:lnTo>
                    <a:pt x="56" y="340"/>
                  </a:lnTo>
                  <a:lnTo>
                    <a:pt x="54" y="342"/>
                  </a:lnTo>
                  <a:lnTo>
                    <a:pt x="52" y="343"/>
                  </a:lnTo>
                  <a:lnTo>
                    <a:pt x="51" y="344"/>
                  </a:lnTo>
                  <a:lnTo>
                    <a:pt x="49" y="346"/>
                  </a:lnTo>
                  <a:lnTo>
                    <a:pt x="47" y="347"/>
                  </a:lnTo>
                  <a:lnTo>
                    <a:pt x="44" y="348"/>
                  </a:lnTo>
                  <a:lnTo>
                    <a:pt x="41" y="348"/>
                  </a:lnTo>
                  <a:lnTo>
                    <a:pt x="39" y="348"/>
                  </a:lnTo>
                  <a:lnTo>
                    <a:pt x="38" y="348"/>
                  </a:lnTo>
                  <a:lnTo>
                    <a:pt x="36" y="348"/>
                  </a:lnTo>
                  <a:lnTo>
                    <a:pt x="34" y="347"/>
                  </a:lnTo>
                  <a:lnTo>
                    <a:pt x="33" y="347"/>
                  </a:lnTo>
                  <a:lnTo>
                    <a:pt x="31" y="346"/>
                  </a:lnTo>
                  <a:lnTo>
                    <a:pt x="30" y="346"/>
                  </a:lnTo>
                  <a:lnTo>
                    <a:pt x="29" y="345"/>
                  </a:lnTo>
                  <a:lnTo>
                    <a:pt x="29" y="344"/>
                  </a:lnTo>
                  <a:lnTo>
                    <a:pt x="28" y="343"/>
                  </a:lnTo>
                  <a:lnTo>
                    <a:pt x="27" y="342"/>
                  </a:lnTo>
                  <a:lnTo>
                    <a:pt x="27" y="340"/>
                  </a:lnTo>
                  <a:lnTo>
                    <a:pt x="27" y="339"/>
                  </a:lnTo>
                  <a:lnTo>
                    <a:pt x="28" y="337"/>
                  </a:lnTo>
                  <a:lnTo>
                    <a:pt x="28" y="334"/>
                  </a:lnTo>
                  <a:lnTo>
                    <a:pt x="30" y="330"/>
                  </a:lnTo>
                  <a:lnTo>
                    <a:pt x="31" y="328"/>
                  </a:lnTo>
                  <a:lnTo>
                    <a:pt x="33" y="325"/>
                  </a:lnTo>
                  <a:lnTo>
                    <a:pt x="34" y="323"/>
                  </a:lnTo>
                  <a:lnTo>
                    <a:pt x="34" y="321"/>
                  </a:lnTo>
                  <a:lnTo>
                    <a:pt x="34" y="320"/>
                  </a:lnTo>
                  <a:lnTo>
                    <a:pt x="34" y="318"/>
                  </a:lnTo>
                  <a:lnTo>
                    <a:pt x="33" y="317"/>
                  </a:lnTo>
                  <a:lnTo>
                    <a:pt x="33" y="313"/>
                  </a:lnTo>
                  <a:lnTo>
                    <a:pt x="32" y="312"/>
                  </a:lnTo>
                  <a:lnTo>
                    <a:pt x="31" y="310"/>
                  </a:lnTo>
                  <a:lnTo>
                    <a:pt x="28" y="306"/>
                  </a:lnTo>
                  <a:lnTo>
                    <a:pt x="24" y="303"/>
                  </a:lnTo>
                  <a:lnTo>
                    <a:pt x="22" y="301"/>
                  </a:lnTo>
                  <a:lnTo>
                    <a:pt x="21" y="299"/>
                  </a:lnTo>
                  <a:lnTo>
                    <a:pt x="18" y="297"/>
                  </a:lnTo>
                  <a:lnTo>
                    <a:pt x="13" y="294"/>
                  </a:lnTo>
                  <a:lnTo>
                    <a:pt x="11" y="294"/>
                  </a:lnTo>
                  <a:lnTo>
                    <a:pt x="10" y="292"/>
                  </a:lnTo>
                  <a:lnTo>
                    <a:pt x="9" y="290"/>
                  </a:lnTo>
                  <a:lnTo>
                    <a:pt x="7" y="288"/>
                  </a:lnTo>
                  <a:lnTo>
                    <a:pt x="6" y="285"/>
                  </a:lnTo>
                  <a:lnTo>
                    <a:pt x="4" y="282"/>
                  </a:lnTo>
                  <a:lnTo>
                    <a:pt x="3" y="278"/>
                  </a:lnTo>
                  <a:lnTo>
                    <a:pt x="2" y="276"/>
                  </a:lnTo>
                  <a:lnTo>
                    <a:pt x="1" y="274"/>
                  </a:lnTo>
                  <a:lnTo>
                    <a:pt x="0" y="272"/>
                  </a:lnTo>
                  <a:lnTo>
                    <a:pt x="0" y="269"/>
                  </a:lnTo>
                  <a:lnTo>
                    <a:pt x="0" y="266"/>
                  </a:lnTo>
                  <a:lnTo>
                    <a:pt x="0" y="263"/>
                  </a:lnTo>
                  <a:lnTo>
                    <a:pt x="0" y="260"/>
                  </a:lnTo>
                  <a:lnTo>
                    <a:pt x="0" y="258"/>
                  </a:lnTo>
                  <a:lnTo>
                    <a:pt x="0" y="255"/>
                  </a:lnTo>
                  <a:lnTo>
                    <a:pt x="1" y="252"/>
                  </a:lnTo>
                  <a:lnTo>
                    <a:pt x="2" y="249"/>
                  </a:lnTo>
                  <a:lnTo>
                    <a:pt x="2" y="248"/>
                  </a:lnTo>
                  <a:lnTo>
                    <a:pt x="4" y="245"/>
                  </a:lnTo>
                  <a:lnTo>
                    <a:pt x="5" y="243"/>
                  </a:lnTo>
                  <a:lnTo>
                    <a:pt x="6" y="241"/>
                  </a:lnTo>
                  <a:lnTo>
                    <a:pt x="7" y="239"/>
                  </a:lnTo>
                  <a:lnTo>
                    <a:pt x="9" y="238"/>
                  </a:lnTo>
                  <a:lnTo>
                    <a:pt x="11" y="236"/>
                  </a:lnTo>
                  <a:lnTo>
                    <a:pt x="12" y="235"/>
                  </a:lnTo>
                  <a:lnTo>
                    <a:pt x="13" y="235"/>
                  </a:lnTo>
                  <a:lnTo>
                    <a:pt x="13" y="234"/>
                  </a:lnTo>
                  <a:lnTo>
                    <a:pt x="14" y="234"/>
                  </a:lnTo>
                  <a:lnTo>
                    <a:pt x="16" y="233"/>
                  </a:lnTo>
                  <a:lnTo>
                    <a:pt x="17" y="233"/>
                  </a:lnTo>
                  <a:lnTo>
                    <a:pt x="21" y="232"/>
                  </a:lnTo>
                  <a:lnTo>
                    <a:pt x="23" y="232"/>
                  </a:lnTo>
                  <a:lnTo>
                    <a:pt x="26" y="232"/>
                  </a:lnTo>
                  <a:lnTo>
                    <a:pt x="30" y="233"/>
                  </a:lnTo>
                  <a:lnTo>
                    <a:pt x="45" y="235"/>
                  </a:lnTo>
                  <a:lnTo>
                    <a:pt x="50" y="235"/>
                  </a:lnTo>
                  <a:lnTo>
                    <a:pt x="53" y="235"/>
                  </a:lnTo>
                  <a:lnTo>
                    <a:pt x="56" y="235"/>
                  </a:lnTo>
                  <a:lnTo>
                    <a:pt x="57" y="235"/>
                  </a:lnTo>
                  <a:lnTo>
                    <a:pt x="59" y="234"/>
                  </a:lnTo>
                  <a:lnTo>
                    <a:pt x="63" y="233"/>
                  </a:lnTo>
                  <a:lnTo>
                    <a:pt x="64" y="232"/>
                  </a:lnTo>
                  <a:lnTo>
                    <a:pt x="66" y="231"/>
                  </a:lnTo>
                  <a:lnTo>
                    <a:pt x="67" y="230"/>
                  </a:lnTo>
                  <a:lnTo>
                    <a:pt x="68" y="228"/>
                  </a:lnTo>
                  <a:lnTo>
                    <a:pt x="69" y="226"/>
                  </a:lnTo>
                  <a:lnTo>
                    <a:pt x="71" y="225"/>
                  </a:lnTo>
                  <a:lnTo>
                    <a:pt x="73" y="220"/>
                  </a:lnTo>
                  <a:lnTo>
                    <a:pt x="79" y="207"/>
                  </a:lnTo>
                  <a:lnTo>
                    <a:pt x="80" y="201"/>
                  </a:lnTo>
                  <a:lnTo>
                    <a:pt x="82" y="198"/>
                  </a:lnTo>
                  <a:lnTo>
                    <a:pt x="84" y="194"/>
                  </a:lnTo>
                  <a:lnTo>
                    <a:pt x="86" y="192"/>
                  </a:lnTo>
                  <a:lnTo>
                    <a:pt x="88" y="188"/>
                  </a:lnTo>
                  <a:lnTo>
                    <a:pt x="90" y="186"/>
                  </a:lnTo>
                  <a:lnTo>
                    <a:pt x="90" y="184"/>
                  </a:lnTo>
                  <a:lnTo>
                    <a:pt x="92" y="183"/>
                  </a:lnTo>
                  <a:lnTo>
                    <a:pt x="93" y="181"/>
                  </a:lnTo>
                  <a:lnTo>
                    <a:pt x="94" y="181"/>
                  </a:lnTo>
                  <a:lnTo>
                    <a:pt x="96" y="180"/>
                  </a:lnTo>
                  <a:lnTo>
                    <a:pt x="98" y="180"/>
                  </a:lnTo>
                  <a:lnTo>
                    <a:pt x="99" y="179"/>
                  </a:lnTo>
                  <a:lnTo>
                    <a:pt x="103" y="178"/>
                  </a:lnTo>
                  <a:lnTo>
                    <a:pt x="113" y="176"/>
                  </a:lnTo>
                  <a:lnTo>
                    <a:pt x="123" y="174"/>
                  </a:lnTo>
                  <a:lnTo>
                    <a:pt x="126" y="173"/>
                  </a:lnTo>
                  <a:lnTo>
                    <a:pt x="129" y="173"/>
                  </a:lnTo>
                  <a:lnTo>
                    <a:pt x="132" y="174"/>
                  </a:lnTo>
                  <a:lnTo>
                    <a:pt x="138" y="175"/>
                  </a:lnTo>
                  <a:lnTo>
                    <a:pt x="141" y="175"/>
                  </a:lnTo>
                  <a:lnTo>
                    <a:pt x="144" y="175"/>
                  </a:lnTo>
                  <a:lnTo>
                    <a:pt x="150" y="175"/>
                  </a:lnTo>
                  <a:lnTo>
                    <a:pt x="153" y="175"/>
                  </a:lnTo>
                  <a:lnTo>
                    <a:pt x="156" y="176"/>
                  </a:lnTo>
                  <a:lnTo>
                    <a:pt x="159" y="177"/>
                  </a:lnTo>
                  <a:lnTo>
                    <a:pt x="165" y="178"/>
                  </a:lnTo>
                  <a:lnTo>
                    <a:pt x="180" y="181"/>
                  </a:lnTo>
                  <a:lnTo>
                    <a:pt x="183" y="182"/>
                  </a:lnTo>
                  <a:lnTo>
                    <a:pt x="186" y="182"/>
                  </a:lnTo>
                  <a:lnTo>
                    <a:pt x="189" y="183"/>
                  </a:lnTo>
                  <a:lnTo>
                    <a:pt x="191" y="183"/>
                  </a:lnTo>
                  <a:lnTo>
                    <a:pt x="193" y="183"/>
                  </a:lnTo>
                  <a:lnTo>
                    <a:pt x="196" y="183"/>
                  </a:lnTo>
                  <a:lnTo>
                    <a:pt x="199" y="182"/>
                  </a:lnTo>
                  <a:lnTo>
                    <a:pt x="203" y="181"/>
                  </a:lnTo>
                  <a:lnTo>
                    <a:pt x="206" y="181"/>
                  </a:lnTo>
                  <a:lnTo>
                    <a:pt x="209" y="180"/>
                  </a:lnTo>
                  <a:lnTo>
                    <a:pt x="212" y="178"/>
                  </a:lnTo>
                  <a:lnTo>
                    <a:pt x="215" y="177"/>
                  </a:lnTo>
                  <a:lnTo>
                    <a:pt x="216" y="175"/>
                  </a:lnTo>
                  <a:lnTo>
                    <a:pt x="216" y="174"/>
                  </a:lnTo>
                  <a:lnTo>
                    <a:pt x="217" y="173"/>
                  </a:lnTo>
                  <a:lnTo>
                    <a:pt x="218" y="171"/>
                  </a:lnTo>
                  <a:lnTo>
                    <a:pt x="219" y="170"/>
                  </a:lnTo>
                  <a:lnTo>
                    <a:pt x="219" y="169"/>
                  </a:lnTo>
                  <a:lnTo>
                    <a:pt x="220" y="167"/>
                  </a:lnTo>
                  <a:lnTo>
                    <a:pt x="220" y="162"/>
                  </a:lnTo>
                  <a:lnTo>
                    <a:pt x="221" y="159"/>
                  </a:lnTo>
                  <a:lnTo>
                    <a:pt x="221" y="149"/>
                  </a:lnTo>
                  <a:lnTo>
                    <a:pt x="222" y="137"/>
                  </a:lnTo>
                  <a:lnTo>
                    <a:pt x="222" y="135"/>
                  </a:lnTo>
                  <a:lnTo>
                    <a:pt x="221" y="128"/>
                  </a:lnTo>
                  <a:lnTo>
                    <a:pt x="220" y="123"/>
                  </a:lnTo>
                  <a:lnTo>
                    <a:pt x="220" y="120"/>
                  </a:lnTo>
                  <a:lnTo>
                    <a:pt x="221" y="117"/>
                  </a:lnTo>
                  <a:lnTo>
                    <a:pt x="221" y="114"/>
                  </a:lnTo>
                  <a:lnTo>
                    <a:pt x="222" y="112"/>
                  </a:lnTo>
                  <a:lnTo>
                    <a:pt x="227" y="97"/>
                  </a:lnTo>
                  <a:lnTo>
                    <a:pt x="228" y="93"/>
                  </a:lnTo>
                  <a:lnTo>
                    <a:pt x="229" y="90"/>
                  </a:lnTo>
                  <a:lnTo>
                    <a:pt x="230" y="85"/>
                  </a:lnTo>
                  <a:lnTo>
                    <a:pt x="231" y="80"/>
                  </a:lnTo>
                  <a:lnTo>
                    <a:pt x="232" y="67"/>
                  </a:lnTo>
                  <a:lnTo>
                    <a:pt x="232" y="63"/>
                  </a:lnTo>
                  <a:lnTo>
                    <a:pt x="232" y="61"/>
                  </a:lnTo>
                  <a:lnTo>
                    <a:pt x="232" y="60"/>
                  </a:lnTo>
                  <a:lnTo>
                    <a:pt x="231" y="57"/>
                  </a:lnTo>
                  <a:lnTo>
                    <a:pt x="230" y="57"/>
                  </a:lnTo>
                  <a:lnTo>
                    <a:pt x="229" y="53"/>
                  </a:lnTo>
                  <a:lnTo>
                    <a:pt x="228" y="51"/>
                  </a:lnTo>
                  <a:lnTo>
                    <a:pt x="227" y="49"/>
                  </a:lnTo>
                  <a:lnTo>
                    <a:pt x="225" y="47"/>
                  </a:lnTo>
                  <a:lnTo>
                    <a:pt x="224" y="47"/>
                  </a:lnTo>
                  <a:lnTo>
                    <a:pt x="223" y="46"/>
                  </a:lnTo>
                  <a:lnTo>
                    <a:pt x="220" y="45"/>
                  </a:lnTo>
                  <a:lnTo>
                    <a:pt x="215" y="44"/>
                  </a:lnTo>
                  <a:lnTo>
                    <a:pt x="214" y="44"/>
                  </a:lnTo>
                  <a:lnTo>
                    <a:pt x="212" y="42"/>
                  </a:lnTo>
                  <a:lnTo>
                    <a:pt x="210" y="41"/>
                  </a:lnTo>
                  <a:lnTo>
                    <a:pt x="209" y="40"/>
                  </a:lnTo>
                  <a:lnTo>
                    <a:pt x="208" y="38"/>
                  </a:lnTo>
                  <a:lnTo>
                    <a:pt x="207" y="37"/>
                  </a:lnTo>
                  <a:lnTo>
                    <a:pt x="206" y="35"/>
                  </a:lnTo>
                  <a:lnTo>
                    <a:pt x="206" y="34"/>
                  </a:lnTo>
                  <a:lnTo>
                    <a:pt x="205" y="34"/>
                  </a:lnTo>
                  <a:lnTo>
                    <a:pt x="205" y="32"/>
                  </a:lnTo>
                  <a:lnTo>
                    <a:pt x="205" y="30"/>
                  </a:lnTo>
                  <a:lnTo>
                    <a:pt x="206" y="28"/>
                  </a:lnTo>
                  <a:lnTo>
                    <a:pt x="206" y="26"/>
                  </a:lnTo>
                  <a:lnTo>
                    <a:pt x="207" y="24"/>
                  </a:lnTo>
                  <a:lnTo>
                    <a:pt x="208" y="23"/>
                  </a:lnTo>
                  <a:lnTo>
                    <a:pt x="209" y="21"/>
                  </a:lnTo>
                  <a:lnTo>
                    <a:pt x="211" y="19"/>
                  </a:lnTo>
                  <a:lnTo>
                    <a:pt x="213" y="17"/>
                  </a:lnTo>
                  <a:lnTo>
                    <a:pt x="214" y="15"/>
                  </a:lnTo>
                  <a:lnTo>
                    <a:pt x="215" y="13"/>
                  </a:lnTo>
                  <a:lnTo>
                    <a:pt x="220" y="11"/>
                  </a:lnTo>
                  <a:lnTo>
                    <a:pt x="226" y="7"/>
                  </a:lnTo>
                  <a:lnTo>
                    <a:pt x="231" y="3"/>
                  </a:lnTo>
                  <a:lnTo>
                    <a:pt x="233" y="2"/>
                  </a:lnTo>
                  <a:lnTo>
                    <a:pt x="235" y="1"/>
                  </a:lnTo>
                  <a:lnTo>
                    <a:pt x="237" y="1"/>
                  </a:lnTo>
                  <a:lnTo>
                    <a:pt x="238" y="0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8" name="Freeform 45">
              <a:extLst>
                <a:ext uri="{FF2B5EF4-FFF2-40B4-BE49-F238E27FC236}">
                  <a16:creationId xmlns:a16="http://schemas.microsoft.com/office/drawing/2014/main" id="{201B2B7F-AE9A-444F-A446-E272BE294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7" y="1269"/>
              <a:ext cx="414" cy="386"/>
            </a:xfrm>
            <a:custGeom>
              <a:avLst/>
              <a:gdLst>
                <a:gd name="T0" fmla="*/ 297 w 414"/>
                <a:gd name="T1" fmla="*/ 15 h 386"/>
                <a:gd name="T2" fmla="*/ 316 w 414"/>
                <a:gd name="T3" fmla="*/ 23 h 386"/>
                <a:gd name="T4" fmla="*/ 331 w 414"/>
                <a:gd name="T5" fmla="*/ 30 h 386"/>
                <a:gd name="T6" fmla="*/ 343 w 414"/>
                <a:gd name="T7" fmla="*/ 35 h 386"/>
                <a:gd name="T8" fmla="*/ 346 w 414"/>
                <a:gd name="T9" fmla="*/ 45 h 386"/>
                <a:gd name="T10" fmla="*/ 367 w 414"/>
                <a:gd name="T11" fmla="*/ 81 h 386"/>
                <a:gd name="T12" fmla="*/ 366 w 414"/>
                <a:gd name="T13" fmla="*/ 113 h 386"/>
                <a:gd name="T14" fmla="*/ 374 w 414"/>
                <a:gd name="T15" fmla="*/ 179 h 386"/>
                <a:gd name="T16" fmla="*/ 376 w 414"/>
                <a:gd name="T17" fmla="*/ 204 h 386"/>
                <a:gd name="T18" fmla="*/ 388 w 414"/>
                <a:gd name="T19" fmla="*/ 230 h 386"/>
                <a:gd name="T20" fmla="*/ 380 w 414"/>
                <a:gd name="T21" fmla="*/ 258 h 386"/>
                <a:gd name="T22" fmla="*/ 388 w 414"/>
                <a:gd name="T23" fmla="*/ 285 h 386"/>
                <a:gd name="T24" fmla="*/ 411 w 414"/>
                <a:gd name="T25" fmla="*/ 320 h 386"/>
                <a:gd name="T26" fmla="*/ 413 w 414"/>
                <a:gd name="T27" fmla="*/ 333 h 386"/>
                <a:gd name="T28" fmla="*/ 385 w 414"/>
                <a:gd name="T29" fmla="*/ 348 h 386"/>
                <a:gd name="T30" fmla="*/ 373 w 414"/>
                <a:gd name="T31" fmla="*/ 340 h 386"/>
                <a:gd name="T32" fmla="*/ 350 w 414"/>
                <a:gd name="T33" fmla="*/ 344 h 386"/>
                <a:gd name="T34" fmla="*/ 330 w 414"/>
                <a:gd name="T35" fmla="*/ 338 h 386"/>
                <a:gd name="T36" fmla="*/ 312 w 414"/>
                <a:gd name="T37" fmla="*/ 317 h 386"/>
                <a:gd name="T38" fmla="*/ 301 w 414"/>
                <a:gd name="T39" fmla="*/ 322 h 386"/>
                <a:gd name="T40" fmla="*/ 278 w 414"/>
                <a:gd name="T41" fmla="*/ 342 h 386"/>
                <a:gd name="T42" fmla="*/ 278 w 414"/>
                <a:gd name="T43" fmla="*/ 365 h 386"/>
                <a:gd name="T44" fmla="*/ 267 w 414"/>
                <a:gd name="T45" fmla="*/ 380 h 386"/>
                <a:gd name="T46" fmla="*/ 249 w 414"/>
                <a:gd name="T47" fmla="*/ 386 h 386"/>
                <a:gd name="T48" fmla="*/ 236 w 414"/>
                <a:gd name="T49" fmla="*/ 380 h 386"/>
                <a:gd name="T50" fmla="*/ 230 w 414"/>
                <a:gd name="T51" fmla="*/ 366 h 386"/>
                <a:gd name="T52" fmla="*/ 215 w 414"/>
                <a:gd name="T53" fmla="*/ 363 h 386"/>
                <a:gd name="T54" fmla="*/ 180 w 414"/>
                <a:gd name="T55" fmla="*/ 350 h 386"/>
                <a:gd name="T56" fmla="*/ 152 w 414"/>
                <a:gd name="T57" fmla="*/ 340 h 386"/>
                <a:gd name="T58" fmla="*/ 140 w 414"/>
                <a:gd name="T59" fmla="*/ 345 h 386"/>
                <a:gd name="T60" fmla="*/ 119 w 414"/>
                <a:gd name="T61" fmla="*/ 366 h 386"/>
                <a:gd name="T62" fmla="*/ 98 w 414"/>
                <a:gd name="T63" fmla="*/ 365 h 386"/>
                <a:gd name="T64" fmla="*/ 57 w 414"/>
                <a:gd name="T65" fmla="*/ 344 h 386"/>
                <a:gd name="T66" fmla="*/ 51 w 414"/>
                <a:gd name="T67" fmla="*/ 339 h 386"/>
                <a:gd name="T68" fmla="*/ 33 w 414"/>
                <a:gd name="T69" fmla="*/ 330 h 386"/>
                <a:gd name="T70" fmla="*/ 17 w 414"/>
                <a:gd name="T71" fmla="*/ 324 h 386"/>
                <a:gd name="T72" fmla="*/ 11 w 414"/>
                <a:gd name="T73" fmla="*/ 302 h 386"/>
                <a:gd name="T74" fmla="*/ 1 w 414"/>
                <a:gd name="T75" fmla="*/ 293 h 386"/>
                <a:gd name="T76" fmla="*/ 16 w 414"/>
                <a:gd name="T77" fmla="*/ 282 h 386"/>
                <a:gd name="T78" fmla="*/ 18 w 414"/>
                <a:gd name="T79" fmla="*/ 265 h 386"/>
                <a:gd name="T80" fmla="*/ 29 w 414"/>
                <a:gd name="T81" fmla="*/ 249 h 386"/>
                <a:gd name="T82" fmla="*/ 39 w 414"/>
                <a:gd name="T83" fmla="*/ 228 h 386"/>
                <a:gd name="T84" fmla="*/ 57 w 414"/>
                <a:gd name="T85" fmla="*/ 226 h 386"/>
                <a:gd name="T86" fmla="*/ 82 w 414"/>
                <a:gd name="T87" fmla="*/ 223 h 386"/>
                <a:gd name="T88" fmla="*/ 102 w 414"/>
                <a:gd name="T89" fmla="*/ 225 h 386"/>
                <a:gd name="T90" fmla="*/ 116 w 414"/>
                <a:gd name="T91" fmla="*/ 226 h 386"/>
                <a:gd name="T92" fmla="*/ 128 w 414"/>
                <a:gd name="T93" fmla="*/ 218 h 386"/>
                <a:gd name="T94" fmla="*/ 142 w 414"/>
                <a:gd name="T95" fmla="*/ 212 h 386"/>
                <a:gd name="T96" fmla="*/ 171 w 414"/>
                <a:gd name="T97" fmla="*/ 203 h 386"/>
                <a:gd name="T98" fmla="*/ 189 w 414"/>
                <a:gd name="T99" fmla="*/ 170 h 386"/>
                <a:gd name="T100" fmla="*/ 207 w 414"/>
                <a:gd name="T101" fmla="*/ 152 h 386"/>
                <a:gd name="T102" fmla="*/ 223 w 414"/>
                <a:gd name="T103" fmla="*/ 143 h 386"/>
                <a:gd name="T104" fmla="*/ 224 w 414"/>
                <a:gd name="T105" fmla="*/ 94 h 386"/>
                <a:gd name="T106" fmla="*/ 225 w 414"/>
                <a:gd name="T107" fmla="*/ 63 h 386"/>
                <a:gd name="T108" fmla="*/ 243 w 414"/>
                <a:gd name="T109" fmla="*/ 34 h 386"/>
                <a:gd name="T110" fmla="*/ 257 w 414"/>
                <a:gd name="T111" fmla="*/ 9 h 386"/>
                <a:gd name="T112" fmla="*/ 268 w 414"/>
                <a:gd name="T113" fmla="*/ 1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386">
                  <a:moveTo>
                    <a:pt x="273" y="0"/>
                  </a:moveTo>
                  <a:lnTo>
                    <a:pt x="275" y="1"/>
                  </a:lnTo>
                  <a:lnTo>
                    <a:pt x="277" y="2"/>
                  </a:lnTo>
                  <a:lnTo>
                    <a:pt x="282" y="6"/>
                  </a:lnTo>
                  <a:lnTo>
                    <a:pt x="284" y="7"/>
                  </a:lnTo>
                  <a:lnTo>
                    <a:pt x="289" y="11"/>
                  </a:lnTo>
                  <a:lnTo>
                    <a:pt x="291" y="11"/>
                  </a:lnTo>
                  <a:lnTo>
                    <a:pt x="297" y="15"/>
                  </a:lnTo>
                  <a:lnTo>
                    <a:pt x="302" y="20"/>
                  </a:lnTo>
                  <a:lnTo>
                    <a:pt x="303" y="21"/>
                  </a:lnTo>
                  <a:lnTo>
                    <a:pt x="304" y="21"/>
                  </a:lnTo>
                  <a:lnTo>
                    <a:pt x="306" y="22"/>
                  </a:lnTo>
                  <a:lnTo>
                    <a:pt x="309" y="23"/>
                  </a:lnTo>
                  <a:lnTo>
                    <a:pt x="311" y="23"/>
                  </a:lnTo>
                  <a:lnTo>
                    <a:pt x="313" y="23"/>
                  </a:lnTo>
                  <a:lnTo>
                    <a:pt x="316" y="23"/>
                  </a:lnTo>
                  <a:lnTo>
                    <a:pt x="322" y="23"/>
                  </a:lnTo>
                  <a:lnTo>
                    <a:pt x="323" y="23"/>
                  </a:lnTo>
                  <a:lnTo>
                    <a:pt x="324" y="23"/>
                  </a:lnTo>
                  <a:lnTo>
                    <a:pt x="325" y="24"/>
                  </a:lnTo>
                  <a:lnTo>
                    <a:pt x="326" y="25"/>
                  </a:lnTo>
                  <a:lnTo>
                    <a:pt x="327" y="25"/>
                  </a:lnTo>
                  <a:lnTo>
                    <a:pt x="328" y="27"/>
                  </a:lnTo>
                  <a:lnTo>
                    <a:pt x="331" y="30"/>
                  </a:lnTo>
                  <a:lnTo>
                    <a:pt x="333" y="32"/>
                  </a:lnTo>
                  <a:lnTo>
                    <a:pt x="334" y="33"/>
                  </a:lnTo>
                  <a:lnTo>
                    <a:pt x="336" y="34"/>
                  </a:lnTo>
                  <a:lnTo>
                    <a:pt x="337" y="34"/>
                  </a:lnTo>
                  <a:lnTo>
                    <a:pt x="338" y="35"/>
                  </a:lnTo>
                  <a:lnTo>
                    <a:pt x="340" y="35"/>
                  </a:lnTo>
                  <a:lnTo>
                    <a:pt x="342" y="35"/>
                  </a:lnTo>
                  <a:lnTo>
                    <a:pt x="343" y="35"/>
                  </a:lnTo>
                  <a:lnTo>
                    <a:pt x="344" y="35"/>
                  </a:lnTo>
                  <a:lnTo>
                    <a:pt x="344" y="34"/>
                  </a:lnTo>
                  <a:lnTo>
                    <a:pt x="344" y="35"/>
                  </a:lnTo>
                  <a:lnTo>
                    <a:pt x="344" y="36"/>
                  </a:lnTo>
                  <a:lnTo>
                    <a:pt x="344" y="37"/>
                  </a:lnTo>
                  <a:lnTo>
                    <a:pt x="345" y="40"/>
                  </a:lnTo>
                  <a:lnTo>
                    <a:pt x="345" y="42"/>
                  </a:lnTo>
                  <a:lnTo>
                    <a:pt x="346" y="45"/>
                  </a:lnTo>
                  <a:lnTo>
                    <a:pt x="347" y="49"/>
                  </a:lnTo>
                  <a:lnTo>
                    <a:pt x="350" y="54"/>
                  </a:lnTo>
                  <a:lnTo>
                    <a:pt x="352" y="57"/>
                  </a:lnTo>
                  <a:lnTo>
                    <a:pt x="355" y="61"/>
                  </a:lnTo>
                  <a:lnTo>
                    <a:pt x="361" y="70"/>
                  </a:lnTo>
                  <a:lnTo>
                    <a:pt x="364" y="76"/>
                  </a:lnTo>
                  <a:lnTo>
                    <a:pt x="366" y="79"/>
                  </a:lnTo>
                  <a:lnTo>
                    <a:pt x="367" y="81"/>
                  </a:lnTo>
                  <a:lnTo>
                    <a:pt x="368" y="83"/>
                  </a:lnTo>
                  <a:lnTo>
                    <a:pt x="368" y="85"/>
                  </a:lnTo>
                  <a:lnTo>
                    <a:pt x="368" y="89"/>
                  </a:lnTo>
                  <a:lnTo>
                    <a:pt x="368" y="92"/>
                  </a:lnTo>
                  <a:lnTo>
                    <a:pt x="368" y="96"/>
                  </a:lnTo>
                  <a:lnTo>
                    <a:pt x="367" y="106"/>
                  </a:lnTo>
                  <a:lnTo>
                    <a:pt x="366" y="110"/>
                  </a:lnTo>
                  <a:lnTo>
                    <a:pt x="366" y="113"/>
                  </a:lnTo>
                  <a:lnTo>
                    <a:pt x="367" y="126"/>
                  </a:lnTo>
                  <a:lnTo>
                    <a:pt x="367" y="144"/>
                  </a:lnTo>
                  <a:lnTo>
                    <a:pt x="368" y="147"/>
                  </a:lnTo>
                  <a:lnTo>
                    <a:pt x="368" y="151"/>
                  </a:lnTo>
                  <a:lnTo>
                    <a:pt x="368" y="157"/>
                  </a:lnTo>
                  <a:lnTo>
                    <a:pt x="370" y="163"/>
                  </a:lnTo>
                  <a:lnTo>
                    <a:pt x="371" y="170"/>
                  </a:lnTo>
                  <a:lnTo>
                    <a:pt x="374" y="179"/>
                  </a:lnTo>
                  <a:lnTo>
                    <a:pt x="375" y="182"/>
                  </a:lnTo>
                  <a:lnTo>
                    <a:pt x="375" y="184"/>
                  </a:lnTo>
                  <a:lnTo>
                    <a:pt x="375" y="187"/>
                  </a:lnTo>
                  <a:lnTo>
                    <a:pt x="375" y="193"/>
                  </a:lnTo>
                  <a:lnTo>
                    <a:pt x="375" y="196"/>
                  </a:lnTo>
                  <a:lnTo>
                    <a:pt x="375" y="199"/>
                  </a:lnTo>
                  <a:lnTo>
                    <a:pt x="375" y="201"/>
                  </a:lnTo>
                  <a:lnTo>
                    <a:pt x="376" y="204"/>
                  </a:lnTo>
                  <a:lnTo>
                    <a:pt x="377" y="205"/>
                  </a:lnTo>
                  <a:lnTo>
                    <a:pt x="382" y="216"/>
                  </a:lnTo>
                  <a:lnTo>
                    <a:pt x="384" y="219"/>
                  </a:lnTo>
                  <a:lnTo>
                    <a:pt x="385" y="222"/>
                  </a:lnTo>
                  <a:lnTo>
                    <a:pt x="386" y="225"/>
                  </a:lnTo>
                  <a:lnTo>
                    <a:pt x="387" y="227"/>
                  </a:lnTo>
                  <a:lnTo>
                    <a:pt x="387" y="228"/>
                  </a:lnTo>
                  <a:lnTo>
                    <a:pt x="388" y="230"/>
                  </a:lnTo>
                  <a:lnTo>
                    <a:pt x="388" y="231"/>
                  </a:lnTo>
                  <a:lnTo>
                    <a:pt x="387" y="233"/>
                  </a:lnTo>
                  <a:lnTo>
                    <a:pt x="387" y="236"/>
                  </a:lnTo>
                  <a:lnTo>
                    <a:pt x="386" y="239"/>
                  </a:lnTo>
                  <a:lnTo>
                    <a:pt x="384" y="245"/>
                  </a:lnTo>
                  <a:lnTo>
                    <a:pt x="383" y="249"/>
                  </a:lnTo>
                  <a:lnTo>
                    <a:pt x="381" y="253"/>
                  </a:lnTo>
                  <a:lnTo>
                    <a:pt x="380" y="258"/>
                  </a:lnTo>
                  <a:lnTo>
                    <a:pt x="380" y="261"/>
                  </a:lnTo>
                  <a:lnTo>
                    <a:pt x="380" y="264"/>
                  </a:lnTo>
                  <a:lnTo>
                    <a:pt x="380" y="266"/>
                  </a:lnTo>
                  <a:lnTo>
                    <a:pt x="380" y="269"/>
                  </a:lnTo>
                  <a:lnTo>
                    <a:pt x="380" y="271"/>
                  </a:lnTo>
                  <a:lnTo>
                    <a:pt x="381" y="272"/>
                  </a:lnTo>
                  <a:lnTo>
                    <a:pt x="385" y="279"/>
                  </a:lnTo>
                  <a:lnTo>
                    <a:pt x="388" y="285"/>
                  </a:lnTo>
                  <a:lnTo>
                    <a:pt x="391" y="292"/>
                  </a:lnTo>
                  <a:lnTo>
                    <a:pt x="393" y="295"/>
                  </a:lnTo>
                  <a:lnTo>
                    <a:pt x="394" y="297"/>
                  </a:lnTo>
                  <a:lnTo>
                    <a:pt x="398" y="302"/>
                  </a:lnTo>
                  <a:lnTo>
                    <a:pt x="403" y="309"/>
                  </a:lnTo>
                  <a:lnTo>
                    <a:pt x="407" y="314"/>
                  </a:lnTo>
                  <a:lnTo>
                    <a:pt x="409" y="317"/>
                  </a:lnTo>
                  <a:lnTo>
                    <a:pt x="411" y="320"/>
                  </a:lnTo>
                  <a:lnTo>
                    <a:pt x="413" y="322"/>
                  </a:lnTo>
                  <a:lnTo>
                    <a:pt x="413" y="325"/>
                  </a:lnTo>
                  <a:lnTo>
                    <a:pt x="414" y="328"/>
                  </a:lnTo>
                  <a:lnTo>
                    <a:pt x="414" y="329"/>
                  </a:lnTo>
                  <a:lnTo>
                    <a:pt x="414" y="330"/>
                  </a:lnTo>
                  <a:lnTo>
                    <a:pt x="414" y="331"/>
                  </a:lnTo>
                  <a:lnTo>
                    <a:pt x="413" y="332"/>
                  </a:lnTo>
                  <a:lnTo>
                    <a:pt x="413" y="333"/>
                  </a:lnTo>
                  <a:lnTo>
                    <a:pt x="412" y="335"/>
                  </a:lnTo>
                  <a:lnTo>
                    <a:pt x="411" y="336"/>
                  </a:lnTo>
                  <a:lnTo>
                    <a:pt x="409" y="337"/>
                  </a:lnTo>
                  <a:lnTo>
                    <a:pt x="405" y="339"/>
                  </a:lnTo>
                  <a:lnTo>
                    <a:pt x="402" y="340"/>
                  </a:lnTo>
                  <a:lnTo>
                    <a:pt x="395" y="343"/>
                  </a:lnTo>
                  <a:lnTo>
                    <a:pt x="385" y="347"/>
                  </a:lnTo>
                  <a:lnTo>
                    <a:pt x="385" y="348"/>
                  </a:lnTo>
                  <a:lnTo>
                    <a:pt x="384" y="348"/>
                  </a:lnTo>
                  <a:lnTo>
                    <a:pt x="384" y="347"/>
                  </a:lnTo>
                  <a:lnTo>
                    <a:pt x="382" y="345"/>
                  </a:lnTo>
                  <a:lnTo>
                    <a:pt x="381" y="344"/>
                  </a:lnTo>
                  <a:lnTo>
                    <a:pt x="380" y="343"/>
                  </a:lnTo>
                  <a:lnTo>
                    <a:pt x="378" y="342"/>
                  </a:lnTo>
                  <a:lnTo>
                    <a:pt x="376" y="341"/>
                  </a:lnTo>
                  <a:lnTo>
                    <a:pt x="373" y="340"/>
                  </a:lnTo>
                  <a:lnTo>
                    <a:pt x="371" y="340"/>
                  </a:lnTo>
                  <a:lnTo>
                    <a:pt x="369" y="340"/>
                  </a:lnTo>
                  <a:lnTo>
                    <a:pt x="368" y="340"/>
                  </a:lnTo>
                  <a:lnTo>
                    <a:pt x="366" y="340"/>
                  </a:lnTo>
                  <a:lnTo>
                    <a:pt x="364" y="340"/>
                  </a:lnTo>
                  <a:lnTo>
                    <a:pt x="358" y="341"/>
                  </a:lnTo>
                  <a:lnTo>
                    <a:pt x="352" y="344"/>
                  </a:lnTo>
                  <a:lnTo>
                    <a:pt x="350" y="344"/>
                  </a:lnTo>
                  <a:lnTo>
                    <a:pt x="348" y="344"/>
                  </a:lnTo>
                  <a:lnTo>
                    <a:pt x="346" y="345"/>
                  </a:lnTo>
                  <a:lnTo>
                    <a:pt x="344" y="344"/>
                  </a:lnTo>
                  <a:lnTo>
                    <a:pt x="340" y="343"/>
                  </a:lnTo>
                  <a:lnTo>
                    <a:pt x="337" y="342"/>
                  </a:lnTo>
                  <a:lnTo>
                    <a:pt x="334" y="341"/>
                  </a:lnTo>
                  <a:lnTo>
                    <a:pt x="333" y="340"/>
                  </a:lnTo>
                  <a:lnTo>
                    <a:pt x="330" y="338"/>
                  </a:lnTo>
                  <a:lnTo>
                    <a:pt x="327" y="335"/>
                  </a:lnTo>
                  <a:lnTo>
                    <a:pt x="324" y="332"/>
                  </a:lnTo>
                  <a:lnTo>
                    <a:pt x="322" y="329"/>
                  </a:lnTo>
                  <a:lnTo>
                    <a:pt x="320" y="327"/>
                  </a:lnTo>
                  <a:lnTo>
                    <a:pt x="316" y="321"/>
                  </a:lnTo>
                  <a:lnTo>
                    <a:pt x="314" y="320"/>
                  </a:lnTo>
                  <a:lnTo>
                    <a:pt x="313" y="318"/>
                  </a:lnTo>
                  <a:lnTo>
                    <a:pt x="312" y="317"/>
                  </a:lnTo>
                  <a:lnTo>
                    <a:pt x="310" y="317"/>
                  </a:lnTo>
                  <a:lnTo>
                    <a:pt x="308" y="317"/>
                  </a:lnTo>
                  <a:lnTo>
                    <a:pt x="307" y="317"/>
                  </a:lnTo>
                  <a:lnTo>
                    <a:pt x="306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3" y="318"/>
                  </a:lnTo>
                  <a:lnTo>
                    <a:pt x="301" y="322"/>
                  </a:lnTo>
                  <a:lnTo>
                    <a:pt x="300" y="323"/>
                  </a:lnTo>
                  <a:lnTo>
                    <a:pt x="294" y="328"/>
                  </a:lnTo>
                  <a:lnTo>
                    <a:pt x="290" y="331"/>
                  </a:lnTo>
                  <a:lnTo>
                    <a:pt x="289" y="332"/>
                  </a:lnTo>
                  <a:lnTo>
                    <a:pt x="284" y="337"/>
                  </a:lnTo>
                  <a:lnTo>
                    <a:pt x="281" y="339"/>
                  </a:lnTo>
                  <a:lnTo>
                    <a:pt x="279" y="340"/>
                  </a:lnTo>
                  <a:lnTo>
                    <a:pt x="278" y="342"/>
                  </a:lnTo>
                  <a:lnTo>
                    <a:pt x="277" y="344"/>
                  </a:lnTo>
                  <a:lnTo>
                    <a:pt x="277" y="346"/>
                  </a:lnTo>
                  <a:lnTo>
                    <a:pt x="277" y="348"/>
                  </a:lnTo>
                  <a:lnTo>
                    <a:pt x="277" y="351"/>
                  </a:lnTo>
                  <a:lnTo>
                    <a:pt x="277" y="352"/>
                  </a:lnTo>
                  <a:lnTo>
                    <a:pt x="277" y="355"/>
                  </a:lnTo>
                  <a:lnTo>
                    <a:pt x="278" y="363"/>
                  </a:lnTo>
                  <a:lnTo>
                    <a:pt x="278" y="365"/>
                  </a:lnTo>
                  <a:lnTo>
                    <a:pt x="278" y="366"/>
                  </a:lnTo>
                  <a:lnTo>
                    <a:pt x="278" y="368"/>
                  </a:lnTo>
                  <a:lnTo>
                    <a:pt x="277" y="371"/>
                  </a:lnTo>
                  <a:lnTo>
                    <a:pt x="276" y="374"/>
                  </a:lnTo>
                  <a:lnTo>
                    <a:pt x="275" y="375"/>
                  </a:lnTo>
                  <a:lnTo>
                    <a:pt x="274" y="376"/>
                  </a:lnTo>
                  <a:lnTo>
                    <a:pt x="272" y="377"/>
                  </a:lnTo>
                  <a:lnTo>
                    <a:pt x="267" y="380"/>
                  </a:lnTo>
                  <a:lnTo>
                    <a:pt x="266" y="381"/>
                  </a:lnTo>
                  <a:lnTo>
                    <a:pt x="263" y="384"/>
                  </a:lnTo>
                  <a:lnTo>
                    <a:pt x="262" y="385"/>
                  </a:lnTo>
                  <a:lnTo>
                    <a:pt x="261" y="385"/>
                  </a:lnTo>
                  <a:lnTo>
                    <a:pt x="258" y="385"/>
                  </a:lnTo>
                  <a:lnTo>
                    <a:pt x="255" y="386"/>
                  </a:lnTo>
                  <a:lnTo>
                    <a:pt x="252" y="386"/>
                  </a:lnTo>
                  <a:lnTo>
                    <a:pt x="249" y="386"/>
                  </a:lnTo>
                  <a:lnTo>
                    <a:pt x="245" y="386"/>
                  </a:lnTo>
                  <a:lnTo>
                    <a:pt x="243" y="386"/>
                  </a:lnTo>
                  <a:lnTo>
                    <a:pt x="243" y="385"/>
                  </a:lnTo>
                  <a:lnTo>
                    <a:pt x="241" y="385"/>
                  </a:lnTo>
                  <a:lnTo>
                    <a:pt x="240" y="385"/>
                  </a:lnTo>
                  <a:lnTo>
                    <a:pt x="239" y="384"/>
                  </a:lnTo>
                  <a:lnTo>
                    <a:pt x="238" y="383"/>
                  </a:lnTo>
                  <a:lnTo>
                    <a:pt x="236" y="380"/>
                  </a:lnTo>
                  <a:lnTo>
                    <a:pt x="234" y="378"/>
                  </a:lnTo>
                  <a:lnTo>
                    <a:pt x="234" y="377"/>
                  </a:lnTo>
                  <a:lnTo>
                    <a:pt x="234" y="375"/>
                  </a:lnTo>
                  <a:lnTo>
                    <a:pt x="233" y="374"/>
                  </a:lnTo>
                  <a:lnTo>
                    <a:pt x="232" y="370"/>
                  </a:lnTo>
                  <a:lnTo>
                    <a:pt x="231" y="368"/>
                  </a:lnTo>
                  <a:lnTo>
                    <a:pt x="231" y="367"/>
                  </a:lnTo>
                  <a:lnTo>
                    <a:pt x="230" y="366"/>
                  </a:lnTo>
                  <a:lnTo>
                    <a:pt x="229" y="365"/>
                  </a:lnTo>
                  <a:lnTo>
                    <a:pt x="228" y="364"/>
                  </a:lnTo>
                  <a:lnTo>
                    <a:pt x="227" y="364"/>
                  </a:lnTo>
                  <a:lnTo>
                    <a:pt x="225" y="364"/>
                  </a:lnTo>
                  <a:lnTo>
                    <a:pt x="221" y="364"/>
                  </a:lnTo>
                  <a:lnTo>
                    <a:pt x="219" y="364"/>
                  </a:lnTo>
                  <a:lnTo>
                    <a:pt x="217" y="364"/>
                  </a:lnTo>
                  <a:lnTo>
                    <a:pt x="215" y="363"/>
                  </a:lnTo>
                  <a:lnTo>
                    <a:pt x="210" y="362"/>
                  </a:lnTo>
                  <a:lnTo>
                    <a:pt x="206" y="360"/>
                  </a:lnTo>
                  <a:lnTo>
                    <a:pt x="203" y="358"/>
                  </a:lnTo>
                  <a:lnTo>
                    <a:pt x="197" y="354"/>
                  </a:lnTo>
                  <a:lnTo>
                    <a:pt x="193" y="353"/>
                  </a:lnTo>
                  <a:lnTo>
                    <a:pt x="191" y="352"/>
                  </a:lnTo>
                  <a:lnTo>
                    <a:pt x="187" y="351"/>
                  </a:lnTo>
                  <a:lnTo>
                    <a:pt x="180" y="350"/>
                  </a:lnTo>
                  <a:lnTo>
                    <a:pt x="177" y="349"/>
                  </a:lnTo>
                  <a:lnTo>
                    <a:pt x="173" y="347"/>
                  </a:lnTo>
                  <a:lnTo>
                    <a:pt x="166" y="344"/>
                  </a:lnTo>
                  <a:lnTo>
                    <a:pt x="164" y="343"/>
                  </a:lnTo>
                  <a:lnTo>
                    <a:pt x="161" y="341"/>
                  </a:lnTo>
                  <a:lnTo>
                    <a:pt x="157" y="340"/>
                  </a:lnTo>
                  <a:lnTo>
                    <a:pt x="155" y="340"/>
                  </a:lnTo>
                  <a:lnTo>
                    <a:pt x="152" y="340"/>
                  </a:lnTo>
                  <a:lnTo>
                    <a:pt x="151" y="340"/>
                  </a:lnTo>
                  <a:lnTo>
                    <a:pt x="148" y="340"/>
                  </a:lnTo>
                  <a:lnTo>
                    <a:pt x="146" y="340"/>
                  </a:lnTo>
                  <a:lnTo>
                    <a:pt x="145" y="341"/>
                  </a:lnTo>
                  <a:lnTo>
                    <a:pt x="144" y="341"/>
                  </a:lnTo>
                  <a:lnTo>
                    <a:pt x="142" y="342"/>
                  </a:lnTo>
                  <a:lnTo>
                    <a:pt x="141" y="343"/>
                  </a:lnTo>
                  <a:lnTo>
                    <a:pt x="140" y="345"/>
                  </a:lnTo>
                  <a:lnTo>
                    <a:pt x="137" y="347"/>
                  </a:lnTo>
                  <a:lnTo>
                    <a:pt x="135" y="349"/>
                  </a:lnTo>
                  <a:lnTo>
                    <a:pt x="130" y="353"/>
                  </a:lnTo>
                  <a:lnTo>
                    <a:pt x="126" y="360"/>
                  </a:lnTo>
                  <a:lnTo>
                    <a:pt x="123" y="363"/>
                  </a:lnTo>
                  <a:lnTo>
                    <a:pt x="122" y="364"/>
                  </a:lnTo>
                  <a:lnTo>
                    <a:pt x="121" y="365"/>
                  </a:lnTo>
                  <a:lnTo>
                    <a:pt x="119" y="366"/>
                  </a:lnTo>
                  <a:lnTo>
                    <a:pt x="117" y="367"/>
                  </a:lnTo>
                  <a:lnTo>
                    <a:pt x="114" y="368"/>
                  </a:lnTo>
                  <a:lnTo>
                    <a:pt x="111" y="368"/>
                  </a:lnTo>
                  <a:lnTo>
                    <a:pt x="109" y="368"/>
                  </a:lnTo>
                  <a:lnTo>
                    <a:pt x="107" y="368"/>
                  </a:lnTo>
                  <a:lnTo>
                    <a:pt x="105" y="367"/>
                  </a:lnTo>
                  <a:lnTo>
                    <a:pt x="102" y="367"/>
                  </a:lnTo>
                  <a:lnTo>
                    <a:pt x="98" y="365"/>
                  </a:lnTo>
                  <a:lnTo>
                    <a:pt x="96" y="364"/>
                  </a:lnTo>
                  <a:lnTo>
                    <a:pt x="92" y="363"/>
                  </a:lnTo>
                  <a:lnTo>
                    <a:pt x="88" y="362"/>
                  </a:lnTo>
                  <a:lnTo>
                    <a:pt x="83" y="359"/>
                  </a:lnTo>
                  <a:lnTo>
                    <a:pt x="73" y="353"/>
                  </a:lnTo>
                  <a:lnTo>
                    <a:pt x="62" y="347"/>
                  </a:lnTo>
                  <a:lnTo>
                    <a:pt x="59" y="345"/>
                  </a:lnTo>
                  <a:lnTo>
                    <a:pt x="57" y="344"/>
                  </a:lnTo>
                  <a:lnTo>
                    <a:pt x="56" y="342"/>
                  </a:lnTo>
                  <a:lnTo>
                    <a:pt x="55" y="342"/>
                  </a:lnTo>
                  <a:lnTo>
                    <a:pt x="56" y="342"/>
                  </a:lnTo>
                  <a:lnTo>
                    <a:pt x="55" y="341"/>
                  </a:lnTo>
                  <a:lnTo>
                    <a:pt x="53" y="340"/>
                  </a:lnTo>
                  <a:lnTo>
                    <a:pt x="53" y="340"/>
                  </a:lnTo>
                  <a:lnTo>
                    <a:pt x="52" y="340"/>
                  </a:lnTo>
                  <a:lnTo>
                    <a:pt x="51" y="339"/>
                  </a:lnTo>
                  <a:lnTo>
                    <a:pt x="48" y="336"/>
                  </a:lnTo>
                  <a:lnTo>
                    <a:pt x="45" y="334"/>
                  </a:lnTo>
                  <a:lnTo>
                    <a:pt x="43" y="333"/>
                  </a:lnTo>
                  <a:lnTo>
                    <a:pt x="41" y="332"/>
                  </a:lnTo>
                  <a:lnTo>
                    <a:pt x="39" y="331"/>
                  </a:lnTo>
                  <a:lnTo>
                    <a:pt x="38" y="331"/>
                  </a:lnTo>
                  <a:lnTo>
                    <a:pt x="36" y="330"/>
                  </a:lnTo>
                  <a:lnTo>
                    <a:pt x="33" y="330"/>
                  </a:lnTo>
                  <a:lnTo>
                    <a:pt x="31" y="330"/>
                  </a:lnTo>
                  <a:lnTo>
                    <a:pt x="27" y="329"/>
                  </a:lnTo>
                  <a:lnTo>
                    <a:pt x="24" y="328"/>
                  </a:lnTo>
                  <a:lnTo>
                    <a:pt x="22" y="328"/>
                  </a:lnTo>
                  <a:lnTo>
                    <a:pt x="21" y="327"/>
                  </a:lnTo>
                  <a:lnTo>
                    <a:pt x="19" y="326"/>
                  </a:lnTo>
                  <a:lnTo>
                    <a:pt x="18" y="325"/>
                  </a:lnTo>
                  <a:lnTo>
                    <a:pt x="17" y="324"/>
                  </a:lnTo>
                  <a:lnTo>
                    <a:pt x="16" y="322"/>
                  </a:lnTo>
                  <a:lnTo>
                    <a:pt x="16" y="320"/>
                  </a:lnTo>
                  <a:lnTo>
                    <a:pt x="15" y="317"/>
                  </a:lnTo>
                  <a:lnTo>
                    <a:pt x="15" y="315"/>
                  </a:lnTo>
                  <a:lnTo>
                    <a:pt x="13" y="307"/>
                  </a:lnTo>
                  <a:lnTo>
                    <a:pt x="12" y="305"/>
                  </a:lnTo>
                  <a:lnTo>
                    <a:pt x="12" y="303"/>
                  </a:lnTo>
                  <a:lnTo>
                    <a:pt x="11" y="302"/>
                  </a:lnTo>
                  <a:lnTo>
                    <a:pt x="10" y="301"/>
                  </a:lnTo>
                  <a:lnTo>
                    <a:pt x="9" y="299"/>
                  </a:lnTo>
                  <a:lnTo>
                    <a:pt x="6" y="297"/>
                  </a:lnTo>
                  <a:lnTo>
                    <a:pt x="1" y="294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1" y="293"/>
                  </a:lnTo>
                  <a:lnTo>
                    <a:pt x="4" y="292"/>
                  </a:lnTo>
                  <a:lnTo>
                    <a:pt x="5" y="291"/>
                  </a:lnTo>
                  <a:lnTo>
                    <a:pt x="6" y="290"/>
                  </a:lnTo>
                  <a:lnTo>
                    <a:pt x="10" y="288"/>
                  </a:lnTo>
                  <a:lnTo>
                    <a:pt x="12" y="286"/>
                  </a:lnTo>
                  <a:lnTo>
                    <a:pt x="14" y="284"/>
                  </a:lnTo>
                  <a:lnTo>
                    <a:pt x="16" y="283"/>
                  </a:lnTo>
                  <a:lnTo>
                    <a:pt x="16" y="282"/>
                  </a:lnTo>
                  <a:lnTo>
                    <a:pt x="16" y="280"/>
                  </a:lnTo>
                  <a:lnTo>
                    <a:pt x="16" y="276"/>
                  </a:lnTo>
                  <a:lnTo>
                    <a:pt x="16" y="273"/>
                  </a:lnTo>
                  <a:lnTo>
                    <a:pt x="16" y="269"/>
                  </a:lnTo>
                  <a:lnTo>
                    <a:pt x="16" y="268"/>
                  </a:lnTo>
                  <a:lnTo>
                    <a:pt x="17" y="266"/>
                  </a:lnTo>
                  <a:lnTo>
                    <a:pt x="17" y="266"/>
                  </a:lnTo>
                  <a:lnTo>
                    <a:pt x="18" y="265"/>
                  </a:lnTo>
                  <a:lnTo>
                    <a:pt x="21" y="261"/>
                  </a:lnTo>
                  <a:lnTo>
                    <a:pt x="22" y="260"/>
                  </a:lnTo>
                  <a:lnTo>
                    <a:pt x="25" y="255"/>
                  </a:lnTo>
                  <a:lnTo>
                    <a:pt x="26" y="254"/>
                  </a:lnTo>
                  <a:lnTo>
                    <a:pt x="27" y="252"/>
                  </a:lnTo>
                  <a:lnTo>
                    <a:pt x="28" y="251"/>
                  </a:lnTo>
                  <a:lnTo>
                    <a:pt x="29" y="251"/>
                  </a:lnTo>
                  <a:lnTo>
                    <a:pt x="29" y="249"/>
                  </a:lnTo>
                  <a:lnTo>
                    <a:pt x="30" y="249"/>
                  </a:lnTo>
                  <a:lnTo>
                    <a:pt x="31" y="245"/>
                  </a:lnTo>
                  <a:lnTo>
                    <a:pt x="32" y="242"/>
                  </a:lnTo>
                  <a:lnTo>
                    <a:pt x="33" y="238"/>
                  </a:lnTo>
                  <a:lnTo>
                    <a:pt x="34" y="237"/>
                  </a:lnTo>
                  <a:lnTo>
                    <a:pt x="34" y="235"/>
                  </a:lnTo>
                  <a:lnTo>
                    <a:pt x="37" y="231"/>
                  </a:lnTo>
                  <a:lnTo>
                    <a:pt x="39" y="228"/>
                  </a:lnTo>
                  <a:lnTo>
                    <a:pt x="39" y="227"/>
                  </a:lnTo>
                  <a:lnTo>
                    <a:pt x="39" y="227"/>
                  </a:lnTo>
                  <a:lnTo>
                    <a:pt x="39" y="228"/>
                  </a:lnTo>
                  <a:lnTo>
                    <a:pt x="40" y="228"/>
                  </a:lnTo>
                  <a:lnTo>
                    <a:pt x="42" y="228"/>
                  </a:lnTo>
                  <a:lnTo>
                    <a:pt x="44" y="228"/>
                  </a:lnTo>
                  <a:lnTo>
                    <a:pt x="47" y="227"/>
                  </a:lnTo>
                  <a:lnTo>
                    <a:pt x="57" y="226"/>
                  </a:lnTo>
                  <a:lnTo>
                    <a:pt x="60" y="225"/>
                  </a:lnTo>
                  <a:lnTo>
                    <a:pt x="65" y="225"/>
                  </a:lnTo>
                  <a:lnTo>
                    <a:pt x="69" y="225"/>
                  </a:lnTo>
                  <a:lnTo>
                    <a:pt x="72" y="224"/>
                  </a:lnTo>
                  <a:lnTo>
                    <a:pt x="76" y="223"/>
                  </a:lnTo>
                  <a:lnTo>
                    <a:pt x="78" y="223"/>
                  </a:lnTo>
                  <a:lnTo>
                    <a:pt x="80" y="223"/>
                  </a:lnTo>
                  <a:lnTo>
                    <a:pt x="82" y="223"/>
                  </a:lnTo>
                  <a:lnTo>
                    <a:pt x="85" y="225"/>
                  </a:lnTo>
                  <a:lnTo>
                    <a:pt x="91" y="227"/>
                  </a:lnTo>
                  <a:lnTo>
                    <a:pt x="92" y="228"/>
                  </a:lnTo>
                  <a:lnTo>
                    <a:pt x="94" y="228"/>
                  </a:lnTo>
                  <a:lnTo>
                    <a:pt x="96" y="228"/>
                  </a:lnTo>
                  <a:lnTo>
                    <a:pt x="96" y="227"/>
                  </a:lnTo>
                  <a:lnTo>
                    <a:pt x="99" y="227"/>
                  </a:lnTo>
                  <a:lnTo>
                    <a:pt x="102" y="225"/>
                  </a:lnTo>
                  <a:lnTo>
                    <a:pt x="103" y="224"/>
                  </a:lnTo>
                  <a:lnTo>
                    <a:pt x="105" y="224"/>
                  </a:lnTo>
                  <a:lnTo>
                    <a:pt x="107" y="224"/>
                  </a:lnTo>
                  <a:lnTo>
                    <a:pt x="108" y="223"/>
                  </a:lnTo>
                  <a:lnTo>
                    <a:pt x="109" y="224"/>
                  </a:lnTo>
                  <a:lnTo>
                    <a:pt x="113" y="225"/>
                  </a:lnTo>
                  <a:lnTo>
                    <a:pt x="115" y="225"/>
                  </a:lnTo>
                  <a:lnTo>
                    <a:pt x="116" y="226"/>
                  </a:lnTo>
                  <a:lnTo>
                    <a:pt x="118" y="225"/>
                  </a:lnTo>
                  <a:lnTo>
                    <a:pt x="119" y="225"/>
                  </a:lnTo>
                  <a:lnTo>
                    <a:pt x="120" y="224"/>
                  </a:lnTo>
                  <a:lnTo>
                    <a:pt x="121" y="224"/>
                  </a:lnTo>
                  <a:lnTo>
                    <a:pt x="123" y="223"/>
                  </a:lnTo>
                  <a:lnTo>
                    <a:pt x="124" y="222"/>
                  </a:lnTo>
                  <a:lnTo>
                    <a:pt x="125" y="221"/>
                  </a:lnTo>
                  <a:lnTo>
                    <a:pt x="128" y="218"/>
                  </a:lnTo>
                  <a:lnTo>
                    <a:pt x="130" y="216"/>
                  </a:lnTo>
                  <a:lnTo>
                    <a:pt x="131" y="215"/>
                  </a:lnTo>
                  <a:lnTo>
                    <a:pt x="133" y="214"/>
                  </a:lnTo>
                  <a:lnTo>
                    <a:pt x="135" y="214"/>
                  </a:lnTo>
                  <a:lnTo>
                    <a:pt x="136" y="213"/>
                  </a:lnTo>
                  <a:lnTo>
                    <a:pt x="138" y="213"/>
                  </a:lnTo>
                  <a:lnTo>
                    <a:pt x="141" y="213"/>
                  </a:lnTo>
                  <a:lnTo>
                    <a:pt x="142" y="212"/>
                  </a:lnTo>
                  <a:lnTo>
                    <a:pt x="148" y="212"/>
                  </a:lnTo>
                  <a:lnTo>
                    <a:pt x="151" y="212"/>
                  </a:lnTo>
                  <a:lnTo>
                    <a:pt x="153" y="212"/>
                  </a:lnTo>
                  <a:lnTo>
                    <a:pt x="155" y="211"/>
                  </a:lnTo>
                  <a:lnTo>
                    <a:pt x="158" y="210"/>
                  </a:lnTo>
                  <a:lnTo>
                    <a:pt x="166" y="206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3" y="201"/>
                  </a:lnTo>
                  <a:lnTo>
                    <a:pt x="175" y="199"/>
                  </a:lnTo>
                  <a:lnTo>
                    <a:pt x="176" y="197"/>
                  </a:lnTo>
                  <a:lnTo>
                    <a:pt x="183" y="187"/>
                  </a:lnTo>
                  <a:lnTo>
                    <a:pt x="184" y="184"/>
                  </a:lnTo>
                  <a:lnTo>
                    <a:pt x="185" y="182"/>
                  </a:lnTo>
                  <a:lnTo>
                    <a:pt x="187" y="174"/>
                  </a:lnTo>
                  <a:lnTo>
                    <a:pt x="189" y="170"/>
                  </a:lnTo>
                  <a:lnTo>
                    <a:pt x="190" y="167"/>
                  </a:lnTo>
                  <a:lnTo>
                    <a:pt x="191" y="166"/>
                  </a:lnTo>
                  <a:lnTo>
                    <a:pt x="192" y="165"/>
                  </a:lnTo>
                  <a:lnTo>
                    <a:pt x="197" y="159"/>
                  </a:lnTo>
                  <a:lnTo>
                    <a:pt x="199" y="157"/>
                  </a:lnTo>
                  <a:lnTo>
                    <a:pt x="202" y="155"/>
                  </a:lnTo>
                  <a:lnTo>
                    <a:pt x="205" y="153"/>
                  </a:lnTo>
                  <a:lnTo>
                    <a:pt x="207" y="152"/>
                  </a:lnTo>
                  <a:lnTo>
                    <a:pt x="209" y="151"/>
                  </a:lnTo>
                  <a:lnTo>
                    <a:pt x="211" y="150"/>
                  </a:lnTo>
                  <a:lnTo>
                    <a:pt x="216" y="148"/>
                  </a:lnTo>
                  <a:lnTo>
                    <a:pt x="218" y="147"/>
                  </a:lnTo>
                  <a:lnTo>
                    <a:pt x="220" y="147"/>
                  </a:lnTo>
                  <a:lnTo>
                    <a:pt x="221" y="146"/>
                  </a:lnTo>
                  <a:lnTo>
                    <a:pt x="222" y="145"/>
                  </a:lnTo>
                  <a:lnTo>
                    <a:pt x="223" y="143"/>
                  </a:lnTo>
                  <a:lnTo>
                    <a:pt x="224" y="141"/>
                  </a:lnTo>
                  <a:lnTo>
                    <a:pt x="225" y="137"/>
                  </a:lnTo>
                  <a:lnTo>
                    <a:pt x="226" y="135"/>
                  </a:lnTo>
                  <a:lnTo>
                    <a:pt x="226" y="131"/>
                  </a:lnTo>
                  <a:lnTo>
                    <a:pt x="226" y="126"/>
                  </a:lnTo>
                  <a:lnTo>
                    <a:pt x="226" y="114"/>
                  </a:lnTo>
                  <a:lnTo>
                    <a:pt x="226" y="109"/>
                  </a:lnTo>
                  <a:lnTo>
                    <a:pt x="224" y="94"/>
                  </a:lnTo>
                  <a:lnTo>
                    <a:pt x="222" y="80"/>
                  </a:lnTo>
                  <a:lnTo>
                    <a:pt x="222" y="74"/>
                  </a:lnTo>
                  <a:lnTo>
                    <a:pt x="222" y="72"/>
                  </a:lnTo>
                  <a:lnTo>
                    <a:pt x="222" y="70"/>
                  </a:lnTo>
                  <a:lnTo>
                    <a:pt x="223" y="68"/>
                  </a:lnTo>
                  <a:lnTo>
                    <a:pt x="223" y="67"/>
                  </a:lnTo>
                  <a:lnTo>
                    <a:pt x="224" y="65"/>
                  </a:lnTo>
                  <a:lnTo>
                    <a:pt x="225" y="63"/>
                  </a:lnTo>
                  <a:lnTo>
                    <a:pt x="227" y="60"/>
                  </a:lnTo>
                  <a:lnTo>
                    <a:pt x="232" y="54"/>
                  </a:lnTo>
                  <a:lnTo>
                    <a:pt x="234" y="51"/>
                  </a:lnTo>
                  <a:lnTo>
                    <a:pt x="235" y="48"/>
                  </a:lnTo>
                  <a:lnTo>
                    <a:pt x="236" y="44"/>
                  </a:lnTo>
                  <a:lnTo>
                    <a:pt x="238" y="39"/>
                  </a:lnTo>
                  <a:lnTo>
                    <a:pt x="240" y="37"/>
                  </a:lnTo>
                  <a:lnTo>
                    <a:pt x="243" y="34"/>
                  </a:lnTo>
                  <a:lnTo>
                    <a:pt x="244" y="32"/>
                  </a:lnTo>
                  <a:lnTo>
                    <a:pt x="248" y="28"/>
                  </a:lnTo>
                  <a:lnTo>
                    <a:pt x="249" y="26"/>
                  </a:lnTo>
                  <a:lnTo>
                    <a:pt x="251" y="23"/>
                  </a:lnTo>
                  <a:lnTo>
                    <a:pt x="254" y="19"/>
                  </a:lnTo>
                  <a:lnTo>
                    <a:pt x="255" y="13"/>
                  </a:lnTo>
                  <a:lnTo>
                    <a:pt x="257" y="11"/>
                  </a:lnTo>
                  <a:lnTo>
                    <a:pt x="257" y="9"/>
                  </a:lnTo>
                  <a:lnTo>
                    <a:pt x="258" y="7"/>
                  </a:lnTo>
                  <a:lnTo>
                    <a:pt x="259" y="6"/>
                  </a:lnTo>
                  <a:lnTo>
                    <a:pt x="261" y="5"/>
                  </a:lnTo>
                  <a:lnTo>
                    <a:pt x="262" y="4"/>
                  </a:lnTo>
                  <a:lnTo>
                    <a:pt x="263" y="3"/>
                  </a:lnTo>
                  <a:lnTo>
                    <a:pt x="264" y="2"/>
                  </a:lnTo>
                  <a:lnTo>
                    <a:pt x="266" y="1"/>
                  </a:lnTo>
                  <a:lnTo>
                    <a:pt x="268" y="1"/>
                  </a:lnTo>
                  <a:lnTo>
                    <a:pt x="271" y="0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9" name="Freeform 46">
              <a:extLst>
                <a:ext uri="{FF2B5EF4-FFF2-40B4-BE49-F238E27FC236}">
                  <a16:creationId xmlns:a16="http://schemas.microsoft.com/office/drawing/2014/main" id="{41460424-CDE3-4451-A40F-6D763E440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5" y="1809"/>
              <a:ext cx="540" cy="295"/>
            </a:xfrm>
            <a:custGeom>
              <a:avLst/>
              <a:gdLst>
                <a:gd name="T0" fmla="*/ 144 w 540"/>
                <a:gd name="T1" fmla="*/ 31 h 295"/>
                <a:gd name="T2" fmla="*/ 179 w 540"/>
                <a:gd name="T3" fmla="*/ 53 h 295"/>
                <a:gd name="T4" fmla="*/ 189 w 540"/>
                <a:gd name="T5" fmla="*/ 63 h 295"/>
                <a:gd name="T6" fmla="*/ 207 w 540"/>
                <a:gd name="T7" fmla="*/ 54 h 295"/>
                <a:gd name="T8" fmla="*/ 232 w 540"/>
                <a:gd name="T9" fmla="*/ 30 h 295"/>
                <a:gd name="T10" fmla="*/ 268 w 540"/>
                <a:gd name="T11" fmla="*/ 35 h 295"/>
                <a:gd name="T12" fmla="*/ 288 w 540"/>
                <a:gd name="T13" fmla="*/ 27 h 295"/>
                <a:gd name="T14" fmla="*/ 297 w 540"/>
                <a:gd name="T15" fmla="*/ 13 h 295"/>
                <a:gd name="T16" fmla="*/ 326 w 540"/>
                <a:gd name="T17" fmla="*/ 0 h 295"/>
                <a:gd name="T18" fmla="*/ 334 w 540"/>
                <a:gd name="T19" fmla="*/ 4 h 295"/>
                <a:gd name="T20" fmla="*/ 346 w 540"/>
                <a:gd name="T21" fmla="*/ 11 h 295"/>
                <a:gd name="T22" fmla="*/ 364 w 540"/>
                <a:gd name="T23" fmla="*/ 15 h 295"/>
                <a:gd name="T24" fmla="*/ 390 w 540"/>
                <a:gd name="T25" fmla="*/ 26 h 295"/>
                <a:gd name="T26" fmla="*/ 404 w 540"/>
                <a:gd name="T27" fmla="*/ 36 h 295"/>
                <a:gd name="T28" fmla="*/ 411 w 540"/>
                <a:gd name="T29" fmla="*/ 55 h 295"/>
                <a:gd name="T30" fmla="*/ 443 w 540"/>
                <a:gd name="T31" fmla="*/ 57 h 295"/>
                <a:gd name="T32" fmla="*/ 467 w 540"/>
                <a:gd name="T33" fmla="*/ 53 h 295"/>
                <a:gd name="T34" fmla="*/ 493 w 540"/>
                <a:gd name="T35" fmla="*/ 95 h 295"/>
                <a:gd name="T36" fmla="*/ 528 w 540"/>
                <a:gd name="T37" fmla="*/ 132 h 295"/>
                <a:gd name="T38" fmla="*/ 540 w 540"/>
                <a:gd name="T39" fmla="*/ 155 h 295"/>
                <a:gd name="T40" fmla="*/ 527 w 540"/>
                <a:gd name="T41" fmla="*/ 175 h 295"/>
                <a:gd name="T42" fmla="*/ 504 w 540"/>
                <a:gd name="T43" fmla="*/ 190 h 295"/>
                <a:gd name="T44" fmla="*/ 502 w 540"/>
                <a:gd name="T45" fmla="*/ 208 h 295"/>
                <a:gd name="T46" fmla="*/ 489 w 540"/>
                <a:gd name="T47" fmla="*/ 221 h 295"/>
                <a:gd name="T48" fmla="*/ 464 w 540"/>
                <a:gd name="T49" fmla="*/ 223 h 295"/>
                <a:gd name="T50" fmla="*/ 431 w 540"/>
                <a:gd name="T51" fmla="*/ 218 h 295"/>
                <a:gd name="T52" fmla="*/ 402 w 540"/>
                <a:gd name="T53" fmla="*/ 237 h 295"/>
                <a:gd name="T54" fmla="*/ 370 w 540"/>
                <a:gd name="T55" fmla="*/ 253 h 295"/>
                <a:gd name="T56" fmla="*/ 352 w 540"/>
                <a:gd name="T57" fmla="*/ 248 h 295"/>
                <a:gd name="T58" fmla="*/ 338 w 540"/>
                <a:gd name="T59" fmla="*/ 218 h 295"/>
                <a:gd name="T60" fmla="*/ 321 w 540"/>
                <a:gd name="T61" fmla="*/ 212 h 295"/>
                <a:gd name="T62" fmla="*/ 301 w 540"/>
                <a:gd name="T63" fmla="*/ 230 h 295"/>
                <a:gd name="T64" fmla="*/ 286 w 540"/>
                <a:gd name="T65" fmla="*/ 251 h 295"/>
                <a:gd name="T66" fmla="*/ 253 w 540"/>
                <a:gd name="T67" fmla="*/ 263 h 295"/>
                <a:gd name="T68" fmla="*/ 228 w 540"/>
                <a:gd name="T69" fmla="*/ 256 h 295"/>
                <a:gd name="T70" fmla="*/ 193 w 540"/>
                <a:gd name="T71" fmla="*/ 254 h 295"/>
                <a:gd name="T72" fmla="*/ 172 w 540"/>
                <a:gd name="T73" fmla="*/ 246 h 295"/>
                <a:gd name="T74" fmla="*/ 152 w 540"/>
                <a:gd name="T75" fmla="*/ 252 h 295"/>
                <a:gd name="T76" fmla="*/ 134 w 540"/>
                <a:gd name="T77" fmla="*/ 263 h 295"/>
                <a:gd name="T78" fmla="*/ 114 w 540"/>
                <a:gd name="T79" fmla="*/ 283 h 295"/>
                <a:gd name="T80" fmla="*/ 89 w 540"/>
                <a:gd name="T81" fmla="*/ 295 h 295"/>
                <a:gd name="T82" fmla="*/ 70 w 540"/>
                <a:gd name="T83" fmla="*/ 291 h 295"/>
                <a:gd name="T84" fmla="*/ 72 w 540"/>
                <a:gd name="T85" fmla="*/ 272 h 295"/>
                <a:gd name="T86" fmla="*/ 61 w 540"/>
                <a:gd name="T87" fmla="*/ 264 h 295"/>
                <a:gd name="T88" fmla="*/ 46 w 540"/>
                <a:gd name="T89" fmla="*/ 253 h 295"/>
                <a:gd name="T90" fmla="*/ 32 w 540"/>
                <a:gd name="T91" fmla="*/ 252 h 295"/>
                <a:gd name="T92" fmla="*/ 0 w 540"/>
                <a:gd name="T93" fmla="*/ 245 h 295"/>
                <a:gd name="T94" fmla="*/ 9 w 540"/>
                <a:gd name="T95" fmla="*/ 233 h 295"/>
                <a:gd name="T96" fmla="*/ 21 w 540"/>
                <a:gd name="T97" fmla="*/ 209 h 295"/>
                <a:gd name="T98" fmla="*/ 35 w 540"/>
                <a:gd name="T99" fmla="*/ 175 h 295"/>
                <a:gd name="T100" fmla="*/ 20 w 540"/>
                <a:gd name="T101" fmla="*/ 146 h 295"/>
                <a:gd name="T102" fmla="*/ 21 w 540"/>
                <a:gd name="T103" fmla="*/ 110 h 295"/>
                <a:gd name="T104" fmla="*/ 36 w 540"/>
                <a:gd name="T105" fmla="*/ 81 h 295"/>
                <a:gd name="T106" fmla="*/ 58 w 540"/>
                <a:gd name="T107" fmla="*/ 65 h 295"/>
                <a:gd name="T108" fmla="*/ 74 w 540"/>
                <a:gd name="T109" fmla="*/ 55 h 295"/>
                <a:gd name="T110" fmla="*/ 81 w 540"/>
                <a:gd name="T111" fmla="*/ 36 h 295"/>
                <a:gd name="T112" fmla="*/ 104 w 540"/>
                <a:gd name="T113" fmla="*/ 36 h 295"/>
                <a:gd name="T114" fmla="*/ 116 w 540"/>
                <a:gd name="T115" fmla="*/ 22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0" h="295">
                  <a:moveTo>
                    <a:pt x="126" y="15"/>
                  </a:moveTo>
                  <a:lnTo>
                    <a:pt x="126" y="15"/>
                  </a:lnTo>
                  <a:lnTo>
                    <a:pt x="126" y="15"/>
                  </a:lnTo>
                  <a:lnTo>
                    <a:pt x="128" y="15"/>
                  </a:lnTo>
                  <a:lnTo>
                    <a:pt x="131" y="17"/>
                  </a:lnTo>
                  <a:lnTo>
                    <a:pt x="133" y="19"/>
                  </a:lnTo>
                  <a:lnTo>
                    <a:pt x="136" y="22"/>
                  </a:lnTo>
                  <a:lnTo>
                    <a:pt x="138" y="24"/>
                  </a:lnTo>
                  <a:lnTo>
                    <a:pt x="144" y="31"/>
                  </a:lnTo>
                  <a:lnTo>
                    <a:pt x="147" y="34"/>
                  </a:lnTo>
                  <a:lnTo>
                    <a:pt x="150" y="37"/>
                  </a:lnTo>
                  <a:lnTo>
                    <a:pt x="156" y="41"/>
                  </a:lnTo>
                  <a:lnTo>
                    <a:pt x="160" y="45"/>
                  </a:lnTo>
                  <a:lnTo>
                    <a:pt x="164" y="47"/>
                  </a:lnTo>
                  <a:lnTo>
                    <a:pt x="167" y="49"/>
                  </a:lnTo>
                  <a:lnTo>
                    <a:pt x="170" y="49"/>
                  </a:lnTo>
                  <a:lnTo>
                    <a:pt x="178" y="52"/>
                  </a:lnTo>
                  <a:lnTo>
                    <a:pt x="179" y="53"/>
                  </a:lnTo>
                  <a:lnTo>
                    <a:pt x="181" y="54"/>
                  </a:lnTo>
                  <a:lnTo>
                    <a:pt x="183" y="55"/>
                  </a:lnTo>
                  <a:lnTo>
                    <a:pt x="183" y="56"/>
                  </a:lnTo>
                  <a:lnTo>
                    <a:pt x="183" y="57"/>
                  </a:lnTo>
                  <a:lnTo>
                    <a:pt x="184" y="59"/>
                  </a:lnTo>
                  <a:lnTo>
                    <a:pt x="185" y="61"/>
                  </a:lnTo>
                  <a:lnTo>
                    <a:pt x="186" y="61"/>
                  </a:lnTo>
                  <a:lnTo>
                    <a:pt x="187" y="62"/>
                  </a:lnTo>
                  <a:lnTo>
                    <a:pt x="189" y="63"/>
                  </a:lnTo>
                  <a:lnTo>
                    <a:pt x="191" y="64"/>
                  </a:lnTo>
                  <a:lnTo>
                    <a:pt x="193" y="64"/>
                  </a:lnTo>
                  <a:lnTo>
                    <a:pt x="195" y="64"/>
                  </a:lnTo>
                  <a:lnTo>
                    <a:pt x="196" y="64"/>
                  </a:lnTo>
                  <a:lnTo>
                    <a:pt x="197" y="64"/>
                  </a:lnTo>
                  <a:lnTo>
                    <a:pt x="200" y="62"/>
                  </a:lnTo>
                  <a:lnTo>
                    <a:pt x="201" y="61"/>
                  </a:lnTo>
                  <a:lnTo>
                    <a:pt x="203" y="60"/>
                  </a:lnTo>
                  <a:lnTo>
                    <a:pt x="207" y="54"/>
                  </a:lnTo>
                  <a:lnTo>
                    <a:pt x="209" y="53"/>
                  </a:lnTo>
                  <a:lnTo>
                    <a:pt x="211" y="51"/>
                  </a:lnTo>
                  <a:lnTo>
                    <a:pt x="217" y="46"/>
                  </a:lnTo>
                  <a:lnTo>
                    <a:pt x="227" y="37"/>
                  </a:lnTo>
                  <a:lnTo>
                    <a:pt x="229" y="35"/>
                  </a:lnTo>
                  <a:lnTo>
                    <a:pt x="230" y="31"/>
                  </a:lnTo>
                  <a:lnTo>
                    <a:pt x="231" y="31"/>
                  </a:lnTo>
                  <a:lnTo>
                    <a:pt x="231" y="30"/>
                  </a:lnTo>
                  <a:lnTo>
                    <a:pt x="232" y="30"/>
                  </a:lnTo>
                  <a:lnTo>
                    <a:pt x="234" y="30"/>
                  </a:lnTo>
                  <a:lnTo>
                    <a:pt x="237" y="31"/>
                  </a:lnTo>
                  <a:lnTo>
                    <a:pt x="241" y="32"/>
                  </a:lnTo>
                  <a:lnTo>
                    <a:pt x="246" y="33"/>
                  </a:lnTo>
                  <a:lnTo>
                    <a:pt x="248" y="34"/>
                  </a:lnTo>
                  <a:lnTo>
                    <a:pt x="254" y="34"/>
                  </a:lnTo>
                  <a:lnTo>
                    <a:pt x="261" y="35"/>
                  </a:lnTo>
                  <a:lnTo>
                    <a:pt x="264" y="35"/>
                  </a:lnTo>
                  <a:lnTo>
                    <a:pt x="268" y="35"/>
                  </a:lnTo>
                  <a:lnTo>
                    <a:pt x="271" y="34"/>
                  </a:lnTo>
                  <a:lnTo>
                    <a:pt x="274" y="34"/>
                  </a:lnTo>
                  <a:lnTo>
                    <a:pt x="276" y="33"/>
                  </a:lnTo>
                  <a:lnTo>
                    <a:pt x="279" y="32"/>
                  </a:lnTo>
                  <a:lnTo>
                    <a:pt x="282" y="30"/>
                  </a:lnTo>
                  <a:lnTo>
                    <a:pt x="284" y="29"/>
                  </a:lnTo>
                  <a:lnTo>
                    <a:pt x="286" y="28"/>
                  </a:lnTo>
                  <a:lnTo>
                    <a:pt x="286" y="27"/>
                  </a:lnTo>
                  <a:lnTo>
                    <a:pt x="288" y="27"/>
                  </a:lnTo>
                  <a:lnTo>
                    <a:pt x="289" y="26"/>
                  </a:lnTo>
                  <a:lnTo>
                    <a:pt x="290" y="24"/>
                  </a:lnTo>
                  <a:lnTo>
                    <a:pt x="291" y="22"/>
                  </a:lnTo>
                  <a:lnTo>
                    <a:pt x="292" y="21"/>
                  </a:lnTo>
                  <a:lnTo>
                    <a:pt x="293" y="19"/>
                  </a:lnTo>
                  <a:lnTo>
                    <a:pt x="294" y="17"/>
                  </a:lnTo>
                  <a:lnTo>
                    <a:pt x="295" y="15"/>
                  </a:lnTo>
                  <a:lnTo>
                    <a:pt x="295" y="14"/>
                  </a:lnTo>
                  <a:lnTo>
                    <a:pt x="297" y="13"/>
                  </a:lnTo>
                  <a:lnTo>
                    <a:pt x="298" y="12"/>
                  </a:lnTo>
                  <a:lnTo>
                    <a:pt x="302" y="10"/>
                  </a:lnTo>
                  <a:lnTo>
                    <a:pt x="306" y="7"/>
                  </a:lnTo>
                  <a:lnTo>
                    <a:pt x="308" y="6"/>
                  </a:lnTo>
                  <a:lnTo>
                    <a:pt x="311" y="5"/>
                  </a:lnTo>
                  <a:lnTo>
                    <a:pt x="317" y="4"/>
                  </a:lnTo>
                  <a:lnTo>
                    <a:pt x="319" y="3"/>
                  </a:lnTo>
                  <a:lnTo>
                    <a:pt x="322" y="1"/>
                  </a:lnTo>
                  <a:lnTo>
                    <a:pt x="326" y="0"/>
                  </a:lnTo>
                  <a:lnTo>
                    <a:pt x="327" y="0"/>
                  </a:lnTo>
                  <a:lnTo>
                    <a:pt x="328" y="0"/>
                  </a:lnTo>
                  <a:lnTo>
                    <a:pt x="328" y="1"/>
                  </a:lnTo>
                  <a:lnTo>
                    <a:pt x="330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2" y="4"/>
                  </a:lnTo>
                  <a:lnTo>
                    <a:pt x="333" y="4"/>
                  </a:lnTo>
                  <a:lnTo>
                    <a:pt x="334" y="4"/>
                  </a:lnTo>
                  <a:lnTo>
                    <a:pt x="335" y="4"/>
                  </a:lnTo>
                  <a:lnTo>
                    <a:pt x="338" y="4"/>
                  </a:lnTo>
                  <a:lnTo>
                    <a:pt x="339" y="5"/>
                  </a:lnTo>
                  <a:lnTo>
                    <a:pt x="339" y="4"/>
                  </a:lnTo>
                  <a:lnTo>
                    <a:pt x="340" y="4"/>
                  </a:lnTo>
                  <a:lnTo>
                    <a:pt x="341" y="5"/>
                  </a:lnTo>
                  <a:lnTo>
                    <a:pt x="343" y="8"/>
                  </a:lnTo>
                  <a:lnTo>
                    <a:pt x="345" y="10"/>
                  </a:lnTo>
                  <a:lnTo>
                    <a:pt x="346" y="11"/>
                  </a:lnTo>
                  <a:lnTo>
                    <a:pt x="348" y="11"/>
                  </a:lnTo>
                  <a:lnTo>
                    <a:pt x="350" y="12"/>
                  </a:lnTo>
                  <a:lnTo>
                    <a:pt x="352" y="12"/>
                  </a:lnTo>
                  <a:lnTo>
                    <a:pt x="354" y="13"/>
                  </a:lnTo>
                  <a:lnTo>
                    <a:pt x="358" y="13"/>
                  </a:lnTo>
                  <a:lnTo>
                    <a:pt x="359" y="13"/>
                  </a:lnTo>
                  <a:lnTo>
                    <a:pt x="361" y="13"/>
                  </a:lnTo>
                  <a:lnTo>
                    <a:pt x="362" y="14"/>
                  </a:lnTo>
                  <a:lnTo>
                    <a:pt x="364" y="15"/>
                  </a:lnTo>
                  <a:lnTo>
                    <a:pt x="367" y="17"/>
                  </a:lnTo>
                  <a:lnTo>
                    <a:pt x="373" y="21"/>
                  </a:lnTo>
                  <a:lnTo>
                    <a:pt x="376" y="23"/>
                  </a:lnTo>
                  <a:lnTo>
                    <a:pt x="377" y="24"/>
                  </a:lnTo>
                  <a:lnTo>
                    <a:pt x="379" y="25"/>
                  </a:lnTo>
                  <a:lnTo>
                    <a:pt x="381" y="25"/>
                  </a:lnTo>
                  <a:lnTo>
                    <a:pt x="384" y="25"/>
                  </a:lnTo>
                  <a:lnTo>
                    <a:pt x="389" y="25"/>
                  </a:lnTo>
                  <a:lnTo>
                    <a:pt x="390" y="26"/>
                  </a:lnTo>
                  <a:lnTo>
                    <a:pt x="392" y="26"/>
                  </a:lnTo>
                  <a:lnTo>
                    <a:pt x="394" y="27"/>
                  </a:lnTo>
                  <a:lnTo>
                    <a:pt x="396" y="27"/>
                  </a:lnTo>
                  <a:lnTo>
                    <a:pt x="398" y="27"/>
                  </a:lnTo>
                  <a:lnTo>
                    <a:pt x="399" y="28"/>
                  </a:lnTo>
                  <a:lnTo>
                    <a:pt x="401" y="30"/>
                  </a:lnTo>
                  <a:lnTo>
                    <a:pt x="402" y="31"/>
                  </a:lnTo>
                  <a:lnTo>
                    <a:pt x="403" y="33"/>
                  </a:lnTo>
                  <a:lnTo>
                    <a:pt x="404" y="36"/>
                  </a:lnTo>
                  <a:lnTo>
                    <a:pt x="405" y="38"/>
                  </a:lnTo>
                  <a:lnTo>
                    <a:pt x="405" y="39"/>
                  </a:lnTo>
                  <a:lnTo>
                    <a:pt x="406" y="45"/>
                  </a:lnTo>
                  <a:lnTo>
                    <a:pt x="406" y="47"/>
                  </a:lnTo>
                  <a:lnTo>
                    <a:pt x="407" y="49"/>
                  </a:lnTo>
                  <a:lnTo>
                    <a:pt x="408" y="50"/>
                  </a:lnTo>
                  <a:lnTo>
                    <a:pt x="409" y="52"/>
                  </a:lnTo>
                  <a:lnTo>
                    <a:pt x="410" y="53"/>
                  </a:lnTo>
                  <a:lnTo>
                    <a:pt x="411" y="55"/>
                  </a:lnTo>
                  <a:lnTo>
                    <a:pt x="413" y="55"/>
                  </a:lnTo>
                  <a:lnTo>
                    <a:pt x="415" y="56"/>
                  </a:lnTo>
                  <a:lnTo>
                    <a:pt x="418" y="57"/>
                  </a:lnTo>
                  <a:lnTo>
                    <a:pt x="420" y="57"/>
                  </a:lnTo>
                  <a:lnTo>
                    <a:pt x="422" y="57"/>
                  </a:lnTo>
                  <a:lnTo>
                    <a:pt x="423" y="57"/>
                  </a:lnTo>
                  <a:lnTo>
                    <a:pt x="433" y="57"/>
                  </a:lnTo>
                  <a:lnTo>
                    <a:pt x="439" y="57"/>
                  </a:lnTo>
                  <a:lnTo>
                    <a:pt x="443" y="57"/>
                  </a:lnTo>
                  <a:lnTo>
                    <a:pt x="446" y="56"/>
                  </a:lnTo>
                  <a:lnTo>
                    <a:pt x="450" y="56"/>
                  </a:lnTo>
                  <a:lnTo>
                    <a:pt x="454" y="55"/>
                  </a:lnTo>
                  <a:lnTo>
                    <a:pt x="460" y="53"/>
                  </a:lnTo>
                  <a:lnTo>
                    <a:pt x="462" y="52"/>
                  </a:lnTo>
                  <a:lnTo>
                    <a:pt x="464" y="52"/>
                  </a:lnTo>
                  <a:lnTo>
                    <a:pt x="466" y="52"/>
                  </a:lnTo>
                  <a:lnTo>
                    <a:pt x="467" y="53"/>
                  </a:lnTo>
                  <a:lnTo>
                    <a:pt x="467" y="53"/>
                  </a:lnTo>
                  <a:lnTo>
                    <a:pt x="468" y="54"/>
                  </a:lnTo>
                  <a:lnTo>
                    <a:pt x="469" y="55"/>
                  </a:lnTo>
                  <a:lnTo>
                    <a:pt x="469" y="56"/>
                  </a:lnTo>
                  <a:lnTo>
                    <a:pt x="474" y="65"/>
                  </a:lnTo>
                  <a:lnTo>
                    <a:pt x="482" y="80"/>
                  </a:lnTo>
                  <a:lnTo>
                    <a:pt x="485" y="85"/>
                  </a:lnTo>
                  <a:lnTo>
                    <a:pt x="488" y="89"/>
                  </a:lnTo>
                  <a:lnTo>
                    <a:pt x="490" y="93"/>
                  </a:lnTo>
                  <a:lnTo>
                    <a:pt x="493" y="95"/>
                  </a:lnTo>
                  <a:lnTo>
                    <a:pt x="495" y="97"/>
                  </a:lnTo>
                  <a:lnTo>
                    <a:pt x="502" y="103"/>
                  </a:lnTo>
                  <a:lnTo>
                    <a:pt x="505" y="106"/>
                  </a:lnTo>
                  <a:lnTo>
                    <a:pt x="507" y="108"/>
                  </a:lnTo>
                  <a:lnTo>
                    <a:pt x="511" y="114"/>
                  </a:lnTo>
                  <a:lnTo>
                    <a:pt x="518" y="121"/>
                  </a:lnTo>
                  <a:lnTo>
                    <a:pt x="521" y="125"/>
                  </a:lnTo>
                  <a:lnTo>
                    <a:pt x="525" y="129"/>
                  </a:lnTo>
                  <a:lnTo>
                    <a:pt x="528" y="132"/>
                  </a:lnTo>
                  <a:lnTo>
                    <a:pt x="533" y="138"/>
                  </a:lnTo>
                  <a:lnTo>
                    <a:pt x="536" y="141"/>
                  </a:lnTo>
                  <a:lnTo>
                    <a:pt x="537" y="143"/>
                  </a:lnTo>
                  <a:lnTo>
                    <a:pt x="538" y="145"/>
                  </a:lnTo>
                  <a:lnTo>
                    <a:pt x="539" y="147"/>
                  </a:lnTo>
                  <a:lnTo>
                    <a:pt x="539" y="149"/>
                  </a:lnTo>
                  <a:lnTo>
                    <a:pt x="540" y="151"/>
                  </a:lnTo>
                  <a:lnTo>
                    <a:pt x="540" y="153"/>
                  </a:lnTo>
                  <a:lnTo>
                    <a:pt x="540" y="155"/>
                  </a:lnTo>
                  <a:lnTo>
                    <a:pt x="539" y="157"/>
                  </a:lnTo>
                  <a:lnTo>
                    <a:pt x="539" y="159"/>
                  </a:lnTo>
                  <a:lnTo>
                    <a:pt x="536" y="164"/>
                  </a:lnTo>
                  <a:lnTo>
                    <a:pt x="536" y="167"/>
                  </a:lnTo>
                  <a:lnTo>
                    <a:pt x="535" y="169"/>
                  </a:lnTo>
                  <a:lnTo>
                    <a:pt x="533" y="172"/>
                  </a:lnTo>
                  <a:lnTo>
                    <a:pt x="532" y="172"/>
                  </a:lnTo>
                  <a:lnTo>
                    <a:pt x="529" y="174"/>
                  </a:lnTo>
                  <a:lnTo>
                    <a:pt x="527" y="175"/>
                  </a:lnTo>
                  <a:lnTo>
                    <a:pt x="524" y="177"/>
                  </a:lnTo>
                  <a:lnTo>
                    <a:pt x="515" y="180"/>
                  </a:lnTo>
                  <a:lnTo>
                    <a:pt x="513" y="181"/>
                  </a:lnTo>
                  <a:lnTo>
                    <a:pt x="512" y="182"/>
                  </a:lnTo>
                  <a:lnTo>
                    <a:pt x="510" y="184"/>
                  </a:lnTo>
                  <a:lnTo>
                    <a:pt x="508" y="185"/>
                  </a:lnTo>
                  <a:lnTo>
                    <a:pt x="507" y="186"/>
                  </a:lnTo>
                  <a:lnTo>
                    <a:pt x="505" y="188"/>
                  </a:lnTo>
                  <a:lnTo>
                    <a:pt x="504" y="190"/>
                  </a:lnTo>
                  <a:lnTo>
                    <a:pt x="503" y="191"/>
                  </a:lnTo>
                  <a:lnTo>
                    <a:pt x="503" y="193"/>
                  </a:lnTo>
                  <a:lnTo>
                    <a:pt x="502" y="195"/>
                  </a:lnTo>
                  <a:lnTo>
                    <a:pt x="502" y="197"/>
                  </a:lnTo>
                  <a:lnTo>
                    <a:pt x="502" y="199"/>
                  </a:lnTo>
                  <a:lnTo>
                    <a:pt x="503" y="205"/>
                  </a:lnTo>
                  <a:lnTo>
                    <a:pt x="503" y="206"/>
                  </a:lnTo>
                  <a:lnTo>
                    <a:pt x="503" y="207"/>
                  </a:lnTo>
                  <a:lnTo>
                    <a:pt x="502" y="208"/>
                  </a:lnTo>
                  <a:lnTo>
                    <a:pt x="498" y="209"/>
                  </a:lnTo>
                  <a:lnTo>
                    <a:pt x="495" y="210"/>
                  </a:lnTo>
                  <a:lnTo>
                    <a:pt x="493" y="212"/>
                  </a:lnTo>
                  <a:lnTo>
                    <a:pt x="491" y="214"/>
                  </a:lnTo>
                  <a:lnTo>
                    <a:pt x="491" y="215"/>
                  </a:lnTo>
                  <a:lnTo>
                    <a:pt x="490" y="216"/>
                  </a:lnTo>
                  <a:lnTo>
                    <a:pt x="490" y="218"/>
                  </a:lnTo>
                  <a:lnTo>
                    <a:pt x="490" y="219"/>
                  </a:lnTo>
                  <a:lnTo>
                    <a:pt x="489" y="221"/>
                  </a:lnTo>
                  <a:lnTo>
                    <a:pt x="489" y="224"/>
                  </a:lnTo>
                  <a:lnTo>
                    <a:pt x="489" y="226"/>
                  </a:lnTo>
                  <a:lnTo>
                    <a:pt x="489" y="227"/>
                  </a:lnTo>
                  <a:lnTo>
                    <a:pt x="488" y="227"/>
                  </a:lnTo>
                  <a:lnTo>
                    <a:pt x="487" y="227"/>
                  </a:lnTo>
                  <a:lnTo>
                    <a:pt x="483" y="227"/>
                  </a:lnTo>
                  <a:lnTo>
                    <a:pt x="478" y="226"/>
                  </a:lnTo>
                  <a:lnTo>
                    <a:pt x="474" y="225"/>
                  </a:lnTo>
                  <a:lnTo>
                    <a:pt x="464" y="223"/>
                  </a:lnTo>
                  <a:lnTo>
                    <a:pt x="456" y="221"/>
                  </a:lnTo>
                  <a:lnTo>
                    <a:pt x="450" y="219"/>
                  </a:lnTo>
                  <a:lnTo>
                    <a:pt x="442" y="218"/>
                  </a:lnTo>
                  <a:lnTo>
                    <a:pt x="439" y="218"/>
                  </a:lnTo>
                  <a:lnTo>
                    <a:pt x="438" y="217"/>
                  </a:lnTo>
                  <a:lnTo>
                    <a:pt x="436" y="217"/>
                  </a:lnTo>
                  <a:lnTo>
                    <a:pt x="434" y="217"/>
                  </a:lnTo>
                  <a:lnTo>
                    <a:pt x="433" y="218"/>
                  </a:lnTo>
                  <a:lnTo>
                    <a:pt x="431" y="218"/>
                  </a:lnTo>
                  <a:lnTo>
                    <a:pt x="422" y="221"/>
                  </a:lnTo>
                  <a:lnTo>
                    <a:pt x="419" y="222"/>
                  </a:lnTo>
                  <a:lnTo>
                    <a:pt x="416" y="224"/>
                  </a:lnTo>
                  <a:lnTo>
                    <a:pt x="414" y="225"/>
                  </a:lnTo>
                  <a:lnTo>
                    <a:pt x="412" y="227"/>
                  </a:lnTo>
                  <a:lnTo>
                    <a:pt x="407" y="232"/>
                  </a:lnTo>
                  <a:lnTo>
                    <a:pt x="405" y="234"/>
                  </a:lnTo>
                  <a:lnTo>
                    <a:pt x="404" y="235"/>
                  </a:lnTo>
                  <a:lnTo>
                    <a:pt x="402" y="237"/>
                  </a:lnTo>
                  <a:lnTo>
                    <a:pt x="399" y="238"/>
                  </a:lnTo>
                  <a:lnTo>
                    <a:pt x="398" y="239"/>
                  </a:lnTo>
                  <a:lnTo>
                    <a:pt x="390" y="242"/>
                  </a:lnTo>
                  <a:lnTo>
                    <a:pt x="388" y="243"/>
                  </a:lnTo>
                  <a:lnTo>
                    <a:pt x="385" y="245"/>
                  </a:lnTo>
                  <a:lnTo>
                    <a:pt x="379" y="250"/>
                  </a:lnTo>
                  <a:lnTo>
                    <a:pt x="376" y="252"/>
                  </a:lnTo>
                  <a:lnTo>
                    <a:pt x="373" y="253"/>
                  </a:lnTo>
                  <a:lnTo>
                    <a:pt x="370" y="253"/>
                  </a:lnTo>
                  <a:lnTo>
                    <a:pt x="368" y="254"/>
                  </a:lnTo>
                  <a:lnTo>
                    <a:pt x="365" y="253"/>
                  </a:lnTo>
                  <a:lnTo>
                    <a:pt x="363" y="253"/>
                  </a:lnTo>
                  <a:lnTo>
                    <a:pt x="361" y="253"/>
                  </a:lnTo>
                  <a:lnTo>
                    <a:pt x="359" y="253"/>
                  </a:lnTo>
                  <a:lnTo>
                    <a:pt x="357" y="252"/>
                  </a:lnTo>
                  <a:lnTo>
                    <a:pt x="355" y="251"/>
                  </a:lnTo>
                  <a:lnTo>
                    <a:pt x="354" y="250"/>
                  </a:lnTo>
                  <a:lnTo>
                    <a:pt x="352" y="248"/>
                  </a:lnTo>
                  <a:lnTo>
                    <a:pt x="351" y="247"/>
                  </a:lnTo>
                  <a:lnTo>
                    <a:pt x="349" y="244"/>
                  </a:lnTo>
                  <a:lnTo>
                    <a:pt x="348" y="242"/>
                  </a:lnTo>
                  <a:lnTo>
                    <a:pt x="347" y="240"/>
                  </a:lnTo>
                  <a:lnTo>
                    <a:pt x="345" y="232"/>
                  </a:lnTo>
                  <a:lnTo>
                    <a:pt x="343" y="229"/>
                  </a:lnTo>
                  <a:lnTo>
                    <a:pt x="342" y="225"/>
                  </a:lnTo>
                  <a:lnTo>
                    <a:pt x="340" y="221"/>
                  </a:lnTo>
                  <a:lnTo>
                    <a:pt x="338" y="218"/>
                  </a:lnTo>
                  <a:lnTo>
                    <a:pt x="336" y="216"/>
                  </a:lnTo>
                  <a:lnTo>
                    <a:pt x="335" y="215"/>
                  </a:lnTo>
                  <a:lnTo>
                    <a:pt x="333" y="213"/>
                  </a:lnTo>
                  <a:lnTo>
                    <a:pt x="331" y="212"/>
                  </a:lnTo>
                  <a:lnTo>
                    <a:pt x="329" y="210"/>
                  </a:lnTo>
                  <a:lnTo>
                    <a:pt x="328" y="209"/>
                  </a:lnTo>
                  <a:lnTo>
                    <a:pt x="327" y="209"/>
                  </a:lnTo>
                  <a:lnTo>
                    <a:pt x="325" y="210"/>
                  </a:lnTo>
                  <a:lnTo>
                    <a:pt x="321" y="212"/>
                  </a:lnTo>
                  <a:lnTo>
                    <a:pt x="317" y="215"/>
                  </a:lnTo>
                  <a:lnTo>
                    <a:pt x="314" y="217"/>
                  </a:lnTo>
                  <a:lnTo>
                    <a:pt x="311" y="219"/>
                  </a:lnTo>
                  <a:lnTo>
                    <a:pt x="308" y="220"/>
                  </a:lnTo>
                  <a:lnTo>
                    <a:pt x="306" y="223"/>
                  </a:lnTo>
                  <a:lnTo>
                    <a:pt x="305" y="225"/>
                  </a:lnTo>
                  <a:lnTo>
                    <a:pt x="303" y="227"/>
                  </a:lnTo>
                  <a:lnTo>
                    <a:pt x="302" y="228"/>
                  </a:lnTo>
                  <a:lnTo>
                    <a:pt x="301" y="230"/>
                  </a:lnTo>
                  <a:lnTo>
                    <a:pt x="299" y="233"/>
                  </a:lnTo>
                  <a:lnTo>
                    <a:pt x="297" y="239"/>
                  </a:lnTo>
                  <a:lnTo>
                    <a:pt x="296" y="242"/>
                  </a:lnTo>
                  <a:lnTo>
                    <a:pt x="295" y="243"/>
                  </a:lnTo>
                  <a:lnTo>
                    <a:pt x="293" y="244"/>
                  </a:lnTo>
                  <a:lnTo>
                    <a:pt x="292" y="246"/>
                  </a:lnTo>
                  <a:lnTo>
                    <a:pt x="290" y="248"/>
                  </a:lnTo>
                  <a:lnTo>
                    <a:pt x="288" y="250"/>
                  </a:lnTo>
                  <a:lnTo>
                    <a:pt x="286" y="251"/>
                  </a:lnTo>
                  <a:lnTo>
                    <a:pt x="284" y="252"/>
                  </a:lnTo>
                  <a:lnTo>
                    <a:pt x="281" y="253"/>
                  </a:lnTo>
                  <a:lnTo>
                    <a:pt x="274" y="254"/>
                  </a:lnTo>
                  <a:lnTo>
                    <a:pt x="271" y="256"/>
                  </a:lnTo>
                  <a:lnTo>
                    <a:pt x="267" y="257"/>
                  </a:lnTo>
                  <a:lnTo>
                    <a:pt x="261" y="261"/>
                  </a:lnTo>
                  <a:lnTo>
                    <a:pt x="258" y="262"/>
                  </a:lnTo>
                  <a:lnTo>
                    <a:pt x="256" y="262"/>
                  </a:lnTo>
                  <a:lnTo>
                    <a:pt x="253" y="263"/>
                  </a:lnTo>
                  <a:lnTo>
                    <a:pt x="251" y="263"/>
                  </a:lnTo>
                  <a:lnTo>
                    <a:pt x="249" y="262"/>
                  </a:lnTo>
                  <a:lnTo>
                    <a:pt x="246" y="262"/>
                  </a:lnTo>
                  <a:lnTo>
                    <a:pt x="243" y="261"/>
                  </a:lnTo>
                  <a:lnTo>
                    <a:pt x="237" y="258"/>
                  </a:lnTo>
                  <a:lnTo>
                    <a:pt x="233" y="257"/>
                  </a:lnTo>
                  <a:lnTo>
                    <a:pt x="231" y="256"/>
                  </a:lnTo>
                  <a:lnTo>
                    <a:pt x="229" y="256"/>
                  </a:lnTo>
                  <a:lnTo>
                    <a:pt x="228" y="256"/>
                  </a:lnTo>
                  <a:lnTo>
                    <a:pt x="223" y="256"/>
                  </a:lnTo>
                  <a:lnTo>
                    <a:pt x="220" y="256"/>
                  </a:lnTo>
                  <a:lnTo>
                    <a:pt x="217" y="255"/>
                  </a:lnTo>
                  <a:lnTo>
                    <a:pt x="212" y="254"/>
                  </a:lnTo>
                  <a:lnTo>
                    <a:pt x="208" y="254"/>
                  </a:lnTo>
                  <a:lnTo>
                    <a:pt x="206" y="254"/>
                  </a:lnTo>
                  <a:lnTo>
                    <a:pt x="198" y="254"/>
                  </a:lnTo>
                  <a:lnTo>
                    <a:pt x="195" y="253"/>
                  </a:lnTo>
                  <a:lnTo>
                    <a:pt x="193" y="254"/>
                  </a:lnTo>
                  <a:lnTo>
                    <a:pt x="189" y="254"/>
                  </a:lnTo>
                  <a:lnTo>
                    <a:pt x="187" y="254"/>
                  </a:lnTo>
                  <a:lnTo>
                    <a:pt x="186" y="254"/>
                  </a:lnTo>
                  <a:lnTo>
                    <a:pt x="183" y="253"/>
                  </a:lnTo>
                  <a:lnTo>
                    <a:pt x="181" y="253"/>
                  </a:lnTo>
                  <a:lnTo>
                    <a:pt x="179" y="251"/>
                  </a:lnTo>
                  <a:lnTo>
                    <a:pt x="174" y="248"/>
                  </a:lnTo>
                  <a:lnTo>
                    <a:pt x="173" y="247"/>
                  </a:lnTo>
                  <a:lnTo>
                    <a:pt x="172" y="246"/>
                  </a:lnTo>
                  <a:lnTo>
                    <a:pt x="172" y="245"/>
                  </a:lnTo>
                  <a:lnTo>
                    <a:pt x="170" y="245"/>
                  </a:lnTo>
                  <a:lnTo>
                    <a:pt x="169" y="245"/>
                  </a:lnTo>
                  <a:lnTo>
                    <a:pt x="168" y="245"/>
                  </a:lnTo>
                  <a:lnTo>
                    <a:pt x="167" y="245"/>
                  </a:lnTo>
                  <a:lnTo>
                    <a:pt x="166" y="246"/>
                  </a:lnTo>
                  <a:lnTo>
                    <a:pt x="157" y="250"/>
                  </a:lnTo>
                  <a:lnTo>
                    <a:pt x="155" y="251"/>
                  </a:lnTo>
                  <a:lnTo>
                    <a:pt x="152" y="252"/>
                  </a:lnTo>
                  <a:lnTo>
                    <a:pt x="149" y="253"/>
                  </a:lnTo>
                  <a:lnTo>
                    <a:pt x="146" y="253"/>
                  </a:lnTo>
                  <a:lnTo>
                    <a:pt x="143" y="254"/>
                  </a:lnTo>
                  <a:lnTo>
                    <a:pt x="140" y="256"/>
                  </a:lnTo>
                  <a:lnTo>
                    <a:pt x="138" y="257"/>
                  </a:lnTo>
                  <a:lnTo>
                    <a:pt x="138" y="259"/>
                  </a:lnTo>
                  <a:lnTo>
                    <a:pt x="136" y="260"/>
                  </a:lnTo>
                  <a:lnTo>
                    <a:pt x="135" y="262"/>
                  </a:lnTo>
                  <a:lnTo>
                    <a:pt x="134" y="263"/>
                  </a:lnTo>
                  <a:lnTo>
                    <a:pt x="133" y="265"/>
                  </a:lnTo>
                  <a:lnTo>
                    <a:pt x="130" y="270"/>
                  </a:lnTo>
                  <a:lnTo>
                    <a:pt x="129" y="271"/>
                  </a:lnTo>
                  <a:lnTo>
                    <a:pt x="128" y="273"/>
                  </a:lnTo>
                  <a:lnTo>
                    <a:pt x="126" y="275"/>
                  </a:lnTo>
                  <a:lnTo>
                    <a:pt x="123" y="277"/>
                  </a:lnTo>
                  <a:lnTo>
                    <a:pt x="120" y="279"/>
                  </a:lnTo>
                  <a:lnTo>
                    <a:pt x="117" y="281"/>
                  </a:lnTo>
                  <a:lnTo>
                    <a:pt x="114" y="283"/>
                  </a:lnTo>
                  <a:lnTo>
                    <a:pt x="112" y="284"/>
                  </a:lnTo>
                  <a:lnTo>
                    <a:pt x="107" y="287"/>
                  </a:lnTo>
                  <a:lnTo>
                    <a:pt x="104" y="288"/>
                  </a:lnTo>
                  <a:lnTo>
                    <a:pt x="102" y="290"/>
                  </a:lnTo>
                  <a:lnTo>
                    <a:pt x="99" y="291"/>
                  </a:lnTo>
                  <a:lnTo>
                    <a:pt x="96" y="292"/>
                  </a:lnTo>
                  <a:lnTo>
                    <a:pt x="93" y="293"/>
                  </a:lnTo>
                  <a:lnTo>
                    <a:pt x="91" y="294"/>
                  </a:lnTo>
                  <a:lnTo>
                    <a:pt x="89" y="295"/>
                  </a:lnTo>
                  <a:lnTo>
                    <a:pt x="86" y="295"/>
                  </a:lnTo>
                  <a:lnTo>
                    <a:pt x="84" y="295"/>
                  </a:lnTo>
                  <a:lnTo>
                    <a:pt x="81" y="295"/>
                  </a:lnTo>
                  <a:lnTo>
                    <a:pt x="80" y="295"/>
                  </a:lnTo>
                  <a:lnTo>
                    <a:pt x="78" y="295"/>
                  </a:lnTo>
                  <a:lnTo>
                    <a:pt x="76" y="294"/>
                  </a:lnTo>
                  <a:lnTo>
                    <a:pt x="74" y="293"/>
                  </a:lnTo>
                  <a:lnTo>
                    <a:pt x="72" y="292"/>
                  </a:lnTo>
                  <a:lnTo>
                    <a:pt x="70" y="291"/>
                  </a:lnTo>
                  <a:lnTo>
                    <a:pt x="69" y="289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8" y="283"/>
                  </a:lnTo>
                  <a:lnTo>
                    <a:pt x="69" y="282"/>
                  </a:lnTo>
                  <a:lnTo>
                    <a:pt x="69" y="280"/>
                  </a:lnTo>
                  <a:lnTo>
                    <a:pt x="71" y="276"/>
                  </a:lnTo>
                  <a:lnTo>
                    <a:pt x="72" y="273"/>
                  </a:lnTo>
                  <a:lnTo>
                    <a:pt x="72" y="272"/>
                  </a:lnTo>
                  <a:lnTo>
                    <a:pt x="72" y="271"/>
                  </a:lnTo>
                  <a:lnTo>
                    <a:pt x="72" y="270"/>
                  </a:lnTo>
                  <a:lnTo>
                    <a:pt x="71" y="269"/>
                  </a:lnTo>
                  <a:lnTo>
                    <a:pt x="70" y="268"/>
                  </a:lnTo>
                  <a:lnTo>
                    <a:pt x="69" y="267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3" y="265"/>
                  </a:lnTo>
                  <a:lnTo>
                    <a:pt x="61" y="264"/>
                  </a:lnTo>
                  <a:lnTo>
                    <a:pt x="59" y="263"/>
                  </a:lnTo>
                  <a:lnTo>
                    <a:pt x="58" y="261"/>
                  </a:lnTo>
                  <a:lnTo>
                    <a:pt x="54" y="258"/>
                  </a:lnTo>
                  <a:lnTo>
                    <a:pt x="52" y="257"/>
                  </a:lnTo>
                  <a:lnTo>
                    <a:pt x="50" y="254"/>
                  </a:lnTo>
                  <a:lnTo>
                    <a:pt x="49" y="254"/>
                  </a:lnTo>
                  <a:lnTo>
                    <a:pt x="48" y="253"/>
                  </a:lnTo>
                  <a:lnTo>
                    <a:pt x="47" y="253"/>
                  </a:lnTo>
                  <a:lnTo>
                    <a:pt x="46" y="253"/>
                  </a:lnTo>
                  <a:lnTo>
                    <a:pt x="44" y="253"/>
                  </a:lnTo>
                  <a:lnTo>
                    <a:pt x="43" y="253"/>
                  </a:lnTo>
                  <a:lnTo>
                    <a:pt x="41" y="253"/>
                  </a:lnTo>
                  <a:lnTo>
                    <a:pt x="40" y="254"/>
                  </a:lnTo>
                  <a:lnTo>
                    <a:pt x="38" y="254"/>
                  </a:lnTo>
                  <a:lnTo>
                    <a:pt x="37" y="254"/>
                  </a:lnTo>
                  <a:lnTo>
                    <a:pt x="35" y="253"/>
                  </a:lnTo>
                  <a:lnTo>
                    <a:pt x="34" y="253"/>
                  </a:lnTo>
                  <a:lnTo>
                    <a:pt x="32" y="252"/>
                  </a:lnTo>
                  <a:lnTo>
                    <a:pt x="28" y="250"/>
                  </a:lnTo>
                  <a:lnTo>
                    <a:pt x="26" y="248"/>
                  </a:lnTo>
                  <a:lnTo>
                    <a:pt x="24" y="248"/>
                  </a:lnTo>
                  <a:lnTo>
                    <a:pt x="23" y="247"/>
                  </a:lnTo>
                  <a:lnTo>
                    <a:pt x="20" y="247"/>
                  </a:lnTo>
                  <a:lnTo>
                    <a:pt x="18" y="246"/>
                  </a:lnTo>
                  <a:lnTo>
                    <a:pt x="5" y="246"/>
                  </a:lnTo>
                  <a:lnTo>
                    <a:pt x="1" y="245"/>
                  </a:lnTo>
                  <a:lnTo>
                    <a:pt x="0" y="245"/>
                  </a:lnTo>
                  <a:lnTo>
                    <a:pt x="1" y="245"/>
                  </a:lnTo>
                  <a:lnTo>
                    <a:pt x="1" y="244"/>
                  </a:lnTo>
                  <a:lnTo>
                    <a:pt x="2" y="243"/>
                  </a:lnTo>
                  <a:lnTo>
                    <a:pt x="4" y="242"/>
                  </a:lnTo>
                  <a:lnTo>
                    <a:pt x="5" y="241"/>
                  </a:lnTo>
                  <a:lnTo>
                    <a:pt x="6" y="240"/>
                  </a:lnTo>
                  <a:lnTo>
                    <a:pt x="8" y="237"/>
                  </a:lnTo>
                  <a:lnTo>
                    <a:pt x="9" y="236"/>
                  </a:lnTo>
                  <a:lnTo>
                    <a:pt x="9" y="233"/>
                  </a:lnTo>
                  <a:lnTo>
                    <a:pt x="10" y="231"/>
                  </a:lnTo>
                  <a:lnTo>
                    <a:pt x="10" y="227"/>
                  </a:lnTo>
                  <a:lnTo>
                    <a:pt x="10" y="225"/>
                  </a:lnTo>
                  <a:lnTo>
                    <a:pt x="11" y="223"/>
                  </a:lnTo>
                  <a:lnTo>
                    <a:pt x="12" y="221"/>
                  </a:lnTo>
                  <a:lnTo>
                    <a:pt x="13" y="219"/>
                  </a:lnTo>
                  <a:lnTo>
                    <a:pt x="14" y="217"/>
                  </a:lnTo>
                  <a:lnTo>
                    <a:pt x="17" y="213"/>
                  </a:lnTo>
                  <a:lnTo>
                    <a:pt x="21" y="209"/>
                  </a:lnTo>
                  <a:lnTo>
                    <a:pt x="23" y="208"/>
                  </a:lnTo>
                  <a:lnTo>
                    <a:pt x="25" y="203"/>
                  </a:lnTo>
                  <a:lnTo>
                    <a:pt x="28" y="200"/>
                  </a:lnTo>
                  <a:lnTo>
                    <a:pt x="30" y="196"/>
                  </a:lnTo>
                  <a:lnTo>
                    <a:pt x="33" y="187"/>
                  </a:lnTo>
                  <a:lnTo>
                    <a:pt x="35" y="184"/>
                  </a:lnTo>
                  <a:lnTo>
                    <a:pt x="35" y="180"/>
                  </a:lnTo>
                  <a:lnTo>
                    <a:pt x="35" y="177"/>
                  </a:lnTo>
                  <a:lnTo>
                    <a:pt x="35" y="175"/>
                  </a:lnTo>
                  <a:lnTo>
                    <a:pt x="35" y="174"/>
                  </a:lnTo>
                  <a:lnTo>
                    <a:pt x="33" y="169"/>
                  </a:lnTo>
                  <a:lnTo>
                    <a:pt x="32" y="166"/>
                  </a:lnTo>
                  <a:lnTo>
                    <a:pt x="29" y="162"/>
                  </a:lnTo>
                  <a:lnTo>
                    <a:pt x="28" y="160"/>
                  </a:lnTo>
                  <a:lnTo>
                    <a:pt x="24" y="154"/>
                  </a:lnTo>
                  <a:lnTo>
                    <a:pt x="22" y="151"/>
                  </a:lnTo>
                  <a:lnTo>
                    <a:pt x="21" y="148"/>
                  </a:lnTo>
                  <a:lnTo>
                    <a:pt x="20" y="146"/>
                  </a:lnTo>
                  <a:lnTo>
                    <a:pt x="20" y="143"/>
                  </a:lnTo>
                  <a:lnTo>
                    <a:pt x="19" y="140"/>
                  </a:lnTo>
                  <a:lnTo>
                    <a:pt x="19" y="137"/>
                  </a:lnTo>
                  <a:lnTo>
                    <a:pt x="18" y="133"/>
                  </a:lnTo>
                  <a:lnTo>
                    <a:pt x="18" y="129"/>
                  </a:lnTo>
                  <a:lnTo>
                    <a:pt x="18" y="127"/>
                  </a:lnTo>
                  <a:lnTo>
                    <a:pt x="19" y="123"/>
                  </a:lnTo>
                  <a:lnTo>
                    <a:pt x="20" y="115"/>
                  </a:lnTo>
                  <a:lnTo>
                    <a:pt x="21" y="110"/>
                  </a:lnTo>
                  <a:lnTo>
                    <a:pt x="22" y="105"/>
                  </a:lnTo>
                  <a:lnTo>
                    <a:pt x="22" y="94"/>
                  </a:lnTo>
                  <a:lnTo>
                    <a:pt x="22" y="92"/>
                  </a:lnTo>
                  <a:lnTo>
                    <a:pt x="25" y="90"/>
                  </a:lnTo>
                  <a:lnTo>
                    <a:pt x="28" y="88"/>
                  </a:lnTo>
                  <a:lnTo>
                    <a:pt x="31" y="86"/>
                  </a:lnTo>
                  <a:lnTo>
                    <a:pt x="33" y="84"/>
                  </a:lnTo>
                  <a:lnTo>
                    <a:pt x="35" y="83"/>
                  </a:lnTo>
                  <a:lnTo>
                    <a:pt x="36" y="81"/>
                  </a:lnTo>
                  <a:lnTo>
                    <a:pt x="38" y="78"/>
                  </a:lnTo>
                  <a:lnTo>
                    <a:pt x="41" y="73"/>
                  </a:lnTo>
                  <a:lnTo>
                    <a:pt x="43" y="71"/>
                  </a:lnTo>
                  <a:lnTo>
                    <a:pt x="44" y="70"/>
                  </a:lnTo>
                  <a:lnTo>
                    <a:pt x="46" y="68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1" y="66"/>
                  </a:lnTo>
                  <a:lnTo>
                    <a:pt x="58" y="65"/>
                  </a:lnTo>
                  <a:lnTo>
                    <a:pt x="60" y="64"/>
                  </a:lnTo>
                  <a:lnTo>
                    <a:pt x="63" y="63"/>
                  </a:lnTo>
                  <a:lnTo>
                    <a:pt x="65" y="63"/>
                  </a:lnTo>
                  <a:lnTo>
                    <a:pt x="67" y="61"/>
                  </a:lnTo>
                  <a:lnTo>
                    <a:pt x="69" y="61"/>
                  </a:lnTo>
                  <a:lnTo>
                    <a:pt x="70" y="59"/>
                  </a:lnTo>
                  <a:lnTo>
                    <a:pt x="71" y="57"/>
                  </a:lnTo>
                  <a:lnTo>
                    <a:pt x="73" y="56"/>
                  </a:lnTo>
                  <a:lnTo>
                    <a:pt x="74" y="55"/>
                  </a:lnTo>
                  <a:lnTo>
                    <a:pt x="74" y="53"/>
                  </a:lnTo>
                  <a:lnTo>
                    <a:pt x="75" y="52"/>
                  </a:lnTo>
                  <a:lnTo>
                    <a:pt x="75" y="50"/>
                  </a:lnTo>
                  <a:lnTo>
                    <a:pt x="77" y="44"/>
                  </a:lnTo>
                  <a:lnTo>
                    <a:pt x="77" y="42"/>
                  </a:lnTo>
                  <a:lnTo>
                    <a:pt x="78" y="40"/>
                  </a:lnTo>
                  <a:lnTo>
                    <a:pt x="79" y="38"/>
                  </a:lnTo>
                  <a:lnTo>
                    <a:pt x="80" y="38"/>
                  </a:lnTo>
                  <a:lnTo>
                    <a:pt x="81" y="36"/>
                  </a:lnTo>
                  <a:lnTo>
                    <a:pt x="81" y="35"/>
                  </a:lnTo>
                  <a:lnTo>
                    <a:pt x="84" y="34"/>
                  </a:lnTo>
                  <a:lnTo>
                    <a:pt x="86" y="33"/>
                  </a:lnTo>
                  <a:lnTo>
                    <a:pt x="88" y="32"/>
                  </a:lnTo>
                  <a:lnTo>
                    <a:pt x="90" y="32"/>
                  </a:lnTo>
                  <a:lnTo>
                    <a:pt x="92" y="32"/>
                  </a:lnTo>
                  <a:lnTo>
                    <a:pt x="94" y="33"/>
                  </a:lnTo>
                  <a:lnTo>
                    <a:pt x="102" y="35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07" y="36"/>
                  </a:lnTo>
                  <a:lnTo>
                    <a:pt x="108" y="36"/>
                  </a:lnTo>
                  <a:lnTo>
                    <a:pt x="110" y="35"/>
                  </a:lnTo>
                  <a:lnTo>
                    <a:pt x="111" y="34"/>
                  </a:lnTo>
                  <a:lnTo>
                    <a:pt x="112" y="33"/>
                  </a:lnTo>
                  <a:lnTo>
                    <a:pt x="113" y="32"/>
                  </a:lnTo>
                  <a:lnTo>
                    <a:pt x="114" y="29"/>
                  </a:lnTo>
                  <a:lnTo>
                    <a:pt x="116" y="22"/>
                  </a:lnTo>
                  <a:lnTo>
                    <a:pt x="117" y="21"/>
                  </a:lnTo>
                  <a:lnTo>
                    <a:pt x="118" y="19"/>
                  </a:lnTo>
                  <a:lnTo>
                    <a:pt x="119" y="18"/>
                  </a:lnTo>
                  <a:lnTo>
                    <a:pt x="120" y="17"/>
                  </a:lnTo>
                  <a:lnTo>
                    <a:pt x="122" y="16"/>
                  </a:lnTo>
                  <a:lnTo>
                    <a:pt x="124" y="15"/>
                  </a:lnTo>
                  <a:lnTo>
                    <a:pt x="125" y="15"/>
                  </a:lnTo>
                  <a:lnTo>
                    <a:pt x="126" y="15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0" name="Freeform 47">
              <a:extLst>
                <a:ext uri="{FF2B5EF4-FFF2-40B4-BE49-F238E27FC236}">
                  <a16:creationId xmlns:a16="http://schemas.microsoft.com/office/drawing/2014/main" id="{F72F8C0F-9AD5-42DF-B350-A3D4B82B8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" y="1586"/>
              <a:ext cx="475" cy="315"/>
            </a:xfrm>
            <a:custGeom>
              <a:avLst/>
              <a:gdLst>
                <a:gd name="T0" fmla="*/ 98 w 475"/>
                <a:gd name="T1" fmla="*/ 43 h 315"/>
                <a:gd name="T2" fmla="*/ 117 w 475"/>
                <a:gd name="T3" fmla="*/ 24 h 315"/>
                <a:gd name="T4" fmla="*/ 136 w 475"/>
                <a:gd name="T5" fmla="*/ 26 h 315"/>
                <a:gd name="T6" fmla="*/ 169 w 475"/>
                <a:gd name="T7" fmla="*/ 37 h 315"/>
                <a:gd name="T8" fmla="*/ 197 w 475"/>
                <a:gd name="T9" fmla="*/ 47 h 315"/>
                <a:gd name="T10" fmla="*/ 205 w 475"/>
                <a:gd name="T11" fmla="*/ 57 h 315"/>
                <a:gd name="T12" fmla="*/ 213 w 475"/>
                <a:gd name="T13" fmla="*/ 68 h 315"/>
                <a:gd name="T14" fmla="*/ 233 w 475"/>
                <a:gd name="T15" fmla="*/ 68 h 315"/>
                <a:gd name="T16" fmla="*/ 248 w 475"/>
                <a:gd name="T17" fmla="*/ 57 h 315"/>
                <a:gd name="T18" fmla="*/ 249 w 475"/>
                <a:gd name="T19" fmla="*/ 34 h 315"/>
                <a:gd name="T20" fmla="*/ 261 w 475"/>
                <a:gd name="T21" fmla="*/ 15 h 315"/>
                <a:gd name="T22" fmla="*/ 278 w 475"/>
                <a:gd name="T23" fmla="*/ 0 h 315"/>
                <a:gd name="T24" fmla="*/ 292 w 475"/>
                <a:gd name="T25" fmla="*/ 10 h 315"/>
                <a:gd name="T26" fmla="*/ 312 w 475"/>
                <a:gd name="T27" fmla="*/ 26 h 315"/>
                <a:gd name="T28" fmla="*/ 338 w 475"/>
                <a:gd name="T29" fmla="*/ 23 h 315"/>
                <a:gd name="T30" fmla="*/ 353 w 475"/>
                <a:gd name="T31" fmla="*/ 27 h 315"/>
                <a:gd name="T32" fmla="*/ 366 w 475"/>
                <a:gd name="T33" fmla="*/ 39 h 315"/>
                <a:gd name="T34" fmla="*/ 401 w 475"/>
                <a:gd name="T35" fmla="*/ 58 h 315"/>
                <a:gd name="T36" fmla="*/ 403 w 475"/>
                <a:gd name="T37" fmla="*/ 80 h 315"/>
                <a:gd name="T38" fmla="*/ 407 w 475"/>
                <a:gd name="T39" fmla="*/ 97 h 315"/>
                <a:gd name="T40" fmla="*/ 429 w 475"/>
                <a:gd name="T41" fmla="*/ 116 h 315"/>
                <a:gd name="T42" fmla="*/ 442 w 475"/>
                <a:gd name="T43" fmla="*/ 143 h 315"/>
                <a:gd name="T44" fmla="*/ 459 w 475"/>
                <a:gd name="T45" fmla="*/ 163 h 315"/>
                <a:gd name="T46" fmla="*/ 460 w 475"/>
                <a:gd name="T47" fmla="*/ 191 h 315"/>
                <a:gd name="T48" fmla="*/ 467 w 475"/>
                <a:gd name="T49" fmla="*/ 222 h 315"/>
                <a:gd name="T50" fmla="*/ 474 w 475"/>
                <a:gd name="T51" fmla="*/ 240 h 315"/>
                <a:gd name="T52" fmla="*/ 466 w 475"/>
                <a:gd name="T53" fmla="*/ 251 h 315"/>
                <a:gd name="T54" fmla="*/ 444 w 475"/>
                <a:gd name="T55" fmla="*/ 258 h 315"/>
                <a:gd name="T56" fmla="*/ 412 w 475"/>
                <a:gd name="T57" fmla="*/ 253 h 315"/>
                <a:gd name="T58" fmla="*/ 389 w 475"/>
                <a:gd name="T59" fmla="*/ 276 h 315"/>
                <a:gd name="T60" fmla="*/ 373 w 475"/>
                <a:gd name="T61" fmla="*/ 287 h 315"/>
                <a:gd name="T62" fmla="*/ 363 w 475"/>
                <a:gd name="T63" fmla="*/ 279 h 315"/>
                <a:gd name="T64" fmla="*/ 340 w 475"/>
                <a:gd name="T65" fmla="*/ 268 h 315"/>
                <a:gd name="T66" fmla="*/ 311 w 475"/>
                <a:gd name="T67" fmla="*/ 240 h 315"/>
                <a:gd name="T68" fmla="*/ 300 w 475"/>
                <a:gd name="T69" fmla="*/ 240 h 315"/>
                <a:gd name="T70" fmla="*/ 291 w 475"/>
                <a:gd name="T71" fmla="*/ 257 h 315"/>
                <a:gd name="T72" fmla="*/ 272 w 475"/>
                <a:gd name="T73" fmla="*/ 255 h 315"/>
                <a:gd name="T74" fmla="*/ 259 w 475"/>
                <a:gd name="T75" fmla="*/ 261 h 315"/>
                <a:gd name="T76" fmla="*/ 253 w 475"/>
                <a:gd name="T77" fmla="*/ 279 h 315"/>
                <a:gd name="T78" fmla="*/ 238 w 475"/>
                <a:gd name="T79" fmla="*/ 288 h 315"/>
                <a:gd name="T80" fmla="*/ 218 w 475"/>
                <a:gd name="T81" fmla="*/ 301 h 315"/>
                <a:gd name="T82" fmla="*/ 202 w 475"/>
                <a:gd name="T83" fmla="*/ 314 h 315"/>
                <a:gd name="T84" fmla="*/ 187 w 475"/>
                <a:gd name="T85" fmla="*/ 295 h 315"/>
                <a:gd name="T86" fmla="*/ 174 w 475"/>
                <a:gd name="T87" fmla="*/ 292 h 315"/>
                <a:gd name="T88" fmla="*/ 142 w 475"/>
                <a:gd name="T89" fmla="*/ 301 h 315"/>
                <a:gd name="T90" fmla="*/ 97 w 475"/>
                <a:gd name="T91" fmla="*/ 298 h 315"/>
                <a:gd name="T92" fmla="*/ 82 w 475"/>
                <a:gd name="T93" fmla="*/ 294 h 315"/>
                <a:gd name="T94" fmla="*/ 74 w 475"/>
                <a:gd name="T95" fmla="*/ 280 h 315"/>
                <a:gd name="T96" fmla="*/ 70 w 475"/>
                <a:gd name="T97" fmla="*/ 261 h 315"/>
                <a:gd name="T98" fmla="*/ 52 w 475"/>
                <a:gd name="T99" fmla="*/ 241 h 315"/>
                <a:gd name="T100" fmla="*/ 35 w 475"/>
                <a:gd name="T101" fmla="*/ 235 h 315"/>
                <a:gd name="T102" fmla="*/ 11 w 475"/>
                <a:gd name="T103" fmla="*/ 227 h 315"/>
                <a:gd name="T104" fmla="*/ 0 w 475"/>
                <a:gd name="T105" fmla="*/ 198 h 315"/>
                <a:gd name="T106" fmla="*/ 6 w 475"/>
                <a:gd name="T107" fmla="*/ 186 h 315"/>
                <a:gd name="T108" fmla="*/ 22 w 475"/>
                <a:gd name="T109" fmla="*/ 169 h 315"/>
                <a:gd name="T110" fmla="*/ 33 w 475"/>
                <a:gd name="T111" fmla="*/ 144 h 315"/>
                <a:gd name="T112" fmla="*/ 23 w 475"/>
                <a:gd name="T113" fmla="*/ 114 h 315"/>
                <a:gd name="T114" fmla="*/ 18 w 475"/>
                <a:gd name="T115" fmla="*/ 88 h 315"/>
                <a:gd name="T116" fmla="*/ 11 w 475"/>
                <a:gd name="T117" fmla="*/ 59 h 315"/>
                <a:gd name="T118" fmla="*/ 9 w 475"/>
                <a:gd name="T119" fmla="*/ 41 h 315"/>
                <a:gd name="T120" fmla="*/ 28 w 475"/>
                <a:gd name="T121" fmla="*/ 25 h 315"/>
                <a:gd name="T122" fmla="*/ 60 w 475"/>
                <a:gd name="T123" fmla="*/ 45 h 315"/>
                <a:gd name="T124" fmla="*/ 83 w 475"/>
                <a:gd name="T125" fmla="*/ 51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75" h="315">
                  <a:moveTo>
                    <a:pt x="83" y="51"/>
                  </a:moveTo>
                  <a:lnTo>
                    <a:pt x="86" y="51"/>
                  </a:lnTo>
                  <a:lnTo>
                    <a:pt x="89" y="50"/>
                  </a:lnTo>
                  <a:lnTo>
                    <a:pt x="91" y="49"/>
                  </a:lnTo>
                  <a:lnTo>
                    <a:pt x="93" y="48"/>
                  </a:lnTo>
                  <a:lnTo>
                    <a:pt x="94" y="47"/>
                  </a:lnTo>
                  <a:lnTo>
                    <a:pt x="95" y="46"/>
                  </a:lnTo>
                  <a:lnTo>
                    <a:pt x="98" y="43"/>
                  </a:lnTo>
                  <a:lnTo>
                    <a:pt x="102" y="36"/>
                  </a:lnTo>
                  <a:lnTo>
                    <a:pt x="107" y="32"/>
                  </a:lnTo>
                  <a:lnTo>
                    <a:pt x="109" y="30"/>
                  </a:lnTo>
                  <a:lnTo>
                    <a:pt x="112" y="28"/>
                  </a:lnTo>
                  <a:lnTo>
                    <a:pt x="113" y="26"/>
                  </a:lnTo>
                  <a:lnTo>
                    <a:pt x="114" y="25"/>
                  </a:lnTo>
                  <a:lnTo>
                    <a:pt x="116" y="24"/>
                  </a:lnTo>
                  <a:lnTo>
                    <a:pt x="117" y="24"/>
                  </a:lnTo>
                  <a:lnTo>
                    <a:pt x="118" y="23"/>
                  </a:lnTo>
                  <a:lnTo>
                    <a:pt x="120" y="23"/>
                  </a:lnTo>
                  <a:lnTo>
                    <a:pt x="123" y="23"/>
                  </a:lnTo>
                  <a:lnTo>
                    <a:pt x="124" y="23"/>
                  </a:lnTo>
                  <a:lnTo>
                    <a:pt x="127" y="23"/>
                  </a:lnTo>
                  <a:lnTo>
                    <a:pt x="129" y="23"/>
                  </a:lnTo>
                  <a:lnTo>
                    <a:pt x="133" y="24"/>
                  </a:lnTo>
                  <a:lnTo>
                    <a:pt x="136" y="26"/>
                  </a:lnTo>
                  <a:lnTo>
                    <a:pt x="138" y="27"/>
                  </a:lnTo>
                  <a:lnTo>
                    <a:pt x="145" y="30"/>
                  </a:lnTo>
                  <a:lnTo>
                    <a:pt x="149" y="32"/>
                  </a:lnTo>
                  <a:lnTo>
                    <a:pt x="152" y="33"/>
                  </a:lnTo>
                  <a:lnTo>
                    <a:pt x="159" y="34"/>
                  </a:lnTo>
                  <a:lnTo>
                    <a:pt x="163" y="35"/>
                  </a:lnTo>
                  <a:lnTo>
                    <a:pt x="165" y="36"/>
                  </a:lnTo>
                  <a:lnTo>
                    <a:pt x="169" y="37"/>
                  </a:lnTo>
                  <a:lnTo>
                    <a:pt x="175" y="41"/>
                  </a:lnTo>
                  <a:lnTo>
                    <a:pt x="178" y="43"/>
                  </a:lnTo>
                  <a:lnTo>
                    <a:pt x="182" y="45"/>
                  </a:lnTo>
                  <a:lnTo>
                    <a:pt x="187" y="46"/>
                  </a:lnTo>
                  <a:lnTo>
                    <a:pt x="189" y="47"/>
                  </a:lnTo>
                  <a:lnTo>
                    <a:pt x="191" y="47"/>
                  </a:lnTo>
                  <a:lnTo>
                    <a:pt x="193" y="47"/>
                  </a:lnTo>
                  <a:lnTo>
                    <a:pt x="197" y="47"/>
                  </a:lnTo>
                  <a:lnTo>
                    <a:pt x="199" y="47"/>
                  </a:lnTo>
                  <a:lnTo>
                    <a:pt x="200" y="47"/>
                  </a:lnTo>
                  <a:lnTo>
                    <a:pt x="201" y="48"/>
                  </a:lnTo>
                  <a:lnTo>
                    <a:pt x="202" y="49"/>
                  </a:lnTo>
                  <a:lnTo>
                    <a:pt x="203" y="50"/>
                  </a:lnTo>
                  <a:lnTo>
                    <a:pt x="203" y="51"/>
                  </a:lnTo>
                  <a:lnTo>
                    <a:pt x="204" y="53"/>
                  </a:lnTo>
                  <a:lnTo>
                    <a:pt x="205" y="57"/>
                  </a:lnTo>
                  <a:lnTo>
                    <a:pt x="206" y="58"/>
                  </a:lnTo>
                  <a:lnTo>
                    <a:pt x="206" y="60"/>
                  </a:lnTo>
                  <a:lnTo>
                    <a:pt x="206" y="61"/>
                  </a:lnTo>
                  <a:lnTo>
                    <a:pt x="208" y="63"/>
                  </a:lnTo>
                  <a:lnTo>
                    <a:pt x="210" y="66"/>
                  </a:lnTo>
                  <a:lnTo>
                    <a:pt x="211" y="67"/>
                  </a:lnTo>
                  <a:lnTo>
                    <a:pt x="212" y="68"/>
                  </a:lnTo>
                  <a:lnTo>
                    <a:pt x="213" y="68"/>
                  </a:lnTo>
                  <a:lnTo>
                    <a:pt x="215" y="68"/>
                  </a:lnTo>
                  <a:lnTo>
                    <a:pt x="215" y="69"/>
                  </a:lnTo>
                  <a:lnTo>
                    <a:pt x="217" y="69"/>
                  </a:lnTo>
                  <a:lnTo>
                    <a:pt x="221" y="69"/>
                  </a:lnTo>
                  <a:lnTo>
                    <a:pt x="224" y="69"/>
                  </a:lnTo>
                  <a:lnTo>
                    <a:pt x="227" y="69"/>
                  </a:lnTo>
                  <a:lnTo>
                    <a:pt x="230" y="68"/>
                  </a:lnTo>
                  <a:lnTo>
                    <a:pt x="233" y="68"/>
                  </a:lnTo>
                  <a:lnTo>
                    <a:pt x="234" y="68"/>
                  </a:lnTo>
                  <a:lnTo>
                    <a:pt x="235" y="67"/>
                  </a:lnTo>
                  <a:lnTo>
                    <a:pt x="238" y="64"/>
                  </a:lnTo>
                  <a:lnTo>
                    <a:pt x="239" y="63"/>
                  </a:lnTo>
                  <a:lnTo>
                    <a:pt x="244" y="60"/>
                  </a:lnTo>
                  <a:lnTo>
                    <a:pt x="246" y="59"/>
                  </a:lnTo>
                  <a:lnTo>
                    <a:pt x="247" y="58"/>
                  </a:lnTo>
                  <a:lnTo>
                    <a:pt x="248" y="57"/>
                  </a:lnTo>
                  <a:lnTo>
                    <a:pt x="249" y="54"/>
                  </a:lnTo>
                  <a:lnTo>
                    <a:pt x="250" y="51"/>
                  </a:lnTo>
                  <a:lnTo>
                    <a:pt x="250" y="49"/>
                  </a:lnTo>
                  <a:lnTo>
                    <a:pt x="250" y="48"/>
                  </a:lnTo>
                  <a:lnTo>
                    <a:pt x="250" y="46"/>
                  </a:lnTo>
                  <a:lnTo>
                    <a:pt x="249" y="38"/>
                  </a:lnTo>
                  <a:lnTo>
                    <a:pt x="249" y="35"/>
                  </a:lnTo>
                  <a:lnTo>
                    <a:pt x="249" y="34"/>
                  </a:lnTo>
                  <a:lnTo>
                    <a:pt x="249" y="31"/>
                  </a:lnTo>
                  <a:lnTo>
                    <a:pt x="249" y="29"/>
                  </a:lnTo>
                  <a:lnTo>
                    <a:pt x="249" y="27"/>
                  </a:lnTo>
                  <a:lnTo>
                    <a:pt x="250" y="25"/>
                  </a:lnTo>
                  <a:lnTo>
                    <a:pt x="251" y="23"/>
                  </a:lnTo>
                  <a:lnTo>
                    <a:pt x="253" y="22"/>
                  </a:lnTo>
                  <a:lnTo>
                    <a:pt x="256" y="20"/>
                  </a:lnTo>
                  <a:lnTo>
                    <a:pt x="261" y="15"/>
                  </a:lnTo>
                  <a:lnTo>
                    <a:pt x="262" y="14"/>
                  </a:lnTo>
                  <a:lnTo>
                    <a:pt x="266" y="11"/>
                  </a:lnTo>
                  <a:lnTo>
                    <a:pt x="272" y="6"/>
                  </a:lnTo>
                  <a:lnTo>
                    <a:pt x="273" y="5"/>
                  </a:lnTo>
                  <a:lnTo>
                    <a:pt x="275" y="1"/>
                  </a:lnTo>
                  <a:lnTo>
                    <a:pt x="276" y="0"/>
                  </a:lnTo>
                  <a:lnTo>
                    <a:pt x="277" y="0"/>
                  </a:lnTo>
                  <a:lnTo>
                    <a:pt x="278" y="0"/>
                  </a:lnTo>
                  <a:lnTo>
                    <a:pt x="279" y="0"/>
                  </a:lnTo>
                  <a:lnTo>
                    <a:pt x="280" y="0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5" y="1"/>
                  </a:lnTo>
                  <a:lnTo>
                    <a:pt x="286" y="3"/>
                  </a:lnTo>
                  <a:lnTo>
                    <a:pt x="288" y="4"/>
                  </a:lnTo>
                  <a:lnTo>
                    <a:pt x="292" y="10"/>
                  </a:lnTo>
                  <a:lnTo>
                    <a:pt x="294" y="12"/>
                  </a:lnTo>
                  <a:lnTo>
                    <a:pt x="296" y="15"/>
                  </a:lnTo>
                  <a:lnTo>
                    <a:pt x="299" y="18"/>
                  </a:lnTo>
                  <a:lnTo>
                    <a:pt x="302" y="21"/>
                  </a:lnTo>
                  <a:lnTo>
                    <a:pt x="305" y="23"/>
                  </a:lnTo>
                  <a:lnTo>
                    <a:pt x="306" y="24"/>
                  </a:lnTo>
                  <a:lnTo>
                    <a:pt x="309" y="25"/>
                  </a:lnTo>
                  <a:lnTo>
                    <a:pt x="312" y="26"/>
                  </a:lnTo>
                  <a:lnTo>
                    <a:pt x="316" y="27"/>
                  </a:lnTo>
                  <a:lnTo>
                    <a:pt x="318" y="28"/>
                  </a:lnTo>
                  <a:lnTo>
                    <a:pt x="320" y="27"/>
                  </a:lnTo>
                  <a:lnTo>
                    <a:pt x="322" y="27"/>
                  </a:lnTo>
                  <a:lnTo>
                    <a:pt x="324" y="27"/>
                  </a:lnTo>
                  <a:lnTo>
                    <a:pt x="330" y="24"/>
                  </a:lnTo>
                  <a:lnTo>
                    <a:pt x="336" y="23"/>
                  </a:lnTo>
                  <a:lnTo>
                    <a:pt x="338" y="23"/>
                  </a:lnTo>
                  <a:lnTo>
                    <a:pt x="340" y="23"/>
                  </a:lnTo>
                  <a:lnTo>
                    <a:pt x="341" y="23"/>
                  </a:lnTo>
                  <a:lnTo>
                    <a:pt x="343" y="23"/>
                  </a:lnTo>
                  <a:lnTo>
                    <a:pt x="345" y="23"/>
                  </a:lnTo>
                  <a:lnTo>
                    <a:pt x="348" y="24"/>
                  </a:lnTo>
                  <a:lnTo>
                    <a:pt x="350" y="25"/>
                  </a:lnTo>
                  <a:lnTo>
                    <a:pt x="352" y="26"/>
                  </a:lnTo>
                  <a:lnTo>
                    <a:pt x="353" y="27"/>
                  </a:lnTo>
                  <a:lnTo>
                    <a:pt x="354" y="28"/>
                  </a:lnTo>
                  <a:lnTo>
                    <a:pt x="356" y="30"/>
                  </a:lnTo>
                  <a:lnTo>
                    <a:pt x="356" y="31"/>
                  </a:lnTo>
                  <a:lnTo>
                    <a:pt x="357" y="31"/>
                  </a:lnTo>
                  <a:lnTo>
                    <a:pt x="357" y="32"/>
                  </a:lnTo>
                  <a:lnTo>
                    <a:pt x="361" y="34"/>
                  </a:lnTo>
                  <a:lnTo>
                    <a:pt x="363" y="37"/>
                  </a:lnTo>
                  <a:lnTo>
                    <a:pt x="366" y="39"/>
                  </a:lnTo>
                  <a:lnTo>
                    <a:pt x="370" y="42"/>
                  </a:lnTo>
                  <a:lnTo>
                    <a:pt x="375" y="44"/>
                  </a:lnTo>
                  <a:lnTo>
                    <a:pt x="380" y="46"/>
                  </a:lnTo>
                  <a:lnTo>
                    <a:pt x="392" y="52"/>
                  </a:lnTo>
                  <a:lnTo>
                    <a:pt x="396" y="55"/>
                  </a:lnTo>
                  <a:lnTo>
                    <a:pt x="397" y="56"/>
                  </a:lnTo>
                  <a:lnTo>
                    <a:pt x="399" y="57"/>
                  </a:lnTo>
                  <a:lnTo>
                    <a:pt x="401" y="58"/>
                  </a:lnTo>
                  <a:lnTo>
                    <a:pt x="402" y="60"/>
                  </a:lnTo>
                  <a:lnTo>
                    <a:pt x="403" y="62"/>
                  </a:lnTo>
                  <a:lnTo>
                    <a:pt x="404" y="65"/>
                  </a:lnTo>
                  <a:lnTo>
                    <a:pt x="404" y="68"/>
                  </a:lnTo>
                  <a:lnTo>
                    <a:pt x="405" y="69"/>
                  </a:lnTo>
                  <a:lnTo>
                    <a:pt x="405" y="72"/>
                  </a:lnTo>
                  <a:lnTo>
                    <a:pt x="404" y="74"/>
                  </a:lnTo>
                  <a:lnTo>
                    <a:pt x="403" y="80"/>
                  </a:lnTo>
                  <a:lnTo>
                    <a:pt x="403" y="81"/>
                  </a:lnTo>
                  <a:lnTo>
                    <a:pt x="403" y="84"/>
                  </a:lnTo>
                  <a:lnTo>
                    <a:pt x="403" y="87"/>
                  </a:lnTo>
                  <a:lnTo>
                    <a:pt x="403" y="89"/>
                  </a:lnTo>
                  <a:lnTo>
                    <a:pt x="404" y="91"/>
                  </a:lnTo>
                  <a:lnTo>
                    <a:pt x="405" y="93"/>
                  </a:lnTo>
                  <a:lnTo>
                    <a:pt x="406" y="95"/>
                  </a:lnTo>
                  <a:lnTo>
                    <a:pt x="407" y="97"/>
                  </a:lnTo>
                  <a:lnTo>
                    <a:pt x="408" y="99"/>
                  </a:lnTo>
                  <a:lnTo>
                    <a:pt x="409" y="101"/>
                  </a:lnTo>
                  <a:lnTo>
                    <a:pt x="410" y="102"/>
                  </a:lnTo>
                  <a:lnTo>
                    <a:pt x="413" y="103"/>
                  </a:lnTo>
                  <a:lnTo>
                    <a:pt x="419" y="108"/>
                  </a:lnTo>
                  <a:lnTo>
                    <a:pt x="421" y="110"/>
                  </a:lnTo>
                  <a:lnTo>
                    <a:pt x="428" y="114"/>
                  </a:lnTo>
                  <a:lnTo>
                    <a:pt x="429" y="116"/>
                  </a:lnTo>
                  <a:lnTo>
                    <a:pt x="430" y="117"/>
                  </a:lnTo>
                  <a:lnTo>
                    <a:pt x="431" y="119"/>
                  </a:lnTo>
                  <a:lnTo>
                    <a:pt x="432" y="121"/>
                  </a:lnTo>
                  <a:lnTo>
                    <a:pt x="433" y="123"/>
                  </a:lnTo>
                  <a:lnTo>
                    <a:pt x="434" y="127"/>
                  </a:lnTo>
                  <a:lnTo>
                    <a:pt x="435" y="130"/>
                  </a:lnTo>
                  <a:lnTo>
                    <a:pt x="440" y="140"/>
                  </a:lnTo>
                  <a:lnTo>
                    <a:pt x="442" y="143"/>
                  </a:lnTo>
                  <a:lnTo>
                    <a:pt x="443" y="146"/>
                  </a:lnTo>
                  <a:lnTo>
                    <a:pt x="445" y="148"/>
                  </a:lnTo>
                  <a:lnTo>
                    <a:pt x="449" y="151"/>
                  </a:lnTo>
                  <a:lnTo>
                    <a:pt x="454" y="157"/>
                  </a:lnTo>
                  <a:lnTo>
                    <a:pt x="456" y="159"/>
                  </a:lnTo>
                  <a:lnTo>
                    <a:pt x="457" y="160"/>
                  </a:lnTo>
                  <a:lnTo>
                    <a:pt x="458" y="162"/>
                  </a:lnTo>
                  <a:lnTo>
                    <a:pt x="459" y="163"/>
                  </a:lnTo>
                  <a:lnTo>
                    <a:pt x="459" y="164"/>
                  </a:lnTo>
                  <a:lnTo>
                    <a:pt x="459" y="167"/>
                  </a:lnTo>
                  <a:lnTo>
                    <a:pt x="459" y="169"/>
                  </a:lnTo>
                  <a:lnTo>
                    <a:pt x="459" y="172"/>
                  </a:lnTo>
                  <a:lnTo>
                    <a:pt x="459" y="179"/>
                  </a:lnTo>
                  <a:lnTo>
                    <a:pt x="459" y="182"/>
                  </a:lnTo>
                  <a:lnTo>
                    <a:pt x="459" y="186"/>
                  </a:lnTo>
                  <a:lnTo>
                    <a:pt x="460" y="191"/>
                  </a:lnTo>
                  <a:lnTo>
                    <a:pt x="461" y="193"/>
                  </a:lnTo>
                  <a:lnTo>
                    <a:pt x="462" y="199"/>
                  </a:lnTo>
                  <a:lnTo>
                    <a:pt x="463" y="201"/>
                  </a:lnTo>
                  <a:lnTo>
                    <a:pt x="464" y="204"/>
                  </a:lnTo>
                  <a:lnTo>
                    <a:pt x="465" y="211"/>
                  </a:lnTo>
                  <a:lnTo>
                    <a:pt x="465" y="215"/>
                  </a:lnTo>
                  <a:lnTo>
                    <a:pt x="466" y="218"/>
                  </a:lnTo>
                  <a:lnTo>
                    <a:pt x="467" y="222"/>
                  </a:lnTo>
                  <a:lnTo>
                    <a:pt x="469" y="227"/>
                  </a:lnTo>
                  <a:lnTo>
                    <a:pt x="471" y="231"/>
                  </a:lnTo>
                  <a:lnTo>
                    <a:pt x="472" y="233"/>
                  </a:lnTo>
                  <a:lnTo>
                    <a:pt x="473" y="234"/>
                  </a:lnTo>
                  <a:lnTo>
                    <a:pt x="475" y="236"/>
                  </a:lnTo>
                  <a:lnTo>
                    <a:pt x="475" y="237"/>
                  </a:lnTo>
                  <a:lnTo>
                    <a:pt x="475" y="238"/>
                  </a:lnTo>
                  <a:lnTo>
                    <a:pt x="474" y="240"/>
                  </a:lnTo>
                  <a:lnTo>
                    <a:pt x="473" y="242"/>
                  </a:lnTo>
                  <a:lnTo>
                    <a:pt x="472" y="244"/>
                  </a:lnTo>
                  <a:lnTo>
                    <a:pt x="471" y="245"/>
                  </a:lnTo>
                  <a:lnTo>
                    <a:pt x="470" y="247"/>
                  </a:lnTo>
                  <a:lnTo>
                    <a:pt x="469" y="249"/>
                  </a:lnTo>
                  <a:lnTo>
                    <a:pt x="468" y="250"/>
                  </a:lnTo>
                  <a:lnTo>
                    <a:pt x="466" y="250"/>
                  </a:lnTo>
                  <a:lnTo>
                    <a:pt x="466" y="251"/>
                  </a:lnTo>
                  <a:lnTo>
                    <a:pt x="464" y="252"/>
                  </a:lnTo>
                  <a:lnTo>
                    <a:pt x="462" y="253"/>
                  </a:lnTo>
                  <a:lnTo>
                    <a:pt x="459" y="255"/>
                  </a:lnTo>
                  <a:lnTo>
                    <a:pt x="456" y="256"/>
                  </a:lnTo>
                  <a:lnTo>
                    <a:pt x="454" y="257"/>
                  </a:lnTo>
                  <a:lnTo>
                    <a:pt x="451" y="257"/>
                  </a:lnTo>
                  <a:lnTo>
                    <a:pt x="448" y="258"/>
                  </a:lnTo>
                  <a:lnTo>
                    <a:pt x="444" y="258"/>
                  </a:lnTo>
                  <a:lnTo>
                    <a:pt x="441" y="258"/>
                  </a:lnTo>
                  <a:lnTo>
                    <a:pt x="434" y="257"/>
                  </a:lnTo>
                  <a:lnTo>
                    <a:pt x="428" y="257"/>
                  </a:lnTo>
                  <a:lnTo>
                    <a:pt x="426" y="256"/>
                  </a:lnTo>
                  <a:lnTo>
                    <a:pt x="421" y="255"/>
                  </a:lnTo>
                  <a:lnTo>
                    <a:pt x="417" y="254"/>
                  </a:lnTo>
                  <a:lnTo>
                    <a:pt x="414" y="253"/>
                  </a:lnTo>
                  <a:lnTo>
                    <a:pt x="412" y="253"/>
                  </a:lnTo>
                  <a:lnTo>
                    <a:pt x="411" y="253"/>
                  </a:lnTo>
                  <a:lnTo>
                    <a:pt x="411" y="254"/>
                  </a:lnTo>
                  <a:lnTo>
                    <a:pt x="410" y="254"/>
                  </a:lnTo>
                  <a:lnTo>
                    <a:pt x="409" y="258"/>
                  </a:lnTo>
                  <a:lnTo>
                    <a:pt x="407" y="260"/>
                  </a:lnTo>
                  <a:lnTo>
                    <a:pt x="397" y="269"/>
                  </a:lnTo>
                  <a:lnTo>
                    <a:pt x="391" y="274"/>
                  </a:lnTo>
                  <a:lnTo>
                    <a:pt x="389" y="276"/>
                  </a:lnTo>
                  <a:lnTo>
                    <a:pt x="387" y="277"/>
                  </a:lnTo>
                  <a:lnTo>
                    <a:pt x="383" y="283"/>
                  </a:lnTo>
                  <a:lnTo>
                    <a:pt x="381" y="284"/>
                  </a:lnTo>
                  <a:lnTo>
                    <a:pt x="380" y="285"/>
                  </a:lnTo>
                  <a:lnTo>
                    <a:pt x="377" y="287"/>
                  </a:lnTo>
                  <a:lnTo>
                    <a:pt x="376" y="287"/>
                  </a:lnTo>
                  <a:lnTo>
                    <a:pt x="375" y="287"/>
                  </a:lnTo>
                  <a:lnTo>
                    <a:pt x="373" y="287"/>
                  </a:lnTo>
                  <a:lnTo>
                    <a:pt x="371" y="287"/>
                  </a:lnTo>
                  <a:lnTo>
                    <a:pt x="369" y="286"/>
                  </a:lnTo>
                  <a:lnTo>
                    <a:pt x="367" y="285"/>
                  </a:lnTo>
                  <a:lnTo>
                    <a:pt x="366" y="284"/>
                  </a:lnTo>
                  <a:lnTo>
                    <a:pt x="365" y="284"/>
                  </a:lnTo>
                  <a:lnTo>
                    <a:pt x="364" y="282"/>
                  </a:lnTo>
                  <a:lnTo>
                    <a:pt x="363" y="280"/>
                  </a:lnTo>
                  <a:lnTo>
                    <a:pt x="363" y="279"/>
                  </a:lnTo>
                  <a:lnTo>
                    <a:pt x="363" y="278"/>
                  </a:lnTo>
                  <a:lnTo>
                    <a:pt x="361" y="277"/>
                  </a:lnTo>
                  <a:lnTo>
                    <a:pt x="359" y="276"/>
                  </a:lnTo>
                  <a:lnTo>
                    <a:pt x="358" y="275"/>
                  </a:lnTo>
                  <a:lnTo>
                    <a:pt x="350" y="272"/>
                  </a:lnTo>
                  <a:lnTo>
                    <a:pt x="347" y="272"/>
                  </a:lnTo>
                  <a:lnTo>
                    <a:pt x="344" y="270"/>
                  </a:lnTo>
                  <a:lnTo>
                    <a:pt x="340" y="268"/>
                  </a:lnTo>
                  <a:lnTo>
                    <a:pt x="336" y="264"/>
                  </a:lnTo>
                  <a:lnTo>
                    <a:pt x="330" y="260"/>
                  </a:lnTo>
                  <a:lnTo>
                    <a:pt x="327" y="257"/>
                  </a:lnTo>
                  <a:lnTo>
                    <a:pt x="324" y="254"/>
                  </a:lnTo>
                  <a:lnTo>
                    <a:pt x="318" y="247"/>
                  </a:lnTo>
                  <a:lnTo>
                    <a:pt x="316" y="245"/>
                  </a:lnTo>
                  <a:lnTo>
                    <a:pt x="313" y="242"/>
                  </a:lnTo>
                  <a:lnTo>
                    <a:pt x="311" y="240"/>
                  </a:lnTo>
                  <a:lnTo>
                    <a:pt x="308" y="238"/>
                  </a:lnTo>
                  <a:lnTo>
                    <a:pt x="306" y="238"/>
                  </a:lnTo>
                  <a:lnTo>
                    <a:pt x="306" y="238"/>
                  </a:lnTo>
                  <a:lnTo>
                    <a:pt x="306" y="238"/>
                  </a:lnTo>
                  <a:lnTo>
                    <a:pt x="305" y="238"/>
                  </a:lnTo>
                  <a:lnTo>
                    <a:pt x="304" y="238"/>
                  </a:lnTo>
                  <a:lnTo>
                    <a:pt x="302" y="239"/>
                  </a:lnTo>
                  <a:lnTo>
                    <a:pt x="300" y="240"/>
                  </a:lnTo>
                  <a:lnTo>
                    <a:pt x="299" y="241"/>
                  </a:lnTo>
                  <a:lnTo>
                    <a:pt x="298" y="242"/>
                  </a:lnTo>
                  <a:lnTo>
                    <a:pt x="297" y="244"/>
                  </a:lnTo>
                  <a:lnTo>
                    <a:pt x="296" y="245"/>
                  </a:lnTo>
                  <a:lnTo>
                    <a:pt x="294" y="252"/>
                  </a:lnTo>
                  <a:lnTo>
                    <a:pt x="293" y="255"/>
                  </a:lnTo>
                  <a:lnTo>
                    <a:pt x="292" y="256"/>
                  </a:lnTo>
                  <a:lnTo>
                    <a:pt x="291" y="257"/>
                  </a:lnTo>
                  <a:lnTo>
                    <a:pt x="290" y="258"/>
                  </a:lnTo>
                  <a:lnTo>
                    <a:pt x="288" y="259"/>
                  </a:lnTo>
                  <a:lnTo>
                    <a:pt x="287" y="259"/>
                  </a:lnTo>
                  <a:lnTo>
                    <a:pt x="286" y="259"/>
                  </a:lnTo>
                  <a:lnTo>
                    <a:pt x="284" y="259"/>
                  </a:lnTo>
                  <a:lnTo>
                    <a:pt x="282" y="258"/>
                  </a:lnTo>
                  <a:lnTo>
                    <a:pt x="274" y="256"/>
                  </a:lnTo>
                  <a:lnTo>
                    <a:pt x="272" y="255"/>
                  </a:lnTo>
                  <a:lnTo>
                    <a:pt x="270" y="255"/>
                  </a:lnTo>
                  <a:lnTo>
                    <a:pt x="268" y="255"/>
                  </a:lnTo>
                  <a:lnTo>
                    <a:pt x="266" y="256"/>
                  </a:lnTo>
                  <a:lnTo>
                    <a:pt x="264" y="257"/>
                  </a:lnTo>
                  <a:lnTo>
                    <a:pt x="261" y="258"/>
                  </a:lnTo>
                  <a:lnTo>
                    <a:pt x="261" y="259"/>
                  </a:lnTo>
                  <a:lnTo>
                    <a:pt x="260" y="261"/>
                  </a:lnTo>
                  <a:lnTo>
                    <a:pt x="259" y="261"/>
                  </a:lnTo>
                  <a:lnTo>
                    <a:pt x="258" y="263"/>
                  </a:lnTo>
                  <a:lnTo>
                    <a:pt x="257" y="265"/>
                  </a:lnTo>
                  <a:lnTo>
                    <a:pt x="257" y="267"/>
                  </a:lnTo>
                  <a:lnTo>
                    <a:pt x="255" y="273"/>
                  </a:lnTo>
                  <a:lnTo>
                    <a:pt x="255" y="275"/>
                  </a:lnTo>
                  <a:lnTo>
                    <a:pt x="254" y="276"/>
                  </a:lnTo>
                  <a:lnTo>
                    <a:pt x="254" y="278"/>
                  </a:lnTo>
                  <a:lnTo>
                    <a:pt x="253" y="279"/>
                  </a:lnTo>
                  <a:lnTo>
                    <a:pt x="251" y="280"/>
                  </a:lnTo>
                  <a:lnTo>
                    <a:pt x="250" y="282"/>
                  </a:lnTo>
                  <a:lnTo>
                    <a:pt x="249" y="284"/>
                  </a:lnTo>
                  <a:lnTo>
                    <a:pt x="247" y="284"/>
                  </a:lnTo>
                  <a:lnTo>
                    <a:pt x="245" y="286"/>
                  </a:lnTo>
                  <a:lnTo>
                    <a:pt x="243" y="286"/>
                  </a:lnTo>
                  <a:lnTo>
                    <a:pt x="240" y="287"/>
                  </a:lnTo>
                  <a:lnTo>
                    <a:pt x="238" y="288"/>
                  </a:lnTo>
                  <a:lnTo>
                    <a:pt x="231" y="289"/>
                  </a:lnTo>
                  <a:lnTo>
                    <a:pt x="229" y="289"/>
                  </a:lnTo>
                  <a:lnTo>
                    <a:pt x="227" y="290"/>
                  </a:lnTo>
                  <a:lnTo>
                    <a:pt x="226" y="291"/>
                  </a:lnTo>
                  <a:lnTo>
                    <a:pt x="224" y="293"/>
                  </a:lnTo>
                  <a:lnTo>
                    <a:pt x="223" y="294"/>
                  </a:lnTo>
                  <a:lnTo>
                    <a:pt x="221" y="296"/>
                  </a:lnTo>
                  <a:lnTo>
                    <a:pt x="218" y="301"/>
                  </a:lnTo>
                  <a:lnTo>
                    <a:pt x="216" y="304"/>
                  </a:lnTo>
                  <a:lnTo>
                    <a:pt x="215" y="306"/>
                  </a:lnTo>
                  <a:lnTo>
                    <a:pt x="213" y="307"/>
                  </a:lnTo>
                  <a:lnTo>
                    <a:pt x="211" y="309"/>
                  </a:lnTo>
                  <a:lnTo>
                    <a:pt x="208" y="311"/>
                  </a:lnTo>
                  <a:lnTo>
                    <a:pt x="205" y="313"/>
                  </a:lnTo>
                  <a:lnTo>
                    <a:pt x="202" y="315"/>
                  </a:lnTo>
                  <a:lnTo>
                    <a:pt x="202" y="314"/>
                  </a:lnTo>
                  <a:lnTo>
                    <a:pt x="201" y="312"/>
                  </a:lnTo>
                  <a:lnTo>
                    <a:pt x="201" y="311"/>
                  </a:lnTo>
                  <a:lnTo>
                    <a:pt x="200" y="309"/>
                  </a:lnTo>
                  <a:lnTo>
                    <a:pt x="197" y="306"/>
                  </a:lnTo>
                  <a:lnTo>
                    <a:pt x="195" y="304"/>
                  </a:lnTo>
                  <a:lnTo>
                    <a:pt x="194" y="302"/>
                  </a:lnTo>
                  <a:lnTo>
                    <a:pt x="190" y="298"/>
                  </a:lnTo>
                  <a:lnTo>
                    <a:pt x="187" y="295"/>
                  </a:lnTo>
                  <a:lnTo>
                    <a:pt x="185" y="295"/>
                  </a:lnTo>
                  <a:lnTo>
                    <a:pt x="183" y="294"/>
                  </a:lnTo>
                  <a:lnTo>
                    <a:pt x="182" y="293"/>
                  </a:lnTo>
                  <a:lnTo>
                    <a:pt x="181" y="292"/>
                  </a:lnTo>
                  <a:lnTo>
                    <a:pt x="180" y="292"/>
                  </a:lnTo>
                  <a:lnTo>
                    <a:pt x="178" y="292"/>
                  </a:lnTo>
                  <a:lnTo>
                    <a:pt x="176" y="292"/>
                  </a:lnTo>
                  <a:lnTo>
                    <a:pt x="174" y="292"/>
                  </a:lnTo>
                  <a:lnTo>
                    <a:pt x="171" y="293"/>
                  </a:lnTo>
                  <a:lnTo>
                    <a:pt x="166" y="295"/>
                  </a:lnTo>
                  <a:lnTo>
                    <a:pt x="159" y="297"/>
                  </a:lnTo>
                  <a:lnTo>
                    <a:pt x="152" y="300"/>
                  </a:lnTo>
                  <a:lnTo>
                    <a:pt x="149" y="301"/>
                  </a:lnTo>
                  <a:lnTo>
                    <a:pt x="147" y="301"/>
                  </a:lnTo>
                  <a:lnTo>
                    <a:pt x="145" y="301"/>
                  </a:lnTo>
                  <a:lnTo>
                    <a:pt x="142" y="301"/>
                  </a:lnTo>
                  <a:lnTo>
                    <a:pt x="139" y="300"/>
                  </a:lnTo>
                  <a:lnTo>
                    <a:pt x="132" y="299"/>
                  </a:lnTo>
                  <a:lnTo>
                    <a:pt x="126" y="298"/>
                  </a:lnTo>
                  <a:lnTo>
                    <a:pt x="116" y="297"/>
                  </a:lnTo>
                  <a:lnTo>
                    <a:pt x="113" y="296"/>
                  </a:lnTo>
                  <a:lnTo>
                    <a:pt x="111" y="296"/>
                  </a:lnTo>
                  <a:lnTo>
                    <a:pt x="99" y="298"/>
                  </a:lnTo>
                  <a:lnTo>
                    <a:pt x="97" y="298"/>
                  </a:lnTo>
                  <a:lnTo>
                    <a:pt x="95" y="298"/>
                  </a:lnTo>
                  <a:lnTo>
                    <a:pt x="93" y="298"/>
                  </a:lnTo>
                  <a:lnTo>
                    <a:pt x="91" y="298"/>
                  </a:lnTo>
                  <a:lnTo>
                    <a:pt x="90" y="297"/>
                  </a:lnTo>
                  <a:lnTo>
                    <a:pt x="87" y="296"/>
                  </a:lnTo>
                  <a:lnTo>
                    <a:pt x="85" y="295"/>
                  </a:lnTo>
                  <a:lnTo>
                    <a:pt x="84" y="295"/>
                  </a:lnTo>
                  <a:lnTo>
                    <a:pt x="82" y="294"/>
                  </a:lnTo>
                  <a:lnTo>
                    <a:pt x="80" y="292"/>
                  </a:lnTo>
                  <a:lnTo>
                    <a:pt x="79" y="291"/>
                  </a:lnTo>
                  <a:lnTo>
                    <a:pt x="78" y="289"/>
                  </a:lnTo>
                  <a:lnTo>
                    <a:pt x="77" y="288"/>
                  </a:lnTo>
                  <a:lnTo>
                    <a:pt x="76" y="286"/>
                  </a:lnTo>
                  <a:lnTo>
                    <a:pt x="75" y="284"/>
                  </a:lnTo>
                  <a:lnTo>
                    <a:pt x="74" y="282"/>
                  </a:lnTo>
                  <a:lnTo>
                    <a:pt x="74" y="280"/>
                  </a:lnTo>
                  <a:lnTo>
                    <a:pt x="73" y="277"/>
                  </a:lnTo>
                  <a:lnTo>
                    <a:pt x="73" y="274"/>
                  </a:lnTo>
                  <a:lnTo>
                    <a:pt x="73" y="269"/>
                  </a:lnTo>
                  <a:lnTo>
                    <a:pt x="73" y="266"/>
                  </a:lnTo>
                  <a:lnTo>
                    <a:pt x="73" y="265"/>
                  </a:lnTo>
                  <a:lnTo>
                    <a:pt x="72" y="264"/>
                  </a:lnTo>
                  <a:lnTo>
                    <a:pt x="71" y="262"/>
                  </a:lnTo>
                  <a:lnTo>
                    <a:pt x="70" y="261"/>
                  </a:lnTo>
                  <a:lnTo>
                    <a:pt x="69" y="260"/>
                  </a:lnTo>
                  <a:lnTo>
                    <a:pt x="66" y="256"/>
                  </a:lnTo>
                  <a:lnTo>
                    <a:pt x="62" y="252"/>
                  </a:lnTo>
                  <a:lnTo>
                    <a:pt x="58" y="250"/>
                  </a:lnTo>
                  <a:lnTo>
                    <a:pt x="56" y="249"/>
                  </a:lnTo>
                  <a:lnTo>
                    <a:pt x="56" y="247"/>
                  </a:lnTo>
                  <a:lnTo>
                    <a:pt x="53" y="242"/>
                  </a:lnTo>
                  <a:lnTo>
                    <a:pt x="52" y="241"/>
                  </a:lnTo>
                  <a:lnTo>
                    <a:pt x="51" y="240"/>
                  </a:lnTo>
                  <a:lnTo>
                    <a:pt x="50" y="239"/>
                  </a:lnTo>
                  <a:lnTo>
                    <a:pt x="49" y="238"/>
                  </a:lnTo>
                  <a:lnTo>
                    <a:pt x="46" y="238"/>
                  </a:lnTo>
                  <a:lnTo>
                    <a:pt x="44" y="237"/>
                  </a:lnTo>
                  <a:lnTo>
                    <a:pt x="40" y="236"/>
                  </a:lnTo>
                  <a:lnTo>
                    <a:pt x="38" y="235"/>
                  </a:lnTo>
                  <a:lnTo>
                    <a:pt x="35" y="235"/>
                  </a:lnTo>
                  <a:lnTo>
                    <a:pt x="25" y="235"/>
                  </a:lnTo>
                  <a:lnTo>
                    <a:pt x="21" y="234"/>
                  </a:lnTo>
                  <a:lnTo>
                    <a:pt x="18" y="233"/>
                  </a:lnTo>
                  <a:lnTo>
                    <a:pt x="15" y="233"/>
                  </a:lnTo>
                  <a:lnTo>
                    <a:pt x="13" y="232"/>
                  </a:lnTo>
                  <a:lnTo>
                    <a:pt x="12" y="232"/>
                  </a:lnTo>
                  <a:lnTo>
                    <a:pt x="12" y="231"/>
                  </a:lnTo>
                  <a:lnTo>
                    <a:pt x="11" y="227"/>
                  </a:lnTo>
                  <a:lnTo>
                    <a:pt x="10" y="225"/>
                  </a:lnTo>
                  <a:lnTo>
                    <a:pt x="9" y="219"/>
                  </a:lnTo>
                  <a:lnTo>
                    <a:pt x="8" y="216"/>
                  </a:lnTo>
                  <a:lnTo>
                    <a:pt x="7" y="213"/>
                  </a:lnTo>
                  <a:lnTo>
                    <a:pt x="2" y="204"/>
                  </a:lnTo>
                  <a:lnTo>
                    <a:pt x="1" y="202"/>
                  </a:lnTo>
                  <a:lnTo>
                    <a:pt x="1" y="200"/>
                  </a:lnTo>
                  <a:lnTo>
                    <a:pt x="0" y="198"/>
                  </a:lnTo>
                  <a:lnTo>
                    <a:pt x="0" y="197"/>
                  </a:lnTo>
                  <a:lnTo>
                    <a:pt x="0" y="195"/>
                  </a:lnTo>
                  <a:lnTo>
                    <a:pt x="0" y="194"/>
                  </a:lnTo>
                  <a:lnTo>
                    <a:pt x="1" y="193"/>
                  </a:lnTo>
                  <a:lnTo>
                    <a:pt x="2" y="191"/>
                  </a:lnTo>
                  <a:lnTo>
                    <a:pt x="3" y="189"/>
                  </a:lnTo>
                  <a:lnTo>
                    <a:pt x="5" y="187"/>
                  </a:lnTo>
                  <a:lnTo>
                    <a:pt x="6" y="186"/>
                  </a:lnTo>
                  <a:lnTo>
                    <a:pt x="8" y="185"/>
                  </a:lnTo>
                  <a:lnTo>
                    <a:pt x="13" y="182"/>
                  </a:lnTo>
                  <a:lnTo>
                    <a:pt x="15" y="182"/>
                  </a:lnTo>
                  <a:lnTo>
                    <a:pt x="17" y="180"/>
                  </a:lnTo>
                  <a:lnTo>
                    <a:pt x="18" y="179"/>
                  </a:lnTo>
                  <a:lnTo>
                    <a:pt x="18" y="178"/>
                  </a:lnTo>
                  <a:lnTo>
                    <a:pt x="19" y="176"/>
                  </a:lnTo>
                  <a:lnTo>
                    <a:pt x="22" y="169"/>
                  </a:lnTo>
                  <a:lnTo>
                    <a:pt x="23" y="167"/>
                  </a:lnTo>
                  <a:lnTo>
                    <a:pt x="24" y="164"/>
                  </a:lnTo>
                  <a:lnTo>
                    <a:pt x="28" y="158"/>
                  </a:lnTo>
                  <a:lnTo>
                    <a:pt x="30" y="156"/>
                  </a:lnTo>
                  <a:lnTo>
                    <a:pt x="31" y="154"/>
                  </a:lnTo>
                  <a:lnTo>
                    <a:pt x="32" y="150"/>
                  </a:lnTo>
                  <a:lnTo>
                    <a:pt x="33" y="147"/>
                  </a:lnTo>
                  <a:lnTo>
                    <a:pt x="33" y="144"/>
                  </a:lnTo>
                  <a:lnTo>
                    <a:pt x="33" y="140"/>
                  </a:lnTo>
                  <a:lnTo>
                    <a:pt x="33" y="138"/>
                  </a:lnTo>
                  <a:lnTo>
                    <a:pt x="32" y="134"/>
                  </a:lnTo>
                  <a:lnTo>
                    <a:pt x="29" y="125"/>
                  </a:lnTo>
                  <a:lnTo>
                    <a:pt x="28" y="122"/>
                  </a:lnTo>
                  <a:lnTo>
                    <a:pt x="26" y="118"/>
                  </a:lnTo>
                  <a:lnTo>
                    <a:pt x="25" y="116"/>
                  </a:lnTo>
                  <a:lnTo>
                    <a:pt x="23" y="114"/>
                  </a:lnTo>
                  <a:lnTo>
                    <a:pt x="22" y="111"/>
                  </a:lnTo>
                  <a:lnTo>
                    <a:pt x="20" y="109"/>
                  </a:lnTo>
                  <a:lnTo>
                    <a:pt x="19" y="107"/>
                  </a:lnTo>
                  <a:lnTo>
                    <a:pt x="19" y="105"/>
                  </a:lnTo>
                  <a:lnTo>
                    <a:pt x="19" y="104"/>
                  </a:lnTo>
                  <a:lnTo>
                    <a:pt x="18" y="102"/>
                  </a:lnTo>
                  <a:lnTo>
                    <a:pt x="18" y="99"/>
                  </a:lnTo>
                  <a:lnTo>
                    <a:pt x="18" y="88"/>
                  </a:lnTo>
                  <a:lnTo>
                    <a:pt x="18" y="81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8" y="77"/>
                  </a:lnTo>
                  <a:lnTo>
                    <a:pt x="15" y="71"/>
                  </a:lnTo>
                  <a:lnTo>
                    <a:pt x="13" y="66"/>
                  </a:lnTo>
                  <a:lnTo>
                    <a:pt x="12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8" y="51"/>
                  </a:lnTo>
                  <a:lnTo>
                    <a:pt x="7" y="49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3"/>
                  </a:lnTo>
                  <a:lnTo>
                    <a:pt x="9" y="41"/>
                  </a:lnTo>
                  <a:lnTo>
                    <a:pt x="11" y="38"/>
                  </a:lnTo>
                  <a:lnTo>
                    <a:pt x="12" y="36"/>
                  </a:lnTo>
                  <a:lnTo>
                    <a:pt x="14" y="34"/>
                  </a:lnTo>
                  <a:lnTo>
                    <a:pt x="20" y="28"/>
                  </a:lnTo>
                  <a:lnTo>
                    <a:pt x="23" y="24"/>
                  </a:lnTo>
                  <a:lnTo>
                    <a:pt x="25" y="23"/>
                  </a:lnTo>
                  <a:lnTo>
                    <a:pt x="27" y="24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8" y="25"/>
                  </a:lnTo>
                  <a:lnTo>
                    <a:pt x="29" y="27"/>
                  </a:lnTo>
                  <a:lnTo>
                    <a:pt x="31" y="28"/>
                  </a:lnTo>
                  <a:lnTo>
                    <a:pt x="34" y="30"/>
                  </a:lnTo>
                  <a:lnTo>
                    <a:pt x="45" y="36"/>
                  </a:lnTo>
                  <a:lnTo>
                    <a:pt x="55" y="42"/>
                  </a:lnTo>
                  <a:lnTo>
                    <a:pt x="60" y="45"/>
                  </a:lnTo>
                  <a:lnTo>
                    <a:pt x="64" y="46"/>
                  </a:lnTo>
                  <a:lnTo>
                    <a:pt x="68" y="47"/>
                  </a:lnTo>
                  <a:lnTo>
                    <a:pt x="70" y="48"/>
                  </a:lnTo>
                  <a:lnTo>
                    <a:pt x="74" y="50"/>
                  </a:lnTo>
                  <a:lnTo>
                    <a:pt x="77" y="50"/>
                  </a:lnTo>
                  <a:lnTo>
                    <a:pt x="79" y="51"/>
                  </a:lnTo>
                  <a:lnTo>
                    <a:pt x="81" y="51"/>
                  </a:lnTo>
                  <a:lnTo>
                    <a:pt x="83" y="5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1" name="Freeform 48">
              <a:extLst>
                <a:ext uri="{FF2B5EF4-FFF2-40B4-BE49-F238E27FC236}">
                  <a16:creationId xmlns:a16="http://schemas.microsoft.com/office/drawing/2014/main" id="{4266F521-8B3B-4FBE-A774-2A472FCB3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3" y="1429"/>
              <a:ext cx="478" cy="442"/>
            </a:xfrm>
            <a:custGeom>
              <a:avLst/>
              <a:gdLst>
                <a:gd name="T0" fmla="*/ 283 w 478"/>
                <a:gd name="T1" fmla="*/ 40 h 442"/>
                <a:gd name="T2" fmla="*/ 301 w 478"/>
                <a:gd name="T3" fmla="*/ 42 h 442"/>
                <a:gd name="T4" fmla="*/ 317 w 478"/>
                <a:gd name="T5" fmla="*/ 20 h 442"/>
                <a:gd name="T6" fmla="*/ 331 w 478"/>
                <a:gd name="T7" fmla="*/ 2 h 442"/>
                <a:gd name="T8" fmla="*/ 364 w 478"/>
                <a:gd name="T9" fmla="*/ 4 h 442"/>
                <a:gd name="T10" fmla="*/ 399 w 478"/>
                <a:gd name="T11" fmla="*/ 8 h 442"/>
                <a:gd name="T12" fmla="*/ 432 w 478"/>
                <a:gd name="T13" fmla="*/ 36 h 442"/>
                <a:gd name="T14" fmla="*/ 472 w 478"/>
                <a:gd name="T15" fmla="*/ 79 h 442"/>
                <a:gd name="T16" fmla="*/ 477 w 478"/>
                <a:gd name="T17" fmla="*/ 101 h 442"/>
                <a:gd name="T18" fmla="*/ 461 w 478"/>
                <a:gd name="T19" fmla="*/ 122 h 442"/>
                <a:gd name="T20" fmla="*/ 448 w 478"/>
                <a:gd name="T21" fmla="*/ 160 h 442"/>
                <a:gd name="T22" fmla="*/ 422 w 478"/>
                <a:gd name="T23" fmla="*/ 191 h 442"/>
                <a:gd name="T24" fmla="*/ 397 w 478"/>
                <a:gd name="T25" fmla="*/ 196 h 442"/>
                <a:gd name="T26" fmla="*/ 377 w 478"/>
                <a:gd name="T27" fmla="*/ 212 h 442"/>
                <a:gd name="T28" fmla="*/ 354 w 478"/>
                <a:gd name="T29" fmla="*/ 224 h 442"/>
                <a:gd name="T30" fmla="*/ 331 w 478"/>
                <a:gd name="T31" fmla="*/ 242 h 442"/>
                <a:gd name="T32" fmla="*/ 321 w 478"/>
                <a:gd name="T33" fmla="*/ 260 h 442"/>
                <a:gd name="T34" fmla="*/ 308 w 478"/>
                <a:gd name="T35" fmla="*/ 268 h 442"/>
                <a:gd name="T36" fmla="*/ 312 w 478"/>
                <a:gd name="T37" fmla="*/ 294 h 442"/>
                <a:gd name="T38" fmla="*/ 330 w 478"/>
                <a:gd name="T39" fmla="*/ 306 h 442"/>
                <a:gd name="T40" fmla="*/ 354 w 478"/>
                <a:gd name="T41" fmla="*/ 333 h 442"/>
                <a:gd name="T42" fmla="*/ 357 w 478"/>
                <a:gd name="T43" fmla="*/ 369 h 442"/>
                <a:gd name="T44" fmla="*/ 336 w 478"/>
                <a:gd name="T45" fmla="*/ 374 h 442"/>
                <a:gd name="T46" fmla="*/ 322 w 478"/>
                <a:gd name="T47" fmla="*/ 375 h 442"/>
                <a:gd name="T48" fmla="*/ 298 w 478"/>
                <a:gd name="T49" fmla="*/ 393 h 442"/>
                <a:gd name="T50" fmla="*/ 262 w 478"/>
                <a:gd name="T51" fmla="*/ 410 h 442"/>
                <a:gd name="T52" fmla="*/ 246 w 478"/>
                <a:gd name="T53" fmla="*/ 429 h 442"/>
                <a:gd name="T54" fmla="*/ 219 w 478"/>
                <a:gd name="T55" fmla="*/ 439 h 442"/>
                <a:gd name="T56" fmla="*/ 199 w 478"/>
                <a:gd name="T57" fmla="*/ 439 h 442"/>
                <a:gd name="T58" fmla="*/ 177 w 478"/>
                <a:gd name="T59" fmla="*/ 424 h 442"/>
                <a:gd name="T60" fmla="*/ 149 w 478"/>
                <a:gd name="T61" fmla="*/ 434 h 442"/>
                <a:gd name="T62" fmla="*/ 128 w 478"/>
                <a:gd name="T63" fmla="*/ 432 h 442"/>
                <a:gd name="T64" fmla="*/ 95 w 478"/>
                <a:gd name="T65" fmla="*/ 437 h 442"/>
                <a:gd name="T66" fmla="*/ 71 w 478"/>
                <a:gd name="T67" fmla="*/ 432 h 442"/>
                <a:gd name="T68" fmla="*/ 64 w 478"/>
                <a:gd name="T69" fmla="*/ 411 h 442"/>
                <a:gd name="T70" fmla="*/ 46 w 478"/>
                <a:gd name="T71" fmla="*/ 405 h 442"/>
                <a:gd name="T72" fmla="*/ 23 w 478"/>
                <a:gd name="T73" fmla="*/ 393 h 442"/>
                <a:gd name="T74" fmla="*/ 5 w 478"/>
                <a:gd name="T75" fmla="*/ 388 h 442"/>
                <a:gd name="T76" fmla="*/ 3 w 478"/>
                <a:gd name="T77" fmla="*/ 375 h 442"/>
                <a:gd name="T78" fmla="*/ 27 w 478"/>
                <a:gd name="T79" fmla="*/ 367 h 442"/>
                <a:gd name="T80" fmla="*/ 52 w 478"/>
                <a:gd name="T81" fmla="*/ 347 h 442"/>
                <a:gd name="T82" fmla="*/ 75 w 478"/>
                <a:gd name="T83" fmla="*/ 321 h 442"/>
                <a:gd name="T84" fmla="*/ 96 w 478"/>
                <a:gd name="T85" fmla="*/ 322 h 442"/>
                <a:gd name="T86" fmla="*/ 110 w 478"/>
                <a:gd name="T87" fmla="*/ 314 h 442"/>
                <a:gd name="T88" fmla="*/ 102 w 478"/>
                <a:gd name="T89" fmla="*/ 278 h 442"/>
                <a:gd name="T90" fmla="*/ 112 w 478"/>
                <a:gd name="T91" fmla="*/ 241 h 442"/>
                <a:gd name="T92" fmla="*/ 129 w 478"/>
                <a:gd name="T93" fmla="*/ 231 h 442"/>
                <a:gd name="T94" fmla="*/ 159 w 478"/>
                <a:gd name="T95" fmla="*/ 233 h 442"/>
                <a:gd name="T96" fmla="*/ 186 w 478"/>
                <a:gd name="T97" fmla="*/ 225 h 442"/>
                <a:gd name="T98" fmla="*/ 224 w 478"/>
                <a:gd name="T99" fmla="*/ 206 h 442"/>
                <a:gd name="T100" fmla="*/ 234 w 478"/>
                <a:gd name="T101" fmla="*/ 192 h 442"/>
                <a:gd name="T102" fmla="*/ 236 w 478"/>
                <a:gd name="T103" fmla="*/ 169 h 442"/>
                <a:gd name="T104" fmla="*/ 251 w 478"/>
                <a:gd name="T105" fmla="*/ 135 h 442"/>
                <a:gd name="T106" fmla="*/ 241 w 478"/>
                <a:gd name="T107" fmla="*/ 105 h 442"/>
                <a:gd name="T108" fmla="*/ 232 w 478"/>
                <a:gd name="T109" fmla="*/ 78 h 442"/>
                <a:gd name="T110" fmla="*/ 209 w 478"/>
                <a:gd name="T111" fmla="*/ 71 h 442"/>
                <a:gd name="T112" fmla="*/ 197 w 478"/>
                <a:gd name="T113" fmla="*/ 81 h 442"/>
                <a:gd name="T114" fmla="*/ 191 w 478"/>
                <a:gd name="T115" fmla="*/ 71 h 442"/>
                <a:gd name="T116" fmla="*/ 199 w 478"/>
                <a:gd name="T117" fmla="*/ 39 h 442"/>
                <a:gd name="T118" fmla="*/ 222 w 478"/>
                <a:gd name="T119" fmla="*/ 14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8" h="442">
                  <a:moveTo>
                    <a:pt x="227" y="8"/>
                  </a:moveTo>
                  <a:lnTo>
                    <a:pt x="234" y="10"/>
                  </a:lnTo>
                  <a:lnTo>
                    <a:pt x="240" y="12"/>
                  </a:lnTo>
                  <a:lnTo>
                    <a:pt x="258" y="21"/>
                  </a:lnTo>
                  <a:lnTo>
                    <a:pt x="262" y="23"/>
                  </a:lnTo>
                  <a:lnTo>
                    <a:pt x="267" y="27"/>
                  </a:lnTo>
                  <a:lnTo>
                    <a:pt x="273" y="31"/>
                  </a:lnTo>
                  <a:lnTo>
                    <a:pt x="277" y="33"/>
                  </a:lnTo>
                  <a:lnTo>
                    <a:pt x="283" y="40"/>
                  </a:lnTo>
                  <a:lnTo>
                    <a:pt x="286" y="42"/>
                  </a:lnTo>
                  <a:lnTo>
                    <a:pt x="288" y="43"/>
                  </a:lnTo>
                  <a:lnTo>
                    <a:pt x="289" y="44"/>
                  </a:lnTo>
                  <a:lnTo>
                    <a:pt x="291" y="44"/>
                  </a:lnTo>
                  <a:lnTo>
                    <a:pt x="293" y="44"/>
                  </a:lnTo>
                  <a:lnTo>
                    <a:pt x="295" y="44"/>
                  </a:lnTo>
                  <a:lnTo>
                    <a:pt x="298" y="44"/>
                  </a:lnTo>
                  <a:lnTo>
                    <a:pt x="300" y="43"/>
                  </a:lnTo>
                  <a:lnTo>
                    <a:pt x="301" y="42"/>
                  </a:lnTo>
                  <a:lnTo>
                    <a:pt x="304" y="41"/>
                  </a:lnTo>
                  <a:lnTo>
                    <a:pt x="305" y="40"/>
                  </a:lnTo>
                  <a:lnTo>
                    <a:pt x="307" y="38"/>
                  </a:lnTo>
                  <a:lnTo>
                    <a:pt x="309" y="37"/>
                  </a:lnTo>
                  <a:lnTo>
                    <a:pt x="310" y="35"/>
                  </a:lnTo>
                  <a:lnTo>
                    <a:pt x="311" y="34"/>
                  </a:lnTo>
                  <a:lnTo>
                    <a:pt x="312" y="31"/>
                  </a:lnTo>
                  <a:lnTo>
                    <a:pt x="314" y="28"/>
                  </a:lnTo>
                  <a:lnTo>
                    <a:pt x="317" y="20"/>
                  </a:lnTo>
                  <a:lnTo>
                    <a:pt x="318" y="16"/>
                  </a:lnTo>
                  <a:lnTo>
                    <a:pt x="320" y="12"/>
                  </a:lnTo>
                  <a:lnTo>
                    <a:pt x="322" y="10"/>
                  </a:lnTo>
                  <a:lnTo>
                    <a:pt x="324" y="7"/>
                  </a:lnTo>
                  <a:lnTo>
                    <a:pt x="326" y="5"/>
                  </a:lnTo>
                  <a:lnTo>
                    <a:pt x="327" y="4"/>
                  </a:lnTo>
                  <a:lnTo>
                    <a:pt x="328" y="3"/>
                  </a:lnTo>
                  <a:lnTo>
                    <a:pt x="330" y="2"/>
                  </a:lnTo>
                  <a:lnTo>
                    <a:pt x="331" y="2"/>
                  </a:lnTo>
                  <a:lnTo>
                    <a:pt x="333" y="1"/>
                  </a:lnTo>
                  <a:lnTo>
                    <a:pt x="334" y="1"/>
                  </a:lnTo>
                  <a:lnTo>
                    <a:pt x="337" y="0"/>
                  </a:lnTo>
                  <a:lnTo>
                    <a:pt x="342" y="0"/>
                  </a:lnTo>
                  <a:lnTo>
                    <a:pt x="347" y="0"/>
                  </a:lnTo>
                  <a:lnTo>
                    <a:pt x="351" y="1"/>
                  </a:lnTo>
                  <a:lnTo>
                    <a:pt x="355" y="1"/>
                  </a:lnTo>
                  <a:lnTo>
                    <a:pt x="357" y="2"/>
                  </a:lnTo>
                  <a:lnTo>
                    <a:pt x="364" y="4"/>
                  </a:lnTo>
                  <a:lnTo>
                    <a:pt x="367" y="4"/>
                  </a:lnTo>
                  <a:lnTo>
                    <a:pt x="369" y="5"/>
                  </a:lnTo>
                  <a:lnTo>
                    <a:pt x="372" y="5"/>
                  </a:lnTo>
                  <a:lnTo>
                    <a:pt x="377" y="5"/>
                  </a:lnTo>
                  <a:lnTo>
                    <a:pt x="385" y="5"/>
                  </a:lnTo>
                  <a:lnTo>
                    <a:pt x="389" y="5"/>
                  </a:lnTo>
                  <a:lnTo>
                    <a:pt x="392" y="6"/>
                  </a:lnTo>
                  <a:lnTo>
                    <a:pt x="396" y="7"/>
                  </a:lnTo>
                  <a:lnTo>
                    <a:pt x="399" y="8"/>
                  </a:lnTo>
                  <a:lnTo>
                    <a:pt x="401" y="9"/>
                  </a:lnTo>
                  <a:lnTo>
                    <a:pt x="403" y="10"/>
                  </a:lnTo>
                  <a:lnTo>
                    <a:pt x="405" y="11"/>
                  </a:lnTo>
                  <a:lnTo>
                    <a:pt x="409" y="14"/>
                  </a:lnTo>
                  <a:lnTo>
                    <a:pt x="415" y="20"/>
                  </a:lnTo>
                  <a:lnTo>
                    <a:pt x="420" y="24"/>
                  </a:lnTo>
                  <a:lnTo>
                    <a:pt x="424" y="27"/>
                  </a:lnTo>
                  <a:lnTo>
                    <a:pt x="427" y="31"/>
                  </a:lnTo>
                  <a:lnTo>
                    <a:pt x="432" y="36"/>
                  </a:lnTo>
                  <a:lnTo>
                    <a:pt x="439" y="44"/>
                  </a:lnTo>
                  <a:lnTo>
                    <a:pt x="444" y="50"/>
                  </a:lnTo>
                  <a:lnTo>
                    <a:pt x="448" y="54"/>
                  </a:lnTo>
                  <a:lnTo>
                    <a:pt x="454" y="59"/>
                  </a:lnTo>
                  <a:lnTo>
                    <a:pt x="457" y="62"/>
                  </a:lnTo>
                  <a:lnTo>
                    <a:pt x="463" y="67"/>
                  </a:lnTo>
                  <a:lnTo>
                    <a:pt x="466" y="71"/>
                  </a:lnTo>
                  <a:lnTo>
                    <a:pt x="470" y="75"/>
                  </a:lnTo>
                  <a:lnTo>
                    <a:pt x="472" y="79"/>
                  </a:lnTo>
                  <a:lnTo>
                    <a:pt x="475" y="83"/>
                  </a:lnTo>
                  <a:lnTo>
                    <a:pt x="476" y="87"/>
                  </a:lnTo>
                  <a:lnTo>
                    <a:pt x="477" y="89"/>
                  </a:lnTo>
                  <a:lnTo>
                    <a:pt x="478" y="91"/>
                  </a:lnTo>
                  <a:lnTo>
                    <a:pt x="478" y="93"/>
                  </a:lnTo>
                  <a:lnTo>
                    <a:pt x="478" y="95"/>
                  </a:lnTo>
                  <a:lnTo>
                    <a:pt x="478" y="97"/>
                  </a:lnTo>
                  <a:lnTo>
                    <a:pt x="478" y="99"/>
                  </a:lnTo>
                  <a:lnTo>
                    <a:pt x="477" y="101"/>
                  </a:lnTo>
                  <a:lnTo>
                    <a:pt x="477" y="102"/>
                  </a:lnTo>
                  <a:lnTo>
                    <a:pt x="476" y="103"/>
                  </a:lnTo>
                  <a:lnTo>
                    <a:pt x="475" y="105"/>
                  </a:lnTo>
                  <a:lnTo>
                    <a:pt x="473" y="108"/>
                  </a:lnTo>
                  <a:lnTo>
                    <a:pt x="471" y="112"/>
                  </a:lnTo>
                  <a:lnTo>
                    <a:pt x="465" y="116"/>
                  </a:lnTo>
                  <a:lnTo>
                    <a:pt x="464" y="118"/>
                  </a:lnTo>
                  <a:lnTo>
                    <a:pt x="462" y="120"/>
                  </a:lnTo>
                  <a:lnTo>
                    <a:pt x="461" y="122"/>
                  </a:lnTo>
                  <a:lnTo>
                    <a:pt x="460" y="124"/>
                  </a:lnTo>
                  <a:lnTo>
                    <a:pt x="458" y="132"/>
                  </a:lnTo>
                  <a:lnTo>
                    <a:pt x="457" y="136"/>
                  </a:lnTo>
                  <a:lnTo>
                    <a:pt x="455" y="139"/>
                  </a:lnTo>
                  <a:lnTo>
                    <a:pt x="451" y="146"/>
                  </a:lnTo>
                  <a:lnTo>
                    <a:pt x="449" y="148"/>
                  </a:lnTo>
                  <a:lnTo>
                    <a:pt x="449" y="151"/>
                  </a:lnTo>
                  <a:lnTo>
                    <a:pt x="448" y="157"/>
                  </a:lnTo>
                  <a:lnTo>
                    <a:pt x="448" y="160"/>
                  </a:lnTo>
                  <a:lnTo>
                    <a:pt x="447" y="163"/>
                  </a:lnTo>
                  <a:lnTo>
                    <a:pt x="445" y="166"/>
                  </a:lnTo>
                  <a:lnTo>
                    <a:pt x="443" y="169"/>
                  </a:lnTo>
                  <a:lnTo>
                    <a:pt x="440" y="173"/>
                  </a:lnTo>
                  <a:lnTo>
                    <a:pt x="437" y="176"/>
                  </a:lnTo>
                  <a:lnTo>
                    <a:pt x="429" y="185"/>
                  </a:lnTo>
                  <a:lnTo>
                    <a:pt x="425" y="189"/>
                  </a:lnTo>
                  <a:lnTo>
                    <a:pt x="424" y="191"/>
                  </a:lnTo>
                  <a:lnTo>
                    <a:pt x="422" y="191"/>
                  </a:lnTo>
                  <a:lnTo>
                    <a:pt x="420" y="193"/>
                  </a:lnTo>
                  <a:lnTo>
                    <a:pt x="418" y="194"/>
                  </a:lnTo>
                  <a:lnTo>
                    <a:pt x="416" y="195"/>
                  </a:lnTo>
                  <a:lnTo>
                    <a:pt x="414" y="196"/>
                  </a:lnTo>
                  <a:lnTo>
                    <a:pt x="412" y="196"/>
                  </a:lnTo>
                  <a:lnTo>
                    <a:pt x="409" y="197"/>
                  </a:lnTo>
                  <a:lnTo>
                    <a:pt x="406" y="196"/>
                  </a:lnTo>
                  <a:lnTo>
                    <a:pt x="400" y="196"/>
                  </a:lnTo>
                  <a:lnTo>
                    <a:pt x="397" y="196"/>
                  </a:lnTo>
                  <a:lnTo>
                    <a:pt x="396" y="196"/>
                  </a:lnTo>
                  <a:lnTo>
                    <a:pt x="394" y="196"/>
                  </a:lnTo>
                  <a:lnTo>
                    <a:pt x="392" y="196"/>
                  </a:lnTo>
                  <a:lnTo>
                    <a:pt x="391" y="197"/>
                  </a:lnTo>
                  <a:lnTo>
                    <a:pt x="390" y="198"/>
                  </a:lnTo>
                  <a:lnTo>
                    <a:pt x="389" y="199"/>
                  </a:lnTo>
                  <a:lnTo>
                    <a:pt x="387" y="200"/>
                  </a:lnTo>
                  <a:lnTo>
                    <a:pt x="382" y="205"/>
                  </a:lnTo>
                  <a:lnTo>
                    <a:pt x="377" y="212"/>
                  </a:lnTo>
                  <a:lnTo>
                    <a:pt x="374" y="214"/>
                  </a:lnTo>
                  <a:lnTo>
                    <a:pt x="372" y="215"/>
                  </a:lnTo>
                  <a:lnTo>
                    <a:pt x="370" y="217"/>
                  </a:lnTo>
                  <a:lnTo>
                    <a:pt x="368" y="218"/>
                  </a:lnTo>
                  <a:lnTo>
                    <a:pt x="365" y="219"/>
                  </a:lnTo>
                  <a:lnTo>
                    <a:pt x="360" y="220"/>
                  </a:lnTo>
                  <a:lnTo>
                    <a:pt x="358" y="221"/>
                  </a:lnTo>
                  <a:lnTo>
                    <a:pt x="357" y="222"/>
                  </a:lnTo>
                  <a:lnTo>
                    <a:pt x="354" y="224"/>
                  </a:lnTo>
                  <a:lnTo>
                    <a:pt x="348" y="226"/>
                  </a:lnTo>
                  <a:lnTo>
                    <a:pt x="346" y="227"/>
                  </a:lnTo>
                  <a:lnTo>
                    <a:pt x="345" y="229"/>
                  </a:lnTo>
                  <a:lnTo>
                    <a:pt x="343" y="231"/>
                  </a:lnTo>
                  <a:lnTo>
                    <a:pt x="340" y="235"/>
                  </a:lnTo>
                  <a:lnTo>
                    <a:pt x="338" y="237"/>
                  </a:lnTo>
                  <a:lnTo>
                    <a:pt x="336" y="237"/>
                  </a:lnTo>
                  <a:lnTo>
                    <a:pt x="332" y="240"/>
                  </a:lnTo>
                  <a:lnTo>
                    <a:pt x="331" y="242"/>
                  </a:lnTo>
                  <a:lnTo>
                    <a:pt x="325" y="248"/>
                  </a:lnTo>
                  <a:lnTo>
                    <a:pt x="324" y="248"/>
                  </a:lnTo>
                  <a:lnTo>
                    <a:pt x="324" y="250"/>
                  </a:lnTo>
                  <a:lnTo>
                    <a:pt x="323" y="251"/>
                  </a:lnTo>
                  <a:lnTo>
                    <a:pt x="323" y="255"/>
                  </a:lnTo>
                  <a:lnTo>
                    <a:pt x="323" y="257"/>
                  </a:lnTo>
                  <a:lnTo>
                    <a:pt x="323" y="259"/>
                  </a:lnTo>
                  <a:lnTo>
                    <a:pt x="322" y="259"/>
                  </a:lnTo>
                  <a:lnTo>
                    <a:pt x="321" y="260"/>
                  </a:lnTo>
                  <a:lnTo>
                    <a:pt x="320" y="260"/>
                  </a:lnTo>
                  <a:lnTo>
                    <a:pt x="319" y="261"/>
                  </a:lnTo>
                  <a:lnTo>
                    <a:pt x="316" y="261"/>
                  </a:lnTo>
                  <a:lnTo>
                    <a:pt x="314" y="262"/>
                  </a:lnTo>
                  <a:lnTo>
                    <a:pt x="313" y="262"/>
                  </a:lnTo>
                  <a:lnTo>
                    <a:pt x="311" y="263"/>
                  </a:lnTo>
                  <a:lnTo>
                    <a:pt x="310" y="264"/>
                  </a:lnTo>
                  <a:lnTo>
                    <a:pt x="309" y="266"/>
                  </a:lnTo>
                  <a:lnTo>
                    <a:pt x="308" y="268"/>
                  </a:lnTo>
                  <a:lnTo>
                    <a:pt x="307" y="270"/>
                  </a:lnTo>
                  <a:lnTo>
                    <a:pt x="306" y="272"/>
                  </a:lnTo>
                  <a:lnTo>
                    <a:pt x="305" y="275"/>
                  </a:lnTo>
                  <a:lnTo>
                    <a:pt x="305" y="278"/>
                  </a:lnTo>
                  <a:lnTo>
                    <a:pt x="306" y="281"/>
                  </a:lnTo>
                  <a:lnTo>
                    <a:pt x="306" y="282"/>
                  </a:lnTo>
                  <a:lnTo>
                    <a:pt x="307" y="283"/>
                  </a:lnTo>
                  <a:lnTo>
                    <a:pt x="310" y="290"/>
                  </a:lnTo>
                  <a:lnTo>
                    <a:pt x="312" y="294"/>
                  </a:lnTo>
                  <a:lnTo>
                    <a:pt x="314" y="298"/>
                  </a:lnTo>
                  <a:lnTo>
                    <a:pt x="315" y="299"/>
                  </a:lnTo>
                  <a:lnTo>
                    <a:pt x="316" y="300"/>
                  </a:lnTo>
                  <a:lnTo>
                    <a:pt x="317" y="302"/>
                  </a:lnTo>
                  <a:lnTo>
                    <a:pt x="319" y="303"/>
                  </a:lnTo>
                  <a:lnTo>
                    <a:pt x="320" y="303"/>
                  </a:lnTo>
                  <a:lnTo>
                    <a:pt x="322" y="304"/>
                  </a:lnTo>
                  <a:lnTo>
                    <a:pt x="328" y="305"/>
                  </a:lnTo>
                  <a:lnTo>
                    <a:pt x="330" y="306"/>
                  </a:lnTo>
                  <a:lnTo>
                    <a:pt x="331" y="306"/>
                  </a:lnTo>
                  <a:lnTo>
                    <a:pt x="333" y="308"/>
                  </a:lnTo>
                  <a:lnTo>
                    <a:pt x="335" y="309"/>
                  </a:lnTo>
                  <a:lnTo>
                    <a:pt x="337" y="311"/>
                  </a:lnTo>
                  <a:lnTo>
                    <a:pt x="339" y="313"/>
                  </a:lnTo>
                  <a:lnTo>
                    <a:pt x="341" y="315"/>
                  </a:lnTo>
                  <a:lnTo>
                    <a:pt x="345" y="321"/>
                  </a:lnTo>
                  <a:lnTo>
                    <a:pt x="350" y="329"/>
                  </a:lnTo>
                  <a:lnTo>
                    <a:pt x="354" y="333"/>
                  </a:lnTo>
                  <a:lnTo>
                    <a:pt x="357" y="338"/>
                  </a:lnTo>
                  <a:lnTo>
                    <a:pt x="367" y="356"/>
                  </a:lnTo>
                  <a:lnTo>
                    <a:pt x="367" y="357"/>
                  </a:lnTo>
                  <a:lnTo>
                    <a:pt x="367" y="358"/>
                  </a:lnTo>
                  <a:lnTo>
                    <a:pt x="366" y="359"/>
                  </a:lnTo>
                  <a:lnTo>
                    <a:pt x="365" y="361"/>
                  </a:lnTo>
                  <a:lnTo>
                    <a:pt x="363" y="363"/>
                  </a:lnTo>
                  <a:lnTo>
                    <a:pt x="360" y="366"/>
                  </a:lnTo>
                  <a:lnTo>
                    <a:pt x="357" y="369"/>
                  </a:lnTo>
                  <a:lnTo>
                    <a:pt x="355" y="371"/>
                  </a:lnTo>
                  <a:lnTo>
                    <a:pt x="352" y="373"/>
                  </a:lnTo>
                  <a:lnTo>
                    <a:pt x="350" y="373"/>
                  </a:lnTo>
                  <a:lnTo>
                    <a:pt x="347" y="374"/>
                  </a:lnTo>
                  <a:lnTo>
                    <a:pt x="345" y="375"/>
                  </a:lnTo>
                  <a:lnTo>
                    <a:pt x="342" y="375"/>
                  </a:lnTo>
                  <a:lnTo>
                    <a:pt x="340" y="375"/>
                  </a:lnTo>
                  <a:lnTo>
                    <a:pt x="338" y="374"/>
                  </a:lnTo>
                  <a:lnTo>
                    <a:pt x="336" y="374"/>
                  </a:lnTo>
                  <a:lnTo>
                    <a:pt x="333" y="373"/>
                  </a:lnTo>
                  <a:lnTo>
                    <a:pt x="330" y="372"/>
                  </a:lnTo>
                  <a:lnTo>
                    <a:pt x="329" y="372"/>
                  </a:lnTo>
                  <a:lnTo>
                    <a:pt x="328" y="372"/>
                  </a:lnTo>
                  <a:lnTo>
                    <a:pt x="327" y="373"/>
                  </a:lnTo>
                  <a:lnTo>
                    <a:pt x="326" y="373"/>
                  </a:lnTo>
                  <a:lnTo>
                    <a:pt x="325" y="373"/>
                  </a:lnTo>
                  <a:lnTo>
                    <a:pt x="324" y="373"/>
                  </a:lnTo>
                  <a:lnTo>
                    <a:pt x="322" y="375"/>
                  </a:lnTo>
                  <a:lnTo>
                    <a:pt x="320" y="378"/>
                  </a:lnTo>
                  <a:lnTo>
                    <a:pt x="316" y="383"/>
                  </a:lnTo>
                  <a:lnTo>
                    <a:pt x="314" y="384"/>
                  </a:lnTo>
                  <a:lnTo>
                    <a:pt x="312" y="386"/>
                  </a:lnTo>
                  <a:lnTo>
                    <a:pt x="310" y="388"/>
                  </a:lnTo>
                  <a:lnTo>
                    <a:pt x="307" y="389"/>
                  </a:lnTo>
                  <a:lnTo>
                    <a:pt x="305" y="391"/>
                  </a:lnTo>
                  <a:lnTo>
                    <a:pt x="303" y="391"/>
                  </a:lnTo>
                  <a:lnTo>
                    <a:pt x="298" y="393"/>
                  </a:lnTo>
                  <a:lnTo>
                    <a:pt x="294" y="395"/>
                  </a:lnTo>
                  <a:lnTo>
                    <a:pt x="291" y="395"/>
                  </a:lnTo>
                  <a:lnTo>
                    <a:pt x="285" y="400"/>
                  </a:lnTo>
                  <a:lnTo>
                    <a:pt x="280" y="403"/>
                  </a:lnTo>
                  <a:lnTo>
                    <a:pt x="276" y="405"/>
                  </a:lnTo>
                  <a:lnTo>
                    <a:pt x="269" y="407"/>
                  </a:lnTo>
                  <a:lnTo>
                    <a:pt x="267" y="407"/>
                  </a:lnTo>
                  <a:lnTo>
                    <a:pt x="265" y="408"/>
                  </a:lnTo>
                  <a:lnTo>
                    <a:pt x="262" y="410"/>
                  </a:lnTo>
                  <a:lnTo>
                    <a:pt x="259" y="412"/>
                  </a:lnTo>
                  <a:lnTo>
                    <a:pt x="257" y="413"/>
                  </a:lnTo>
                  <a:lnTo>
                    <a:pt x="255" y="415"/>
                  </a:lnTo>
                  <a:lnTo>
                    <a:pt x="254" y="417"/>
                  </a:lnTo>
                  <a:lnTo>
                    <a:pt x="253" y="418"/>
                  </a:lnTo>
                  <a:lnTo>
                    <a:pt x="252" y="419"/>
                  </a:lnTo>
                  <a:lnTo>
                    <a:pt x="249" y="425"/>
                  </a:lnTo>
                  <a:lnTo>
                    <a:pt x="248" y="427"/>
                  </a:lnTo>
                  <a:lnTo>
                    <a:pt x="246" y="429"/>
                  </a:lnTo>
                  <a:lnTo>
                    <a:pt x="245" y="430"/>
                  </a:lnTo>
                  <a:lnTo>
                    <a:pt x="243" y="432"/>
                  </a:lnTo>
                  <a:lnTo>
                    <a:pt x="242" y="434"/>
                  </a:lnTo>
                  <a:lnTo>
                    <a:pt x="240" y="435"/>
                  </a:lnTo>
                  <a:lnTo>
                    <a:pt x="237" y="436"/>
                  </a:lnTo>
                  <a:lnTo>
                    <a:pt x="234" y="437"/>
                  </a:lnTo>
                  <a:lnTo>
                    <a:pt x="232" y="437"/>
                  </a:lnTo>
                  <a:lnTo>
                    <a:pt x="222" y="439"/>
                  </a:lnTo>
                  <a:lnTo>
                    <a:pt x="219" y="439"/>
                  </a:lnTo>
                  <a:lnTo>
                    <a:pt x="216" y="440"/>
                  </a:lnTo>
                  <a:lnTo>
                    <a:pt x="211" y="441"/>
                  </a:lnTo>
                  <a:lnTo>
                    <a:pt x="209" y="441"/>
                  </a:lnTo>
                  <a:lnTo>
                    <a:pt x="207" y="442"/>
                  </a:lnTo>
                  <a:lnTo>
                    <a:pt x="205" y="441"/>
                  </a:lnTo>
                  <a:lnTo>
                    <a:pt x="204" y="441"/>
                  </a:lnTo>
                  <a:lnTo>
                    <a:pt x="202" y="441"/>
                  </a:lnTo>
                  <a:lnTo>
                    <a:pt x="201" y="440"/>
                  </a:lnTo>
                  <a:lnTo>
                    <a:pt x="199" y="439"/>
                  </a:lnTo>
                  <a:lnTo>
                    <a:pt x="198" y="437"/>
                  </a:lnTo>
                  <a:lnTo>
                    <a:pt x="194" y="431"/>
                  </a:lnTo>
                  <a:lnTo>
                    <a:pt x="192" y="429"/>
                  </a:lnTo>
                  <a:lnTo>
                    <a:pt x="190" y="429"/>
                  </a:lnTo>
                  <a:lnTo>
                    <a:pt x="188" y="427"/>
                  </a:lnTo>
                  <a:lnTo>
                    <a:pt x="186" y="426"/>
                  </a:lnTo>
                  <a:lnTo>
                    <a:pt x="184" y="425"/>
                  </a:lnTo>
                  <a:lnTo>
                    <a:pt x="181" y="424"/>
                  </a:lnTo>
                  <a:lnTo>
                    <a:pt x="177" y="424"/>
                  </a:lnTo>
                  <a:lnTo>
                    <a:pt x="176" y="424"/>
                  </a:lnTo>
                  <a:lnTo>
                    <a:pt x="175" y="424"/>
                  </a:lnTo>
                  <a:lnTo>
                    <a:pt x="173" y="425"/>
                  </a:lnTo>
                  <a:lnTo>
                    <a:pt x="171" y="426"/>
                  </a:lnTo>
                  <a:lnTo>
                    <a:pt x="164" y="429"/>
                  </a:lnTo>
                  <a:lnTo>
                    <a:pt x="162" y="430"/>
                  </a:lnTo>
                  <a:lnTo>
                    <a:pt x="158" y="431"/>
                  </a:lnTo>
                  <a:lnTo>
                    <a:pt x="153" y="433"/>
                  </a:lnTo>
                  <a:lnTo>
                    <a:pt x="149" y="434"/>
                  </a:lnTo>
                  <a:lnTo>
                    <a:pt x="143" y="435"/>
                  </a:lnTo>
                  <a:lnTo>
                    <a:pt x="136" y="436"/>
                  </a:lnTo>
                  <a:lnTo>
                    <a:pt x="133" y="436"/>
                  </a:lnTo>
                  <a:lnTo>
                    <a:pt x="131" y="436"/>
                  </a:lnTo>
                  <a:lnTo>
                    <a:pt x="131" y="435"/>
                  </a:lnTo>
                  <a:lnTo>
                    <a:pt x="130" y="434"/>
                  </a:lnTo>
                  <a:lnTo>
                    <a:pt x="129" y="433"/>
                  </a:lnTo>
                  <a:lnTo>
                    <a:pt x="129" y="433"/>
                  </a:lnTo>
                  <a:lnTo>
                    <a:pt x="128" y="432"/>
                  </a:lnTo>
                  <a:lnTo>
                    <a:pt x="126" y="432"/>
                  </a:lnTo>
                  <a:lnTo>
                    <a:pt x="124" y="432"/>
                  </a:lnTo>
                  <a:lnTo>
                    <a:pt x="122" y="433"/>
                  </a:lnTo>
                  <a:lnTo>
                    <a:pt x="116" y="435"/>
                  </a:lnTo>
                  <a:lnTo>
                    <a:pt x="112" y="436"/>
                  </a:lnTo>
                  <a:lnTo>
                    <a:pt x="108" y="436"/>
                  </a:lnTo>
                  <a:lnTo>
                    <a:pt x="105" y="437"/>
                  </a:lnTo>
                  <a:lnTo>
                    <a:pt x="101" y="437"/>
                  </a:lnTo>
                  <a:lnTo>
                    <a:pt x="95" y="437"/>
                  </a:lnTo>
                  <a:lnTo>
                    <a:pt x="85" y="437"/>
                  </a:lnTo>
                  <a:lnTo>
                    <a:pt x="84" y="437"/>
                  </a:lnTo>
                  <a:lnTo>
                    <a:pt x="82" y="437"/>
                  </a:lnTo>
                  <a:lnTo>
                    <a:pt x="80" y="437"/>
                  </a:lnTo>
                  <a:lnTo>
                    <a:pt x="77" y="436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2" y="433"/>
                  </a:lnTo>
                  <a:lnTo>
                    <a:pt x="71" y="432"/>
                  </a:lnTo>
                  <a:lnTo>
                    <a:pt x="70" y="430"/>
                  </a:lnTo>
                  <a:lnTo>
                    <a:pt x="69" y="429"/>
                  </a:lnTo>
                  <a:lnTo>
                    <a:pt x="68" y="427"/>
                  </a:lnTo>
                  <a:lnTo>
                    <a:pt x="68" y="425"/>
                  </a:lnTo>
                  <a:lnTo>
                    <a:pt x="67" y="419"/>
                  </a:lnTo>
                  <a:lnTo>
                    <a:pt x="67" y="418"/>
                  </a:lnTo>
                  <a:lnTo>
                    <a:pt x="66" y="416"/>
                  </a:lnTo>
                  <a:lnTo>
                    <a:pt x="65" y="413"/>
                  </a:lnTo>
                  <a:lnTo>
                    <a:pt x="64" y="411"/>
                  </a:lnTo>
                  <a:lnTo>
                    <a:pt x="63" y="410"/>
                  </a:lnTo>
                  <a:lnTo>
                    <a:pt x="61" y="408"/>
                  </a:lnTo>
                  <a:lnTo>
                    <a:pt x="60" y="407"/>
                  </a:lnTo>
                  <a:lnTo>
                    <a:pt x="58" y="407"/>
                  </a:lnTo>
                  <a:lnTo>
                    <a:pt x="56" y="407"/>
                  </a:lnTo>
                  <a:lnTo>
                    <a:pt x="54" y="406"/>
                  </a:lnTo>
                  <a:lnTo>
                    <a:pt x="52" y="406"/>
                  </a:lnTo>
                  <a:lnTo>
                    <a:pt x="51" y="405"/>
                  </a:lnTo>
                  <a:lnTo>
                    <a:pt x="46" y="405"/>
                  </a:lnTo>
                  <a:lnTo>
                    <a:pt x="43" y="405"/>
                  </a:lnTo>
                  <a:lnTo>
                    <a:pt x="41" y="405"/>
                  </a:lnTo>
                  <a:lnTo>
                    <a:pt x="39" y="404"/>
                  </a:lnTo>
                  <a:lnTo>
                    <a:pt x="38" y="403"/>
                  </a:lnTo>
                  <a:lnTo>
                    <a:pt x="35" y="401"/>
                  </a:lnTo>
                  <a:lnTo>
                    <a:pt x="29" y="397"/>
                  </a:lnTo>
                  <a:lnTo>
                    <a:pt x="26" y="395"/>
                  </a:lnTo>
                  <a:lnTo>
                    <a:pt x="24" y="394"/>
                  </a:lnTo>
                  <a:lnTo>
                    <a:pt x="23" y="393"/>
                  </a:lnTo>
                  <a:lnTo>
                    <a:pt x="21" y="393"/>
                  </a:lnTo>
                  <a:lnTo>
                    <a:pt x="20" y="393"/>
                  </a:lnTo>
                  <a:lnTo>
                    <a:pt x="16" y="393"/>
                  </a:lnTo>
                  <a:lnTo>
                    <a:pt x="14" y="392"/>
                  </a:lnTo>
                  <a:lnTo>
                    <a:pt x="12" y="392"/>
                  </a:lnTo>
                  <a:lnTo>
                    <a:pt x="10" y="391"/>
                  </a:lnTo>
                  <a:lnTo>
                    <a:pt x="8" y="391"/>
                  </a:lnTo>
                  <a:lnTo>
                    <a:pt x="7" y="390"/>
                  </a:lnTo>
                  <a:lnTo>
                    <a:pt x="5" y="388"/>
                  </a:lnTo>
                  <a:lnTo>
                    <a:pt x="3" y="385"/>
                  </a:lnTo>
                  <a:lnTo>
                    <a:pt x="2" y="384"/>
                  </a:lnTo>
                  <a:lnTo>
                    <a:pt x="1" y="384"/>
                  </a:lnTo>
                  <a:lnTo>
                    <a:pt x="1" y="384"/>
                  </a:lnTo>
                  <a:lnTo>
                    <a:pt x="0" y="382"/>
                  </a:lnTo>
                  <a:lnTo>
                    <a:pt x="0" y="380"/>
                  </a:lnTo>
                  <a:lnTo>
                    <a:pt x="1" y="378"/>
                  </a:lnTo>
                  <a:lnTo>
                    <a:pt x="2" y="377"/>
                  </a:lnTo>
                  <a:lnTo>
                    <a:pt x="3" y="375"/>
                  </a:lnTo>
                  <a:lnTo>
                    <a:pt x="4" y="374"/>
                  </a:lnTo>
                  <a:lnTo>
                    <a:pt x="6" y="373"/>
                  </a:lnTo>
                  <a:lnTo>
                    <a:pt x="7" y="372"/>
                  </a:lnTo>
                  <a:lnTo>
                    <a:pt x="9" y="372"/>
                  </a:lnTo>
                  <a:lnTo>
                    <a:pt x="11" y="371"/>
                  </a:lnTo>
                  <a:lnTo>
                    <a:pt x="13" y="370"/>
                  </a:lnTo>
                  <a:lnTo>
                    <a:pt x="17" y="369"/>
                  </a:lnTo>
                  <a:lnTo>
                    <a:pt x="26" y="368"/>
                  </a:lnTo>
                  <a:lnTo>
                    <a:pt x="27" y="367"/>
                  </a:lnTo>
                  <a:lnTo>
                    <a:pt x="29" y="366"/>
                  </a:lnTo>
                  <a:lnTo>
                    <a:pt x="34" y="364"/>
                  </a:lnTo>
                  <a:lnTo>
                    <a:pt x="38" y="362"/>
                  </a:lnTo>
                  <a:lnTo>
                    <a:pt x="43" y="359"/>
                  </a:lnTo>
                  <a:lnTo>
                    <a:pt x="46" y="357"/>
                  </a:lnTo>
                  <a:lnTo>
                    <a:pt x="48" y="356"/>
                  </a:lnTo>
                  <a:lnTo>
                    <a:pt x="49" y="354"/>
                  </a:lnTo>
                  <a:lnTo>
                    <a:pt x="50" y="351"/>
                  </a:lnTo>
                  <a:lnTo>
                    <a:pt x="52" y="347"/>
                  </a:lnTo>
                  <a:lnTo>
                    <a:pt x="54" y="345"/>
                  </a:lnTo>
                  <a:lnTo>
                    <a:pt x="56" y="343"/>
                  </a:lnTo>
                  <a:lnTo>
                    <a:pt x="61" y="338"/>
                  </a:lnTo>
                  <a:lnTo>
                    <a:pt x="63" y="336"/>
                  </a:lnTo>
                  <a:lnTo>
                    <a:pt x="67" y="331"/>
                  </a:lnTo>
                  <a:lnTo>
                    <a:pt x="71" y="327"/>
                  </a:lnTo>
                  <a:lnTo>
                    <a:pt x="72" y="325"/>
                  </a:lnTo>
                  <a:lnTo>
                    <a:pt x="74" y="322"/>
                  </a:lnTo>
                  <a:lnTo>
                    <a:pt x="75" y="321"/>
                  </a:lnTo>
                  <a:lnTo>
                    <a:pt x="76" y="320"/>
                  </a:lnTo>
                  <a:lnTo>
                    <a:pt x="78" y="320"/>
                  </a:lnTo>
                  <a:lnTo>
                    <a:pt x="79" y="319"/>
                  </a:lnTo>
                  <a:lnTo>
                    <a:pt x="81" y="319"/>
                  </a:lnTo>
                  <a:lnTo>
                    <a:pt x="82" y="319"/>
                  </a:lnTo>
                  <a:lnTo>
                    <a:pt x="84" y="319"/>
                  </a:lnTo>
                  <a:lnTo>
                    <a:pt x="90" y="321"/>
                  </a:lnTo>
                  <a:lnTo>
                    <a:pt x="93" y="321"/>
                  </a:lnTo>
                  <a:lnTo>
                    <a:pt x="96" y="322"/>
                  </a:lnTo>
                  <a:lnTo>
                    <a:pt x="99" y="322"/>
                  </a:lnTo>
                  <a:lnTo>
                    <a:pt x="101" y="321"/>
                  </a:lnTo>
                  <a:lnTo>
                    <a:pt x="103" y="321"/>
                  </a:lnTo>
                  <a:lnTo>
                    <a:pt x="104" y="320"/>
                  </a:lnTo>
                  <a:lnTo>
                    <a:pt x="107" y="318"/>
                  </a:lnTo>
                  <a:lnTo>
                    <a:pt x="107" y="317"/>
                  </a:lnTo>
                  <a:lnTo>
                    <a:pt x="108" y="316"/>
                  </a:lnTo>
                  <a:lnTo>
                    <a:pt x="109" y="316"/>
                  </a:lnTo>
                  <a:lnTo>
                    <a:pt x="110" y="314"/>
                  </a:lnTo>
                  <a:lnTo>
                    <a:pt x="110" y="313"/>
                  </a:lnTo>
                  <a:lnTo>
                    <a:pt x="110" y="311"/>
                  </a:lnTo>
                  <a:lnTo>
                    <a:pt x="109" y="309"/>
                  </a:lnTo>
                  <a:lnTo>
                    <a:pt x="109" y="306"/>
                  </a:lnTo>
                  <a:lnTo>
                    <a:pt x="105" y="293"/>
                  </a:lnTo>
                  <a:lnTo>
                    <a:pt x="104" y="291"/>
                  </a:lnTo>
                  <a:lnTo>
                    <a:pt x="103" y="286"/>
                  </a:lnTo>
                  <a:lnTo>
                    <a:pt x="102" y="282"/>
                  </a:lnTo>
                  <a:lnTo>
                    <a:pt x="102" y="278"/>
                  </a:lnTo>
                  <a:lnTo>
                    <a:pt x="102" y="273"/>
                  </a:lnTo>
                  <a:lnTo>
                    <a:pt x="102" y="268"/>
                  </a:lnTo>
                  <a:lnTo>
                    <a:pt x="103" y="264"/>
                  </a:lnTo>
                  <a:lnTo>
                    <a:pt x="103" y="260"/>
                  </a:lnTo>
                  <a:lnTo>
                    <a:pt x="104" y="256"/>
                  </a:lnTo>
                  <a:lnTo>
                    <a:pt x="105" y="253"/>
                  </a:lnTo>
                  <a:lnTo>
                    <a:pt x="107" y="250"/>
                  </a:lnTo>
                  <a:lnTo>
                    <a:pt x="111" y="243"/>
                  </a:lnTo>
                  <a:lnTo>
                    <a:pt x="112" y="241"/>
                  </a:lnTo>
                  <a:lnTo>
                    <a:pt x="113" y="240"/>
                  </a:lnTo>
                  <a:lnTo>
                    <a:pt x="114" y="239"/>
                  </a:lnTo>
                  <a:lnTo>
                    <a:pt x="120" y="235"/>
                  </a:lnTo>
                  <a:lnTo>
                    <a:pt x="122" y="233"/>
                  </a:lnTo>
                  <a:lnTo>
                    <a:pt x="124" y="232"/>
                  </a:lnTo>
                  <a:lnTo>
                    <a:pt x="125" y="232"/>
                  </a:lnTo>
                  <a:lnTo>
                    <a:pt x="127" y="231"/>
                  </a:lnTo>
                  <a:lnTo>
                    <a:pt x="129" y="231"/>
                  </a:lnTo>
                  <a:lnTo>
                    <a:pt x="129" y="231"/>
                  </a:lnTo>
                  <a:lnTo>
                    <a:pt x="131" y="231"/>
                  </a:lnTo>
                  <a:lnTo>
                    <a:pt x="134" y="231"/>
                  </a:lnTo>
                  <a:lnTo>
                    <a:pt x="137" y="231"/>
                  </a:lnTo>
                  <a:lnTo>
                    <a:pt x="143" y="233"/>
                  </a:lnTo>
                  <a:lnTo>
                    <a:pt x="147" y="234"/>
                  </a:lnTo>
                  <a:lnTo>
                    <a:pt x="151" y="234"/>
                  </a:lnTo>
                  <a:lnTo>
                    <a:pt x="153" y="234"/>
                  </a:lnTo>
                  <a:lnTo>
                    <a:pt x="156" y="234"/>
                  </a:lnTo>
                  <a:lnTo>
                    <a:pt x="159" y="233"/>
                  </a:lnTo>
                  <a:lnTo>
                    <a:pt x="161" y="232"/>
                  </a:lnTo>
                  <a:lnTo>
                    <a:pt x="166" y="230"/>
                  </a:lnTo>
                  <a:lnTo>
                    <a:pt x="168" y="229"/>
                  </a:lnTo>
                  <a:lnTo>
                    <a:pt x="170" y="228"/>
                  </a:lnTo>
                  <a:lnTo>
                    <a:pt x="173" y="228"/>
                  </a:lnTo>
                  <a:lnTo>
                    <a:pt x="181" y="227"/>
                  </a:lnTo>
                  <a:lnTo>
                    <a:pt x="183" y="226"/>
                  </a:lnTo>
                  <a:lnTo>
                    <a:pt x="185" y="226"/>
                  </a:lnTo>
                  <a:lnTo>
                    <a:pt x="186" y="225"/>
                  </a:lnTo>
                  <a:lnTo>
                    <a:pt x="189" y="225"/>
                  </a:lnTo>
                  <a:lnTo>
                    <a:pt x="195" y="222"/>
                  </a:lnTo>
                  <a:lnTo>
                    <a:pt x="198" y="220"/>
                  </a:lnTo>
                  <a:lnTo>
                    <a:pt x="203" y="216"/>
                  </a:lnTo>
                  <a:lnTo>
                    <a:pt x="206" y="214"/>
                  </a:lnTo>
                  <a:lnTo>
                    <a:pt x="209" y="214"/>
                  </a:lnTo>
                  <a:lnTo>
                    <a:pt x="217" y="210"/>
                  </a:lnTo>
                  <a:lnTo>
                    <a:pt x="220" y="209"/>
                  </a:lnTo>
                  <a:lnTo>
                    <a:pt x="224" y="206"/>
                  </a:lnTo>
                  <a:lnTo>
                    <a:pt x="226" y="205"/>
                  </a:lnTo>
                  <a:lnTo>
                    <a:pt x="227" y="204"/>
                  </a:lnTo>
                  <a:lnTo>
                    <a:pt x="229" y="203"/>
                  </a:lnTo>
                  <a:lnTo>
                    <a:pt x="230" y="203"/>
                  </a:lnTo>
                  <a:lnTo>
                    <a:pt x="230" y="201"/>
                  </a:lnTo>
                  <a:lnTo>
                    <a:pt x="232" y="198"/>
                  </a:lnTo>
                  <a:lnTo>
                    <a:pt x="233" y="194"/>
                  </a:lnTo>
                  <a:lnTo>
                    <a:pt x="233" y="193"/>
                  </a:lnTo>
                  <a:lnTo>
                    <a:pt x="234" y="192"/>
                  </a:lnTo>
                  <a:lnTo>
                    <a:pt x="234" y="191"/>
                  </a:lnTo>
                  <a:lnTo>
                    <a:pt x="234" y="189"/>
                  </a:lnTo>
                  <a:lnTo>
                    <a:pt x="233" y="181"/>
                  </a:lnTo>
                  <a:lnTo>
                    <a:pt x="233" y="180"/>
                  </a:lnTo>
                  <a:lnTo>
                    <a:pt x="234" y="176"/>
                  </a:lnTo>
                  <a:lnTo>
                    <a:pt x="234" y="175"/>
                  </a:lnTo>
                  <a:lnTo>
                    <a:pt x="235" y="173"/>
                  </a:lnTo>
                  <a:lnTo>
                    <a:pt x="235" y="171"/>
                  </a:lnTo>
                  <a:lnTo>
                    <a:pt x="236" y="169"/>
                  </a:lnTo>
                  <a:lnTo>
                    <a:pt x="241" y="162"/>
                  </a:lnTo>
                  <a:lnTo>
                    <a:pt x="242" y="160"/>
                  </a:lnTo>
                  <a:lnTo>
                    <a:pt x="243" y="158"/>
                  </a:lnTo>
                  <a:lnTo>
                    <a:pt x="243" y="154"/>
                  </a:lnTo>
                  <a:lnTo>
                    <a:pt x="246" y="147"/>
                  </a:lnTo>
                  <a:lnTo>
                    <a:pt x="249" y="142"/>
                  </a:lnTo>
                  <a:lnTo>
                    <a:pt x="250" y="138"/>
                  </a:lnTo>
                  <a:lnTo>
                    <a:pt x="251" y="136"/>
                  </a:lnTo>
                  <a:lnTo>
                    <a:pt x="251" y="135"/>
                  </a:lnTo>
                  <a:lnTo>
                    <a:pt x="251" y="134"/>
                  </a:lnTo>
                  <a:lnTo>
                    <a:pt x="251" y="131"/>
                  </a:lnTo>
                  <a:lnTo>
                    <a:pt x="250" y="126"/>
                  </a:lnTo>
                  <a:lnTo>
                    <a:pt x="249" y="121"/>
                  </a:lnTo>
                  <a:lnTo>
                    <a:pt x="248" y="120"/>
                  </a:lnTo>
                  <a:lnTo>
                    <a:pt x="247" y="118"/>
                  </a:lnTo>
                  <a:lnTo>
                    <a:pt x="243" y="110"/>
                  </a:lnTo>
                  <a:lnTo>
                    <a:pt x="242" y="107"/>
                  </a:lnTo>
                  <a:lnTo>
                    <a:pt x="241" y="105"/>
                  </a:lnTo>
                  <a:lnTo>
                    <a:pt x="241" y="103"/>
                  </a:lnTo>
                  <a:lnTo>
                    <a:pt x="240" y="101"/>
                  </a:lnTo>
                  <a:lnTo>
                    <a:pt x="239" y="93"/>
                  </a:lnTo>
                  <a:lnTo>
                    <a:pt x="237" y="87"/>
                  </a:lnTo>
                  <a:lnTo>
                    <a:pt x="236" y="84"/>
                  </a:lnTo>
                  <a:lnTo>
                    <a:pt x="236" y="83"/>
                  </a:lnTo>
                  <a:lnTo>
                    <a:pt x="235" y="81"/>
                  </a:lnTo>
                  <a:lnTo>
                    <a:pt x="234" y="79"/>
                  </a:lnTo>
                  <a:lnTo>
                    <a:pt x="232" y="78"/>
                  </a:lnTo>
                  <a:lnTo>
                    <a:pt x="231" y="78"/>
                  </a:lnTo>
                  <a:lnTo>
                    <a:pt x="228" y="76"/>
                  </a:lnTo>
                  <a:lnTo>
                    <a:pt x="224" y="74"/>
                  </a:lnTo>
                  <a:lnTo>
                    <a:pt x="221" y="73"/>
                  </a:lnTo>
                  <a:lnTo>
                    <a:pt x="219" y="72"/>
                  </a:lnTo>
                  <a:lnTo>
                    <a:pt x="216" y="71"/>
                  </a:lnTo>
                  <a:lnTo>
                    <a:pt x="213" y="71"/>
                  </a:lnTo>
                  <a:lnTo>
                    <a:pt x="210" y="71"/>
                  </a:lnTo>
                  <a:lnTo>
                    <a:pt x="209" y="71"/>
                  </a:lnTo>
                  <a:lnTo>
                    <a:pt x="208" y="72"/>
                  </a:lnTo>
                  <a:lnTo>
                    <a:pt x="206" y="72"/>
                  </a:lnTo>
                  <a:lnTo>
                    <a:pt x="205" y="73"/>
                  </a:lnTo>
                  <a:lnTo>
                    <a:pt x="203" y="74"/>
                  </a:lnTo>
                  <a:lnTo>
                    <a:pt x="202" y="76"/>
                  </a:lnTo>
                  <a:lnTo>
                    <a:pt x="200" y="77"/>
                  </a:lnTo>
                  <a:lnTo>
                    <a:pt x="198" y="79"/>
                  </a:lnTo>
                  <a:lnTo>
                    <a:pt x="198" y="80"/>
                  </a:lnTo>
                  <a:lnTo>
                    <a:pt x="197" y="81"/>
                  </a:lnTo>
                  <a:lnTo>
                    <a:pt x="196" y="81"/>
                  </a:lnTo>
                  <a:lnTo>
                    <a:pt x="195" y="80"/>
                  </a:lnTo>
                  <a:lnTo>
                    <a:pt x="194" y="80"/>
                  </a:lnTo>
                  <a:lnTo>
                    <a:pt x="193" y="79"/>
                  </a:lnTo>
                  <a:lnTo>
                    <a:pt x="193" y="78"/>
                  </a:lnTo>
                  <a:lnTo>
                    <a:pt x="192" y="77"/>
                  </a:lnTo>
                  <a:lnTo>
                    <a:pt x="192" y="75"/>
                  </a:lnTo>
                  <a:lnTo>
                    <a:pt x="191" y="73"/>
                  </a:lnTo>
                  <a:lnTo>
                    <a:pt x="191" y="71"/>
                  </a:lnTo>
                  <a:lnTo>
                    <a:pt x="192" y="71"/>
                  </a:lnTo>
                  <a:lnTo>
                    <a:pt x="192" y="69"/>
                  </a:lnTo>
                  <a:lnTo>
                    <a:pt x="193" y="62"/>
                  </a:lnTo>
                  <a:lnTo>
                    <a:pt x="194" y="55"/>
                  </a:lnTo>
                  <a:lnTo>
                    <a:pt x="195" y="52"/>
                  </a:lnTo>
                  <a:lnTo>
                    <a:pt x="196" y="46"/>
                  </a:lnTo>
                  <a:lnTo>
                    <a:pt x="197" y="44"/>
                  </a:lnTo>
                  <a:lnTo>
                    <a:pt x="198" y="42"/>
                  </a:lnTo>
                  <a:lnTo>
                    <a:pt x="199" y="39"/>
                  </a:lnTo>
                  <a:lnTo>
                    <a:pt x="200" y="37"/>
                  </a:lnTo>
                  <a:lnTo>
                    <a:pt x="201" y="35"/>
                  </a:lnTo>
                  <a:lnTo>
                    <a:pt x="211" y="27"/>
                  </a:lnTo>
                  <a:lnTo>
                    <a:pt x="213" y="25"/>
                  </a:lnTo>
                  <a:lnTo>
                    <a:pt x="216" y="21"/>
                  </a:lnTo>
                  <a:lnTo>
                    <a:pt x="219" y="19"/>
                  </a:lnTo>
                  <a:lnTo>
                    <a:pt x="220" y="18"/>
                  </a:lnTo>
                  <a:lnTo>
                    <a:pt x="221" y="16"/>
                  </a:lnTo>
                  <a:lnTo>
                    <a:pt x="222" y="14"/>
                  </a:lnTo>
                  <a:lnTo>
                    <a:pt x="226" y="9"/>
                  </a:lnTo>
                  <a:lnTo>
                    <a:pt x="226" y="8"/>
                  </a:lnTo>
                  <a:lnTo>
                    <a:pt x="227" y="8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2" name="Freeform 49">
              <a:extLst>
                <a:ext uri="{FF2B5EF4-FFF2-40B4-BE49-F238E27FC236}">
                  <a16:creationId xmlns:a16="http://schemas.microsoft.com/office/drawing/2014/main" id="{D9C04AE6-D059-4F14-8B47-6B373B2D3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4" y="1766"/>
              <a:ext cx="467" cy="402"/>
            </a:xfrm>
            <a:custGeom>
              <a:avLst/>
              <a:gdLst>
                <a:gd name="T0" fmla="*/ 283 w 467"/>
                <a:gd name="T1" fmla="*/ 5 h 402"/>
                <a:gd name="T2" fmla="*/ 296 w 467"/>
                <a:gd name="T3" fmla="*/ 19 h 402"/>
                <a:gd name="T4" fmla="*/ 308 w 467"/>
                <a:gd name="T5" fmla="*/ 51 h 402"/>
                <a:gd name="T6" fmla="*/ 324 w 467"/>
                <a:gd name="T7" fmla="*/ 66 h 402"/>
                <a:gd name="T8" fmla="*/ 349 w 467"/>
                <a:gd name="T9" fmla="*/ 72 h 402"/>
                <a:gd name="T10" fmla="*/ 380 w 467"/>
                <a:gd name="T11" fmla="*/ 113 h 402"/>
                <a:gd name="T12" fmla="*/ 419 w 467"/>
                <a:gd name="T13" fmla="*/ 160 h 402"/>
                <a:gd name="T14" fmla="*/ 440 w 467"/>
                <a:gd name="T15" fmla="*/ 181 h 402"/>
                <a:gd name="T16" fmla="*/ 447 w 467"/>
                <a:gd name="T17" fmla="*/ 199 h 402"/>
                <a:gd name="T18" fmla="*/ 453 w 467"/>
                <a:gd name="T19" fmla="*/ 247 h 402"/>
                <a:gd name="T20" fmla="*/ 466 w 467"/>
                <a:gd name="T21" fmla="*/ 275 h 402"/>
                <a:gd name="T22" fmla="*/ 466 w 467"/>
                <a:gd name="T23" fmla="*/ 280 h 402"/>
                <a:gd name="T24" fmla="*/ 439 w 467"/>
                <a:gd name="T25" fmla="*/ 273 h 402"/>
                <a:gd name="T26" fmla="*/ 411 w 467"/>
                <a:gd name="T27" fmla="*/ 258 h 402"/>
                <a:gd name="T28" fmla="*/ 398 w 467"/>
                <a:gd name="T29" fmla="*/ 258 h 402"/>
                <a:gd name="T30" fmla="*/ 387 w 467"/>
                <a:gd name="T31" fmla="*/ 274 h 402"/>
                <a:gd name="T32" fmla="*/ 375 w 467"/>
                <a:gd name="T33" fmla="*/ 290 h 402"/>
                <a:gd name="T34" fmla="*/ 350 w 467"/>
                <a:gd name="T35" fmla="*/ 306 h 402"/>
                <a:gd name="T36" fmla="*/ 317 w 467"/>
                <a:gd name="T37" fmla="*/ 324 h 402"/>
                <a:gd name="T38" fmla="*/ 294 w 467"/>
                <a:gd name="T39" fmla="*/ 341 h 402"/>
                <a:gd name="T40" fmla="*/ 290 w 467"/>
                <a:gd name="T41" fmla="*/ 357 h 402"/>
                <a:gd name="T42" fmla="*/ 277 w 467"/>
                <a:gd name="T43" fmla="*/ 372 h 402"/>
                <a:gd name="T44" fmla="*/ 271 w 467"/>
                <a:gd name="T45" fmla="*/ 382 h 402"/>
                <a:gd name="T46" fmla="*/ 273 w 467"/>
                <a:gd name="T47" fmla="*/ 397 h 402"/>
                <a:gd name="T48" fmla="*/ 263 w 467"/>
                <a:gd name="T49" fmla="*/ 399 h 402"/>
                <a:gd name="T50" fmla="*/ 231 w 467"/>
                <a:gd name="T51" fmla="*/ 398 h 402"/>
                <a:gd name="T52" fmla="*/ 215 w 467"/>
                <a:gd name="T53" fmla="*/ 395 h 402"/>
                <a:gd name="T54" fmla="*/ 200 w 467"/>
                <a:gd name="T55" fmla="*/ 399 h 402"/>
                <a:gd name="T56" fmla="*/ 176 w 467"/>
                <a:gd name="T57" fmla="*/ 400 h 402"/>
                <a:gd name="T58" fmla="*/ 149 w 467"/>
                <a:gd name="T59" fmla="*/ 384 h 402"/>
                <a:gd name="T60" fmla="*/ 133 w 467"/>
                <a:gd name="T61" fmla="*/ 380 h 402"/>
                <a:gd name="T62" fmla="*/ 117 w 467"/>
                <a:gd name="T63" fmla="*/ 363 h 402"/>
                <a:gd name="T64" fmla="*/ 92 w 467"/>
                <a:gd name="T65" fmla="*/ 353 h 402"/>
                <a:gd name="T66" fmla="*/ 81 w 467"/>
                <a:gd name="T67" fmla="*/ 342 h 402"/>
                <a:gd name="T68" fmla="*/ 69 w 467"/>
                <a:gd name="T69" fmla="*/ 325 h 402"/>
                <a:gd name="T70" fmla="*/ 44 w 467"/>
                <a:gd name="T71" fmla="*/ 321 h 402"/>
                <a:gd name="T72" fmla="*/ 35 w 467"/>
                <a:gd name="T73" fmla="*/ 315 h 402"/>
                <a:gd name="T74" fmla="*/ 29 w 467"/>
                <a:gd name="T75" fmla="*/ 288 h 402"/>
                <a:gd name="T76" fmla="*/ 20 w 467"/>
                <a:gd name="T77" fmla="*/ 272 h 402"/>
                <a:gd name="T78" fmla="*/ 21 w 467"/>
                <a:gd name="T79" fmla="*/ 261 h 402"/>
                <a:gd name="T80" fmla="*/ 33 w 467"/>
                <a:gd name="T81" fmla="*/ 251 h 402"/>
                <a:gd name="T82" fmla="*/ 33 w 467"/>
                <a:gd name="T83" fmla="*/ 238 h 402"/>
                <a:gd name="T84" fmla="*/ 41 w 467"/>
                <a:gd name="T85" fmla="*/ 227 h 402"/>
                <a:gd name="T86" fmla="*/ 63 w 467"/>
                <a:gd name="T87" fmla="*/ 215 h 402"/>
                <a:gd name="T88" fmla="*/ 71 w 467"/>
                <a:gd name="T89" fmla="*/ 198 h 402"/>
                <a:gd name="T90" fmla="*/ 67 w 467"/>
                <a:gd name="T91" fmla="*/ 184 h 402"/>
                <a:gd name="T92" fmla="*/ 38 w 467"/>
                <a:gd name="T93" fmla="*/ 151 h 402"/>
                <a:gd name="T94" fmla="*/ 16 w 467"/>
                <a:gd name="T95" fmla="*/ 128 h 402"/>
                <a:gd name="T96" fmla="*/ 18 w 467"/>
                <a:gd name="T97" fmla="*/ 97 h 402"/>
                <a:gd name="T98" fmla="*/ 44 w 467"/>
                <a:gd name="T99" fmla="*/ 87 h 402"/>
                <a:gd name="T100" fmla="*/ 59 w 467"/>
                <a:gd name="T101" fmla="*/ 92 h 402"/>
                <a:gd name="T102" fmla="*/ 73 w 467"/>
                <a:gd name="T103" fmla="*/ 104 h 402"/>
                <a:gd name="T104" fmla="*/ 91 w 467"/>
                <a:gd name="T105" fmla="*/ 102 h 402"/>
                <a:gd name="T106" fmla="*/ 114 w 467"/>
                <a:gd name="T107" fmla="*/ 93 h 402"/>
                <a:gd name="T108" fmla="*/ 124 w 467"/>
                <a:gd name="T109" fmla="*/ 78 h 402"/>
                <a:gd name="T110" fmla="*/ 145 w 467"/>
                <a:gd name="T111" fmla="*/ 68 h 402"/>
                <a:gd name="T112" fmla="*/ 174 w 467"/>
                <a:gd name="T113" fmla="*/ 54 h 402"/>
                <a:gd name="T114" fmla="*/ 191 w 467"/>
                <a:gd name="T115" fmla="*/ 38 h 402"/>
                <a:gd name="T116" fmla="*/ 199 w 467"/>
                <a:gd name="T117" fmla="*/ 35 h 402"/>
                <a:gd name="T118" fmla="*/ 216 w 467"/>
                <a:gd name="T119" fmla="*/ 37 h 402"/>
                <a:gd name="T120" fmla="*/ 234 w 467"/>
                <a:gd name="T121" fmla="*/ 24 h 402"/>
                <a:gd name="T122" fmla="*/ 239 w 467"/>
                <a:gd name="T123" fmla="*/ 17 h 402"/>
                <a:gd name="T124" fmla="*/ 249 w 467"/>
                <a:gd name="T125" fmla="*/ 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7" h="402">
                  <a:moveTo>
                    <a:pt x="256" y="0"/>
                  </a:moveTo>
                  <a:lnTo>
                    <a:pt x="257" y="0"/>
                  </a:lnTo>
                  <a:lnTo>
                    <a:pt x="263" y="1"/>
                  </a:lnTo>
                  <a:lnTo>
                    <a:pt x="270" y="2"/>
                  </a:lnTo>
                  <a:lnTo>
                    <a:pt x="275" y="2"/>
                  </a:lnTo>
                  <a:lnTo>
                    <a:pt x="280" y="3"/>
                  </a:lnTo>
                  <a:lnTo>
                    <a:pt x="283" y="5"/>
                  </a:lnTo>
                  <a:lnTo>
                    <a:pt x="286" y="6"/>
                  </a:lnTo>
                  <a:lnTo>
                    <a:pt x="289" y="8"/>
                  </a:lnTo>
                  <a:lnTo>
                    <a:pt x="291" y="10"/>
                  </a:lnTo>
                  <a:lnTo>
                    <a:pt x="294" y="13"/>
                  </a:lnTo>
                  <a:lnTo>
                    <a:pt x="294" y="14"/>
                  </a:lnTo>
                  <a:lnTo>
                    <a:pt x="295" y="15"/>
                  </a:lnTo>
                  <a:lnTo>
                    <a:pt x="296" y="19"/>
                  </a:lnTo>
                  <a:lnTo>
                    <a:pt x="297" y="24"/>
                  </a:lnTo>
                  <a:lnTo>
                    <a:pt x="300" y="34"/>
                  </a:lnTo>
                  <a:lnTo>
                    <a:pt x="301" y="37"/>
                  </a:lnTo>
                  <a:lnTo>
                    <a:pt x="302" y="40"/>
                  </a:lnTo>
                  <a:lnTo>
                    <a:pt x="304" y="44"/>
                  </a:lnTo>
                  <a:lnTo>
                    <a:pt x="306" y="47"/>
                  </a:lnTo>
                  <a:lnTo>
                    <a:pt x="308" y="51"/>
                  </a:lnTo>
                  <a:lnTo>
                    <a:pt x="311" y="55"/>
                  </a:lnTo>
                  <a:lnTo>
                    <a:pt x="312" y="57"/>
                  </a:lnTo>
                  <a:lnTo>
                    <a:pt x="315" y="59"/>
                  </a:lnTo>
                  <a:lnTo>
                    <a:pt x="317" y="61"/>
                  </a:lnTo>
                  <a:lnTo>
                    <a:pt x="319" y="63"/>
                  </a:lnTo>
                  <a:lnTo>
                    <a:pt x="322" y="65"/>
                  </a:lnTo>
                  <a:lnTo>
                    <a:pt x="324" y="66"/>
                  </a:lnTo>
                  <a:lnTo>
                    <a:pt x="327" y="67"/>
                  </a:lnTo>
                  <a:lnTo>
                    <a:pt x="329" y="68"/>
                  </a:lnTo>
                  <a:lnTo>
                    <a:pt x="339" y="69"/>
                  </a:lnTo>
                  <a:lnTo>
                    <a:pt x="342" y="70"/>
                  </a:lnTo>
                  <a:lnTo>
                    <a:pt x="344" y="70"/>
                  </a:lnTo>
                  <a:lnTo>
                    <a:pt x="347" y="71"/>
                  </a:lnTo>
                  <a:lnTo>
                    <a:pt x="349" y="72"/>
                  </a:lnTo>
                  <a:lnTo>
                    <a:pt x="351" y="74"/>
                  </a:lnTo>
                  <a:lnTo>
                    <a:pt x="354" y="76"/>
                  </a:lnTo>
                  <a:lnTo>
                    <a:pt x="357" y="80"/>
                  </a:lnTo>
                  <a:lnTo>
                    <a:pt x="360" y="82"/>
                  </a:lnTo>
                  <a:lnTo>
                    <a:pt x="371" y="97"/>
                  </a:lnTo>
                  <a:lnTo>
                    <a:pt x="374" y="102"/>
                  </a:lnTo>
                  <a:lnTo>
                    <a:pt x="380" y="113"/>
                  </a:lnTo>
                  <a:lnTo>
                    <a:pt x="387" y="123"/>
                  </a:lnTo>
                  <a:lnTo>
                    <a:pt x="391" y="127"/>
                  </a:lnTo>
                  <a:lnTo>
                    <a:pt x="396" y="134"/>
                  </a:lnTo>
                  <a:lnTo>
                    <a:pt x="400" y="138"/>
                  </a:lnTo>
                  <a:lnTo>
                    <a:pt x="407" y="145"/>
                  </a:lnTo>
                  <a:lnTo>
                    <a:pt x="416" y="156"/>
                  </a:lnTo>
                  <a:lnTo>
                    <a:pt x="419" y="160"/>
                  </a:lnTo>
                  <a:lnTo>
                    <a:pt x="420" y="161"/>
                  </a:lnTo>
                  <a:lnTo>
                    <a:pt x="423" y="163"/>
                  </a:lnTo>
                  <a:lnTo>
                    <a:pt x="430" y="169"/>
                  </a:lnTo>
                  <a:lnTo>
                    <a:pt x="431" y="171"/>
                  </a:lnTo>
                  <a:lnTo>
                    <a:pt x="435" y="174"/>
                  </a:lnTo>
                  <a:lnTo>
                    <a:pt x="438" y="178"/>
                  </a:lnTo>
                  <a:lnTo>
                    <a:pt x="440" y="181"/>
                  </a:lnTo>
                  <a:lnTo>
                    <a:pt x="441" y="183"/>
                  </a:lnTo>
                  <a:lnTo>
                    <a:pt x="442" y="185"/>
                  </a:lnTo>
                  <a:lnTo>
                    <a:pt x="443" y="188"/>
                  </a:lnTo>
                  <a:lnTo>
                    <a:pt x="444" y="190"/>
                  </a:lnTo>
                  <a:lnTo>
                    <a:pt x="445" y="192"/>
                  </a:lnTo>
                  <a:lnTo>
                    <a:pt x="446" y="196"/>
                  </a:lnTo>
                  <a:lnTo>
                    <a:pt x="447" y="199"/>
                  </a:lnTo>
                  <a:lnTo>
                    <a:pt x="448" y="202"/>
                  </a:lnTo>
                  <a:lnTo>
                    <a:pt x="448" y="205"/>
                  </a:lnTo>
                  <a:lnTo>
                    <a:pt x="449" y="217"/>
                  </a:lnTo>
                  <a:lnTo>
                    <a:pt x="450" y="227"/>
                  </a:lnTo>
                  <a:lnTo>
                    <a:pt x="453" y="242"/>
                  </a:lnTo>
                  <a:lnTo>
                    <a:pt x="453" y="244"/>
                  </a:lnTo>
                  <a:lnTo>
                    <a:pt x="453" y="247"/>
                  </a:lnTo>
                  <a:lnTo>
                    <a:pt x="454" y="251"/>
                  </a:lnTo>
                  <a:lnTo>
                    <a:pt x="456" y="255"/>
                  </a:lnTo>
                  <a:lnTo>
                    <a:pt x="459" y="259"/>
                  </a:lnTo>
                  <a:lnTo>
                    <a:pt x="464" y="268"/>
                  </a:lnTo>
                  <a:lnTo>
                    <a:pt x="465" y="271"/>
                  </a:lnTo>
                  <a:lnTo>
                    <a:pt x="465" y="273"/>
                  </a:lnTo>
                  <a:lnTo>
                    <a:pt x="466" y="275"/>
                  </a:lnTo>
                  <a:lnTo>
                    <a:pt x="467" y="277"/>
                  </a:lnTo>
                  <a:lnTo>
                    <a:pt x="467" y="278"/>
                  </a:lnTo>
                  <a:lnTo>
                    <a:pt x="467" y="279"/>
                  </a:lnTo>
                  <a:lnTo>
                    <a:pt x="467" y="280"/>
                  </a:lnTo>
                  <a:lnTo>
                    <a:pt x="466" y="280"/>
                  </a:lnTo>
                  <a:lnTo>
                    <a:pt x="466" y="280"/>
                  </a:lnTo>
                  <a:lnTo>
                    <a:pt x="466" y="280"/>
                  </a:lnTo>
                  <a:lnTo>
                    <a:pt x="465" y="281"/>
                  </a:lnTo>
                  <a:lnTo>
                    <a:pt x="465" y="281"/>
                  </a:lnTo>
                  <a:lnTo>
                    <a:pt x="462" y="280"/>
                  </a:lnTo>
                  <a:lnTo>
                    <a:pt x="458" y="280"/>
                  </a:lnTo>
                  <a:lnTo>
                    <a:pt x="454" y="278"/>
                  </a:lnTo>
                  <a:lnTo>
                    <a:pt x="451" y="277"/>
                  </a:lnTo>
                  <a:lnTo>
                    <a:pt x="439" y="273"/>
                  </a:lnTo>
                  <a:lnTo>
                    <a:pt x="434" y="271"/>
                  </a:lnTo>
                  <a:lnTo>
                    <a:pt x="429" y="268"/>
                  </a:lnTo>
                  <a:lnTo>
                    <a:pt x="424" y="265"/>
                  </a:lnTo>
                  <a:lnTo>
                    <a:pt x="419" y="262"/>
                  </a:lnTo>
                  <a:lnTo>
                    <a:pt x="417" y="261"/>
                  </a:lnTo>
                  <a:lnTo>
                    <a:pt x="414" y="259"/>
                  </a:lnTo>
                  <a:lnTo>
                    <a:pt x="411" y="258"/>
                  </a:lnTo>
                  <a:lnTo>
                    <a:pt x="409" y="257"/>
                  </a:lnTo>
                  <a:lnTo>
                    <a:pt x="407" y="257"/>
                  </a:lnTo>
                  <a:lnTo>
                    <a:pt x="405" y="256"/>
                  </a:lnTo>
                  <a:lnTo>
                    <a:pt x="403" y="256"/>
                  </a:lnTo>
                  <a:lnTo>
                    <a:pt x="402" y="257"/>
                  </a:lnTo>
                  <a:lnTo>
                    <a:pt x="400" y="257"/>
                  </a:lnTo>
                  <a:lnTo>
                    <a:pt x="398" y="258"/>
                  </a:lnTo>
                  <a:lnTo>
                    <a:pt x="397" y="259"/>
                  </a:lnTo>
                  <a:lnTo>
                    <a:pt x="396" y="260"/>
                  </a:lnTo>
                  <a:lnTo>
                    <a:pt x="395" y="261"/>
                  </a:lnTo>
                  <a:lnTo>
                    <a:pt x="393" y="262"/>
                  </a:lnTo>
                  <a:lnTo>
                    <a:pt x="392" y="263"/>
                  </a:lnTo>
                  <a:lnTo>
                    <a:pt x="390" y="267"/>
                  </a:lnTo>
                  <a:lnTo>
                    <a:pt x="387" y="274"/>
                  </a:lnTo>
                  <a:lnTo>
                    <a:pt x="385" y="277"/>
                  </a:lnTo>
                  <a:lnTo>
                    <a:pt x="385" y="280"/>
                  </a:lnTo>
                  <a:lnTo>
                    <a:pt x="383" y="282"/>
                  </a:lnTo>
                  <a:lnTo>
                    <a:pt x="381" y="285"/>
                  </a:lnTo>
                  <a:lnTo>
                    <a:pt x="379" y="286"/>
                  </a:lnTo>
                  <a:lnTo>
                    <a:pt x="377" y="288"/>
                  </a:lnTo>
                  <a:lnTo>
                    <a:pt x="375" y="290"/>
                  </a:lnTo>
                  <a:lnTo>
                    <a:pt x="372" y="293"/>
                  </a:lnTo>
                  <a:lnTo>
                    <a:pt x="368" y="295"/>
                  </a:lnTo>
                  <a:lnTo>
                    <a:pt x="365" y="296"/>
                  </a:lnTo>
                  <a:lnTo>
                    <a:pt x="359" y="299"/>
                  </a:lnTo>
                  <a:lnTo>
                    <a:pt x="354" y="302"/>
                  </a:lnTo>
                  <a:lnTo>
                    <a:pt x="352" y="303"/>
                  </a:lnTo>
                  <a:lnTo>
                    <a:pt x="350" y="306"/>
                  </a:lnTo>
                  <a:lnTo>
                    <a:pt x="348" y="307"/>
                  </a:lnTo>
                  <a:lnTo>
                    <a:pt x="340" y="309"/>
                  </a:lnTo>
                  <a:lnTo>
                    <a:pt x="334" y="313"/>
                  </a:lnTo>
                  <a:lnTo>
                    <a:pt x="328" y="316"/>
                  </a:lnTo>
                  <a:lnTo>
                    <a:pt x="327" y="317"/>
                  </a:lnTo>
                  <a:lnTo>
                    <a:pt x="324" y="319"/>
                  </a:lnTo>
                  <a:lnTo>
                    <a:pt x="317" y="324"/>
                  </a:lnTo>
                  <a:lnTo>
                    <a:pt x="312" y="327"/>
                  </a:lnTo>
                  <a:lnTo>
                    <a:pt x="309" y="329"/>
                  </a:lnTo>
                  <a:lnTo>
                    <a:pt x="303" y="332"/>
                  </a:lnTo>
                  <a:lnTo>
                    <a:pt x="300" y="334"/>
                  </a:lnTo>
                  <a:lnTo>
                    <a:pt x="297" y="336"/>
                  </a:lnTo>
                  <a:lnTo>
                    <a:pt x="295" y="339"/>
                  </a:lnTo>
                  <a:lnTo>
                    <a:pt x="294" y="341"/>
                  </a:lnTo>
                  <a:lnTo>
                    <a:pt x="292" y="342"/>
                  </a:lnTo>
                  <a:lnTo>
                    <a:pt x="291" y="345"/>
                  </a:lnTo>
                  <a:lnTo>
                    <a:pt x="291" y="346"/>
                  </a:lnTo>
                  <a:lnTo>
                    <a:pt x="290" y="348"/>
                  </a:lnTo>
                  <a:lnTo>
                    <a:pt x="290" y="350"/>
                  </a:lnTo>
                  <a:lnTo>
                    <a:pt x="290" y="356"/>
                  </a:lnTo>
                  <a:lnTo>
                    <a:pt x="290" y="357"/>
                  </a:lnTo>
                  <a:lnTo>
                    <a:pt x="289" y="359"/>
                  </a:lnTo>
                  <a:lnTo>
                    <a:pt x="288" y="361"/>
                  </a:lnTo>
                  <a:lnTo>
                    <a:pt x="288" y="363"/>
                  </a:lnTo>
                  <a:lnTo>
                    <a:pt x="286" y="364"/>
                  </a:lnTo>
                  <a:lnTo>
                    <a:pt x="284" y="366"/>
                  </a:lnTo>
                  <a:lnTo>
                    <a:pt x="281" y="369"/>
                  </a:lnTo>
                  <a:lnTo>
                    <a:pt x="277" y="372"/>
                  </a:lnTo>
                  <a:lnTo>
                    <a:pt x="275" y="374"/>
                  </a:lnTo>
                  <a:lnTo>
                    <a:pt x="273" y="376"/>
                  </a:lnTo>
                  <a:lnTo>
                    <a:pt x="273" y="376"/>
                  </a:lnTo>
                  <a:lnTo>
                    <a:pt x="272" y="377"/>
                  </a:lnTo>
                  <a:lnTo>
                    <a:pt x="272" y="378"/>
                  </a:lnTo>
                  <a:lnTo>
                    <a:pt x="271" y="380"/>
                  </a:lnTo>
                  <a:lnTo>
                    <a:pt x="271" y="382"/>
                  </a:lnTo>
                  <a:lnTo>
                    <a:pt x="271" y="383"/>
                  </a:lnTo>
                  <a:lnTo>
                    <a:pt x="271" y="385"/>
                  </a:lnTo>
                  <a:lnTo>
                    <a:pt x="273" y="389"/>
                  </a:lnTo>
                  <a:lnTo>
                    <a:pt x="273" y="392"/>
                  </a:lnTo>
                  <a:lnTo>
                    <a:pt x="274" y="394"/>
                  </a:lnTo>
                  <a:lnTo>
                    <a:pt x="274" y="395"/>
                  </a:lnTo>
                  <a:lnTo>
                    <a:pt x="273" y="397"/>
                  </a:lnTo>
                  <a:lnTo>
                    <a:pt x="273" y="398"/>
                  </a:lnTo>
                  <a:lnTo>
                    <a:pt x="272" y="398"/>
                  </a:lnTo>
                  <a:lnTo>
                    <a:pt x="271" y="398"/>
                  </a:lnTo>
                  <a:lnTo>
                    <a:pt x="270" y="399"/>
                  </a:lnTo>
                  <a:lnTo>
                    <a:pt x="268" y="399"/>
                  </a:lnTo>
                  <a:lnTo>
                    <a:pt x="266" y="399"/>
                  </a:lnTo>
                  <a:lnTo>
                    <a:pt x="263" y="399"/>
                  </a:lnTo>
                  <a:lnTo>
                    <a:pt x="260" y="398"/>
                  </a:lnTo>
                  <a:lnTo>
                    <a:pt x="251" y="397"/>
                  </a:lnTo>
                  <a:lnTo>
                    <a:pt x="249" y="396"/>
                  </a:lnTo>
                  <a:lnTo>
                    <a:pt x="246" y="396"/>
                  </a:lnTo>
                  <a:lnTo>
                    <a:pt x="243" y="396"/>
                  </a:lnTo>
                  <a:lnTo>
                    <a:pt x="238" y="397"/>
                  </a:lnTo>
                  <a:lnTo>
                    <a:pt x="231" y="398"/>
                  </a:lnTo>
                  <a:lnTo>
                    <a:pt x="227" y="398"/>
                  </a:lnTo>
                  <a:lnTo>
                    <a:pt x="225" y="398"/>
                  </a:lnTo>
                  <a:lnTo>
                    <a:pt x="223" y="398"/>
                  </a:lnTo>
                  <a:lnTo>
                    <a:pt x="221" y="398"/>
                  </a:lnTo>
                  <a:lnTo>
                    <a:pt x="219" y="397"/>
                  </a:lnTo>
                  <a:lnTo>
                    <a:pt x="216" y="395"/>
                  </a:lnTo>
                  <a:lnTo>
                    <a:pt x="215" y="395"/>
                  </a:lnTo>
                  <a:lnTo>
                    <a:pt x="214" y="394"/>
                  </a:lnTo>
                  <a:lnTo>
                    <a:pt x="214" y="394"/>
                  </a:lnTo>
                  <a:lnTo>
                    <a:pt x="212" y="394"/>
                  </a:lnTo>
                  <a:lnTo>
                    <a:pt x="211" y="395"/>
                  </a:lnTo>
                  <a:lnTo>
                    <a:pt x="204" y="398"/>
                  </a:lnTo>
                  <a:lnTo>
                    <a:pt x="202" y="398"/>
                  </a:lnTo>
                  <a:lnTo>
                    <a:pt x="200" y="399"/>
                  </a:lnTo>
                  <a:lnTo>
                    <a:pt x="192" y="401"/>
                  </a:lnTo>
                  <a:lnTo>
                    <a:pt x="186" y="402"/>
                  </a:lnTo>
                  <a:lnTo>
                    <a:pt x="183" y="402"/>
                  </a:lnTo>
                  <a:lnTo>
                    <a:pt x="180" y="402"/>
                  </a:lnTo>
                  <a:lnTo>
                    <a:pt x="179" y="402"/>
                  </a:lnTo>
                  <a:lnTo>
                    <a:pt x="177" y="401"/>
                  </a:lnTo>
                  <a:lnTo>
                    <a:pt x="176" y="400"/>
                  </a:lnTo>
                  <a:lnTo>
                    <a:pt x="174" y="399"/>
                  </a:lnTo>
                  <a:lnTo>
                    <a:pt x="170" y="398"/>
                  </a:lnTo>
                  <a:lnTo>
                    <a:pt x="163" y="391"/>
                  </a:lnTo>
                  <a:lnTo>
                    <a:pt x="160" y="389"/>
                  </a:lnTo>
                  <a:lnTo>
                    <a:pt x="157" y="387"/>
                  </a:lnTo>
                  <a:lnTo>
                    <a:pt x="153" y="385"/>
                  </a:lnTo>
                  <a:lnTo>
                    <a:pt x="149" y="384"/>
                  </a:lnTo>
                  <a:lnTo>
                    <a:pt x="146" y="382"/>
                  </a:lnTo>
                  <a:lnTo>
                    <a:pt x="142" y="381"/>
                  </a:lnTo>
                  <a:lnTo>
                    <a:pt x="138" y="380"/>
                  </a:lnTo>
                  <a:lnTo>
                    <a:pt x="136" y="379"/>
                  </a:lnTo>
                  <a:lnTo>
                    <a:pt x="135" y="379"/>
                  </a:lnTo>
                  <a:lnTo>
                    <a:pt x="134" y="379"/>
                  </a:lnTo>
                  <a:lnTo>
                    <a:pt x="133" y="380"/>
                  </a:lnTo>
                  <a:lnTo>
                    <a:pt x="133" y="380"/>
                  </a:lnTo>
                  <a:lnTo>
                    <a:pt x="133" y="380"/>
                  </a:lnTo>
                  <a:lnTo>
                    <a:pt x="131" y="378"/>
                  </a:lnTo>
                  <a:lnTo>
                    <a:pt x="125" y="371"/>
                  </a:lnTo>
                  <a:lnTo>
                    <a:pt x="122" y="367"/>
                  </a:lnTo>
                  <a:lnTo>
                    <a:pt x="119" y="364"/>
                  </a:lnTo>
                  <a:lnTo>
                    <a:pt x="117" y="363"/>
                  </a:lnTo>
                  <a:lnTo>
                    <a:pt x="115" y="362"/>
                  </a:lnTo>
                  <a:lnTo>
                    <a:pt x="112" y="359"/>
                  </a:lnTo>
                  <a:lnTo>
                    <a:pt x="108" y="358"/>
                  </a:lnTo>
                  <a:lnTo>
                    <a:pt x="106" y="357"/>
                  </a:lnTo>
                  <a:lnTo>
                    <a:pt x="101" y="355"/>
                  </a:lnTo>
                  <a:lnTo>
                    <a:pt x="98" y="354"/>
                  </a:lnTo>
                  <a:lnTo>
                    <a:pt x="92" y="353"/>
                  </a:lnTo>
                  <a:lnTo>
                    <a:pt x="90" y="352"/>
                  </a:lnTo>
                  <a:lnTo>
                    <a:pt x="89" y="351"/>
                  </a:lnTo>
                  <a:lnTo>
                    <a:pt x="88" y="350"/>
                  </a:lnTo>
                  <a:lnTo>
                    <a:pt x="87" y="349"/>
                  </a:lnTo>
                  <a:lnTo>
                    <a:pt x="85" y="347"/>
                  </a:lnTo>
                  <a:lnTo>
                    <a:pt x="83" y="344"/>
                  </a:lnTo>
                  <a:lnTo>
                    <a:pt x="81" y="342"/>
                  </a:lnTo>
                  <a:lnTo>
                    <a:pt x="78" y="335"/>
                  </a:lnTo>
                  <a:lnTo>
                    <a:pt x="76" y="331"/>
                  </a:lnTo>
                  <a:lnTo>
                    <a:pt x="74" y="330"/>
                  </a:lnTo>
                  <a:lnTo>
                    <a:pt x="73" y="328"/>
                  </a:lnTo>
                  <a:lnTo>
                    <a:pt x="72" y="327"/>
                  </a:lnTo>
                  <a:lnTo>
                    <a:pt x="71" y="326"/>
                  </a:lnTo>
                  <a:lnTo>
                    <a:pt x="69" y="325"/>
                  </a:lnTo>
                  <a:lnTo>
                    <a:pt x="67" y="325"/>
                  </a:lnTo>
                  <a:lnTo>
                    <a:pt x="66" y="324"/>
                  </a:lnTo>
                  <a:lnTo>
                    <a:pt x="64" y="323"/>
                  </a:lnTo>
                  <a:lnTo>
                    <a:pt x="59" y="323"/>
                  </a:lnTo>
                  <a:lnTo>
                    <a:pt x="49" y="322"/>
                  </a:lnTo>
                  <a:lnTo>
                    <a:pt x="45" y="321"/>
                  </a:lnTo>
                  <a:lnTo>
                    <a:pt x="44" y="321"/>
                  </a:lnTo>
                  <a:lnTo>
                    <a:pt x="43" y="320"/>
                  </a:lnTo>
                  <a:lnTo>
                    <a:pt x="41" y="319"/>
                  </a:lnTo>
                  <a:lnTo>
                    <a:pt x="39" y="319"/>
                  </a:lnTo>
                  <a:lnTo>
                    <a:pt x="38" y="318"/>
                  </a:lnTo>
                  <a:lnTo>
                    <a:pt x="37" y="317"/>
                  </a:lnTo>
                  <a:lnTo>
                    <a:pt x="36" y="316"/>
                  </a:lnTo>
                  <a:lnTo>
                    <a:pt x="35" y="315"/>
                  </a:lnTo>
                  <a:lnTo>
                    <a:pt x="34" y="313"/>
                  </a:lnTo>
                  <a:lnTo>
                    <a:pt x="33" y="310"/>
                  </a:lnTo>
                  <a:lnTo>
                    <a:pt x="33" y="307"/>
                  </a:lnTo>
                  <a:lnTo>
                    <a:pt x="32" y="298"/>
                  </a:lnTo>
                  <a:lnTo>
                    <a:pt x="31" y="295"/>
                  </a:lnTo>
                  <a:lnTo>
                    <a:pt x="30" y="291"/>
                  </a:lnTo>
                  <a:lnTo>
                    <a:pt x="29" y="288"/>
                  </a:lnTo>
                  <a:lnTo>
                    <a:pt x="28" y="286"/>
                  </a:lnTo>
                  <a:lnTo>
                    <a:pt x="27" y="284"/>
                  </a:lnTo>
                  <a:lnTo>
                    <a:pt x="26" y="282"/>
                  </a:lnTo>
                  <a:lnTo>
                    <a:pt x="22" y="277"/>
                  </a:lnTo>
                  <a:lnTo>
                    <a:pt x="21" y="275"/>
                  </a:lnTo>
                  <a:lnTo>
                    <a:pt x="21" y="274"/>
                  </a:lnTo>
                  <a:lnTo>
                    <a:pt x="20" y="272"/>
                  </a:lnTo>
                  <a:lnTo>
                    <a:pt x="20" y="271"/>
                  </a:lnTo>
                  <a:lnTo>
                    <a:pt x="20" y="270"/>
                  </a:lnTo>
                  <a:lnTo>
                    <a:pt x="20" y="269"/>
                  </a:lnTo>
                  <a:lnTo>
                    <a:pt x="20" y="267"/>
                  </a:lnTo>
                  <a:lnTo>
                    <a:pt x="20" y="264"/>
                  </a:lnTo>
                  <a:lnTo>
                    <a:pt x="21" y="262"/>
                  </a:lnTo>
                  <a:lnTo>
                    <a:pt x="21" y="261"/>
                  </a:lnTo>
                  <a:lnTo>
                    <a:pt x="21" y="259"/>
                  </a:lnTo>
                  <a:lnTo>
                    <a:pt x="22" y="258"/>
                  </a:lnTo>
                  <a:lnTo>
                    <a:pt x="22" y="257"/>
                  </a:lnTo>
                  <a:lnTo>
                    <a:pt x="24" y="255"/>
                  </a:lnTo>
                  <a:lnTo>
                    <a:pt x="26" y="253"/>
                  </a:lnTo>
                  <a:lnTo>
                    <a:pt x="29" y="252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4" y="250"/>
                  </a:lnTo>
                  <a:lnTo>
                    <a:pt x="34" y="249"/>
                  </a:lnTo>
                  <a:lnTo>
                    <a:pt x="34" y="248"/>
                  </a:lnTo>
                  <a:lnTo>
                    <a:pt x="33" y="242"/>
                  </a:lnTo>
                  <a:lnTo>
                    <a:pt x="33" y="240"/>
                  </a:lnTo>
                  <a:lnTo>
                    <a:pt x="33" y="238"/>
                  </a:lnTo>
                  <a:lnTo>
                    <a:pt x="34" y="236"/>
                  </a:lnTo>
                  <a:lnTo>
                    <a:pt x="34" y="234"/>
                  </a:lnTo>
                  <a:lnTo>
                    <a:pt x="35" y="233"/>
                  </a:lnTo>
                  <a:lnTo>
                    <a:pt x="36" y="231"/>
                  </a:lnTo>
                  <a:lnTo>
                    <a:pt x="38" y="229"/>
                  </a:lnTo>
                  <a:lnTo>
                    <a:pt x="39" y="228"/>
                  </a:lnTo>
                  <a:lnTo>
                    <a:pt x="41" y="227"/>
                  </a:lnTo>
                  <a:lnTo>
                    <a:pt x="43" y="225"/>
                  </a:lnTo>
                  <a:lnTo>
                    <a:pt x="44" y="224"/>
                  </a:lnTo>
                  <a:lnTo>
                    <a:pt x="46" y="223"/>
                  </a:lnTo>
                  <a:lnTo>
                    <a:pt x="55" y="220"/>
                  </a:lnTo>
                  <a:lnTo>
                    <a:pt x="58" y="218"/>
                  </a:lnTo>
                  <a:lnTo>
                    <a:pt x="60" y="217"/>
                  </a:lnTo>
                  <a:lnTo>
                    <a:pt x="63" y="215"/>
                  </a:lnTo>
                  <a:lnTo>
                    <a:pt x="64" y="215"/>
                  </a:lnTo>
                  <a:lnTo>
                    <a:pt x="66" y="212"/>
                  </a:lnTo>
                  <a:lnTo>
                    <a:pt x="67" y="210"/>
                  </a:lnTo>
                  <a:lnTo>
                    <a:pt x="67" y="207"/>
                  </a:lnTo>
                  <a:lnTo>
                    <a:pt x="70" y="202"/>
                  </a:lnTo>
                  <a:lnTo>
                    <a:pt x="70" y="200"/>
                  </a:lnTo>
                  <a:lnTo>
                    <a:pt x="71" y="198"/>
                  </a:lnTo>
                  <a:lnTo>
                    <a:pt x="71" y="196"/>
                  </a:lnTo>
                  <a:lnTo>
                    <a:pt x="71" y="194"/>
                  </a:lnTo>
                  <a:lnTo>
                    <a:pt x="70" y="192"/>
                  </a:lnTo>
                  <a:lnTo>
                    <a:pt x="70" y="190"/>
                  </a:lnTo>
                  <a:lnTo>
                    <a:pt x="69" y="188"/>
                  </a:lnTo>
                  <a:lnTo>
                    <a:pt x="68" y="186"/>
                  </a:lnTo>
                  <a:lnTo>
                    <a:pt x="67" y="184"/>
                  </a:lnTo>
                  <a:lnTo>
                    <a:pt x="64" y="181"/>
                  </a:lnTo>
                  <a:lnTo>
                    <a:pt x="59" y="175"/>
                  </a:lnTo>
                  <a:lnTo>
                    <a:pt x="56" y="172"/>
                  </a:lnTo>
                  <a:lnTo>
                    <a:pt x="52" y="168"/>
                  </a:lnTo>
                  <a:lnTo>
                    <a:pt x="49" y="164"/>
                  </a:lnTo>
                  <a:lnTo>
                    <a:pt x="42" y="157"/>
                  </a:lnTo>
                  <a:lnTo>
                    <a:pt x="38" y="151"/>
                  </a:lnTo>
                  <a:lnTo>
                    <a:pt x="36" y="149"/>
                  </a:lnTo>
                  <a:lnTo>
                    <a:pt x="33" y="146"/>
                  </a:lnTo>
                  <a:lnTo>
                    <a:pt x="26" y="140"/>
                  </a:lnTo>
                  <a:lnTo>
                    <a:pt x="24" y="138"/>
                  </a:lnTo>
                  <a:lnTo>
                    <a:pt x="21" y="136"/>
                  </a:lnTo>
                  <a:lnTo>
                    <a:pt x="19" y="132"/>
                  </a:lnTo>
                  <a:lnTo>
                    <a:pt x="16" y="128"/>
                  </a:lnTo>
                  <a:lnTo>
                    <a:pt x="13" y="123"/>
                  </a:lnTo>
                  <a:lnTo>
                    <a:pt x="5" y="108"/>
                  </a:lnTo>
                  <a:lnTo>
                    <a:pt x="0" y="99"/>
                  </a:lnTo>
                  <a:lnTo>
                    <a:pt x="2" y="99"/>
                  </a:lnTo>
                  <a:lnTo>
                    <a:pt x="5" y="99"/>
                  </a:lnTo>
                  <a:lnTo>
                    <a:pt x="12" y="98"/>
                  </a:lnTo>
                  <a:lnTo>
                    <a:pt x="18" y="97"/>
                  </a:lnTo>
                  <a:lnTo>
                    <a:pt x="22" y="96"/>
                  </a:lnTo>
                  <a:lnTo>
                    <a:pt x="27" y="94"/>
                  </a:lnTo>
                  <a:lnTo>
                    <a:pt x="31" y="93"/>
                  </a:lnTo>
                  <a:lnTo>
                    <a:pt x="33" y="92"/>
                  </a:lnTo>
                  <a:lnTo>
                    <a:pt x="40" y="89"/>
                  </a:lnTo>
                  <a:lnTo>
                    <a:pt x="42" y="88"/>
                  </a:lnTo>
                  <a:lnTo>
                    <a:pt x="44" y="87"/>
                  </a:lnTo>
                  <a:lnTo>
                    <a:pt x="45" y="87"/>
                  </a:lnTo>
                  <a:lnTo>
                    <a:pt x="46" y="87"/>
                  </a:lnTo>
                  <a:lnTo>
                    <a:pt x="50" y="87"/>
                  </a:lnTo>
                  <a:lnTo>
                    <a:pt x="53" y="88"/>
                  </a:lnTo>
                  <a:lnTo>
                    <a:pt x="55" y="89"/>
                  </a:lnTo>
                  <a:lnTo>
                    <a:pt x="57" y="90"/>
                  </a:lnTo>
                  <a:lnTo>
                    <a:pt x="59" y="92"/>
                  </a:lnTo>
                  <a:lnTo>
                    <a:pt x="61" y="92"/>
                  </a:lnTo>
                  <a:lnTo>
                    <a:pt x="63" y="94"/>
                  </a:lnTo>
                  <a:lnTo>
                    <a:pt x="67" y="100"/>
                  </a:lnTo>
                  <a:lnTo>
                    <a:pt x="68" y="102"/>
                  </a:lnTo>
                  <a:lnTo>
                    <a:pt x="70" y="103"/>
                  </a:lnTo>
                  <a:lnTo>
                    <a:pt x="71" y="104"/>
                  </a:lnTo>
                  <a:lnTo>
                    <a:pt x="73" y="104"/>
                  </a:lnTo>
                  <a:lnTo>
                    <a:pt x="74" y="104"/>
                  </a:lnTo>
                  <a:lnTo>
                    <a:pt x="76" y="105"/>
                  </a:lnTo>
                  <a:lnTo>
                    <a:pt x="78" y="104"/>
                  </a:lnTo>
                  <a:lnTo>
                    <a:pt x="80" y="104"/>
                  </a:lnTo>
                  <a:lnTo>
                    <a:pt x="85" y="103"/>
                  </a:lnTo>
                  <a:lnTo>
                    <a:pt x="88" y="102"/>
                  </a:lnTo>
                  <a:lnTo>
                    <a:pt x="91" y="102"/>
                  </a:lnTo>
                  <a:lnTo>
                    <a:pt x="101" y="100"/>
                  </a:lnTo>
                  <a:lnTo>
                    <a:pt x="103" y="100"/>
                  </a:lnTo>
                  <a:lnTo>
                    <a:pt x="106" y="99"/>
                  </a:lnTo>
                  <a:lnTo>
                    <a:pt x="109" y="98"/>
                  </a:lnTo>
                  <a:lnTo>
                    <a:pt x="111" y="97"/>
                  </a:lnTo>
                  <a:lnTo>
                    <a:pt x="112" y="95"/>
                  </a:lnTo>
                  <a:lnTo>
                    <a:pt x="114" y="93"/>
                  </a:lnTo>
                  <a:lnTo>
                    <a:pt x="115" y="92"/>
                  </a:lnTo>
                  <a:lnTo>
                    <a:pt x="117" y="90"/>
                  </a:lnTo>
                  <a:lnTo>
                    <a:pt x="118" y="88"/>
                  </a:lnTo>
                  <a:lnTo>
                    <a:pt x="121" y="82"/>
                  </a:lnTo>
                  <a:lnTo>
                    <a:pt x="122" y="81"/>
                  </a:lnTo>
                  <a:lnTo>
                    <a:pt x="123" y="80"/>
                  </a:lnTo>
                  <a:lnTo>
                    <a:pt x="124" y="78"/>
                  </a:lnTo>
                  <a:lnTo>
                    <a:pt x="126" y="76"/>
                  </a:lnTo>
                  <a:lnTo>
                    <a:pt x="128" y="75"/>
                  </a:lnTo>
                  <a:lnTo>
                    <a:pt x="131" y="73"/>
                  </a:lnTo>
                  <a:lnTo>
                    <a:pt x="134" y="71"/>
                  </a:lnTo>
                  <a:lnTo>
                    <a:pt x="136" y="70"/>
                  </a:lnTo>
                  <a:lnTo>
                    <a:pt x="138" y="70"/>
                  </a:lnTo>
                  <a:lnTo>
                    <a:pt x="145" y="68"/>
                  </a:lnTo>
                  <a:lnTo>
                    <a:pt x="149" y="66"/>
                  </a:lnTo>
                  <a:lnTo>
                    <a:pt x="154" y="63"/>
                  </a:lnTo>
                  <a:lnTo>
                    <a:pt x="160" y="58"/>
                  </a:lnTo>
                  <a:lnTo>
                    <a:pt x="163" y="58"/>
                  </a:lnTo>
                  <a:lnTo>
                    <a:pt x="167" y="56"/>
                  </a:lnTo>
                  <a:lnTo>
                    <a:pt x="172" y="54"/>
                  </a:lnTo>
                  <a:lnTo>
                    <a:pt x="174" y="54"/>
                  </a:lnTo>
                  <a:lnTo>
                    <a:pt x="176" y="52"/>
                  </a:lnTo>
                  <a:lnTo>
                    <a:pt x="179" y="51"/>
                  </a:lnTo>
                  <a:lnTo>
                    <a:pt x="181" y="49"/>
                  </a:lnTo>
                  <a:lnTo>
                    <a:pt x="183" y="47"/>
                  </a:lnTo>
                  <a:lnTo>
                    <a:pt x="185" y="46"/>
                  </a:lnTo>
                  <a:lnTo>
                    <a:pt x="189" y="41"/>
                  </a:lnTo>
                  <a:lnTo>
                    <a:pt x="191" y="38"/>
                  </a:lnTo>
                  <a:lnTo>
                    <a:pt x="193" y="36"/>
                  </a:lnTo>
                  <a:lnTo>
                    <a:pt x="194" y="36"/>
                  </a:lnTo>
                  <a:lnTo>
                    <a:pt x="195" y="36"/>
                  </a:lnTo>
                  <a:lnTo>
                    <a:pt x="196" y="36"/>
                  </a:lnTo>
                  <a:lnTo>
                    <a:pt x="197" y="35"/>
                  </a:lnTo>
                  <a:lnTo>
                    <a:pt x="198" y="35"/>
                  </a:lnTo>
                  <a:lnTo>
                    <a:pt x="199" y="35"/>
                  </a:lnTo>
                  <a:lnTo>
                    <a:pt x="202" y="36"/>
                  </a:lnTo>
                  <a:lnTo>
                    <a:pt x="205" y="37"/>
                  </a:lnTo>
                  <a:lnTo>
                    <a:pt x="207" y="37"/>
                  </a:lnTo>
                  <a:lnTo>
                    <a:pt x="209" y="38"/>
                  </a:lnTo>
                  <a:lnTo>
                    <a:pt x="211" y="38"/>
                  </a:lnTo>
                  <a:lnTo>
                    <a:pt x="214" y="38"/>
                  </a:lnTo>
                  <a:lnTo>
                    <a:pt x="216" y="37"/>
                  </a:lnTo>
                  <a:lnTo>
                    <a:pt x="219" y="36"/>
                  </a:lnTo>
                  <a:lnTo>
                    <a:pt x="221" y="36"/>
                  </a:lnTo>
                  <a:lnTo>
                    <a:pt x="224" y="34"/>
                  </a:lnTo>
                  <a:lnTo>
                    <a:pt x="226" y="32"/>
                  </a:lnTo>
                  <a:lnTo>
                    <a:pt x="229" y="29"/>
                  </a:lnTo>
                  <a:lnTo>
                    <a:pt x="232" y="26"/>
                  </a:lnTo>
                  <a:lnTo>
                    <a:pt x="234" y="24"/>
                  </a:lnTo>
                  <a:lnTo>
                    <a:pt x="235" y="22"/>
                  </a:lnTo>
                  <a:lnTo>
                    <a:pt x="236" y="21"/>
                  </a:lnTo>
                  <a:lnTo>
                    <a:pt x="236" y="20"/>
                  </a:lnTo>
                  <a:lnTo>
                    <a:pt x="236" y="19"/>
                  </a:lnTo>
                  <a:lnTo>
                    <a:pt x="236" y="19"/>
                  </a:lnTo>
                  <a:lnTo>
                    <a:pt x="237" y="18"/>
                  </a:lnTo>
                  <a:lnTo>
                    <a:pt x="239" y="17"/>
                  </a:lnTo>
                  <a:lnTo>
                    <a:pt x="241" y="16"/>
                  </a:lnTo>
                  <a:lnTo>
                    <a:pt x="243" y="14"/>
                  </a:lnTo>
                  <a:lnTo>
                    <a:pt x="244" y="13"/>
                  </a:lnTo>
                  <a:lnTo>
                    <a:pt x="244" y="11"/>
                  </a:lnTo>
                  <a:lnTo>
                    <a:pt x="245" y="9"/>
                  </a:lnTo>
                  <a:lnTo>
                    <a:pt x="248" y="4"/>
                  </a:lnTo>
                  <a:lnTo>
                    <a:pt x="249" y="2"/>
                  </a:lnTo>
                  <a:lnTo>
                    <a:pt x="249" y="2"/>
                  </a:lnTo>
                  <a:lnTo>
                    <a:pt x="250" y="1"/>
                  </a:lnTo>
                  <a:lnTo>
                    <a:pt x="251" y="1"/>
                  </a:lnTo>
                  <a:lnTo>
                    <a:pt x="253" y="0"/>
                  </a:lnTo>
                  <a:lnTo>
                    <a:pt x="256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3" name="Freeform 50">
              <a:extLst>
                <a:ext uri="{FF2B5EF4-FFF2-40B4-BE49-F238E27FC236}">
                  <a16:creationId xmlns:a16="http://schemas.microsoft.com/office/drawing/2014/main" id="{F85E5B78-C302-43D3-8293-3B5573A91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1" y="1303"/>
              <a:ext cx="453" cy="520"/>
            </a:xfrm>
            <a:custGeom>
              <a:avLst/>
              <a:gdLst>
                <a:gd name="T0" fmla="*/ 48 w 453"/>
                <a:gd name="T1" fmla="*/ 6 h 520"/>
                <a:gd name="T2" fmla="*/ 93 w 453"/>
                <a:gd name="T3" fmla="*/ 25 h 520"/>
                <a:gd name="T4" fmla="*/ 123 w 453"/>
                <a:gd name="T5" fmla="*/ 43 h 520"/>
                <a:gd name="T6" fmla="*/ 154 w 453"/>
                <a:gd name="T7" fmla="*/ 46 h 520"/>
                <a:gd name="T8" fmla="*/ 202 w 453"/>
                <a:gd name="T9" fmla="*/ 34 h 520"/>
                <a:gd name="T10" fmla="*/ 218 w 453"/>
                <a:gd name="T11" fmla="*/ 42 h 520"/>
                <a:gd name="T12" fmla="*/ 237 w 453"/>
                <a:gd name="T13" fmla="*/ 87 h 520"/>
                <a:gd name="T14" fmla="*/ 256 w 453"/>
                <a:gd name="T15" fmla="*/ 120 h 520"/>
                <a:gd name="T16" fmla="*/ 287 w 453"/>
                <a:gd name="T17" fmla="*/ 113 h 520"/>
                <a:gd name="T18" fmla="*/ 318 w 453"/>
                <a:gd name="T19" fmla="*/ 105 h 520"/>
                <a:gd name="T20" fmla="*/ 335 w 453"/>
                <a:gd name="T21" fmla="*/ 110 h 520"/>
                <a:gd name="T22" fmla="*/ 347 w 453"/>
                <a:gd name="T23" fmla="*/ 125 h 520"/>
                <a:gd name="T24" fmla="*/ 358 w 453"/>
                <a:gd name="T25" fmla="*/ 171 h 520"/>
                <a:gd name="T26" fmla="*/ 350 w 453"/>
                <a:gd name="T27" fmla="*/ 192 h 520"/>
                <a:gd name="T28" fmla="*/ 360 w 453"/>
                <a:gd name="T29" fmla="*/ 202 h 520"/>
                <a:gd name="T30" fmla="*/ 379 w 453"/>
                <a:gd name="T31" fmla="*/ 201 h 520"/>
                <a:gd name="T32" fmla="*/ 394 w 453"/>
                <a:gd name="T33" fmla="*/ 203 h 520"/>
                <a:gd name="T34" fmla="*/ 400 w 453"/>
                <a:gd name="T35" fmla="*/ 205 h 520"/>
                <a:gd name="T36" fmla="*/ 412 w 453"/>
                <a:gd name="T37" fmla="*/ 197 h 520"/>
                <a:gd name="T38" fmla="*/ 434 w 453"/>
                <a:gd name="T39" fmla="*/ 204 h 520"/>
                <a:gd name="T40" fmla="*/ 443 w 453"/>
                <a:gd name="T41" fmla="*/ 229 h 520"/>
                <a:gd name="T42" fmla="*/ 453 w 453"/>
                <a:gd name="T43" fmla="*/ 257 h 520"/>
                <a:gd name="T44" fmla="*/ 445 w 453"/>
                <a:gd name="T45" fmla="*/ 284 h 520"/>
                <a:gd name="T46" fmla="*/ 435 w 453"/>
                <a:gd name="T47" fmla="*/ 306 h 520"/>
                <a:gd name="T48" fmla="*/ 432 w 453"/>
                <a:gd name="T49" fmla="*/ 327 h 520"/>
                <a:gd name="T50" fmla="*/ 411 w 453"/>
                <a:gd name="T51" fmla="*/ 340 h 520"/>
                <a:gd name="T52" fmla="*/ 385 w 453"/>
                <a:gd name="T53" fmla="*/ 352 h 520"/>
                <a:gd name="T54" fmla="*/ 358 w 453"/>
                <a:gd name="T55" fmla="*/ 360 h 520"/>
                <a:gd name="T56" fmla="*/ 331 w 453"/>
                <a:gd name="T57" fmla="*/ 357 h 520"/>
                <a:gd name="T58" fmla="*/ 315 w 453"/>
                <a:gd name="T59" fmla="*/ 366 h 520"/>
                <a:gd name="T60" fmla="*/ 304 w 453"/>
                <a:gd name="T61" fmla="*/ 394 h 520"/>
                <a:gd name="T62" fmla="*/ 311 w 453"/>
                <a:gd name="T63" fmla="*/ 435 h 520"/>
                <a:gd name="T64" fmla="*/ 306 w 453"/>
                <a:gd name="T65" fmla="*/ 446 h 520"/>
                <a:gd name="T66" fmla="*/ 284 w 453"/>
                <a:gd name="T67" fmla="*/ 445 h 520"/>
                <a:gd name="T68" fmla="*/ 273 w 453"/>
                <a:gd name="T69" fmla="*/ 453 h 520"/>
                <a:gd name="T70" fmla="*/ 251 w 453"/>
                <a:gd name="T71" fmla="*/ 480 h 520"/>
                <a:gd name="T72" fmla="*/ 228 w 453"/>
                <a:gd name="T73" fmla="*/ 494 h 520"/>
                <a:gd name="T74" fmla="*/ 205 w 453"/>
                <a:gd name="T75" fmla="*/ 501 h 520"/>
                <a:gd name="T76" fmla="*/ 203 w 453"/>
                <a:gd name="T77" fmla="*/ 510 h 520"/>
                <a:gd name="T78" fmla="*/ 195 w 453"/>
                <a:gd name="T79" fmla="*/ 510 h 520"/>
                <a:gd name="T80" fmla="*/ 181 w 453"/>
                <a:gd name="T81" fmla="*/ 510 h 520"/>
                <a:gd name="T82" fmla="*/ 159 w 453"/>
                <a:gd name="T83" fmla="*/ 519 h 520"/>
                <a:gd name="T84" fmla="*/ 149 w 453"/>
                <a:gd name="T85" fmla="*/ 494 h 520"/>
                <a:gd name="T86" fmla="*/ 143 w 453"/>
                <a:gd name="T87" fmla="*/ 462 h 520"/>
                <a:gd name="T88" fmla="*/ 140 w 453"/>
                <a:gd name="T89" fmla="*/ 442 h 520"/>
                <a:gd name="T90" fmla="*/ 118 w 453"/>
                <a:gd name="T91" fmla="*/ 410 h 520"/>
                <a:gd name="T92" fmla="*/ 103 w 453"/>
                <a:gd name="T93" fmla="*/ 391 h 520"/>
                <a:gd name="T94" fmla="*/ 88 w 453"/>
                <a:gd name="T95" fmla="*/ 374 h 520"/>
                <a:gd name="T96" fmla="*/ 89 w 453"/>
                <a:gd name="T97" fmla="*/ 352 h 520"/>
                <a:gd name="T98" fmla="*/ 80 w 453"/>
                <a:gd name="T99" fmla="*/ 338 h 520"/>
                <a:gd name="T100" fmla="*/ 41 w 453"/>
                <a:gd name="T101" fmla="*/ 315 h 520"/>
                <a:gd name="T102" fmla="*/ 65 w 453"/>
                <a:gd name="T103" fmla="*/ 303 h 520"/>
                <a:gd name="T104" fmla="*/ 70 w 453"/>
                <a:gd name="T105" fmla="*/ 294 h 520"/>
                <a:gd name="T106" fmla="*/ 50 w 453"/>
                <a:gd name="T107" fmla="*/ 263 h 520"/>
                <a:gd name="T108" fmla="*/ 36 w 453"/>
                <a:gd name="T109" fmla="*/ 232 h 520"/>
                <a:gd name="T110" fmla="*/ 43 w 453"/>
                <a:gd name="T111" fmla="*/ 202 h 520"/>
                <a:gd name="T112" fmla="*/ 40 w 453"/>
                <a:gd name="T113" fmla="*/ 185 h 520"/>
                <a:gd name="T114" fmla="*/ 31 w 453"/>
                <a:gd name="T115" fmla="*/ 153 h 520"/>
                <a:gd name="T116" fmla="*/ 24 w 453"/>
                <a:gd name="T117" fmla="*/ 113 h 520"/>
                <a:gd name="T118" fmla="*/ 24 w 453"/>
                <a:gd name="T119" fmla="*/ 55 h 520"/>
                <a:gd name="T120" fmla="*/ 8 w 453"/>
                <a:gd name="T121" fmla="*/ 23 h 520"/>
                <a:gd name="T122" fmla="*/ 0 w 453"/>
                <a:gd name="T123" fmla="*/ 1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3" h="520">
                  <a:moveTo>
                    <a:pt x="2" y="0"/>
                  </a:moveTo>
                  <a:lnTo>
                    <a:pt x="3" y="0"/>
                  </a:lnTo>
                  <a:lnTo>
                    <a:pt x="24" y="2"/>
                  </a:lnTo>
                  <a:lnTo>
                    <a:pt x="29" y="2"/>
                  </a:lnTo>
                  <a:lnTo>
                    <a:pt x="34" y="3"/>
                  </a:lnTo>
                  <a:lnTo>
                    <a:pt x="39" y="4"/>
                  </a:lnTo>
                  <a:lnTo>
                    <a:pt x="45" y="5"/>
                  </a:lnTo>
                  <a:lnTo>
                    <a:pt x="48" y="6"/>
                  </a:lnTo>
                  <a:lnTo>
                    <a:pt x="51" y="7"/>
                  </a:lnTo>
                  <a:lnTo>
                    <a:pt x="55" y="8"/>
                  </a:lnTo>
                  <a:lnTo>
                    <a:pt x="58" y="10"/>
                  </a:lnTo>
                  <a:lnTo>
                    <a:pt x="60" y="11"/>
                  </a:lnTo>
                  <a:lnTo>
                    <a:pt x="67" y="15"/>
                  </a:lnTo>
                  <a:lnTo>
                    <a:pt x="73" y="18"/>
                  </a:lnTo>
                  <a:lnTo>
                    <a:pt x="81" y="21"/>
                  </a:lnTo>
                  <a:lnTo>
                    <a:pt x="93" y="25"/>
                  </a:lnTo>
                  <a:lnTo>
                    <a:pt x="96" y="27"/>
                  </a:lnTo>
                  <a:lnTo>
                    <a:pt x="100" y="29"/>
                  </a:lnTo>
                  <a:lnTo>
                    <a:pt x="104" y="31"/>
                  </a:lnTo>
                  <a:lnTo>
                    <a:pt x="106" y="33"/>
                  </a:lnTo>
                  <a:lnTo>
                    <a:pt x="109" y="34"/>
                  </a:lnTo>
                  <a:lnTo>
                    <a:pt x="118" y="41"/>
                  </a:lnTo>
                  <a:lnTo>
                    <a:pt x="120" y="42"/>
                  </a:lnTo>
                  <a:lnTo>
                    <a:pt x="123" y="43"/>
                  </a:lnTo>
                  <a:lnTo>
                    <a:pt x="126" y="45"/>
                  </a:lnTo>
                  <a:lnTo>
                    <a:pt x="128" y="45"/>
                  </a:lnTo>
                  <a:lnTo>
                    <a:pt x="131" y="45"/>
                  </a:lnTo>
                  <a:lnTo>
                    <a:pt x="133" y="46"/>
                  </a:lnTo>
                  <a:lnTo>
                    <a:pt x="138" y="46"/>
                  </a:lnTo>
                  <a:lnTo>
                    <a:pt x="144" y="47"/>
                  </a:lnTo>
                  <a:lnTo>
                    <a:pt x="150" y="47"/>
                  </a:lnTo>
                  <a:lnTo>
                    <a:pt x="154" y="46"/>
                  </a:lnTo>
                  <a:lnTo>
                    <a:pt x="157" y="46"/>
                  </a:lnTo>
                  <a:lnTo>
                    <a:pt x="161" y="45"/>
                  </a:lnTo>
                  <a:lnTo>
                    <a:pt x="180" y="40"/>
                  </a:lnTo>
                  <a:lnTo>
                    <a:pt x="184" y="38"/>
                  </a:lnTo>
                  <a:lnTo>
                    <a:pt x="193" y="35"/>
                  </a:lnTo>
                  <a:lnTo>
                    <a:pt x="196" y="34"/>
                  </a:lnTo>
                  <a:lnTo>
                    <a:pt x="200" y="34"/>
                  </a:lnTo>
                  <a:lnTo>
                    <a:pt x="202" y="34"/>
                  </a:lnTo>
                  <a:lnTo>
                    <a:pt x="205" y="34"/>
                  </a:lnTo>
                  <a:lnTo>
                    <a:pt x="206" y="34"/>
                  </a:lnTo>
                  <a:lnTo>
                    <a:pt x="207" y="34"/>
                  </a:lnTo>
                  <a:lnTo>
                    <a:pt x="210" y="34"/>
                  </a:lnTo>
                  <a:lnTo>
                    <a:pt x="211" y="35"/>
                  </a:lnTo>
                  <a:lnTo>
                    <a:pt x="213" y="37"/>
                  </a:lnTo>
                  <a:lnTo>
                    <a:pt x="215" y="39"/>
                  </a:lnTo>
                  <a:lnTo>
                    <a:pt x="218" y="42"/>
                  </a:lnTo>
                  <a:lnTo>
                    <a:pt x="218" y="44"/>
                  </a:lnTo>
                  <a:lnTo>
                    <a:pt x="219" y="45"/>
                  </a:lnTo>
                  <a:lnTo>
                    <a:pt x="220" y="47"/>
                  </a:lnTo>
                  <a:lnTo>
                    <a:pt x="221" y="50"/>
                  </a:lnTo>
                  <a:lnTo>
                    <a:pt x="225" y="61"/>
                  </a:lnTo>
                  <a:lnTo>
                    <a:pt x="227" y="66"/>
                  </a:lnTo>
                  <a:lnTo>
                    <a:pt x="229" y="72"/>
                  </a:lnTo>
                  <a:lnTo>
                    <a:pt x="237" y="87"/>
                  </a:lnTo>
                  <a:lnTo>
                    <a:pt x="245" y="107"/>
                  </a:lnTo>
                  <a:lnTo>
                    <a:pt x="247" y="111"/>
                  </a:lnTo>
                  <a:lnTo>
                    <a:pt x="249" y="113"/>
                  </a:lnTo>
                  <a:lnTo>
                    <a:pt x="250" y="115"/>
                  </a:lnTo>
                  <a:lnTo>
                    <a:pt x="252" y="117"/>
                  </a:lnTo>
                  <a:lnTo>
                    <a:pt x="252" y="118"/>
                  </a:lnTo>
                  <a:lnTo>
                    <a:pt x="254" y="119"/>
                  </a:lnTo>
                  <a:lnTo>
                    <a:pt x="256" y="120"/>
                  </a:lnTo>
                  <a:lnTo>
                    <a:pt x="258" y="121"/>
                  </a:lnTo>
                  <a:lnTo>
                    <a:pt x="260" y="121"/>
                  </a:lnTo>
                  <a:lnTo>
                    <a:pt x="262" y="121"/>
                  </a:lnTo>
                  <a:lnTo>
                    <a:pt x="263" y="121"/>
                  </a:lnTo>
                  <a:lnTo>
                    <a:pt x="265" y="121"/>
                  </a:lnTo>
                  <a:lnTo>
                    <a:pt x="270" y="120"/>
                  </a:lnTo>
                  <a:lnTo>
                    <a:pt x="275" y="118"/>
                  </a:lnTo>
                  <a:lnTo>
                    <a:pt x="287" y="113"/>
                  </a:lnTo>
                  <a:lnTo>
                    <a:pt x="294" y="112"/>
                  </a:lnTo>
                  <a:lnTo>
                    <a:pt x="300" y="109"/>
                  </a:lnTo>
                  <a:lnTo>
                    <a:pt x="304" y="108"/>
                  </a:lnTo>
                  <a:lnTo>
                    <a:pt x="307" y="107"/>
                  </a:lnTo>
                  <a:lnTo>
                    <a:pt x="310" y="106"/>
                  </a:lnTo>
                  <a:lnTo>
                    <a:pt x="313" y="105"/>
                  </a:lnTo>
                  <a:lnTo>
                    <a:pt x="316" y="105"/>
                  </a:lnTo>
                  <a:lnTo>
                    <a:pt x="318" y="105"/>
                  </a:lnTo>
                  <a:lnTo>
                    <a:pt x="320" y="105"/>
                  </a:lnTo>
                  <a:lnTo>
                    <a:pt x="323" y="105"/>
                  </a:lnTo>
                  <a:lnTo>
                    <a:pt x="325" y="105"/>
                  </a:lnTo>
                  <a:lnTo>
                    <a:pt x="327" y="106"/>
                  </a:lnTo>
                  <a:lnTo>
                    <a:pt x="329" y="106"/>
                  </a:lnTo>
                  <a:lnTo>
                    <a:pt x="331" y="107"/>
                  </a:lnTo>
                  <a:lnTo>
                    <a:pt x="333" y="109"/>
                  </a:lnTo>
                  <a:lnTo>
                    <a:pt x="335" y="110"/>
                  </a:lnTo>
                  <a:lnTo>
                    <a:pt x="337" y="111"/>
                  </a:lnTo>
                  <a:lnTo>
                    <a:pt x="339" y="113"/>
                  </a:lnTo>
                  <a:lnTo>
                    <a:pt x="340" y="113"/>
                  </a:lnTo>
                  <a:lnTo>
                    <a:pt x="342" y="115"/>
                  </a:lnTo>
                  <a:lnTo>
                    <a:pt x="343" y="117"/>
                  </a:lnTo>
                  <a:lnTo>
                    <a:pt x="344" y="120"/>
                  </a:lnTo>
                  <a:lnTo>
                    <a:pt x="346" y="123"/>
                  </a:lnTo>
                  <a:lnTo>
                    <a:pt x="347" y="125"/>
                  </a:lnTo>
                  <a:lnTo>
                    <a:pt x="348" y="126"/>
                  </a:lnTo>
                  <a:lnTo>
                    <a:pt x="350" y="132"/>
                  </a:lnTo>
                  <a:lnTo>
                    <a:pt x="352" y="138"/>
                  </a:lnTo>
                  <a:lnTo>
                    <a:pt x="354" y="145"/>
                  </a:lnTo>
                  <a:lnTo>
                    <a:pt x="355" y="155"/>
                  </a:lnTo>
                  <a:lnTo>
                    <a:pt x="358" y="168"/>
                  </a:lnTo>
                  <a:lnTo>
                    <a:pt x="358" y="170"/>
                  </a:lnTo>
                  <a:lnTo>
                    <a:pt x="358" y="171"/>
                  </a:lnTo>
                  <a:lnTo>
                    <a:pt x="358" y="173"/>
                  </a:lnTo>
                  <a:lnTo>
                    <a:pt x="358" y="174"/>
                  </a:lnTo>
                  <a:lnTo>
                    <a:pt x="357" y="177"/>
                  </a:lnTo>
                  <a:lnTo>
                    <a:pt x="355" y="179"/>
                  </a:lnTo>
                  <a:lnTo>
                    <a:pt x="352" y="185"/>
                  </a:lnTo>
                  <a:lnTo>
                    <a:pt x="351" y="188"/>
                  </a:lnTo>
                  <a:lnTo>
                    <a:pt x="350" y="190"/>
                  </a:lnTo>
                  <a:lnTo>
                    <a:pt x="350" y="192"/>
                  </a:lnTo>
                  <a:lnTo>
                    <a:pt x="350" y="193"/>
                  </a:lnTo>
                  <a:lnTo>
                    <a:pt x="351" y="194"/>
                  </a:lnTo>
                  <a:lnTo>
                    <a:pt x="352" y="196"/>
                  </a:lnTo>
                  <a:lnTo>
                    <a:pt x="353" y="198"/>
                  </a:lnTo>
                  <a:lnTo>
                    <a:pt x="354" y="199"/>
                  </a:lnTo>
                  <a:lnTo>
                    <a:pt x="355" y="201"/>
                  </a:lnTo>
                  <a:lnTo>
                    <a:pt x="357" y="202"/>
                  </a:lnTo>
                  <a:lnTo>
                    <a:pt x="360" y="202"/>
                  </a:lnTo>
                  <a:lnTo>
                    <a:pt x="363" y="203"/>
                  </a:lnTo>
                  <a:lnTo>
                    <a:pt x="366" y="204"/>
                  </a:lnTo>
                  <a:lnTo>
                    <a:pt x="367" y="204"/>
                  </a:lnTo>
                  <a:lnTo>
                    <a:pt x="369" y="204"/>
                  </a:lnTo>
                  <a:lnTo>
                    <a:pt x="372" y="204"/>
                  </a:lnTo>
                  <a:lnTo>
                    <a:pt x="374" y="203"/>
                  </a:lnTo>
                  <a:lnTo>
                    <a:pt x="376" y="203"/>
                  </a:lnTo>
                  <a:lnTo>
                    <a:pt x="379" y="201"/>
                  </a:lnTo>
                  <a:lnTo>
                    <a:pt x="387" y="198"/>
                  </a:lnTo>
                  <a:lnTo>
                    <a:pt x="390" y="197"/>
                  </a:lnTo>
                  <a:lnTo>
                    <a:pt x="391" y="197"/>
                  </a:lnTo>
                  <a:lnTo>
                    <a:pt x="392" y="197"/>
                  </a:lnTo>
                  <a:lnTo>
                    <a:pt x="393" y="197"/>
                  </a:lnTo>
                  <a:lnTo>
                    <a:pt x="393" y="199"/>
                  </a:lnTo>
                  <a:lnTo>
                    <a:pt x="394" y="201"/>
                  </a:lnTo>
                  <a:lnTo>
                    <a:pt x="394" y="203"/>
                  </a:lnTo>
                  <a:lnTo>
                    <a:pt x="395" y="204"/>
                  </a:lnTo>
                  <a:lnTo>
                    <a:pt x="395" y="205"/>
                  </a:lnTo>
                  <a:lnTo>
                    <a:pt x="396" y="206"/>
                  </a:lnTo>
                  <a:lnTo>
                    <a:pt x="397" y="206"/>
                  </a:lnTo>
                  <a:lnTo>
                    <a:pt x="398" y="207"/>
                  </a:lnTo>
                  <a:lnTo>
                    <a:pt x="399" y="207"/>
                  </a:lnTo>
                  <a:lnTo>
                    <a:pt x="400" y="206"/>
                  </a:lnTo>
                  <a:lnTo>
                    <a:pt x="400" y="205"/>
                  </a:lnTo>
                  <a:lnTo>
                    <a:pt x="402" y="203"/>
                  </a:lnTo>
                  <a:lnTo>
                    <a:pt x="404" y="202"/>
                  </a:lnTo>
                  <a:lnTo>
                    <a:pt x="405" y="200"/>
                  </a:lnTo>
                  <a:lnTo>
                    <a:pt x="407" y="199"/>
                  </a:lnTo>
                  <a:lnTo>
                    <a:pt x="408" y="198"/>
                  </a:lnTo>
                  <a:lnTo>
                    <a:pt x="410" y="198"/>
                  </a:lnTo>
                  <a:lnTo>
                    <a:pt x="411" y="197"/>
                  </a:lnTo>
                  <a:lnTo>
                    <a:pt x="412" y="197"/>
                  </a:lnTo>
                  <a:lnTo>
                    <a:pt x="415" y="197"/>
                  </a:lnTo>
                  <a:lnTo>
                    <a:pt x="418" y="197"/>
                  </a:lnTo>
                  <a:lnTo>
                    <a:pt x="421" y="198"/>
                  </a:lnTo>
                  <a:lnTo>
                    <a:pt x="423" y="199"/>
                  </a:lnTo>
                  <a:lnTo>
                    <a:pt x="426" y="200"/>
                  </a:lnTo>
                  <a:lnTo>
                    <a:pt x="430" y="202"/>
                  </a:lnTo>
                  <a:lnTo>
                    <a:pt x="433" y="204"/>
                  </a:lnTo>
                  <a:lnTo>
                    <a:pt x="434" y="204"/>
                  </a:lnTo>
                  <a:lnTo>
                    <a:pt x="436" y="205"/>
                  </a:lnTo>
                  <a:lnTo>
                    <a:pt x="437" y="207"/>
                  </a:lnTo>
                  <a:lnTo>
                    <a:pt x="438" y="209"/>
                  </a:lnTo>
                  <a:lnTo>
                    <a:pt x="438" y="210"/>
                  </a:lnTo>
                  <a:lnTo>
                    <a:pt x="439" y="213"/>
                  </a:lnTo>
                  <a:lnTo>
                    <a:pt x="441" y="219"/>
                  </a:lnTo>
                  <a:lnTo>
                    <a:pt x="442" y="227"/>
                  </a:lnTo>
                  <a:lnTo>
                    <a:pt x="443" y="229"/>
                  </a:lnTo>
                  <a:lnTo>
                    <a:pt x="443" y="231"/>
                  </a:lnTo>
                  <a:lnTo>
                    <a:pt x="444" y="233"/>
                  </a:lnTo>
                  <a:lnTo>
                    <a:pt x="445" y="236"/>
                  </a:lnTo>
                  <a:lnTo>
                    <a:pt x="449" y="244"/>
                  </a:lnTo>
                  <a:lnTo>
                    <a:pt x="450" y="246"/>
                  </a:lnTo>
                  <a:lnTo>
                    <a:pt x="451" y="247"/>
                  </a:lnTo>
                  <a:lnTo>
                    <a:pt x="452" y="252"/>
                  </a:lnTo>
                  <a:lnTo>
                    <a:pt x="453" y="257"/>
                  </a:lnTo>
                  <a:lnTo>
                    <a:pt x="453" y="260"/>
                  </a:lnTo>
                  <a:lnTo>
                    <a:pt x="453" y="261"/>
                  </a:lnTo>
                  <a:lnTo>
                    <a:pt x="453" y="262"/>
                  </a:lnTo>
                  <a:lnTo>
                    <a:pt x="452" y="264"/>
                  </a:lnTo>
                  <a:lnTo>
                    <a:pt x="451" y="268"/>
                  </a:lnTo>
                  <a:lnTo>
                    <a:pt x="448" y="273"/>
                  </a:lnTo>
                  <a:lnTo>
                    <a:pt x="445" y="280"/>
                  </a:lnTo>
                  <a:lnTo>
                    <a:pt x="445" y="284"/>
                  </a:lnTo>
                  <a:lnTo>
                    <a:pt x="444" y="286"/>
                  </a:lnTo>
                  <a:lnTo>
                    <a:pt x="443" y="288"/>
                  </a:lnTo>
                  <a:lnTo>
                    <a:pt x="438" y="295"/>
                  </a:lnTo>
                  <a:lnTo>
                    <a:pt x="437" y="297"/>
                  </a:lnTo>
                  <a:lnTo>
                    <a:pt x="437" y="299"/>
                  </a:lnTo>
                  <a:lnTo>
                    <a:pt x="436" y="301"/>
                  </a:lnTo>
                  <a:lnTo>
                    <a:pt x="436" y="302"/>
                  </a:lnTo>
                  <a:lnTo>
                    <a:pt x="435" y="306"/>
                  </a:lnTo>
                  <a:lnTo>
                    <a:pt x="435" y="307"/>
                  </a:lnTo>
                  <a:lnTo>
                    <a:pt x="436" y="315"/>
                  </a:lnTo>
                  <a:lnTo>
                    <a:pt x="436" y="317"/>
                  </a:lnTo>
                  <a:lnTo>
                    <a:pt x="436" y="318"/>
                  </a:lnTo>
                  <a:lnTo>
                    <a:pt x="435" y="319"/>
                  </a:lnTo>
                  <a:lnTo>
                    <a:pt x="435" y="320"/>
                  </a:lnTo>
                  <a:lnTo>
                    <a:pt x="434" y="324"/>
                  </a:lnTo>
                  <a:lnTo>
                    <a:pt x="432" y="327"/>
                  </a:lnTo>
                  <a:lnTo>
                    <a:pt x="432" y="329"/>
                  </a:lnTo>
                  <a:lnTo>
                    <a:pt x="431" y="329"/>
                  </a:lnTo>
                  <a:lnTo>
                    <a:pt x="429" y="330"/>
                  </a:lnTo>
                  <a:lnTo>
                    <a:pt x="428" y="331"/>
                  </a:lnTo>
                  <a:lnTo>
                    <a:pt x="426" y="332"/>
                  </a:lnTo>
                  <a:lnTo>
                    <a:pt x="422" y="335"/>
                  </a:lnTo>
                  <a:lnTo>
                    <a:pt x="419" y="336"/>
                  </a:lnTo>
                  <a:lnTo>
                    <a:pt x="411" y="340"/>
                  </a:lnTo>
                  <a:lnTo>
                    <a:pt x="408" y="340"/>
                  </a:lnTo>
                  <a:lnTo>
                    <a:pt x="405" y="342"/>
                  </a:lnTo>
                  <a:lnTo>
                    <a:pt x="400" y="346"/>
                  </a:lnTo>
                  <a:lnTo>
                    <a:pt x="397" y="348"/>
                  </a:lnTo>
                  <a:lnTo>
                    <a:pt x="391" y="351"/>
                  </a:lnTo>
                  <a:lnTo>
                    <a:pt x="388" y="351"/>
                  </a:lnTo>
                  <a:lnTo>
                    <a:pt x="387" y="352"/>
                  </a:lnTo>
                  <a:lnTo>
                    <a:pt x="385" y="352"/>
                  </a:lnTo>
                  <a:lnTo>
                    <a:pt x="383" y="353"/>
                  </a:lnTo>
                  <a:lnTo>
                    <a:pt x="375" y="354"/>
                  </a:lnTo>
                  <a:lnTo>
                    <a:pt x="372" y="354"/>
                  </a:lnTo>
                  <a:lnTo>
                    <a:pt x="370" y="355"/>
                  </a:lnTo>
                  <a:lnTo>
                    <a:pt x="368" y="356"/>
                  </a:lnTo>
                  <a:lnTo>
                    <a:pt x="363" y="358"/>
                  </a:lnTo>
                  <a:lnTo>
                    <a:pt x="361" y="359"/>
                  </a:lnTo>
                  <a:lnTo>
                    <a:pt x="358" y="360"/>
                  </a:lnTo>
                  <a:lnTo>
                    <a:pt x="355" y="360"/>
                  </a:lnTo>
                  <a:lnTo>
                    <a:pt x="353" y="360"/>
                  </a:lnTo>
                  <a:lnTo>
                    <a:pt x="349" y="360"/>
                  </a:lnTo>
                  <a:lnTo>
                    <a:pt x="345" y="359"/>
                  </a:lnTo>
                  <a:lnTo>
                    <a:pt x="339" y="357"/>
                  </a:lnTo>
                  <a:lnTo>
                    <a:pt x="336" y="357"/>
                  </a:lnTo>
                  <a:lnTo>
                    <a:pt x="333" y="357"/>
                  </a:lnTo>
                  <a:lnTo>
                    <a:pt x="331" y="357"/>
                  </a:lnTo>
                  <a:lnTo>
                    <a:pt x="331" y="357"/>
                  </a:lnTo>
                  <a:lnTo>
                    <a:pt x="329" y="357"/>
                  </a:lnTo>
                  <a:lnTo>
                    <a:pt x="327" y="358"/>
                  </a:lnTo>
                  <a:lnTo>
                    <a:pt x="326" y="358"/>
                  </a:lnTo>
                  <a:lnTo>
                    <a:pt x="324" y="359"/>
                  </a:lnTo>
                  <a:lnTo>
                    <a:pt x="322" y="361"/>
                  </a:lnTo>
                  <a:lnTo>
                    <a:pt x="316" y="365"/>
                  </a:lnTo>
                  <a:lnTo>
                    <a:pt x="315" y="366"/>
                  </a:lnTo>
                  <a:lnTo>
                    <a:pt x="314" y="367"/>
                  </a:lnTo>
                  <a:lnTo>
                    <a:pt x="313" y="369"/>
                  </a:lnTo>
                  <a:lnTo>
                    <a:pt x="309" y="376"/>
                  </a:lnTo>
                  <a:lnTo>
                    <a:pt x="307" y="379"/>
                  </a:lnTo>
                  <a:lnTo>
                    <a:pt x="306" y="382"/>
                  </a:lnTo>
                  <a:lnTo>
                    <a:pt x="305" y="386"/>
                  </a:lnTo>
                  <a:lnTo>
                    <a:pt x="305" y="390"/>
                  </a:lnTo>
                  <a:lnTo>
                    <a:pt x="304" y="394"/>
                  </a:lnTo>
                  <a:lnTo>
                    <a:pt x="304" y="399"/>
                  </a:lnTo>
                  <a:lnTo>
                    <a:pt x="304" y="404"/>
                  </a:lnTo>
                  <a:lnTo>
                    <a:pt x="304" y="408"/>
                  </a:lnTo>
                  <a:lnTo>
                    <a:pt x="305" y="412"/>
                  </a:lnTo>
                  <a:lnTo>
                    <a:pt x="306" y="417"/>
                  </a:lnTo>
                  <a:lnTo>
                    <a:pt x="307" y="419"/>
                  </a:lnTo>
                  <a:lnTo>
                    <a:pt x="311" y="432"/>
                  </a:lnTo>
                  <a:lnTo>
                    <a:pt x="311" y="435"/>
                  </a:lnTo>
                  <a:lnTo>
                    <a:pt x="312" y="437"/>
                  </a:lnTo>
                  <a:lnTo>
                    <a:pt x="312" y="439"/>
                  </a:lnTo>
                  <a:lnTo>
                    <a:pt x="312" y="440"/>
                  </a:lnTo>
                  <a:lnTo>
                    <a:pt x="311" y="442"/>
                  </a:lnTo>
                  <a:lnTo>
                    <a:pt x="310" y="442"/>
                  </a:lnTo>
                  <a:lnTo>
                    <a:pt x="309" y="443"/>
                  </a:lnTo>
                  <a:lnTo>
                    <a:pt x="309" y="444"/>
                  </a:lnTo>
                  <a:lnTo>
                    <a:pt x="306" y="446"/>
                  </a:lnTo>
                  <a:lnTo>
                    <a:pt x="305" y="447"/>
                  </a:lnTo>
                  <a:lnTo>
                    <a:pt x="303" y="447"/>
                  </a:lnTo>
                  <a:lnTo>
                    <a:pt x="301" y="448"/>
                  </a:lnTo>
                  <a:lnTo>
                    <a:pt x="298" y="448"/>
                  </a:lnTo>
                  <a:lnTo>
                    <a:pt x="295" y="447"/>
                  </a:lnTo>
                  <a:lnTo>
                    <a:pt x="292" y="447"/>
                  </a:lnTo>
                  <a:lnTo>
                    <a:pt x="286" y="445"/>
                  </a:lnTo>
                  <a:lnTo>
                    <a:pt x="284" y="445"/>
                  </a:lnTo>
                  <a:lnTo>
                    <a:pt x="283" y="445"/>
                  </a:lnTo>
                  <a:lnTo>
                    <a:pt x="281" y="445"/>
                  </a:lnTo>
                  <a:lnTo>
                    <a:pt x="280" y="446"/>
                  </a:lnTo>
                  <a:lnTo>
                    <a:pt x="278" y="446"/>
                  </a:lnTo>
                  <a:lnTo>
                    <a:pt x="277" y="447"/>
                  </a:lnTo>
                  <a:lnTo>
                    <a:pt x="276" y="448"/>
                  </a:lnTo>
                  <a:lnTo>
                    <a:pt x="274" y="451"/>
                  </a:lnTo>
                  <a:lnTo>
                    <a:pt x="273" y="453"/>
                  </a:lnTo>
                  <a:lnTo>
                    <a:pt x="269" y="457"/>
                  </a:lnTo>
                  <a:lnTo>
                    <a:pt x="265" y="462"/>
                  </a:lnTo>
                  <a:lnTo>
                    <a:pt x="263" y="464"/>
                  </a:lnTo>
                  <a:lnTo>
                    <a:pt x="258" y="469"/>
                  </a:lnTo>
                  <a:lnTo>
                    <a:pt x="256" y="471"/>
                  </a:lnTo>
                  <a:lnTo>
                    <a:pt x="254" y="473"/>
                  </a:lnTo>
                  <a:lnTo>
                    <a:pt x="252" y="477"/>
                  </a:lnTo>
                  <a:lnTo>
                    <a:pt x="251" y="480"/>
                  </a:lnTo>
                  <a:lnTo>
                    <a:pt x="250" y="482"/>
                  </a:lnTo>
                  <a:lnTo>
                    <a:pt x="248" y="483"/>
                  </a:lnTo>
                  <a:lnTo>
                    <a:pt x="245" y="485"/>
                  </a:lnTo>
                  <a:lnTo>
                    <a:pt x="240" y="488"/>
                  </a:lnTo>
                  <a:lnTo>
                    <a:pt x="236" y="490"/>
                  </a:lnTo>
                  <a:lnTo>
                    <a:pt x="231" y="492"/>
                  </a:lnTo>
                  <a:lnTo>
                    <a:pt x="229" y="493"/>
                  </a:lnTo>
                  <a:lnTo>
                    <a:pt x="228" y="494"/>
                  </a:lnTo>
                  <a:lnTo>
                    <a:pt x="219" y="495"/>
                  </a:lnTo>
                  <a:lnTo>
                    <a:pt x="215" y="496"/>
                  </a:lnTo>
                  <a:lnTo>
                    <a:pt x="213" y="497"/>
                  </a:lnTo>
                  <a:lnTo>
                    <a:pt x="211" y="498"/>
                  </a:lnTo>
                  <a:lnTo>
                    <a:pt x="209" y="498"/>
                  </a:lnTo>
                  <a:lnTo>
                    <a:pt x="208" y="499"/>
                  </a:lnTo>
                  <a:lnTo>
                    <a:pt x="206" y="500"/>
                  </a:lnTo>
                  <a:lnTo>
                    <a:pt x="205" y="501"/>
                  </a:lnTo>
                  <a:lnTo>
                    <a:pt x="204" y="503"/>
                  </a:lnTo>
                  <a:lnTo>
                    <a:pt x="203" y="504"/>
                  </a:lnTo>
                  <a:lnTo>
                    <a:pt x="202" y="506"/>
                  </a:lnTo>
                  <a:lnTo>
                    <a:pt x="202" y="508"/>
                  </a:lnTo>
                  <a:lnTo>
                    <a:pt x="203" y="510"/>
                  </a:lnTo>
                  <a:lnTo>
                    <a:pt x="203" y="510"/>
                  </a:lnTo>
                  <a:lnTo>
                    <a:pt x="204" y="510"/>
                  </a:lnTo>
                  <a:lnTo>
                    <a:pt x="203" y="510"/>
                  </a:lnTo>
                  <a:lnTo>
                    <a:pt x="203" y="511"/>
                  </a:lnTo>
                  <a:lnTo>
                    <a:pt x="202" y="510"/>
                  </a:lnTo>
                  <a:lnTo>
                    <a:pt x="199" y="510"/>
                  </a:lnTo>
                  <a:lnTo>
                    <a:pt x="198" y="510"/>
                  </a:lnTo>
                  <a:lnTo>
                    <a:pt x="197" y="510"/>
                  </a:lnTo>
                  <a:lnTo>
                    <a:pt x="196" y="510"/>
                  </a:lnTo>
                  <a:lnTo>
                    <a:pt x="195" y="510"/>
                  </a:lnTo>
                  <a:lnTo>
                    <a:pt x="195" y="510"/>
                  </a:lnTo>
                  <a:lnTo>
                    <a:pt x="194" y="510"/>
                  </a:lnTo>
                  <a:lnTo>
                    <a:pt x="192" y="507"/>
                  </a:lnTo>
                  <a:lnTo>
                    <a:pt x="192" y="506"/>
                  </a:lnTo>
                  <a:lnTo>
                    <a:pt x="191" y="506"/>
                  </a:lnTo>
                  <a:lnTo>
                    <a:pt x="190" y="506"/>
                  </a:lnTo>
                  <a:lnTo>
                    <a:pt x="186" y="507"/>
                  </a:lnTo>
                  <a:lnTo>
                    <a:pt x="183" y="509"/>
                  </a:lnTo>
                  <a:lnTo>
                    <a:pt x="181" y="510"/>
                  </a:lnTo>
                  <a:lnTo>
                    <a:pt x="175" y="511"/>
                  </a:lnTo>
                  <a:lnTo>
                    <a:pt x="172" y="512"/>
                  </a:lnTo>
                  <a:lnTo>
                    <a:pt x="170" y="513"/>
                  </a:lnTo>
                  <a:lnTo>
                    <a:pt x="166" y="516"/>
                  </a:lnTo>
                  <a:lnTo>
                    <a:pt x="162" y="518"/>
                  </a:lnTo>
                  <a:lnTo>
                    <a:pt x="161" y="519"/>
                  </a:lnTo>
                  <a:lnTo>
                    <a:pt x="159" y="520"/>
                  </a:lnTo>
                  <a:lnTo>
                    <a:pt x="159" y="519"/>
                  </a:lnTo>
                  <a:lnTo>
                    <a:pt x="157" y="517"/>
                  </a:lnTo>
                  <a:lnTo>
                    <a:pt x="156" y="516"/>
                  </a:lnTo>
                  <a:lnTo>
                    <a:pt x="155" y="514"/>
                  </a:lnTo>
                  <a:lnTo>
                    <a:pt x="153" y="510"/>
                  </a:lnTo>
                  <a:lnTo>
                    <a:pt x="151" y="505"/>
                  </a:lnTo>
                  <a:lnTo>
                    <a:pt x="150" y="501"/>
                  </a:lnTo>
                  <a:lnTo>
                    <a:pt x="149" y="498"/>
                  </a:lnTo>
                  <a:lnTo>
                    <a:pt x="149" y="494"/>
                  </a:lnTo>
                  <a:lnTo>
                    <a:pt x="148" y="487"/>
                  </a:lnTo>
                  <a:lnTo>
                    <a:pt x="147" y="484"/>
                  </a:lnTo>
                  <a:lnTo>
                    <a:pt x="146" y="482"/>
                  </a:lnTo>
                  <a:lnTo>
                    <a:pt x="145" y="476"/>
                  </a:lnTo>
                  <a:lnTo>
                    <a:pt x="144" y="474"/>
                  </a:lnTo>
                  <a:lnTo>
                    <a:pt x="143" y="469"/>
                  </a:lnTo>
                  <a:lnTo>
                    <a:pt x="143" y="465"/>
                  </a:lnTo>
                  <a:lnTo>
                    <a:pt x="143" y="462"/>
                  </a:lnTo>
                  <a:lnTo>
                    <a:pt x="143" y="455"/>
                  </a:lnTo>
                  <a:lnTo>
                    <a:pt x="143" y="452"/>
                  </a:lnTo>
                  <a:lnTo>
                    <a:pt x="143" y="450"/>
                  </a:lnTo>
                  <a:lnTo>
                    <a:pt x="143" y="447"/>
                  </a:lnTo>
                  <a:lnTo>
                    <a:pt x="143" y="446"/>
                  </a:lnTo>
                  <a:lnTo>
                    <a:pt x="142" y="445"/>
                  </a:lnTo>
                  <a:lnTo>
                    <a:pt x="141" y="443"/>
                  </a:lnTo>
                  <a:lnTo>
                    <a:pt x="140" y="442"/>
                  </a:lnTo>
                  <a:lnTo>
                    <a:pt x="138" y="440"/>
                  </a:lnTo>
                  <a:lnTo>
                    <a:pt x="133" y="434"/>
                  </a:lnTo>
                  <a:lnTo>
                    <a:pt x="129" y="431"/>
                  </a:lnTo>
                  <a:lnTo>
                    <a:pt x="127" y="429"/>
                  </a:lnTo>
                  <a:lnTo>
                    <a:pt x="126" y="426"/>
                  </a:lnTo>
                  <a:lnTo>
                    <a:pt x="124" y="423"/>
                  </a:lnTo>
                  <a:lnTo>
                    <a:pt x="119" y="413"/>
                  </a:lnTo>
                  <a:lnTo>
                    <a:pt x="118" y="410"/>
                  </a:lnTo>
                  <a:lnTo>
                    <a:pt x="117" y="406"/>
                  </a:lnTo>
                  <a:lnTo>
                    <a:pt x="116" y="404"/>
                  </a:lnTo>
                  <a:lnTo>
                    <a:pt x="115" y="402"/>
                  </a:lnTo>
                  <a:lnTo>
                    <a:pt x="114" y="400"/>
                  </a:lnTo>
                  <a:lnTo>
                    <a:pt x="113" y="399"/>
                  </a:lnTo>
                  <a:lnTo>
                    <a:pt x="112" y="397"/>
                  </a:lnTo>
                  <a:lnTo>
                    <a:pt x="105" y="393"/>
                  </a:lnTo>
                  <a:lnTo>
                    <a:pt x="103" y="391"/>
                  </a:lnTo>
                  <a:lnTo>
                    <a:pt x="97" y="386"/>
                  </a:lnTo>
                  <a:lnTo>
                    <a:pt x="94" y="385"/>
                  </a:lnTo>
                  <a:lnTo>
                    <a:pt x="93" y="384"/>
                  </a:lnTo>
                  <a:lnTo>
                    <a:pt x="92" y="382"/>
                  </a:lnTo>
                  <a:lnTo>
                    <a:pt x="91" y="380"/>
                  </a:lnTo>
                  <a:lnTo>
                    <a:pt x="90" y="378"/>
                  </a:lnTo>
                  <a:lnTo>
                    <a:pt x="89" y="376"/>
                  </a:lnTo>
                  <a:lnTo>
                    <a:pt x="88" y="374"/>
                  </a:lnTo>
                  <a:lnTo>
                    <a:pt x="87" y="372"/>
                  </a:lnTo>
                  <a:lnTo>
                    <a:pt x="87" y="370"/>
                  </a:lnTo>
                  <a:lnTo>
                    <a:pt x="87" y="367"/>
                  </a:lnTo>
                  <a:lnTo>
                    <a:pt x="87" y="364"/>
                  </a:lnTo>
                  <a:lnTo>
                    <a:pt x="87" y="363"/>
                  </a:lnTo>
                  <a:lnTo>
                    <a:pt x="88" y="357"/>
                  </a:lnTo>
                  <a:lnTo>
                    <a:pt x="89" y="355"/>
                  </a:lnTo>
                  <a:lnTo>
                    <a:pt x="89" y="352"/>
                  </a:lnTo>
                  <a:lnTo>
                    <a:pt x="88" y="351"/>
                  </a:lnTo>
                  <a:lnTo>
                    <a:pt x="88" y="348"/>
                  </a:lnTo>
                  <a:lnTo>
                    <a:pt x="87" y="345"/>
                  </a:lnTo>
                  <a:lnTo>
                    <a:pt x="86" y="343"/>
                  </a:lnTo>
                  <a:lnTo>
                    <a:pt x="85" y="341"/>
                  </a:lnTo>
                  <a:lnTo>
                    <a:pt x="83" y="340"/>
                  </a:lnTo>
                  <a:lnTo>
                    <a:pt x="81" y="339"/>
                  </a:lnTo>
                  <a:lnTo>
                    <a:pt x="80" y="338"/>
                  </a:lnTo>
                  <a:lnTo>
                    <a:pt x="76" y="335"/>
                  </a:lnTo>
                  <a:lnTo>
                    <a:pt x="64" y="329"/>
                  </a:lnTo>
                  <a:lnTo>
                    <a:pt x="59" y="327"/>
                  </a:lnTo>
                  <a:lnTo>
                    <a:pt x="54" y="325"/>
                  </a:lnTo>
                  <a:lnTo>
                    <a:pt x="50" y="322"/>
                  </a:lnTo>
                  <a:lnTo>
                    <a:pt x="47" y="320"/>
                  </a:lnTo>
                  <a:lnTo>
                    <a:pt x="45" y="317"/>
                  </a:lnTo>
                  <a:lnTo>
                    <a:pt x="41" y="315"/>
                  </a:lnTo>
                  <a:lnTo>
                    <a:pt x="41" y="314"/>
                  </a:lnTo>
                  <a:lnTo>
                    <a:pt x="40" y="314"/>
                  </a:lnTo>
                  <a:lnTo>
                    <a:pt x="41" y="314"/>
                  </a:lnTo>
                  <a:lnTo>
                    <a:pt x="41" y="313"/>
                  </a:lnTo>
                  <a:lnTo>
                    <a:pt x="51" y="309"/>
                  </a:lnTo>
                  <a:lnTo>
                    <a:pt x="58" y="306"/>
                  </a:lnTo>
                  <a:lnTo>
                    <a:pt x="61" y="305"/>
                  </a:lnTo>
                  <a:lnTo>
                    <a:pt x="65" y="303"/>
                  </a:lnTo>
                  <a:lnTo>
                    <a:pt x="67" y="302"/>
                  </a:lnTo>
                  <a:lnTo>
                    <a:pt x="68" y="301"/>
                  </a:lnTo>
                  <a:lnTo>
                    <a:pt x="69" y="299"/>
                  </a:lnTo>
                  <a:lnTo>
                    <a:pt x="69" y="298"/>
                  </a:lnTo>
                  <a:lnTo>
                    <a:pt x="70" y="297"/>
                  </a:lnTo>
                  <a:lnTo>
                    <a:pt x="70" y="296"/>
                  </a:lnTo>
                  <a:lnTo>
                    <a:pt x="70" y="295"/>
                  </a:lnTo>
                  <a:lnTo>
                    <a:pt x="70" y="294"/>
                  </a:lnTo>
                  <a:lnTo>
                    <a:pt x="69" y="291"/>
                  </a:lnTo>
                  <a:lnTo>
                    <a:pt x="69" y="288"/>
                  </a:lnTo>
                  <a:lnTo>
                    <a:pt x="67" y="286"/>
                  </a:lnTo>
                  <a:lnTo>
                    <a:pt x="65" y="283"/>
                  </a:lnTo>
                  <a:lnTo>
                    <a:pt x="63" y="280"/>
                  </a:lnTo>
                  <a:lnTo>
                    <a:pt x="59" y="275"/>
                  </a:lnTo>
                  <a:lnTo>
                    <a:pt x="54" y="268"/>
                  </a:lnTo>
                  <a:lnTo>
                    <a:pt x="50" y="263"/>
                  </a:lnTo>
                  <a:lnTo>
                    <a:pt x="49" y="261"/>
                  </a:lnTo>
                  <a:lnTo>
                    <a:pt x="47" y="258"/>
                  </a:lnTo>
                  <a:lnTo>
                    <a:pt x="44" y="251"/>
                  </a:lnTo>
                  <a:lnTo>
                    <a:pt x="41" y="245"/>
                  </a:lnTo>
                  <a:lnTo>
                    <a:pt x="37" y="238"/>
                  </a:lnTo>
                  <a:lnTo>
                    <a:pt x="36" y="237"/>
                  </a:lnTo>
                  <a:lnTo>
                    <a:pt x="36" y="235"/>
                  </a:lnTo>
                  <a:lnTo>
                    <a:pt x="36" y="232"/>
                  </a:lnTo>
                  <a:lnTo>
                    <a:pt x="36" y="230"/>
                  </a:lnTo>
                  <a:lnTo>
                    <a:pt x="36" y="227"/>
                  </a:lnTo>
                  <a:lnTo>
                    <a:pt x="36" y="224"/>
                  </a:lnTo>
                  <a:lnTo>
                    <a:pt x="37" y="219"/>
                  </a:lnTo>
                  <a:lnTo>
                    <a:pt x="39" y="215"/>
                  </a:lnTo>
                  <a:lnTo>
                    <a:pt x="40" y="211"/>
                  </a:lnTo>
                  <a:lnTo>
                    <a:pt x="42" y="205"/>
                  </a:lnTo>
                  <a:lnTo>
                    <a:pt x="43" y="202"/>
                  </a:lnTo>
                  <a:lnTo>
                    <a:pt x="43" y="199"/>
                  </a:lnTo>
                  <a:lnTo>
                    <a:pt x="44" y="197"/>
                  </a:lnTo>
                  <a:lnTo>
                    <a:pt x="44" y="196"/>
                  </a:lnTo>
                  <a:lnTo>
                    <a:pt x="43" y="194"/>
                  </a:lnTo>
                  <a:lnTo>
                    <a:pt x="43" y="193"/>
                  </a:lnTo>
                  <a:lnTo>
                    <a:pt x="42" y="191"/>
                  </a:lnTo>
                  <a:lnTo>
                    <a:pt x="41" y="188"/>
                  </a:lnTo>
                  <a:lnTo>
                    <a:pt x="40" y="185"/>
                  </a:lnTo>
                  <a:lnTo>
                    <a:pt x="38" y="182"/>
                  </a:lnTo>
                  <a:lnTo>
                    <a:pt x="33" y="171"/>
                  </a:lnTo>
                  <a:lnTo>
                    <a:pt x="32" y="170"/>
                  </a:lnTo>
                  <a:lnTo>
                    <a:pt x="31" y="167"/>
                  </a:lnTo>
                  <a:lnTo>
                    <a:pt x="31" y="165"/>
                  </a:lnTo>
                  <a:lnTo>
                    <a:pt x="31" y="162"/>
                  </a:lnTo>
                  <a:lnTo>
                    <a:pt x="31" y="159"/>
                  </a:lnTo>
                  <a:lnTo>
                    <a:pt x="31" y="153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0" y="145"/>
                  </a:lnTo>
                  <a:lnTo>
                    <a:pt x="27" y="136"/>
                  </a:lnTo>
                  <a:lnTo>
                    <a:pt x="26" y="129"/>
                  </a:lnTo>
                  <a:lnTo>
                    <a:pt x="24" y="123"/>
                  </a:lnTo>
                  <a:lnTo>
                    <a:pt x="24" y="117"/>
                  </a:lnTo>
                  <a:lnTo>
                    <a:pt x="24" y="113"/>
                  </a:lnTo>
                  <a:lnTo>
                    <a:pt x="23" y="110"/>
                  </a:lnTo>
                  <a:lnTo>
                    <a:pt x="23" y="92"/>
                  </a:lnTo>
                  <a:lnTo>
                    <a:pt x="22" y="79"/>
                  </a:lnTo>
                  <a:lnTo>
                    <a:pt x="22" y="76"/>
                  </a:lnTo>
                  <a:lnTo>
                    <a:pt x="23" y="72"/>
                  </a:lnTo>
                  <a:lnTo>
                    <a:pt x="24" y="62"/>
                  </a:lnTo>
                  <a:lnTo>
                    <a:pt x="24" y="58"/>
                  </a:lnTo>
                  <a:lnTo>
                    <a:pt x="24" y="55"/>
                  </a:lnTo>
                  <a:lnTo>
                    <a:pt x="24" y="51"/>
                  </a:lnTo>
                  <a:lnTo>
                    <a:pt x="24" y="49"/>
                  </a:lnTo>
                  <a:lnTo>
                    <a:pt x="23" y="47"/>
                  </a:lnTo>
                  <a:lnTo>
                    <a:pt x="22" y="45"/>
                  </a:lnTo>
                  <a:lnTo>
                    <a:pt x="20" y="42"/>
                  </a:lnTo>
                  <a:lnTo>
                    <a:pt x="17" y="36"/>
                  </a:lnTo>
                  <a:lnTo>
                    <a:pt x="11" y="27"/>
                  </a:lnTo>
                  <a:lnTo>
                    <a:pt x="8" y="23"/>
                  </a:lnTo>
                  <a:lnTo>
                    <a:pt x="6" y="20"/>
                  </a:lnTo>
                  <a:lnTo>
                    <a:pt x="3" y="15"/>
                  </a:lnTo>
                  <a:lnTo>
                    <a:pt x="2" y="11"/>
                  </a:lnTo>
                  <a:lnTo>
                    <a:pt x="1" y="8"/>
                  </a:lnTo>
                  <a:lnTo>
                    <a:pt x="1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4" name="Freeform 51">
              <a:extLst>
                <a:ext uri="{FF2B5EF4-FFF2-40B4-BE49-F238E27FC236}">
                  <a16:creationId xmlns:a16="http://schemas.microsoft.com/office/drawing/2014/main" id="{08857AC6-04FA-4089-9AF4-3247FB5C1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" y="2222"/>
              <a:ext cx="500" cy="370"/>
            </a:xfrm>
            <a:custGeom>
              <a:avLst/>
              <a:gdLst>
                <a:gd name="T0" fmla="*/ 283 w 500"/>
                <a:gd name="T1" fmla="*/ 14 h 370"/>
                <a:gd name="T2" fmla="*/ 298 w 500"/>
                <a:gd name="T3" fmla="*/ 13 h 370"/>
                <a:gd name="T4" fmla="*/ 324 w 500"/>
                <a:gd name="T5" fmla="*/ 15 h 370"/>
                <a:gd name="T6" fmla="*/ 355 w 500"/>
                <a:gd name="T7" fmla="*/ 30 h 370"/>
                <a:gd name="T8" fmla="*/ 382 w 500"/>
                <a:gd name="T9" fmla="*/ 22 h 370"/>
                <a:gd name="T10" fmla="*/ 400 w 500"/>
                <a:gd name="T11" fmla="*/ 16 h 370"/>
                <a:gd name="T12" fmla="*/ 414 w 500"/>
                <a:gd name="T13" fmla="*/ 24 h 370"/>
                <a:gd name="T14" fmla="*/ 418 w 500"/>
                <a:gd name="T15" fmla="*/ 48 h 370"/>
                <a:gd name="T16" fmla="*/ 433 w 500"/>
                <a:gd name="T17" fmla="*/ 74 h 370"/>
                <a:gd name="T18" fmla="*/ 433 w 500"/>
                <a:gd name="T19" fmla="*/ 109 h 370"/>
                <a:gd name="T20" fmla="*/ 447 w 500"/>
                <a:gd name="T21" fmla="*/ 135 h 370"/>
                <a:gd name="T22" fmla="*/ 444 w 500"/>
                <a:gd name="T23" fmla="*/ 149 h 370"/>
                <a:gd name="T24" fmla="*/ 459 w 500"/>
                <a:gd name="T25" fmla="*/ 168 h 370"/>
                <a:gd name="T26" fmla="*/ 484 w 500"/>
                <a:gd name="T27" fmla="*/ 192 h 370"/>
                <a:gd name="T28" fmla="*/ 500 w 500"/>
                <a:gd name="T29" fmla="*/ 202 h 370"/>
                <a:gd name="T30" fmla="*/ 497 w 500"/>
                <a:gd name="T31" fmla="*/ 270 h 370"/>
                <a:gd name="T32" fmla="*/ 489 w 500"/>
                <a:gd name="T33" fmla="*/ 282 h 370"/>
                <a:gd name="T34" fmla="*/ 457 w 500"/>
                <a:gd name="T35" fmla="*/ 281 h 370"/>
                <a:gd name="T36" fmla="*/ 443 w 500"/>
                <a:gd name="T37" fmla="*/ 284 h 370"/>
                <a:gd name="T38" fmla="*/ 444 w 500"/>
                <a:gd name="T39" fmla="*/ 304 h 370"/>
                <a:gd name="T40" fmla="*/ 447 w 500"/>
                <a:gd name="T41" fmla="*/ 335 h 370"/>
                <a:gd name="T42" fmla="*/ 428 w 500"/>
                <a:gd name="T43" fmla="*/ 338 h 370"/>
                <a:gd name="T44" fmla="*/ 402 w 500"/>
                <a:gd name="T45" fmla="*/ 329 h 370"/>
                <a:gd name="T46" fmla="*/ 390 w 500"/>
                <a:gd name="T47" fmla="*/ 315 h 370"/>
                <a:gd name="T48" fmla="*/ 382 w 500"/>
                <a:gd name="T49" fmla="*/ 316 h 370"/>
                <a:gd name="T50" fmla="*/ 363 w 500"/>
                <a:gd name="T51" fmla="*/ 346 h 370"/>
                <a:gd name="T52" fmla="*/ 352 w 500"/>
                <a:gd name="T53" fmla="*/ 363 h 370"/>
                <a:gd name="T54" fmla="*/ 339 w 500"/>
                <a:gd name="T55" fmla="*/ 370 h 370"/>
                <a:gd name="T56" fmla="*/ 308 w 500"/>
                <a:gd name="T57" fmla="*/ 359 h 370"/>
                <a:gd name="T58" fmla="*/ 287 w 500"/>
                <a:gd name="T59" fmla="*/ 347 h 370"/>
                <a:gd name="T60" fmla="*/ 278 w 500"/>
                <a:gd name="T61" fmla="*/ 328 h 370"/>
                <a:gd name="T62" fmla="*/ 281 w 500"/>
                <a:gd name="T63" fmla="*/ 311 h 370"/>
                <a:gd name="T64" fmla="*/ 262 w 500"/>
                <a:gd name="T65" fmla="*/ 305 h 370"/>
                <a:gd name="T66" fmla="*/ 237 w 500"/>
                <a:gd name="T67" fmla="*/ 291 h 370"/>
                <a:gd name="T68" fmla="*/ 218 w 500"/>
                <a:gd name="T69" fmla="*/ 283 h 370"/>
                <a:gd name="T70" fmla="*/ 212 w 500"/>
                <a:gd name="T71" fmla="*/ 268 h 370"/>
                <a:gd name="T72" fmla="*/ 184 w 500"/>
                <a:gd name="T73" fmla="*/ 258 h 370"/>
                <a:gd name="T74" fmla="*/ 162 w 500"/>
                <a:gd name="T75" fmla="*/ 240 h 370"/>
                <a:gd name="T76" fmla="*/ 140 w 500"/>
                <a:gd name="T77" fmla="*/ 228 h 370"/>
                <a:gd name="T78" fmla="*/ 119 w 500"/>
                <a:gd name="T79" fmla="*/ 227 h 370"/>
                <a:gd name="T80" fmla="*/ 91 w 500"/>
                <a:gd name="T81" fmla="*/ 226 h 370"/>
                <a:gd name="T82" fmla="*/ 73 w 500"/>
                <a:gd name="T83" fmla="*/ 223 h 370"/>
                <a:gd name="T84" fmla="*/ 25 w 500"/>
                <a:gd name="T85" fmla="*/ 187 h 370"/>
                <a:gd name="T86" fmla="*/ 1 w 500"/>
                <a:gd name="T87" fmla="*/ 157 h 370"/>
                <a:gd name="T88" fmla="*/ 4 w 500"/>
                <a:gd name="T89" fmla="*/ 128 h 370"/>
                <a:gd name="T90" fmla="*/ 21 w 500"/>
                <a:gd name="T91" fmla="*/ 101 h 370"/>
                <a:gd name="T92" fmla="*/ 22 w 500"/>
                <a:gd name="T93" fmla="*/ 81 h 370"/>
                <a:gd name="T94" fmla="*/ 21 w 500"/>
                <a:gd name="T95" fmla="*/ 68 h 370"/>
                <a:gd name="T96" fmla="*/ 31 w 500"/>
                <a:gd name="T97" fmla="*/ 67 h 370"/>
                <a:gd name="T98" fmla="*/ 66 w 500"/>
                <a:gd name="T99" fmla="*/ 73 h 370"/>
                <a:gd name="T100" fmla="*/ 98 w 500"/>
                <a:gd name="T101" fmla="*/ 64 h 370"/>
                <a:gd name="T102" fmla="*/ 118 w 500"/>
                <a:gd name="T103" fmla="*/ 46 h 370"/>
                <a:gd name="T104" fmla="*/ 135 w 500"/>
                <a:gd name="T105" fmla="*/ 32 h 370"/>
                <a:gd name="T106" fmla="*/ 167 w 500"/>
                <a:gd name="T107" fmla="*/ 27 h 370"/>
                <a:gd name="T108" fmla="*/ 190 w 500"/>
                <a:gd name="T109" fmla="*/ 16 h 370"/>
                <a:gd name="T110" fmla="*/ 216 w 500"/>
                <a:gd name="T111" fmla="*/ 24 h 370"/>
                <a:gd name="T112" fmla="*/ 234 w 500"/>
                <a:gd name="T113" fmla="*/ 26 h 370"/>
                <a:gd name="T114" fmla="*/ 250 w 500"/>
                <a:gd name="T115" fmla="*/ 15 h 370"/>
                <a:gd name="T116" fmla="*/ 266 w 500"/>
                <a:gd name="T117" fmla="*/ 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0" h="370">
                  <a:moveTo>
                    <a:pt x="266" y="1"/>
                  </a:moveTo>
                  <a:lnTo>
                    <a:pt x="267" y="2"/>
                  </a:lnTo>
                  <a:lnTo>
                    <a:pt x="268" y="3"/>
                  </a:lnTo>
                  <a:lnTo>
                    <a:pt x="269" y="4"/>
                  </a:lnTo>
                  <a:lnTo>
                    <a:pt x="273" y="8"/>
                  </a:lnTo>
                  <a:lnTo>
                    <a:pt x="278" y="11"/>
                  </a:lnTo>
                  <a:lnTo>
                    <a:pt x="281" y="12"/>
                  </a:lnTo>
                  <a:lnTo>
                    <a:pt x="283" y="14"/>
                  </a:lnTo>
                  <a:lnTo>
                    <a:pt x="284" y="15"/>
                  </a:lnTo>
                  <a:lnTo>
                    <a:pt x="285" y="15"/>
                  </a:lnTo>
                  <a:lnTo>
                    <a:pt x="286" y="15"/>
                  </a:lnTo>
                  <a:lnTo>
                    <a:pt x="288" y="15"/>
                  </a:lnTo>
                  <a:lnTo>
                    <a:pt x="289" y="15"/>
                  </a:lnTo>
                  <a:lnTo>
                    <a:pt x="291" y="15"/>
                  </a:lnTo>
                  <a:lnTo>
                    <a:pt x="296" y="13"/>
                  </a:lnTo>
                  <a:lnTo>
                    <a:pt x="298" y="13"/>
                  </a:lnTo>
                  <a:lnTo>
                    <a:pt x="302" y="12"/>
                  </a:lnTo>
                  <a:lnTo>
                    <a:pt x="306" y="12"/>
                  </a:lnTo>
                  <a:lnTo>
                    <a:pt x="307" y="12"/>
                  </a:lnTo>
                  <a:lnTo>
                    <a:pt x="309" y="12"/>
                  </a:lnTo>
                  <a:lnTo>
                    <a:pt x="316" y="13"/>
                  </a:lnTo>
                  <a:lnTo>
                    <a:pt x="320" y="14"/>
                  </a:lnTo>
                  <a:lnTo>
                    <a:pt x="322" y="14"/>
                  </a:lnTo>
                  <a:lnTo>
                    <a:pt x="324" y="15"/>
                  </a:lnTo>
                  <a:lnTo>
                    <a:pt x="327" y="16"/>
                  </a:lnTo>
                  <a:lnTo>
                    <a:pt x="333" y="19"/>
                  </a:lnTo>
                  <a:lnTo>
                    <a:pt x="337" y="21"/>
                  </a:lnTo>
                  <a:lnTo>
                    <a:pt x="345" y="26"/>
                  </a:lnTo>
                  <a:lnTo>
                    <a:pt x="349" y="28"/>
                  </a:lnTo>
                  <a:lnTo>
                    <a:pt x="352" y="29"/>
                  </a:lnTo>
                  <a:lnTo>
                    <a:pt x="353" y="30"/>
                  </a:lnTo>
                  <a:lnTo>
                    <a:pt x="355" y="30"/>
                  </a:lnTo>
                  <a:lnTo>
                    <a:pt x="357" y="31"/>
                  </a:lnTo>
                  <a:lnTo>
                    <a:pt x="360" y="31"/>
                  </a:lnTo>
                  <a:lnTo>
                    <a:pt x="363" y="31"/>
                  </a:lnTo>
                  <a:lnTo>
                    <a:pt x="365" y="31"/>
                  </a:lnTo>
                  <a:lnTo>
                    <a:pt x="368" y="30"/>
                  </a:lnTo>
                  <a:lnTo>
                    <a:pt x="370" y="29"/>
                  </a:lnTo>
                  <a:lnTo>
                    <a:pt x="375" y="26"/>
                  </a:lnTo>
                  <a:lnTo>
                    <a:pt x="382" y="22"/>
                  </a:lnTo>
                  <a:lnTo>
                    <a:pt x="384" y="21"/>
                  </a:lnTo>
                  <a:lnTo>
                    <a:pt x="388" y="18"/>
                  </a:lnTo>
                  <a:lnTo>
                    <a:pt x="390" y="17"/>
                  </a:lnTo>
                  <a:lnTo>
                    <a:pt x="391" y="17"/>
                  </a:lnTo>
                  <a:lnTo>
                    <a:pt x="392" y="16"/>
                  </a:lnTo>
                  <a:lnTo>
                    <a:pt x="395" y="16"/>
                  </a:lnTo>
                  <a:lnTo>
                    <a:pt x="398" y="16"/>
                  </a:lnTo>
                  <a:lnTo>
                    <a:pt x="400" y="16"/>
                  </a:lnTo>
                  <a:lnTo>
                    <a:pt x="403" y="17"/>
                  </a:lnTo>
                  <a:lnTo>
                    <a:pt x="405" y="18"/>
                  </a:lnTo>
                  <a:lnTo>
                    <a:pt x="407" y="18"/>
                  </a:lnTo>
                  <a:lnTo>
                    <a:pt x="408" y="19"/>
                  </a:lnTo>
                  <a:lnTo>
                    <a:pt x="409" y="21"/>
                  </a:lnTo>
                  <a:lnTo>
                    <a:pt x="412" y="23"/>
                  </a:lnTo>
                  <a:lnTo>
                    <a:pt x="413" y="24"/>
                  </a:lnTo>
                  <a:lnTo>
                    <a:pt x="414" y="24"/>
                  </a:lnTo>
                  <a:lnTo>
                    <a:pt x="414" y="28"/>
                  </a:lnTo>
                  <a:lnTo>
                    <a:pt x="414" y="33"/>
                  </a:lnTo>
                  <a:lnTo>
                    <a:pt x="414" y="37"/>
                  </a:lnTo>
                  <a:lnTo>
                    <a:pt x="415" y="40"/>
                  </a:lnTo>
                  <a:lnTo>
                    <a:pt x="415" y="42"/>
                  </a:lnTo>
                  <a:lnTo>
                    <a:pt x="416" y="44"/>
                  </a:lnTo>
                  <a:lnTo>
                    <a:pt x="416" y="45"/>
                  </a:lnTo>
                  <a:lnTo>
                    <a:pt x="418" y="48"/>
                  </a:lnTo>
                  <a:lnTo>
                    <a:pt x="421" y="53"/>
                  </a:lnTo>
                  <a:lnTo>
                    <a:pt x="425" y="58"/>
                  </a:lnTo>
                  <a:lnTo>
                    <a:pt x="430" y="64"/>
                  </a:lnTo>
                  <a:lnTo>
                    <a:pt x="431" y="66"/>
                  </a:lnTo>
                  <a:lnTo>
                    <a:pt x="432" y="67"/>
                  </a:lnTo>
                  <a:lnTo>
                    <a:pt x="432" y="69"/>
                  </a:lnTo>
                  <a:lnTo>
                    <a:pt x="433" y="72"/>
                  </a:lnTo>
                  <a:lnTo>
                    <a:pt x="433" y="74"/>
                  </a:lnTo>
                  <a:lnTo>
                    <a:pt x="434" y="78"/>
                  </a:lnTo>
                  <a:lnTo>
                    <a:pt x="434" y="78"/>
                  </a:lnTo>
                  <a:lnTo>
                    <a:pt x="435" y="80"/>
                  </a:lnTo>
                  <a:lnTo>
                    <a:pt x="434" y="84"/>
                  </a:lnTo>
                  <a:lnTo>
                    <a:pt x="434" y="90"/>
                  </a:lnTo>
                  <a:lnTo>
                    <a:pt x="433" y="96"/>
                  </a:lnTo>
                  <a:lnTo>
                    <a:pt x="433" y="106"/>
                  </a:lnTo>
                  <a:lnTo>
                    <a:pt x="433" y="109"/>
                  </a:lnTo>
                  <a:lnTo>
                    <a:pt x="434" y="112"/>
                  </a:lnTo>
                  <a:lnTo>
                    <a:pt x="434" y="114"/>
                  </a:lnTo>
                  <a:lnTo>
                    <a:pt x="435" y="117"/>
                  </a:lnTo>
                  <a:lnTo>
                    <a:pt x="437" y="120"/>
                  </a:lnTo>
                  <a:lnTo>
                    <a:pt x="438" y="122"/>
                  </a:lnTo>
                  <a:lnTo>
                    <a:pt x="439" y="124"/>
                  </a:lnTo>
                  <a:lnTo>
                    <a:pt x="446" y="134"/>
                  </a:lnTo>
                  <a:lnTo>
                    <a:pt x="447" y="135"/>
                  </a:lnTo>
                  <a:lnTo>
                    <a:pt x="448" y="136"/>
                  </a:lnTo>
                  <a:lnTo>
                    <a:pt x="448" y="137"/>
                  </a:lnTo>
                  <a:lnTo>
                    <a:pt x="448" y="138"/>
                  </a:lnTo>
                  <a:lnTo>
                    <a:pt x="448" y="140"/>
                  </a:lnTo>
                  <a:lnTo>
                    <a:pt x="447" y="142"/>
                  </a:lnTo>
                  <a:lnTo>
                    <a:pt x="445" y="146"/>
                  </a:lnTo>
                  <a:lnTo>
                    <a:pt x="444" y="148"/>
                  </a:lnTo>
                  <a:lnTo>
                    <a:pt x="444" y="149"/>
                  </a:lnTo>
                  <a:lnTo>
                    <a:pt x="444" y="150"/>
                  </a:lnTo>
                  <a:lnTo>
                    <a:pt x="444" y="151"/>
                  </a:lnTo>
                  <a:lnTo>
                    <a:pt x="445" y="152"/>
                  </a:lnTo>
                  <a:lnTo>
                    <a:pt x="446" y="155"/>
                  </a:lnTo>
                  <a:lnTo>
                    <a:pt x="448" y="157"/>
                  </a:lnTo>
                  <a:lnTo>
                    <a:pt x="452" y="160"/>
                  </a:lnTo>
                  <a:lnTo>
                    <a:pt x="456" y="165"/>
                  </a:lnTo>
                  <a:lnTo>
                    <a:pt x="459" y="168"/>
                  </a:lnTo>
                  <a:lnTo>
                    <a:pt x="467" y="177"/>
                  </a:lnTo>
                  <a:lnTo>
                    <a:pt x="470" y="180"/>
                  </a:lnTo>
                  <a:lnTo>
                    <a:pt x="475" y="183"/>
                  </a:lnTo>
                  <a:lnTo>
                    <a:pt x="477" y="184"/>
                  </a:lnTo>
                  <a:lnTo>
                    <a:pt x="478" y="186"/>
                  </a:lnTo>
                  <a:lnTo>
                    <a:pt x="481" y="190"/>
                  </a:lnTo>
                  <a:lnTo>
                    <a:pt x="483" y="191"/>
                  </a:lnTo>
                  <a:lnTo>
                    <a:pt x="484" y="192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88" y="193"/>
                  </a:lnTo>
                  <a:lnTo>
                    <a:pt x="491" y="194"/>
                  </a:lnTo>
                  <a:lnTo>
                    <a:pt x="497" y="195"/>
                  </a:lnTo>
                  <a:lnTo>
                    <a:pt x="499" y="195"/>
                  </a:lnTo>
                  <a:lnTo>
                    <a:pt x="499" y="199"/>
                  </a:lnTo>
                  <a:lnTo>
                    <a:pt x="500" y="202"/>
                  </a:lnTo>
                  <a:lnTo>
                    <a:pt x="500" y="214"/>
                  </a:lnTo>
                  <a:lnTo>
                    <a:pt x="500" y="221"/>
                  </a:lnTo>
                  <a:lnTo>
                    <a:pt x="500" y="229"/>
                  </a:lnTo>
                  <a:lnTo>
                    <a:pt x="500" y="240"/>
                  </a:lnTo>
                  <a:lnTo>
                    <a:pt x="500" y="244"/>
                  </a:lnTo>
                  <a:lnTo>
                    <a:pt x="500" y="253"/>
                  </a:lnTo>
                  <a:lnTo>
                    <a:pt x="499" y="260"/>
                  </a:lnTo>
                  <a:lnTo>
                    <a:pt x="497" y="270"/>
                  </a:lnTo>
                  <a:lnTo>
                    <a:pt x="496" y="272"/>
                  </a:lnTo>
                  <a:lnTo>
                    <a:pt x="495" y="275"/>
                  </a:lnTo>
                  <a:lnTo>
                    <a:pt x="494" y="277"/>
                  </a:lnTo>
                  <a:lnTo>
                    <a:pt x="493" y="278"/>
                  </a:lnTo>
                  <a:lnTo>
                    <a:pt x="492" y="280"/>
                  </a:lnTo>
                  <a:lnTo>
                    <a:pt x="491" y="281"/>
                  </a:lnTo>
                  <a:lnTo>
                    <a:pt x="489" y="282"/>
                  </a:lnTo>
                  <a:lnTo>
                    <a:pt x="489" y="282"/>
                  </a:lnTo>
                  <a:lnTo>
                    <a:pt x="487" y="283"/>
                  </a:lnTo>
                  <a:lnTo>
                    <a:pt x="486" y="284"/>
                  </a:lnTo>
                  <a:lnTo>
                    <a:pt x="483" y="284"/>
                  </a:lnTo>
                  <a:lnTo>
                    <a:pt x="480" y="284"/>
                  </a:lnTo>
                  <a:lnTo>
                    <a:pt x="469" y="282"/>
                  </a:lnTo>
                  <a:lnTo>
                    <a:pt x="463" y="281"/>
                  </a:lnTo>
                  <a:lnTo>
                    <a:pt x="460" y="281"/>
                  </a:lnTo>
                  <a:lnTo>
                    <a:pt x="457" y="281"/>
                  </a:lnTo>
                  <a:lnTo>
                    <a:pt x="455" y="281"/>
                  </a:lnTo>
                  <a:lnTo>
                    <a:pt x="453" y="281"/>
                  </a:lnTo>
                  <a:lnTo>
                    <a:pt x="451" y="281"/>
                  </a:lnTo>
                  <a:lnTo>
                    <a:pt x="450" y="281"/>
                  </a:lnTo>
                  <a:lnTo>
                    <a:pt x="448" y="282"/>
                  </a:lnTo>
                  <a:lnTo>
                    <a:pt x="446" y="282"/>
                  </a:lnTo>
                  <a:lnTo>
                    <a:pt x="444" y="283"/>
                  </a:lnTo>
                  <a:lnTo>
                    <a:pt x="443" y="284"/>
                  </a:lnTo>
                  <a:lnTo>
                    <a:pt x="443" y="285"/>
                  </a:lnTo>
                  <a:lnTo>
                    <a:pt x="442" y="286"/>
                  </a:lnTo>
                  <a:lnTo>
                    <a:pt x="441" y="288"/>
                  </a:lnTo>
                  <a:lnTo>
                    <a:pt x="441" y="290"/>
                  </a:lnTo>
                  <a:lnTo>
                    <a:pt x="441" y="292"/>
                  </a:lnTo>
                  <a:lnTo>
                    <a:pt x="442" y="294"/>
                  </a:lnTo>
                  <a:lnTo>
                    <a:pt x="443" y="301"/>
                  </a:lnTo>
                  <a:lnTo>
                    <a:pt x="444" y="304"/>
                  </a:lnTo>
                  <a:lnTo>
                    <a:pt x="447" y="316"/>
                  </a:lnTo>
                  <a:lnTo>
                    <a:pt x="450" y="326"/>
                  </a:lnTo>
                  <a:lnTo>
                    <a:pt x="450" y="328"/>
                  </a:lnTo>
                  <a:lnTo>
                    <a:pt x="450" y="329"/>
                  </a:lnTo>
                  <a:lnTo>
                    <a:pt x="450" y="331"/>
                  </a:lnTo>
                  <a:lnTo>
                    <a:pt x="449" y="333"/>
                  </a:lnTo>
                  <a:lnTo>
                    <a:pt x="448" y="334"/>
                  </a:lnTo>
                  <a:lnTo>
                    <a:pt x="447" y="335"/>
                  </a:lnTo>
                  <a:lnTo>
                    <a:pt x="446" y="336"/>
                  </a:lnTo>
                  <a:lnTo>
                    <a:pt x="445" y="337"/>
                  </a:lnTo>
                  <a:lnTo>
                    <a:pt x="443" y="337"/>
                  </a:lnTo>
                  <a:lnTo>
                    <a:pt x="442" y="338"/>
                  </a:lnTo>
                  <a:lnTo>
                    <a:pt x="441" y="338"/>
                  </a:lnTo>
                  <a:lnTo>
                    <a:pt x="441" y="338"/>
                  </a:lnTo>
                  <a:lnTo>
                    <a:pt x="437" y="338"/>
                  </a:lnTo>
                  <a:lnTo>
                    <a:pt x="428" y="338"/>
                  </a:lnTo>
                  <a:lnTo>
                    <a:pt x="425" y="337"/>
                  </a:lnTo>
                  <a:lnTo>
                    <a:pt x="422" y="337"/>
                  </a:lnTo>
                  <a:lnTo>
                    <a:pt x="419" y="336"/>
                  </a:lnTo>
                  <a:lnTo>
                    <a:pt x="415" y="335"/>
                  </a:lnTo>
                  <a:lnTo>
                    <a:pt x="410" y="333"/>
                  </a:lnTo>
                  <a:lnTo>
                    <a:pt x="407" y="332"/>
                  </a:lnTo>
                  <a:lnTo>
                    <a:pt x="404" y="330"/>
                  </a:lnTo>
                  <a:lnTo>
                    <a:pt x="402" y="329"/>
                  </a:lnTo>
                  <a:lnTo>
                    <a:pt x="400" y="328"/>
                  </a:lnTo>
                  <a:lnTo>
                    <a:pt x="398" y="327"/>
                  </a:lnTo>
                  <a:lnTo>
                    <a:pt x="398" y="325"/>
                  </a:lnTo>
                  <a:lnTo>
                    <a:pt x="397" y="323"/>
                  </a:lnTo>
                  <a:lnTo>
                    <a:pt x="395" y="321"/>
                  </a:lnTo>
                  <a:lnTo>
                    <a:pt x="392" y="316"/>
                  </a:lnTo>
                  <a:lnTo>
                    <a:pt x="391" y="316"/>
                  </a:lnTo>
                  <a:lnTo>
                    <a:pt x="390" y="315"/>
                  </a:lnTo>
                  <a:lnTo>
                    <a:pt x="389" y="314"/>
                  </a:lnTo>
                  <a:lnTo>
                    <a:pt x="388" y="313"/>
                  </a:lnTo>
                  <a:lnTo>
                    <a:pt x="387" y="313"/>
                  </a:lnTo>
                  <a:lnTo>
                    <a:pt x="387" y="313"/>
                  </a:lnTo>
                  <a:lnTo>
                    <a:pt x="386" y="314"/>
                  </a:lnTo>
                  <a:lnTo>
                    <a:pt x="384" y="314"/>
                  </a:lnTo>
                  <a:lnTo>
                    <a:pt x="383" y="315"/>
                  </a:lnTo>
                  <a:lnTo>
                    <a:pt x="382" y="316"/>
                  </a:lnTo>
                  <a:lnTo>
                    <a:pt x="379" y="318"/>
                  </a:lnTo>
                  <a:lnTo>
                    <a:pt x="375" y="321"/>
                  </a:lnTo>
                  <a:lnTo>
                    <a:pt x="374" y="324"/>
                  </a:lnTo>
                  <a:lnTo>
                    <a:pt x="373" y="326"/>
                  </a:lnTo>
                  <a:lnTo>
                    <a:pt x="370" y="329"/>
                  </a:lnTo>
                  <a:lnTo>
                    <a:pt x="368" y="333"/>
                  </a:lnTo>
                  <a:lnTo>
                    <a:pt x="365" y="339"/>
                  </a:lnTo>
                  <a:lnTo>
                    <a:pt x="363" y="346"/>
                  </a:lnTo>
                  <a:lnTo>
                    <a:pt x="362" y="347"/>
                  </a:lnTo>
                  <a:lnTo>
                    <a:pt x="361" y="350"/>
                  </a:lnTo>
                  <a:lnTo>
                    <a:pt x="360" y="351"/>
                  </a:lnTo>
                  <a:lnTo>
                    <a:pt x="356" y="355"/>
                  </a:lnTo>
                  <a:lnTo>
                    <a:pt x="355" y="356"/>
                  </a:lnTo>
                  <a:lnTo>
                    <a:pt x="354" y="358"/>
                  </a:lnTo>
                  <a:lnTo>
                    <a:pt x="352" y="361"/>
                  </a:lnTo>
                  <a:lnTo>
                    <a:pt x="352" y="363"/>
                  </a:lnTo>
                  <a:lnTo>
                    <a:pt x="351" y="364"/>
                  </a:lnTo>
                  <a:lnTo>
                    <a:pt x="349" y="366"/>
                  </a:lnTo>
                  <a:lnTo>
                    <a:pt x="348" y="367"/>
                  </a:lnTo>
                  <a:lnTo>
                    <a:pt x="346" y="368"/>
                  </a:lnTo>
                  <a:lnTo>
                    <a:pt x="344" y="369"/>
                  </a:lnTo>
                  <a:lnTo>
                    <a:pt x="342" y="369"/>
                  </a:lnTo>
                  <a:lnTo>
                    <a:pt x="341" y="369"/>
                  </a:lnTo>
                  <a:lnTo>
                    <a:pt x="339" y="370"/>
                  </a:lnTo>
                  <a:lnTo>
                    <a:pt x="336" y="370"/>
                  </a:lnTo>
                  <a:lnTo>
                    <a:pt x="332" y="369"/>
                  </a:lnTo>
                  <a:lnTo>
                    <a:pt x="330" y="369"/>
                  </a:lnTo>
                  <a:lnTo>
                    <a:pt x="327" y="369"/>
                  </a:lnTo>
                  <a:lnTo>
                    <a:pt x="323" y="367"/>
                  </a:lnTo>
                  <a:lnTo>
                    <a:pt x="319" y="366"/>
                  </a:lnTo>
                  <a:lnTo>
                    <a:pt x="316" y="363"/>
                  </a:lnTo>
                  <a:lnTo>
                    <a:pt x="308" y="359"/>
                  </a:lnTo>
                  <a:lnTo>
                    <a:pt x="307" y="359"/>
                  </a:lnTo>
                  <a:lnTo>
                    <a:pt x="307" y="359"/>
                  </a:lnTo>
                  <a:lnTo>
                    <a:pt x="307" y="359"/>
                  </a:lnTo>
                  <a:lnTo>
                    <a:pt x="299" y="355"/>
                  </a:lnTo>
                  <a:lnTo>
                    <a:pt x="296" y="353"/>
                  </a:lnTo>
                  <a:lnTo>
                    <a:pt x="293" y="351"/>
                  </a:lnTo>
                  <a:lnTo>
                    <a:pt x="290" y="350"/>
                  </a:lnTo>
                  <a:lnTo>
                    <a:pt x="287" y="347"/>
                  </a:lnTo>
                  <a:lnTo>
                    <a:pt x="284" y="344"/>
                  </a:lnTo>
                  <a:lnTo>
                    <a:pt x="282" y="341"/>
                  </a:lnTo>
                  <a:lnTo>
                    <a:pt x="280" y="339"/>
                  </a:lnTo>
                  <a:lnTo>
                    <a:pt x="279" y="337"/>
                  </a:lnTo>
                  <a:lnTo>
                    <a:pt x="278" y="334"/>
                  </a:lnTo>
                  <a:lnTo>
                    <a:pt x="278" y="332"/>
                  </a:lnTo>
                  <a:lnTo>
                    <a:pt x="277" y="330"/>
                  </a:lnTo>
                  <a:lnTo>
                    <a:pt x="278" y="328"/>
                  </a:lnTo>
                  <a:lnTo>
                    <a:pt x="278" y="327"/>
                  </a:lnTo>
                  <a:lnTo>
                    <a:pt x="279" y="324"/>
                  </a:lnTo>
                  <a:lnTo>
                    <a:pt x="281" y="318"/>
                  </a:lnTo>
                  <a:lnTo>
                    <a:pt x="281" y="317"/>
                  </a:lnTo>
                  <a:lnTo>
                    <a:pt x="281" y="316"/>
                  </a:lnTo>
                  <a:lnTo>
                    <a:pt x="282" y="314"/>
                  </a:lnTo>
                  <a:lnTo>
                    <a:pt x="281" y="312"/>
                  </a:lnTo>
                  <a:lnTo>
                    <a:pt x="281" y="311"/>
                  </a:lnTo>
                  <a:lnTo>
                    <a:pt x="280" y="310"/>
                  </a:lnTo>
                  <a:lnTo>
                    <a:pt x="279" y="309"/>
                  </a:lnTo>
                  <a:lnTo>
                    <a:pt x="277" y="308"/>
                  </a:lnTo>
                  <a:lnTo>
                    <a:pt x="276" y="308"/>
                  </a:lnTo>
                  <a:lnTo>
                    <a:pt x="272" y="307"/>
                  </a:lnTo>
                  <a:lnTo>
                    <a:pt x="270" y="307"/>
                  </a:lnTo>
                  <a:lnTo>
                    <a:pt x="266" y="306"/>
                  </a:lnTo>
                  <a:lnTo>
                    <a:pt x="262" y="305"/>
                  </a:lnTo>
                  <a:lnTo>
                    <a:pt x="260" y="304"/>
                  </a:lnTo>
                  <a:lnTo>
                    <a:pt x="257" y="302"/>
                  </a:lnTo>
                  <a:lnTo>
                    <a:pt x="255" y="301"/>
                  </a:lnTo>
                  <a:lnTo>
                    <a:pt x="250" y="297"/>
                  </a:lnTo>
                  <a:lnTo>
                    <a:pt x="247" y="295"/>
                  </a:lnTo>
                  <a:lnTo>
                    <a:pt x="243" y="294"/>
                  </a:lnTo>
                  <a:lnTo>
                    <a:pt x="240" y="292"/>
                  </a:lnTo>
                  <a:lnTo>
                    <a:pt x="237" y="291"/>
                  </a:lnTo>
                  <a:lnTo>
                    <a:pt x="232" y="289"/>
                  </a:lnTo>
                  <a:lnTo>
                    <a:pt x="229" y="288"/>
                  </a:lnTo>
                  <a:lnTo>
                    <a:pt x="226" y="287"/>
                  </a:lnTo>
                  <a:lnTo>
                    <a:pt x="223" y="287"/>
                  </a:lnTo>
                  <a:lnTo>
                    <a:pt x="221" y="286"/>
                  </a:lnTo>
                  <a:lnTo>
                    <a:pt x="220" y="285"/>
                  </a:lnTo>
                  <a:lnTo>
                    <a:pt x="219" y="284"/>
                  </a:lnTo>
                  <a:lnTo>
                    <a:pt x="218" y="283"/>
                  </a:lnTo>
                  <a:lnTo>
                    <a:pt x="217" y="282"/>
                  </a:lnTo>
                  <a:lnTo>
                    <a:pt x="216" y="282"/>
                  </a:lnTo>
                  <a:lnTo>
                    <a:pt x="216" y="280"/>
                  </a:lnTo>
                  <a:lnTo>
                    <a:pt x="216" y="278"/>
                  </a:lnTo>
                  <a:lnTo>
                    <a:pt x="214" y="272"/>
                  </a:lnTo>
                  <a:lnTo>
                    <a:pt x="213" y="270"/>
                  </a:lnTo>
                  <a:lnTo>
                    <a:pt x="213" y="269"/>
                  </a:lnTo>
                  <a:lnTo>
                    <a:pt x="212" y="268"/>
                  </a:lnTo>
                  <a:lnTo>
                    <a:pt x="211" y="267"/>
                  </a:lnTo>
                  <a:lnTo>
                    <a:pt x="210" y="266"/>
                  </a:lnTo>
                  <a:lnTo>
                    <a:pt x="207" y="265"/>
                  </a:lnTo>
                  <a:lnTo>
                    <a:pt x="205" y="264"/>
                  </a:lnTo>
                  <a:lnTo>
                    <a:pt x="197" y="261"/>
                  </a:lnTo>
                  <a:lnTo>
                    <a:pt x="190" y="260"/>
                  </a:lnTo>
                  <a:lnTo>
                    <a:pt x="187" y="259"/>
                  </a:lnTo>
                  <a:lnTo>
                    <a:pt x="184" y="258"/>
                  </a:lnTo>
                  <a:lnTo>
                    <a:pt x="182" y="257"/>
                  </a:lnTo>
                  <a:lnTo>
                    <a:pt x="180" y="255"/>
                  </a:lnTo>
                  <a:lnTo>
                    <a:pt x="176" y="253"/>
                  </a:lnTo>
                  <a:lnTo>
                    <a:pt x="174" y="251"/>
                  </a:lnTo>
                  <a:lnTo>
                    <a:pt x="172" y="250"/>
                  </a:lnTo>
                  <a:lnTo>
                    <a:pt x="171" y="248"/>
                  </a:lnTo>
                  <a:lnTo>
                    <a:pt x="163" y="241"/>
                  </a:lnTo>
                  <a:lnTo>
                    <a:pt x="162" y="240"/>
                  </a:lnTo>
                  <a:lnTo>
                    <a:pt x="160" y="239"/>
                  </a:lnTo>
                  <a:lnTo>
                    <a:pt x="159" y="238"/>
                  </a:lnTo>
                  <a:lnTo>
                    <a:pt x="155" y="237"/>
                  </a:lnTo>
                  <a:lnTo>
                    <a:pt x="148" y="233"/>
                  </a:lnTo>
                  <a:lnTo>
                    <a:pt x="147" y="232"/>
                  </a:lnTo>
                  <a:lnTo>
                    <a:pt x="143" y="230"/>
                  </a:lnTo>
                  <a:lnTo>
                    <a:pt x="142" y="229"/>
                  </a:lnTo>
                  <a:lnTo>
                    <a:pt x="140" y="228"/>
                  </a:lnTo>
                  <a:lnTo>
                    <a:pt x="138" y="227"/>
                  </a:lnTo>
                  <a:lnTo>
                    <a:pt x="132" y="226"/>
                  </a:lnTo>
                  <a:lnTo>
                    <a:pt x="130" y="226"/>
                  </a:lnTo>
                  <a:lnTo>
                    <a:pt x="128" y="226"/>
                  </a:lnTo>
                  <a:lnTo>
                    <a:pt x="126" y="226"/>
                  </a:lnTo>
                  <a:lnTo>
                    <a:pt x="125" y="226"/>
                  </a:lnTo>
                  <a:lnTo>
                    <a:pt x="121" y="226"/>
                  </a:lnTo>
                  <a:lnTo>
                    <a:pt x="119" y="227"/>
                  </a:lnTo>
                  <a:lnTo>
                    <a:pt x="117" y="227"/>
                  </a:lnTo>
                  <a:lnTo>
                    <a:pt x="115" y="227"/>
                  </a:lnTo>
                  <a:lnTo>
                    <a:pt x="113" y="227"/>
                  </a:lnTo>
                  <a:lnTo>
                    <a:pt x="107" y="226"/>
                  </a:lnTo>
                  <a:lnTo>
                    <a:pt x="105" y="226"/>
                  </a:lnTo>
                  <a:lnTo>
                    <a:pt x="104" y="226"/>
                  </a:lnTo>
                  <a:lnTo>
                    <a:pt x="101" y="226"/>
                  </a:lnTo>
                  <a:lnTo>
                    <a:pt x="91" y="226"/>
                  </a:lnTo>
                  <a:lnTo>
                    <a:pt x="89" y="226"/>
                  </a:lnTo>
                  <a:lnTo>
                    <a:pt x="86" y="226"/>
                  </a:lnTo>
                  <a:lnTo>
                    <a:pt x="82" y="226"/>
                  </a:lnTo>
                  <a:lnTo>
                    <a:pt x="80" y="226"/>
                  </a:lnTo>
                  <a:lnTo>
                    <a:pt x="78" y="226"/>
                  </a:lnTo>
                  <a:lnTo>
                    <a:pt x="76" y="225"/>
                  </a:lnTo>
                  <a:lnTo>
                    <a:pt x="74" y="224"/>
                  </a:lnTo>
                  <a:lnTo>
                    <a:pt x="73" y="223"/>
                  </a:lnTo>
                  <a:lnTo>
                    <a:pt x="69" y="220"/>
                  </a:lnTo>
                  <a:lnTo>
                    <a:pt x="65" y="216"/>
                  </a:lnTo>
                  <a:lnTo>
                    <a:pt x="62" y="214"/>
                  </a:lnTo>
                  <a:lnTo>
                    <a:pt x="57" y="210"/>
                  </a:lnTo>
                  <a:lnTo>
                    <a:pt x="56" y="208"/>
                  </a:lnTo>
                  <a:lnTo>
                    <a:pt x="37" y="195"/>
                  </a:lnTo>
                  <a:lnTo>
                    <a:pt x="29" y="190"/>
                  </a:lnTo>
                  <a:lnTo>
                    <a:pt x="25" y="187"/>
                  </a:lnTo>
                  <a:lnTo>
                    <a:pt x="11" y="176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7"/>
                  </a:lnTo>
                  <a:lnTo>
                    <a:pt x="0" y="161"/>
                  </a:lnTo>
                  <a:lnTo>
                    <a:pt x="1" y="158"/>
                  </a:lnTo>
                  <a:lnTo>
                    <a:pt x="1" y="157"/>
                  </a:lnTo>
                  <a:lnTo>
                    <a:pt x="3" y="152"/>
                  </a:lnTo>
                  <a:lnTo>
                    <a:pt x="3" y="149"/>
                  </a:lnTo>
                  <a:lnTo>
                    <a:pt x="3" y="147"/>
                  </a:lnTo>
                  <a:lnTo>
                    <a:pt x="3" y="141"/>
                  </a:lnTo>
                  <a:lnTo>
                    <a:pt x="3" y="133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4" y="128"/>
                  </a:lnTo>
                  <a:lnTo>
                    <a:pt x="4" y="127"/>
                  </a:lnTo>
                  <a:lnTo>
                    <a:pt x="5" y="125"/>
                  </a:lnTo>
                  <a:lnTo>
                    <a:pt x="11" y="122"/>
                  </a:lnTo>
                  <a:lnTo>
                    <a:pt x="12" y="120"/>
                  </a:lnTo>
                  <a:lnTo>
                    <a:pt x="13" y="118"/>
                  </a:lnTo>
                  <a:lnTo>
                    <a:pt x="14" y="117"/>
                  </a:lnTo>
                  <a:lnTo>
                    <a:pt x="17" y="109"/>
                  </a:lnTo>
                  <a:lnTo>
                    <a:pt x="21" y="101"/>
                  </a:lnTo>
                  <a:lnTo>
                    <a:pt x="23" y="94"/>
                  </a:lnTo>
                  <a:lnTo>
                    <a:pt x="24" y="92"/>
                  </a:lnTo>
                  <a:lnTo>
                    <a:pt x="24" y="91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3" y="87"/>
                  </a:lnTo>
                  <a:lnTo>
                    <a:pt x="22" y="81"/>
                  </a:lnTo>
                  <a:lnTo>
                    <a:pt x="21" y="78"/>
                  </a:lnTo>
                  <a:lnTo>
                    <a:pt x="20" y="76"/>
                  </a:lnTo>
                  <a:lnTo>
                    <a:pt x="20" y="75"/>
                  </a:lnTo>
                  <a:lnTo>
                    <a:pt x="20" y="73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21" y="69"/>
                  </a:lnTo>
                  <a:lnTo>
                    <a:pt x="21" y="68"/>
                  </a:lnTo>
                  <a:lnTo>
                    <a:pt x="22" y="67"/>
                  </a:lnTo>
                  <a:lnTo>
                    <a:pt x="23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5" y="66"/>
                  </a:lnTo>
                  <a:lnTo>
                    <a:pt x="27" y="66"/>
                  </a:lnTo>
                  <a:lnTo>
                    <a:pt x="31" y="67"/>
                  </a:lnTo>
                  <a:lnTo>
                    <a:pt x="34" y="67"/>
                  </a:lnTo>
                  <a:lnTo>
                    <a:pt x="40" y="69"/>
                  </a:lnTo>
                  <a:lnTo>
                    <a:pt x="45" y="70"/>
                  </a:lnTo>
                  <a:lnTo>
                    <a:pt x="48" y="70"/>
                  </a:lnTo>
                  <a:lnTo>
                    <a:pt x="56" y="71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6" y="73"/>
                  </a:lnTo>
                  <a:lnTo>
                    <a:pt x="68" y="73"/>
                  </a:lnTo>
                  <a:lnTo>
                    <a:pt x="74" y="71"/>
                  </a:lnTo>
                  <a:lnTo>
                    <a:pt x="79" y="70"/>
                  </a:lnTo>
                  <a:lnTo>
                    <a:pt x="84" y="69"/>
                  </a:lnTo>
                  <a:lnTo>
                    <a:pt x="86" y="68"/>
                  </a:lnTo>
                  <a:lnTo>
                    <a:pt x="89" y="67"/>
                  </a:lnTo>
                  <a:lnTo>
                    <a:pt x="92" y="67"/>
                  </a:lnTo>
                  <a:lnTo>
                    <a:pt x="98" y="64"/>
                  </a:lnTo>
                  <a:lnTo>
                    <a:pt x="101" y="63"/>
                  </a:lnTo>
                  <a:lnTo>
                    <a:pt x="103" y="61"/>
                  </a:lnTo>
                  <a:lnTo>
                    <a:pt x="106" y="59"/>
                  </a:lnTo>
                  <a:lnTo>
                    <a:pt x="108" y="58"/>
                  </a:lnTo>
                  <a:lnTo>
                    <a:pt x="111" y="56"/>
                  </a:lnTo>
                  <a:lnTo>
                    <a:pt x="113" y="54"/>
                  </a:lnTo>
                  <a:lnTo>
                    <a:pt x="115" y="50"/>
                  </a:lnTo>
                  <a:lnTo>
                    <a:pt x="118" y="46"/>
                  </a:lnTo>
                  <a:lnTo>
                    <a:pt x="120" y="44"/>
                  </a:lnTo>
                  <a:lnTo>
                    <a:pt x="123" y="41"/>
                  </a:lnTo>
                  <a:lnTo>
                    <a:pt x="126" y="37"/>
                  </a:lnTo>
                  <a:lnTo>
                    <a:pt x="128" y="35"/>
                  </a:lnTo>
                  <a:lnTo>
                    <a:pt x="130" y="34"/>
                  </a:lnTo>
                  <a:lnTo>
                    <a:pt x="131" y="33"/>
                  </a:lnTo>
                  <a:lnTo>
                    <a:pt x="133" y="33"/>
                  </a:lnTo>
                  <a:lnTo>
                    <a:pt x="135" y="32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45" y="32"/>
                  </a:lnTo>
                  <a:lnTo>
                    <a:pt x="148" y="32"/>
                  </a:lnTo>
                  <a:lnTo>
                    <a:pt x="150" y="31"/>
                  </a:lnTo>
                  <a:lnTo>
                    <a:pt x="153" y="31"/>
                  </a:lnTo>
                  <a:lnTo>
                    <a:pt x="159" y="29"/>
                  </a:lnTo>
                  <a:lnTo>
                    <a:pt x="167" y="27"/>
                  </a:lnTo>
                  <a:lnTo>
                    <a:pt x="171" y="26"/>
                  </a:lnTo>
                  <a:lnTo>
                    <a:pt x="173" y="24"/>
                  </a:lnTo>
                  <a:lnTo>
                    <a:pt x="183" y="19"/>
                  </a:lnTo>
                  <a:lnTo>
                    <a:pt x="184" y="18"/>
                  </a:lnTo>
                  <a:lnTo>
                    <a:pt x="186" y="17"/>
                  </a:lnTo>
                  <a:lnTo>
                    <a:pt x="187" y="17"/>
                  </a:lnTo>
                  <a:lnTo>
                    <a:pt x="188" y="17"/>
                  </a:lnTo>
                  <a:lnTo>
                    <a:pt x="190" y="16"/>
                  </a:lnTo>
                  <a:lnTo>
                    <a:pt x="192" y="16"/>
                  </a:lnTo>
                  <a:lnTo>
                    <a:pt x="193" y="16"/>
                  </a:lnTo>
                  <a:lnTo>
                    <a:pt x="194" y="17"/>
                  </a:lnTo>
                  <a:lnTo>
                    <a:pt x="196" y="17"/>
                  </a:lnTo>
                  <a:lnTo>
                    <a:pt x="198" y="18"/>
                  </a:lnTo>
                  <a:lnTo>
                    <a:pt x="203" y="20"/>
                  </a:lnTo>
                  <a:lnTo>
                    <a:pt x="208" y="22"/>
                  </a:lnTo>
                  <a:lnTo>
                    <a:pt x="216" y="24"/>
                  </a:lnTo>
                  <a:lnTo>
                    <a:pt x="219" y="25"/>
                  </a:lnTo>
                  <a:lnTo>
                    <a:pt x="222" y="26"/>
                  </a:lnTo>
                  <a:lnTo>
                    <a:pt x="225" y="26"/>
                  </a:lnTo>
                  <a:lnTo>
                    <a:pt x="227" y="27"/>
                  </a:lnTo>
                  <a:lnTo>
                    <a:pt x="230" y="27"/>
                  </a:lnTo>
                  <a:lnTo>
                    <a:pt x="231" y="27"/>
                  </a:lnTo>
                  <a:lnTo>
                    <a:pt x="233" y="26"/>
                  </a:lnTo>
                  <a:lnTo>
                    <a:pt x="234" y="26"/>
                  </a:lnTo>
                  <a:lnTo>
                    <a:pt x="239" y="24"/>
                  </a:lnTo>
                  <a:lnTo>
                    <a:pt x="241" y="23"/>
                  </a:lnTo>
                  <a:lnTo>
                    <a:pt x="242" y="22"/>
                  </a:lnTo>
                  <a:lnTo>
                    <a:pt x="243" y="22"/>
                  </a:lnTo>
                  <a:lnTo>
                    <a:pt x="244" y="22"/>
                  </a:lnTo>
                  <a:lnTo>
                    <a:pt x="246" y="19"/>
                  </a:lnTo>
                  <a:lnTo>
                    <a:pt x="247" y="17"/>
                  </a:lnTo>
                  <a:lnTo>
                    <a:pt x="250" y="15"/>
                  </a:lnTo>
                  <a:lnTo>
                    <a:pt x="255" y="10"/>
                  </a:lnTo>
                  <a:lnTo>
                    <a:pt x="257" y="9"/>
                  </a:lnTo>
                  <a:lnTo>
                    <a:pt x="261" y="5"/>
                  </a:lnTo>
                  <a:lnTo>
                    <a:pt x="262" y="3"/>
                  </a:lnTo>
                  <a:lnTo>
                    <a:pt x="264" y="1"/>
                  </a:lnTo>
                  <a:lnTo>
                    <a:pt x="265" y="0"/>
                  </a:lnTo>
                  <a:lnTo>
                    <a:pt x="266" y="0"/>
                  </a:lnTo>
                  <a:lnTo>
                    <a:pt x="266" y="1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5" name="Freeform 52">
              <a:extLst>
                <a:ext uri="{FF2B5EF4-FFF2-40B4-BE49-F238E27FC236}">
                  <a16:creationId xmlns:a16="http://schemas.microsoft.com/office/drawing/2014/main" id="{550EDE80-B987-4126-9E23-13C23181F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4" y="2018"/>
              <a:ext cx="583" cy="277"/>
            </a:xfrm>
            <a:custGeom>
              <a:avLst/>
              <a:gdLst>
                <a:gd name="T0" fmla="*/ 323 w 583"/>
                <a:gd name="T1" fmla="*/ 16 h 277"/>
                <a:gd name="T2" fmla="*/ 336 w 583"/>
                <a:gd name="T3" fmla="*/ 42 h 277"/>
                <a:gd name="T4" fmla="*/ 357 w 583"/>
                <a:gd name="T5" fmla="*/ 43 h 277"/>
                <a:gd name="T6" fmla="*/ 386 w 583"/>
                <a:gd name="T7" fmla="*/ 25 h 277"/>
                <a:gd name="T8" fmla="*/ 415 w 583"/>
                <a:gd name="T9" fmla="*/ 8 h 277"/>
                <a:gd name="T10" fmla="*/ 459 w 583"/>
                <a:gd name="T11" fmla="*/ 17 h 277"/>
                <a:gd name="T12" fmla="*/ 472 w 583"/>
                <a:gd name="T13" fmla="*/ 25 h 277"/>
                <a:gd name="T14" fmla="*/ 483 w 583"/>
                <a:gd name="T15" fmla="*/ 58 h 277"/>
                <a:gd name="T16" fmla="*/ 494 w 583"/>
                <a:gd name="T17" fmla="*/ 69 h 277"/>
                <a:gd name="T18" fmla="*/ 522 w 583"/>
                <a:gd name="T19" fmla="*/ 75 h 277"/>
                <a:gd name="T20" fmla="*/ 538 w 583"/>
                <a:gd name="T21" fmla="*/ 98 h 277"/>
                <a:gd name="T22" fmla="*/ 565 w 583"/>
                <a:gd name="T23" fmla="*/ 110 h 277"/>
                <a:gd name="T24" fmla="*/ 581 w 583"/>
                <a:gd name="T25" fmla="*/ 138 h 277"/>
                <a:gd name="T26" fmla="*/ 563 w 583"/>
                <a:gd name="T27" fmla="*/ 171 h 277"/>
                <a:gd name="T28" fmla="*/ 547 w 583"/>
                <a:gd name="T29" fmla="*/ 169 h 277"/>
                <a:gd name="T30" fmla="*/ 543 w 583"/>
                <a:gd name="T31" fmla="*/ 190 h 277"/>
                <a:gd name="T32" fmla="*/ 523 w 583"/>
                <a:gd name="T33" fmla="*/ 210 h 277"/>
                <a:gd name="T34" fmla="*/ 515 w 583"/>
                <a:gd name="T35" fmla="*/ 227 h 277"/>
                <a:gd name="T36" fmla="*/ 504 w 583"/>
                <a:gd name="T37" fmla="*/ 223 h 277"/>
                <a:gd name="T38" fmla="*/ 486 w 583"/>
                <a:gd name="T39" fmla="*/ 221 h 277"/>
                <a:gd name="T40" fmla="*/ 456 w 583"/>
                <a:gd name="T41" fmla="*/ 235 h 277"/>
                <a:gd name="T42" fmla="*/ 423 w 583"/>
                <a:gd name="T43" fmla="*/ 220 h 277"/>
                <a:gd name="T44" fmla="*/ 394 w 583"/>
                <a:gd name="T45" fmla="*/ 217 h 277"/>
                <a:gd name="T46" fmla="*/ 377 w 583"/>
                <a:gd name="T47" fmla="*/ 216 h 277"/>
                <a:gd name="T48" fmla="*/ 360 w 583"/>
                <a:gd name="T49" fmla="*/ 205 h 277"/>
                <a:gd name="T50" fmla="*/ 339 w 583"/>
                <a:gd name="T51" fmla="*/ 226 h 277"/>
                <a:gd name="T52" fmla="*/ 321 w 583"/>
                <a:gd name="T53" fmla="*/ 230 h 277"/>
                <a:gd name="T54" fmla="*/ 289 w 583"/>
                <a:gd name="T55" fmla="*/ 220 h 277"/>
                <a:gd name="T56" fmla="*/ 267 w 583"/>
                <a:gd name="T57" fmla="*/ 230 h 277"/>
                <a:gd name="T58" fmla="*/ 231 w 583"/>
                <a:gd name="T59" fmla="*/ 236 h 277"/>
                <a:gd name="T60" fmla="*/ 211 w 583"/>
                <a:gd name="T61" fmla="*/ 254 h 277"/>
                <a:gd name="T62" fmla="*/ 185 w 583"/>
                <a:gd name="T63" fmla="*/ 271 h 277"/>
                <a:gd name="T64" fmla="*/ 152 w 583"/>
                <a:gd name="T65" fmla="*/ 275 h 277"/>
                <a:gd name="T66" fmla="*/ 120 w 583"/>
                <a:gd name="T67" fmla="*/ 269 h 277"/>
                <a:gd name="T68" fmla="*/ 109 w 583"/>
                <a:gd name="T69" fmla="*/ 249 h 277"/>
                <a:gd name="T70" fmla="*/ 82 w 583"/>
                <a:gd name="T71" fmla="*/ 232 h 277"/>
                <a:gd name="T72" fmla="*/ 73 w 583"/>
                <a:gd name="T73" fmla="*/ 214 h 277"/>
                <a:gd name="T74" fmla="*/ 65 w 583"/>
                <a:gd name="T75" fmla="*/ 203 h 277"/>
                <a:gd name="T76" fmla="*/ 44 w 583"/>
                <a:gd name="T77" fmla="*/ 195 h 277"/>
                <a:gd name="T78" fmla="*/ 26 w 583"/>
                <a:gd name="T79" fmla="*/ 185 h 277"/>
                <a:gd name="T80" fmla="*/ 9 w 583"/>
                <a:gd name="T81" fmla="*/ 178 h 277"/>
                <a:gd name="T82" fmla="*/ 0 w 583"/>
                <a:gd name="T83" fmla="*/ 163 h 277"/>
                <a:gd name="T84" fmla="*/ 15 w 583"/>
                <a:gd name="T85" fmla="*/ 152 h 277"/>
                <a:gd name="T86" fmla="*/ 10 w 583"/>
                <a:gd name="T87" fmla="*/ 142 h 277"/>
                <a:gd name="T88" fmla="*/ 25 w 583"/>
                <a:gd name="T89" fmla="*/ 127 h 277"/>
                <a:gd name="T90" fmla="*/ 32 w 583"/>
                <a:gd name="T91" fmla="*/ 104 h 277"/>
                <a:gd name="T92" fmla="*/ 27 w 583"/>
                <a:gd name="T93" fmla="*/ 93 h 277"/>
                <a:gd name="T94" fmla="*/ 34 w 583"/>
                <a:gd name="T95" fmla="*/ 85 h 277"/>
                <a:gd name="T96" fmla="*/ 49 w 583"/>
                <a:gd name="T97" fmla="*/ 78 h 277"/>
                <a:gd name="T98" fmla="*/ 62 w 583"/>
                <a:gd name="T99" fmla="*/ 86 h 277"/>
                <a:gd name="T100" fmla="*/ 85 w 583"/>
                <a:gd name="T101" fmla="*/ 79 h 277"/>
                <a:gd name="T102" fmla="*/ 110 w 583"/>
                <a:gd name="T103" fmla="*/ 62 h 277"/>
                <a:gd name="T104" fmla="*/ 124 w 583"/>
                <a:gd name="T105" fmla="*/ 45 h 277"/>
                <a:gd name="T106" fmla="*/ 150 w 583"/>
                <a:gd name="T107" fmla="*/ 36 h 277"/>
                <a:gd name="T108" fmla="*/ 167 w 583"/>
                <a:gd name="T109" fmla="*/ 45 h 277"/>
                <a:gd name="T110" fmla="*/ 198 w 583"/>
                <a:gd name="T111" fmla="*/ 46 h 277"/>
                <a:gd name="T112" fmla="*/ 227 w 583"/>
                <a:gd name="T113" fmla="*/ 53 h 277"/>
                <a:gd name="T114" fmla="*/ 255 w 583"/>
                <a:gd name="T115" fmla="*/ 45 h 277"/>
                <a:gd name="T116" fmla="*/ 277 w 583"/>
                <a:gd name="T117" fmla="*/ 33 h 277"/>
                <a:gd name="T118" fmla="*/ 292 w 583"/>
                <a:gd name="T119" fmla="*/ 1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3" h="277">
                  <a:moveTo>
                    <a:pt x="309" y="0"/>
                  </a:moveTo>
                  <a:lnTo>
                    <a:pt x="310" y="1"/>
                  </a:lnTo>
                  <a:lnTo>
                    <a:pt x="312" y="3"/>
                  </a:lnTo>
                  <a:lnTo>
                    <a:pt x="314" y="4"/>
                  </a:lnTo>
                  <a:lnTo>
                    <a:pt x="316" y="6"/>
                  </a:lnTo>
                  <a:lnTo>
                    <a:pt x="317" y="7"/>
                  </a:lnTo>
                  <a:lnTo>
                    <a:pt x="319" y="9"/>
                  </a:lnTo>
                  <a:lnTo>
                    <a:pt x="321" y="12"/>
                  </a:lnTo>
                  <a:lnTo>
                    <a:pt x="323" y="16"/>
                  </a:lnTo>
                  <a:lnTo>
                    <a:pt x="324" y="20"/>
                  </a:lnTo>
                  <a:lnTo>
                    <a:pt x="326" y="23"/>
                  </a:lnTo>
                  <a:lnTo>
                    <a:pt x="328" y="31"/>
                  </a:lnTo>
                  <a:lnTo>
                    <a:pt x="329" y="33"/>
                  </a:lnTo>
                  <a:lnTo>
                    <a:pt x="330" y="35"/>
                  </a:lnTo>
                  <a:lnTo>
                    <a:pt x="332" y="38"/>
                  </a:lnTo>
                  <a:lnTo>
                    <a:pt x="333" y="39"/>
                  </a:lnTo>
                  <a:lnTo>
                    <a:pt x="335" y="41"/>
                  </a:lnTo>
                  <a:lnTo>
                    <a:pt x="336" y="42"/>
                  </a:lnTo>
                  <a:lnTo>
                    <a:pt x="338" y="43"/>
                  </a:lnTo>
                  <a:lnTo>
                    <a:pt x="340" y="44"/>
                  </a:lnTo>
                  <a:lnTo>
                    <a:pt x="342" y="44"/>
                  </a:lnTo>
                  <a:lnTo>
                    <a:pt x="344" y="44"/>
                  </a:lnTo>
                  <a:lnTo>
                    <a:pt x="346" y="44"/>
                  </a:lnTo>
                  <a:lnTo>
                    <a:pt x="349" y="45"/>
                  </a:lnTo>
                  <a:lnTo>
                    <a:pt x="351" y="44"/>
                  </a:lnTo>
                  <a:lnTo>
                    <a:pt x="354" y="44"/>
                  </a:lnTo>
                  <a:lnTo>
                    <a:pt x="357" y="43"/>
                  </a:lnTo>
                  <a:lnTo>
                    <a:pt x="360" y="41"/>
                  </a:lnTo>
                  <a:lnTo>
                    <a:pt x="366" y="36"/>
                  </a:lnTo>
                  <a:lnTo>
                    <a:pt x="369" y="34"/>
                  </a:lnTo>
                  <a:lnTo>
                    <a:pt x="371" y="33"/>
                  </a:lnTo>
                  <a:lnTo>
                    <a:pt x="379" y="30"/>
                  </a:lnTo>
                  <a:lnTo>
                    <a:pt x="380" y="29"/>
                  </a:lnTo>
                  <a:lnTo>
                    <a:pt x="383" y="28"/>
                  </a:lnTo>
                  <a:lnTo>
                    <a:pt x="385" y="26"/>
                  </a:lnTo>
                  <a:lnTo>
                    <a:pt x="386" y="25"/>
                  </a:lnTo>
                  <a:lnTo>
                    <a:pt x="388" y="23"/>
                  </a:lnTo>
                  <a:lnTo>
                    <a:pt x="393" y="18"/>
                  </a:lnTo>
                  <a:lnTo>
                    <a:pt x="395" y="16"/>
                  </a:lnTo>
                  <a:lnTo>
                    <a:pt x="397" y="15"/>
                  </a:lnTo>
                  <a:lnTo>
                    <a:pt x="400" y="13"/>
                  </a:lnTo>
                  <a:lnTo>
                    <a:pt x="403" y="12"/>
                  </a:lnTo>
                  <a:lnTo>
                    <a:pt x="412" y="9"/>
                  </a:lnTo>
                  <a:lnTo>
                    <a:pt x="414" y="9"/>
                  </a:lnTo>
                  <a:lnTo>
                    <a:pt x="415" y="8"/>
                  </a:lnTo>
                  <a:lnTo>
                    <a:pt x="417" y="8"/>
                  </a:lnTo>
                  <a:lnTo>
                    <a:pt x="419" y="8"/>
                  </a:lnTo>
                  <a:lnTo>
                    <a:pt x="420" y="9"/>
                  </a:lnTo>
                  <a:lnTo>
                    <a:pt x="423" y="9"/>
                  </a:lnTo>
                  <a:lnTo>
                    <a:pt x="431" y="10"/>
                  </a:lnTo>
                  <a:lnTo>
                    <a:pt x="437" y="12"/>
                  </a:lnTo>
                  <a:lnTo>
                    <a:pt x="445" y="14"/>
                  </a:lnTo>
                  <a:lnTo>
                    <a:pt x="455" y="16"/>
                  </a:lnTo>
                  <a:lnTo>
                    <a:pt x="459" y="17"/>
                  </a:lnTo>
                  <a:lnTo>
                    <a:pt x="464" y="18"/>
                  </a:lnTo>
                  <a:lnTo>
                    <a:pt x="468" y="18"/>
                  </a:lnTo>
                  <a:lnTo>
                    <a:pt x="469" y="18"/>
                  </a:lnTo>
                  <a:lnTo>
                    <a:pt x="470" y="18"/>
                  </a:lnTo>
                  <a:lnTo>
                    <a:pt x="470" y="19"/>
                  </a:lnTo>
                  <a:lnTo>
                    <a:pt x="470" y="20"/>
                  </a:lnTo>
                  <a:lnTo>
                    <a:pt x="471" y="22"/>
                  </a:lnTo>
                  <a:lnTo>
                    <a:pt x="471" y="23"/>
                  </a:lnTo>
                  <a:lnTo>
                    <a:pt x="472" y="25"/>
                  </a:lnTo>
                  <a:lnTo>
                    <a:pt x="476" y="30"/>
                  </a:lnTo>
                  <a:lnTo>
                    <a:pt x="477" y="32"/>
                  </a:lnTo>
                  <a:lnTo>
                    <a:pt x="478" y="34"/>
                  </a:lnTo>
                  <a:lnTo>
                    <a:pt x="479" y="36"/>
                  </a:lnTo>
                  <a:lnTo>
                    <a:pt x="480" y="39"/>
                  </a:lnTo>
                  <a:lnTo>
                    <a:pt x="481" y="43"/>
                  </a:lnTo>
                  <a:lnTo>
                    <a:pt x="482" y="46"/>
                  </a:lnTo>
                  <a:lnTo>
                    <a:pt x="483" y="55"/>
                  </a:lnTo>
                  <a:lnTo>
                    <a:pt x="483" y="58"/>
                  </a:lnTo>
                  <a:lnTo>
                    <a:pt x="484" y="61"/>
                  </a:lnTo>
                  <a:lnTo>
                    <a:pt x="485" y="63"/>
                  </a:lnTo>
                  <a:lnTo>
                    <a:pt x="486" y="64"/>
                  </a:lnTo>
                  <a:lnTo>
                    <a:pt x="487" y="65"/>
                  </a:lnTo>
                  <a:lnTo>
                    <a:pt x="488" y="66"/>
                  </a:lnTo>
                  <a:lnTo>
                    <a:pt x="489" y="67"/>
                  </a:lnTo>
                  <a:lnTo>
                    <a:pt x="491" y="67"/>
                  </a:lnTo>
                  <a:lnTo>
                    <a:pt x="493" y="68"/>
                  </a:lnTo>
                  <a:lnTo>
                    <a:pt x="494" y="69"/>
                  </a:lnTo>
                  <a:lnTo>
                    <a:pt x="495" y="69"/>
                  </a:lnTo>
                  <a:lnTo>
                    <a:pt x="499" y="70"/>
                  </a:lnTo>
                  <a:lnTo>
                    <a:pt x="509" y="71"/>
                  </a:lnTo>
                  <a:lnTo>
                    <a:pt x="514" y="71"/>
                  </a:lnTo>
                  <a:lnTo>
                    <a:pt x="516" y="72"/>
                  </a:lnTo>
                  <a:lnTo>
                    <a:pt x="517" y="73"/>
                  </a:lnTo>
                  <a:lnTo>
                    <a:pt x="519" y="73"/>
                  </a:lnTo>
                  <a:lnTo>
                    <a:pt x="521" y="74"/>
                  </a:lnTo>
                  <a:lnTo>
                    <a:pt x="522" y="75"/>
                  </a:lnTo>
                  <a:lnTo>
                    <a:pt x="523" y="76"/>
                  </a:lnTo>
                  <a:lnTo>
                    <a:pt x="524" y="78"/>
                  </a:lnTo>
                  <a:lnTo>
                    <a:pt x="526" y="79"/>
                  </a:lnTo>
                  <a:lnTo>
                    <a:pt x="528" y="83"/>
                  </a:lnTo>
                  <a:lnTo>
                    <a:pt x="531" y="90"/>
                  </a:lnTo>
                  <a:lnTo>
                    <a:pt x="533" y="92"/>
                  </a:lnTo>
                  <a:lnTo>
                    <a:pt x="535" y="95"/>
                  </a:lnTo>
                  <a:lnTo>
                    <a:pt x="537" y="97"/>
                  </a:lnTo>
                  <a:lnTo>
                    <a:pt x="538" y="98"/>
                  </a:lnTo>
                  <a:lnTo>
                    <a:pt x="539" y="99"/>
                  </a:lnTo>
                  <a:lnTo>
                    <a:pt x="540" y="100"/>
                  </a:lnTo>
                  <a:lnTo>
                    <a:pt x="542" y="101"/>
                  </a:lnTo>
                  <a:lnTo>
                    <a:pt x="548" y="102"/>
                  </a:lnTo>
                  <a:lnTo>
                    <a:pt x="551" y="103"/>
                  </a:lnTo>
                  <a:lnTo>
                    <a:pt x="556" y="105"/>
                  </a:lnTo>
                  <a:lnTo>
                    <a:pt x="558" y="106"/>
                  </a:lnTo>
                  <a:lnTo>
                    <a:pt x="562" y="107"/>
                  </a:lnTo>
                  <a:lnTo>
                    <a:pt x="565" y="110"/>
                  </a:lnTo>
                  <a:lnTo>
                    <a:pt x="567" y="111"/>
                  </a:lnTo>
                  <a:lnTo>
                    <a:pt x="569" y="112"/>
                  </a:lnTo>
                  <a:lnTo>
                    <a:pt x="572" y="115"/>
                  </a:lnTo>
                  <a:lnTo>
                    <a:pt x="575" y="119"/>
                  </a:lnTo>
                  <a:lnTo>
                    <a:pt x="581" y="126"/>
                  </a:lnTo>
                  <a:lnTo>
                    <a:pt x="583" y="128"/>
                  </a:lnTo>
                  <a:lnTo>
                    <a:pt x="583" y="129"/>
                  </a:lnTo>
                  <a:lnTo>
                    <a:pt x="581" y="135"/>
                  </a:lnTo>
                  <a:lnTo>
                    <a:pt x="581" y="138"/>
                  </a:lnTo>
                  <a:lnTo>
                    <a:pt x="579" y="143"/>
                  </a:lnTo>
                  <a:lnTo>
                    <a:pt x="576" y="151"/>
                  </a:lnTo>
                  <a:lnTo>
                    <a:pt x="573" y="157"/>
                  </a:lnTo>
                  <a:lnTo>
                    <a:pt x="572" y="161"/>
                  </a:lnTo>
                  <a:lnTo>
                    <a:pt x="570" y="164"/>
                  </a:lnTo>
                  <a:lnTo>
                    <a:pt x="568" y="168"/>
                  </a:lnTo>
                  <a:lnTo>
                    <a:pt x="566" y="169"/>
                  </a:lnTo>
                  <a:lnTo>
                    <a:pt x="564" y="171"/>
                  </a:lnTo>
                  <a:lnTo>
                    <a:pt x="563" y="171"/>
                  </a:lnTo>
                  <a:lnTo>
                    <a:pt x="562" y="172"/>
                  </a:lnTo>
                  <a:lnTo>
                    <a:pt x="562" y="172"/>
                  </a:lnTo>
                  <a:lnTo>
                    <a:pt x="561" y="172"/>
                  </a:lnTo>
                  <a:lnTo>
                    <a:pt x="559" y="173"/>
                  </a:lnTo>
                  <a:lnTo>
                    <a:pt x="558" y="172"/>
                  </a:lnTo>
                  <a:lnTo>
                    <a:pt x="554" y="172"/>
                  </a:lnTo>
                  <a:lnTo>
                    <a:pt x="551" y="171"/>
                  </a:lnTo>
                  <a:lnTo>
                    <a:pt x="548" y="169"/>
                  </a:lnTo>
                  <a:lnTo>
                    <a:pt x="547" y="169"/>
                  </a:lnTo>
                  <a:lnTo>
                    <a:pt x="546" y="169"/>
                  </a:lnTo>
                  <a:lnTo>
                    <a:pt x="545" y="169"/>
                  </a:lnTo>
                  <a:lnTo>
                    <a:pt x="544" y="170"/>
                  </a:lnTo>
                  <a:lnTo>
                    <a:pt x="544" y="171"/>
                  </a:lnTo>
                  <a:lnTo>
                    <a:pt x="543" y="180"/>
                  </a:lnTo>
                  <a:lnTo>
                    <a:pt x="543" y="181"/>
                  </a:lnTo>
                  <a:lnTo>
                    <a:pt x="543" y="186"/>
                  </a:lnTo>
                  <a:lnTo>
                    <a:pt x="543" y="188"/>
                  </a:lnTo>
                  <a:lnTo>
                    <a:pt x="543" y="190"/>
                  </a:lnTo>
                  <a:lnTo>
                    <a:pt x="542" y="192"/>
                  </a:lnTo>
                  <a:lnTo>
                    <a:pt x="541" y="193"/>
                  </a:lnTo>
                  <a:lnTo>
                    <a:pt x="539" y="195"/>
                  </a:lnTo>
                  <a:lnTo>
                    <a:pt x="538" y="196"/>
                  </a:lnTo>
                  <a:lnTo>
                    <a:pt x="534" y="199"/>
                  </a:lnTo>
                  <a:lnTo>
                    <a:pt x="530" y="202"/>
                  </a:lnTo>
                  <a:lnTo>
                    <a:pt x="529" y="203"/>
                  </a:lnTo>
                  <a:lnTo>
                    <a:pt x="527" y="206"/>
                  </a:lnTo>
                  <a:lnTo>
                    <a:pt x="523" y="210"/>
                  </a:lnTo>
                  <a:lnTo>
                    <a:pt x="521" y="212"/>
                  </a:lnTo>
                  <a:lnTo>
                    <a:pt x="520" y="214"/>
                  </a:lnTo>
                  <a:lnTo>
                    <a:pt x="519" y="215"/>
                  </a:lnTo>
                  <a:lnTo>
                    <a:pt x="519" y="217"/>
                  </a:lnTo>
                  <a:lnTo>
                    <a:pt x="518" y="222"/>
                  </a:lnTo>
                  <a:lnTo>
                    <a:pt x="517" y="224"/>
                  </a:lnTo>
                  <a:lnTo>
                    <a:pt x="517" y="226"/>
                  </a:lnTo>
                  <a:lnTo>
                    <a:pt x="516" y="226"/>
                  </a:lnTo>
                  <a:lnTo>
                    <a:pt x="515" y="227"/>
                  </a:lnTo>
                  <a:lnTo>
                    <a:pt x="513" y="228"/>
                  </a:lnTo>
                  <a:lnTo>
                    <a:pt x="512" y="229"/>
                  </a:lnTo>
                  <a:lnTo>
                    <a:pt x="511" y="229"/>
                  </a:lnTo>
                  <a:lnTo>
                    <a:pt x="510" y="229"/>
                  </a:lnTo>
                  <a:lnTo>
                    <a:pt x="510" y="228"/>
                  </a:lnTo>
                  <a:lnTo>
                    <a:pt x="509" y="228"/>
                  </a:lnTo>
                  <a:lnTo>
                    <a:pt x="508" y="227"/>
                  </a:lnTo>
                  <a:lnTo>
                    <a:pt x="505" y="225"/>
                  </a:lnTo>
                  <a:lnTo>
                    <a:pt x="504" y="223"/>
                  </a:lnTo>
                  <a:lnTo>
                    <a:pt x="503" y="222"/>
                  </a:lnTo>
                  <a:lnTo>
                    <a:pt x="501" y="222"/>
                  </a:lnTo>
                  <a:lnTo>
                    <a:pt x="499" y="221"/>
                  </a:lnTo>
                  <a:lnTo>
                    <a:pt x="496" y="220"/>
                  </a:lnTo>
                  <a:lnTo>
                    <a:pt x="494" y="220"/>
                  </a:lnTo>
                  <a:lnTo>
                    <a:pt x="491" y="220"/>
                  </a:lnTo>
                  <a:lnTo>
                    <a:pt x="488" y="220"/>
                  </a:lnTo>
                  <a:lnTo>
                    <a:pt x="487" y="221"/>
                  </a:lnTo>
                  <a:lnTo>
                    <a:pt x="486" y="221"/>
                  </a:lnTo>
                  <a:lnTo>
                    <a:pt x="484" y="222"/>
                  </a:lnTo>
                  <a:lnTo>
                    <a:pt x="480" y="225"/>
                  </a:lnTo>
                  <a:lnTo>
                    <a:pt x="478" y="226"/>
                  </a:lnTo>
                  <a:lnTo>
                    <a:pt x="471" y="230"/>
                  </a:lnTo>
                  <a:lnTo>
                    <a:pt x="466" y="233"/>
                  </a:lnTo>
                  <a:lnTo>
                    <a:pt x="464" y="234"/>
                  </a:lnTo>
                  <a:lnTo>
                    <a:pt x="461" y="235"/>
                  </a:lnTo>
                  <a:lnTo>
                    <a:pt x="459" y="235"/>
                  </a:lnTo>
                  <a:lnTo>
                    <a:pt x="456" y="235"/>
                  </a:lnTo>
                  <a:lnTo>
                    <a:pt x="453" y="235"/>
                  </a:lnTo>
                  <a:lnTo>
                    <a:pt x="451" y="234"/>
                  </a:lnTo>
                  <a:lnTo>
                    <a:pt x="449" y="234"/>
                  </a:lnTo>
                  <a:lnTo>
                    <a:pt x="448" y="233"/>
                  </a:lnTo>
                  <a:lnTo>
                    <a:pt x="445" y="232"/>
                  </a:lnTo>
                  <a:lnTo>
                    <a:pt x="441" y="230"/>
                  </a:lnTo>
                  <a:lnTo>
                    <a:pt x="433" y="225"/>
                  </a:lnTo>
                  <a:lnTo>
                    <a:pt x="429" y="223"/>
                  </a:lnTo>
                  <a:lnTo>
                    <a:pt x="423" y="220"/>
                  </a:lnTo>
                  <a:lnTo>
                    <a:pt x="420" y="219"/>
                  </a:lnTo>
                  <a:lnTo>
                    <a:pt x="418" y="218"/>
                  </a:lnTo>
                  <a:lnTo>
                    <a:pt x="416" y="218"/>
                  </a:lnTo>
                  <a:lnTo>
                    <a:pt x="412" y="217"/>
                  </a:lnTo>
                  <a:lnTo>
                    <a:pt x="405" y="216"/>
                  </a:lnTo>
                  <a:lnTo>
                    <a:pt x="403" y="216"/>
                  </a:lnTo>
                  <a:lnTo>
                    <a:pt x="402" y="216"/>
                  </a:lnTo>
                  <a:lnTo>
                    <a:pt x="398" y="216"/>
                  </a:lnTo>
                  <a:lnTo>
                    <a:pt x="394" y="217"/>
                  </a:lnTo>
                  <a:lnTo>
                    <a:pt x="392" y="217"/>
                  </a:lnTo>
                  <a:lnTo>
                    <a:pt x="387" y="219"/>
                  </a:lnTo>
                  <a:lnTo>
                    <a:pt x="385" y="219"/>
                  </a:lnTo>
                  <a:lnTo>
                    <a:pt x="384" y="219"/>
                  </a:lnTo>
                  <a:lnTo>
                    <a:pt x="382" y="219"/>
                  </a:lnTo>
                  <a:lnTo>
                    <a:pt x="381" y="219"/>
                  </a:lnTo>
                  <a:lnTo>
                    <a:pt x="380" y="219"/>
                  </a:lnTo>
                  <a:lnTo>
                    <a:pt x="379" y="218"/>
                  </a:lnTo>
                  <a:lnTo>
                    <a:pt x="377" y="216"/>
                  </a:lnTo>
                  <a:lnTo>
                    <a:pt x="374" y="215"/>
                  </a:lnTo>
                  <a:lnTo>
                    <a:pt x="369" y="212"/>
                  </a:lnTo>
                  <a:lnTo>
                    <a:pt x="365" y="208"/>
                  </a:lnTo>
                  <a:lnTo>
                    <a:pt x="364" y="207"/>
                  </a:lnTo>
                  <a:lnTo>
                    <a:pt x="363" y="206"/>
                  </a:lnTo>
                  <a:lnTo>
                    <a:pt x="362" y="205"/>
                  </a:lnTo>
                  <a:lnTo>
                    <a:pt x="362" y="204"/>
                  </a:lnTo>
                  <a:lnTo>
                    <a:pt x="361" y="204"/>
                  </a:lnTo>
                  <a:lnTo>
                    <a:pt x="360" y="205"/>
                  </a:lnTo>
                  <a:lnTo>
                    <a:pt x="358" y="207"/>
                  </a:lnTo>
                  <a:lnTo>
                    <a:pt x="357" y="209"/>
                  </a:lnTo>
                  <a:lnTo>
                    <a:pt x="353" y="213"/>
                  </a:lnTo>
                  <a:lnTo>
                    <a:pt x="351" y="214"/>
                  </a:lnTo>
                  <a:lnTo>
                    <a:pt x="346" y="219"/>
                  </a:lnTo>
                  <a:lnTo>
                    <a:pt x="343" y="221"/>
                  </a:lnTo>
                  <a:lnTo>
                    <a:pt x="342" y="223"/>
                  </a:lnTo>
                  <a:lnTo>
                    <a:pt x="340" y="226"/>
                  </a:lnTo>
                  <a:lnTo>
                    <a:pt x="339" y="226"/>
                  </a:lnTo>
                  <a:lnTo>
                    <a:pt x="338" y="226"/>
                  </a:lnTo>
                  <a:lnTo>
                    <a:pt x="337" y="227"/>
                  </a:lnTo>
                  <a:lnTo>
                    <a:pt x="335" y="228"/>
                  </a:lnTo>
                  <a:lnTo>
                    <a:pt x="330" y="230"/>
                  </a:lnTo>
                  <a:lnTo>
                    <a:pt x="329" y="230"/>
                  </a:lnTo>
                  <a:lnTo>
                    <a:pt x="327" y="231"/>
                  </a:lnTo>
                  <a:lnTo>
                    <a:pt x="326" y="231"/>
                  </a:lnTo>
                  <a:lnTo>
                    <a:pt x="323" y="231"/>
                  </a:lnTo>
                  <a:lnTo>
                    <a:pt x="321" y="230"/>
                  </a:lnTo>
                  <a:lnTo>
                    <a:pt x="318" y="230"/>
                  </a:lnTo>
                  <a:lnTo>
                    <a:pt x="315" y="229"/>
                  </a:lnTo>
                  <a:lnTo>
                    <a:pt x="312" y="228"/>
                  </a:lnTo>
                  <a:lnTo>
                    <a:pt x="304" y="226"/>
                  </a:lnTo>
                  <a:lnTo>
                    <a:pt x="299" y="224"/>
                  </a:lnTo>
                  <a:lnTo>
                    <a:pt x="294" y="222"/>
                  </a:lnTo>
                  <a:lnTo>
                    <a:pt x="292" y="221"/>
                  </a:lnTo>
                  <a:lnTo>
                    <a:pt x="290" y="221"/>
                  </a:lnTo>
                  <a:lnTo>
                    <a:pt x="289" y="220"/>
                  </a:lnTo>
                  <a:lnTo>
                    <a:pt x="288" y="220"/>
                  </a:lnTo>
                  <a:lnTo>
                    <a:pt x="286" y="220"/>
                  </a:lnTo>
                  <a:lnTo>
                    <a:pt x="284" y="221"/>
                  </a:lnTo>
                  <a:lnTo>
                    <a:pt x="283" y="221"/>
                  </a:lnTo>
                  <a:lnTo>
                    <a:pt x="282" y="221"/>
                  </a:lnTo>
                  <a:lnTo>
                    <a:pt x="280" y="222"/>
                  </a:lnTo>
                  <a:lnTo>
                    <a:pt x="279" y="223"/>
                  </a:lnTo>
                  <a:lnTo>
                    <a:pt x="269" y="228"/>
                  </a:lnTo>
                  <a:lnTo>
                    <a:pt x="267" y="230"/>
                  </a:lnTo>
                  <a:lnTo>
                    <a:pt x="263" y="231"/>
                  </a:lnTo>
                  <a:lnTo>
                    <a:pt x="255" y="233"/>
                  </a:lnTo>
                  <a:lnTo>
                    <a:pt x="249" y="235"/>
                  </a:lnTo>
                  <a:lnTo>
                    <a:pt x="246" y="235"/>
                  </a:lnTo>
                  <a:lnTo>
                    <a:pt x="244" y="236"/>
                  </a:lnTo>
                  <a:lnTo>
                    <a:pt x="241" y="236"/>
                  </a:lnTo>
                  <a:lnTo>
                    <a:pt x="234" y="236"/>
                  </a:lnTo>
                  <a:lnTo>
                    <a:pt x="232" y="236"/>
                  </a:lnTo>
                  <a:lnTo>
                    <a:pt x="231" y="236"/>
                  </a:lnTo>
                  <a:lnTo>
                    <a:pt x="229" y="237"/>
                  </a:lnTo>
                  <a:lnTo>
                    <a:pt x="227" y="237"/>
                  </a:lnTo>
                  <a:lnTo>
                    <a:pt x="226" y="238"/>
                  </a:lnTo>
                  <a:lnTo>
                    <a:pt x="224" y="239"/>
                  </a:lnTo>
                  <a:lnTo>
                    <a:pt x="222" y="241"/>
                  </a:lnTo>
                  <a:lnTo>
                    <a:pt x="219" y="245"/>
                  </a:lnTo>
                  <a:lnTo>
                    <a:pt x="216" y="248"/>
                  </a:lnTo>
                  <a:lnTo>
                    <a:pt x="214" y="250"/>
                  </a:lnTo>
                  <a:lnTo>
                    <a:pt x="211" y="254"/>
                  </a:lnTo>
                  <a:lnTo>
                    <a:pt x="209" y="258"/>
                  </a:lnTo>
                  <a:lnTo>
                    <a:pt x="207" y="260"/>
                  </a:lnTo>
                  <a:lnTo>
                    <a:pt x="204" y="262"/>
                  </a:lnTo>
                  <a:lnTo>
                    <a:pt x="202" y="263"/>
                  </a:lnTo>
                  <a:lnTo>
                    <a:pt x="199" y="265"/>
                  </a:lnTo>
                  <a:lnTo>
                    <a:pt x="197" y="267"/>
                  </a:lnTo>
                  <a:lnTo>
                    <a:pt x="194" y="268"/>
                  </a:lnTo>
                  <a:lnTo>
                    <a:pt x="188" y="271"/>
                  </a:lnTo>
                  <a:lnTo>
                    <a:pt x="185" y="271"/>
                  </a:lnTo>
                  <a:lnTo>
                    <a:pt x="182" y="272"/>
                  </a:lnTo>
                  <a:lnTo>
                    <a:pt x="180" y="273"/>
                  </a:lnTo>
                  <a:lnTo>
                    <a:pt x="175" y="274"/>
                  </a:lnTo>
                  <a:lnTo>
                    <a:pt x="170" y="275"/>
                  </a:lnTo>
                  <a:lnTo>
                    <a:pt x="164" y="277"/>
                  </a:lnTo>
                  <a:lnTo>
                    <a:pt x="162" y="277"/>
                  </a:lnTo>
                  <a:lnTo>
                    <a:pt x="160" y="277"/>
                  </a:lnTo>
                  <a:lnTo>
                    <a:pt x="158" y="277"/>
                  </a:lnTo>
                  <a:lnTo>
                    <a:pt x="152" y="275"/>
                  </a:lnTo>
                  <a:lnTo>
                    <a:pt x="144" y="274"/>
                  </a:lnTo>
                  <a:lnTo>
                    <a:pt x="141" y="274"/>
                  </a:lnTo>
                  <a:lnTo>
                    <a:pt x="136" y="273"/>
                  </a:lnTo>
                  <a:lnTo>
                    <a:pt x="130" y="271"/>
                  </a:lnTo>
                  <a:lnTo>
                    <a:pt x="127" y="271"/>
                  </a:lnTo>
                  <a:lnTo>
                    <a:pt x="123" y="270"/>
                  </a:lnTo>
                  <a:lnTo>
                    <a:pt x="121" y="270"/>
                  </a:lnTo>
                  <a:lnTo>
                    <a:pt x="120" y="270"/>
                  </a:lnTo>
                  <a:lnTo>
                    <a:pt x="120" y="269"/>
                  </a:lnTo>
                  <a:lnTo>
                    <a:pt x="120" y="268"/>
                  </a:lnTo>
                  <a:lnTo>
                    <a:pt x="120" y="265"/>
                  </a:lnTo>
                  <a:lnTo>
                    <a:pt x="119" y="263"/>
                  </a:lnTo>
                  <a:lnTo>
                    <a:pt x="119" y="260"/>
                  </a:lnTo>
                  <a:lnTo>
                    <a:pt x="118" y="259"/>
                  </a:lnTo>
                  <a:lnTo>
                    <a:pt x="117" y="257"/>
                  </a:lnTo>
                  <a:lnTo>
                    <a:pt x="115" y="255"/>
                  </a:lnTo>
                  <a:lnTo>
                    <a:pt x="113" y="253"/>
                  </a:lnTo>
                  <a:lnTo>
                    <a:pt x="109" y="249"/>
                  </a:lnTo>
                  <a:lnTo>
                    <a:pt x="108" y="248"/>
                  </a:lnTo>
                  <a:lnTo>
                    <a:pt x="107" y="248"/>
                  </a:lnTo>
                  <a:lnTo>
                    <a:pt x="103" y="246"/>
                  </a:lnTo>
                  <a:lnTo>
                    <a:pt x="97" y="243"/>
                  </a:lnTo>
                  <a:lnTo>
                    <a:pt x="95" y="241"/>
                  </a:lnTo>
                  <a:lnTo>
                    <a:pt x="92" y="239"/>
                  </a:lnTo>
                  <a:lnTo>
                    <a:pt x="88" y="237"/>
                  </a:lnTo>
                  <a:lnTo>
                    <a:pt x="85" y="235"/>
                  </a:lnTo>
                  <a:lnTo>
                    <a:pt x="82" y="232"/>
                  </a:lnTo>
                  <a:lnTo>
                    <a:pt x="79" y="229"/>
                  </a:lnTo>
                  <a:lnTo>
                    <a:pt x="77" y="227"/>
                  </a:lnTo>
                  <a:lnTo>
                    <a:pt x="76" y="226"/>
                  </a:lnTo>
                  <a:lnTo>
                    <a:pt x="75" y="225"/>
                  </a:lnTo>
                  <a:lnTo>
                    <a:pt x="74" y="223"/>
                  </a:lnTo>
                  <a:lnTo>
                    <a:pt x="74" y="222"/>
                  </a:lnTo>
                  <a:lnTo>
                    <a:pt x="74" y="221"/>
                  </a:lnTo>
                  <a:lnTo>
                    <a:pt x="73" y="219"/>
                  </a:lnTo>
                  <a:lnTo>
                    <a:pt x="73" y="214"/>
                  </a:lnTo>
                  <a:lnTo>
                    <a:pt x="73" y="210"/>
                  </a:lnTo>
                  <a:lnTo>
                    <a:pt x="73" y="208"/>
                  </a:lnTo>
                  <a:lnTo>
                    <a:pt x="73" y="207"/>
                  </a:lnTo>
                  <a:lnTo>
                    <a:pt x="73" y="206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68" y="204"/>
                  </a:lnTo>
                  <a:lnTo>
                    <a:pt x="67" y="204"/>
                  </a:lnTo>
                  <a:lnTo>
                    <a:pt x="65" y="203"/>
                  </a:lnTo>
                  <a:lnTo>
                    <a:pt x="64" y="201"/>
                  </a:lnTo>
                  <a:lnTo>
                    <a:pt x="63" y="201"/>
                  </a:lnTo>
                  <a:lnTo>
                    <a:pt x="62" y="200"/>
                  </a:lnTo>
                  <a:lnTo>
                    <a:pt x="61" y="199"/>
                  </a:lnTo>
                  <a:lnTo>
                    <a:pt x="60" y="199"/>
                  </a:lnTo>
                  <a:lnTo>
                    <a:pt x="55" y="198"/>
                  </a:lnTo>
                  <a:lnTo>
                    <a:pt x="52" y="197"/>
                  </a:lnTo>
                  <a:lnTo>
                    <a:pt x="46" y="196"/>
                  </a:lnTo>
                  <a:lnTo>
                    <a:pt x="44" y="195"/>
                  </a:lnTo>
                  <a:lnTo>
                    <a:pt x="43" y="195"/>
                  </a:lnTo>
                  <a:lnTo>
                    <a:pt x="42" y="194"/>
                  </a:lnTo>
                  <a:lnTo>
                    <a:pt x="41" y="193"/>
                  </a:lnTo>
                  <a:lnTo>
                    <a:pt x="38" y="191"/>
                  </a:lnTo>
                  <a:lnTo>
                    <a:pt x="37" y="190"/>
                  </a:lnTo>
                  <a:lnTo>
                    <a:pt x="34" y="188"/>
                  </a:lnTo>
                  <a:lnTo>
                    <a:pt x="31" y="187"/>
                  </a:lnTo>
                  <a:lnTo>
                    <a:pt x="28" y="186"/>
                  </a:lnTo>
                  <a:lnTo>
                    <a:pt x="26" y="185"/>
                  </a:lnTo>
                  <a:lnTo>
                    <a:pt x="25" y="185"/>
                  </a:lnTo>
                  <a:lnTo>
                    <a:pt x="24" y="186"/>
                  </a:lnTo>
                  <a:lnTo>
                    <a:pt x="23" y="186"/>
                  </a:lnTo>
                  <a:lnTo>
                    <a:pt x="22" y="186"/>
                  </a:lnTo>
                  <a:lnTo>
                    <a:pt x="20" y="186"/>
                  </a:lnTo>
                  <a:lnTo>
                    <a:pt x="18" y="184"/>
                  </a:lnTo>
                  <a:lnTo>
                    <a:pt x="16" y="182"/>
                  </a:lnTo>
                  <a:lnTo>
                    <a:pt x="13" y="180"/>
                  </a:lnTo>
                  <a:lnTo>
                    <a:pt x="9" y="178"/>
                  </a:lnTo>
                  <a:lnTo>
                    <a:pt x="7" y="176"/>
                  </a:lnTo>
                  <a:lnTo>
                    <a:pt x="6" y="174"/>
                  </a:lnTo>
                  <a:lnTo>
                    <a:pt x="5" y="173"/>
                  </a:lnTo>
                  <a:lnTo>
                    <a:pt x="3" y="170"/>
                  </a:lnTo>
                  <a:lnTo>
                    <a:pt x="2" y="169"/>
                  </a:lnTo>
                  <a:lnTo>
                    <a:pt x="1" y="167"/>
                  </a:lnTo>
                  <a:lnTo>
                    <a:pt x="1" y="166"/>
                  </a:lnTo>
                  <a:lnTo>
                    <a:pt x="0" y="164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1" y="160"/>
                  </a:lnTo>
                  <a:lnTo>
                    <a:pt x="2" y="159"/>
                  </a:lnTo>
                  <a:lnTo>
                    <a:pt x="3" y="158"/>
                  </a:lnTo>
                  <a:lnTo>
                    <a:pt x="5" y="157"/>
                  </a:lnTo>
                  <a:lnTo>
                    <a:pt x="6" y="156"/>
                  </a:lnTo>
                  <a:lnTo>
                    <a:pt x="11" y="154"/>
                  </a:lnTo>
                  <a:lnTo>
                    <a:pt x="14" y="153"/>
                  </a:lnTo>
                  <a:lnTo>
                    <a:pt x="15" y="152"/>
                  </a:lnTo>
                  <a:lnTo>
                    <a:pt x="16" y="151"/>
                  </a:lnTo>
                  <a:lnTo>
                    <a:pt x="16" y="150"/>
                  </a:lnTo>
                  <a:lnTo>
                    <a:pt x="16" y="149"/>
                  </a:lnTo>
                  <a:lnTo>
                    <a:pt x="14" y="147"/>
                  </a:lnTo>
                  <a:lnTo>
                    <a:pt x="12" y="146"/>
                  </a:lnTo>
                  <a:lnTo>
                    <a:pt x="11" y="145"/>
                  </a:lnTo>
                  <a:lnTo>
                    <a:pt x="10" y="144"/>
                  </a:lnTo>
                  <a:lnTo>
                    <a:pt x="10" y="143"/>
                  </a:lnTo>
                  <a:lnTo>
                    <a:pt x="10" y="142"/>
                  </a:lnTo>
                  <a:lnTo>
                    <a:pt x="10" y="141"/>
                  </a:lnTo>
                  <a:lnTo>
                    <a:pt x="11" y="140"/>
                  </a:lnTo>
                  <a:lnTo>
                    <a:pt x="13" y="138"/>
                  </a:lnTo>
                  <a:lnTo>
                    <a:pt x="19" y="134"/>
                  </a:lnTo>
                  <a:lnTo>
                    <a:pt x="20" y="133"/>
                  </a:lnTo>
                  <a:lnTo>
                    <a:pt x="22" y="131"/>
                  </a:lnTo>
                  <a:lnTo>
                    <a:pt x="24" y="130"/>
                  </a:lnTo>
                  <a:lnTo>
                    <a:pt x="25" y="128"/>
                  </a:lnTo>
                  <a:lnTo>
                    <a:pt x="25" y="127"/>
                  </a:lnTo>
                  <a:lnTo>
                    <a:pt x="26" y="125"/>
                  </a:lnTo>
                  <a:lnTo>
                    <a:pt x="27" y="124"/>
                  </a:lnTo>
                  <a:lnTo>
                    <a:pt x="27" y="121"/>
                  </a:lnTo>
                  <a:lnTo>
                    <a:pt x="28" y="119"/>
                  </a:lnTo>
                  <a:lnTo>
                    <a:pt x="28" y="114"/>
                  </a:lnTo>
                  <a:lnTo>
                    <a:pt x="28" y="111"/>
                  </a:lnTo>
                  <a:lnTo>
                    <a:pt x="29" y="110"/>
                  </a:lnTo>
                  <a:lnTo>
                    <a:pt x="29" y="108"/>
                  </a:lnTo>
                  <a:lnTo>
                    <a:pt x="32" y="104"/>
                  </a:lnTo>
                  <a:lnTo>
                    <a:pt x="32" y="103"/>
                  </a:lnTo>
                  <a:lnTo>
                    <a:pt x="32" y="102"/>
                  </a:lnTo>
                  <a:lnTo>
                    <a:pt x="32" y="101"/>
                  </a:lnTo>
                  <a:lnTo>
                    <a:pt x="31" y="101"/>
                  </a:lnTo>
                  <a:lnTo>
                    <a:pt x="30" y="99"/>
                  </a:lnTo>
                  <a:lnTo>
                    <a:pt x="28" y="97"/>
                  </a:lnTo>
                  <a:lnTo>
                    <a:pt x="28" y="96"/>
                  </a:lnTo>
                  <a:lnTo>
                    <a:pt x="27" y="94"/>
                  </a:lnTo>
                  <a:lnTo>
                    <a:pt x="27" y="93"/>
                  </a:lnTo>
                  <a:lnTo>
                    <a:pt x="27" y="92"/>
                  </a:lnTo>
                  <a:lnTo>
                    <a:pt x="27" y="91"/>
                  </a:lnTo>
                  <a:lnTo>
                    <a:pt x="27" y="90"/>
                  </a:lnTo>
                  <a:lnTo>
                    <a:pt x="28" y="90"/>
                  </a:lnTo>
                  <a:lnTo>
                    <a:pt x="28" y="89"/>
                  </a:lnTo>
                  <a:lnTo>
                    <a:pt x="29" y="88"/>
                  </a:lnTo>
                  <a:lnTo>
                    <a:pt x="30" y="87"/>
                  </a:lnTo>
                  <a:lnTo>
                    <a:pt x="32" y="86"/>
                  </a:lnTo>
                  <a:lnTo>
                    <a:pt x="34" y="85"/>
                  </a:lnTo>
                  <a:lnTo>
                    <a:pt x="39" y="84"/>
                  </a:lnTo>
                  <a:lnTo>
                    <a:pt x="41" y="83"/>
                  </a:lnTo>
                  <a:lnTo>
                    <a:pt x="43" y="83"/>
                  </a:lnTo>
                  <a:lnTo>
                    <a:pt x="44" y="82"/>
                  </a:lnTo>
                  <a:lnTo>
                    <a:pt x="46" y="81"/>
                  </a:lnTo>
                  <a:lnTo>
                    <a:pt x="47" y="80"/>
                  </a:lnTo>
                  <a:lnTo>
                    <a:pt x="48" y="79"/>
                  </a:lnTo>
                  <a:lnTo>
                    <a:pt x="48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50" y="80"/>
                  </a:lnTo>
                  <a:lnTo>
                    <a:pt x="51" y="82"/>
                  </a:lnTo>
                  <a:lnTo>
                    <a:pt x="53" y="83"/>
                  </a:lnTo>
                  <a:lnTo>
                    <a:pt x="55" y="84"/>
                  </a:lnTo>
                  <a:lnTo>
                    <a:pt x="57" y="85"/>
                  </a:lnTo>
                  <a:lnTo>
                    <a:pt x="59" y="86"/>
                  </a:lnTo>
                  <a:lnTo>
                    <a:pt x="61" y="86"/>
                  </a:lnTo>
                  <a:lnTo>
                    <a:pt x="62" y="86"/>
                  </a:lnTo>
                  <a:lnTo>
                    <a:pt x="65" y="86"/>
                  </a:lnTo>
                  <a:lnTo>
                    <a:pt x="67" y="86"/>
                  </a:lnTo>
                  <a:lnTo>
                    <a:pt x="70" y="86"/>
                  </a:lnTo>
                  <a:lnTo>
                    <a:pt x="72" y="85"/>
                  </a:lnTo>
                  <a:lnTo>
                    <a:pt x="74" y="84"/>
                  </a:lnTo>
                  <a:lnTo>
                    <a:pt x="77" y="83"/>
                  </a:lnTo>
                  <a:lnTo>
                    <a:pt x="80" y="82"/>
                  </a:lnTo>
                  <a:lnTo>
                    <a:pt x="83" y="81"/>
                  </a:lnTo>
                  <a:lnTo>
                    <a:pt x="85" y="79"/>
                  </a:lnTo>
                  <a:lnTo>
                    <a:pt x="88" y="78"/>
                  </a:lnTo>
                  <a:lnTo>
                    <a:pt x="93" y="75"/>
                  </a:lnTo>
                  <a:lnTo>
                    <a:pt x="95" y="74"/>
                  </a:lnTo>
                  <a:lnTo>
                    <a:pt x="98" y="72"/>
                  </a:lnTo>
                  <a:lnTo>
                    <a:pt x="101" y="70"/>
                  </a:lnTo>
                  <a:lnTo>
                    <a:pt x="104" y="68"/>
                  </a:lnTo>
                  <a:lnTo>
                    <a:pt x="107" y="66"/>
                  </a:lnTo>
                  <a:lnTo>
                    <a:pt x="109" y="64"/>
                  </a:lnTo>
                  <a:lnTo>
                    <a:pt x="110" y="62"/>
                  </a:lnTo>
                  <a:lnTo>
                    <a:pt x="111" y="61"/>
                  </a:lnTo>
                  <a:lnTo>
                    <a:pt x="114" y="56"/>
                  </a:lnTo>
                  <a:lnTo>
                    <a:pt x="115" y="54"/>
                  </a:lnTo>
                  <a:lnTo>
                    <a:pt x="116" y="53"/>
                  </a:lnTo>
                  <a:lnTo>
                    <a:pt x="117" y="51"/>
                  </a:lnTo>
                  <a:lnTo>
                    <a:pt x="119" y="50"/>
                  </a:lnTo>
                  <a:lnTo>
                    <a:pt x="119" y="48"/>
                  </a:lnTo>
                  <a:lnTo>
                    <a:pt x="121" y="47"/>
                  </a:lnTo>
                  <a:lnTo>
                    <a:pt x="124" y="45"/>
                  </a:lnTo>
                  <a:lnTo>
                    <a:pt x="127" y="44"/>
                  </a:lnTo>
                  <a:lnTo>
                    <a:pt x="130" y="44"/>
                  </a:lnTo>
                  <a:lnTo>
                    <a:pt x="133" y="43"/>
                  </a:lnTo>
                  <a:lnTo>
                    <a:pt x="136" y="42"/>
                  </a:lnTo>
                  <a:lnTo>
                    <a:pt x="138" y="41"/>
                  </a:lnTo>
                  <a:lnTo>
                    <a:pt x="147" y="37"/>
                  </a:lnTo>
                  <a:lnTo>
                    <a:pt x="148" y="36"/>
                  </a:lnTo>
                  <a:lnTo>
                    <a:pt x="149" y="36"/>
                  </a:lnTo>
                  <a:lnTo>
                    <a:pt x="150" y="36"/>
                  </a:lnTo>
                  <a:lnTo>
                    <a:pt x="151" y="36"/>
                  </a:lnTo>
                  <a:lnTo>
                    <a:pt x="153" y="36"/>
                  </a:lnTo>
                  <a:lnTo>
                    <a:pt x="153" y="37"/>
                  </a:lnTo>
                  <a:lnTo>
                    <a:pt x="154" y="38"/>
                  </a:lnTo>
                  <a:lnTo>
                    <a:pt x="155" y="39"/>
                  </a:lnTo>
                  <a:lnTo>
                    <a:pt x="160" y="42"/>
                  </a:lnTo>
                  <a:lnTo>
                    <a:pt x="162" y="44"/>
                  </a:lnTo>
                  <a:lnTo>
                    <a:pt x="164" y="44"/>
                  </a:lnTo>
                  <a:lnTo>
                    <a:pt x="167" y="45"/>
                  </a:lnTo>
                  <a:lnTo>
                    <a:pt x="168" y="45"/>
                  </a:lnTo>
                  <a:lnTo>
                    <a:pt x="170" y="45"/>
                  </a:lnTo>
                  <a:lnTo>
                    <a:pt x="174" y="45"/>
                  </a:lnTo>
                  <a:lnTo>
                    <a:pt x="176" y="44"/>
                  </a:lnTo>
                  <a:lnTo>
                    <a:pt x="179" y="45"/>
                  </a:lnTo>
                  <a:lnTo>
                    <a:pt x="187" y="45"/>
                  </a:lnTo>
                  <a:lnTo>
                    <a:pt x="189" y="45"/>
                  </a:lnTo>
                  <a:lnTo>
                    <a:pt x="193" y="45"/>
                  </a:lnTo>
                  <a:lnTo>
                    <a:pt x="198" y="46"/>
                  </a:lnTo>
                  <a:lnTo>
                    <a:pt x="201" y="47"/>
                  </a:lnTo>
                  <a:lnTo>
                    <a:pt x="204" y="47"/>
                  </a:lnTo>
                  <a:lnTo>
                    <a:pt x="209" y="47"/>
                  </a:lnTo>
                  <a:lnTo>
                    <a:pt x="210" y="47"/>
                  </a:lnTo>
                  <a:lnTo>
                    <a:pt x="212" y="47"/>
                  </a:lnTo>
                  <a:lnTo>
                    <a:pt x="214" y="48"/>
                  </a:lnTo>
                  <a:lnTo>
                    <a:pt x="218" y="49"/>
                  </a:lnTo>
                  <a:lnTo>
                    <a:pt x="224" y="52"/>
                  </a:lnTo>
                  <a:lnTo>
                    <a:pt x="227" y="53"/>
                  </a:lnTo>
                  <a:lnTo>
                    <a:pt x="230" y="53"/>
                  </a:lnTo>
                  <a:lnTo>
                    <a:pt x="232" y="54"/>
                  </a:lnTo>
                  <a:lnTo>
                    <a:pt x="234" y="54"/>
                  </a:lnTo>
                  <a:lnTo>
                    <a:pt x="237" y="53"/>
                  </a:lnTo>
                  <a:lnTo>
                    <a:pt x="239" y="53"/>
                  </a:lnTo>
                  <a:lnTo>
                    <a:pt x="242" y="52"/>
                  </a:lnTo>
                  <a:lnTo>
                    <a:pt x="248" y="48"/>
                  </a:lnTo>
                  <a:lnTo>
                    <a:pt x="252" y="47"/>
                  </a:lnTo>
                  <a:lnTo>
                    <a:pt x="255" y="45"/>
                  </a:lnTo>
                  <a:lnTo>
                    <a:pt x="262" y="44"/>
                  </a:lnTo>
                  <a:lnTo>
                    <a:pt x="265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3" y="37"/>
                  </a:lnTo>
                  <a:lnTo>
                    <a:pt x="274" y="35"/>
                  </a:lnTo>
                  <a:lnTo>
                    <a:pt x="276" y="34"/>
                  </a:lnTo>
                  <a:lnTo>
                    <a:pt x="277" y="33"/>
                  </a:lnTo>
                  <a:lnTo>
                    <a:pt x="278" y="30"/>
                  </a:lnTo>
                  <a:lnTo>
                    <a:pt x="280" y="24"/>
                  </a:lnTo>
                  <a:lnTo>
                    <a:pt x="282" y="21"/>
                  </a:lnTo>
                  <a:lnTo>
                    <a:pt x="283" y="19"/>
                  </a:lnTo>
                  <a:lnTo>
                    <a:pt x="284" y="18"/>
                  </a:lnTo>
                  <a:lnTo>
                    <a:pt x="286" y="16"/>
                  </a:lnTo>
                  <a:lnTo>
                    <a:pt x="287" y="14"/>
                  </a:lnTo>
                  <a:lnTo>
                    <a:pt x="289" y="11"/>
                  </a:lnTo>
                  <a:lnTo>
                    <a:pt x="292" y="10"/>
                  </a:lnTo>
                  <a:lnTo>
                    <a:pt x="295" y="8"/>
                  </a:lnTo>
                  <a:lnTo>
                    <a:pt x="298" y="6"/>
                  </a:lnTo>
                  <a:lnTo>
                    <a:pt x="302" y="3"/>
                  </a:lnTo>
                  <a:lnTo>
                    <a:pt x="306" y="1"/>
                  </a:lnTo>
                  <a:lnTo>
                    <a:pt x="308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6" name="Freeform 53">
              <a:extLst>
                <a:ext uri="{FF2B5EF4-FFF2-40B4-BE49-F238E27FC236}">
                  <a16:creationId xmlns:a16="http://schemas.microsoft.com/office/drawing/2014/main" id="{FCE906FC-8A45-4DAB-946F-F75ED8711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" y="2260"/>
              <a:ext cx="596" cy="455"/>
            </a:xfrm>
            <a:custGeom>
              <a:avLst/>
              <a:gdLst>
                <a:gd name="T0" fmla="*/ 247 w 596"/>
                <a:gd name="T1" fmla="*/ 72 h 455"/>
                <a:gd name="T2" fmla="*/ 233 w 596"/>
                <a:gd name="T3" fmla="*/ 81 h 455"/>
                <a:gd name="T4" fmla="*/ 244 w 596"/>
                <a:gd name="T5" fmla="*/ 93 h 455"/>
                <a:gd name="T6" fmla="*/ 275 w 596"/>
                <a:gd name="T7" fmla="*/ 123 h 455"/>
                <a:gd name="T8" fmla="*/ 298 w 596"/>
                <a:gd name="T9" fmla="*/ 128 h 455"/>
                <a:gd name="T10" fmla="*/ 309 w 596"/>
                <a:gd name="T11" fmla="*/ 131 h 455"/>
                <a:gd name="T12" fmla="*/ 339 w 596"/>
                <a:gd name="T13" fmla="*/ 132 h 455"/>
                <a:gd name="T14" fmla="*/ 355 w 596"/>
                <a:gd name="T15" fmla="*/ 151 h 455"/>
                <a:gd name="T16" fmla="*/ 367 w 596"/>
                <a:gd name="T17" fmla="*/ 165 h 455"/>
                <a:gd name="T18" fmla="*/ 384 w 596"/>
                <a:gd name="T19" fmla="*/ 151 h 455"/>
                <a:gd name="T20" fmla="*/ 420 w 596"/>
                <a:gd name="T21" fmla="*/ 125 h 455"/>
                <a:gd name="T22" fmla="*/ 449 w 596"/>
                <a:gd name="T23" fmla="*/ 127 h 455"/>
                <a:gd name="T24" fmla="*/ 496 w 596"/>
                <a:gd name="T25" fmla="*/ 129 h 455"/>
                <a:gd name="T26" fmla="*/ 508 w 596"/>
                <a:gd name="T27" fmla="*/ 126 h 455"/>
                <a:gd name="T28" fmla="*/ 513 w 596"/>
                <a:gd name="T29" fmla="*/ 154 h 455"/>
                <a:gd name="T30" fmla="*/ 532 w 596"/>
                <a:gd name="T31" fmla="*/ 195 h 455"/>
                <a:gd name="T32" fmla="*/ 554 w 596"/>
                <a:gd name="T33" fmla="*/ 223 h 455"/>
                <a:gd name="T34" fmla="*/ 560 w 596"/>
                <a:gd name="T35" fmla="*/ 252 h 455"/>
                <a:gd name="T36" fmla="*/ 560 w 596"/>
                <a:gd name="T37" fmla="*/ 270 h 455"/>
                <a:gd name="T38" fmla="*/ 582 w 596"/>
                <a:gd name="T39" fmla="*/ 277 h 455"/>
                <a:gd name="T40" fmla="*/ 591 w 596"/>
                <a:gd name="T41" fmla="*/ 295 h 455"/>
                <a:gd name="T42" fmla="*/ 595 w 596"/>
                <a:gd name="T43" fmla="*/ 303 h 455"/>
                <a:gd name="T44" fmla="*/ 594 w 596"/>
                <a:gd name="T45" fmla="*/ 326 h 455"/>
                <a:gd name="T46" fmla="*/ 583 w 596"/>
                <a:gd name="T47" fmla="*/ 339 h 455"/>
                <a:gd name="T48" fmla="*/ 569 w 596"/>
                <a:gd name="T49" fmla="*/ 352 h 455"/>
                <a:gd name="T50" fmla="*/ 564 w 596"/>
                <a:gd name="T51" fmla="*/ 376 h 455"/>
                <a:gd name="T52" fmla="*/ 571 w 596"/>
                <a:gd name="T53" fmla="*/ 394 h 455"/>
                <a:gd name="T54" fmla="*/ 566 w 596"/>
                <a:gd name="T55" fmla="*/ 415 h 455"/>
                <a:gd name="T56" fmla="*/ 546 w 596"/>
                <a:gd name="T57" fmla="*/ 424 h 455"/>
                <a:gd name="T58" fmla="*/ 493 w 596"/>
                <a:gd name="T59" fmla="*/ 401 h 455"/>
                <a:gd name="T60" fmla="*/ 460 w 596"/>
                <a:gd name="T61" fmla="*/ 395 h 455"/>
                <a:gd name="T62" fmla="*/ 430 w 596"/>
                <a:gd name="T63" fmla="*/ 393 h 455"/>
                <a:gd name="T64" fmla="*/ 393 w 596"/>
                <a:gd name="T65" fmla="*/ 396 h 455"/>
                <a:gd name="T66" fmla="*/ 373 w 596"/>
                <a:gd name="T67" fmla="*/ 399 h 455"/>
                <a:gd name="T68" fmla="*/ 358 w 596"/>
                <a:gd name="T69" fmla="*/ 437 h 455"/>
                <a:gd name="T70" fmla="*/ 321 w 596"/>
                <a:gd name="T71" fmla="*/ 435 h 455"/>
                <a:gd name="T72" fmla="*/ 292 w 596"/>
                <a:gd name="T73" fmla="*/ 437 h 455"/>
                <a:gd name="T74" fmla="*/ 274 w 596"/>
                <a:gd name="T75" fmla="*/ 437 h 455"/>
                <a:gd name="T76" fmla="*/ 255 w 596"/>
                <a:gd name="T77" fmla="*/ 455 h 455"/>
                <a:gd name="T78" fmla="*/ 235 w 596"/>
                <a:gd name="T79" fmla="*/ 436 h 455"/>
                <a:gd name="T80" fmla="*/ 193 w 596"/>
                <a:gd name="T81" fmla="*/ 411 h 455"/>
                <a:gd name="T82" fmla="*/ 159 w 596"/>
                <a:gd name="T83" fmla="*/ 395 h 455"/>
                <a:gd name="T84" fmla="*/ 127 w 596"/>
                <a:gd name="T85" fmla="*/ 361 h 455"/>
                <a:gd name="T86" fmla="*/ 75 w 596"/>
                <a:gd name="T87" fmla="*/ 338 h 455"/>
                <a:gd name="T88" fmla="*/ 47 w 596"/>
                <a:gd name="T89" fmla="*/ 330 h 455"/>
                <a:gd name="T90" fmla="*/ 17 w 596"/>
                <a:gd name="T91" fmla="*/ 322 h 455"/>
                <a:gd name="T92" fmla="*/ 4 w 596"/>
                <a:gd name="T93" fmla="*/ 299 h 455"/>
                <a:gd name="T94" fmla="*/ 6 w 596"/>
                <a:gd name="T95" fmla="*/ 278 h 455"/>
                <a:gd name="T96" fmla="*/ 2 w 596"/>
                <a:gd name="T97" fmla="*/ 246 h 455"/>
                <a:gd name="T98" fmla="*/ 19 w 596"/>
                <a:gd name="T99" fmla="*/ 243 h 455"/>
                <a:gd name="T100" fmla="*/ 50 w 596"/>
                <a:gd name="T101" fmla="*/ 243 h 455"/>
                <a:gd name="T102" fmla="*/ 59 w 596"/>
                <a:gd name="T103" fmla="*/ 206 h 455"/>
                <a:gd name="T104" fmla="*/ 60 w 596"/>
                <a:gd name="T105" fmla="*/ 149 h 455"/>
                <a:gd name="T106" fmla="*/ 58 w 596"/>
                <a:gd name="T107" fmla="*/ 123 h 455"/>
                <a:gd name="T108" fmla="*/ 62 w 596"/>
                <a:gd name="T109" fmla="*/ 108 h 455"/>
                <a:gd name="T110" fmla="*/ 90 w 596"/>
                <a:gd name="T111" fmla="*/ 95 h 455"/>
                <a:gd name="T112" fmla="*/ 99 w 596"/>
                <a:gd name="T113" fmla="*/ 76 h 455"/>
                <a:gd name="T114" fmla="*/ 105 w 596"/>
                <a:gd name="T115" fmla="*/ 49 h 455"/>
                <a:gd name="T116" fmla="*/ 127 w 596"/>
                <a:gd name="T117" fmla="*/ 51 h 455"/>
                <a:gd name="T118" fmla="*/ 149 w 596"/>
                <a:gd name="T119" fmla="*/ 56 h 455"/>
                <a:gd name="T120" fmla="*/ 166 w 596"/>
                <a:gd name="T121" fmla="*/ 32 h 455"/>
                <a:gd name="T122" fmla="*/ 190 w 596"/>
                <a:gd name="T123" fmla="*/ 15 h 455"/>
                <a:gd name="T124" fmla="*/ 192 w 596"/>
                <a:gd name="T125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6" h="455">
                  <a:moveTo>
                    <a:pt x="227" y="44"/>
                  </a:moveTo>
                  <a:lnTo>
                    <a:pt x="232" y="52"/>
                  </a:lnTo>
                  <a:lnTo>
                    <a:pt x="234" y="55"/>
                  </a:lnTo>
                  <a:lnTo>
                    <a:pt x="237" y="59"/>
                  </a:lnTo>
                  <a:lnTo>
                    <a:pt x="241" y="63"/>
                  </a:lnTo>
                  <a:lnTo>
                    <a:pt x="243" y="65"/>
                  </a:lnTo>
                  <a:lnTo>
                    <a:pt x="245" y="68"/>
                  </a:lnTo>
                  <a:lnTo>
                    <a:pt x="246" y="70"/>
                  </a:lnTo>
                  <a:lnTo>
                    <a:pt x="247" y="72"/>
                  </a:lnTo>
                  <a:lnTo>
                    <a:pt x="247" y="73"/>
                  </a:lnTo>
                  <a:lnTo>
                    <a:pt x="247" y="74"/>
                  </a:lnTo>
                  <a:lnTo>
                    <a:pt x="246" y="75"/>
                  </a:lnTo>
                  <a:lnTo>
                    <a:pt x="245" y="75"/>
                  </a:lnTo>
                  <a:lnTo>
                    <a:pt x="244" y="76"/>
                  </a:lnTo>
                  <a:lnTo>
                    <a:pt x="241" y="77"/>
                  </a:lnTo>
                  <a:lnTo>
                    <a:pt x="237" y="79"/>
                  </a:lnTo>
                  <a:lnTo>
                    <a:pt x="235" y="80"/>
                  </a:lnTo>
                  <a:lnTo>
                    <a:pt x="233" y="81"/>
                  </a:lnTo>
                  <a:lnTo>
                    <a:pt x="232" y="82"/>
                  </a:lnTo>
                  <a:lnTo>
                    <a:pt x="232" y="83"/>
                  </a:lnTo>
                  <a:lnTo>
                    <a:pt x="231" y="83"/>
                  </a:lnTo>
                  <a:lnTo>
                    <a:pt x="232" y="84"/>
                  </a:lnTo>
                  <a:lnTo>
                    <a:pt x="232" y="85"/>
                  </a:lnTo>
                  <a:lnTo>
                    <a:pt x="233" y="86"/>
                  </a:lnTo>
                  <a:lnTo>
                    <a:pt x="235" y="86"/>
                  </a:lnTo>
                  <a:lnTo>
                    <a:pt x="241" y="90"/>
                  </a:lnTo>
                  <a:lnTo>
                    <a:pt x="244" y="93"/>
                  </a:lnTo>
                  <a:lnTo>
                    <a:pt x="248" y="95"/>
                  </a:lnTo>
                  <a:lnTo>
                    <a:pt x="250" y="97"/>
                  </a:lnTo>
                  <a:lnTo>
                    <a:pt x="251" y="97"/>
                  </a:lnTo>
                  <a:lnTo>
                    <a:pt x="254" y="101"/>
                  </a:lnTo>
                  <a:lnTo>
                    <a:pt x="265" y="114"/>
                  </a:lnTo>
                  <a:lnTo>
                    <a:pt x="267" y="117"/>
                  </a:lnTo>
                  <a:lnTo>
                    <a:pt x="269" y="119"/>
                  </a:lnTo>
                  <a:lnTo>
                    <a:pt x="273" y="121"/>
                  </a:lnTo>
                  <a:lnTo>
                    <a:pt x="275" y="123"/>
                  </a:lnTo>
                  <a:lnTo>
                    <a:pt x="277" y="125"/>
                  </a:lnTo>
                  <a:lnTo>
                    <a:pt x="280" y="126"/>
                  </a:lnTo>
                  <a:lnTo>
                    <a:pt x="282" y="127"/>
                  </a:lnTo>
                  <a:lnTo>
                    <a:pt x="283" y="128"/>
                  </a:lnTo>
                  <a:lnTo>
                    <a:pt x="286" y="128"/>
                  </a:lnTo>
                  <a:lnTo>
                    <a:pt x="290" y="129"/>
                  </a:lnTo>
                  <a:lnTo>
                    <a:pt x="293" y="129"/>
                  </a:lnTo>
                  <a:lnTo>
                    <a:pt x="296" y="128"/>
                  </a:lnTo>
                  <a:lnTo>
                    <a:pt x="298" y="128"/>
                  </a:lnTo>
                  <a:lnTo>
                    <a:pt x="300" y="127"/>
                  </a:lnTo>
                  <a:lnTo>
                    <a:pt x="304" y="125"/>
                  </a:lnTo>
                  <a:lnTo>
                    <a:pt x="305" y="125"/>
                  </a:lnTo>
                  <a:lnTo>
                    <a:pt x="306" y="125"/>
                  </a:lnTo>
                  <a:lnTo>
                    <a:pt x="307" y="125"/>
                  </a:lnTo>
                  <a:lnTo>
                    <a:pt x="307" y="126"/>
                  </a:lnTo>
                  <a:lnTo>
                    <a:pt x="308" y="128"/>
                  </a:lnTo>
                  <a:lnTo>
                    <a:pt x="309" y="130"/>
                  </a:lnTo>
                  <a:lnTo>
                    <a:pt x="309" y="131"/>
                  </a:lnTo>
                  <a:lnTo>
                    <a:pt x="311" y="131"/>
                  </a:lnTo>
                  <a:lnTo>
                    <a:pt x="313" y="131"/>
                  </a:lnTo>
                  <a:lnTo>
                    <a:pt x="316" y="131"/>
                  </a:lnTo>
                  <a:lnTo>
                    <a:pt x="321" y="131"/>
                  </a:lnTo>
                  <a:lnTo>
                    <a:pt x="327" y="131"/>
                  </a:lnTo>
                  <a:lnTo>
                    <a:pt x="330" y="131"/>
                  </a:lnTo>
                  <a:lnTo>
                    <a:pt x="332" y="131"/>
                  </a:lnTo>
                  <a:lnTo>
                    <a:pt x="336" y="132"/>
                  </a:lnTo>
                  <a:lnTo>
                    <a:pt x="339" y="132"/>
                  </a:lnTo>
                  <a:lnTo>
                    <a:pt x="341" y="133"/>
                  </a:lnTo>
                  <a:lnTo>
                    <a:pt x="343" y="134"/>
                  </a:lnTo>
                  <a:lnTo>
                    <a:pt x="344" y="135"/>
                  </a:lnTo>
                  <a:lnTo>
                    <a:pt x="346" y="137"/>
                  </a:lnTo>
                  <a:lnTo>
                    <a:pt x="348" y="139"/>
                  </a:lnTo>
                  <a:lnTo>
                    <a:pt x="349" y="141"/>
                  </a:lnTo>
                  <a:lnTo>
                    <a:pt x="351" y="143"/>
                  </a:lnTo>
                  <a:lnTo>
                    <a:pt x="353" y="146"/>
                  </a:lnTo>
                  <a:lnTo>
                    <a:pt x="355" y="151"/>
                  </a:lnTo>
                  <a:lnTo>
                    <a:pt x="357" y="158"/>
                  </a:lnTo>
                  <a:lnTo>
                    <a:pt x="359" y="160"/>
                  </a:lnTo>
                  <a:lnTo>
                    <a:pt x="360" y="161"/>
                  </a:lnTo>
                  <a:lnTo>
                    <a:pt x="361" y="163"/>
                  </a:lnTo>
                  <a:lnTo>
                    <a:pt x="362" y="164"/>
                  </a:lnTo>
                  <a:lnTo>
                    <a:pt x="364" y="164"/>
                  </a:lnTo>
                  <a:lnTo>
                    <a:pt x="365" y="165"/>
                  </a:lnTo>
                  <a:lnTo>
                    <a:pt x="366" y="165"/>
                  </a:lnTo>
                  <a:lnTo>
                    <a:pt x="367" y="165"/>
                  </a:lnTo>
                  <a:lnTo>
                    <a:pt x="368" y="165"/>
                  </a:lnTo>
                  <a:lnTo>
                    <a:pt x="370" y="165"/>
                  </a:lnTo>
                  <a:lnTo>
                    <a:pt x="371" y="164"/>
                  </a:lnTo>
                  <a:lnTo>
                    <a:pt x="372" y="164"/>
                  </a:lnTo>
                  <a:lnTo>
                    <a:pt x="374" y="163"/>
                  </a:lnTo>
                  <a:lnTo>
                    <a:pt x="375" y="162"/>
                  </a:lnTo>
                  <a:lnTo>
                    <a:pt x="377" y="160"/>
                  </a:lnTo>
                  <a:lnTo>
                    <a:pt x="381" y="154"/>
                  </a:lnTo>
                  <a:lnTo>
                    <a:pt x="384" y="151"/>
                  </a:lnTo>
                  <a:lnTo>
                    <a:pt x="388" y="146"/>
                  </a:lnTo>
                  <a:lnTo>
                    <a:pt x="393" y="142"/>
                  </a:lnTo>
                  <a:lnTo>
                    <a:pt x="398" y="139"/>
                  </a:lnTo>
                  <a:lnTo>
                    <a:pt x="404" y="134"/>
                  </a:lnTo>
                  <a:lnTo>
                    <a:pt x="411" y="130"/>
                  </a:lnTo>
                  <a:lnTo>
                    <a:pt x="413" y="128"/>
                  </a:lnTo>
                  <a:lnTo>
                    <a:pt x="415" y="127"/>
                  </a:lnTo>
                  <a:lnTo>
                    <a:pt x="417" y="126"/>
                  </a:lnTo>
                  <a:lnTo>
                    <a:pt x="420" y="125"/>
                  </a:lnTo>
                  <a:lnTo>
                    <a:pt x="422" y="124"/>
                  </a:lnTo>
                  <a:lnTo>
                    <a:pt x="424" y="123"/>
                  </a:lnTo>
                  <a:lnTo>
                    <a:pt x="427" y="123"/>
                  </a:lnTo>
                  <a:lnTo>
                    <a:pt x="430" y="122"/>
                  </a:lnTo>
                  <a:lnTo>
                    <a:pt x="433" y="122"/>
                  </a:lnTo>
                  <a:lnTo>
                    <a:pt x="435" y="123"/>
                  </a:lnTo>
                  <a:lnTo>
                    <a:pt x="437" y="123"/>
                  </a:lnTo>
                  <a:lnTo>
                    <a:pt x="446" y="126"/>
                  </a:lnTo>
                  <a:lnTo>
                    <a:pt x="449" y="127"/>
                  </a:lnTo>
                  <a:lnTo>
                    <a:pt x="451" y="127"/>
                  </a:lnTo>
                  <a:lnTo>
                    <a:pt x="457" y="128"/>
                  </a:lnTo>
                  <a:lnTo>
                    <a:pt x="468" y="130"/>
                  </a:lnTo>
                  <a:lnTo>
                    <a:pt x="471" y="130"/>
                  </a:lnTo>
                  <a:lnTo>
                    <a:pt x="476" y="130"/>
                  </a:lnTo>
                  <a:lnTo>
                    <a:pt x="480" y="130"/>
                  </a:lnTo>
                  <a:lnTo>
                    <a:pt x="485" y="130"/>
                  </a:lnTo>
                  <a:lnTo>
                    <a:pt x="491" y="130"/>
                  </a:lnTo>
                  <a:lnTo>
                    <a:pt x="496" y="129"/>
                  </a:lnTo>
                  <a:lnTo>
                    <a:pt x="500" y="128"/>
                  </a:lnTo>
                  <a:lnTo>
                    <a:pt x="502" y="127"/>
                  </a:lnTo>
                  <a:lnTo>
                    <a:pt x="503" y="126"/>
                  </a:lnTo>
                  <a:lnTo>
                    <a:pt x="504" y="126"/>
                  </a:lnTo>
                  <a:lnTo>
                    <a:pt x="505" y="125"/>
                  </a:lnTo>
                  <a:lnTo>
                    <a:pt x="506" y="123"/>
                  </a:lnTo>
                  <a:lnTo>
                    <a:pt x="507" y="122"/>
                  </a:lnTo>
                  <a:lnTo>
                    <a:pt x="508" y="121"/>
                  </a:lnTo>
                  <a:lnTo>
                    <a:pt x="508" y="126"/>
                  </a:lnTo>
                  <a:lnTo>
                    <a:pt x="508" y="129"/>
                  </a:lnTo>
                  <a:lnTo>
                    <a:pt x="508" y="132"/>
                  </a:lnTo>
                  <a:lnTo>
                    <a:pt x="508" y="138"/>
                  </a:lnTo>
                  <a:lnTo>
                    <a:pt x="508" y="142"/>
                  </a:lnTo>
                  <a:lnTo>
                    <a:pt x="509" y="145"/>
                  </a:lnTo>
                  <a:lnTo>
                    <a:pt x="510" y="148"/>
                  </a:lnTo>
                  <a:lnTo>
                    <a:pt x="511" y="151"/>
                  </a:lnTo>
                  <a:lnTo>
                    <a:pt x="512" y="153"/>
                  </a:lnTo>
                  <a:lnTo>
                    <a:pt x="513" y="154"/>
                  </a:lnTo>
                  <a:lnTo>
                    <a:pt x="518" y="163"/>
                  </a:lnTo>
                  <a:lnTo>
                    <a:pt x="519" y="165"/>
                  </a:lnTo>
                  <a:lnTo>
                    <a:pt x="521" y="167"/>
                  </a:lnTo>
                  <a:lnTo>
                    <a:pt x="521" y="169"/>
                  </a:lnTo>
                  <a:lnTo>
                    <a:pt x="523" y="172"/>
                  </a:lnTo>
                  <a:lnTo>
                    <a:pt x="525" y="180"/>
                  </a:lnTo>
                  <a:lnTo>
                    <a:pt x="526" y="184"/>
                  </a:lnTo>
                  <a:lnTo>
                    <a:pt x="529" y="190"/>
                  </a:lnTo>
                  <a:lnTo>
                    <a:pt x="532" y="195"/>
                  </a:lnTo>
                  <a:lnTo>
                    <a:pt x="533" y="198"/>
                  </a:lnTo>
                  <a:lnTo>
                    <a:pt x="535" y="199"/>
                  </a:lnTo>
                  <a:lnTo>
                    <a:pt x="540" y="206"/>
                  </a:lnTo>
                  <a:lnTo>
                    <a:pt x="544" y="210"/>
                  </a:lnTo>
                  <a:lnTo>
                    <a:pt x="550" y="218"/>
                  </a:lnTo>
                  <a:lnTo>
                    <a:pt x="552" y="220"/>
                  </a:lnTo>
                  <a:lnTo>
                    <a:pt x="553" y="221"/>
                  </a:lnTo>
                  <a:lnTo>
                    <a:pt x="554" y="222"/>
                  </a:lnTo>
                  <a:lnTo>
                    <a:pt x="554" y="223"/>
                  </a:lnTo>
                  <a:lnTo>
                    <a:pt x="555" y="225"/>
                  </a:lnTo>
                  <a:lnTo>
                    <a:pt x="556" y="228"/>
                  </a:lnTo>
                  <a:lnTo>
                    <a:pt x="557" y="234"/>
                  </a:lnTo>
                  <a:lnTo>
                    <a:pt x="557" y="237"/>
                  </a:lnTo>
                  <a:lnTo>
                    <a:pt x="558" y="239"/>
                  </a:lnTo>
                  <a:lnTo>
                    <a:pt x="560" y="246"/>
                  </a:lnTo>
                  <a:lnTo>
                    <a:pt x="560" y="248"/>
                  </a:lnTo>
                  <a:lnTo>
                    <a:pt x="560" y="250"/>
                  </a:lnTo>
                  <a:lnTo>
                    <a:pt x="560" y="252"/>
                  </a:lnTo>
                  <a:lnTo>
                    <a:pt x="560" y="255"/>
                  </a:lnTo>
                  <a:lnTo>
                    <a:pt x="560" y="257"/>
                  </a:lnTo>
                  <a:lnTo>
                    <a:pt x="559" y="262"/>
                  </a:lnTo>
                  <a:lnTo>
                    <a:pt x="558" y="265"/>
                  </a:lnTo>
                  <a:lnTo>
                    <a:pt x="558" y="267"/>
                  </a:lnTo>
                  <a:lnTo>
                    <a:pt x="558" y="267"/>
                  </a:lnTo>
                  <a:lnTo>
                    <a:pt x="558" y="268"/>
                  </a:lnTo>
                  <a:lnTo>
                    <a:pt x="559" y="269"/>
                  </a:lnTo>
                  <a:lnTo>
                    <a:pt x="560" y="270"/>
                  </a:lnTo>
                  <a:lnTo>
                    <a:pt x="560" y="270"/>
                  </a:lnTo>
                  <a:lnTo>
                    <a:pt x="561" y="270"/>
                  </a:lnTo>
                  <a:lnTo>
                    <a:pt x="566" y="271"/>
                  </a:lnTo>
                  <a:lnTo>
                    <a:pt x="569" y="271"/>
                  </a:lnTo>
                  <a:lnTo>
                    <a:pt x="572" y="272"/>
                  </a:lnTo>
                  <a:lnTo>
                    <a:pt x="575" y="274"/>
                  </a:lnTo>
                  <a:lnTo>
                    <a:pt x="577" y="275"/>
                  </a:lnTo>
                  <a:lnTo>
                    <a:pt x="580" y="276"/>
                  </a:lnTo>
                  <a:lnTo>
                    <a:pt x="582" y="277"/>
                  </a:lnTo>
                  <a:lnTo>
                    <a:pt x="583" y="278"/>
                  </a:lnTo>
                  <a:lnTo>
                    <a:pt x="585" y="280"/>
                  </a:lnTo>
                  <a:lnTo>
                    <a:pt x="587" y="283"/>
                  </a:lnTo>
                  <a:lnTo>
                    <a:pt x="589" y="286"/>
                  </a:lnTo>
                  <a:lnTo>
                    <a:pt x="590" y="288"/>
                  </a:lnTo>
                  <a:lnTo>
                    <a:pt x="591" y="291"/>
                  </a:lnTo>
                  <a:lnTo>
                    <a:pt x="591" y="292"/>
                  </a:lnTo>
                  <a:lnTo>
                    <a:pt x="591" y="293"/>
                  </a:lnTo>
                  <a:lnTo>
                    <a:pt x="591" y="295"/>
                  </a:lnTo>
                  <a:lnTo>
                    <a:pt x="591" y="296"/>
                  </a:lnTo>
                  <a:lnTo>
                    <a:pt x="591" y="297"/>
                  </a:lnTo>
                  <a:lnTo>
                    <a:pt x="590" y="297"/>
                  </a:lnTo>
                  <a:lnTo>
                    <a:pt x="593" y="299"/>
                  </a:lnTo>
                  <a:lnTo>
                    <a:pt x="594" y="300"/>
                  </a:lnTo>
                  <a:lnTo>
                    <a:pt x="594" y="301"/>
                  </a:lnTo>
                  <a:lnTo>
                    <a:pt x="595" y="301"/>
                  </a:lnTo>
                  <a:lnTo>
                    <a:pt x="595" y="302"/>
                  </a:lnTo>
                  <a:lnTo>
                    <a:pt x="595" y="303"/>
                  </a:lnTo>
                  <a:lnTo>
                    <a:pt x="596" y="304"/>
                  </a:lnTo>
                  <a:lnTo>
                    <a:pt x="595" y="305"/>
                  </a:lnTo>
                  <a:lnTo>
                    <a:pt x="595" y="308"/>
                  </a:lnTo>
                  <a:lnTo>
                    <a:pt x="594" y="311"/>
                  </a:lnTo>
                  <a:lnTo>
                    <a:pt x="594" y="316"/>
                  </a:lnTo>
                  <a:lnTo>
                    <a:pt x="594" y="322"/>
                  </a:lnTo>
                  <a:lnTo>
                    <a:pt x="594" y="323"/>
                  </a:lnTo>
                  <a:lnTo>
                    <a:pt x="594" y="325"/>
                  </a:lnTo>
                  <a:lnTo>
                    <a:pt x="594" y="326"/>
                  </a:lnTo>
                  <a:lnTo>
                    <a:pt x="594" y="328"/>
                  </a:lnTo>
                  <a:lnTo>
                    <a:pt x="593" y="329"/>
                  </a:lnTo>
                  <a:lnTo>
                    <a:pt x="592" y="332"/>
                  </a:lnTo>
                  <a:lnTo>
                    <a:pt x="590" y="334"/>
                  </a:lnTo>
                  <a:lnTo>
                    <a:pt x="589" y="335"/>
                  </a:lnTo>
                  <a:lnTo>
                    <a:pt x="586" y="336"/>
                  </a:lnTo>
                  <a:lnTo>
                    <a:pt x="585" y="336"/>
                  </a:lnTo>
                  <a:lnTo>
                    <a:pt x="583" y="338"/>
                  </a:lnTo>
                  <a:lnTo>
                    <a:pt x="583" y="339"/>
                  </a:lnTo>
                  <a:lnTo>
                    <a:pt x="582" y="340"/>
                  </a:lnTo>
                  <a:lnTo>
                    <a:pt x="582" y="341"/>
                  </a:lnTo>
                  <a:lnTo>
                    <a:pt x="582" y="342"/>
                  </a:lnTo>
                  <a:lnTo>
                    <a:pt x="582" y="343"/>
                  </a:lnTo>
                  <a:lnTo>
                    <a:pt x="579" y="345"/>
                  </a:lnTo>
                  <a:lnTo>
                    <a:pt x="576" y="346"/>
                  </a:lnTo>
                  <a:lnTo>
                    <a:pt x="574" y="347"/>
                  </a:lnTo>
                  <a:lnTo>
                    <a:pt x="571" y="349"/>
                  </a:lnTo>
                  <a:lnTo>
                    <a:pt x="569" y="352"/>
                  </a:lnTo>
                  <a:lnTo>
                    <a:pt x="568" y="354"/>
                  </a:lnTo>
                  <a:lnTo>
                    <a:pt x="566" y="356"/>
                  </a:lnTo>
                  <a:lnTo>
                    <a:pt x="565" y="357"/>
                  </a:lnTo>
                  <a:lnTo>
                    <a:pt x="565" y="360"/>
                  </a:lnTo>
                  <a:lnTo>
                    <a:pt x="564" y="362"/>
                  </a:lnTo>
                  <a:lnTo>
                    <a:pt x="564" y="364"/>
                  </a:lnTo>
                  <a:lnTo>
                    <a:pt x="564" y="370"/>
                  </a:lnTo>
                  <a:lnTo>
                    <a:pt x="564" y="374"/>
                  </a:lnTo>
                  <a:lnTo>
                    <a:pt x="564" y="376"/>
                  </a:lnTo>
                  <a:lnTo>
                    <a:pt x="565" y="378"/>
                  </a:lnTo>
                  <a:lnTo>
                    <a:pt x="566" y="380"/>
                  </a:lnTo>
                  <a:lnTo>
                    <a:pt x="568" y="382"/>
                  </a:lnTo>
                  <a:lnTo>
                    <a:pt x="571" y="387"/>
                  </a:lnTo>
                  <a:lnTo>
                    <a:pt x="573" y="390"/>
                  </a:lnTo>
                  <a:lnTo>
                    <a:pt x="574" y="391"/>
                  </a:lnTo>
                  <a:lnTo>
                    <a:pt x="575" y="393"/>
                  </a:lnTo>
                  <a:lnTo>
                    <a:pt x="572" y="394"/>
                  </a:lnTo>
                  <a:lnTo>
                    <a:pt x="571" y="394"/>
                  </a:lnTo>
                  <a:lnTo>
                    <a:pt x="571" y="395"/>
                  </a:lnTo>
                  <a:lnTo>
                    <a:pt x="571" y="396"/>
                  </a:lnTo>
                  <a:lnTo>
                    <a:pt x="569" y="399"/>
                  </a:lnTo>
                  <a:lnTo>
                    <a:pt x="568" y="401"/>
                  </a:lnTo>
                  <a:lnTo>
                    <a:pt x="567" y="403"/>
                  </a:lnTo>
                  <a:lnTo>
                    <a:pt x="567" y="405"/>
                  </a:lnTo>
                  <a:lnTo>
                    <a:pt x="566" y="407"/>
                  </a:lnTo>
                  <a:lnTo>
                    <a:pt x="566" y="410"/>
                  </a:lnTo>
                  <a:lnTo>
                    <a:pt x="566" y="415"/>
                  </a:lnTo>
                  <a:lnTo>
                    <a:pt x="565" y="421"/>
                  </a:lnTo>
                  <a:lnTo>
                    <a:pt x="565" y="423"/>
                  </a:lnTo>
                  <a:lnTo>
                    <a:pt x="565" y="425"/>
                  </a:lnTo>
                  <a:lnTo>
                    <a:pt x="564" y="425"/>
                  </a:lnTo>
                  <a:lnTo>
                    <a:pt x="560" y="425"/>
                  </a:lnTo>
                  <a:lnTo>
                    <a:pt x="557" y="425"/>
                  </a:lnTo>
                  <a:lnTo>
                    <a:pt x="553" y="425"/>
                  </a:lnTo>
                  <a:lnTo>
                    <a:pt x="549" y="425"/>
                  </a:lnTo>
                  <a:lnTo>
                    <a:pt x="546" y="424"/>
                  </a:lnTo>
                  <a:lnTo>
                    <a:pt x="542" y="423"/>
                  </a:lnTo>
                  <a:lnTo>
                    <a:pt x="537" y="421"/>
                  </a:lnTo>
                  <a:lnTo>
                    <a:pt x="533" y="420"/>
                  </a:lnTo>
                  <a:lnTo>
                    <a:pt x="529" y="418"/>
                  </a:lnTo>
                  <a:lnTo>
                    <a:pt x="525" y="416"/>
                  </a:lnTo>
                  <a:lnTo>
                    <a:pt x="520" y="414"/>
                  </a:lnTo>
                  <a:lnTo>
                    <a:pt x="503" y="405"/>
                  </a:lnTo>
                  <a:lnTo>
                    <a:pt x="496" y="403"/>
                  </a:lnTo>
                  <a:lnTo>
                    <a:pt x="493" y="401"/>
                  </a:lnTo>
                  <a:lnTo>
                    <a:pt x="490" y="400"/>
                  </a:lnTo>
                  <a:lnTo>
                    <a:pt x="487" y="399"/>
                  </a:lnTo>
                  <a:lnTo>
                    <a:pt x="482" y="398"/>
                  </a:lnTo>
                  <a:lnTo>
                    <a:pt x="480" y="397"/>
                  </a:lnTo>
                  <a:lnTo>
                    <a:pt x="478" y="397"/>
                  </a:lnTo>
                  <a:lnTo>
                    <a:pt x="470" y="396"/>
                  </a:lnTo>
                  <a:lnTo>
                    <a:pt x="465" y="395"/>
                  </a:lnTo>
                  <a:lnTo>
                    <a:pt x="462" y="395"/>
                  </a:lnTo>
                  <a:lnTo>
                    <a:pt x="460" y="395"/>
                  </a:lnTo>
                  <a:lnTo>
                    <a:pt x="457" y="396"/>
                  </a:lnTo>
                  <a:lnTo>
                    <a:pt x="450" y="397"/>
                  </a:lnTo>
                  <a:lnTo>
                    <a:pt x="448" y="397"/>
                  </a:lnTo>
                  <a:lnTo>
                    <a:pt x="446" y="397"/>
                  </a:lnTo>
                  <a:lnTo>
                    <a:pt x="445" y="397"/>
                  </a:lnTo>
                  <a:lnTo>
                    <a:pt x="443" y="397"/>
                  </a:lnTo>
                  <a:lnTo>
                    <a:pt x="436" y="394"/>
                  </a:lnTo>
                  <a:lnTo>
                    <a:pt x="434" y="394"/>
                  </a:lnTo>
                  <a:lnTo>
                    <a:pt x="430" y="393"/>
                  </a:lnTo>
                  <a:lnTo>
                    <a:pt x="427" y="393"/>
                  </a:lnTo>
                  <a:lnTo>
                    <a:pt x="426" y="393"/>
                  </a:lnTo>
                  <a:lnTo>
                    <a:pt x="424" y="393"/>
                  </a:lnTo>
                  <a:lnTo>
                    <a:pt x="417" y="396"/>
                  </a:lnTo>
                  <a:lnTo>
                    <a:pt x="413" y="397"/>
                  </a:lnTo>
                  <a:lnTo>
                    <a:pt x="410" y="397"/>
                  </a:lnTo>
                  <a:lnTo>
                    <a:pt x="405" y="397"/>
                  </a:lnTo>
                  <a:lnTo>
                    <a:pt x="398" y="397"/>
                  </a:lnTo>
                  <a:lnTo>
                    <a:pt x="393" y="396"/>
                  </a:lnTo>
                  <a:lnTo>
                    <a:pt x="389" y="395"/>
                  </a:lnTo>
                  <a:lnTo>
                    <a:pt x="382" y="393"/>
                  </a:lnTo>
                  <a:lnTo>
                    <a:pt x="378" y="392"/>
                  </a:lnTo>
                  <a:lnTo>
                    <a:pt x="378" y="392"/>
                  </a:lnTo>
                  <a:lnTo>
                    <a:pt x="377" y="392"/>
                  </a:lnTo>
                  <a:lnTo>
                    <a:pt x="376" y="392"/>
                  </a:lnTo>
                  <a:lnTo>
                    <a:pt x="375" y="393"/>
                  </a:lnTo>
                  <a:lnTo>
                    <a:pt x="374" y="395"/>
                  </a:lnTo>
                  <a:lnTo>
                    <a:pt x="373" y="399"/>
                  </a:lnTo>
                  <a:lnTo>
                    <a:pt x="371" y="404"/>
                  </a:lnTo>
                  <a:lnTo>
                    <a:pt x="366" y="425"/>
                  </a:lnTo>
                  <a:lnTo>
                    <a:pt x="365" y="427"/>
                  </a:lnTo>
                  <a:lnTo>
                    <a:pt x="364" y="431"/>
                  </a:lnTo>
                  <a:lnTo>
                    <a:pt x="363" y="433"/>
                  </a:lnTo>
                  <a:lnTo>
                    <a:pt x="362" y="434"/>
                  </a:lnTo>
                  <a:lnTo>
                    <a:pt x="361" y="436"/>
                  </a:lnTo>
                  <a:lnTo>
                    <a:pt x="359" y="437"/>
                  </a:lnTo>
                  <a:lnTo>
                    <a:pt x="358" y="437"/>
                  </a:lnTo>
                  <a:lnTo>
                    <a:pt x="356" y="437"/>
                  </a:lnTo>
                  <a:lnTo>
                    <a:pt x="353" y="437"/>
                  </a:lnTo>
                  <a:lnTo>
                    <a:pt x="349" y="438"/>
                  </a:lnTo>
                  <a:lnTo>
                    <a:pt x="344" y="438"/>
                  </a:lnTo>
                  <a:lnTo>
                    <a:pt x="341" y="437"/>
                  </a:lnTo>
                  <a:lnTo>
                    <a:pt x="337" y="437"/>
                  </a:lnTo>
                  <a:lnTo>
                    <a:pt x="326" y="435"/>
                  </a:lnTo>
                  <a:lnTo>
                    <a:pt x="324" y="435"/>
                  </a:lnTo>
                  <a:lnTo>
                    <a:pt x="321" y="435"/>
                  </a:lnTo>
                  <a:lnTo>
                    <a:pt x="320" y="435"/>
                  </a:lnTo>
                  <a:lnTo>
                    <a:pt x="318" y="436"/>
                  </a:lnTo>
                  <a:lnTo>
                    <a:pt x="310" y="437"/>
                  </a:lnTo>
                  <a:lnTo>
                    <a:pt x="306" y="437"/>
                  </a:lnTo>
                  <a:lnTo>
                    <a:pt x="300" y="438"/>
                  </a:lnTo>
                  <a:lnTo>
                    <a:pt x="298" y="438"/>
                  </a:lnTo>
                  <a:lnTo>
                    <a:pt x="296" y="438"/>
                  </a:lnTo>
                  <a:lnTo>
                    <a:pt x="294" y="437"/>
                  </a:lnTo>
                  <a:lnTo>
                    <a:pt x="292" y="437"/>
                  </a:lnTo>
                  <a:lnTo>
                    <a:pt x="289" y="436"/>
                  </a:lnTo>
                  <a:lnTo>
                    <a:pt x="287" y="435"/>
                  </a:lnTo>
                  <a:lnTo>
                    <a:pt x="287" y="435"/>
                  </a:lnTo>
                  <a:lnTo>
                    <a:pt x="285" y="435"/>
                  </a:lnTo>
                  <a:lnTo>
                    <a:pt x="284" y="435"/>
                  </a:lnTo>
                  <a:lnTo>
                    <a:pt x="282" y="435"/>
                  </a:lnTo>
                  <a:lnTo>
                    <a:pt x="280" y="436"/>
                  </a:lnTo>
                  <a:lnTo>
                    <a:pt x="277" y="437"/>
                  </a:lnTo>
                  <a:lnTo>
                    <a:pt x="274" y="437"/>
                  </a:lnTo>
                  <a:lnTo>
                    <a:pt x="272" y="439"/>
                  </a:lnTo>
                  <a:lnTo>
                    <a:pt x="271" y="440"/>
                  </a:lnTo>
                  <a:lnTo>
                    <a:pt x="270" y="441"/>
                  </a:lnTo>
                  <a:lnTo>
                    <a:pt x="265" y="447"/>
                  </a:lnTo>
                  <a:lnTo>
                    <a:pt x="264" y="448"/>
                  </a:lnTo>
                  <a:lnTo>
                    <a:pt x="260" y="452"/>
                  </a:lnTo>
                  <a:lnTo>
                    <a:pt x="258" y="453"/>
                  </a:lnTo>
                  <a:lnTo>
                    <a:pt x="256" y="454"/>
                  </a:lnTo>
                  <a:lnTo>
                    <a:pt x="255" y="455"/>
                  </a:lnTo>
                  <a:lnTo>
                    <a:pt x="254" y="455"/>
                  </a:lnTo>
                  <a:lnTo>
                    <a:pt x="253" y="455"/>
                  </a:lnTo>
                  <a:lnTo>
                    <a:pt x="253" y="455"/>
                  </a:lnTo>
                  <a:lnTo>
                    <a:pt x="251" y="455"/>
                  </a:lnTo>
                  <a:lnTo>
                    <a:pt x="250" y="455"/>
                  </a:lnTo>
                  <a:lnTo>
                    <a:pt x="250" y="454"/>
                  </a:lnTo>
                  <a:lnTo>
                    <a:pt x="249" y="454"/>
                  </a:lnTo>
                  <a:lnTo>
                    <a:pt x="238" y="439"/>
                  </a:lnTo>
                  <a:lnTo>
                    <a:pt x="235" y="436"/>
                  </a:lnTo>
                  <a:lnTo>
                    <a:pt x="233" y="433"/>
                  </a:lnTo>
                  <a:lnTo>
                    <a:pt x="230" y="431"/>
                  </a:lnTo>
                  <a:lnTo>
                    <a:pt x="228" y="429"/>
                  </a:lnTo>
                  <a:lnTo>
                    <a:pt x="221" y="425"/>
                  </a:lnTo>
                  <a:lnTo>
                    <a:pt x="213" y="419"/>
                  </a:lnTo>
                  <a:lnTo>
                    <a:pt x="209" y="417"/>
                  </a:lnTo>
                  <a:lnTo>
                    <a:pt x="206" y="415"/>
                  </a:lnTo>
                  <a:lnTo>
                    <a:pt x="202" y="414"/>
                  </a:lnTo>
                  <a:lnTo>
                    <a:pt x="193" y="411"/>
                  </a:lnTo>
                  <a:lnTo>
                    <a:pt x="183" y="408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5"/>
                  </a:lnTo>
                  <a:lnTo>
                    <a:pt x="171" y="404"/>
                  </a:lnTo>
                  <a:lnTo>
                    <a:pt x="169" y="403"/>
                  </a:lnTo>
                  <a:lnTo>
                    <a:pt x="166" y="402"/>
                  </a:lnTo>
                  <a:lnTo>
                    <a:pt x="162" y="399"/>
                  </a:lnTo>
                  <a:lnTo>
                    <a:pt x="159" y="395"/>
                  </a:lnTo>
                  <a:lnTo>
                    <a:pt x="157" y="393"/>
                  </a:lnTo>
                  <a:lnTo>
                    <a:pt x="153" y="388"/>
                  </a:lnTo>
                  <a:lnTo>
                    <a:pt x="151" y="385"/>
                  </a:lnTo>
                  <a:lnTo>
                    <a:pt x="148" y="381"/>
                  </a:lnTo>
                  <a:lnTo>
                    <a:pt x="139" y="371"/>
                  </a:lnTo>
                  <a:lnTo>
                    <a:pt x="136" y="368"/>
                  </a:lnTo>
                  <a:lnTo>
                    <a:pt x="132" y="365"/>
                  </a:lnTo>
                  <a:lnTo>
                    <a:pt x="129" y="363"/>
                  </a:lnTo>
                  <a:lnTo>
                    <a:pt x="127" y="361"/>
                  </a:lnTo>
                  <a:lnTo>
                    <a:pt x="122" y="358"/>
                  </a:lnTo>
                  <a:lnTo>
                    <a:pt x="118" y="357"/>
                  </a:lnTo>
                  <a:lnTo>
                    <a:pt x="116" y="355"/>
                  </a:lnTo>
                  <a:lnTo>
                    <a:pt x="107" y="352"/>
                  </a:lnTo>
                  <a:lnTo>
                    <a:pt x="96" y="346"/>
                  </a:lnTo>
                  <a:lnTo>
                    <a:pt x="94" y="345"/>
                  </a:lnTo>
                  <a:lnTo>
                    <a:pt x="93" y="344"/>
                  </a:lnTo>
                  <a:lnTo>
                    <a:pt x="85" y="342"/>
                  </a:lnTo>
                  <a:lnTo>
                    <a:pt x="75" y="338"/>
                  </a:lnTo>
                  <a:lnTo>
                    <a:pt x="67" y="336"/>
                  </a:lnTo>
                  <a:lnTo>
                    <a:pt x="65" y="336"/>
                  </a:lnTo>
                  <a:lnTo>
                    <a:pt x="63" y="335"/>
                  </a:lnTo>
                  <a:lnTo>
                    <a:pt x="59" y="333"/>
                  </a:lnTo>
                  <a:lnTo>
                    <a:pt x="56" y="332"/>
                  </a:lnTo>
                  <a:lnTo>
                    <a:pt x="53" y="332"/>
                  </a:lnTo>
                  <a:lnTo>
                    <a:pt x="51" y="331"/>
                  </a:lnTo>
                  <a:lnTo>
                    <a:pt x="48" y="330"/>
                  </a:lnTo>
                  <a:lnTo>
                    <a:pt x="47" y="330"/>
                  </a:lnTo>
                  <a:lnTo>
                    <a:pt x="34" y="330"/>
                  </a:lnTo>
                  <a:lnTo>
                    <a:pt x="30" y="330"/>
                  </a:lnTo>
                  <a:lnTo>
                    <a:pt x="29" y="329"/>
                  </a:lnTo>
                  <a:lnTo>
                    <a:pt x="27" y="329"/>
                  </a:lnTo>
                  <a:lnTo>
                    <a:pt x="25" y="328"/>
                  </a:lnTo>
                  <a:lnTo>
                    <a:pt x="24" y="327"/>
                  </a:lnTo>
                  <a:lnTo>
                    <a:pt x="21" y="325"/>
                  </a:lnTo>
                  <a:lnTo>
                    <a:pt x="19" y="323"/>
                  </a:lnTo>
                  <a:lnTo>
                    <a:pt x="17" y="322"/>
                  </a:lnTo>
                  <a:lnTo>
                    <a:pt x="14" y="319"/>
                  </a:lnTo>
                  <a:lnTo>
                    <a:pt x="12" y="315"/>
                  </a:lnTo>
                  <a:lnTo>
                    <a:pt x="5" y="307"/>
                  </a:lnTo>
                  <a:lnTo>
                    <a:pt x="2" y="302"/>
                  </a:lnTo>
                  <a:lnTo>
                    <a:pt x="1" y="301"/>
                  </a:lnTo>
                  <a:lnTo>
                    <a:pt x="0" y="300"/>
                  </a:lnTo>
                  <a:lnTo>
                    <a:pt x="1" y="300"/>
                  </a:lnTo>
                  <a:lnTo>
                    <a:pt x="2" y="299"/>
                  </a:lnTo>
                  <a:lnTo>
                    <a:pt x="4" y="299"/>
                  </a:lnTo>
                  <a:lnTo>
                    <a:pt x="5" y="298"/>
                  </a:lnTo>
                  <a:lnTo>
                    <a:pt x="6" y="297"/>
                  </a:lnTo>
                  <a:lnTo>
                    <a:pt x="7" y="296"/>
                  </a:lnTo>
                  <a:lnTo>
                    <a:pt x="8" y="295"/>
                  </a:lnTo>
                  <a:lnTo>
                    <a:pt x="9" y="293"/>
                  </a:lnTo>
                  <a:lnTo>
                    <a:pt x="9" y="291"/>
                  </a:lnTo>
                  <a:lnTo>
                    <a:pt x="9" y="290"/>
                  </a:lnTo>
                  <a:lnTo>
                    <a:pt x="9" y="288"/>
                  </a:lnTo>
                  <a:lnTo>
                    <a:pt x="6" y="278"/>
                  </a:lnTo>
                  <a:lnTo>
                    <a:pt x="3" y="266"/>
                  </a:lnTo>
                  <a:lnTo>
                    <a:pt x="2" y="263"/>
                  </a:lnTo>
                  <a:lnTo>
                    <a:pt x="1" y="256"/>
                  </a:lnTo>
                  <a:lnTo>
                    <a:pt x="0" y="254"/>
                  </a:lnTo>
                  <a:lnTo>
                    <a:pt x="0" y="252"/>
                  </a:lnTo>
                  <a:lnTo>
                    <a:pt x="0" y="250"/>
                  </a:lnTo>
                  <a:lnTo>
                    <a:pt x="1" y="248"/>
                  </a:lnTo>
                  <a:lnTo>
                    <a:pt x="2" y="247"/>
                  </a:lnTo>
                  <a:lnTo>
                    <a:pt x="2" y="246"/>
                  </a:lnTo>
                  <a:lnTo>
                    <a:pt x="3" y="245"/>
                  </a:lnTo>
                  <a:lnTo>
                    <a:pt x="5" y="244"/>
                  </a:lnTo>
                  <a:lnTo>
                    <a:pt x="7" y="244"/>
                  </a:lnTo>
                  <a:lnTo>
                    <a:pt x="9" y="243"/>
                  </a:lnTo>
                  <a:lnTo>
                    <a:pt x="10" y="243"/>
                  </a:lnTo>
                  <a:lnTo>
                    <a:pt x="12" y="243"/>
                  </a:lnTo>
                  <a:lnTo>
                    <a:pt x="14" y="243"/>
                  </a:lnTo>
                  <a:lnTo>
                    <a:pt x="16" y="243"/>
                  </a:lnTo>
                  <a:lnTo>
                    <a:pt x="19" y="243"/>
                  </a:lnTo>
                  <a:lnTo>
                    <a:pt x="22" y="243"/>
                  </a:lnTo>
                  <a:lnTo>
                    <a:pt x="28" y="244"/>
                  </a:lnTo>
                  <a:lnTo>
                    <a:pt x="39" y="246"/>
                  </a:lnTo>
                  <a:lnTo>
                    <a:pt x="42" y="246"/>
                  </a:lnTo>
                  <a:lnTo>
                    <a:pt x="45" y="246"/>
                  </a:lnTo>
                  <a:lnTo>
                    <a:pt x="46" y="245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50" y="243"/>
                  </a:lnTo>
                  <a:lnTo>
                    <a:pt x="51" y="242"/>
                  </a:lnTo>
                  <a:lnTo>
                    <a:pt x="52" y="240"/>
                  </a:lnTo>
                  <a:lnTo>
                    <a:pt x="53" y="239"/>
                  </a:lnTo>
                  <a:lnTo>
                    <a:pt x="54" y="237"/>
                  </a:lnTo>
                  <a:lnTo>
                    <a:pt x="55" y="234"/>
                  </a:lnTo>
                  <a:lnTo>
                    <a:pt x="56" y="232"/>
                  </a:lnTo>
                  <a:lnTo>
                    <a:pt x="58" y="222"/>
                  </a:lnTo>
                  <a:lnTo>
                    <a:pt x="59" y="215"/>
                  </a:lnTo>
                  <a:lnTo>
                    <a:pt x="59" y="206"/>
                  </a:lnTo>
                  <a:lnTo>
                    <a:pt x="59" y="202"/>
                  </a:lnTo>
                  <a:lnTo>
                    <a:pt x="59" y="191"/>
                  </a:lnTo>
                  <a:lnTo>
                    <a:pt x="59" y="183"/>
                  </a:lnTo>
                  <a:lnTo>
                    <a:pt x="59" y="176"/>
                  </a:lnTo>
                  <a:lnTo>
                    <a:pt x="59" y="164"/>
                  </a:lnTo>
                  <a:lnTo>
                    <a:pt x="58" y="161"/>
                  </a:lnTo>
                  <a:lnTo>
                    <a:pt x="58" y="157"/>
                  </a:lnTo>
                  <a:lnTo>
                    <a:pt x="58" y="155"/>
                  </a:lnTo>
                  <a:lnTo>
                    <a:pt x="60" y="149"/>
                  </a:lnTo>
                  <a:lnTo>
                    <a:pt x="60" y="145"/>
                  </a:lnTo>
                  <a:lnTo>
                    <a:pt x="61" y="143"/>
                  </a:lnTo>
                  <a:lnTo>
                    <a:pt x="61" y="141"/>
                  </a:lnTo>
                  <a:lnTo>
                    <a:pt x="61" y="136"/>
                  </a:lnTo>
                  <a:lnTo>
                    <a:pt x="60" y="134"/>
                  </a:lnTo>
                  <a:lnTo>
                    <a:pt x="60" y="132"/>
                  </a:lnTo>
                  <a:lnTo>
                    <a:pt x="59" y="130"/>
                  </a:lnTo>
                  <a:lnTo>
                    <a:pt x="58" y="125"/>
                  </a:lnTo>
                  <a:lnTo>
                    <a:pt x="58" y="123"/>
                  </a:lnTo>
                  <a:lnTo>
                    <a:pt x="57" y="121"/>
                  </a:lnTo>
                  <a:lnTo>
                    <a:pt x="57" y="120"/>
                  </a:lnTo>
                  <a:lnTo>
                    <a:pt x="57" y="119"/>
                  </a:lnTo>
                  <a:lnTo>
                    <a:pt x="58" y="117"/>
                  </a:lnTo>
                  <a:lnTo>
                    <a:pt x="58" y="115"/>
                  </a:lnTo>
                  <a:lnTo>
                    <a:pt x="59" y="113"/>
                  </a:lnTo>
                  <a:lnTo>
                    <a:pt x="59" y="112"/>
                  </a:lnTo>
                  <a:lnTo>
                    <a:pt x="61" y="110"/>
                  </a:lnTo>
                  <a:lnTo>
                    <a:pt x="62" y="108"/>
                  </a:lnTo>
                  <a:lnTo>
                    <a:pt x="64" y="108"/>
                  </a:lnTo>
                  <a:lnTo>
                    <a:pt x="65" y="106"/>
                  </a:lnTo>
                  <a:lnTo>
                    <a:pt x="70" y="103"/>
                  </a:lnTo>
                  <a:lnTo>
                    <a:pt x="73" y="100"/>
                  </a:lnTo>
                  <a:lnTo>
                    <a:pt x="76" y="99"/>
                  </a:lnTo>
                  <a:lnTo>
                    <a:pt x="79" y="98"/>
                  </a:lnTo>
                  <a:lnTo>
                    <a:pt x="85" y="96"/>
                  </a:lnTo>
                  <a:lnTo>
                    <a:pt x="88" y="96"/>
                  </a:lnTo>
                  <a:lnTo>
                    <a:pt x="90" y="95"/>
                  </a:lnTo>
                  <a:lnTo>
                    <a:pt x="91" y="94"/>
                  </a:lnTo>
                  <a:lnTo>
                    <a:pt x="93" y="92"/>
                  </a:lnTo>
                  <a:lnTo>
                    <a:pt x="93" y="91"/>
                  </a:lnTo>
                  <a:lnTo>
                    <a:pt x="95" y="89"/>
                  </a:lnTo>
                  <a:lnTo>
                    <a:pt x="96" y="88"/>
                  </a:lnTo>
                  <a:lnTo>
                    <a:pt x="96" y="86"/>
                  </a:lnTo>
                  <a:lnTo>
                    <a:pt x="97" y="85"/>
                  </a:lnTo>
                  <a:lnTo>
                    <a:pt x="98" y="83"/>
                  </a:lnTo>
                  <a:lnTo>
                    <a:pt x="99" y="76"/>
                  </a:lnTo>
                  <a:lnTo>
                    <a:pt x="100" y="69"/>
                  </a:lnTo>
                  <a:lnTo>
                    <a:pt x="100" y="66"/>
                  </a:lnTo>
                  <a:lnTo>
                    <a:pt x="100" y="61"/>
                  </a:lnTo>
                  <a:lnTo>
                    <a:pt x="101" y="57"/>
                  </a:lnTo>
                  <a:lnTo>
                    <a:pt x="101" y="55"/>
                  </a:lnTo>
                  <a:lnTo>
                    <a:pt x="102" y="53"/>
                  </a:lnTo>
                  <a:lnTo>
                    <a:pt x="103" y="52"/>
                  </a:lnTo>
                  <a:lnTo>
                    <a:pt x="104" y="50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106" y="48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8" y="48"/>
                  </a:lnTo>
                  <a:lnTo>
                    <a:pt x="121" y="48"/>
                  </a:lnTo>
                  <a:lnTo>
                    <a:pt x="122" y="49"/>
                  </a:lnTo>
                  <a:lnTo>
                    <a:pt x="124" y="49"/>
                  </a:lnTo>
                  <a:lnTo>
                    <a:pt x="127" y="51"/>
                  </a:lnTo>
                  <a:lnTo>
                    <a:pt x="130" y="52"/>
                  </a:lnTo>
                  <a:lnTo>
                    <a:pt x="138" y="56"/>
                  </a:lnTo>
                  <a:lnTo>
                    <a:pt x="139" y="56"/>
                  </a:lnTo>
                  <a:lnTo>
                    <a:pt x="140" y="57"/>
                  </a:lnTo>
                  <a:lnTo>
                    <a:pt x="142" y="58"/>
                  </a:lnTo>
                  <a:lnTo>
                    <a:pt x="144" y="58"/>
                  </a:lnTo>
                  <a:lnTo>
                    <a:pt x="146" y="57"/>
                  </a:lnTo>
                  <a:lnTo>
                    <a:pt x="148" y="57"/>
                  </a:lnTo>
                  <a:lnTo>
                    <a:pt x="149" y="56"/>
                  </a:lnTo>
                  <a:lnTo>
                    <a:pt x="150" y="55"/>
                  </a:lnTo>
                  <a:lnTo>
                    <a:pt x="150" y="54"/>
                  </a:lnTo>
                  <a:lnTo>
                    <a:pt x="152" y="52"/>
                  </a:lnTo>
                  <a:lnTo>
                    <a:pt x="154" y="50"/>
                  </a:lnTo>
                  <a:lnTo>
                    <a:pt x="159" y="42"/>
                  </a:lnTo>
                  <a:lnTo>
                    <a:pt x="161" y="39"/>
                  </a:lnTo>
                  <a:lnTo>
                    <a:pt x="162" y="36"/>
                  </a:lnTo>
                  <a:lnTo>
                    <a:pt x="164" y="34"/>
                  </a:lnTo>
                  <a:lnTo>
                    <a:pt x="166" y="32"/>
                  </a:lnTo>
                  <a:lnTo>
                    <a:pt x="169" y="30"/>
                  </a:lnTo>
                  <a:lnTo>
                    <a:pt x="173" y="27"/>
                  </a:lnTo>
                  <a:lnTo>
                    <a:pt x="177" y="24"/>
                  </a:lnTo>
                  <a:lnTo>
                    <a:pt x="184" y="21"/>
                  </a:lnTo>
                  <a:lnTo>
                    <a:pt x="185" y="20"/>
                  </a:lnTo>
                  <a:lnTo>
                    <a:pt x="187" y="18"/>
                  </a:lnTo>
                  <a:lnTo>
                    <a:pt x="189" y="17"/>
                  </a:lnTo>
                  <a:lnTo>
                    <a:pt x="190" y="16"/>
                  </a:lnTo>
                  <a:lnTo>
                    <a:pt x="190" y="15"/>
                  </a:lnTo>
                  <a:lnTo>
                    <a:pt x="191" y="14"/>
                  </a:lnTo>
                  <a:lnTo>
                    <a:pt x="191" y="12"/>
                  </a:lnTo>
                  <a:lnTo>
                    <a:pt x="191" y="10"/>
                  </a:lnTo>
                  <a:lnTo>
                    <a:pt x="190" y="6"/>
                  </a:lnTo>
                  <a:lnTo>
                    <a:pt x="190" y="5"/>
                  </a:lnTo>
                  <a:lnTo>
                    <a:pt x="190" y="3"/>
                  </a:lnTo>
                  <a:lnTo>
                    <a:pt x="191" y="2"/>
                  </a:lnTo>
                  <a:lnTo>
                    <a:pt x="191" y="1"/>
                  </a:lnTo>
                  <a:lnTo>
                    <a:pt x="192" y="0"/>
                  </a:lnTo>
                  <a:lnTo>
                    <a:pt x="193" y="0"/>
                  </a:lnTo>
                  <a:lnTo>
                    <a:pt x="194" y="1"/>
                  </a:lnTo>
                  <a:lnTo>
                    <a:pt x="196" y="5"/>
                  </a:lnTo>
                  <a:lnTo>
                    <a:pt x="203" y="13"/>
                  </a:lnTo>
                  <a:lnTo>
                    <a:pt x="207" y="18"/>
                  </a:lnTo>
                  <a:lnTo>
                    <a:pt x="222" y="38"/>
                  </a:lnTo>
                  <a:lnTo>
                    <a:pt x="227" y="44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7" name="Freeform 54">
              <a:extLst>
                <a:ext uri="{FF2B5EF4-FFF2-40B4-BE49-F238E27FC236}">
                  <a16:creationId xmlns:a16="http://schemas.microsoft.com/office/drawing/2014/main" id="{62A7A624-99BA-4022-BB8A-A82BB07EB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1972"/>
              <a:ext cx="621" cy="453"/>
            </a:xfrm>
            <a:custGeom>
              <a:avLst/>
              <a:gdLst>
                <a:gd name="T0" fmla="*/ 621 w 621"/>
                <a:gd name="T1" fmla="*/ 7 h 453"/>
                <a:gd name="T2" fmla="*/ 599 w 621"/>
                <a:gd name="T3" fmla="*/ 80 h 453"/>
                <a:gd name="T4" fmla="*/ 585 w 621"/>
                <a:gd name="T5" fmla="*/ 121 h 453"/>
                <a:gd name="T6" fmla="*/ 582 w 621"/>
                <a:gd name="T7" fmla="*/ 159 h 453"/>
                <a:gd name="T8" fmla="*/ 580 w 621"/>
                <a:gd name="T9" fmla="*/ 198 h 453"/>
                <a:gd name="T10" fmla="*/ 544 w 621"/>
                <a:gd name="T11" fmla="*/ 234 h 453"/>
                <a:gd name="T12" fmla="*/ 520 w 621"/>
                <a:gd name="T13" fmla="*/ 243 h 453"/>
                <a:gd name="T14" fmla="*/ 525 w 621"/>
                <a:gd name="T15" fmla="*/ 276 h 453"/>
                <a:gd name="T16" fmla="*/ 546 w 621"/>
                <a:gd name="T17" fmla="*/ 355 h 453"/>
                <a:gd name="T18" fmla="*/ 548 w 621"/>
                <a:gd name="T19" fmla="*/ 391 h 453"/>
                <a:gd name="T20" fmla="*/ 531 w 621"/>
                <a:gd name="T21" fmla="*/ 414 h 453"/>
                <a:gd name="T22" fmla="*/ 484 w 621"/>
                <a:gd name="T23" fmla="*/ 416 h 453"/>
                <a:gd name="T24" fmla="*/ 447 w 621"/>
                <a:gd name="T25" fmla="*/ 413 h 453"/>
                <a:gd name="T26" fmla="*/ 404 w 621"/>
                <a:gd name="T27" fmla="*/ 448 h 453"/>
                <a:gd name="T28" fmla="*/ 389 w 621"/>
                <a:gd name="T29" fmla="*/ 452 h 453"/>
                <a:gd name="T30" fmla="*/ 371 w 621"/>
                <a:gd name="T31" fmla="*/ 423 h 453"/>
                <a:gd name="T32" fmla="*/ 338 w 621"/>
                <a:gd name="T33" fmla="*/ 419 h 453"/>
                <a:gd name="T34" fmla="*/ 323 w 621"/>
                <a:gd name="T35" fmla="*/ 416 h 453"/>
                <a:gd name="T36" fmla="*/ 294 w 621"/>
                <a:gd name="T37" fmla="*/ 405 h 453"/>
                <a:gd name="T38" fmla="*/ 259 w 621"/>
                <a:gd name="T39" fmla="*/ 372 h 453"/>
                <a:gd name="T40" fmla="*/ 274 w 621"/>
                <a:gd name="T41" fmla="*/ 362 h 453"/>
                <a:gd name="T42" fmla="*/ 249 w 621"/>
                <a:gd name="T43" fmla="*/ 326 h 453"/>
                <a:gd name="T44" fmla="*/ 217 w 621"/>
                <a:gd name="T45" fmla="*/ 294 h 453"/>
                <a:gd name="T46" fmla="*/ 200 w 621"/>
                <a:gd name="T47" fmla="*/ 315 h 453"/>
                <a:gd name="T48" fmla="*/ 176 w 621"/>
                <a:gd name="T49" fmla="*/ 344 h 453"/>
                <a:gd name="T50" fmla="*/ 149 w 621"/>
                <a:gd name="T51" fmla="*/ 337 h 453"/>
                <a:gd name="T52" fmla="*/ 128 w 621"/>
                <a:gd name="T53" fmla="*/ 343 h 453"/>
                <a:gd name="T54" fmla="*/ 120 w 621"/>
                <a:gd name="T55" fmla="*/ 379 h 453"/>
                <a:gd name="T56" fmla="*/ 91 w 621"/>
                <a:gd name="T57" fmla="*/ 396 h 453"/>
                <a:gd name="T58" fmla="*/ 85 w 621"/>
                <a:gd name="T59" fmla="*/ 413 h 453"/>
                <a:gd name="T60" fmla="*/ 83 w 621"/>
                <a:gd name="T61" fmla="*/ 445 h 453"/>
                <a:gd name="T62" fmla="*/ 56 w 621"/>
                <a:gd name="T63" fmla="*/ 430 h 453"/>
                <a:gd name="T64" fmla="*/ 30 w 621"/>
                <a:gd name="T65" fmla="*/ 398 h 453"/>
                <a:gd name="T66" fmla="*/ 23 w 621"/>
                <a:gd name="T67" fmla="*/ 370 h 453"/>
                <a:gd name="T68" fmla="*/ 20 w 621"/>
                <a:gd name="T69" fmla="*/ 328 h 453"/>
                <a:gd name="T70" fmla="*/ 2 w 621"/>
                <a:gd name="T71" fmla="*/ 294 h 453"/>
                <a:gd name="T72" fmla="*/ 5 w 621"/>
                <a:gd name="T73" fmla="*/ 273 h 453"/>
                <a:gd name="T74" fmla="*/ 19 w 621"/>
                <a:gd name="T75" fmla="*/ 249 h 453"/>
                <a:gd name="T76" fmla="*/ 33 w 621"/>
                <a:gd name="T77" fmla="*/ 226 h 453"/>
                <a:gd name="T78" fmla="*/ 51 w 621"/>
                <a:gd name="T79" fmla="*/ 218 h 453"/>
                <a:gd name="T80" fmla="*/ 69 w 621"/>
                <a:gd name="T81" fmla="*/ 189 h 453"/>
                <a:gd name="T82" fmla="*/ 89 w 621"/>
                <a:gd name="T83" fmla="*/ 178 h 453"/>
                <a:gd name="T84" fmla="*/ 123 w 621"/>
                <a:gd name="T85" fmla="*/ 196 h 453"/>
                <a:gd name="T86" fmla="*/ 156 w 621"/>
                <a:gd name="T87" fmla="*/ 189 h 453"/>
                <a:gd name="T88" fmla="*/ 191 w 621"/>
                <a:gd name="T89" fmla="*/ 191 h 453"/>
                <a:gd name="T90" fmla="*/ 214 w 621"/>
                <a:gd name="T91" fmla="*/ 188 h 453"/>
                <a:gd name="T92" fmla="*/ 215 w 621"/>
                <a:gd name="T93" fmla="*/ 168 h 453"/>
                <a:gd name="T94" fmla="*/ 230 w 621"/>
                <a:gd name="T95" fmla="*/ 142 h 453"/>
                <a:gd name="T96" fmla="*/ 257 w 621"/>
                <a:gd name="T97" fmla="*/ 118 h 453"/>
                <a:gd name="T98" fmla="*/ 305 w 621"/>
                <a:gd name="T99" fmla="*/ 90 h 453"/>
                <a:gd name="T100" fmla="*/ 330 w 621"/>
                <a:gd name="T101" fmla="*/ 61 h 453"/>
                <a:gd name="T102" fmla="*/ 347 w 621"/>
                <a:gd name="T103" fmla="*/ 51 h 453"/>
                <a:gd name="T104" fmla="*/ 394 w 621"/>
                <a:gd name="T105" fmla="*/ 72 h 453"/>
                <a:gd name="T106" fmla="*/ 419 w 621"/>
                <a:gd name="T107" fmla="*/ 80 h 453"/>
                <a:gd name="T108" fmla="*/ 458 w 621"/>
                <a:gd name="T109" fmla="*/ 111 h 453"/>
                <a:gd name="T110" fmla="*/ 501 w 621"/>
                <a:gd name="T111" fmla="*/ 121 h 453"/>
                <a:gd name="T112" fmla="*/ 533 w 621"/>
                <a:gd name="T113" fmla="*/ 87 h 453"/>
                <a:gd name="T114" fmla="*/ 568 w 621"/>
                <a:gd name="T115" fmla="*/ 46 h 453"/>
                <a:gd name="T116" fmla="*/ 596 w 621"/>
                <a:gd name="T117" fmla="*/ 6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1" h="453">
                  <a:moveTo>
                    <a:pt x="612" y="0"/>
                  </a:moveTo>
                  <a:lnTo>
                    <a:pt x="614" y="0"/>
                  </a:lnTo>
                  <a:lnTo>
                    <a:pt x="616" y="0"/>
                  </a:lnTo>
                  <a:lnTo>
                    <a:pt x="618" y="0"/>
                  </a:lnTo>
                  <a:lnTo>
                    <a:pt x="620" y="0"/>
                  </a:lnTo>
                  <a:lnTo>
                    <a:pt x="620" y="1"/>
                  </a:lnTo>
                  <a:lnTo>
                    <a:pt x="620" y="2"/>
                  </a:lnTo>
                  <a:lnTo>
                    <a:pt x="620" y="3"/>
                  </a:lnTo>
                  <a:lnTo>
                    <a:pt x="621" y="3"/>
                  </a:lnTo>
                  <a:lnTo>
                    <a:pt x="621" y="4"/>
                  </a:lnTo>
                  <a:lnTo>
                    <a:pt x="621" y="7"/>
                  </a:lnTo>
                  <a:lnTo>
                    <a:pt x="621" y="11"/>
                  </a:lnTo>
                  <a:lnTo>
                    <a:pt x="621" y="13"/>
                  </a:lnTo>
                  <a:lnTo>
                    <a:pt x="621" y="18"/>
                  </a:lnTo>
                  <a:lnTo>
                    <a:pt x="620" y="22"/>
                  </a:lnTo>
                  <a:lnTo>
                    <a:pt x="619" y="25"/>
                  </a:lnTo>
                  <a:lnTo>
                    <a:pt x="618" y="29"/>
                  </a:lnTo>
                  <a:lnTo>
                    <a:pt x="616" y="33"/>
                  </a:lnTo>
                  <a:lnTo>
                    <a:pt x="612" y="43"/>
                  </a:lnTo>
                  <a:lnTo>
                    <a:pt x="609" y="51"/>
                  </a:lnTo>
                  <a:lnTo>
                    <a:pt x="602" y="72"/>
                  </a:lnTo>
                  <a:lnTo>
                    <a:pt x="599" y="80"/>
                  </a:lnTo>
                  <a:lnTo>
                    <a:pt x="598" y="84"/>
                  </a:lnTo>
                  <a:lnTo>
                    <a:pt x="595" y="90"/>
                  </a:lnTo>
                  <a:lnTo>
                    <a:pt x="591" y="100"/>
                  </a:lnTo>
                  <a:lnTo>
                    <a:pt x="589" y="102"/>
                  </a:lnTo>
                  <a:lnTo>
                    <a:pt x="587" y="107"/>
                  </a:lnTo>
                  <a:lnTo>
                    <a:pt x="586" y="109"/>
                  </a:lnTo>
                  <a:lnTo>
                    <a:pt x="585" y="111"/>
                  </a:lnTo>
                  <a:lnTo>
                    <a:pt x="585" y="113"/>
                  </a:lnTo>
                  <a:lnTo>
                    <a:pt x="584" y="115"/>
                  </a:lnTo>
                  <a:lnTo>
                    <a:pt x="585" y="118"/>
                  </a:lnTo>
                  <a:lnTo>
                    <a:pt x="585" y="121"/>
                  </a:lnTo>
                  <a:lnTo>
                    <a:pt x="586" y="131"/>
                  </a:lnTo>
                  <a:lnTo>
                    <a:pt x="587" y="134"/>
                  </a:lnTo>
                  <a:lnTo>
                    <a:pt x="587" y="136"/>
                  </a:lnTo>
                  <a:lnTo>
                    <a:pt x="587" y="137"/>
                  </a:lnTo>
                  <a:lnTo>
                    <a:pt x="586" y="140"/>
                  </a:lnTo>
                  <a:lnTo>
                    <a:pt x="583" y="147"/>
                  </a:lnTo>
                  <a:lnTo>
                    <a:pt x="582" y="150"/>
                  </a:lnTo>
                  <a:lnTo>
                    <a:pt x="582" y="153"/>
                  </a:lnTo>
                  <a:lnTo>
                    <a:pt x="581" y="155"/>
                  </a:lnTo>
                  <a:lnTo>
                    <a:pt x="581" y="158"/>
                  </a:lnTo>
                  <a:lnTo>
                    <a:pt x="582" y="159"/>
                  </a:lnTo>
                  <a:lnTo>
                    <a:pt x="582" y="162"/>
                  </a:lnTo>
                  <a:lnTo>
                    <a:pt x="583" y="168"/>
                  </a:lnTo>
                  <a:lnTo>
                    <a:pt x="584" y="170"/>
                  </a:lnTo>
                  <a:lnTo>
                    <a:pt x="585" y="181"/>
                  </a:lnTo>
                  <a:lnTo>
                    <a:pt x="585" y="183"/>
                  </a:lnTo>
                  <a:lnTo>
                    <a:pt x="585" y="186"/>
                  </a:lnTo>
                  <a:lnTo>
                    <a:pt x="584" y="188"/>
                  </a:lnTo>
                  <a:lnTo>
                    <a:pt x="583" y="191"/>
                  </a:lnTo>
                  <a:lnTo>
                    <a:pt x="582" y="194"/>
                  </a:lnTo>
                  <a:lnTo>
                    <a:pt x="581" y="196"/>
                  </a:lnTo>
                  <a:lnTo>
                    <a:pt x="580" y="198"/>
                  </a:lnTo>
                  <a:lnTo>
                    <a:pt x="579" y="200"/>
                  </a:lnTo>
                  <a:lnTo>
                    <a:pt x="577" y="202"/>
                  </a:lnTo>
                  <a:lnTo>
                    <a:pt x="575" y="204"/>
                  </a:lnTo>
                  <a:lnTo>
                    <a:pt x="565" y="213"/>
                  </a:lnTo>
                  <a:lnTo>
                    <a:pt x="562" y="215"/>
                  </a:lnTo>
                  <a:lnTo>
                    <a:pt x="556" y="222"/>
                  </a:lnTo>
                  <a:lnTo>
                    <a:pt x="554" y="224"/>
                  </a:lnTo>
                  <a:lnTo>
                    <a:pt x="552" y="227"/>
                  </a:lnTo>
                  <a:lnTo>
                    <a:pt x="550" y="229"/>
                  </a:lnTo>
                  <a:lnTo>
                    <a:pt x="547" y="232"/>
                  </a:lnTo>
                  <a:lnTo>
                    <a:pt x="544" y="234"/>
                  </a:lnTo>
                  <a:lnTo>
                    <a:pt x="543" y="236"/>
                  </a:lnTo>
                  <a:lnTo>
                    <a:pt x="541" y="237"/>
                  </a:lnTo>
                  <a:lnTo>
                    <a:pt x="540" y="238"/>
                  </a:lnTo>
                  <a:lnTo>
                    <a:pt x="538" y="238"/>
                  </a:lnTo>
                  <a:lnTo>
                    <a:pt x="536" y="238"/>
                  </a:lnTo>
                  <a:lnTo>
                    <a:pt x="530" y="239"/>
                  </a:lnTo>
                  <a:lnTo>
                    <a:pt x="528" y="240"/>
                  </a:lnTo>
                  <a:lnTo>
                    <a:pt x="525" y="240"/>
                  </a:lnTo>
                  <a:lnTo>
                    <a:pt x="523" y="241"/>
                  </a:lnTo>
                  <a:lnTo>
                    <a:pt x="521" y="243"/>
                  </a:lnTo>
                  <a:lnTo>
                    <a:pt x="520" y="243"/>
                  </a:lnTo>
                  <a:lnTo>
                    <a:pt x="519" y="244"/>
                  </a:lnTo>
                  <a:lnTo>
                    <a:pt x="518" y="246"/>
                  </a:lnTo>
                  <a:lnTo>
                    <a:pt x="518" y="247"/>
                  </a:lnTo>
                  <a:lnTo>
                    <a:pt x="518" y="248"/>
                  </a:lnTo>
                  <a:lnTo>
                    <a:pt x="518" y="249"/>
                  </a:lnTo>
                  <a:lnTo>
                    <a:pt x="518" y="251"/>
                  </a:lnTo>
                  <a:lnTo>
                    <a:pt x="518" y="253"/>
                  </a:lnTo>
                  <a:lnTo>
                    <a:pt x="518" y="255"/>
                  </a:lnTo>
                  <a:lnTo>
                    <a:pt x="519" y="259"/>
                  </a:lnTo>
                  <a:lnTo>
                    <a:pt x="523" y="268"/>
                  </a:lnTo>
                  <a:lnTo>
                    <a:pt x="525" y="276"/>
                  </a:lnTo>
                  <a:lnTo>
                    <a:pt x="527" y="281"/>
                  </a:lnTo>
                  <a:lnTo>
                    <a:pt x="530" y="294"/>
                  </a:lnTo>
                  <a:lnTo>
                    <a:pt x="530" y="299"/>
                  </a:lnTo>
                  <a:lnTo>
                    <a:pt x="531" y="303"/>
                  </a:lnTo>
                  <a:lnTo>
                    <a:pt x="534" y="309"/>
                  </a:lnTo>
                  <a:lnTo>
                    <a:pt x="540" y="322"/>
                  </a:lnTo>
                  <a:lnTo>
                    <a:pt x="543" y="334"/>
                  </a:lnTo>
                  <a:lnTo>
                    <a:pt x="544" y="337"/>
                  </a:lnTo>
                  <a:lnTo>
                    <a:pt x="545" y="341"/>
                  </a:lnTo>
                  <a:lnTo>
                    <a:pt x="545" y="346"/>
                  </a:lnTo>
                  <a:lnTo>
                    <a:pt x="546" y="355"/>
                  </a:lnTo>
                  <a:lnTo>
                    <a:pt x="547" y="362"/>
                  </a:lnTo>
                  <a:lnTo>
                    <a:pt x="547" y="365"/>
                  </a:lnTo>
                  <a:lnTo>
                    <a:pt x="548" y="369"/>
                  </a:lnTo>
                  <a:lnTo>
                    <a:pt x="549" y="374"/>
                  </a:lnTo>
                  <a:lnTo>
                    <a:pt x="549" y="378"/>
                  </a:lnTo>
                  <a:lnTo>
                    <a:pt x="550" y="382"/>
                  </a:lnTo>
                  <a:lnTo>
                    <a:pt x="550" y="385"/>
                  </a:lnTo>
                  <a:lnTo>
                    <a:pt x="550" y="386"/>
                  </a:lnTo>
                  <a:lnTo>
                    <a:pt x="549" y="388"/>
                  </a:lnTo>
                  <a:lnTo>
                    <a:pt x="549" y="389"/>
                  </a:lnTo>
                  <a:lnTo>
                    <a:pt x="548" y="391"/>
                  </a:lnTo>
                  <a:lnTo>
                    <a:pt x="548" y="393"/>
                  </a:lnTo>
                  <a:lnTo>
                    <a:pt x="546" y="396"/>
                  </a:lnTo>
                  <a:lnTo>
                    <a:pt x="543" y="398"/>
                  </a:lnTo>
                  <a:lnTo>
                    <a:pt x="541" y="401"/>
                  </a:lnTo>
                  <a:lnTo>
                    <a:pt x="537" y="406"/>
                  </a:lnTo>
                  <a:lnTo>
                    <a:pt x="536" y="407"/>
                  </a:lnTo>
                  <a:lnTo>
                    <a:pt x="535" y="409"/>
                  </a:lnTo>
                  <a:lnTo>
                    <a:pt x="534" y="410"/>
                  </a:lnTo>
                  <a:lnTo>
                    <a:pt x="533" y="411"/>
                  </a:lnTo>
                  <a:lnTo>
                    <a:pt x="532" y="413"/>
                  </a:lnTo>
                  <a:lnTo>
                    <a:pt x="531" y="414"/>
                  </a:lnTo>
                  <a:lnTo>
                    <a:pt x="530" y="414"/>
                  </a:lnTo>
                  <a:lnTo>
                    <a:pt x="529" y="415"/>
                  </a:lnTo>
                  <a:lnTo>
                    <a:pt x="527" y="416"/>
                  </a:lnTo>
                  <a:lnTo>
                    <a:pt x="523" y="417"/>
                  </a:lnTo>
                  <a:lnTo>
                    <a:pt x="518" y="418"/>
                  </a:lnTo>
                  <a:lnTo>
                    <a:pt x="512" y="418"/>
                  </a:lnTo>
                  <a:lnTo>
                    <a:pt x="507" y="418"/>
                  </a:lnTo>
                  <a:lnTo>
                    <a:pt x="503" y="418"/>
                  </a:lnTo>
                  <a:lnTo>
                    <a:pt x="498" y="418"/>
                  </a:lnTo>
                  <a:lnTo>
                    <a:pt x="495" y="418"/>
                  </a:lnTo>
                  <a:lnTo>
                    <a:pt x="484" y="416"/>
                  </a:lnTo>
                  <a:lnTo>
                    <a:pt x="478" y="415"/>
                  </a:lnTo>
                  <a:lnTo>
                    <a:pt x="476" y="415"/>
                  </a:lnTo>
                  <a:lnTo>
                    <a:pt x="473" y="414"/>
                  </a:lnTo>
                  <a:lnTo>
                    <a:pt x="464" y="411"/>
                  </a:lnTo>
                  <a:lnTo>
                    <a:pt x="462" y="411"/>
                  </a:lnTo>
                  <a:lnTo>
                    <a:pt x="460" y="410"/>
                  </a:lnTo>
                  <a:lnTo>
                    <a:pt x="457" y="410"/>
                  </a:lnTo>
                  <a:lnTo>
                    <a:pt x="454" y="411"/>
                  </a:lnTo>
                  <a:lnTo>
                    <a:pt x="451" y="411"/>
                  </a:lnTo>
                  <a:lnTo>
                    <a:pt x="449" y="412"/>
                  </a:lnTo>
                  <a:lnTo>
                    <a:pt x="447" y="413"/>
                  </a:lnTo>
                  <a:lnTo>
                    <a:pt x="444" y="414"/>
                  </a:lnTo>
                  <a:lnTo>
                    <a:pt x="442" y="415"/>
                  </a:lnTo>
                  <a:lnTo>
                    <a:pt x="440" y="416"/>
                  </a:lnTo>
                  <a:lnTo>
                    <a:pt x="438" y="418"/>
                  </a:lnTo>
                  <a:lnTo>
                    <a:pt x="431" y="422"/>
                  </a:lnTo>
                  <a:lnTo>
                    <a:pt x="425" y="427"/>
                  </a:lnTo>
                  <a:lnTo>
                    <a:pt x="420" y="430"/>
                  </a:lnTo>
                  <a:lnTo>
                    <a:pt x="415" y="434"/>
                  </a:lnTo>
                  <a:lnTo>
                    <a:pt x="411" y="439"/>
                  </a:lnTo>
                  <a:lnTo>
                    <a:pt x="408" y="442"/>
                  </a:lnTo>
                  <a:lnTo>
                    <a:pt x="404" y="448"/>
                  </a:lnTo>
                  <a:lnTo>
                    <a:pt x="402" y="450"/>
                  </a:lnTo>
                  <a:lnTo>
                    <a:pt x="401" y="451"/>
                  </a:lnTo>
                  <a:lnTo>
                    <a:pt x="399" y="452"/>
                  </a:lnTo>
                  <a:lnTo>
                    <a:pt x="398" y="452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4" y="453"/>
                  </a:lnTo>
                  <a:lnTo>
                    <a:pt x="393" y="453"/>
                  </a:lnTo>
                  <a:lnTo>
                    <a:pt x="392" y="453"/>
                  </a:lnTo>
                  <a:lnTo>
                    <a:pt x="391" y="452"/>
                  </a:lnTo>
                  <a:lnTo>
                    <a:pt x="389" y="452"/>
                  </a:lnTo>
                  <a:lnTo>
                    <a:pt x="388" y="451"/>
                  </a:lnTo>
                  <a:lnTo>
                    <a:pt x="387" y="449"/>
                  </a:lnTo>
                  <a:lnTo>
                    <a:pt x="386" y="448"/>
                  </a:lnTo>
                  <a:lnTo>
                    <a:pt x="384" y="446"/>
                  </a:lnTo>
                  <a:lnTo>
                    <a:pt x="382" y="439"/>
                  </a:lnTo>
                  <a:lnTo>
                    <a:pt x="380" y="434"/>
                  </a:lnTo>
                  <a:lnTo>
                    <a:pt x="378" y="431"/>
                  </a:lnTo>
                  <a:lnTo>
                    <a:pt x="376" y="429"/>
                  </a:lnTo>
                  <a:lnTo>
                    <a:pt x="375" y="427"/>
                  </a:lnTo>
                  <a:lnTo>
                    <a:pt x="373" y="425"/>
                  </a:lnTo>
                  <a:lnTo>
                    <a:pt x="371" y="423"/>
                  </a:lnTo>
                  <a:lnTo>
                    <a:pt x="370" y="422"/>
                  </a:lnTo>
                  <a:lnTo>
                    <a:pt x="368" y="421"/>
                  </a:lnTo>
                  <a:lnTo>
                    <a:pt x="366" y="420"/>
                  </a:lnTo>
                  <a:lnTo>
                    <a:pt x="363" y="420"/>
                  </a:lnTo>
                  <a:lnTo>
                    <a:pt x="359" y="419"/>
                  </a:lnTo>
                  <a:lnTo>
                    <a:pt x="357" y="419"/>
                  </a:lnTo>
                  <a:lnTo>
                    <a:pt x="354" y="419"/>
                  </a:lnTo>
                  <a:lnTo>
                    <a:pt x="348" y="419"/>
                  </a:lnTo>
                  <a:lnTo>
                    <a:pt x="343" y="419"/>
                  </a:lnTo>
                  <a:lnTo>
                    <a:pt x="340" y="419"/>
                  </a:lnTo>
                  <a:lnTo>
                    <a:pt x="338" y="419"/>
                  </a:lnTo>
                  <a:lnTo>
                    <a:pt x="336" y="419"/>
                  </a:lnTo>
                  <a:lnTo>
                    <a:pt x="336" y="418"/>
                  </a:lnTo>
                  <a:lnTo>
                    <a:pt x="335" y="416"/>
                  </a:lnTo>
                  <a:lnTo>
                    <a:pt x="334" y="414"/>
                  </a:lnTo>
                  <a:lnTo>
                    <a:pt x="334" y="413"/>
                  </a:lnTo>
                  <a:lnTo>
                    <a:pt x="333" y="413"/>
                  </a:lnTo>
                  <a:lnTo>
                    <a:pt x="332" y="413"/>
                  </a:lnTo>
                  <a:lnTo>
                    <a:pt x="331" y="413"/>
                  </a:lnTo>
                  <a:lnTo>
                    <a:pt x="327" y="415"/>
                  </a:lnTo>
                  <a:lnTo>
                    <a:pt x="325" y="416"/>
                  </a:lnTo>
                  <a:lnTo>
                    <a:pt x="323" y="416"/>
                  </a:lnTo>
                  <a:lnTo>
                    <a:pt x="320" y="417"/>
                  </a:lnTo>
                  <a:lnTo>
                    <a:pt x="317" y="417"/>
                  </a:lnTo>
                  <a:lnTo>
                    <a:pt x="313" y="416"/>
                  </a:lnTo>
                  <a:lnTo>
                    <a:pt x="310" y="416"/>
                  </a:lnTo>
                  <a:lnTo>
                    <a:pt x="309" y="415"/>
                  </a:lnTo>
                  <a:lnTo>
                    <a:pt x="307" y="414"/>
                  </a:lnTo>
                  <a:lnTo>
                    <a:pt x="304" y="413"/>
                  </a:lnTo>
                  <a:lnTo>
                    <a:pt x="302" y="411"/>
                  </a:lnTo>
                  <a:lnTo>
                    <a:pt x="300" y="409"/>
                  </a:lnTo>
                  <a:lnTo>
                    <a:pt x="296" y="407"/>
                  </a:lnTo>
                  <a:lnTo>
                    <a:pt x="294" y="405"/>
                  </a:lnTo>
                  <a:lnTo>
                    <a:pt x="292" y="402"/>
                  </a:lnTo>
                  <a:lnTo>
                    <a:pt x="281" y="389"/>
                  </a:lnTo>
                  <a:lnTo>
                    <a:pt x="278" y="385"/>
                  </a:lnTo>
                  <a:lnTo>
                    <a:pt x="277" y="385"/>
                  </a:lnTo>
                  <a:lnTo>
                    <a:pt x="275" y="383"/>
                  </a:lnTo>
                  <a:lnTo>
                    <a:pt x="271" y="381"/>
                  </a:lnTo>
                  <a:lnTo>
                    <a:pt x="268" y="378"/>
                  </a:lnTo>
                  <a:lnTo>
                    <a:pt x="262" y="374"/>
                  </a:lnTo>
                  <a:lnTo>
                    <a:pt x="260" y="374"/>
                  </a:lnTo>
                  <a:lnTo>
                    <a:pt x="259" y="373"/>
                  </a:lnTo>
                  <a:lnTo>
                    <a:pt x="259" y="372"/>
                  </a:lnTo>
                  <a:lnTo>
                    <a:pt x="258" y="371"/>
                  </a:lnTo>
                  <a:lnTo>
                    <a:pt x="259" y="371"/>
                  </a:lnTo>
                  <a:lnTo>
                    <a:pt x="259" y="370"/>
                  </a:lnTo>
                  <a:lnTo>
                    <a:pt x="260" y="369"/>
                  </a:lnTo>
                  <a:lnTo>
                    <a:pt x="262" y="368"/>
                  </a:lnTo>
                  <a:lnTo>
                    <a:pt x="264" y="367"/>
                  </a:lnTo>
                  <a:lnTo>
                    <a:pt x="268" y="365"/>
                  </a:lnTo>
                  <a:lnTo>
                    <a:pt x="271" y="364"/>
                  </a:lnTo>
                  <a:lnTo>
                    <a:pt x="272" y="363"/>
                  </a:lnTo>
                  <a:lnTo>
                    <a:pt x="273" y="363"/>
                  </a:lnTo>
                  <a:lnTo>
                    <a:pt x="274" y="362"/>
                  </a:lnTo>
                  <a:lnTo>
                    <a:pt x="274" y="361"/>
                  </a:lnTo>
                  <a:lnTo>
                    <a:pt x="274" y="360"/>
                  </a:lnTo>
                  <a:lnTo>
                    <a:pt x="273" y="358"/>
                  </a:lnTo>
                  <a:lnTo>
                    <a:pt x="272" y="356"/>
                  </a:lnTo>
                  <a:lnTo>
                    <a:pt x="270" y="353"/>
                  </a:lnTo>
                  <a:lnTo>
                    <a:pt x="268" y="351"/>
                  </a:lnTo>
                  <a:lnTo>
                    <a:pt x="264" y="347"/>
                  </a:lnTo>
                  <a:lnTo>
                    <a:pt x="261" y="343"/>
                  </a:lnTo>
                  <a:lnTo>
                    <a:pt x="259" y="340"/>
                  </a:lnTo>
                  <a:lnTo>
                    <a:pt x="254" y="332"/>
                  </a:lnTo>
                  <a:lnTo>
                    <a:pt x="249" y="326"/>
                  </a:lnTo>
                  <a:lnTo>
                    <a:pt x="234" y="306"/>
                  </a:lnTo>
                  <a:lnTo>
                    <a:pt x="230" y="301"/>
                  </a:lnTo>
                  <a:lnTo>
                    <a:pt x="223" y="293"/>
                  </a:lnTo>
                  <a:lnTo>
                    <a:pt x="221" y="289"/>
                  </a:lnTo>
                  <a:lnTo>
                    <a:pt x="220" y="288"/>
                  </a:lnTo>
                  <a:lnTo>
                    <a:pt x="219" y="288"/>
                  </a:lnTo>
                  <a:lnTo>
                    <a:pt x="218" y="289"/>
                  </a:lnTo>
                  <a:lnTo>
                    <a:pt x="218" y="290"/>
                  </a:lnTo>
                  <a:lnTo>
                    <a:pt x="217" y="291"/>
                  </a:lnTo>
                  <a:lnTo>
                    <a:pt x="217" y="293"/>
                  </a:lnTo>
                  <a:lnTo>
                    <a:pt x="217" y="294"/>
                  </a:lnTo>
                  <a:lnTo>
                    <a:pt x="218" y="298"/>
                  </a:lnTo>
                  <a:lnTo>
                    <a:pt x="218" y="300"/>
                  </a:lnTo>
                  <a:lnTo>
                    <a:pt x="218" y="302"/>
                  </a:lnTo>
                  <a:lnTo>
                    <a:pt x="217" y="303"/>
                  </a:lnTo>
                  <a:lnTo>
                    <a:pt x="217" y="304"/>
                  </a:lnTo>
                  <a:lnTo>
                    <a:pt x="216" y="305"/>
                  </a:lnTo>
                  <a:lnTo>
                    <a:pt x="214" y="306"/>
                  </a:lnTo>
                  <a:lnTo>
                    <a:pt x="212" y="308"/>
                  </a:lnTo>
                  <a:lnTo>
                    <a:pt x="211" y="309"/>
                  </a:lnTo>
                  <a:lnTo>
                    <a:pt x="204" y="312"/>
                  </a:lnTo>
                  <a:lnTo>
                    <a:pt x="200" y="315"/>
                  </a:lnTo>
                  <a:lnTo>
                    <a:pt x="196" y="318"/>
                  </a:lnTo>
                  <a:lnTo>
                    <a:pt x="193" y="320"/>
                  </a:lnTo>
                  <a:lnTo>
                    <a:pt x="191" y="322"/>
                  </a:lnTo>
                  <a:lnTo>
                    <a:pt x="189" y="324"/>
                  </a:lnTo>
                  <a:lnTo>
                    <a:pt x="188" y="327"/>
                  </a:lnTo>
                  <a:lnTo>
                    <a:pt x="186" y="330"/>
                  </a:lnTo>
                  <a:lnTo>
                    <a:pt x="181" y="338"/>
                  </a:lnTo>
                  <a:lnTo>
                    <a:pt x="179" y="340"/>
                  </a:lnTo>
                  <a:lnTo>
                    <a:pt x="177" y="342"/>
                  </a:lnTo>
                  <a:lnTo>
                    <a:pt x="177" y="343"/>
                  </a:lnTo>
                  <a:lnTo>
                    <a:pt x="176" y="344"/>
                  </a:lnTo>
                  <a:lnTo>
                    <a:pt x="175" y="345"/>
                  </a:lnTo>
                  <a:lnTo>
                    <a:pt x="173" y="345"/>
                  </a:lnTo>
                  <a:lnTo>
                    <a:pt x="171" y="346"/>
                  </a:lnTo>
                  <a:lnTo>
                    <a:pt x="169" y="346"/>
                  </a:lnTo>
                  <a:lnTo>
                    <a:pt x="167" y="345"/>
                  </a:lnTo>
                  <a:lnTo>
                    <a:pt x="166" y="344"/>
                  </a:lnTo>
                  <a:lnTo>
                    <a:pt x="165" y="344"/>
                  </a:lnTo>
                  <a:lnTo>
                    <a:pt x="157" y="340"/>
                  </a:lnTo>
                  <a:lnTo>
                    <a:pt x="154" y="339"/>
                  </a:lnTo>
                  <a:lnTo>
                    <a:pt x="151" y="337"/>
                  </a:lnTo>
                  <a:lnTo>
                    <a:pt x="149" y="337"/>
                  </a:lnTo>
                  <a:lnTo>
                    <a:pt x="148" y="336"/>
                  </a:lnTo>
                  <a:lnTo>
                    <a:pt x="145" y="336"/>
                  </a:lnTo>
                  <a:lnTo>
                    <a:pt x="139" y="336"/>
                  </a:lnTo>
                  <a:lnTo>
                    <a:pt x="135" y="336"/>
                  </a:lnTo>
                  <a:lnTo>
                    <a:pt x="133" y="336"/>
                  </a:lnTo>
                  <a:lnTo>
                    <a:pt x="132" y="337"/>
                  </a:lnTo>
                  <a:lnTo>
                    <a:pt x="132" y="337"/>
                  </a:lnTo>
                  <a:lnTo>
                    <a:pt x="131" y="338"/>
                  </a:lnTo>
                  <a:lnTo>
                    <a:pt x="130" y="340"/>
                  </a:lnTo>
                  <a:lnTo>
                    <a:pt x="129" y="341"/>
                  </a:lnTo>
                  <a:lnTo>
                    <a:pt x="128" y="343"/>
                  </a:lnTo>
                  <a:lnTo>
                    <a:pt x="128" y="345"/>
                  </a:lnTo>
                  <a:lnTo>
                    <a:pt x="127" y="349"/>
                  </a:lnTo>
                  <a:lnTo>
                    <a:pt x="127" y="354"/>
                  </a:lnTo>
                  <a:lnTo>
                    <a:pt x="127" y="357"/>
                  </a:lnTo>
                  <a:lnTo>
                    <a:pt x="126" y="364"/>
                  </a:lnTo>
                  <a:lnTo>
                    <a:pt x="125" y="371"/>
                  </a:lnTo>
                  <a:lnTo>
                    <a:pt x="124" y="373"/>
                  </a:lnTo>
                  <a:lnTo>
                    <a:pt x="123" y="374"/>
                  </a:lnTo>
                  <a:lnTo>
                    <a:pt x="123" y="376"/>
                  </a:lnTo>
                  <a:lnTo>
                    <a:pt x="122" y="377"/>
                  </a:lnTo>
                  <a:lnTo>
                    <a:pt x="120" y="379"/>
                  </a:lnTo>
                  <a:lnTo>
                    <a:pt x="120" y="380"/>
                  </a:lnTo>
                  <a:lnTo>
                    <a:pt x="118" y="382"/>
                  </a:lnTo>
                  <a:lnTo>
                    <a:pt x="117" y="383"/>
                  </a:lnTo>
                  <a:lnTo>
                    <a:pt x="115" y="384"/>
                  </a:lnTo>
                  <a:lnTo>
                    <a:pt x="112" y="384"/>
                  </a:lnTo>
                  <a:lnTo>
                    <a:pt x="106" y="386"/>
                  </a:lnTo>
                  <a:lnTo>
                    <a:pt x="103" y="387"/>
                  </a:lnTo>
                  <a:lnTo>
                    <a:pt x="100" y="388"/>
                  </a:lnTo>
                  <a:lnTo>
                    <a:pt x="97" y="391"/>
                  </a:lnTo>
                  <a:lnTo>
                    <a:pt x="92" y="394"/>
                  </a:lnTo>
                  <a:lnTo>
                    <a:pt x="91" y="396"/>
                  </a:lnTo>
                  <a:lnTo>
                    <a:pt x="89" y="396"/>
                  </a:lnTo>
                  <a:lnTo>
                    <a:pt x="88" y="398"/>
                  </a:lnTo>
                  <a:lnTo>
                    <a:pt x="86" y="400"/>
                  </a:lnTo>
                  <a:lnTo>
                    <a:pt x="86" y="401"/>
                  </a:lnTo>
                  <a:lnTo>
                    <a:pt x="85" y="403"/>
                  </a:lnTo>
                  <a:lnTo>
                    <a:pt x="85" y="405"/>
                  </a:lnTo>
                  <a:lnTo>
                    <a:pt x="84" y="407"/>
                  </a:lnTo>
                  <a:lnTo>
                    <a:pt x="84" y="408"/>
                  </a:lnTo>
                  <a:lnTo>
                    <a:pt x="84" y="409"/>
                  </a:lnTo>
                  <a:lnTo>
                    <a:pt x="85" y="411"/>
                  </a:lnTo>
                  <a:lnTo>
                    <a:pt x="85" y="413"/>
                  </a:lnTo>
                  <a:lnTo>
                    <a:pt x="86" y="418"/>
                  </a:lnTo>
                  <a:lnTo>
                    <a:pt x="87" y="420"/>
                  </a:lnTo>
                  <a:lnTo>
                    <a:pt x="87" y="422"/>
                  </a:lnTo>
                  <a:lnTo>
                    <a:pt x="88" y="424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87" y="433"/>
                  </a:lnTo>
                  <a:lnTo>
                    <a:pt x="87" y="437"/>
                  </a:lnTo>
                  <a:lnTo>
                    <a:pt x="85" y="443"/>
                  </a:lnTo>
                  <a:lnTo>
                    <a:pt x="85" y="445"/>
                  </a:lnTo>
                  <a:lnTo>
                    <a:pt x="83" y="445"/>
                  </a:lnTo>
                  <a:lnTo>
                    <a:pt x="77" y="444"/>
                  </a:lnTo>
                  <a:lnTo>
                    <a:pt x="74" y="443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0" y="442"/>
                  </a:lnTo>
                  <a:lnTo>
                    <a:pt x="69" y="441"/>
                  </a:lnTo>
                  <a:lnTo>
                    <a:pt x="67" y="440"/>
                  </a:lnTo>
                  <a:lnTo>
                    <a:pt x="64" y="436"/>
                  </a:lnTo>
                  <a:lnTo>
                    <a:pt x="63" y="434"/>
                  </a:lnTo>
                  <a:lnTo>
                    <a:pt x="61" y="433"/>
                  </a:lnTo>
                  <a:lnTo>
                    <a:pt x="56" y="430"/>
                  </a:lnTo>
                  <a:lnTo>
                    <a:pt x="53" y="427"/>
                  </a:lnTo>
                  <a:lnTo>
                    <a:pt x="45" y="418"/>
                  </a:lnTo>
                  <a:lnTo>
                    <a:pt x="42" y="415"/>
                  </a:lnTo>
                  <a:lnTo>
                    <a:pt x="38" y="410"/>
                  </a:lnTo>
                  <a:lnTo>
                    <a:pt x="34" y="407"/>
                  </a:lnTo>
                  <a:lnTo>
                    <a:pt x="32" y="405"/>
                  </a:lnTo>
                  <a:lnTo>
                    <a:pt x="31" y="402"/>
                  </a:lnTo>
                  <a:lnTo>
                    <a:pt x="30" y="401"/>
                  </a:lnTo>
                  <a:lnTo>
                    <a:pt x="30" y="400"/>
                  </a:lnTo>
                  <a:lnTo>
                    <a:pt x="30" y="399"/>
                  </a:lnTo>
                  <a:lnTo>
                    <a:pt x="30" y="398"/>
                  </a:lnTo>
                  <a:lnTo>
                    <a:pt x="31" y="396"/>
                  </a:lnTo>
                  <a:lnTo>
                    <a:pt x="33" y="392"/>
                  </a:lnTo>
                  <a:lnTo>
                    <a:pt x="34" y="390"/>
                  </a:lnTo>
                  <a:lnTo>
                    <a:pt x="34" y="388"/>
                  </a:lnTo>
                  <a:lnTo>
                    <a:pt x="34" y="387"/>
                  </a:lnTo>
                  <a:lnTo>
                    <a:pt x="34" y="386"/>
                  </a:lnTo>
                  <a:lnTo>
                    <a:pt x="33" y="385"/>
                  </a:lnTo>
                  <a:lnTo>
                    <a:pt x="32" y="384"/>
                  </a:lnTo>
                  <a:lnTo>
                    <a:pt x="25" y="374"/>
                  </a:lnTo>
                  <a:lnTo>
                    <a:pt x="24" y="372"/>
                  </a:lnTo>
                  <a:lnTo>
                    <a:pt x="23" y="370"/>
                  </a:lnTo>
                  <a:lnTo>
                    <a:pt x="21" y="367"/>
                  </a:lnTo>
                  <a:lnTo>
                    <a:pt x="20" y="364"/>
                  </a:lnTo>
                  <a:lnTo>
                    <a:pt x="20" y="362"/>
                  </a:lnTo>
                  <a:lnTo>
                    <a:pt x="19" y="359"/>
                  </a:lnTo>
                  <a:lnTo>
                    <a:pt x="19" y="356"/>
                  </a:lnTo>
                  <a:lnTo>
                    <a:pt x="19" y="346"/>
                  </a:lnTo>
                  <a:lnTo>
                    <a:pt x="20" y="340"/>
                  </a:lnTo>
                  <a:lnTo>
                    <a:pt x="20" y="334"/>
                  </a:lnTo>
                  <a:lnTo>
                    <a:pt x="21" y="330"/>
                  </a:lnTo>
                  <a:lnTo>
                    <a:pt x="20" y="328"/>
                  </a:lnTo>
                  <a:lnTo>
                    <a:pt x="20" y="328"/>
                  </a:lnTo>
                  <a:lnTo>
                    <a:pt x="19" y="324"/>
                  </a:lnTo>
                  <a:lnTo>
                    <a:pt x="19" y="322"/>
                  </a:lnTo>
                  <a:lnTo>
                    <a:pt x="18" y="319"/>
                  </a:lnTo>
                  <a:lnTo>
                    <a:pt x="18" y="317"/>
                  </a:lnTo>
                  <a:lnTo>
                    <a:pt x="17" y="316"/>
                  </a:lnTo>
                  <a:lnTo>
                    <a:pt x="16" y="314"/>
                  </a:lnTo>
                  <a:lnTo>
                    <a:pt x="11" y="308"/>
                  </a:lnTo>
                  <a:lnTo>
                    <a:pt x="7" y="303"/>
                  </a:lnTo>
                  <a:lnTo>
                    <a:pt x="4" y="298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2"/>
                  </a:lnTo>
                  <a:lnTo>
                    <a:pt x="1" y="290"/>
                  </a:lnTo>
                  <a:lnTo>
                    <a:pt x="0" y="287"/>
                  </a:lnTo>
                  <a:lnTo>
                    <a:pt x="0" y="283"/>
                  </a:lnTo>
                  <a:lnTo>
                    <a:pt x="0" y="278"/>
                  </a:lnTo>
                  <a:lnTo>
                    <a:pt x="0" y="274"/>
                  </a:lnTo>
                  <a:lnTo>
                    <a:pt x="0" y="275"/>
                  </a:lnTo>
                  <a:lnTo>
                    <a:pt x="1" y="275"/>
                  </a:lnTo>
                  <a:lnTo>
                    <a:pt x="2" y="275"/>
                  </a:lnTo>
                  <a:lnTo>
                    <a:pt x="3" y="274"/>
                  </a:lnTo>
                  <a:lnTo>
                    <a:pt x="5" y="273"/>
                  </a:lnTo>
                  <a:lnTo>
                    <a:pt x="6" y="272"/>
                  </a:lnTo>
                  <a:lnTo>
                    <a:pt x="7" y="272"/>
                  </a:lnTo>
                  <a:lnTo>
                    <a:pt x="7" y="270"/>
                  </a:lnTo>
                  <a:lnTo>
                    <a:pt x="8" y="268"/>
                  </a:lnTo>
                  <a:lnTo>
                    <a:pt x="9" y="263"/>
                  </a:lnTo>
                  <a:lnTo>
                    <a:pt x="9" y="261"/>
                  </a:lnTo>
                  <a:lnTo>
                    <a:pt x="10" y="260"/>
                  </a:lnTo>
                  <a:lnTo>
                    <a:pt x="11" y="258"/>
                  </a:lnTo>
                  <a:lnTo>
                    <a:pt x="13" y="256"/>
                  </a:lnTo>
                  <a:lnTo>
                    <a:pt x="17" y="252"/>
                  </a:lnTo>
                  <a:lnTo>
                    <a:pt x="19" y="249"/>
                  </a:lnTo>
                  <a:lnTo>
                    <a:pt x="20" y="248"/>
                  </a:lnTo>
                  <a:lnTo>
                    <a:pt x="24" y="245"/>
                  </a:lnTo>
                  <a:lnTo>
                    <a:pt x="28" y="242"/>
                  </a:lnTo>
                  <a:lnTo>
                    <a:pt x="29" y="241"/>
                  </a:lnTo>
                  <a:lnTo>
                    <a:pt x="31" y="239"/>
                  </a:lnTo>
                  <a:lnTo>
                    <a:pt x="32" y="238"/>
                  </a:lnTo>
                  <a:lnTo>
                    <a:pt x="33" y="236"/>
                  </a:lnTo>
                  <a:lnTo>
                    <a:pt x="33" y="234"/>
                  </a:lnTo>
                  <a:lnTo>
                    <a:pt x="33" y="232"/>
                  </a:lnTo>
                  <a:lnTo>
                    <a:pt x="33" y="227"/>
                  </a:lnTo>
                  <a:lnTo>
                    <a:pt x="33" y="226"/>
                  </a:lnTo>
                  <a:lnTo>
                    <a:pt x="34" y="217"/>
                  </a:lnTo>
                  <a:lnTo>
                    <a:pt x="34" y="216"/>
                  </a:lnTo>
                  <a:lnTo>
                    <a:pt x="35" y="215"/>
                  </a:lnTo>
                  <a:lnTo>
                    <a:pt x="36" y="215"/>
                  </a:lnTo>
                  <a:lnTo>
                    <a:pt x="37" y="215"/>
                  </a:lnTo>
                  <a:lnTo>
                    <a:pt x="38" y="215"/>
                  </a:lnTo>
                  <a:lnTo>
                    <a:pt x="41" y="217"/>
                  </a:lnTo>
                  <a:lnTo>
                    <a:pt x="44" y="218"/>
                  </a:lnTo>
                  <a:lnTo>
                    <a:pt x="48" y="218"/>
                  </a:lnTo>
                  <a:lnTo>
                    <a:pt x="49" y="219"/>
                  </a:lnTo>
                  <a:lnTo>
                    <a:pt x="51" y="218"/>
                  </a:lnTo>
                  <a:lnTo>
                    <a:pt x="52" y="218"/>
                  </a:lnTo>
                  <a:lnTo>
                    <a:pt x="52" y="218"/>
                  </a:lnTo>
                  <a:lnTo>
                    <a:pt x="53" y="217"/>
                  </a:lnTo>
                  <a:lnTo>
                    <a:pt x="54" y="217"/>
                  </a:lnTo>
                  <a:lnTo>
                    <a:pt x="56" y="215"/>
                  </a:lnTo>
                  <a:lnTo>
                    <a:pt x="58" y="214"/>
                  </a:lnTo>
                  <a:lnTo>
                    <a:pt x="60" y="210"/>
                  </a:lnTo>
                  <a:lnTo>
                    <a:pt x="62" y="207"/>
                  </a:lnTo>
                  <a:lnTo>
                    <a:pt x="63" y="203"/>
                  </a:lnTo>
                  <a:lnTo>
                    <a:pt x="66" y="197"/>
                  </a:lnTo>
                  <a:lnTo>
                    <a:pt x="69" y="189"/>
                  </a:lnTo>
                  <a:lnTo>
                    <a:pt x="71" y="184"/>
                  </a:lnTo>
                  <a:lnTo>
                    <a:pt x="71" y="181"/>
                  </a:lnTo>
                  <a:lnTo>
                    <a:pt x="73" y="175"/>
                  </a:lnTo>
                  <a:lnTo>
                    <a:pt x="73" y="174"/>
                  </a:lnTo>
                  <a:lnTo>
                    <a:pt x="74" y="173"/>
                  </a:lnTo>
                  <a:lnTo>
                    <a:pt x="75" y="173"/>
                  </a:lnTo>
                  <a:lnTo>
                    <a:pt x="76" y="173"/>
                  </a:lnTo>
                  <a:lnTo>
                    <a:pt x="78" y="174"/>
                  </a:lnTo>
                  <a:lnTo>
                    <a:pt x="82" y="175"/>
                  </a:lnTo>
                  <a:lnTo>
                    <a:pt x="86" y="176"/>
                  </a:lnTo>
                  <a:lnTo>
                    <a:pt x="89" y="178"/>
                  </a:lnTo>
                  <a:lnTo>
                    <a:pt x="93" y="179"/>
                  </a:lnTo>
                  <a:lnTo>
                    <a:pt x="97" y="181"/>
                  </a:lnTo>
                  <a:lnTo>
                    <a:pt x="100" y="183"/>
                  </a:lnTo>
                  <a:lnTo>
                    <a:pt x="103" y="185"/>
                  </a:lnTo>
                  <a:lnTo>
                    <a:pt x="110" y="192"/>
                  </a:lnTo>
                  <a:lnTo>
                    <a:pt x="114" y="193"/>
                  </a:lnTo>
                  <a:lnTo>
                    <a:pt x="116" y="194"/>
                  </a:lnTo>
                  <a:lnTo>
                    <a:pt x="117" y="195"/>
                  </a:lnTo>
                  <a:lnTo>
                    <a:pt x="119" y="196"/>
                  </a:lnTo>
                  <a:lnTo>
                    <a:pt x="120" y="196"/>
                  </a:lnTo>
                  <a:lnTo>
                    <a:pt x="123" y="196"/>
                  </a:lnTo>
                  <a:lnTo>
                    <a:pt x="126" y="196"/>
                  </a:lnTo>
                  <a:lnTo>
                    <a:pt x="132" y="195"/>
                  </a:lnTo>
                  <a:lnTo>
                    <a:pt x="140" y="193"/>
                  </a:lnTo>
                  <a:lnTo>
                    <a:pt x="142" y="192"/>
                  </a:lnTo>
                  <a:lnTo>
                    <a:pt x="144" y="192"/>
                  </a:lnTo>
                  <a:lnTo>
                    <a:pt x="151" y="189"/>
                  </a:lnTo>
                  <a:lnTo>
                    <a:pt x="152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5" y="189"/>
                  </a:lnTo>
                  <a:lnTo>
                    <a:pt x="156" y="189"/>
                  </a:lnTo>
                  <a:lnTo>
                    <a:pt x="159" y="191"/>
                  </a:lnTo>
                  <a:lnTo>
                    <a:pt x="161" y="192"/>
                  </a:lnTo>
                  <a:lnTo>
                    <a:pt x="163" y="192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71" y="192"/>
                  </a:lnTo>
                  <a:lnTo>
                    <a:pt x="178" y="191"/>
                  </a:lnTo>
                  <a:lnTo>
                    <a:pt x="183" y="190"/>
                  </a:lnTo>
                  <a:lnTo>
                    <a:pt x="186" y="190"/>
                  </a:lnTo>
                  <a:lnTo>
                    <a:pt x="189" y="190"/>
                  </a:lnTo>
                  <a:lnTo>
                    <a:pt x="191" y="191"/>
                  </a:lnTo>
                  <a:lnTo>
                    <a:pt x="200" y="192"/>
                  </a:lnTo>
                  <a:lnTo>
                    <a:pt x="203" y="193"/>
                  </a:lnTo>
                  <a:lnTo>
                    <a:pt x="206" y="193"/>
                  </a:lnTo>
                  <a:lnTo>
                    <a:pt x="208" y="193"/>
                  </a:lnTo>
                  <a:lnTo>
                    <a:pt x="210" y="193"/>
                  </a:lnTo>
                  <a:lnTo>
                    <a:pt x="211" y="192"/>
                  </a:lnTo>
                  <a:lnTo>
                    <a:pt x="212" y="192"/>
                  </a:lnTo>
                  <a:lnTo>
                    <a:pt x="213" y="192"/>
                  </a:lnTo>
                  <a:lnTo>
                    <a:pt x="213" y="191"/>
                  </a:lnTo>
                  <a:lnTo>
                    <a:pt x="214" y="189"/>
                  </a:lnTo>
                  <a:lnTo>
                    <a:pt x="214" y="188"/>
                  </a:lnTo>
                  <a:lnTo>
                    <a:pt x="213" y="186"/>
                  </a:lnTo>
                  <a:lnTo>
                    <a:pt x="213" y="183"/>
                  </a:lnTo>
                  <a:lnTo>
                    <a:pt x="211" y="179"/>
                  </a:lnTo>
                  <a:lnTo>
                    <a:pt x="211" y="177"/>
                  </a:lnTo>
                  <a:lnTo>
                    <a:pt x="211" y="176"/>
                  </a:lnTo>
                  <a:lnTo>
                    <a:pt x="211" y="174"/>
                  </a:lnTo>
                  <a:lnTo>
                    <a:pt x="212" y="172"/>
                  </a:lnTo>
                  <a:lnTo>
                    <a:pt x="212" y="171"/>
                  </a:lnTo>
                  <a:lnTo>
                    <a:pt x="213" y="170"/>
                  </a:lnTo>
                  <a:lnTo>
                    <a:pt x="213" y="170"/>
                  </a:lnTo>
                  <a:lnTo>
                    <a:pt x="215" y="168"/>
                  </a:lnTo>
                  <a:lnTo>
                    <a:pt x="217" y="166"/>
                  </a:lnTo>
                  <a:lnTo>
                    <a:pt x="221" y="163"/>
                  </a:lnTo>
                  <a:lnTo>
                    <a:pt x="224" y="160"/>
                  </a:lnTo>
                  <a:lnTo>
                    <a:pt x="226" y="158"/>
                  </a:lnTo>
                  <a:lnTo>
                    <a:pt x="228" y="157"/>
                  </a:lnTo>
                  <a:lnTo>
                    <a:pt x="228" y="155"/>
                  </a:lnTo>
                  <a:lnTo>
                    <a:pt x="229" y="153"/>
                  </a:lnTo>
                  <a:lnTo>
                    <a:pt x="230" y="151"/>
                  </a:lnTo>
                  <a:lnTo>
                    <a:pt x="230" y="150"/>
                  </a:lnTo>
                  <a:lnTo>
                    <a:pt x="230" y="144"/>
                  </a:lnTo>
                  <a:lnTo>
                    <a:pt x="230" y="142"/>
                  </a:lnTo>
                  <a:lnTo>
                    <a:pt x="231" y="140"/>
                  </a:lnTo>
                  <a:lnTo>
                    <a:pt x="231" y="139"/>
                  </a:lnTo>
                  <a:lnTo>
                    <a:pt x="232" y="136"/>
                  </a:lnTo>
                  <a:lnTo>
                    <a:pt x="234" y="135"/>
                  </a:lnTo>
                  <a:lnTo>
                    <a:pt x="235" y="133"/>
                  </a:lnTo>
                  <a:lnTo>
                    <a:pt x="237" y="130"/>
                  </a:lnTo>
                  <a:lnTo>
                    <a:pt x="240" y="128"/>
                  </a:lnTo>
                  <a:lnTo>
                    <a:pt x="243" y="126"/>
                  </a:lnTo>
                  <a:lnTo>
                    <a:pt x="249" y="123"/>
                  </a:lnTo>
                  <a:lnTo>
                    <a:pt x="252" y="121"/>
                  </a:lnTo>
                  <a:lnTo>
                    <a:pt x="257" y="118"/>
                  </a:lnTo>
                  <a:lnTo>
                    <a:pt x="264" y="113"/>
                  </a:lnTo>
                  <a:lnTo>
                    <a:pt x="267" y="111"/>
                  </a:lnTo>
                  <a:lnTo>
                    <a:pt x="268" y="110"/>
                  </a:lnTo>
                  <a:lnTo>
                    <a:pt x="274" y="107"/>
                  </a:lnTo>
                  <a:lnTo>
                    <a:pt x="280" y="103"/>
                  </a:lnTo>
                  <a:lnTo>
                    <a:pt x="288" y="101"/>
                  </a:lnTo>
                  <a:lnTo>
                    <a:pt x="290" y="100"/>
                  </a:lnTo>
                  <a:lnTo>
                    <a:pt x="292" y="97"/>
                  </a:lnTo>
                  <a:lnTo>
                    <a:pt x="294" y="96"/>
                  </a:lnTo>
                  <a:lnTo>
                    <a:pt x="299" y="93"/>
                  </a:lnTo>
                  <a:lnTo>
                    <a:pt x="305" y="90"/>
                  </a:lnTo>
                  <a:lnTo>
                    <a:pt x="308" y="89"/>
                  </a:lnTo>
                  <a:lnTo>
                    <a:pt x="312" y="87"/>
                  </a:lnTo>
                  <a:lnTo>
                    <a:pt x="315" y="84"/>
                  </a:lnTo>
                  <a:lnTo>
                    <a:pt x="317" y="82"/>
                  </a:lnTo>
                  <a:lnTo>
                    <a:pt x="319" y="80"/>
                  </a:lnTo>
                  <a:lnTo>
                    <a:pt x="321" y="79"/>
                  </a:lnTo>
                  <a:lnTo>
                    <a:pt x="323" y="76"/>
                  </a:lnTo>
                  <a:lnTo>
                    <a:pt x="325" y="74"/>
                  </a:lnTo>
                  <a:lnTo>
                    <a:pt x="325" y="71"/>
                  </a:lnTo>
                  <a:lnTo>
                    <a:pt x="327" y="68"/>
                  </a:lnTo>
                  <a:lnTo>
                    <a:pt x="330" y="61"/>
                  </a:lnTo>
                  <a:lnTo>
                    <a:pt x="332" y="57"/>
                  </a:lnTo>
                  <a:lnTo>
                    <a:pt x="333" y="56"/>
                  </a:lnTo>
                  <a:lnTo>
                    <a:pt x="335" y="55"/>
                  </a:lnTo>
                  <a:lnTo>
                    <a:pt x="336" y="54"/>
                  </a:lnTo>
                  <a:lnTo>
                    <a:pt x="337" y="53"/>
                  </a:lnTo>
                  <a:lnTo>
                    <a:pt x="338" y="52"/>
                  </a:lnTo>
                  <a:lnTo>
                    <a:pt x="340" y="51"/>
                  </a:lnTo>
                  <a:lnTo>
                    <a:pt x="342" y="51"/>
                  </a:lnTo>
                  <a:lnTo>
                    <a:pt x="343" y="50"/>
                  </a:lnTo>
                  <a:lnTo>
                    <a:pt x="345" y="50"/>
                  </a:lnTo>
                  <a:lnTo>
                    <a:pt x="347" y="51"/>
                  </a:lnTo>
                  <a:lnTo>
                    <a:pt x="349" y="51"/>
                  </a:lnTo>
                  <a:lnTo>
                    <a:pt x="351" y="52"/>
                  </a:lnTo>
                  <a:lnTo>
                    <a:pt x="354" y="53"/>
                  </a:lnTo>
                  <a:lnTo>
                    <a:pt x="357" y="55"/>
                  </a:lnTo>
                  <a:lnTo>
                    <a:pt x="359" y="56"/>
                  </a:lnTo>
                  <a:lnTo>
                    <a:pt x="364" y="59"/>
                  </a:lnTo>
                  <a:lnTo>
                    <a:pt x="369" y="62"/>
                  </a:lnTo>
                  <a:lnTo>
                    <a:pt x="374" y="65"/>
                  </a:lnTo>
                  <a:lnTo>
                    <a:pt x="379" y="67"/>
                  </a:lnTo>
                  <a:lnTo>
                    <a:pt x="391" y="71"/>
                  </a:lnTo>
                  <a:lnTo>
                    <a:pt x="394" y="72"/>
                  </a:lnTo>
                  <a:lnTo>
                    <a:pt x="398" y="74"/>
                  </a:lnTo>
                  <a:lnTo>
                    <a:pt x="402" y="74"/>
                  </a:lnTo>
                  <a:lnTo>
                    <a:pt x="405" y="75"/>
                  </a:lnTo>
                  <a:lnTo>
                    <a:pt x="405" y="75"/>
                  </a:lnTo>
                  <a:lnTo>
                    <a:pt x="406" y="74"/>
                  </a:lnTo>
                  <a:lnTo>
                    <a:pt x="407" y="74"/>
                  </a:lnTo>
                  <a:lnTo>
                    <a:pt x="408" y="74"/>
                  </a:lnTo>
                  <a:lnTo>
                    <a:pt x="410" y="75"/>
                  </a:lnTo>
                  <a:lnTo>
                    <a:pt x="412" y="76"/>
                  </a:lnTo>
                  <a:lnTo>
                    <a:pt x="416" y="78"/>
                  </a:lnTo>
                  <a:lnTo>
                    <a:pt x="419" y="80"/>
                  </a:lnTo>
                  <a:lnTo>
                    <a:pt x="423" y="83"/>
                  </a:lnTo>
                  <a:lnTo>
                    <a:pt x="427" y="86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39" y="99"/>
                  </a:lnTo>
                  <a:lnTo>
                    <a:pt x="444" y="102"/>
                  </a:lnTo>
                  <a:lnTo>
                    <a:pt x="447" y="104"/>
                  </a:lnTo>
                  <a:lnTo>
                    <a:pt x="449" y="106"/>
                  </a:lnTo>
                  <a:lnTo>
                    <a:pt x="451" y="107"/>
                  </a:lnTo>
                  <a:lnTo>
                    <a:pt x="454" y="109"/>
                  </a:lnTo>
                  <a:lnTo>
                    <a:pt x="458" y="111"/>
                  </a:lnTo>
                  <a:lnTo>
                    <a:pt x="461" y="113"/>
                  </a:lnTo>
                  <a:lnTo>
                    <a:pt x="472" y="116"/>
                  </a:lnTo>
                  <a:lnTo>
                    <a:pt x="479" y="119"/>
                  </a:lnTo>
                  <a:lnTo>
                    <a:pt x="486" y="121"/>
                  </a:lnTo>
                  <a:lnTo>
                    <a:pt x="488" y="121"/>
                  </a:lnTo>
                  <a:lnTo>
                    <a:pt x="491" y="122"/>
                  </a:lnTo>
                  <a:lnTo>
                    <a:pt x="493" y="122"/>
                  </a:lnTo>
                  <a:lnTo>
                    <a:pt x="496" y="122"/>
                  </a:lnTo>
                  <a:lnTo>
                    <a:pt x="497" y="122"/>
                  </a:lnTo>
                  <a:lnTo>
                    <a:pt x="499" y="122"/>
                  </a:lnTo>
                  <a:lnTo>
                    <a:pt x="501" y="121"/>
                  </a:lnTo>
                  <a:lnTo>
                    <a:pt x="503" y="121"/>
                  </a:lnTo>
                  <a:lnTo>
                    <a:pt x="505" y="120"/>
                  </a:lnTo>
                  <a:lnTo>
                    <a:pt x="507" y="119"/>
                  </a:lnTo>
                  <a:lnTo>
                    <a:pt x="509" y="117"/>
                  </a:lnTo>
                  <a:lnTo>
                    <a:pt x="511" y="115"/>
                  </a:lnTo>
                  <a:lnTo>
                    <a:pt x="514" y="113"/>
                  </a:lnTo>
                  <a:lnTo>
                    <a:pt x="516" y="111"/>
                  </a:lnTo>
                  <a:lnTo>
                    <a:pt x="518" y="108"/>
                  </a:lnTo>
                  <a:lnTo>
                    <a:pt x="528" y="94"/>
                  </a:lnTo>
                  <a:lnTo>
                    <a:pt x="530" y="90"/>
                  </a:lnTo>
                  <a:lnTo>
                    <a:pt x="533" y="87"/>
                  </a:lnTo>
                  <a:lnTo>
                    <a:pt x="535" y="85"/>
                  </a:lnTo>
                  <a:lnTo>
                    <a:pt x="538" y="83"/>
                  </a:lnTo>
                  <a:lnTo>
                    <a:pt x="546" y="76"/>
                  </a:lnTo>
                  <a:lnTo>
                    <a:pt x="551" y="72"/>
                  </a:lnTo>
                  <a:lnTo>
                    <a:pt x="554" y="68"/>
                  </a:lnTo>
                  <a:lnTo>
                    <a:pt x="557" y="65"/>
                  </a:lnTo>
                  <a:lnTo>
                    <a:pt x="559" y="62"/>
                  </a:lnTo>
                  <a:lnTo>
                    <a:pt x="562" y="57"/>
                  </a:lnTo>
                  <a:lnTo>
                    <a:pt x="564" y="53"/>
                  </a:lnTo>
                  <a:lnTo>
                    <a:pt x="566" y="50"/>
                  </a:lnTo>
                  <a:lnTo>
                    <a:pt x="568" y="46"/>
                  </a:lnTo>
                  <a:lnTo>
                    <a:pt x="570" y="43"/>
                  </a:lnTo>
                  <a:lnTo>
                    <a:pt x="575" y="30"/>
                  </a:lnTo>
                  <a:lnTo>
                    <a:pt x="577" y="25"/>
                  </a:lnTo>
                  <a:lnTo>
                    <a:pt x="579" y="22"/>
                  </a:lnTo>
                  <a:lnTo>
                    <a:pt x="581" y="20"/>
                  </a:lnTo>
                  <a:lnTo>
                    <a:pt x="583" y="17"/>
                  </a:lnTo>
                  <a:lnTo>
                    <a:pt x="585" y="15"/>
                  </a:lnTo>
                  <a:lnTo>
                    <a:pt x="587" y="13"/>
                  </a:lnTo>
                  <a:lnTo>
                    <a:pt x="587" y="12"/>
                  </a:lnTo>
                  <a:lnTo>
                    <a:pt x="592" y="9"/>
                  </a:lnTo>
                  <a:lnTo>
                    <a:pt x="596" y="6"/>
                  </a:lnTo>
                  <a:lnTo>
                    <a:pt x="598" y="5"/>
                  </a:lnTo>
                  <a:lnTo>
                    <a:pt x="601" y="3"/>
                  </a:lnTo>
                  <a:lnTo>
                    <a:pt x="604" y="1"/>
                  </a:lnTo>
                  <a:lnTo>
                    <a:pt x="606" y="0"/>
                  </a:lnTo>
                  <a:lnTo>
                    <a:pt x="609" y="0"/>
                  </a:lnTo>
                  <a:lnTo>
                    <a:pt x="610" y="0"/>
                  </a:lnTo>
                  <a:lnTo>
                    <a:pt x="612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8" name="Freeform 55">
              <a:extLst>
                <a:ext uri="{FF2B5EF4-FFF2-40B4-BE49-F238E27FC236}">
                  <a16:creationId xmlns:a16="http://schemas.microsoft.com/office/drawing/2014/main" id="{EBFEB66E-DC36-4AE2-BE99-1A599E061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6" y="2390"/>
              <a:ext cx="551" cy="458"/>
            </a:xfrm>
            <a:custGeom>
              <a:avLst/>
              <a:gdLst>
                <a:gd name="T0" fmla="*/ 309 w 551"/>
                <a:gd name="T1" fmla="*/ 48 h 458"/>
                <a:gd name="T2" fmla="*/ 333 w 551"/>
                <a:gd name="T3" fmla="*/ 58 h 458"/>
                <a:gd name="T4" fmla="*/ 363 w 551"/>
                <a:gd name="T5" fmla="*/ 59 h 458"/>
                <a:gd name="T6" fmla="*/ 386 w 551"/>
                <a:gd name="T7" fmla="*/ 61 h 458"/>
                <a:gd name="T8" fmla="*/ 415 w 551"/>
                <a:gd name="T9" fmla="*/ 80 h 458"/>
                <a:gd name="T10" fmla="*/ 441 w 551"/>
                <a:gd name="T11" fmla="*/ 93 h 458"/>
                <a:gd name="T12" fmla="*/ 460 w 551"/>
                <a:gd name="T13" fmla="*/ 110 h 458"/>
                <a:gd name="T14" fmla="*/ 470 w 551"/>
                <a:gd name="T15" fmla="*/ 119 h 458"/>
                <a:gd name="T16" fmla="*/ 501 w 551"/>
                <a:gd name="T17" fmla="*/ 134 h 458"/>
                <a:gd name="T18" fmla="*/ 524 w 551"/>
                <a:gd name="T19" fmla="*/ 142 h 458"/>
                <a:gd name="T20" fmla="*/ 522 w 551"/>
                <a:gd name="T21" fmla="*/ 160 h 458"/>
                <a:gd name="T22" fmla="*/ 534 w 551"/>
                <a:gd name="T23" fmla="*/ 182 h 458"/>
                <a:gd name="T24" fmla="*/ 540 w 551"/>
                <a:gd name="T25" fmla="*/ 201 h 458"/>
                <a:gd name="T26" fmla="*/ 520 w 551"/>
                <a:gd name="T27" fmla="*/ 240 h 458"/>
                <a:gd name="T28" fmla="*/ 505 w 551"/>
                <a:gd name="T29" fmla="*/ 246 h 458"/>
                <a:gd name="T30" fmla="*/ 504 w 551"/>
                <a:gd name="T31" fmla="*/ 261 h 458"/>
                <a:gd name="T32" fmla="*/ 492 w 551"/>
                <a:gd name="T33" fmla="*/ 273 h 458"/>
                <a:gd name="T34" fmla="*/ 468 w 551"/>
                <a:gd name="T35" fmla="*/ 297 h 458"/>
                <a:gd name="T36" fmla="*/ 471 w 551"/>
                <a:gd name="T37" fmla="*/ 329 h 458"/>
                <a:gd name="T38" fmla="*/ 466 w 551"/>
                <a:gd name="T39" fmla="*/ 356 h 458"/>
                <a:gd name="T40" fmla="*/ 457 w 551"/>
                <a:gd name="T41" fmla="*/ 380 h 458"/>
                <a:gd name="T42" fmla="*/ 439 w 551"/>
                <a:gd name="T43" fmla="*/ 384 h 458"/>
                <a:gd name="T44" fmla="*/ 421 w 551"/>
                <a:gd name="T45" fmla="*/ 378 h 458"/>
                <a:gd name="T46" fmla="*/ 415 w 551"/>
                <a:gd name="T47" fmla="*/ 397 h 458"/>
                <a:gd name="T48" fmla="*/ 407 w 551"/>
                <a:gd name="T49" fmla="*/ 418 h 458"/>
                <a:gd name="T50" fmla="*/ 395 w 551"/>
                <a:gd name="T51" fmla="*/ 420 h 458"/>
                <a:gd name="T52" fmla="*/ 369 w 551"/>
                <a:gd name="T53" fmla="*/ 404 h 458"/>
                <a:gd name="T54" fmla="*/ 356 w 551"/>
                <a:gd name="T55" fmla="*/ 405 h 458"/>
                <a:gd name="T56" fmla="*/ 337 w 551"/>
                <a:gd name="T57" fmla="*/ 430 h 458"/>
                <a:gd name="T58" fmla="*/ 339 w 551"/>
                <a:gd name="T59" fmla="*/ 453 h 458"/>
                <a:gd name="T60" fmla="*/ 325 w 551"/>
                <a:gd name="T61" fmla="*/ 458 h 458"/>
                <a:gd name="T62" fmla="*/ 287 w 551"/>
                <a:gd name="T63" fmla="*/ 447 h 458"/>
                <a:gd name="T64" fmla="*/ 237 w 551"/>
                <a:gd name="T65" fmla="*/ 436 h 458"/>
                <a:gd name="T66" fmla="*/ 204 w 551"/>
                <a:gd name="T67" fmla="*/ 429 h 458"/>
                <a:gd name="T68" fmla="*/ 179 w 551"/>
                <a:gd name="T69" fmla="*/ 416 h 458"/>
                <a:gd name="T70" fmla="*/ 177 w 551"/>
                <a:gd name="T71" fmla="*/ 382 h 458"/>
                <a:gd name="T72" fmla="*/ 182 w 551"/>
                <a:gd name="T73" fmla="*/ 351 h 458"/>
                <a:gd name="T74" fmla="*/ 198 w 551"/>
                <a:gd name="T75" fmla="*/ 327 h 458"/>
                <a:gd name="T76" fmla="*/ 190 w 551"/>
                <a:gd name="T77" fmla="*/ 315 h 458"/>
                <a:gd name="T78" fmla="*/ 163 w 551"/>
                <a:gd name="T79" fmla="*/ 301 h 458"/>
                <a:gd name="T80" fmla="*/ 135 w 551"/>
                <a:gd name="T81" fmla="*/ 281 h 458"/>
                <a:gd name="T82" fmla="*/ 116 w 551"/>
                <a:gd name="T83" fmla="*/ 289 h 458"/>
                <a:gd name="T84" fmla="*/ 73 w 551"/>
                <a:gd name="T85" fmla="*/ 293 h 458"/>
                <a:gd name="T86" fmla="*/ 53 w 551"/>
                <a:gd name="T87" fmla="*/ 284 h 458"/>
                <a:gd name="T88" fmla="*/ 52 w 551"/>
                <a:gd name="T89" fmla="*/ 256 h 458"/>
                <a:gd name="T90" fmla="*/ 36 w 551"/>
                <a:gd name="T91" fmla="*/ 234 h 458"/>
                <a:gd name="T92" fmla="*/ 13 w 551"/>
                <a:gd name="T93" fmla="*/ 227 h 458"/>
                <a:gd name="T94" fmla="*/ 2 w 551"/>
                <a:gd name="T95" fmla="*/ 216 h 458"/>
                <a:gd name="T96" fmla="*/ 8 w 551"/>
                <a:gd name="T97" fmla="*/ 180 h 458"/>
                <a:gd name="T98" fmla="*/ 34 w 551"/>
                <a:gd name="T99" fmla="*/ 138 h 458"/>
                <a:gd name="T100" fmla="*/ 46 w 551"/>
                <a:gd name="T101" fmla="*/ 124 h 458"/>
                <a:gd name="T102" fmla="*/ 61 w 551"/>
                <a:gd name="T103" fmla="*/ 126 h 458"/>
                <a:gd name="T104" fmla="*/ 88 w 551"/>
                <a:gd name="T105" fmla="*/ 116 h 458"/>
                <a:gd name="T106" fmla="*/ 130 w 551"/>
                <a:gd name="T107" fmla="*/ 103 h 458"/>
                <a:gd name="T108" fmla="*/ 154 w 551"/>
                <a:gd name="T109" fmla="*/ 81 h 458"/>
                <a:gd name="T110" fmla="*/ 180 w 551"/>
                <a:gd name="T111" fmla="*/ 79 h 458"/>
                <a:gd name="T112" fmla="*/ 192 w 551"/>
                <a:gd name="T113" fmla="*/ 71 h 458"/>
                <a:gd name="T114" fmla="*/ 187 w 551"/>
                <a:gd name="T115" fmla="*/ 51 h 458"/>
                <a:gd name="T116" fmla="*/ 189 w 551"/>
                <a:gd name="T117" fmla="*/ 36 h 458"/>
                <a:gd name="T118" fmla="*/ 208 w 551"/>
                <a:gd name="T119" fmla="*/ 23 h 458"/>
                <a:gd name="T120" fmla="*/ 232 w 551"/>
                <a:gd name="T121" fmla="*/ 12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1" h="458">
                  <a:moveTo>
                    <a:pt x="244" y="0"/>
                  </a:moveTo>
                  <a:lnTo>
                    <a:pt x="255" y="8"/>
                  </a:lnTo>
                  <a:lnTo>
                    <a:pt x="269" y="19"/>
                  </a:lnTo>
                  <a:lnTo>
                    <a:pt x="273" y="22"/>
                  </a:lnTo>
                  <a:lnTo>
                    <a:pt x="281" y="27"/>
                  </a:lnTo>
                  <a:lnTo>
                    <a:pt x="300" y="40"/>
                  </a:lnTo>
                  <a:lnTo>
                    <a:pt x="301" y="42"/>
                  </a:lnTo>
                  <a:lnTo>
                    <a:pt x="306" y="46"/>
                  </a:lnTo>
                  <a:lnTo>
                    <a:pt x="309" y="48"/>
                  </a:lnTo>
                  <a:lnTo>
                    <a:pt x="313" y="52"/>
                  </a:lnTo>
                  <a:lnTo>
                    <a:pt x="317" y="55"/>
                  </a:lnTo>
                  <a:lnTo>
                    <a:pt x="318" y="56"/>
                  </a:lnTo>
                  <a:lnTo>
                    <a:pt x="320" y="57"/>
                  </a:lnTo>
                  <a:lnTo>
                    <a:pt x="322" y="58"/>
                  </a:lnTo>
                  <a:lnTo>
                    <a:pt x="324" y="58"/>
                  </a:lnTo>
                  <a:lnTo>
                    <a:pt x="326" y="58"/>
                  </a:lnTo>
                  <a:lnTo>
                    <a:pt x="330" y="58"/>
                  </a:lnTo>
                  <a:lnTo>
                    <a:pt x="333" y="58"/>
                  </a:lnTo>
                  <a:lnTo>
                    <a:pt x="335" y="58"/>
                  </a:lnTo>
                  <a:lnTo>
                    <a:pt x="345" y="58"/>
                  </a:lnTo>
                  <a:lnTo>
                    <a:pt x="348" y="58"/>
                  </a:lnTo>
                  <a:lnTo>
                    <a:pt x="349" y="58"/>
                  </a:lnTo>
                  <a:lnTo>
                    <a:pt x="351" y="58"/>
                  </a:lnTo>
                  <a:lnTo>
                    <a:pt x="357" y="59"/>
                  </a:lnTo>
                  <a:lnTo>
                    <a:pt x="359" y="59"/>
                  </a:lnTo>
                  <a:lnTo>
                    <a:pt x="361" y="59"/>
                  </a:lnTo>
                  <a:lnTo>
                    <a:pt x="363" y="59"/>
                  </a:lnTo>
                  <a:lnTo>
                    <a:pt x="365" y="58"/>
                  </a:lnTo>
                  <a:lnTo>
                    <a:pt x="369" y="58"/>
                  </a:lnTo>
                  <a:lnTo>
                    <a:pt x="370" y="58"/>
                  </a:lnTo>
                  <a:lnTo>
                    <a:pt x="372" y="58"/>
                  </a:lnTo>
                  <a:lnTo>
                    <a:pt x="374" y="58"/>
                  </a:lnTo>
                  <a:lnTo>
                    <a:pt x="376" y="58"/>
                  </a:lnTo>
                  <a:lnTo>
                    <a:pt x="382" y="59"/>
                  </a:lnTo>
                  <a:lnTo>
                    <a:pt x="384" y="60"/>
                  </a:lnTo>
                  <a:lnTo>
                    <a:pt x="386" y="61"/>
                  </a:lnTo>
                  <a:lnTo>
                    <a:pt x="387" y="62"/>
                  </a:lnTo>
                  <a:lnTo>
                    <a:pt x="391" y="64"/>
                  </a:lnTo>
                  <a:lnTo>
                    <a:pt x="392" y="65"/>
                  </a:lnTo>
                  <a:lnTo>
                    <a:pt x="399" y="69"/>
                  </a:lnTo>
                  <a:lnTo>
                    <a:pt x="403" y="70"/>
                  </a:lnTo>
                  <a:lnTo>
                    <a:pt x="404" y="71"/>
                  </a:lnTo>
                  <a:lnTo>
                    <a:pt x="406" y="72"/>
                  </a:lnTo>
                  <a:lnTo>
                    <a:pt x="407" y="73"/>
                  </a:lnTo>
                  <a:lnTo>
                    <a:pt x="415" y="80"/>
                  </a:lnTo>
                  <a:lnTo>
                    <a:pt x="416" y="82"/>
                  </a:lnTo>
                  <a:lnTo>
                    <a:pt x="418" y="83"/>
                  </a:lnTo>
                  <a:lnTo>
                    <a:pt x="420" y="85"/>
                  </a:lnTo>
                  <a:lnTo>
                    <a:pt x="424" y="87"/>
                  </a:lnTo>
                  <a:lnTo>
                    <a:pt x="426" y="89"/>
                  </a:lnTo>
                  <a:lnTo>
                    <a:pt x="428" y="90"/>
                  </a:lnTo>
                  <a:lnTo>
                    <a:pt x="431" y="91"/>
                  </a:lnTo>
                  <a:lnTo>
                    <a:pt x="434" y="92"/>
                  </a:lnTo>
                  <a:lnTo>
                    <a:pt x="441" y="93"/>
                  </a:lnTo>
                  <a:lnTo>
                    <a:pt x="449" y="96"/>
                  </a:lnTo>
                  <a:lnTo>
                    <a:pt x="451" y="97"/>
                  </a:lnTo>
                  <a:lnTo>
                    <a:pt x="454" y="98"/>
                  </a:lnTo>
                  <a:lnTo>
                    <a:pt x="455" y="99"/>
                  </a:lnTo>
                  <a:lnTo>
                    <a:pt x="456" y="100"/>
                  </a:lnTo>
                  <a:lnTo>
                    <a:pt x="457" y="101"/>
                  </a:lnTo>
                  <a:lnTo>
                    <a:pt x="457" y="102"/>
                  </a:lnTo>
                  <a:lnTo>
                    <a:pt x="458" y="104"/>
                  </a:lnTo>
                  <a:lnTo>
                    <a:pt x="460" y="110"/>
                  </a:lnTo>
                  <a:lnTo>
                    <a:pt x="460" y="112"/>
                  </a:lnTo>
                  <a:lnTo>
                    <a:pt x="460" y="114"/>
                  </a:lnTo>
                  <a:lnTo>
                    <a:pt x="461" y="114"/>
                  </a:lnTo>
                  <a:lnTo>
                    <a:pt x="462" y="115"/>
                  </a:lnTo>
                  <a:lnTo>
                    <a:pt x="463" y="116"/>
                  </a:lnTo>
                  <a:lnTo>
                    <a:pt x="464" y="117"/>
                  </a:lnTo>
                  <a:lnTo>
                    <a:pt x="465" y="118"/>
                  </a:lnTo>
                  <a:lnTo>
                    <a:pt x="467" y="119"/>
                  </a:lnTo>
                  <a:lnTo>
                    <a:pt x="470" y="119"/>
                  </a:lnTo>
                  <a:lnTo>
                    <a:pt x="473" y="120"/>
                  </a:lnTo>
                  <a:lnTo>
                    <a:pt x="476" y="121"/>
                  </a:lnTo>
                  <a:lnTo>
                    <a:pt x="481" y="123"/>
                  </a:lnTo>
                  <a:lnTo>
                    <a:pt x="484" y="124"/>
                  </a:lnTo>
                  <a:lnTo>
                    <a:pt x="487" y="126"/>
                  </a:lnTo>
                  <a:lnTo>
                    <a:pt x="491" y="127"/>
                  </a:lnTo>
                  <a:lnTo>
                    <a:pt x="494" y="129"/>
                  </a:lnTo>
                  <a:lnTo>
                    <a:pt x="499" y="133"/>
                  </a:lnTo>
                  <a:lnTo>
                    <a:pt x="501" y="134"/>
                  </a:lnTo>
                  <a:lnTo>
                    <a:pt x="504" y="136"/>
                  </a:lnTo>
                  <a:lnTo>
                    <a:pt x="506" y="137"/>
                  </a:lnTo>
                  <a:lnTo>
                    <a:pt x="510" y="138"/>
                  </a:lnTo>
                  <a:lnTo>
                    <a:pt x="514" y="139"/>
                  </a:lnTo>
                  <a:lnTo>
                    <a:pt x="516" y="139"/>
                  </a:lnTo>
                  <a:lnTo>
                    <a:pt x="520" y="140"/>
                  </a:lnTo>
                  <a:lnTo>
                    <a:pt x="521" y="140"/>
                  </a:lnTo>
                  <a:lnTo>
                    <a:pt x="523" y="141"/>
                  </a:lnTo>
                  <a:lnTo>
                    <a:pt x="524" y="142"/>
                  </a:lnTo>
                  <a:lnTo>
                    <a:pt x="525" y="143"/>
                  </a:lnTo>
                  <a:lnTo>
                    <a:pt x="525" y="144"/>
                  </a:lnTo>
                  <a:lnTo>
                    <a:pt x="526" y="146"/>
                  </a:lnTo>
                  <a:lnTo>
                    <a:pt x="525" y="148"/>
                  </a:lnTo>
                  <a:lnTo>
                    <a:pt x="525" y="149"/>
                  </a:lnTo>
                  <a:lnTo>
                    <a:pt x="525" y="150"/>
                  </a:lnTo>
                  <a:lnTo>
                    <a:pt x="523" y="156"/>
                  </a:lnTo>
                  <a:lnTo>
                    <a:pt x="522" y="159"/>
                  </a:lnTo>
                  <a:lnTo>
                    <a:pt x="522" y="160"/>
                  </a:lnTo>
                  <a:lnTo>
                    <a:pt x="521" y="162"/>
                  </a:lnTo>
                  <a:lnTo>
                    <a:pt x="522" y="164"/>
                  </a:lnTo>
                  <a:lnTo>
                    <a:pt x="522" y="166"/>
                  </a:lnTo>
                  <a:lnTo>
                    <a:pt x="523" y="169"/>
                  </a:lnTo>
                  <a:lnTo>
                    <a:pt x="524" y="171"/>
                  </a:lnTo>
                  <a:lnTo>
                    <a:pt x="526" y="173"/>
                  </a:lnTo>
                  <a:lnTo>
                    <a:pt x="528" y="176"/>
                  </a:lnTo>
                  <a:lnTo>
                    <a:pt x="531" y="179"/>
                  </a:lnTo>
                  <a:lnTo>
                    <a:pt x="534" y="182"/>
                  </a:lnTo>
                  <a:lnTo>
                    <a:pt x="537" y="183"/>
                  </a:lnTo>
                  <a:lnTo>
                    <a:pt x="540" y="185"/>
                  </a:lnTo>
                  <a:lnTo>
                    <a:pt x="543" y="187"/>
                  </a:lnTo>
                  <a:lnTo>
                    <a:pt x="551" y="191"/>
                  </a:lnTo>
                  <a:lnTo>
                    <a:pt x="550" y="191"/>
                  </a:lnTo>
                  <a:lnTo>
                    <a:pt x="548" y="193"/>
                  </a:lnTo>
                  <a:lnTo>
                    <a:pt x="546" y="194"/>
                  </a:lnTo>
                  <a:lnTo>
                    <a:pt x="544" y="196"/>
                  </a:lnTo>
                  <a:lnTo>
                    <a:pt x="540" y="201"/>
                  </a:lnTo>
                  <a:lnTo>
                    <a:pt x="538" y="206"/>
                  </a:lnTo>
                  <a:lnTo>
                    <a:pt x="535" y="210"/>
                  </a:lnTo>
                  <a:lnTo>
                    <a:pt x="533" y="216"/>
                  </a:lnTo>
                  <a:lnTo>
                    <a:pt x="530" y="221"/>
                  </a:lnTo>
                  <a:lnTo>
                    <a:pt x="527" y="229"/>
                  </a:lnTo>
                  <a:lnTo>
                    <a:pt x="524" y="234"/>
                  </a:lnTo>
                  <a:lnTo>
                    <a:pt x="523" y="237"/>
                  </a:lnTo>
                  <a:lnTo>
                    <a:pt x="521" y="239"/>
                  </a:lnTo>
                  <a:lnTo>
                    <a:pt x="520" y="240"/>
                  </a:lnTo>
                  <a:lnTo>
                    <a:pt x="518" y="241"/>
                  </a:lnTo>
                  <a:lnTo>
                    <a:pt x="517" y="242"/>
                  </a:lnTo>
                  <a:lnTo>
                    <a:pt x="517" y="243"/>
                  </a:lnTo>
                  <a:lnTo>
                    <a:pt x="515" y="243"/>
                  </a:lnTo>
                  <a:lnTo>
                    <a:pt x="514" y="244"/>
                  </a:lnTo>
                  <a:lnTo>
                    <a:pt x="508" y="244"/>
                  </a:lnTo>
                  <a:lnTo>
                    <a:pt x="506" y="245"/>
                  </a:lnTo>
                  <a:lnTo>
                    <a:pt x="505" y="245"/>
                  </a:lnTo>
                  <a:lnTo>
                    <a:pt x="505" y="246"/>
                  </a:lnTo>
                  <a:lnTo>
                    <a:pt x="505" y="247"/>
                  </a:lnTo>
                  <a:lnTo>
                    <a:pt x="504" y="248"/>
                  </a:lnTo>
                  <a:lnTo>
                    <a:pt x="503" y="249"/>
                  </a:lnTo>
                  <a:lnTo>
                    <a:pt x="503" y="250"/>
                  </a:lnTo>
                  <a:lnTo>
                    <a:pt x="503" y="250"/>
                  </a:lnTo>
                  <a:lnTo>
                    <a:pt x="503" y="251"/>
                  </a:lnTo>
                  <a:lnTo>
                    <a:pt x="503" y="253"/>
                  </a:lnTo>
                  <a:lnTo>
                    <a:pt x="504" y="259"/>
                  </a:lnTo>
                  <a:lnTo>
                    <a:pt x="504" y="261"/>
                  </a:lnTo>
                  <a:lnTo>
                    <a:pt x="504" y="262"/>
                  </a:lnTo>
                  <a:lnTo>
                    <a:pt x="503" y="263"/>
                  </a:lnTo>
                  <a:lnTo>
                    <a:pt x="503" y="265"/>
                  </a:lnTo>
                  <a:lnTo>
                    <a:pt x="502" y="266"/>
                  </a:lnTo>
                  <a:lnTo>
                    <a:pt x="501" y="268"/>
                  </a:lnTo>
                  <a:lnTo>
                    <a:pt x="500" y="269"/>
                  </a:lnTo>
                  <a:lnTo>
                    <a:pt x="499" y="270"/>
                  </a:lnTo>
                  <a:lnTo>
                    <a:pt x="496" y="271"/>
                  </a:lnTo>
                  <a:lnTo>
                    <a:pt x="492" y="273"/>
                  </a:lnTo>
                  <a:lnTo>
                    <a:pt x="489" y="273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78"/>
                  </a:lnTo>
                  <a:lnTo>
                    <a:pt x="482" y="280"/>
                  </a:lnTo>
                  <a:lnTo>
                    <a:pt x="472" y="289"/>
                  </a:lnTo>
                  <a:lnTo>
                    <a:pt x="471" y="292"/>
                  </a:lnTo>
                  <a:lnTo>
                    <a:pt x="469" y="295"/>
                  </a:lnTo>
                  <a:lnTo>
                    <a:pt x="468" y="297"/>
                  </a:lnTo>
                  <a:lnTo>
                    <a:pt x="467" y="300"/>
                  </a:lnTo>
                  <a:lnTo>
                    <a:pt x="467" y="302"/>
                  </a:lnTo>
                  <a:lnTo>
                    <a:pt x="467" y="306"/>
                  </a:lnTo>
                  <a:lnTo>
                    <a:pt x="467" y="307"/>
                  </a:lnTo>
                  <a:lnTo>
                    <a:pt x="467" y="310"/>
                  </a:lnTo>
                  <a:lnTo>
                    <a:pt x="470" y="321"/>
                  </a:lnTo>
                  <a:lnTo>
                    <a:pt x="470" y="324"/>
                  </a:lnTo>
                  <a:lnTo>
                    <a:pt x="471" y="327"/>
                  </a:lnTo>
                  <a:lnTo>
                    <a:pt x="471" y="329"/>
                  </a:lnTo>
                  <a:lnTo>
                    <a:pt x="471" y="333"/>
                  </a:lnTo>
                  <a:lnTo>
                    <a:pt x="471" y="336"/>
                  </a:lnTo>
                  <a:lnTo>
                    <a:pt x="470" y="339"/>
                  </a:lnTo>
                  <a:lnTo>
                    <a:pt x="470" y="341"/>
                  </a:lnTo>
                  <a:lnTo>
                    <a:pt x="469" y="341"/>
                  </a:lnTo>
                  <a:lnTo>
                    <a:pt x="467" y="346"/>
                  </a:lnTo>
                  <a:lnTo>
                    <a:pt x="466" y="349"/>
                  </a:lnTo>
                  <a:lnTo>
                    <a:pt x="466" y="352"/>
                  </a:lnTo>
                  <a:lnTo>
                    <a:pt x="466" y="356"/>
                  </a:lnTo>
                  <a:lnTo>
                    <a:pt x="466" y="358"/>
                  </a:lnTo>
                  <a:lnTo>
                    <a:pt x="465" y="360"/>
                  </a:lnTo>
                  <a:lnTo>
                    <a:pt x="465" y="363"/>
                  </a:lnTo>
                  <a:lnTo>
                    <a:pt x="464" y="365"/>
                  </a:lnTo>
                  <a:lnTo>
                    <a:pt x="463" y="369"/>
                  </a:lnTo>
                  <a:lnTo>
                    <a:pt x="461" y="372"/>
                  </a:lnTo>
                  <a:lnTo>
                    <a:pt x="460" y="375"/>
                  </a:lnTo>
                  <a:lnTo>
                    <a:pt x="459" y="378"/>
                  </a:lnTo>
                  <a:lnTo>
                    <a:pt x="457" y="380"/>
                  </a:lnTo>
                  <a:lnTo>
                    <a:pt x="456" y="383"/>
                  </a:lnTo>
                  <a:lnTo>
                    <a:pt x="454" y="385"/>
                  </a:lnTo>
                  <a:lnTo>
                    <a:pt x="451" y="387"/>
                  </a:lnTo>
                  <a:lnTo>
                    <a:pt x="449" y="389"/>
                  </a:lnTo>
                  <a:lnTo>
                    <a:pt x="449" y="389"/>
                  </a:lnTo>
                  <a:lnTo>
                    <a:pt x="445" y="386"/>
                  </a:lnTo>
                  <a:lnTo>
                    <a:pt x="443" y="386"/>
                  </a:lnTo>
                  <a:lnTo>
                    <a:pt x="442" y="385"/>
                  </a:lnTo>
                  <a:lnTo>
                    <a:pt x="439" y="384"/>
                  </a:lnTo>
                  <a:lnTo>
                    <a:pt x="437" y="384"/>
                  </a:lnTo>
                  <a:lnTo>
                    <a:pt x="434" y="383"/>
                  </a:lnTo>
                  <a:lnTo>
                    <a:pt x="432" y="383"/>
                  </a:lnTo>
                  <a:lnTo>
                    <a:pt x="430" y="382"/>
                  </a:lnTo>
                  <a:lnTo>
                    <a:pt x="427" y="381"/>
                  </a:lnTo>
                  <a:lnTo>
                    <a:pt x="425" y="380"/>
                  </a:lnTo>
                  <a:lnTo>
                    <a:pt x="423" y="379"/>
                  </a:lnTo>
                  <a:lnTo>
                    <a:pt x="422" y="379"/>
                  </a:lnTo>
                  <a:lnTo>
                    <a:pt x="421" y="378"/>
                  </a:lnTo>
                  <a:lnTo>
                    <a:pt x="419" y="377"/>
                  </a:lnTo>
                  <a:lnTo>
                    <a:pt x="417" y="375"/>
                  </a:lnTo>
                  <a:lnTo>
                    <a:pt x="416" y="375"/>
                  </a:lnTo>
                  <a:lnTo>
                    <a:pt x="415" y="375"/>
                  </a:lnTo>
                  <a:lnTo>
                    <a:pt x="415" y="376"/>
                  </a:lnTo>
                  <a:lnTo>
                    <a:pt x="415" y="378"/>
                  </a:lnTo>
                  <a:lnTo>
                    <a:pt x="415" y="381"/>
                  </a:lnTo>
                  <a:lnTo>
                    <a:pt x="415" y="392"/>
                  </a:lnTo>
                  <a:lnTo>
                    <a:pt x="415" y="397"/>
                  </a:lnTo>
                  <a:lnTo>
                    <a:pt x="415" y="401"/>
                  </a:lnTo>
                  <a:lnTo>
                    <a:pt x="414" y="405"/>
                  </a:lnTo>
                  <a:lnTo>
                    <a:pt x="414" y="407"/>
                  </a:lnTo>
                  <a:lnTo>
                    <a:pt x="413" y="409"/>
                  </a:lnTo>
                  <a:lnTo>
                    <a:pt x="412" y="410"/>
                  </a:lnTo>
                  <a:lnTo>
                    <a:pt x="411" y="412"/>
                  </a:lnTo>
                  <a:lnTo>
                    <a:pt x="410" y="414"/>
                  </a:lnTo>
                  <a:lnTo>
                    <a:pt x="408" y="416"/>
                  </a:lnTo>
                  <a:lnTo>
                    <a:pt x="407" y="418"/>
                  </a:lnTo>
                  <a:lnTo>
                    <a:pt x="406" y="419"/>
                  </a:lnTo>
                  <a:lnTo>
                    <a:pt x="404" y="420"/>
                  </a:lnTo>
                  <a:lnTo>
                    <a:pt x="403" y="420"/>
                  </a:lnTo>
                  <a:lnTo>
                    <a:pt x="403" y="420"/>
                  </a:lnTo>
                  <a:lnTo>
                    <a:pt x="401" y="421"/>
                  </a:lnTo>
                  <a:lnTo>
                    <a:pt x="400" y="421"/>
                  </a:lnTo>
                  <a:lnTo>
                    <a:pt x="398" y="421"/>
                  </a:lnTo>
                  <a:lnTo>
                    <a:pt x="396" y="421"/>
                  </a:lnTo>
                  <a:lnTo>
                    <a:pt x="395" y="420"/>
                  </a:lnTo>
                  <a:lnTo>
                    <a:pt x="392" y="420"/>
                  </a:lnTo>
                  <a:lnTo>
                    <a:pt x="390" y="419"/>
                  </a:lnTo>
                  <a:lnTo>
                    <a:pt x="387" y="417"/>
                  </a:lnTo>
                  <a:lnTo>
                    <a:pt x="383" y="415"/>
                  </a:lnTo>
                  <a:lnTo>
                    <a:pt x="376" y="409"/>
                  </a:lnTo>
                  <a:lnTo>
                    <a:pt x="375" y="409"/>
                  </a:lnTo>
                  <a:lnTo>
                    <a:pt x="371" y="405"/>
                  </a:lnTo>
                  <a:lnTo>
                    <a:pt x="369" y="405"/>
                  </a:lnTo>
                  <a:lnTo>
                    <a:pt x="369" y="404"/>
                  </a:lnTo>
                  <a:lnTo>
                    <a:pt x="368" y="403"/>
                  </a:lnTo>
                  <a:lnTo>
                    <a:pt x="366" y="403"/>
                  </a:lnTo>
                  <a:lnTo>
                    <a:pt x="365" y="403"/>
                  </a:lnTo>
                  <a:lnTo>
                    <a:pt x="363" y="403"/>
                  </a:lnTo>
                  <a:lnTo>
                    <a:pt x="362" y="403"/>
                  </a:lnTo>
                  <a:lnTo>
                    <a:pt x="360" y="403"/>
                  </a:lnTo>
                  <a:lnTo>
                    <a:pt x="359" y="404"/>
                  </a:lnTo>
                  <a:lnTo>
                    <a:pt x="358" y="404"/>
                  </a:lnTo>
                  <a:lnTo>
                    <a:pt x="356" y="405"/>
                  </a:lnTo>
                  <a:lnTo>
                    <a:pt x="354" y="407"/>
                  </a:lnTo>
                  <a:lnTo>
                    <a:pt x="351" y="410"/>
                  </a:lnTo>
                  <a:lnTo>
                    <a:pt x="348" y="414"/>
                  </a:lnTo>
                  <a:lnTo>
                    <a:pt x="345" y="419"/>
                  </a:lnTo>
                  <a:lnTo>
                    <a:pt x="342" y="422"/>
                  </a:lnTo>
                  <a:lnTo>
                    <a:pt x="339" y="426"/>
                  </a:lnTo>
                  <a:lnTo>
                    <a:pt x="338" y="428"/>
                  </a:lnTo>
                  <a:lnTo>
                    <a:pt x="338" y="429"/>
                  </a:lnTo>
                  <a:lnTo>
                    <a:pt x="337" y="430"/>
                  </a:lnTo>
                  <a:lnTo>
                    <a:pt x="337" y="431"/>
                  </a:lnTo>
                  <a:lnTo>
                    <a:pt x="337" y="432"/>
                  </a:lnTo>
                  <a:lnTo>
                    <a:pt x="337" y="434"/>
                  </a:lnTo>
                  <a:lnTo>
                    <a:pt x="337" y="437"/>
                  </a:lnTo>
                  <a:lnTo>
                    <a:pt x="340" y="448"/>
                  </a:lnTo>
                  <a:lnTo>
                    <a:pt x="340" y="450"/>
                  </a:lnTo>
                  <a:lnTo>
                    <a:pt x="340" y="451"/>
                  </a:lnTo>
                  <a:lnTo>
                    <a:pt x="339" y="452"/>
                  </a:lnTo>
                  <a:lnTo>
                    <a:pt x="339" y="453"/>
                  </a:lnTo>
                  <a:lnTo>
                    <a:pt x="338" y="453"/>
                  </a:lnTo>
                  <a:lnTo>
                    <a:pt x="338" y="454"/>
                  </a:lnTo>
                  <a:lnTo>
                    <a:pt x="337" y="454"/>
                  </a:lnTo>
                  <a:lnTo>
                    <a:pt x="336" y="455"/>
                  </a:lnTo>
                  <a:lnTo>
                    <a:pt x="335" y="455"/>
                  </a:lnTo>
                  <a:lnTo>
                    <a:pt x="332" y="456"/>
                  </a:lnTo>
                  <a:lnTo>
                    <a:pt x="328" y="458"/>
                  </a:lnTo>
                  <a:lnTo>
                    <a:pt x="327" y="458"/>
                  </a:lnTo>
                  <a:lnTo>
                    <a:pt x="325" y="458"/>
                  </a:lnTo>
                  <a:lnTo>
                    <a:pt x="323" y="458"/>
                  </a:lnTo>
                  <a:lnTo>
                    <a:pt x="320" y="457"/>
                  </a:lnTo>
                  <a:lnTo>
                    <a:pt x="312" y="455"/>
                  </a:lnTo>
                  <a:lnTo>
                    <a:pt x="308" y="454"/>
                  </a:lnTo>
                  <a:lnTo>
                    <a:pt x="306" y="454"/>
                  </a:lnTo>
                  <a:lnTo>
                    <a:pt x="298" y="450"/>
                  </a:lnTo>
                  <a:lnTo>
                    <a:pt x="293" y="449"/>
                  </a:lnTo>
                  <a:lnTo>
                    <a:pt x="290" y="448"/>
                  </a:lnTo>
                  <a:lnTo>
                    <a:pt x="287" y="447"/>
                  </a:lnTo>
                  <a:lnTo>
                    <a:pt x="283" y="446"/>
                  </a:lnTo>
                  <a:lnTo>
                    <a:pt x="280" y="446"/>
                  </a:lnTo>
                  <a:lnTo>
                    <a:pt x="268" y="445"/>
                  </a:lnTo>
                  <a:lnTo>
                    <a:pt x="263" y="445"/>
                  </a:lnTo>
                  <a:lnTo>
                    <a:pt x="259" y="444"/>
                  </a:lnTo>
                  <a:lnTo>
                    <a:pt x="255" y="443"/>
                  </a:lnTo>
                  <a:lnTo>
                    <a:pt x="252" y="443"/>
                  </a:lnTo>
                  <a:lnTo>
                    <a:pt x="248" y="442"/>
                  </a:lnTo>
                  <a:lnTo>
                    <a:pt x="237" y="436"/>
                  </a:lnTo>
                  <a:lnTo>
                    <a:pt x="228" y="432"/>
                  </a:lnTo>
                  <a:lnTo>
                    <a:pt x="221" y="430"/>
                  </a:lnTo>
                  <a:lnTo>
                    <a:pt x="218" y="429"/>
                  </a:lnTo>
                  <a:lnTo>
                    <a:pt x="216" y="429"/>
                  </a:lnTo>
                  <a:lnTo>
                    <a:pt x="214" y="429"/>
                  </a:lnTo>
                  <a:lnTo>
                    <a:pt x="212" y="428"/>
                  </a:lnTo>
                  <a:lnTo>
                    <a:pt x="210" y="428"/>
                  </a:lnTo>
                  <a:lnTo>
                    <a:pt x="208" y="428"/>
                  </a:lnTo>
                  <a:lnTo>
                    <a:pt x="204" y="429"/>
                  </a:lnTo>
                  <a:lnTo>
                    <a:pt x="197" y="430"/>
                  </a:lnTo>
                  <a:lnTo>
                    <a:pt x="193" y="430"/>
                  </a:lnTo>
                  <a:lnTo>
                    <a:pt x="192" y="430"/>
                  </a:lnTo>
                  <a:lnTo>
                    <a:pt x="191" y="430"/>
                  </a:lnTo>
                  <a:lnTo>
                    <a:pt x="190" y="429"/>
                  </a:lnTo>
                  <a:lnTo>
                    <a:pt x="188" y="427"/>
                  </a:lnTo>
                  <a:lnTo>
                    <a:pt x="187" y="425"/>
                  </a:lnTo>
                  <a:lnTo>
                    <a:pt x="182" y="420"/>
                  </a:lnTo>
                  <a:lnTo>
                    <a:pt x="179" y="416"/>
                  </a:lnTo>
                  <a:lnTo>
                    <a:pt x="176" y="412"/>
                  </a:lnTo>
                  <a:lnTo>
                    <a:pt x="176" y="409"/>
                  </a:lnTo>
                  <a:lnTo>
                    <a:pt x="175" y="408"/>
                  </a:lnTo>
                  <a:lnTo>
                    <a:pt x="175" y="407"/>
                  </a:lnTo>
                  <a:lnTo>
                    <a:pt x="174" y="404"/>
                  </a:lnTo>
                  <a:lnTo>
                    <a:pt x="174" y="400"/>
                  </a:lnTo>
                  <a:lnTo>
                    <a:pt x="174" y="398"/>
                  </a:lnTo>
                  <a:lnTo>
                    <a:pt x="174" y="396"/>
                  </a:lnTo>
                  <a:lnTo>
                    <a:pt x="177" y="382"/>
                  </a:lnTo>
                  <a:lnTo>
                    <a:pt x="177" y="379"/>
                  </a:lnTo>
                  <a:lnTo>
                    <a:pt x="177" y="376"/>
                  </a:lnTo>
                  <a:lnTo>
                    <a:pt x="178" y="370"/>
                  </a:lnTo>
                  <a:lnTo>
                    <a:pt x="178" y="365"/>
                  </a:lnTo>
                  <a:lnTo>
                    <a:pt x="178" y="363"/>
                  </a:lnTo>
                  <a:lnTo>
                    <a:pt x="179" y="360"/>
                  </a:lnTo>
                  <a:lnTo>
                    <a:pt x="180" y="356"/>
                  </a:lnTo>
                  <a:lnTo>
                    <a:pt x="181" y="353"/>
                  </a:lnTo>
                  <a:lnTo>
                    <a:pt x="182" y="351"/>
                  </a:lnTo>
                  <a:lnTo>
                    <a:pt x="184" y="348"/>
                  </a:lnTo>
                  <a:lnTo>
                    <a:pt x="185" y="345"/>
                  </a:lnTo>
                  <a:lnTo>
                    <a:pt x="187" y="342"/>
                  </a:lnTo>
                  <a:lnTo>
                    <a:pt x="188" y="340"/>
                  </a:lnTo>
                  <a:lnTo>
                    <a:pt x="194" y="333"/>
                  </a:lnTo>
                  <a:lnTo>
                    <a:pt x="196" y="331"/>
                  </a:lnTo>
                  <a:lnTo>
                    <a:pt x="197" y="329"/>
                  </a:lnTo>
                  <a:lnTo>
                    <a:pt x="198" y="328"/>
                  </a:lnTo>
                  <a:lnTo>
                    <a:pt x="198" y="327"/>
                  </a:lnTo>
                  <a:lnTo>
                    <a:pt x="198" y="326"/>
                  </a:lnTo>
                  <a:lnTo>
                    <a:pt x="197" y="325"/>
                  </a:lnTo>
                  <a:lnTo>
                    <a:pt x="197" y="323"/>
                  </a:lnTo>
                  <a:lnTo>
                    <a:pt x="196" y="321"/>
                  </a:lnTo>
                  <a:lnTo>
                    <a:pt x="194" y="318"/>
                  </a:lnTo>
                  <a:lnTo>
                    <a:pt x="193" y="317"/>
                  </a:lnTo>
                  <a:lnTo>
                    <a:pt x="192" y="316"/>
                  </a:lnTo>
                  <a:lnTo>
                    <a:pt x="191" y="316"/>
                  </a:lnTo>
                  <a:lnTo>
                    <a:pt x="190" y="315"/>
                  </a:lnTo>
                  <a:lnTo>
                    <a:pt x="189" y="314"/>
                  </a:lnTo>
                  <a:lnTo>
                    <a:pt x="187" y="313"/>
                  </a:lnTo>
                  <a:lnTo>
                    <a:pt x="186" y="312"/>
                  </a:lnTo>
                  <a:lnTo>
                    <a:pt x="179" y="310"/>
                  </a:lnTo>
                  <a:lnTo>
                    <a:pt x="176" y="309"/>
                  </a:lnTo>
                  <a:lnTo>
                    <a:pt x="171" y="307"/>
                  </a:lnTo>
                  <a:lnTo>
                    <a:pt x="166" y="304"/>
                  </a:lnTo>
                  <a:lnTo>
                    <a:pt x="164" y="303"/>
                  </a:lnTo>
                  <a:lnTo>
                    <a:pt x="163" y="301"/>
                  </a:lnTo>
                  <a:lnTo>
                    <a:pt x="161" y="300"/>
                  </a:lnTo>
                  <a:lnTo>
                    <a:pt x="158" y="296"/>
                  </a:lnTo>
                  <a:lnTo>
                    <a:pt x="156" y="295"/>
                  </a:lnTo>
                  <a:lnTo>
                    <a:pt x="154" y="293"/>
                  </a:lnTo>
                  <a:lnTo>
                    <a:pt x="152" y="292"/>
                  </a:lnTo>
                  <a:lnTo>
                    <a:pt x="147" y="288"/>
                  </a:lnTo>
                  <a:lnTo>
                    <a:pt x="139" y="283"/>
                  </a:lnTo>
                  <a:lnTo>
                    <a:pt x="137" y="282"/>
                  </a:lnTo>
                  <a:lnTo>
                    <a:pt x="135" y="281"/>
                  </a:lnTo>
                  <a:lnTo>
                    <a:pt x="134" y="281"/>
                  </a:lnTo>
                  <a:lnTo>
                    <a:pt x="133" y="281"/>
                  </a:lnTo>
                  <a:lnTo>
                    <a:pt x="132" y="281"/>
                  </a:lnTo>
                  <a:lnTo>
                    <a:pt x="131" y="281"/>
                  </a:lnTo>
                  <a:lnTo>
                    <a:pt x="130" y="282"/>
                  </a:lnTo>
                  <a:lnTo>
                    <a:pt x="123" y="286"/>
                  </a:lnTo>
                  <a:lnTo>
                    <a:pt x="121" y="287"/>
                  </a:lnTo>
                  <a:lnTo>
                    <a:pt x="119" y="288"/>
                  </a:lnTo>
                  <a:lnTo>
                    <a:pt x="116" y="289"/>
                  </a:lnTo>
                  <a:lnTo>
                    <a:pt x="112" y="290"/>
                  </a:lnTo>
                  <a:lnTo>
                    <a:pt x="107" y="291"/>
                  </a:lnTo>
                  <a:lnTo>
                    <a:pt x="102" y="291"/>
                  </a:lnTo>
                  <a:lnTo>
                    <a:pt x="95" y="292"/>
                  </a:lnTo>
                  <a:lnTo>
                    <a:pt x="85" y="293"/>
                  </a:lnTo>
                  <a:lnTo>
                    <a:pt x="84" y="294"/>
                  </a:lnTo>
                  <a:lnTo>
                    <a:pt x="81" y="294"/>
                  </a:lnTo>
                  <a:lnTo>
                    <a:pt x="75" y="294"/>
                  </a:lnTo>
                  <a:lnTo>
                    <a:pt x="73" y="293"/>
                  </a:lnTo>
                  <a:lnTo>
                    <a:pt x="71" y="293"/>
                  </a:lnTo>
                  <a:lnTo>
                    <a:pt x="69" y="292"/>
                  </a:lnTo>
                  <a:lnTo>
                    <a:pt x="66" y="292"/>
                  </a:lnTo>
                  <a:lnTo>
                    <a:pt x="62" y="290"/>
                  </a:lnTo>
                  <a:lnTo>
                    <a:pt x="60" y="289"/>
                  </a:lnTo>
                  <a:lnTo>
                    <a:pt x="58" y="288"/>
                  </a:lnTo>
                  <a:lnTo>
                    <a:pt x="56" y="287"/>
                  </a:lnTo>
                  <a:lnTo>
                    <a:pt x="55" y="285"/>
                  </a:lnTo>
                  <a:lnTo>
                    <a:pt x="53" y="284"/>
                  </a:lnTo>
                  <a:lnTo>
                    <a:pt x="52" y="284"/>
                  </a:lnTo>
                  <a:lnTo>
                    <a:pt x="51" y="282"/>
                  </a:lnTo>
                  <a:lnTo>
                    <a:pt x="52" y="277"/>
                  </a:lnTo>
                  <a:lnTo>
                    <a:pt x="53" y="274"/>
                  </a:lnTo>
                  <a:lnTo>
                    <a:pt x="53" y="262"/>
                  </a:lnTo>
                  <a:lnTo>
                    <a:pt x="53" y="261"/>
                  </a:lnTo>
                  <a:lnTo>
                    <a:pt x="53" y="259"/>
                  </a:lnTo>
                  <a:lnTo>
                    <a:pt x="53" y="258"/>
                  </a:lnTo>
                  <a:lnTo>
                    <a:pt x="52" y="256"/>
                  </a:lnTo>
                  <a:lnTo>
                    <a:pt x="51" y="252"/>
                  </a:lnTo>
                  <a:lnTo>
                    <a:pt x="50" y="250"/>
                  </a:lnTo>
                  <a:lnTo>
                    <a:pt x="47" y="245"/>
                  </a:lnTo>
                  <a:lnTo>
                    <a:pt x="44" y="239"/>
                  </a:lnTo>
                  <a:lnTo>
                    <a:pt x="43" y="238"/>
                  </a:lnTo>
                  <a:lnTo>
                    <a:pt x="41" y="236"/>
                  </a:lnTo>
                  <a:lnTo>
                    <a:pt x="40" y="235"/>
                  </a:lnTo>
                  <a:lnTo>
                    <a:pt x="39" y="234"/>
                  </a:lnTo>
                  <a:lnTo>
                    <a:pt x="36" y="234"/>
                  </a:lnTo>
                  <a:lnTo>
                    <a:pt x="33" y="233"/>
                  </a:lnTo>
                  <a:lnTo>
                    <a:pt x="30" y="233"/>
                  </a:lnTo>
                  <a:lnTo>
                    <a:pt x="26" y="232"/>
                  </a:lnTo>
                  <a:lnTo>
                    <a:pt x="24" y="232"/>
                  </a:lnTo>
                  <a:lnTo>
                    <a:pt x="23" y="232"/>
                  </a:lnTo>
                  <a:lnTo>
                    <a:pt x="21" y="231"/>
                  </a:lnTo>
                  <a:lnTo>
                    <a:pt x="17" y="228"/>
                  </a:lnTo>
                  <a:lnTo>
                    <a:pt x="15" y="228"/>
                  </a:lnTo>
                  <a:lnTo>
                    <a:pt x="13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7" y="227"/>
                  </a:lnTo>
                  <a:lnTo>
                    <a:pt x="5" y="226"/>
                  </a:lnTo>
                  <a:lnTo>
                    <a:pt x="5" y="225"/>
                  </a:lnTo>
                  <a:lnTo>
                    <a:pt x="4" y="223"/>
                  </a:lnTo>
                  <a:lnTo>
                    <a:pt x="3" y="221"/>
                  </a:lnTo>
                  <a:lnTo>
                    <a:pt x="3" y="218"/>
                  </a:lnTo>
                  <a:lnTo>
                    <a:pt x="2" y="216"/>
                  </a:lnTo>
                  <a:lnTo>
                    <a:pt x="1" y="209"/>
                  </a:lnTo>
                  <a:lnTo>
                    <a:pt x="0" y="197"/>
                  </a:lnTo>
                  <a:lnTo>
                    <a:pt x="0" y="196"/>
                  </a:lnTo>
                  <a:lnTo>
                    <a:pt x="0" y="195"/>
                  </a:lnTo>
                  <a:lnTo>
                    <a:pt x="1" y="193"/>
                  </a:lnTo>
                  <a:lnTo>
                    <a:pt x="2" y="190"/>
                  </a:lnTo>
                  <a:lnTo>
                    <a:pt x="4" y="187"/>
                  </a:lnTo>
                  <a:lnTo>
                    <a:pt x="5" y="184"/>
                  </a:lnTo>
                  <a:lnTo>
                    <a:pt x="8" y="180"/>
                  </a:lnTo>
                  <a:lnTo>
                    <a:pt x="18" y="168"/>
                  </a:lnTo>
                  <a:lnTo>
                    <a:pt x="24" y="160"/>
                  </a:lnTo>
                  <a:lnTo>
                    <a:pt x="25" y="160"/>
                  </a:lnTo>
                  <a:lnTo>
                    <a:pt x="26" y="158"/>
                  </a:lnTo>
                  <a:lnTo>
                    <a:pt x="27" y="156"/>
                  </a:lnTo>
                  <a:lnTo>
                    <a:pt x="28" y="154"/>
                  </a:lnTo>
                  <a:lnTo>
                    <a:pt x="30" y="147"/>
                  </a:lnTo>
                  <a:lnTo>
                    <a:pt x="33" y="140"/>
                  </a:lnTo>
                  <a:lnTo>
                    <a:pt x="34" y="138"/>
                  </a:lnTo>
                  <a:lnTo>
                    <a:pt x="35" y="134"/>
                  </a:lnTo>
                  <a:lnTo>
                    <a:pt x="36" y="132"/>
                  </a:lnTo>
                  <a:lnTo>
                    <a:pt x="37" y="131"/>
                  </a:lnTo>
                  <a:lnTo>
                    <a:pt x="38" y="129"/>
                  </a:lnTo>
                  <a:lnTo>
                    <a:pt x="39" y="127"/>
                  </a:lnTo>
                  <a:lnTo>
                    <a:pt x="40" y="126"/>
                  </a:lnTo>
                  <a:lnTo>
                    <a:pt x="41" y="126"/>
                  </a:lnTo>
                  <a:lnTo>
                    <a:pt x="42" y="125"/>
                  </a:lnTo>
                  <a:lnTo>
                    <a:pt x="46" y="124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51" y="122"/>
                  </a:lnTo>
                  <a:lnTo>
                    <a:pt x="53" y="122"/>
                  </a:lnTo>
                  <a:lnTo>
                    <a:pt x="54" y="123"/>
                  </a:lnTo>
                  <a:lnTo>
                    <a:pt x="55" y="123"/>
                  </a:lnTo>
                  <a:lnTo>
                    <a:pt x="58" y="125"/>
                  </a:lnTo>
                  <a:lnTo>
                    <a:pt x="59" y="125"/>
                  </a:lnTo>
                  <a:lnTo>
                    <a:pt x="61" y="126"/>
                  </a:lnTo>
                  <a:lnTo>
                    <a:pt x="62" y="126"/>
                  </a:lnTo>
                  <a:lnTo>
                    <a:pt x="65" y="126"/>
                  </a:lnTo>
                  <a:lnTo>
                    <a:pt x="67" y="126"/>
                  </a:lnTo>
                  <a:lnTo>
                    <a:pt x="69" y="126"/>
                  </a:lnTo>
                  <a:lnTo>
                    <a:pt x="71" y="125"/>
                  </a:lnTo>
                  <a:lnTo>
                    <a:pt x="73" y="124"/>
                  </a:lnTo>
                  <a:lnTo>
                    <a:pt x="75" y="123"/>
                  </a:lnTo>
                  <a:lnTo>
                    <a:pt x="85" y="117"/>
                  </a:lnTo>
                  <a:lnTo>
                    <a:pt x="88" y="116"/>
                  </a:lnTo>
                  <a:lnTo>
                    <a:pt x="92" y="114"/>
                  </a:lnTo>
                  <a:lnTo>
                    <a:pt x="95" y="114"/>
                  </a:lnTo>
                  <a:lnTo>
                    <a:pt x="105" y="111"/>
                  </a:lnTo>
                  <a:lnTo>
                    <a:pt x="114" y="108"/>
                  </a:lnTo>
                  <a:lnTo>
                    <a:pt x="119" y="106"/>
                  </a:lnTo>
                  <a:lnTo>
                    <a:pt x="120" y="106"/>
                  </a:lnTo>
                  <a:lnTo>
                    <a:pt x="126" y="105"/>
                  </a:lnTo>
                  <a:lnTo>
                    <a:pt x="128" y="104"/>
                  </a:lnTo>
                  <a:lnTo>
                    <a:pt x="130" y="103"/>
                  </a:lnTo>
                  <a:lnTo>
                    <a:pt x="132" y="103"/>
                  </a:lnTo>
                  <a:lnTo>
                    <a:pt x="140" y="98"/>
                  </a:lnTo>
                  <a:lnTo>
                    <a:pt x="142" y="97"/>
                  </a:lnTo>
                  <a:lnTo>
                    <a:pt x="142" y="96"/>
                  </a:lnTo>
                  <a:lnTo>
                    <a:pt x="143" y="95"/>
                  </a:lnTo>
                  <a:lnTo>
                    <a:pt x="145" y="93"/>
                  </a:lnTo>
                  <a:lnTo>
                    <a:pt x="150" y="87"/>
                  </a:lnTo>
                  <a:lnTo>
                    <a:pt x="153" y="83"/>
                  </a:lnTo>
                  <a:lnTo>
                    <a:pt x="154" y="81"/>
                  </a:lnTo>
                  <a:lnTo>
                    <a:pt x="155" y="80"/>
                  </a:lnTo>
                  <a:lnTo>
                    <a:pt x="157" y="80"/>
                  </a:lnTo>
                  <a:lnTo>
                    <a:pt x="158" y="79"/>
                  </a:lnTo>
                  <a:lnTo>
                    <a:pt x="160" y="79"/>
                  </a:lnTo>
                  <a:lnTo>
                    <a:pt x="162" y="78"/>
                  </a:lnTo>
                  <a:lnTo>
                    <a:pt x="166" y="79"/>
                  </a:lnTo>
                  <a:lnTo>
                    <a:pt x="175" y="79"/>
                  </a:lnTo>
                  <a:lnTo>
                    <a:pt x="177" y="79"/>
                  </a:lnTo>
                  <a:lnTo>
                    <a:pt x="180" y="79"/>
                  </a:lnTo>
                  <a:lnTo>
                    <a:pt x="182" y="79"/>
                  </a:lnTo>
                  <a:lnTo>
                    <a:pt x="184" y="78"/>
                  </a:lnTo>
                  <a:lnTo>
                    <a:pt x="186" y="78"/>
                  </a:lnTo>
                  <a:lnTo>
                    <a:pt x="187" y="77"/>
                  </a:lnTo>
                  <a:lnTo>
                    <a:pt x="188" y="76"/>
                  </a:lnTo>
                  <a:lnTo>
                    <a:pt x="190" y="74"/>
                  </a:lnTo>
                  <a:lnTo>
                    <a:pt x="191" y="73"/>
                  </a:lnTo>
                  <a:lnTo>
                    <a:pt x="191" y="72"/>
                  </a:lnTo>
                  <a:lnTo>
                    <a:pt x="192" y="71"/>
                  </a:lnTo>
                  <a:lnTo>
                    <a:pt x="192" y="70"/>
                  </a:lnTo>
                  <a:lnTo>
                    <a:pt x="193" y="69"/>
                  </a:lnTo>
                  <a:lnTo>
                    <a:pt x="193" y="68"/>
                  </a:lnTo>
                  <a:lnTo>
                    <a:pt x="193" y="67"/>
                  </a:lnTo>
                  <a:lnTo>
                    <a:pt x="193" y="65"/>
                  </a:lnTo>
                  <a:lnTo>
                    <a:pt x="192" y="63"/>
                  </a:lnTo>
                  <a:lnTo>
                    <a:pt x="192" y="61"/>
                  </a:lnTo>
                  <a:lnTo>
                    <a:pt x="190" y="57"/>
                  </a:lnTo>
                  <a:lnTo>
                    <a:pt x="187" y="51"/>
                  </a:lnTo>
                  <a:lnTo>
                    <a:pt x="187" y="49"/>
                  </a:lnTo>
                  <a:lnTo>
                    <a:pt x="187" y="46"/>
                  </a:lnTo>
                  <a:lnTo>
                    <a:pt x="187" y="45"/>
                  </a:lnTo>
                  <a:lnTo>
                    <a:pt x="187" y="43"/>
                  </a:lnTo>
                  <a:lnTo>
                    <a:pt x="187" y="42"/>
                  </a:lnTo>
                  <a:lnTo>
                    <a:pt x="187" y="40"/>
                  </a:lnTo>
                  <a:lnTo>
                    <a:pt x="188" y="39"/>
                  </a:lnTo>
                  <a:lnTo>
                    <a:pt x="188" y="37"/>
                  </a:lnTo>
                  <a:lnTo>
                    <a:pt x="189" y="36"/>
                  </a:lnTo>
                  <a:lnTo>
                    <a:pt x="191" y="35"/>
                  </a:lnTo>
                  <a:lnTo>
                    <a:pt x="193" y="32"/>
                  </a:lnTo>
                  <a:lnTo>
                    <a:pt x="197" y="29"/>
                  </a:lnTo>
                  <a:lnTo>
                    <a:pt x="198" y="28"/>
                  </a:lnTo>
                  <a:lnTo>
                    <a:pt x="199" y="26"/>
                  </a:lnTo>
                  <a:lnTo>
                    <a:pt x="201" y="25"/>
                  </a:lnTo>
                  <a:lnTo>
                    <a:pt x="203" y="24"/>
                  </a:lnTo>
                  <a:lnTo>
                    <a:pt x="206" y="24"/>
                  </a:lnTo>
                  <a:lnTo>
                    <a:pt x="208" y="23"/>
                  </a:lnTo>
                  <a:lnTo>
                    <a:pt x="210" y="22"/>
                  </a:lnTo>
                  <a:lnTo>
                    <a:pt x="216" y="22"/>
                  </a:lnTo>
                  <a:lnTo>
                    <a:pt x="218" y="21"/>
                  </a:lnTo>
                  <a:lnTo>
                    <a:pt x="220" y="21"/>
                  </a:lnTo>
                  <a:lnTo>
                    <a:pt x="221" y="20"/>
                  </a:lnTo>
                  <a:lnTo>
                    <a:pt x="223" y="19"/>
                  </a:lnTo>
                  <a:lnTo>
                    <a:pt x="224" y="18"/>
                  </a:lnTo>
                  <a:lnTo>
                    <a:pt x="226" y="17"/>
                  </a:lnTo>
                  <a:lnTo>
                    <a:pt x="232" y="12"/>
                  </a:lnTo>
                  <a:lnTo>
                    <a:pt x="238" y="8"/>
                  </a:lnTo>
                  <a:lnTo>
                    <a:pt x="240" y="6"/>
                  </a:lnTo>
                  <a:lnTo>
                    <a:pt x="241" y="4"/>
                  </a:lnTo>
                  <a:lnTo>
                    <a:pt x="243" y="2"/>
                  </a:lnTo>
                  <a:lnTo>
                    <a:pt x="244" y="1"/>
                  </a:lnTo>
                  <a:lnTo>
                    <a:pt x="244" y="1"/>
                  </a:lnTo>
                  <a:lnTo>
                    <a:pt x="244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9" name="Freeform 56">
              <a:extLst>
                <a:ext uri="{FF2B5EF4-FFF2-40B4-BE49-F238E27FC236}">
                  <a16:creationId xmlns:a16="http://schemas.microsoft.com/office/drawing/2014/main" id="{65F25D59-383A-42D2-8A50-11D5397D69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8" y="2765"/>
              <a:ext cx="459" cy="541"/>
            </a:xfrm>
            <a:custGeom>
              <a:avLst/>
              <a:gdLst>
                <a:gd name="T0" fmla="*/ 420 w 459"/>
                <a:gd name="T1" fmla="*/ 60 h 541"/>
                <a:gd name="T2" fmla="*/ 455 w 459"/>
                <a:gd name="T3" fmla="*/ 108 h 541"/>
                <a:gd name="T4" fmla="*/ 452 w 459"/>
                <a:gd name="T5" fmla="*/ 141 h 541"/>
                <a:gd name="T6" fmla="*/ 434 w 459"/>
                <a:gd name="T7" fmla="*/ 153 h 541"/>
                <a:gd name="T8" fmla="*/ 415 w 459"/>
                <a:gd name="T9" fmla="*/ 155 h 541"/>
                <a:gd name="T10" fmla="*/ 424 w 459"/>
                <a:gd name="T11" fmla="*/ 179 h 541"/>
                <a:gd name="T12" fmla="*/ 455 w 459"/>
                <a:gd name="T13" fmla="*/ 219 h 541"/>
                <a:gd name="T14" fmla="*/ 425 w 459"/>
                <a:gd name="T15" fmla="*/ 232 h 541"/>
                <a:gd name="T16" fmla="*/ 397 w 459"/>
                <a:gd name="T17" fmla="*/ 235 h 541"/>
                <a:gd name="T18" fmla="*/ 380 w 459"/>
                <a:gd name="T19" fmla="*/ 241 h 541"/>
                <a:gd name="T20" fmla="*/ 372 w 459"/>
                <a:gd name="T21" fmla="*/ 269 h 541"/>
                <a:gd name="T22" fmla="*/ 365 w 459"/>
                <a:gd name="T23" fmla="*/ 284 h 541"/>
                <a:gd name="T24" fmla="*/ 366 w 459"/>
                <a:gd name="T25" fmla="*/ 299 h 541"/>
                <a:gd name="T26" fmla="*/ 348 w 459"/>
                <a:gd name="T27" fmla="*/ 315 h 541"/>
                <a:gd name="T28" fmla="*/ 354 w 459"/>
                <a:gd name="T29" fmla="*/ 351 h 541"/>
                <a:gd name="T30" fmla="*/ 339 w 459"/>
                <a:gd name="T31" fmla="*/ 363 h 541"/>
                <a:gd name="T32" fmla="*/ 309 w 459"/>
                <a:gd name="T33" fmla="*/ 345 h 541"/>
                <a:gd name="T34" fmla="*/ 296 w 459"/>
                <a:gd name="T35" fmla="*/ 350 h 541"/>
                <a:gd name="T36" fmla="*/ 289 w 459"/>
                <a:gd name="T37" fmla="*/ 370 h 541"/>
                <a:gd name="T38" fmla="*/ 295 w 459"/>
                <a:gd name="T39" fmla="*/ 403 h 541"/>
                <a:gd name="T40" fmla="*/ 308 w 459"/>
                <a:gd name="T41" fmla="*/ 440 h 541"/>
                <a:gd name="T42" fmla="*/ 306 w 459"/>
                <a:gd name="T43" fmla="*/ 477 h 541"/>
                <a:gd name="T44" fmla="*/ 298 w 459"/>
                <a:gd name="T45" fmla="*/ 520 h 541"/>
                <a:gd name="T46" fmla="*/ 269 w 459"/>
                <a:gd name="T47" fmla="*/ 539 h 541"/>
                <a:gd name="T48" fmla="*/ 238 w 459"/>
                <a:gd name="T49" fmla="*/ 510 h 541"/>
                <a:gd name="T50" fmla="*/ 238 w 459"/>
                <a:gd name="T51" fmla="*/ 494 h 541"/>
                <a:gd name="T52" fmla="*/ 221 w 459"/>
                <a:gd name="T53" fmla="*/ 487 h 541"/>
                <a:gd name="T54" fmla="*/ 185 w 459"/>
                <a:gd name="T55" fmla="*/ 498 h 541"/>
                <a:gd name="T56" fmla="*/ 145 w 459"/>
                <a:gd name="T57" fmla="*/ 494 h 541"/>
                <a:gd name="T58" fmla="*/ 102 w 459"/>
                <a:gd name="T59" fmla="*/ 482 h 541"/>
                <a:gd name="T60" fmla="*/ 70 w 459"/>
                <a:gd name="T61" fmla="*/ 451 h 541"/>
                <a:gd name="T62" fmla="*/ 69 w 459"/>
                <a:gd name="T63" fmla="*/ 407 h 541"/>
                <a:gd name="T64" fmla="*/ 57 w 459"/>
                <a:gd name="T65" fmla="*/ 388 h 541"/>
                <a:gd name="T66" fmla="*/ 15 w 459"/>
                <a:gd name="T67" fmla="*/ 392 h 541"/>
                <a:gd name="T68" fmla="*/ 0 w 459"/>
                <a:gd name="T69" fmla="*/ 386 h 541"/>
                <a:gd name="T70" fmla="*/ 13 w 459"/>
                <a:gd name="T71" fmla="*/ 339 h 541"/>
                <a:gd name="T72" fmla="*/ 26 w 459"/>
                <a:gd name="T73" fmla="*/ 316 h 541"/>
                <a:gd name="T74" fmla="*/ 56 w 459"/>
                <a:gd name="T75" fmla="*/ 317 h 541"/>
                <a:gd name="T76" fmla="*/ 76 w 459"/>
                <a:gd name="T77" fmla="*/ 267 h 541"/>
                <a:gd name="T78" fmla="*/ 80 w 459"/>
                <a:gd name="T79" fmla="*/ 249 h 541"/>
                <a:gd name="T80" fmla="*/ 93 w 459"/>
                <a:gd name="T81" fmla="*/ 237 h 541"/>
                <a:gd name="T82" fmla="*/ 97 w 459"/>
                <a:gd name="T83" fmla="*/ 213 h 541"/>
                <a:gd name="T84" fmla="*/ 114 w 459"/>
                <a:gd name="T85" fmla="*/ 202 h 541"/>
                <a:gd name="T86" fmla="*/ 96 w 459"/>
                <a:gd name="T87" fmla="*/ 178 h 541"/>
                <a:gd name="T88" fmla="*/ 102 w 459"/>
                <a:gd name="T89" fmla="*/ 155 h 541"/>
                <a:gd name="T90" fmla="*/ 89 w 459"/>
                <a:gd name="T91" fmla="*/ 114 h 541"/>
                <a:gd name="T92" fmla="*/ 105 w 459"/>
                <a:gd name="T93" fmla="*/ 72 h 541"/>
                <a:gd name="T94" fmla="*/ 135 w 459"/>
                <a:gd name="T95" fmla="*/ 55 h 541"/>
                <a:gd name="T96" fmla="*/ 186 w 459"/>
                <a:gd name="T97" fmla="*/ 67 h 541"/>
                <a:gd name="T98" fmla="*/ 236 w 459"/>
                <a:gd name="T99" fmla="*/ 75 h 541"/>
                <a:gd name="T100" fmla="*/ 274 w 459"/>
                <a:gd name="T101" fmla="*/ 80 h 541"/>
                <a:gd name="T102" fmla="*/ 275 w 459"/>
                <a:gd name="T103" fmla="*/ 57 h 541"/>
                <a:gd name="T104" fmla="*/ 294 w 459"/>
                <a:gd name="T105" fmla="*/ 30 h 541"/>
                <a:gd name="T106" fmla="*/ 309 w 459"/>
                <a:gd name="T107" fmla="*/ 30 h 541"/>
                <a:gd name="T108" fmla="*/ 339 w 459"/>
                <a:gd name="T109" fmla="*/ 46 h 541"/>
                <a:gd name="T110" fmla="*/ 352 w 459"/>
                <a:gd name="T111" fmla="*/ 32 h 541"/>
                <a:gd name="T112" fmla="*/ 357 w 459"/>
                <a:gd name="T113" fmla="*/ 2 h 541"/>
                <a:gd name="T114" fmla="*/ 380 w 459"/>
                <a:gd name="T115" fmla="*/ 1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9" h="541">
                  <a:moveTo>
                    <a:pt x="459" y="223"/>
                  </a:moveTo>
                  <a:lnTo>
                    <a:pt x="459" y="224"/>
                  </a:lnTo>
                  <a:lnTo>
                    <a:pt x="459" y="223"/>
                  </a:lnTo>
                  <a:lnTo>
                    <a:pt x="458" y="222"/>
                  </a:lnTo>
                  <a:lnTo>
                    <a:pt x="459" y="222"/>
                  </a:lnTo>
                  <a:lnTo>
                    <a:pt x="459" y="223"/>
                  </a:lnTo>
                  <a:close/>
                  <a:moveTo>
                    <a:pt x="401" y="37"/>
                  </a:moveTo>
                  <a:lnTo>
                    <a:pt x="403" y="41"/>
                  </a:lnTo>
                  <a:lnTo>
                    <a:pt x="407" y="45"/>
                  </a:lnTo>
                  <a:lnTo>
                    <a:pt x="411" y="51"/>
                  </a:lnTo>
                  <a:lnTo>
                    <a:pt x="420" y="60"/>
                  </a:lnTo>
                  <a:lnTo>
                    <a:pt x="421" y="63"/>
                  </a:lnTo>
                  <a:lnTo>
                    <a:pt x="429" y="70"/>
                  </a:lnTo>
                  <a:lnTo>
                    <a:pt x="430" y="71"/>
                  </a:lnTo>
                  <a:lnTo>
                    <a:pt x="432" y="73"/>
                  </a:lnTo>
                  <a:lnTo>
                    <a:pt x="432" y="76"/>
                  </a:lnTo>
                  <a:lnTo>
                    <a:pt x="438" y="86"/>
                  </a:lnTo>
                  <a:lnTo>
                    <a:pt x="440" y="89"/>
                  </a:lnTo>
                  <a:lnTo>
                    <a:pt x="442" y="91"/>
                  </a:lnTo>
                  <a:lnTo>
                    <a:pt x="443" y="93"/>
                  </a:lnTo>
                  <a:lnTo>
                    <a:pt x="444" y="96"/>
                  </a:lnTo>
                  <a:lnTo>
                    <a:pt x="455" y="108"/>
                  </a:lnTo>
                  <a:lnTo>
                    <a:pt x="456" y="111"/>
                  </a:lnTo>
                  <a:lnTo>
                    <a:pt x="457" y="113"/>
                  </a:lnTo>
                  <a:lnTo>
                    <a:pt x="457" y="114"/>
                  </a:lnTo>
                  <a:lnTo>
                    <a:pt x="457" y="116"/>
                  </a:lnTo>
                  <a:lnTo>
                    <a:pt x="457" y="118"/>
                  </a:lnTo>
                  <a:lnTo>
                    <a:pt x="457" y="119"/>
                  </a:lnTo>
                  <a:lnTo>
                    <a:pt x="456" y="124"/>
                  </a:lnTo>
                  <a:lnTo>
                    <a:pt x="455" y="129"/>
                  </a:lnTo>
                  <a:lnTo>
                    <a:pt x="455" y="135"/>
                  </a:lnTo>
                  <a:lnTo>
                    <a:pt x="453" y="139"/>
                  </a:lnTo>
                  <a:lnTo>
                    <a:pt x="452" y="141"/>
                  </a:lnTo>
                  <a:lnTo>
                    <a:pt x="451" y="143"/>
                  </a:lnTo>
                  <a:lnTo>
                    <a:pt x="450" y="145"/>
                  </a:lnTo>
                  <a:lnTo>
                    <a:pt x="449" y="147"/>
                  </a:lnTo>
                  <a:lnTo>
                    <a:pt x="448" y="147"/>
                  </a:lnTo>
                  <a:lnTo>
                    <a:pt x="447" y="149"/>
                  </a:lnTo>
                  <a:lnTo>
                    <a:pt x="446" y="149"/>
                  </a:lnTo>
                  <a:lnTo>
                    <a:pt x="445" y="150"/>
                  </a:lnTo>
                  <a:lnTo>
                    <a:pt x="443" y="151"/>
                  </a:lnTo>
                  <a:lnTo>
                    <a:pt x="440" y="152"/>
                  </a:lnTo>
                  <a:lnTo>
                    <a:pt x="436" y="153"/>
                  </a:lnTo>
                  <a:lnTo>
                    <a:pt x="434" y="153"/>
                  </a:lnTo>
                  <a:lnTo>
                    <a:pt x="432" y="152"/>
                  </a:lnTo>
                  <a:lnTo>
                    <a:pt x="429" y="152"/>
                  </a:lnTo>
                  <a:lnTo>
                    <a:pt x="421" y="151"/>
                  </a:lnTo>
                  <a:lnTo>
                    <a:pt x="420" y="151"/>
                  </a:lnTo>
                  <a:lnTo>
                    <a:pt x="418" y="151"/>
                  </a:lnTo>
                  <a:lnTo>
                    <a:pt x="417" y="151"/>
                  </a:lnTo>
                  <a:lnTo>
                    <a:pt x="415" y="152"/>
                  </a:lnTo>
                  <a:lnTo>
                    <a:pt x="415" y="153"/>
                  </a:lnTo>
                  <a:lnTo>
                    <a:pt x="414" y="153"/>
                  </a:lnTo>
                  <a:lnTo>
                    <a:pt x="414" y="154"/>
                  </a:lnTo>
                  <a:lnTo>
                    <a:pt x="415" y="155"/>
                  </a:lnTo>
                  <a:lnTo>
                    <a:pt x="416" y="158"/>
                  </a:lnTo>
                  <a:lnTo>
                    <a:pt x="417" y="159"/>
                  </a:lnTo>
                  <a:lnTo>
                    <a:pt x="419" y="162"/>
                  </a:lnTo>
                  <a:lnTo>
                    <a:pt x="420" y="165"/>
                  </a:lnTo>
                  <a:lnTo>
                    <a:pt x="421" y="172"/>
                  </a:lnTo>
                  <a:lnTo>
                    <a:pt x="422" y="173"/>
                  </a:lnTo>
                  <a:lnTo>
                    <a:pt x="422" y="176"/>
                  </a:lnTo>
                  <a:lnTo>
                    <a:pt x="422" y="177"/>
                  </a:lnTo>
                  <a:lnTo>
                    <a:pt x="423" y="177"/>
                  </a:lnTo>
                  <a:lnTo>
                    <a:pt x="423" y="178"/>
                  </a:lnTo>
                  <a:lnTo>
                    <a:pt x="424" y="179"/>
                  </a:lnTo>
                  <a:lnTo>
                    <a:pt x="428" y="181"/>
                  </a:lnTo>
                  <a:lnTo>
                    <a:pt x="430" y="181"/>
                  </a:lnTo>
                  <a:lnTo>
                    <a:pt x="431" y="182"/>
                  </a:lnTo>
                  <a:lnTo>
                    <a:pt x="433" y="185"/>
                  </a:lnTo>
                  <a:lnTo>
                    <a:pt x="435" y="189"/>
                  </a:lnTo>
                  <a:lnTo>
                    <a:pt x="437" y="192"/>
                  </a:lnTo>
                  <a:lnTo>
                    <a:pt x="445" y="204"/>
                  </a:lnTo>
                  <a:lnTo>
                    <a:pt x="449" y="210"/>
                  </a:lnTo>
                  <a:lnTo>
                    <a:pt x="454" y="215"/>
                  </a:lnTo>
                  <a:lnTo>
                    <a:pt x="456" y="219"/>
                  </a:lnTo>
                  <a:lnTo>
                    <a:pt x="455" y="219"/>
                  </a:lnTo>
                  <a:lnTo>
                    <a:pt x="455" y="219"/>
                  </a:lnTo>
                  <a:lnTo>
                    <a:pt x="453" y="219"/>
                  </a:lnTo>
                  <a:lnTo>
                    <a:pt x="451" y="220"/>
                  </a:lnTo>
                  <a:lnTo>
                    <a:pt x="443" y="226"/>
                  </a:lnTo>
                  <a:lnTo>
                    <a:pt x="441" y="227"/>
                  </a:lnTo>
                  <a:lnTo>
                    <a:pt x="439" y="228"/>
                  </a:lnTo>
                  <a:lnTo>
                    <a:pt x="437" y="229"/>
                  </a:lnTo>
                  <a:lnTo>
                    <a:pt x="432" y="231"/>
                  </a:lnTo>
                  <a:lnTo>
                    <a:pt x="429" y="231"/>
                  </a:lnTo>
                  <a:lnTo>
                    <a:pt x="427" y="232"/>
                  </a:lnTo>
                  <a:lnTo>
                    <a:pt x="425" y="232"/>
                  </a:lnTo>
                  <a:lnTo>
                    <a:pt x="423" y="232"/>
                  </a:lnTo>
                  <a:lnTo>
                    <a:pt x="421" y="232"/>
                  </a:lnTo>
                  <a:lnTo>
                    <a:pt x="420" y="232"/>
                  </a:lnTo>
                  <a:lnTo>
                    <a:pt x="414" y="230"/>
                  </a:lnTo>
                  <a:lnTo>
                    <a:pt x="411" y="230"/>
                  </a:lnTo>
                  <a:lnTo>
                    <a:pt x="409" y="230"/>
                  </a:lnTo>
                  <a:lnTo>
                    <a:pt x="407" y="230"/>
                  </a:lnTo>
                  <a:lnTo>
                    <a:pt x="404" y="231"/>
                  </a:lnTo>
                  <a:lnTo>
                    <a:pt x="402" y="232"/>
                  </a:lnTo>
                  <a:lnTo>
                    <a:pt x="400" y="233"/>
                  </a:lnTo>
                  <a:lnTo>
                    <a:pt x="397" y="235"/>
                  </a:lnTo>
                  <a:lnTo>
                    <a:pt x="394" y="236"/>
                  </a:lnTo>
                  <a:lnTo>
                    <a:pt x="393" y="237"/>
                  </a:lnTo>
                  <a:lnTo>
                    <a:pt x="391" y="237"/>
                  </a:lnTo>
                  <a:lnTo>
                    <a:pt x="390" y="237"/>
                  </a:lnTo>
                  <a:lnTo>
                    <a:pt x="389" y="238"/>
                  </a:lnTo>
                  <a:lnTo>
                    <a:pt x="387" y="238"/>
                  </a:lnTo>
                  <a:lnTo>
                    <a:pt x="386" y="238"/>
                  </a:lnTo>
                  <a:lnTo>
                    <a:pt x="385" y="239"/>
                  </a:lnTo>
                  <a:lnTo>
                    <a:pt x="382" y="239"/>
                  </a:lnTo>
                  <a:lnTo>
                    <a:pt x="381" y="240"/>
                  </a:lnTo>
                  <a:lnTo>
                    <a:pt x="380" y="241"/>
                  </a:lnTo>
                  <a:lnTo>
                    <a:pt x="379" y="241"/>
                  </a:lnTo>
                  <a:lnTo>
                    <a:pt x="379" y="242"/>
                  </a:lnTo>
                  <a:lnTo>
                    <a:pt x="378" y="245"/>
                  </a:lnTo>
                  <a:lnTo>
                    <a:pt x="378" y="248"/>
                  </a:lnTo>
                  <a:lnTo>
                    <a:pt x="377" y="255"/>
                  </a:lnTo>
                  <a:lnTo>
                    <a:pt x="377" y="258"/>
                  </a:lnTo>
                  <a:lnTo>
                    <a:pt x="376" y="260"/>
                  </a:lnTo>
                  <a:lnTo>
                    <a:pt x="375" y="263"/>
                  </a:lnTo>
                  <a:lnTo>
                    <a:pt x="375" y="264"/>
                  </a:lnTo>
                  <a:lnTo>
                    <a:pt x="375" y="266"/>
                  </a:lnTo>
                  <a:lnTo>
                    <a:pt x="372" y="269"/>
                  </a:lnTo>
                  <a:lnTo>
                    <a:pt x="371" y="270"/>
                  </a:lnTo>
                  <a:lnTo>
                    <a:pt x="370" y="271"/>
                  </a:lnTo>
                  <a:lnTo>
                    <a:pt x="367" y="272"/>
                  </a:lnTo>
                  <a:lnTo>
                    <a:pt x="366" y="272"/>
                  </a:lnTo>
                  <a:lnTo>
                    <a:pt x="366" y="273"/>
                  </a:lnTo>
                  <a:lnTo>
                    <a:pt x="365" y="274"/>
                  </a:lnTo>
                  <a:lnTo>
                    <a:pt x="365" y="275"/>
                  </a:lnTo>
                  <a:lnTo>
                    <a:pt x="365" y="277"/>
                  </a:lnTo>
                  <a:lnTo>
                    <a:pt x="365" y="280"/>
                  </a:lnTo>
                  <a:lnTo>
                    <a:pt x="365" y="283"/>
                  </a:lnTo>
                  <a:lnTo>
                    <a:pt x="365" y="284"/>
                  </a:lnTo>
                  <a:lnTo>
                    <a:pt x="365" y="286"/>
                  </a:lnTo>
                  <a:lnTo>
                    <a:pt x="365" y="288"/>
                  </a:lnTo>
                  <a:lnTo>
                    <a:pt x="366" y="289"/>
                  </a:lnTo>
                  <a:lnTo>
                    <a:pt x="367" y="292"/>
                  </a:lnTo>
                  <a:lnTo>
                    <a:pt x="368" y="294"/>
                  </a:lnTo>
                  <a:lnTo>
                    <a:pt x="368" y="294"/>
                  </a:lnTo>
                  <a:lnTo>
                    <a:pt x="368" y="295"/>
                  </a:lnTo>
                  <a:lnTo>
                    <a:pt x="368" y="296"/>
                  </a:lnTo>
                  <a:lnTo>
                    <a:pt x="367" y="297"/>
                  </a:lnTo>
                  <a:lnTo>
                    <a:pt x="367" y="298"/>
                  </a:lnTo>
                  <a:lnTo>
                    <a:pt x="366" y="299"/>
                  </a:lnTo>
                  <a:lnTo>
                    <a:pt x="365" y="300"/>
                  </a:lnTo>
                  <a:lnTo>
                    <a:pt x="364" y="301"/>
                  </a:lnTo>
                  <a:lnTo>
                    <a:pt x="364" y="302"/>
                  </a:lnTo>
                  <a:lnTo>
                    <a:pt x="359" y="304"/>
                  </a:lnTo>
                  <a:lnTo>
                    <a:pt x="357" y="306"/>
                  </a:lnTo>
                  <a:lnTo>
                    <a:pt x="354" y="306"/>
                  </a:lnTo>
                  <a:lnTo>
                    <a:pt x="353" y="308"/>
                  </a:lnTo>
                  <a:lnTo>
                    <a:pt x="351" y="310"/>
                  </a:lnTo>
                  <a:lnTo>
                    <a:pt x="350" y="312"/>
                  </a:lnTo>
                  <a:lnTo>
                    <a:pt x="349" y="313"/>
                  </a:lnTo>
                  <a:lnTo>
                    <a:pt x="348" y="315"/>
                  </a:lnTo>
                  <a:lnTo>
                    <a:pt x="348" y="317"/>
                  </a:lnTo>
                  <a:lnTo>
                    <a:pt x="348" y="318"/>
                  </a:lnTo>
                  <a:lnTo>
                    <a:pt x="348" y="320"/>
                  </a:lnTo>
                  <a:lnTo>
                    <a:pt x="349" y="323"/>
                  </a:lnTo>
                  <a:lnTo>
                    <a:pt x="350" y="328"/>
                  </a:lnTo>
                  <a:lnTo>
                    <a:pt x="353" y="336"/>
                  </a:lnTo>
                  <a:lnTo>
                    <a:pt x="353" y="340"/>
                  </a:lnTo>
                  <a:lnTo>
                    <a:pt x="354" y="344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51"/>
                  </a:lnTo>
                  <a:lnTo>
                    <a:pt x="353" y="354"/>
                  </a:lnTo>
                  <a:lnTo>
                    <a:pt x="353" y="355"/>
                  </a:lnTo>
                  <a:lnTo>
                    <a:pt x="353" y="357"/>
                  </a:lnTo>
                  <a:lnTo>
                    <a:pt x="352" y="359"/>
                  </a:lnTo>
                  <a:lnTo>
                    <a:pt x="351" y="360"/>
                  </a:lnTo>
                  <a:lnTo>
                    <a:pt x="349" y="361"/>
                  </a:lnTo>
                  <a:lnTo>
                    <a:pt x="348" y="362"/>
                  </a:lnTo>
                  <a:lnTo>
                    <a:pt x="346" y="362"/>
                  </a:lnTo>
                  <a:lnTo>
                    <a:pt x="343" y="363"/>
                  </a:lnTo>
                  <a:lnTo>
                    <a:pt x="341" y="363"/>
                  </a:lnTo>
                  <a:lnTo>
                    <a:pt x="339" y="363"/>
                  </a:lnTo>
                  <a:lnTo>
                    <a:pt x="337" y="362"/>
                  </a:lnTo>
                  <a:lnTo>
                    <a:pt x="334" y="362"/>
                  </a:lnTo>
                  <a:lnTo>
                    <a:pt x="331" y="361"/>
                  </a:lnTo>
                  <a:lnTo>
                    <a:pt x="330" y="360"/>
                  </a:lnTo>
                  <a:lnTo>
                    <a:pt x="326" y="359"/>
                  </a:lnTo>
                  <a:lnTo>
                    <a:pt x="324" y="357"/>
                  </a:lnTo>
                  <a:lnTo>
                    <a:pt x="322" y="356"/>
                  </a:lnTo>
                  <a:lnTo>
                    <a:pt x="320" y="354"/>
                  </a:lnTo>
                  <a:lnTo>
                    <a:pt x="318" y="352"/>
                  </a:lnTo>
                  <a:lnTo>
                    <a:pt x="313" y="348"/>
                  </a:lnTo>
                  <a:lnTo>
                    <a:pt x="309" y="345"/>
                  </a:lnTo>
                  <a:lnTo>
                    <a:pt x="307" y="343"/>
                  </a:lnTo>
                  <a:lnTo>
                    <a:pt x="307" y="343"/>
                  </a:lnTo>
                  <a:lnTo>
                    <a:pt x="306" y="343"/>
                  </a:lnTo>
                  <a:lnTo>
                    <a:pt x="304" y="343"/>
                  </a:lnTo>
                  <a:lnTo>
                    <a:pt x="303" y="343"/>
                  </a:lnTo>
                  <a:lnTo>
                    <a:pt x="301" y="344"/>
                  </a:lnTo>
                  <a:lnTo>
                    <a:pt x="300" y="345"/>
                  </a:lnTo>
                  <a:lnTo>
                    <a:pt x="299" y="346"/>
                  </a:lnTo>
                  <a:lnTo>
                    <a:pt x="298" y="348"/>
                  </a:lnTo>
                  <a:lnTo>
                    <a:pt x="297" y="349"/>
                  </a:lnTo>
                  <a:lnTo>
                    <a:pt x="296" y="350"/>
                  </a:lnTo>
                  <a:lnTo>
                    <a:pt x="296" y="351"/>
                  </a:lnTo>
                  <a:lnTo>
                    <a:pt x="295" y="355"/>
                  </a:lnTo>
                  <a:lnTo>
                    <a:pt x="295" y="357"/>
                  </a:lnTo>
                  <a:lnTo>
                    <a:pt x="294" y="358"/>
                  </a:lnTo>
                  <a:lnTo>
                    <a:pt x="291" y="362"/>
                  </a:lnTo>
                  <a:lnTo>
                    <a:pt x="290" y="362"/>
                  </a:lnTo>
                  <a:lnTo>
                    <a:pt x="289" y="364"/>
                  </a:lnTo>
                  <a:lnTo>
                    <a:pt x="289" y="366"/>
                  </a:lnTo>
                  <a:lnTo>
                    <a:pt x="289" y="367"/>
                  </a:lnTo>
                  <a:lnTo>
                    <a:pt x="289" y="368"/>
                  </a:lnTo>
                  <a:lnTo>
                    <a:pt x="289" y="370"/>
                  </a:lnTo>
                  <a:lnTo>
                    <a:pt x="289" y="372"/>
                  </a:lnTo>
                  <a:lnTo>
                    <a:pt x="289" y="374"/>
                  </a:lnTo>
                  <a:lnTo>
                    <a:pt x="290" y="376"/>
                  </a:lnTo>
                  <a:lnTo>
                    <a:pt x="293" y="383"/>
                  </a:lnTo>
                  <a:lnTo>
                    <a:pt x="294" y="385"/>
                  </a:lnTo>
                  <a:lnTo>
                    <a:pt x="294" y="387"/>
                  </a:lnTo>
                  <a:lnTo>
                    <a:pt x="295" y="389"/>
                  </a:lnTo>
                  <a:lnTo>
                    <a:pt x="295" y="392"/>
                  </a:lnTo>
                  <a:lnTo>
                    <a:pt x="295" y="398"/>
                  </a:lnTo>
                  <a:lnTo>
                    <a:pt x="295" y="401"/>
                  </a:lnTo>
                  <a:lnTo>
                    <a:pt x="295" y="403"/>
                  </a:lnTo>
                  <a:lnTo>
                    <a:pt x="295" y="405"/>
                  </a:lnTo>
                  <a:lnTo>
                    <a:pt x="296" y="407"/>
                  </a:lnTo>
                  <a:lnTo>
                    <a:pt x="296" y="408"/>
                  </a:lnTo>
                  <a:lnTo>
                    <a:pt x="297" y="410"/>
                  </a:lnTo>
                  <a:lnTo>
                    <a:pt x="300" y="414"/>
                  </a:lnTo>
                  <a:lnTo>
                    <a:pt x="301" y="416"/>
                  </a:lnTo>
                  <a:lnTo>
                    <a:pt x="302" y="418"/>
                  </a:lnTo>
                  <a:lnTo>
                    <a:pt x="303" y="421"/>
                  </a:lnTo>
                  <a:lnTo>
                    <a:pt x="304" y="425"/>
                  </a:lnTo>
                  <a:lnTo>
                    <a:pt x="307" y="433"/>
                  </a:lnTo>
                  <a:lnTo>
                    <a:pt x="308" y="440"/>
                  </a:lnTo>
                  <a:lnTo>
                    <a:pt x="309" y="442"/>
                  </a:lnTo>
                  <a:lnTo>
                    <a:pt x="310" y="445"/>
                  </a:lnTo>
                  <a:lnTo>
                    <a:pt x="310" y="448"/>
                  </a:lnTo>
                  <a:lnTo>
                    <a:pt x="310" y="451"/>
                  </a:lnTo>
                  <a:lnTo>
                    <a:pt x="310" y="453"/>
                  </a:lnTo>
                  <a:lnTo>
                    <a:pt x="310" y="456"/>
                  </a:lnTo>
                  <a:lnTo>
                    <a:pt x="309" y="459"/>
                  </a:lnTo>
                  <a:lnTo>
                    <a:pt x="309" y="462"/>
                  </a:lnTo>
                  <a:lnTo>
                    <a:pt x="307" y="471"/>
                  </a:lnTo>
                  <a:lnTo>
                    <a:pt x="307" y="475"/>
                  </a:lnTo>
                  <a:lnTo>
                    <a:pt x="306" y="477"/>
                  </a:lnTo>
                  <a:lnTo>
                    <a:pt x="306" y="482"/>
                  </a:lnTo>
                  <a:lnTo>
                    <a:pt x="306" y="491"/>
                  </a:lnTo>
                  <a:lnTo>
                    <a:pt x="306" y="494"/>
                  </a:lnTo>
                  <a:lnTo>
                    <a:pt x="306" y="496"/>
                  </a:lnTo>
                  <a:lnTo>
                    <a:pt x="304" y="502"/>
                  </a:lnTo>
                  <a:lnTo>
                    <a:pt x="303" y="510"/>
                  </a:lnTo>
                  <a:lnTo>
                    <a:pt x="302" y="512"/>
                  </a:lnTo>
                  <a:lnTo>
                    <a:pt x="301" y="514"/>
                  </a:lnTo>
                  <a:lnTo>
                    <a:pt x="300" y="517"/>
                  </a:lnTo>
                  <a:lnTo>
                    <a:pt x="299" y="519"/>
                  </a:lnTo>
                  <a:lnTo>
                    <a:pt x="298" y="520"/>
                  </a:lnTo>
                  <a:lnTo>
                    <a:pt x="296" y="521"/>
                  </a:lnTo>
                  <a:lnTo>
                    <a:pt x="288" y="530"/>
                  </a:lnTo>
                  <a:lnTo>
                    <a:pt x="282" y="534"/>
                  </a:lnTo>
                  <a:lnTo>
                    <a:pt x="278" y="538"/>
                  </a:lnTo>
                  <a:lnTo>
                    <a:pt x="275" y="540"/>
                  </a:lnTo>
                  <a:lnTo>
                    <a:pt x="274" y="540"/>
                  </a:lnTo>
                  <a:lnTo>
                    <a:pt x="273" y="541"/>
                  </a:lnTo>
                  <a:lnTo>
                    <a:pt x="272" y="541"/>
                  </a:lnTo>
                  <a:lnTo>
                    <a:pt x="271" y="541"/>
                  </a:lnTo>
                  <a:lnTo>
                    <a:pt x="270" y="540"/>
                  </a:lnTo>
                  <a:lnTo>
                    <a:pt x="269" y="539"/>
                  </a:lnTo>
                  <a:lnTo>
                    <a:pt x="263" y="533"/>
                  </a:lnTo>
                  <a:lnTo>
                    <a:pt x="259" y="527"/>
                  </a:lnTo>
                  <a:lnTo>
                    <a:pt x="256" y="524"/>
                  </a:lnTo>
                  <a:lnTo>
                    <a:pt x="254" y="523"/>
                  </a:lnTo>
                  <a:lnTo>
                    <a:pt x="252" y="521"/>
                  </a:lnTo>
                  <a:lnTo>
                    <a:pt x="247" y="518"/>
                  </a:lnTo>
                  <a:lnTo>
                    <a:pt x="244" y="516"/>
                  </a:lnTo>
                  <a:lnTo>
                    <a:pt x="241" y="514"/>
                  </a:lnTo>
                  <a:lnTo>
                    <a:pt x="239" y="511"/>
                  </a:lnTo>
                  <a:lnTo>
                    <a:pt x="239" y="510"/>
                  </a:lnTo>
                  <a:lnTo>
                    <a:pt x="238" y="510"/>
                  </a:lnTo>
                  <a:lnTo>
                    <a:pt x="238" y="508"/>
                  </a:lnTo>
                  <a:lnTo>
                    <a:pt x="238" y="507"/>
                  </a:lnTo>
                  <a:lnTo>
                    <a:pt x="238" y="506"/>
                  </a:lnTo>
                  <a:lnTo>
                    <a:pt x="238" y="505"/>
                  </a:lnTo>
                  <a:lnTo>
                    <a:pt x="239" y="501"/>
                  </a:lnTo>
                  <a:lnTo>
                    <a:pt x="239" y="500"/>
                  </a:lnTo>
                  <a:lnTo>
                    <a:pt x="239" y="498"/>
                  </a:lnTo>
                  <a:lnTo>
                    <a:pt x="239" y="498"/>
                  </a:lnTo>
                  <a:lnTo>
                    <a:pt x="239" y="496"/>
                  </a:lnTo>
                  <a:lnTo>
                    <a:pt x="239" y="495"/>
                  </a:lnTo>
                  <a:lnTo>
                    <a:pt x="238" y="494"/>
                  </a:lnTo>
                  <a:lnTo>
                    <a:pt x="237" y="494"/>
                  </a:lnTo>
                  <a:lnTo>
                    <a:pt x="237" y="493"/>
                  </a:lnTo>
                  <a:lnTo>
                    <a:pt x="236" y="492"/>
                  </a:lnTo>
                  <a:lnTo>
                    <a:pt x="232" y="490"/>
                  </a:lnTo>
                  <a:lnTo>
                    <a:pt x="229" y="488"/>
                  </a:lnTo>
                  <a:lnTo>
                    <a:pt x="228" y="487"/>
                  </a:lnTo>
                  <a:lnTo>
                    <a:pt x="227" y="487"/>
                  </a:lnTo>
                  <a:lnTo>
                    <a:pt x="226" y="487"/>
                  </a:lnTo>
                  <a:lnTo>
                    <a:pt x="225" y="487"/>
                  </a:lnTo>
                  <a:lnTo>
                    <a:pt x="223" y="487"/>
                  </a:lnTo>
                  <a:lnTo>
                    <a:pt x="221" y="487"/>
                  </a:lnTo>
                  <a:lnTo>
                    <a:pt x="220" y="487"/>
                  </a:lnTo>
                  <a:lnTo>
                    <a:pt x="216" y="489"/>
                  </a:lnTo>
                  <a:lnTo>
                    <a:pt x="215" y="490"/>
                  </a:lnTo>
                  <a:lnTo>
                    <a:pt x="212" y="491"/>
                  </a:lnTo>
                  <a:lnTo>
                    <a:pt x="205" y="492"/>
                  </a:lnTo>
                  <a:lnTo>
                    <a:pt x="203" y="493"/>
                  </a:lnTo>
                  <a:lnTo>
                    <a:pt x="199" y="494"/>
                  </a:lnTo>
                  <a:lnTo>
                    <a:pt x="193" y="497"/>
                  </a:lnTo>
                  <a:lnTo>
                    <a:pt x="190" y="498"/>
                  </a:lnTo>
                  <a:lnTo>
                    <a:pt x="188" y="498"/>
                  </a:lnTo>
                  <a:lnTo>
                    <a:pt x="185" y="498"/>
                  </a:lnTo>
                  <a:lnTo>
                    <a:pt x="183" y="498"/>
                  </a:lnTo>
                  <a:lnTo>
                    <a:pt x="181" y="498"/>
                  </a:lnTo>
                  <a:lnTo>
                    <a:pt x="176" y="498"/>
                  </a:lnTo>
                  <a:lnTo>
                    <a:pt x="172" y="498"/>
                  </a:lnTo>
                  <a:lnTo>
                    <a:pt x="167" y="498"/>
                  </a:lnTo>
                  <a:lnTo>
                    <a:pt x="164" y="498"/>
                  </a:lnTo>
                  <a:lnTo>
                    <a:pt x="161" y="498"/>
                  </a:lnTo>
                  <a:lnTo>
                    <a:pt x="159" y="498"/>
                  </a:lnTo>
                  <a:lnTo>
                    <a:pt x="148" y="495"/>
                  </a:lnTo>
                  <a:lnTo>
                    <a:pt x="147" y="494"/>
                  </a:lnTo>
                  <a:lnTo>
                    <a:pt x="145" y="494"/>
                  </a:lnTo>
                  <a:lnTo>
                    <a:pt x="142" y="494"/>
                  </a:lnTo>
                  <a:lnTo>
                    <a:pt x="140" y="494"/>
                  </a:lnTo>
                  <a:lnTo>
                    <a:pt x="137" y="495"/>
                  </a:lnTo>
                  <a:lnTo>
                    <a:pt x="133" y="497"/>
                  </a:lnTo>
                  <a:lnTo>
                    <a:pt x="131" y="497"/>
                  </a:lnTo>
                  <a:lnTo>
                    <a:pt x="130" y="497"/>
                  </a:lnTo>
                  <a:lnTo>
                    <a:pt x="128" y="497"/>
                  </a:lnTo>
                  <a:lnTo>
                    <a:pt x="127" y="496"/>
                  </a:lnTo>
                  <a:lnTo>
                    <a:pt x="119" y="492"/>
                  </a:lnTo>
                  <a:lnTo>
                    <a:pt x="105" y="484"/>
                  </a:lnTo>
                  <a:lnTo>
                    <a:pt x="102" y="482"/>
                  </a:lnTo>
                  <a:lnTo>
                    <a:pt x="100" y="480"/>
                  </a:lnTo>
                  <a:lnTo>
                    <a:pt x="98" y="478"/>
                  </a:lnTo>
                  <a:lnTo>
                    <a:pt x="91" y="472"/>
                  </a:lnTo>
                  <a:lnTo>
                    <a:pt x="90" y="471"/>
                  </a:lnTo>
                  <a:lnTo>
                    <a:pt x="83" y="466"/>
                  </a:lnTo>
                  <a:lnTo>
                    <a:pt x="78" y="461"/>
                  </a:lnTo>
                  <a:lnTo>
                    <a:pt x="76" y="459"/>
                  </a:lnTo>
                  <a:lnTo>
                    <a:pt x="75" y="457"/>
                  </a:lnTo>
                  <a:lnTo>
                    <a:pt x="73" y="456"/>
                  </a:lnTo>
                  <a:lnTo>
                    <a:pt x="72" y="454"/>
                  </a:lnTo>
                  <a:lnTo>
                    <a:pt x="70" y="451"/>
                  </a:lnTo>
                  <a:lnTo>
                    <a:pt x="69" y="447"/>
                  </a:lnTo>
                  <a:lnTo>
                    <a:pt x="68" y="445"/>
                  </a:lnTo>
                  <a:lnTo>
                    <a:pt x="68" y="442"/>
                  </a:lnTo>
                  <a:lnTo>
                    <a:pt x="68" y="440"/>
                  </a:lnTo>
                  <a:lnTo>
                    <a:pt x="68" y="435"/>
                  </a:lnTo>
                  <a:lnTo>
                    <a:pt x="68" y="431"/>
                  </a:lnTo>
                  <a:lnTo>
                    <a:pt x="69" y="424"/>
                  </a:lnTo>
                  <a:lnTo>
                    <a:pt x="70" y="419"/>
                  </a:lnTo>
                  <a:lnTo>
                    <a:pt x="70" y="415"/>
                  </a:lnTo>
                  <a:lnTo>
                    <a:pt x="69" y="410"/>
                  </a:lnTo>
                  <a:lnTo>
                    <a:pt x="69" y="407"/>
                  </a:lnTo>
                  <a:lnTo>
                    <a:pt x="68" y="403"/>
                  </a:lnTo>
                  <a:lnTo>
                    <a:pt x="68" y="399"/>
                  </a:lnTo>
                  <a:lnTo>
                    <a:pt x="67" y="396"/>
                  </a:lnTo>
                  <a:lnTo>
                    <a:pt x="66" y="395"/>
                  </a:lnTo>
                  <a:lnTo>
                    <a:pt x="65" y="394"/>
                  </a:lnTo>
                  <a:lnTo>
                    <a:pt x="64" y="392"/>
                  </a:lnTo>
                  <a:lnTo>
                    <a:pt x="63" y="391"/>
                  </a:lnTo>
                  <a:lnTo>
                    <a:pt x="62" y="390"/>
                  </a:lnTo>
                  <a:lnTo>
                    <a:pt x="60" y="389"/>
                  </a:lnTo>
                  <a:lnTo>
                    <a:pt x="59" y="388"/>
                  </a:lnTo>
                  <a:lnTo>
                    <a:pt x="57" y="388"/>
                  </a:lnTo>
                  <a:lnTo>
                    <a:pt x="56" y="387"/>
                  </a:lnTo>
                  <a:lnTo>
                    <a:pt x="53" y="387"/>
                  </a:lnTo>
                  <a:lnTo>
                    <a:pt x="51" y="386"/>
                  </a:lnTo>
                  <a:lnTo>
                    <a:pt x="48" y="386"/>
                  </a:lnTo>
                  <a:lnTo>
                    <a:pt x="46" y="387"/>
                  </a:lnTo>
                  <a:lnTo>
                    <a:pt x="39" y="388"/>
                  </a:lnTo>
                  <a:lnTo>
                    <a:pt x="32" y="388"/>
                  </a:lnTo>
                  <a:lnTo>
                    <a:pt x="29" y="389"/>
                  </a:lnTo>
                  <a:lnTo>
                    <a:pt x="25" y="389"/>
                  </a:lnTo>
                  <a:lnTo>
                    <a:pt x="19" y="391"/>
                  </a:lnTo>
                  <a:lnTo>
                    <a:pt x="15" y="392"/>
                  </a:lnTo>
                  <a:lnTo>
                    <a:pt x="11" y="392"/>
                  </a:lnTo>
                  <a:lnTo>
                    <a:pt x="5" y="392"/>
                  </a:lnTo>
                  <a:lnTo>
                    <a:pt x="3" y="392"/>
                  </a:lnTo>
                  <a:lnTo>
                    <a:pt x="2" y="392"/>
                  </a:lnTo>
                  <a:lnTo>
                    <a:pt x="1" y="392"/>
                  </a:lnTo>
                  <a:lnTo>
                    <a:pt x="0" y="391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0" y="388"/>
                  </a:lnTo>
                  <a:lnTo>
                    <a:pt x="0" y="387"/>
                  </a:lnTo>
                  <a:lnTo>
                    <a:pt x="0" y="386"/>
                  </a:lnTo>
                  <a:lnTo>
                    <a:pt x="3" y="380"/>
                  </a:lnTo>
                  <a:lnTo>
                    <a:pt x="6" y="375"/>
                  </a:lnTo>
                  <a:lnTo>
                    <a:pt x="9" y="369"/>
                  </a:lnTo>
                  <a:lnTo>
                    <a:pt x="11" y="363"/>
                  </a:lnTo>
                  <a:lnTo>
                    <a:pt x="11" y="360"/>
                  </a:lnTo>
                  <a:lnTo>
                    <a:pt x="12" y="356"/>
                  </a:lnTo>
                  <a:lnTo>
                    <a:pt x="12" y="352"/>
                  </a:lnTo>
                  <a:lnTo>
                    <a:pt x="12" y="347"/>
                  </a:lnTo>
                  <a:lnTo>
                    <a:pt x="12" y="345"/>
                  </a:lnTo>
                  <a:lnTo>
                    <a:pt x="13" y="342"/>
                  </a:lnTo>
                  <a:lnTo>
                    <a:pt x="13" y="339"/>
                  </a:lnTo>
                  <a:lnTo>
                    <a:pt x="14" y="335"/>
                  </a:lnTo>
                  <a:lnTo>
                    <a:pt x="16" y="329"/>
                  </a:lnTo>
                  <a:lnTo>
                    <a:pt x="18" y="324"/>
                  </a:lnTo>
                  <a:lnTo>
                    <a:pt x="19" y="322"/>
                  </a:lnTo>
                  <a:lnTo>
                    <a:pt x="20" y="321"/>
                  </a:lnTo>
                  <a:lnTo>
                    <a:pt x="21" y="319"/>
                  </a:lnTo>
                  <a:lnTo>
                    <a:pt x="22" y="319"/>
                  </a:lnTo>
                  <a:lnTo>
                    <a:pt x="23" y="318"/>
                  </a:lnTo>
                  <a:lnTo>
                    <a:pt x="23" y="317"/>
                  </a:lnTo>
                  <a:lnTo>
                    <a:pt x="24" y="317"/>
                  </a:lnTo>
                  <a:lnTo>
                    <a:pt x="26" y="316"/>
                  </a:lnTo>
                  <a:lnTo>
                    <a:pt x="27" y="316"/>
                  </a:lnTo>
                  <a:lnTo>
                    <a:pt x="29" y="316"/>
                  </a:lnTo>
                  <a:lnTo>
                    <a:pt x="30" y="315"/>
                  </a:lnTo>
                  <a:lnTo>
                    <a:pt x="32" y="316"/>
                  </a:lnTo>
                  <a:lnTo>
                    <a:pt x="36" y="317"/>
                  </a:lnTo>
                  <a:lnTo>
                    <a:pt x="38" y="317"/>
                  </a:lnTo>
                  <a:lnTo>
                    <a:pt x="48" y="317"/>
                  </a:lnTo>
                  <a:lnTo>
                    <a:pt x="51" y="317"/>
                  </a:lnTo>
                  <a:lnTo>
                    <a:pt x="53" y="317"/>
                  </a:lnTo>
                  <a:lnTo>
                    <a:pt x="55" y="317"/>
                  </a:lnTo>
                  <a:lnTo>
                    <a:pt x="56" y="317"/>
                  </a:lnTo>
                  <a:lnTo>
                    <a:pt x="57" y="316"/>
                  </a:lnTo>
                  <a:lnTo>
                    <a:pt x="57" y="314"/>
                  </a:lnTo>
                  <a:lnTo>
                    <a:pt x="57" y="313"/>
                  </a:lnTo>
                  <a:lnTo>
                    <a:pt x="60" y="305"/>
                  </a:lnTo>
                  <a:lnTo>
                    <a:pt x="61" y="299"/>
                  </a:lnTo>
                  <a:lnTo>
                    <a:pt x="63" y="294"/>
                  </a:lnTo>
                  <a:lnTo>
                    <a:pt x="64" y="290"/>
                  </a:lnTo>
                  <a:lnTo>
                    <a:pt x="70" y="275"/>
                  </a:lnTo>
                  <a:lnTo>
                    <a:pt x="72" y="272"/>
                  </a:lnTo>
                  <a:lnTo>
                    <a:pt x="75" y="268"/>
                  </a:lnTo>
                  <a:lnTo>
                    <a:pt x="76" y="267"/>
                  </a:lnTo>
                  <a:lnTo>
                    <a:pt x="77" y="265"/>
                  </a:lnTo>
                  <a:lnTo>
                    <a:pt x="78" y="263"/>
                  </a:lnTo>
                  <a:lnTo>
                    <a:pt x="78" y="260"/>
                  </a:lnTo>
                  <a:lnTo>
                    <a:pt x="78" y="259"/>
                  </a:lnTo>
                  <a:lnTo>
                    <a:pt x="78" y="255"/>
                  </a:lnTo>
                  <a:lnTo>
                    <a:pt x="78" y="253"/>
                  </a:lnTo>
                  <a:lnTo>
                    <a:pt x="79" y="252"/>
                  </a:lnTo>
                  <a:lnTo>
                    <a:pt x="79" y="251"/>
                  </a:lnTo>
                  <a:lnTo>
                    <a:pt x="80" y="250"/>
                  </a:lnTo>
                  <a:lnTo>
                    <a:pt x="80" y="249"/>
                  </a:lnTo>
                  <a:lnTo>
                    <a:pt x="80" y="249"/>
                  </a:lnTo>
                  <a:lnTo>
                    <a:pt x="81" y="249"/>
                  </a:lnTo>
                  <a:lnTo>
                    <a:pt x="84" y="248"/>
                  </a:lnTo>
                  <a:lnTo>
                    <a:pt x="89" y="246"/>
                  </a:lnTo>
                  <a:lnTo>
                    <a:pt x="91" y="245"/>
                  </a:lnTo>
                  <a:lnTo>
                    <a:pt x="91" y="245"/>
                  </a:lnTo>
                  <a:lnTo>
                    <a:pt x="92" y="244"/>
                  </a:lnTo>
                  <a:lnTo>
                    <a:pt x="93" y="243"/>
                  </a:lnTo>
                  <a:lnTo>
                    <a:pt x="93" y="241"/>
                  </a:lnTo>
                  <a:lnTo>
                    <a:pt x="93" y="240"/>
                  </a:lnTo>
                  <a:lnTo>
                    <a:pt x="93" y="238"/>
                  </a:lnTo>
                  <a:lnTo>
                    <a:pt x="93" y="237"/>
                  </a:lnTo>
                  <a:lnTo>
                    <a:pt x="93" y="233"/>
                  </a:lnTo>
                  <a:lnTo>
                    <a:pt x="91" y="227"/>
                  </a:lnTo>
                  <a:lnTo>
                    <a:pt x="91" y="226"/>
                  </a:lnTo>
                  <a:lnTo>
                    <a:pt x="91" y="224"/>
                  </a:lnTo>
                  <a:lnTo>
                    <a:pt x="91" y="223"/>
                  </a:lnTo>
                  <a:lnTo>
                    <a:pt x="91" y="221"/>
                  </a:lnTo>
                  <a:lnTo>
                    <a:pt x="92" y="220"/>
                  </a:lnTo>
                  <a:lnTo>
                    <a:pt x="93" y="218"/>
                  </a:lnTo>
                  <a:lnTo>
                    <a:pt x="94" y="216"/>
                  </a:lnTo>
                  <a:lnTo>
                    <a:pt x="96" y="215"/>
                  </a:lnTo>
                  <a:lnTo>
                    <a:pt x="97" y="213"/>
                  </a:lnTo>
                  <a:lnTo>
                    <a:pt x="99" y="211"/>
                  </a:lnTo>
                  <a:lnTo>
                    <a:pt x="102" y="210"/>
                  </a:lnTo>
                  <a:lnTo>
                    <a:pt x="105" y="208"/>
                  </a:lnTo>
                  <a:lnTo>
                    <a:pt x="107" y="207"/>
                  </a:lnTo>
                  <a:lnTo>
                    <a:pt x="111" y="206"/>
                  </a:lnTo>
                  <a:lnTo>
                    <a:pt x="113" y="205"/>
                  </a:lnTo>
                  <a:lnTo>
                    <a:pt x="114" y="204"/>
                  </a:lnTo>
                  <a:lnTo>
                    <a:pt x="114" y="204"/>
                  </a:lnTo>
                  <a:lnTo>
                    <a:pt x="114" y="204"/>
                  </a:lnTo>
                  <a:lnTo>
                    <a:pt x="114" y="203"/>
                  </a:lnTo>
                  <a:lnTo>
                    <a:pt x="114" y="202"/>
                  </a:lnTo>
                  <a:lnTo>
                    <a:pt x="114" y="201"/>
                  </a:lnTo>
                  <a:lnTo>
                    <a:pt x="114" y="199"/>
                  </a:lnTo>
                  <a:lnTo>
                    <a:pt x="109" y="194"/>
                  </a:lnTo>
                  <a:lnTo>
                    <a:pt x="105" y="189"/>
                  </a:lnTo>
                  <a:lnTo>
                    <a:pt x="103" y="187"/>
                  </a:lnTo>
                  <a:lnTo>
                    <a:pt x="100" y="184"/>
                  </a:lnTo>
                  <a:lnTo>
                    <a:pt x="99" y="182"/>
                  </a:lnTo>
                  <a:lnTo>
                    <a:pt x="98" y="181"/>
                  </a:lnTo>
                  <a:lnTo>
                    <a:pt x="97" y="180"/>
                  </a:lnTo>
                  <a:lnTo>
                    <a:pt x="97" y="179"/>
                  </a:lnTo>
                  <a:lnTo>
                    <a:pt x="96" y="178"/>
                  </a:lnTo>
                  <a:lnTo>
                    <a:pt x="96" y="176"/>
                  </a:lnTo>
                  <a:lnTo>
                    <a:pt x="96" y="174"/>
                  </a:lnTo>
                  <a:lnTo>
                    <a:pt x="96" y="171"/>
                  </a:lnTo>
                  <a:lnTo>
                    <a:pt x="97" y="170"/>
                  </a:lnTo>
                  <a:lnTo>
                    <a:pt x="98" y="166"/>
                  </a:lnTo>
                  <a:lnTo>
                    <a:pt x="99" y="163"/>
                  </a:lnTo>
                  <a:lnTo>
                    <a:pt x="100" y="162"/>
                  </a:lnTo>
                  <a:lnTo>
                    <a:pt x="102" y="158"/>
                  </a:lnTo>
                  <a:lnTo>
                    <a:pt x="102" y="157"/>
                  </a:lnTo>
                  <a:lnTo>
                    <a:pt x="102" y="156"/>
                  </a:lnTo>
                  <a:lnTo>
                    <a:pt x="102" y="155"/>
                  </a:lnTo>
                  <a:lnTo>
                    <a:pt x="102" y="153"/>
                  </a:lnTo>
                  <a:lnTo>
                    <a:pt x="102" y="151"/>
                  </a:lnTo>
                  <a:lnTo>
                    <a:pt x="102" y="148"/>
                  </a:lnTo>
                  <a:lnTo>
                    <a:pt x="101" y="147"/>
                  </a:lnTo>
                  <a:lnTo>
                    <a:pt x="97" y="141"/>
                  </a:lnTo>
                  <a:lnTo>
                    <a:pt x="96" y="137"/>
                  </a:lnTo>
                  <a:lnTo>
                    <a:pt x="92" y="130"/>
                  </a:lnTo>
                  <a:lnTo>
                    <a:pt x="91" y="126"/>
                  </a:lnTo>
                  <a:lnTo>
                    <a:pt x="91" y="124"/>
                  </a:lnTo>
                  <a:lnTo>
                    <a:pt x="90" y="119"/>
                  </a:lnTo>
                  <a:lnTo>
                    <a:pt x="89" y="114"/>
                  </a:lnTo>
                  <a:lnTo>
                    <a:pt x="88" y="111"/>
                  </a:lnTo>
                  <a:lnTo>
                    <a:pt x="88" y="107"/>
                  </a:lnTo>
                  <a:lnTo>
                    <a:pt x="88" y="104"/>
                  </a:lnTo>
                  <a:lnTo>
                    <a:pt x="88" y="102"/>
                  </a:lnTo>
                  <a:lnTo>
                    <a:pt x="89" y="100"/>
                  </a:lnTo>
                  <a:lnTo>
                    <a:pt x="89" y="97"/>
                  </a:lnTo>
                  <a:lnTo>
                    <a:pt x="90" y="95"/>
                  </a:lnTo>
                  <a:lnTo>
                    <a:pt x="91" y="92"/>
                  </a:lnTo>
                  <a:lnTo>
                    <a:pt x="94" y="88"/>
                  </a:lnTo>
                  <a:lnTo>
                    <a:pt x="101" y="79"/>
                  </a:lnTo>
                  <a:lnTo>
                    <a:pt x="105" y="72"/>
                  </a:lnTo>
                  <a:lnTo>
                    <a:pt x="107" y="70"/>
                  </a:lnTo>
                  <a:lnTo>
                    <a:pt x="109" y="68"/>
                  </a:lnTo>
                  <a:lnTo>
                    <a:pt x="113" y="65"/>
                  </a:lnTo>
                  <a:lnTo>
                    <a:pt x="118" y="60"/>
                  </a:lnTo>
                  <a:lnTo>
                    <a:pt x="126" y="55"/>
                  </a:lnTo>
                  <a:lnTo>
                    <a:pt x="127" y="54"/>
                  </a:lnTo>
                  <a:lnTo>
                    <a:pt x="128" y="54"/>
                  </a:lnTo>
                  <a:lnTo>
                    <a:pt x="129" y="55"/>
                  </a:lnTo>
                  <a:lnTo>
                    <a:pt x="130" y="55"/>
                  </a:lnTo>
                  <a:lnTo>
                    <a:pt x="131" y="55"/>
                  </a:lnTo>
                  <a:lnTo>
                    <a:pt x="135" y="55"/>
                  </a:lnTo>
                  <a:lnTo>
                    <a:pt x="142" y="54"/>
                  </a:lnTo>
                  <a:lnTo>
                    <a:pt x="146" y="53"/>
                  </a:lnTo>
                  <a:lnTo>
                    <a:pt x="148" y="53"/>
                  </a:lnTo>
                  <a:lnTo>
                    <a:pt x="150" y="53"/>
                  </a:lnTo>
                  <a:lnTo>
                    <a:pt x="152" y="54"/>
                  </a:lnTo>
                  <a:lnTo>
                    <a:pt x="154" y="54"/>
                  </a:lnTo>
                  <a:lnTo>
                    <a:pt x="156" y="54"/>
                  </a:lnTo>
                  <a:lnTo>
                    <a:pt x="159" y="55"/>
                  </a:lnTo>
                  <a:lnTo>
                    <a:pt x="166" y="57"/>
                  </a:lnTo>
                  <a:lnTo>
                    <a:pt x="175" y="61"/>
                  </a:lnTo>
                  <a:lnTo>
                    <a:pt x="186" y="67"/>
                  </a:lnTo>
                  <a:lnTo>
                    <a:pt x="190" y="68"/>
                  </a:lnTo>
                  <a:lnTo>
                    <a:pt x="193" y="68"/>
                  </a:lnTo>
                  <a:lnTo>
                    <a:pt x="197" y="69"/>
                  </a:lnTo>
                  <a:lnTo>
                    <a:pt x="201" y="70"/>
                  </a:lnTo>
                  <a:lnTo>
                    <a:pt x="206" y="70"/>
                  </a:lnTo>
                  <a:lnTo>
                    <a:pt x="218" y="71"/>
                  </a:lnTo>
                  <a:lnTo>
                    <a:pt x="221" y="71"/>
                  </a:lnTo>
                  <a:lnTo>
                    <a:pt x="225" y="72"/>
                  </a:lnTo>
                  <a:lnTo>
                    <a:pt x="228" y="73"/>
                  </a:lnTo>
                  <a:lnTo>
                    <a:pt x="231" y="74"/>
                  </a:lnTo>
                  <a:lnTo>
                    <a:pt x="236" y="75"/>
                  </a:lnTo>
                  <a:lnTo>
                    <a:pt x="244" y="79"/>
                  </a:lnTo>
                  <a:lnTo>
                    <a:pt x="246" y="79"/>
                  </a:lnTo>
                  <a:lnTo>
                    <a:pt x="250" y="80"/>
                  </a:lnTo>
                  <a:lnTo>
                    <a:pt x="258" y="82"/>
                  </a:lnTo>
                  <a:lnTo>
                    <a:pt x="261" y="83"/>
                  </a:lnTo>
                  <a:lnTo>
                    <a:pt x="263" y="83"/>
                  </a:lnTo>
                  <a:lnTo>
                    <a:pt x="265" y="83"/>
                  </a:lnTo>
                  <a:lnTo>
                    <a:pt x="266" y="83"/>
                  </a:lnTo>
                  <a:lnTo>
                    <a:pt x="270" y="81"/>
                  </a:lnTo>
                  <a:lnTo>
                    <a:pt x="273" y="80"/>
                  </a:lnTo>
                  <a:lnTo>
                    <a:pt x="274" y="80"/>
                  </a:lnTo>
                  <a:lnTo>
                    <a:pt x="275" y="79"/>
                  </a:lnTo>
                  <a:lnTo>
                    <a:pt x="276" y="79"/>
                  </a:lnTo>
                  <a:lnTo>
                    <a:pt x="276" y="78"/>
                  </a:lnTo>
                  <a:lnTo>
                    <a:pt x="277" y="78"/>
                  </a:lnTo>
                  <a:lnTo>
                    <a:pt x="277" y="77"/>
                  </a:lnTo>
                  <a:lnTo>
                    <a:pt x="278" y="76"/>
                  </a:lnTo>
                  <a:lnTo>
                    <a:pt x="278" y="75"/>
                  </a:lnTo>
                  <a:lnTo>
                    <a:pt x="278" y="73"/>
                  </a:lnTo>
                  <a:lnTo>
                    <a:pt x="275" y="62"/>
                  </a:lnTo>
                  <a:lnTo>
                    <a:pt x="275" y="59"/>
                  </a:lnTo>
                  <a:lnTo>
                    <a:pt x="275" y="57"/>
                  </a:lnTo>
                  <a:lnTo>
                    <a:pt x="275" y="56"/>
                  </a:lnTo>
                  <a:lnTo>
                    <a:pt x="275" y="55"/>
                  </a:lnTo>
                  <a:lnTo>
                    <a:pt x="276" y="54"/>
                  </a:lnTo>
                  <a:lnTo>
                    <a:pt x="276" y="53"/>
                  </a:lnTo>
                  <a:lnTo>
                    <a:pt x="277" y="51"/>
                  </a:lnTo>
                  <a:lnTo>
                    <a:pt x="280" y="47"/>
                  </a:lnTo>
                  <a:lnTo>
                    <a:pt x="283" y="44"/>
                  </a:lnTo>
                  <a:lnTo>
                    <a:pt x="286" y="39"/>
                  </a:lnTo>
                  <a:lnTo>
                    <a:pt x="289" y="35"/>
                  </a:lnTo>
                  <a:lnTo>
                    <a:pt x="292" y="32"/>
                  </a:lnTo>
                  <a:lnTo>
                    <a:pt x="294" y="30"/>
                  </a:lnTo>
                  <a:lnTo>
                    <a:pt x="296" y="29"/>
                  </a:lnTo>
                  <a:lnTo>
                    <a:pt x="297" y="29"/>
                  </a:lnTo>
                  <a:lnTo>
                    <a:pt x="298" y="28"/>
                  </a:lnTo>
                  <a:lnTo>
                    <a:pt x="300" y="28"/>
                  </a:lnTo>
                  <a:lnTo>
                    <a:pt x="301" y="28"/>
                  </a:lnTo>
                  <a:lnTo>
                    <a:pt x="303" y="28"/>
                  </a:lnTo>
                  <a:lnTo>
                    <a:pt x="304" y="28"/>
                  </a:lnTo>
                  <a:lnTo>
                    <a:pt x="306" y="28"/>
                  </a:lnTo>
                  <a:lnTo>
                    <a:pt x="307" y="29"/>
                  </a:lnTo>
                  <a:lnTo>
                    <a:pt x="307" y="30"/>
                  </a:lnTo>
                  <a:lnTo>
                    <a:pt x="309" y="30"/>
                  </a:lnTo>
                  <a:lnTo>
                    <a:pt x="313" y="34"/>
                  </a:lnTo>
                  <a:lnTo>
                    <a:pt x="314" y="34"/>
                  </a:lnTo>
                  <a:lnTo>
                    <a:pt x="321" y="40"/>
                  </a:lnTo>
                  <a:lnTo>
                    <a:pt x="325" y="42"/>
                  </a:lnTo>
                  <a:lnTo>
                    <a:pt x="328" y="44"/>
                  </a:lnTo>
                  <a:lnTo>
                    <a:pt x="330" y="45"/>
                  </a:lnTo>
                  <a:lnTo>
                    <a:pt x="333" y="45"/>
                  </a:lnTo>
                  <a:lnTo>
                    <a:pt x="334" y="46"/>
                  </a:lnTo>
                  <a:lnTo>
                    <a:pt x="336" y="46"/>
                  </a:lnTo>
                  <a:lnTo>
                    <a:pt x="338" y="46"/>
                  </a:lnTo>
                  <a:lnTo>
                    <a:pt x="339" y="46"/>
                  </a:lnTo>
                  <a:lnTo>
                    <a:pt x="341" y="45"/>
                  </a:lnTo>
                  <a:lnTo>
                    <a:pt x="341" y="45"/>
                  </a:lnTo>
                  <a:lnTo>
                    <a:pt x="342" y="45"/>
                  </a:lnTo>
                  <a:lnTo>
                    <a:pt x="344" y="44"/>
                  </a:lnTo>
                  <a:lnTo>
                    <a:pt x="345" y="43"/>
                  </a:lnTo>
                  <a:lnTo>
                    <a:pt x="346" y="41"/>
                  </a:lnTo>
                  <a:lnTo>
                    <a:pt x="348" y="39"/>
                  </a:lnTo>
                  <a:lnTo>
                    <a:pt x="349" y="37"/>
                  </a:lnTo>
                  <a:lnTo>
                    <a:pt x="350" y="35"/>
                  </a:lnTo>
                  <a:lnTo>
                    <a:pt x="351" y="34"/>
                  </a:lnTo>
                  <a:lnTo>
                    <a:pt x="352" y="32"/>
                  </a:lnTo>
                  <a:lnTo>
                    <a:pt x="352" y="30"/>
                  </a:lnTo>
                  <a:lnTo>
                    <a:pt x="353" y="26"/>
                  </a:lnTo>
                  <a:lnTo>
                    <a:pt x="353" y="22"/>
                  </a:lnTo>
                  <a:lnTo>
                    <a:pt x="353" y="17"/>
                  </a:lnTo>
                  <a:lnTo>
                    <a:pt x="353" y="6"/>
                  </a:lnTo>
                  <a:lnTo>
                    <a:pt x="353" y="3"/>
                  </a:lnTo>
                  <a:lnTo>
                    <a:pt x="353" y="1"/>
                  </a:lnTo>
                  <a:lnTo>
                    <a:pt x="353" y="0"/>
                  </a:lnTo>
                  <a:lnTo>
                    <a:pt x="354" y="0"/>
                  </a:lnTo>
                  <a:lnTo>
                    <a:pt x="355" y="0"/>
                  </a:lnTo>
                  <a:lnTo>
                    <a:pt x="357" y="2"/>
                  </a:lnTo>
                  <a:lnTo>
                    <a:pt x="359" y="3"/>
                  </a:lnTo>
                  <a:lnTo>
                    <a:pt x="360" y="4"/>
                  </a:lnTo>
                  <a:lnTo>
                    <a:pt x="361" y="4"/>
                  </a:lnTo>
                  <a:lnTo>
                    <a:pt x="363" y="5"/>
                  </a:lnTo>
                  <a:lnTo>
                    <a:pt x="365" y="6"/>
                  </a:lnTo>
                  <a:lnTo>
                    <a:pt x="368" y="7"/>
                  </a:lnTo>
                  <a:lnTo>
                    <a:pt x="370" y="8"/>
                  </a:lnTo>
                  <a:lnTo>
                    <a:pt x="372" y="8"/>
                  </a:lnTo>
                  <a:lnTo>
                    <a:pt x="375" y="9"/>
                  </a:lnTo>
                  <a:lnTo>
                    <a:pt x="377" y="9"/>
                  </a:lnTo>
                  <a:lnTo>
                    <a:pt x="380" y="10"/>
                  </a:lnTo>
                  <a:lnTo>
                    <a:pt x="381" y="11"/>
                  </a:lnTo>
                  <a:lnTo>
                    <a:pt x="383" y="11"/>
                  </a:lnTo>
                  <a:lnTo>
                    <a:pt x="387" y="14"/>
                  </a:lnTo>
                  <a:lnTo>
                    <a:pt x="393" y="23"/>
                  </a:lnTo>
                  <a:lnTo>
                    <a:pt x="398" y="34"/>
                  </a:lnTo>
                  <a:lnTo>
                    <a:pt x="401" y="37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0" name="Freeform 57">
              <a:extLst>
                <a:ext uri="{FF2B5EF4-FFF2-40B4-BE49-F238E27FC236}">
                  <a16:creationId xmlns:a16="http://schemas.microsoft.com/office/drawing/2014/main" id="{49B7B59B-2C04-479E-B353-BAED3C21B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8" y="2671"/>
              <a:ext cx="416" cy="480"/>
            </a:xfrm>
            <a:custGeom>
              <a:avLst/>
              <a:gdLst>
                <a:gd name="T0" fmla="*/ 103 w 416"/>
                <a:gd name="T1" fmla="*/ 29 h 480"/>
                <a:gd name="T2" fmla="*/ 148 w 416"/>
                <a:gd name="T3" fmla="*/ 27 h 480"/>
                <a:gd name="T4" fmla="*/ 179 w 416"/>
                <a:gd name="T5" fmla="*/ 26 h 480"/>
                <a:gd name="T6" fmla="*/ 203 w 416"/>
                <a:gd name="T7" fmla="*/ 35 h 480"/>
                <a:gd name="T8" fmla="*/ 214 w 416"/>
                <a:gd name="T9" fmla="*/ 19 h 480"/>
                <a:gd name="T10" fmla="*/ 226 w 416"/>
                <a:gd name="T11" fmla="*/ 10 h 480"/>
                <a:gd name="T12" fmla="*/ 251 w 416"/>
                <a:gd name="T13" fmla="*/ 10 h 480"/>
                <a:gd name="T14" fmla="*/ 271 w 416"/>
                <a:gd name="T15" fmla="*/ 3 h 480"/>
                <a:gd name="T16" fmla="*/ 291 w 416"/>
                <a:gd name="T17" fmla="*/ 12 h 480"/>
                <a:gd name="T18" fmla="*/ 334 w 416"/>
                <a:gd name="T19" fmla="*/ 8 h 480"/>
                <a:gd name="T20" fmla="*/ 353 w 416"/>
                <a:gd name="T21" fmla="*/ 0 h 480"/>
                <a:gd name="T22" fmla="*/ 381 w 416"/>
                <a:gd name="T23" fmla="*/ 20 h 480"/>
                <a:gd name="T24" fmla="*/ 408 w 416"/>
                <a:gd name="T25" fmla="*/ 34 h 480"/>
                <a:gd name="T26" fmla="*/ 416 w 416"/>
                <a:gd name="T27" fmla="*/ 46 h 480"/>
                <a:gd name="T28" fmla="*/ 400 w 416"/>
                <a:gd name="T29" fmla="*/ 70 h 480"/>
                <a:gd name="T30" fmla="*/ 395 w 416"/>
                <a:gd name="T31" fmla="*/ 101 h 480"/>
                <a:gd name="T32" fmla="*/ 397 w 416"/>
                <a:gd name="T33" fmla="*/ 135 h 480"/>
                <a:gd name="T34" fmla="*/ 389 w 416"/>
                <a:gd name="T35" fmla="*/ 162 h 480"/>
                <a:gd name="T36" fmla="*/ 368 w 416"/>
                <a:gd name="T37" fmla="*/ 196 h 480"/>
                <a:gd name="T38" fmla="*/ 376 w 416"/>
                <a:gd name="T39" fmla="*/ 231 h 480"/>
                <a:gd name="T40" fmla="*/ 382 w 416"/>
                <a:gd name="T41" fmla="*/ 252 h 480"/>
                <a:gd name="T42" fmla="*/ 377 w 416"/>
                <a:gd name="T43" fmla="*/ 273 h 480"/>
                <a:gd name="T44" fmla="*/ 394 w 416"/>
                <a:gd name="T45" fmla="*/ 295 h 480"/>
                <a:gd name="T46" fmla="*/ 385 w 416"/>
                <a:gd name="T47" fmla="*/ 302 h 480"/>
                <a:gd name="T48" fmla="*/ 371 w 416"/>
                <a:gd name="T49" fmla="*/ 317 h 480"/>
                <a:gd name="T50" fmla="*/ 373 w 416"/>
                <a:gd name="T51" fmla="*/ 337 h 480"/>
                <a:gd name="T52" fmla="*/ 360 w 416"/>
                <a:gd name="T53" fmla="*/ 344 h 480"/>
                <a:gd name="T54" fmla="*/ 356 w 416"/>
                <a:gd name="T55" fmla="*/ 361 h 480"/>
                <a:gd name="T56" fmla="*/ 337 w 416"/>
                <a:gd name="T57" fmla="*/ 408 h 480"/>
                <a:gd name="T58" fmla="*/ 312 w 416"/>
                <a:gd name="T59" fmla="*/ 410 h 480"/>
                <a:gd name="T60" fmla="*/ 301 w 416"/>
                <a:gd name="T61" fmla="*/ 413 h 480"/>
                <a:gd name="T62" fmla="*/ 292 w 416"/>
                <a:gd name="T63" fmla="*/ 441 h 480"/>
                <a:gd name="T64" fmla="*/ 280 w 416"/>
                <a:gd name="T65" fmla="*/ 480 h 480"/>
                <a:gd name="T66" fmla="*/ 234 w 416"/>
                <a:gd name="T67" fmla="*/ 467 h 480"/>
                <a:gd name="T68" fmla="*/ 210 w 416"/>
                <a:gd name="T69" fmla="*/ 477 h 480"/>
                <a:gd name="T70" fmla="*/ 194 w 416"/>
                <a:gd name="T71" fmla="*/ 472 h 480"/>
                <a:gd name="T72" fmla="*/ 176 w 416"/>
                <a:gd name="T73" fmla="*/ 453 h 480"/>
                <a:gd name="T74" fmla="*/ 153 w 416"/>
                <a:gd name="T75" fmla="*/ 447 h 480"/>
                <a:gd name="T76" fmla="*/ 155 w 416"/>
                <a:gd name="T77" fmla="*/ 438 h 480"/>
                <a:gd name="T78" fmla="*/ 157 w 416"/>
                <a:gd name="T79" fmla="*/ 424 h 480"/>
                <a:gd name="T80" fmla="*/ 132 w 416"/>
                <a:gd name="T81" fmla="*/ 412 h 480"/>
                <a:gd name="T82" fmla="*/ 107 w 416"/>
                <a:gd name="T83" fmla="*/ 396 h 480"/>
                <a:gd name="T84" fmla="*/ 76 w 416"/>
                <a:gd name="T85" fmla="*/ 406 h 480"/>
                <a:gd name="T86" fmla="*/ 58 w 416"/>
                <a:gd name="T87" fmla="*/ 400 h 480"/>
                <a:gd name="T88" fmla="*/ 23 w 416"/>
                <a:gd name="T89" fmla="*/ 371 h 480"/>
                <a:gd name="T90" fmla="*/ 13 w 416"/>
                <a:gd name="T91" fmla="*/ 346 h 480"/>
                <a:gd name="T92" fmla="*/ 25 w 416"/>
                <a:gd name="T93" fmla="*/ 322 h 480"/>
                <a:gd name="T94" fmla="*/ 18 w 416"/>
                <a:gd name="T95" fmla="*/ 308 h 480"/>
                <a:gd name="T96" fmla="*/ 1 w 416"/>
                <a:gd name="T97" fmla="*/ 290 h 480"/>
                <a:gd name="T98" fmla="*/ 7 w 416"/>
                <a:gd name="T99" fmla="*/ 258 h 480"/>
                <a:gd name="T100" fmla="*/ 9 w 416"/>
                <a:gd name="T101" fmla="*/ 232 h 480"/>
                <a:gd name="T102" fmla="*/ 23 w 416"/>
                <a:gd name="T103" fmla="*/ 189 h 480"/>
                <a:gd name="T104" fmla="*/ 24 w 416"/>
                <a:gd name="T105" fmla="*/ 154 h 480"/>
                <a:gd name="T106" fmla="*/ 13 w 416"/>
                <a:gd name="T107" fmla="*/ 129 h 480"/>
                <a:gd name="T108" fmla="*/ 21 w 416"/>
                <a:gd name="T109" fmla="*/ 120 h 480"/>
                <a:gd name="T110" fmla="*/ 31 w 416"/>
                <a:gd name="T111" fmla="*/ 108 h 480"/>
                <a:gd name="T112" fmla="*/ 30 w 416"/>
                <a:gd name="T113" fmla="*/ 86 h 480"/>
                <a:gd name="T114" fmla="*/ 35 w 416"/>
                <a:gd name="T115" fmla="*/ 68 h 480"/>
                <a:gd name="T116" fmla="*/ 40 w 416"/>
                <a:gd name="T117" fmla="*/ 56 h 480"/>
                <a:gd name="T118" fmla="*/ 69 w 416"/>
                <a:gd name="T119" fmla="*/ 51 h 480"/>
                <a:gd name="T120" fmla="*/ 64 w 416"/>
                <a:gd name="T121" fmla="*/ 37 h 480"/>
                <a:gd name="T122" fmla="*/ 70 w 416"/>
                <a:gd name="T123" fmla="*/ 24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6" h="480">
                  <a:moveTo>
                    <a:pt x="81" y="20"/>
                  </a:moveTo>
                  <a:lnTo>
                    <a:pt x="82" y="20"/>
                  </a:lnTo>
                  <a:lnTo>
                    <a:pt x="84" y="22"/>
                  </a:lnTo>
                  <a:lnTo>
                    <a:pt x="86" y="24"/>
                  </a:lnTo>
                  <a:lnTo>
                    <a:pt x="87" y="25"/>
                  </a:lnTo>
                  <a:lnTo>
                    <a:pt x="92" y="26"/>
                  </a:lnTo>
                  <a:lnTo>
                    <a:pt x="96" y="27"/>
                  </a:lnTo>
                  <a:lnTo>
                    <a:pt x="99" y="28"/>
                  </a:lnTo>
                  <a:lnTo>
                    <a:pt x="103" y="29"/>
                  </a:lnTo>
                  <a:lnTo>
                    <a:pt x="121" y="32"/>
                  </a:lnTo>
                  <a:lnTo>
                    <a:pt x="123" y="32"/>
                  </a:lnTo>
                  <a:lnTo>
                    <a:pt x="125" y="32"/>
                  </a:lnTo>
                  <a:lnTo>
                    <a:pt x="129" y="32"/>
                  </a:lnTo>
                  <a:lnTo>
                    <a:pt x="134" y="32"/>
                  </a:lnTo>
                  <a:lnTo>
                    <a:pt x="137" y="31"/>
                  </a:lnTo>
                  <a:lnTo>
                    <a:pt x="142" y="30"/>
                  </a:lnTo>
                  <a:lnTo>
                    <a:pt x="144" y="29"/>
                  </a:lnTo>
                  <a:lnTo>
                    <a:pt x="148" y="27"/>
                  </a:lnTo>
                  <a:lnTo>
                    <a:pt x="163" y="22"/>
                  </a:lnTo>
                  <a:lnTo>
                    <a:pt x="164" y="22"/>
                  </a:lnTo>
                  <a:lnTo>
                    <a:pt x="166" y="21"/>
                  </a:lnTo>
                  <a:lnTo>
                    <a:pt x="167" y="21"/>
                  </a:lnTo>
                  <a:lnTo>
                    <a:pt x="168" y="21"/>
                  </a:lnTo>
                  <a:lnTo>
                    <a:pt x="169" y="21"/>
                  </a:lnTo>
                  <a:lnTo>
                    <a:pt x="170" y="22"/>
                  </a:lnTo>
                  <a:lnTo>
                    <a:pt x="176" y="24"/>
                  </a:lnTo>
                  <a:lnTo>
                    <a:pt x="179" y="26"/>
                  </a:lnTo>
                  <a:lnTo>
                    <a:pt x="182" y="26"/>
                  </a:lnTo>
                  <a:lnTo>
                    <a:pt x="188" y="27"/>
                  </a:lnTo>
                  <a:lnTo>
                    <a:pt x="190" y="28"/>
                  </a:lnTo>
                  <a:lnTo>
                    <a:pt x="192" y="29"/>
                  </a:lnTo>
                  <a:lnTo>
                    <a:pt x="194" y="30"/>
                  </a:lnTo>
                  <a:lnTo>
                    <a:pt x="199" y="33"/>
                  </a:lnTo>
                  <a:lnTo>
                    <a:pt x="200" y="34"/>
                  </a:lnTo>
                  <a:lnTo>
                    <a:pt x="202" y="35"/>
                  </a:lnTo>
                  <a:lnTo>
                    <a:pt x="203" y="35"/>
                  </a:lnTo>
                  <a:lnTo>
                    <a:pt x="204" y="35"/>
                  </a:lnTo>
                  <a:lnTo>
                    <a:pt x="205" y="35"/>
                  </a:lnTo>
                  <a:lnTo>
                    <a:pt x="206" y="35"/>
                  </a:lnTo>
                  <a:lnTo>
                    <a:pt x="206" y="34"/>
                  </a:lnTo>
                  <a:lnTo>
                    <a:pt x="207" y="33"/>
                  </a:lnTo>
                  <a:lnTo>
                    <a:pt x="208" y="32"/>
                  </a:lnTo>
                  <a:lnTo>
                    <a:pt x="210" y="29"/>
                  </a:lnTo>
                  <a:lnTo>
                    <a:pt x="212" y="26"/>
                  </a:lnTo>
                  <a:lnTo>
                    <a:pt x="214" y="19"/>
                  </a:lnTo>
                  <a:lnTo>
                    <a:pt x="214" y="18"/>
                  </a:lnTo>
                  <a:lnTo>
                    <a:pt x="215" y="17"/>
                  </a:lnTo>
                  <a:lnTo>
                    <a:pt x="217" y="15"/>
                  </a:lnTo>
                  <a:lnTo>
                    <a:pt x="221" y="13"/>
                  </a:lnTo>
                  <a:lnTo>
                    <a:pt x="222" y="12"/>
                  </a:lnTo>
                  <a:lnTo>
                    <a:pt x="223" y="11"/>
                  </a:lnTo>
                  <a:lnTo>
                    <a:pt x="224" y="11"/>
                  </a:lnTo>
                  <a:lnTo>
                    <a:pt x="225" y="10"/>
                  </a:lnTo>
                  <a:lnTo>
                    <a:pt x="226" y="10"/>
                  </a:lnTo>
                  <a:lnTo>
                    <a:pt x="228" y="10"/>
                  </a:lnTo>
                  <a:lnTo>
                    <a:pt x="231" y="10"/>
                  </a:lnTo>
                  <a:lnTo>
                    <a:pt x="236" y="12"/>
                  </a:lnTo>
                  <a:lnTo>
                    <a:pt x="239" y="12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46" y="11"/>
                  </a:lnTo>
                  <a:lnTo>
                    <a:pt x="249" y="11"/>
                  </a:lnTo>
                  <a:lnTo>
                    <a:pt x="251" y="10"/>
                  </a:lnTo>
                  <a:lnTo>
                    <a:pt x="253" y="9"/>
                  </a:lnTo>
                  <a:lnTo>
                    <a:pt x="256" y="8"/>
                  </a:lnTo>
                  <a:lnTo>
                    <a:pt x="257" y="7"/>
                  </a:lnTo>
                  <a:lnTo>
                    <a:pt x="261" y="5"/>
                  </a:lnTo>
                  <a:lnTo>
                    <a:pt x="269" y="1"/>
                  </a:lnTo>
                  <a:lnTo>
                    <a:pt x="269" y="0"/>
                  </a:lnTo>
                  <a:lnTo>
                    <a:pt x="269" y="1"/>
                  </a:lnTo>
                  <a:lnTo>
                    <a:pt x="270" y="3"/>
                  </a:lnTo>
                  <a:lnTo>
                    <a:pt x="271" y="3"/>
                  </a:lnTo>
                  <a:lnTo>
                    <a:pt x="273" y="4"/>
                  </a:lnTo>
                  <a:lnTo>
                    <a:pt x="274" y="6"/>
                  </a:lnTo>
                  <a:lnTo>
                    <a:pt x="276" y="7"/>
                  </a:lnTo>
                  <a:lnTo>
                    <a:pt x="278" y="8"/>
                  </a:lnTo>
                  <a:lnTo>
                    <a:pt x="280" y="9"/>
                  </a:lnTo>
                  <a:lnTo>
                    <a:pt x="284" y="11"/>
                  </a:lnTo>
                  <a:lnTo>
                    <a:pt x="287" y="11"/>
                  </a:lnTo>
                  <a:lnTo>
                    <a:pt x="289" y="12"/>
                  </a:lnTo>
                  <a:lnTo>
                    <a:pt x="291" y="12"/>
                  </a:lnTo>
                  <a:lnTo>
                    <a:pt x="293" y="13"/>
                  </a:lnTo>
                  <a:lnTo>
                    <a:pt x="299" y="13"/>
                  </a:lnTo>
                  <a:lnTo>
                    <a:pt x="302" y="13"/>
                  </a:lnTo>
                  <a:lnTo>
                    <a:pt x="303" y="12"/>
                  </a:lnTo>
                  <a:lnTo>
                    <a:pt x="313" y="11"/>
                  </a:lnTo>
                  <a:lnTo>
                    <a:pt x="320" y="10"/>
                  </a:lnTo>
                  <a:lnTo>
                    <a:pt x="325" y="10"/>
                  </a:lnTo>
                  <a:lnTo>
                    <a:pt x="330" y="9"/>
                  </a:lnTo>
                  <a:lnTo>
                    <a:pt x="334" y="8"/>
                  </a:lnTo>
                  <a:lnTo>
                    <a:pt x="337" y="7"/>
                  </a:lnTo>
                  <a:lnTo>
                    <a:pt x="339" y="6"/>
                  </a:lnTo>
                  <a:lnTo>
                    <a:pt x="341" y="5"/>
                  </a:lnTo>
                  <a:lnTo>
                    <a:pt x="348" y="1"/>
                  </a:lnTo>
                  <a:lnTo>
                    <a:pt x="349" y="0"/>
                  </a:lnTo>
                  <a:lnTo>
                    <a:pt x="350" y="0"/>
                  </a:lnTo>
                  <a:lnTo>
                    <a:pt x="351" y="0"/>
                  </a:lnTo>
                  <a:lnTo>
                    <a:pt x="352" y="0"/>
                  </a:lnTo>
                  <a:lnTo>
                    <a:pt x="353" y="0"/>
                  </a:lnTo>
                  <a:lnTo>
                    <a:pt x="355" y="1"/>
                  </a:lnTo>
                  <a:lnTo>
                    <a:pt x="357" y="2"/>
                  </a:lnTo>
                  <a:lnTo>
                    <a:pt x="365" y="7"/>
                  </a:lnTo>
                  <a:lnTo>
                    <a:pt x="370" y="11"/>
                  </a:lnTo>
                  <a:lnTo>
                    <a:pt x="372" y="12"/>
                  </a:lnTo>
                  <a:lnTo>
                    <a:pt x="374" y="14"/>
                  </a:lnTo>
                  <a:lnTo>
                    <a:pt x="376" y="15"/>
                  </a:lnTo>
                  <a:lnTo>
                    <a:pt x="379" y="19"/>
                  </a:lnTo>
                  <a:lnTo>
                    <a:pt x="381" y="20"/>
                  </a:lnTo>
                  <a:lnTo>
                    <a:pt x="382" y="22"/>
                  </a:lnTo>
                  <a:lnTo>
                    <a:pt x="384" y="23"/>
                  </a:lnTo>
                  <a:lnTo>
                    <a:pt x="389" y="26"/>
                  </a:lnTo>
                  <a:lnTo>
                    <a:pt x="394" y="28"/>
                  </a:lnTo>
                  <a:lnTo>
                    <a:pt x="397" y="29"/>
                  </a:lnTo>
                  <a:lnTo>
                    <a:pt x="404" y="31"/>
                  </a:lnTo>
                  <a:lnTo>
                    <a:pt x="405" y="32"/>
                  </a:lnTo>
                  <a:lnTo>
                    <a:pt x="407" y="33"/>
                  </a:lnTo>
                  <a:lnTo>
                    <a:pt x="408" y="34"/>
                  </a:lnTo>
                  <a:lnTo>
                    <a:pt x="409" y="35"/>
                  </a:lnTo>
                  <a:lnTo>
                    <a:pt x="410" y="35"/>
                  </a:lnTo>
                  <a:lnTo>
                    <a:pt x="411" y="36"/>
                  </a:lnTo>
                  <a:lnTo>
                    <a:pt x="412" y="37"/>
                  </a:lnTo>
                  <a:lnTo>
                    <a:pt x="414" y="40"/>
                  </a:lnTo>
                  <a:lnTo>
                    <a:pt x="415" y="42"/>
                  </a:lnTo>
                  <a:lnTo>
                    <a:pt x="415" y="44"/>
                  </a:lnTo>
                  <a:lnTo>
                    <a:pt x="416" y="45"/>
                  </a:lnTo>
                  <a:lnTo>
                    <a:pt x="416" y="46"/>
                  </a:lnTo>
                  <a:lnTo>
                    <a:pt x="416" y="47"/>
                  </a:lnTo>
                  <a:lnTo>
                    <a:pt x="415" y="48"/>
                  </a:lnTo>
                  <a:lnTo>
                    <a:pt x="414" y="50"/>
                  </a:lnTo>
                  <a:lnTo>
                    <a:pt x="412" y="52"/>
                  </a:lnTo>
                  <a:lnTo>
                    <a:pt x="406" y="59"/>
                  </a:lnTo>
                  <a:lnTo>
                    <a:pt x="405" y="61"/>
                  </a:lnTo>
                  <a:lnTo>
                    <a:pt x="403" y="64"/>
                  </a:lnTo>
                  <a:lnTo>
                    <a:pt x="402" y="67"/>
                  </a:lnTo>
                  <a:lnTo>
                    <a:pt x="400" y="70"/>
                  </a:lnTo>
                  <a:lnTo>
                    <a:pt x="399" y="72"/>
                  </a:lnTo>
                  <a:lnTo>
                    <a:pt x="398" y="75"/>
                  </a:lnTo>
                  <a:lnTo>
                    <a:pt x="397" y="79"/>
                  </a:lnTo>
                  <a:lnTo>
                    <a:pt x="396" y="82"/>
                  </a:lnTo>
                  <a:lnTo>
                    <a:pt x="396" y="84"/>
                  </a:lnTo>
                  <a:lnTo>
                    <a:pt x="396" y="89"/>
                  </a:lnTo>
                  <a:lnTo>
                    <a:pt x="395" y="95"/>
                  </a:lnTo>
                  <a:lnTo>
                    <a:pt x="395" y="98"/>
                  </a:lnTo>
                  <a:lnTo>
                    <a:pt x="395" y="101"/>
                  </a:lnTo>
                  <a:lnTo>
                    <a:pt x="392" y="115"/>
                  </a:lnTo>
                  <a:lnTo>
                    <a:pt x="392" y="117"/>
                  </a:lnTo>
                  <a:lnTo>
                    <a:pt x="392" y="119"/>
                  </a:lnTo>
                  <a:lnTo>
                    <a:pt x="392" y="123"/>
                  </a:lnTo>
                  <a:lnTo>
                    <a:pt x="393" y="126"/>
                  </a:lnTo>
                  <a:lnTo>
                    <a:pt x="393" y="127"/>
                  </a:lnTo>
                  <a:lnTo>
                    <a:pt x="394" y="128"/>
                  </a:lnTo>
                  <a:lnTo>
                    <a:pt x="394" y="131"/>
                  </a:lnTo>
                  <a:lnTo>
                    <a:pt x="397" y="135"/>
                  </a:lnTo>
                  <a:lnTo>
                    <a:pt x="400" y="139"/>
                  </a:lnTo>
                  <a:lnTo>
                    <a:pt x="405" y="144"/>
                  </a:lnTo>
                  <a:lnTo>
                    <a:pt x="406" y="146"/>
                  </a:lnTo>
                  <a:lnTo>
                    <a:pt x="408" y="148"/>
                  </a:lnTo>
                  <a:lnTo>
                    <a:pt x="407" y="148"/>
                  </a:lnTo>
                  <a:lnTo>
                    <a:pt x="406" y="149"/>
                  </a:lnTo>
                  <a:lnTo>
                    <a:pt x="398" y="154"/>
                  </a:lnTo>
                  <a:lnTo>
                    <a:pt x="393" y="159"/>
                  </a:lnTo>
                  <a:lnTo>
                    <a:pt x="389" y="162"/>
                  </a:lnTo>
                  <a:lnTo>
                    <a:pt x="387" y="164"/>
                  </a:lnTo>
                  <a:lnTo>
                    <a:pt x="385" y="166"/>
                  </a:lnTo>
                  <a:lnTo>
                    <a:pt x="381" y="173"/>
                  </a:lnTo>
                  <a:lnTo>
                    <a:pt x="374" y="182"/>
                  </a:lnTo>
                  <a:lnTo>
                    <a:pt x="371" y="186"/>
                  </a:lnTo>
                  <a:lnTo>
                    <a:pt x="370" y="189"/>
                  </a:lnTo>
                  <a:lnTo>
                    <a:pt x="369" y="191"/>
                  </a:lnTo>
                  <a:lnTo>
                    <a:pt x="369" y="194"/>
                  </a:lnTo>
                  <a:lnTo>
                    <a:pt x="368" y="196"/>
                  </a:lnTo>
                  <a:lnTo>
                    <a:pt x="368" y="198"/>
                  </a:lnTo>
                  <a:lnTo>
                    <a:pt x="368" y="201"/>
                  </a:lnTo>
                  <a:lnTo>
                    <a:pt x="368" y="205"/>
                  </a:lnTo>
                  <a:lnTo>
                    <a:pt x="369" y="208"/>
                  </a:lnTo>
                  <a:lnTo>
                    <a:pt x="370" y="213"/>
                  </a:lnTo>
                  <a:lnTo>
                    <a:pt x="371" y="218"/>
                  </a:lnTo>
                  <a:lnTo>
                    <a:pt x="371" y="220"/>
                  </a:lnTo>
                  <a:lnTo>
                    <a:pt x="372" y="224"/>
                  </a:lnTo>
                  <a:lnTo>
                    <a:pt x="376" y="231"/>
                  </a:lnTo>
                  <a:lnTo>
                    <a:pt x="377" y="235"/>
                  </a:lnTo>
                  <a:lnTo>
                    <a:pt x="381" y="241"/>
                  </a:lnTo>
                  <a:lnTo>
                    <a:pt x="382" y="242"/>
                  </a:lnTo>
                  <a:lnTo>
                    <a:pt x="382" y="245"/>
                  </a:lnTo>
                  <a:lnTo>
                    <a:pt x="382" y="247"/>
                  </a:lnTo>
                  <a:lnTo>
                    <a:pt x="382" y="249"/>
                  </a:lnTo>
                  <a:lnTo>
                    <a:pt x="382" y="250"/>
                  </a:lnTo>
                  <a:lnTo>
                    <a:pt x="382" y="251"/>
                  </a:lnTo>
                  <a:lnTo>
                    <a:pt x="382" y="252"/>
                  </a:lnTo>
                  <a:lnTo>
                    <a:pt x="380" y="256"/>
                  </a:lnTo>
                  <a:lnTo>
                    <a:pt x="379" y="257"/>
                  </a:lnTo>
                  <a:lnTo>
                    <a:pt x="378" y="260"/>
                  </a:lnTo>
                  <a:lnTo>
                    <a:pt x="377" y="264"/>
                  </a:lnTo>
                  <a:lnTo>
                    <a:pt x="376" y="265"/>
                  </a:lnTo>
                  <a:lnTo>
                    <a:pt x="376" y="268"/>
                  </a:lnTo>
                  <a:lnTo>
                    <a:pt x="376" y="270"/>
                  </a:lnTo>
                  <a:lnTo>
                    <a:pt x="376" y="272"/>
                  </a:lnTo>
                  <a:lnTo>
                    <a:pt x="377" y="273"/>
                  </a:lnTo>
                  <a:lnTo>
                    <a:pt x="377" y="274"/>
                  </a:lnTo>
                  <a:lnTo>
                    <a:pt x="378" y="275"/>
                  </a:lnTo>
                  <a:lnTo>
                    <a:pt x="379" y="276"/>
                  </a:lnTo>
                  <a:lnTo>
                    <a:pt x="380" y="278"/>
                  </a:lnTo>
                  <a:lnTo>
                    <a:pt x="383" y="281"/>
                  </a:lnTo>
                  <a:lnTo>
                    <a:pt x="385" y="283"/>
                  </a:lnTo>
                  <a:lnTo>
                    <a:pt x="389" y="288"/>
                  </a:lnTo>
                  <a:lnTo>
                    <a:pt x="394" y="293"/>
                  </a:lnTo>
                  <a:lnTo>
                    <a:pt x="394" y="295"/>
                  </a:lnTo>
                  <a:lnTo>
                    <a:pt x="394" y="296"/>
                  </a:lnTo>
                  <a:lnTo>
                    <a:pt x="394" y="297"/>
                  </a:lnTo>
                  <a:lnTo>
                    <a:pt x="394" y="298"/>
                  </a:lnTo>
                  <a:lnTo>
                    <a:pt x="394" y="298"/>
                  </a:lnTo>
                  <a:lnTo>
                    <a:pt x="394" y="298"/>
                  </a:lnTo>
                  <a:lnTo>
                    <a:pt x="393" y="299"/>
                  </a:lnTo>
                  <a:lnTo>
                    <a:pt x="391" y="300"/>
                  </a:lnTo>
                  <a:lnTo>
                    <a:pt x="387" y="301"/>
                  </a:lnTo>
                  <a:lnTo>
                    <a:pt x="385" y="302"/>
                  </a:lnTo>
                  <a:lnTo>
                    <a:pt x="382" y="304"/>
                  </a:lnTo>
                  <a:lnTo>
                    <a:pt x="379" y="305"/>
                  </a:lnTo>
                  <a:lnTo>
                    <a:pt x="377" y="307"/>
                  </a:lnTo>
                  <a:lnTo>
                    <a:pt x="376" y="309"/>
                  </a:lnTo>
                  <a:lnTo>
                    <a:pt x="374" y="310"/>
                  </a:lnTo>
                  <a:lnTo>
                    <a:pt x="373" y="312"/>
                  </a:lnTo>
                  <a:lnTo>
                    <a:pt x="372" y="314"/>
                  </a:lnTo>
                  <a:lnTo>
                    <a:pt x="371" y="315"/>
                  </a:lnTo>
                  <a:lnTo>
                    <a:pt x="371" y="317"/>
                  </a:lnTo>
                  <a:lnTo>
                    <a:pt x="371" y="318"/>
                  </a:lnTo>
                  <a:lnTo>
                    <a:pt x="371" y="320"/>
                  </a:lnTo>
                  <a:lnTo>
                    <a:pt x="371" y="321"/>
                  </a:lnTo>
                  <a:lnTo>
                    <a:pt x="373" y="327"/>
                  </a:lnTo>
                  <a:lnTo>
                    <a:pt x="373" y="331"/>
                  </a:lnTo>
                  <a:lnTo>
                    <a:pt x="373" y="332"/>
                  </a:lnTo>
                  <a:lnTo>
                    <a:pt x="373" y="334"/>
                  </a:lnTo>
                  <a:lnTo>
                    <a:pt x="373" y="335"/>
                  </a:lnTo>
                  <a:lnTo>
                    <a:pt x="373" y="337"/>
                  </a:lnTo>
                  <a:lnTo>
                    <a:pt x="372" y="338"/>
                  </a:lnTo>
                  <a:lnTo>
                    <a:pt x="371" y="339"/>
                  </a:lnTo>
                  <a:lnTo>
                    <a:pt x="371" y="339"/>
                  </a:lnTo>
                  <a:lnTo>
                    <a:pt x="369" y="340"/>
                  </a:lnTo>
                  <a:lnTo>
                    <a:pt x="364" y="342"/>
                  </a:lnTo>
                  <a:lnTo>
                    <a:pt x="361" y="343"/>
                  </a:lnTo>
                  <a:lnTo>
                    <a:pt x="360" y="343"/>
                  </a:lnTo>
                  <a:lnTo>
                    <a:pt x="360" y="343"/>
                  </a:lnTo>
                  <a:lnTo>
                    <a:pt x="360" y="344"/>
                  </a:lnTo>
                  <a:lnTo>
                    <a:pt x="359" y="345"/>
                  </a:lnTo>
                  <a:lnTo>
                    <a:pt x="359" y="346"/>
                  </a:lnTo>
                  <a:lnTo>
                    <a:pt x="358" y="347"/>
                  </a:lnTo>
                  <a:lnTo>
                    <a:pt x="358" y="349"/>
                  </a:lnTo>
                  <a:lnTo>
                    <a:pt x="358" y="353"/>
                  </a:lnTo>
                  <a:lnTo>
                    <a:pt x="358" y="354"/>
                  </a:lnTo>
                  <a:lnTo>
                    <a:pt x="358" y="357"/>
                  </a:lnTo>
                  <a:lnTo>
                    <a:pt x="357" y="359"/>
                  </a:lnTo>
                  <a:lnTo>
                    <a:pt x="356" y="361"/>
                  </a:lnTo>
                  <a:lnTo>
                    <a:pt x="355" y="362"/>
                  </a:lnTo>
                  <a:lnTo>
                    <a:pt x="352" y="366"/>
                  </a:lnTo>
                  <a:lnTo>
                    <a:pt x="350" y="369"/>
                  </a:lnTo>
                  <a:lnTo>
                    <a:pt x="344" y="384"/>
                  </a:lnTo>
                  <a:lnTo>
                    <a:pt x="343" y="388"/>
                  </a:lnTo>
                  <a:lnTo>
                    <a:pt x="341" y="393"/>
                  </a:lnTo>
                  <a:lnTo>
                    <a:pt x="340" y="399"/>
                  </a:lnTo>
                  <a:lnTo>
                    <a:pt x="337" y="407"/>
                  </a:lnTo>
                  <a:lnTo>
                    <a:pt x="337" y="408"/>
                  </a:lnTo>
                  <a:lnTo>
                    <a:pt x="337" y="410"/>
                  </a:lnTo>
                  <a:lnTo>
                    <a:pt x="336" y="411"/>
                  </a:lnTo>
                  <a:lnTo>
                    <a:pt x="335" y="411"/>
                  </a:lnTo>
                  <a:lnTo>
                    <a:pt x="333" y="411"/>
                  </a:lnTo>
                  <a:lnTo>
                    <a:pt x="331" y="411"/>
                  </a:lnTo>
                  <a:lnTo>
                    <a:pt x="328" y="411"/>
                  </a:lnTo>
                  <a:lnTo>
                    <a:pt x="318" y="411"/>
                  </a:lnTo>
                  <a:lnTo>
                    <a:pt x="316" y="411"/>
                  </a:lnTo>
                  <a:lnTo>
                    <a:pt x="312" y="410"/>
                  </a:lnTo>
                  <a:lnTo>
                    <a:pt x="310" y="409"/>
                  </a:lnTo>
                  <a:lnTo>
                    <a:pt x="309" y="410"/>
                  </a:lnTo>
                  <a:lnTo>
                    <a:pt x="307" y="410"/>
                  </a:lnTo>
                  <a:lnTo>
                    <a:pt x="306" y="410"/>
                  </a:lnTo>
                  <a:lnTo>
                    <a:pt x="304" y="411"/>
                  </a:lnTo>
                  <a:lnTo>
                    <a:pt x="303" y="411"/>
                  </a:lnTo>
                  <a:lnTo>
                    <a:pt x="303" y="412"/>
                  </a:lnTo>
                  <a:lnTo>
                    <a:pt x="302" y="413"/>
                  </a:lnTo>
                  <a:lnTo>
                    <a:pt x="301" y="413"/>
                  </a:lnTo>
                  <a:lnTo>
                    <a:pt x="300" y="415"/>
                  </a:lnTo>
                  <a:lnTo>
                    <a:pt x="299" y="416"/>
                  </a:lnTo>
                  <a:lnTo>
                    <a:pt x="298" y="418"/>
                  </a:lnTo>
                  <a:lnTo>
                    <a:pt x="296" y="423"/>
                  </a:lnTo>
                  <a:lnTo>
                    <a:pt x="294" y="429"/>
                  </a:lnTo>
                  <a:lnTo>
                    <a:pt x="293" y="433"/>
                  </a:lnTo>
                  <a:lnTo>
                    <a:pt x="293" y="436"/>
                  </a:lnTo>
                  <a:lnTo>
                    <a:pt x="292" y="439"/>
                  </a:lnTo>
                  <a:lnTo>
                    <a:pt x="292" y="441"/>
                  </a:lnTo>
                  <a:lnTo>
                    <a:pt x="292" y="446"/>
                  </a:lnTo>
                  <a:lnTo>
                    <a:pt x="292" y="450"/>
                  </a:lnTo>
                  <a:lnTo>
                    <a:pt x="291" y="454"/>
                  </a:lnTo>
                  <a:lnTo>
                    <a:pt x="291" y="457"/>
                  </a:lnTo>
                  <a:lnTo>
                    <a:pt x="289" y="463"/>
                  </a:lnTo>
                  <a:lnTo>
                    <a:pt x="286" y="469"/>
                  </a:lnTo>
                  <a:lnTo>
                    <a:pt x="283" y="474"/>
                  </a:lnTo>
                  <a:lnTo>
                    <a:pt x="280" y="480"/>
                  </a:lnTo>
                  <a:lnTo>
                    <a:pt x="280" y="480"/>
                  </a:lnTo>
                  <a:lnTo>
                    <a:pt x="278" y="479"/>
                  </a:lnTo>
                  <a:lnTo>
                    <a:pt x="273" y="478"/>
                  </a:lnTo>
                  <a:lnTo>
                    <a:pt x="267" y="475"/>
                  </a:lnTo>
                  <a:lnTo>
                    <a:pt x="257" y="472"/>
                  </a:lnTo>
                  <a:lnTo>
                    <a:pt x="253" y="471"/>
                  </a:lnTo>
                  <a:lnTo>
                    <a:pt x="240" y="468"/>
                  </a:lnTo>
                  <a:lnTo>
                    <a:pt x="237" y="468"/>
                  </a:lnTo>
                  <a:lnTo>
                    <a:pt x="235" y="467"/>
                  </a:lnTo>
                  <a:lnTo>
                    <a:pt x="234" y="467"/>
                  </a:lnTo>
                  <a:lnTo>
                    <a:pt x="233" y="467"/>
                  </a:lnTo>
                  <a:lnTo>
                    <a:pt x="231" y="468"/>
                  </a:lnTo>
                  <a:lnTo>
                    <a:pt x="229" y="468"/>
                  </a:lnTo>
                  <a:lnTo>
                    <a:pt x="226" y="469"/>
                  </a:lnTo>
                  <a:lnTo>
                    <a:pt x="220" y="473"/>
                  </a:lnTo>
                  <a:lnTo>
                    <a:pt x="217" y="474"/>
                  </a:lnTo>
                  <a:lnTo>
                    <a:pt x="214" y="475"/>
                  </a:lnTo>
                  <a:lnTo>
                    <a:pt x="212" y="476"/>
                  </a:lnTo>
                  <a:lnTo>
                    <a:pt x="210" y="477"/>
                  </a:lnTo>
                  <a:lnTo>
                    <a:pt x="209" y="477"/>
                  </a:lnTo>
                  <a:lnTo>
                    <a:pt x="207" y="477"/>
                  </a:lnTo>
                  <a:lnTo>
                    <a:pt x="205" y="477"/>
                  </a:lnTo>
                  <a:lnTo>
                    <a:pt x="203" y="476"/>
                  </a:lnTo>
                  <a:lnTo>
                    <a:pt x="201" y="476"/>
                  </a:lnTo>
                  <a:lnTo>
                    <a:pt x="199" y="475"/>
                  </a:lnTo>
                  <a:lnTo>
                    <a:pt x="197" y="474"/>
                  </a:lnTo>
                  <a:lnTo>
                    <a:pt x="195" y="473"/>
                  </a:lnTo>
                  <a:lnTo>
                    <a:pt x="194" y="472"/>
                  </a:lnTo>
                  <a:lnTo>
                    <a:pt x="192" y="470"/>
                  </a:lnTo>
                  <a:lnTo>
                    <a:pt x="191" y="469"/>
                  </a:lnTo>
                  <a:lnTo>
                    <a:pt x="189" y="468"/>
                  </a:lnTo>
                  <a:lnTo>
                    <a:pt x="185" y="461"/>
                  </a:lnTo>
                  <a:lnTo>
                    <a:pt x="182" y="458"/>
                  </a:lnTo>
                  <a:lnTo>
                    <a:pt x="180" y="456"/>
                  </a:lnTo>
                  <a:lnTo>
                    <a:pt x="178" y="455"/>
                  </a:lnTo>
                  <a:lnTo>
                    <a:pt x="178" y="454"/>
                  </a:lnTo>
                  <a:lnTo>
                    <a:pt x="176" y="453"/>
                  </a:lnTo>
                  <a:lnTo>
                    <a:pt x="174" y="451"/>
                  </a:lnTo>
                  <a:lnTo>
                    <a:pt x="173" y="451"/>
                  </a:lnTo>
                  <a:lnTo>
                    <a:pt x="171" y="450"/>
                  </a:lnTo>
                  <a:lnTo>
                    <a:pt x="169" y="450"/>
                  </a:lnTo>
                  <a:lnTo>
                    <a:pt x="166" y="449"/>
                  </a:lnTo>
                  <a:lnTo>
                    <a:pt x="159" y="448"/>
                  </a:lnTo>
                  <a:lnTo>
                    <a:pt x="157" y="448"/>
                  </a:lnTo>
                  <a:lnTo>
                    <a:pt x="155" y="447"/>
                  </a:lnTo>
                  <a:lnTo>
                    <a:pt x="153" y="447"/>
                  </a:lnTo>
                  <a:lnTo>
                    <a:pt x="151" y="446"/>
                  </a:lnTo>
                  <a:lnTo>
                    <a:pt x="150" y="445"/>
                  </a:lnTo>
                  <a:lnTo>
                    <a:pt x="149" y="445"/>
                  </a:lnTo>
                  <a:lnTo>
                    <a:pt x="148" y="444"/>
                  </a:lnTo>
                  <a:lnTo>
                    <a:pt x="148" y="443"/>
                  </a:lnTo>
                  <a:lnTo>
                    <a:pt x="149" y="442"/>
                  </a:lnTo>
                  <a:lnTo>
                    <a:pt x="153" y="440"/>
                  </a:lnTo>
                  <a:lnTo>
                    <a:pt x="154" y="439"/>
                  </a:lnTo>
                  <a:lnTo>
                    <a:pt x="155" y="438"/>
                  </a:lnTo>
                  <a:lnTo>
                    <a:pt x="155" y="437"/>
                  </a:lnTo>
                  <a:lnTo>
                    <a:pt x="156" y="436"/>
                  </a:lnTo>
                  <a:lnTo>
                    <a:pt x="157" y="434"/>
                  </a:lnTo>
                  <a:lnTo>
                    <a:pt x="157" y="433"/>
                  </a:lnTo>
                  <a:lnTo>
                    <a:pt x="158" y="431"/>
                  </a:lnTo>
                  <a:lnTo>
                    <a:pt x="158" y="429"/>
                  </a:lnTo>
                  <a:lnTo>
                    <a:pt x="158" y="427"/>
                  </a:lnTo>
                  <a:lnTo>
                    <a:pt x="158" y="426"/>
                  </a:lnTo>
                  <a:lnTo>
                    <a:pt x="157" y="424"/>
                  </a:lnTo>
                  <a:lnTo>
                    <a:pt x="156" y="423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3" y="421"/>
                  </a:lnTo>
                  <a:lnTo>
                    <a:pt x="151" y="419"/>
                  </a:lnTo>
                  <a:lnTo>
                    <a:pt x="148" y="418"/>
                  </a:lnTo>
                  <a:lnTo>
                    <a:pt x="144" y="417"/>
                  </a:lnTo>
                  <a:lnTo>
                    <a:pt x="135" y="413"/>
                  </a:lnTo>
                  <a:lnTo>
                    <a:pt x="132" y="412"/>
                  </a:lnTo>
                  <a:lnTo>
                    <a:pt x="131" y="411"/>
                  </a:lnTo>
                  <a:lnTo>
                    <a:pt x="127" y="410"/>
                  </a:lnTo>
                  <a:lnTo>
                    <a:pt x="123" y="407"/>
                  </a:lnTo>
                  <a:lnTo>
                    <a:pt x="120" y="404"/>
                  </a:lnTo>
                  <a:lnTo>
                    <a:pt x="114" y="400"/>
                  </a:lnTo>
                  <a:lnTo>
                    <a:pt x="112" y="398"/>
                  </a:lnTo>
                  <a:lnTo>
                    <a:pt x="109" y="397"/>
                  </a:lnTo>
                  <a:lnTo>
                    <a:pt x="108" y="396"/>
                  </a:lnTo>
                  <a:lnTo>
                    <a:pt x="107" y="396"/>
                  </a:lnTo>
                  <a:lnTo>
                    <a:pt x="105" y="395"/>
                  </a:lnTo>
                  <a:lnTo>
                    <a:pt x="102" y="395"/>
                  </a:lnTo>
                  <a:lnTo>
                    <a:pt x="100" y="395"/>
                  </a:lnTo>
                  <a:lnTo>
                    <a:pt x="98" y="396"/>
                  </a:lnTo>
                  <a:lnTo>
                    <a:pt x="95" y="397"/>
                  </a:lnTo>
                  <a:lnTo>
                    <a:pt x="92" y="398"/>
                  </a:lnTo>
                  <a:lnTo>
                    <a:pt x="88" y="400"/>
                  </a:lnTo>
                  <a:lnTo>
                    <a:pt x="78" y="405"/>
                  </a:lnTo>
                  <a:lnTo>
                    <a:pt x="76" y="406"/>
                  </a:lnTo>
                  <a:lnTo>
                    <a:pt x="75" y="406"/>
                  </a:lnTo>
                  <a:lnTo>
                    <a:pt x="73" y="407"/>
                  </a:lnTo>
                  <a:lnTo>
                    <a:pt x="70" y="407"/>
                  </a:lnTo>
                  <a:lnTo>
                    <a:pt x="68" y="407"/>
                  </a:lnTo>
                  <a:lnTo>
                    <a:pt x="65" y="406"/>
                  </a:lnTo>
                  <a:lnTo>
                    <a:pt x="64" y="405"/>
                  </a:lnTo>
                  <a:lnTo>
                    <a:pt x="63" y="404"/>
                  </a:lnTo>
                  <a:lnTo>
                    <a:pt x="61" y="402"/>
                  </a:lnTo>
                  <a:lnTo>
                    <a:pt x="58" y="400"/>
                  </a:lnTo>
                  <a:lnTo>
                    <a:pt x="46" y="390"/>
                  </a:lnTo>
                  <a:lnTo>
                    <a:pt x="43" y="388"/>
                  </a:lnTo>
                  <a:lnTo>
                    <a:pt x="36" y="380"/>
                  </a:lnTo>
                  <a:lnTo>
                    <a:pt x="34" y="378"/>
                  </a:lnTo>
                  <a:lnTo>
                    <a:pt x="31" y="377"/>
                  </a:lnTo>
                  <a:lnTo>
                    <a:pt x="29" y="375"/>
                  </a:lnTo>
                  <a:lnTo>
                    <a:pt x="26" y="373"/>
                  </a:lnTo>
                  <a:lnTo>
                    <a:pt x="24" y="371"/>
                  </a:lnTo>
                  <a:lnTo>
                    <a:pt x="23" y="371"/>
                  </a:lnTo>
                  <a:lnTo>
                    <a:pt x="23" y="370"/>
                  </a:lnTo>
                  <a:lnTo>
                    <a:pt x="23" y="368"/>
                  </a:lnTo>
                  <a:lnTo>
                    <a:pt x="23" y="367"/>
                  </a:lnTo>
                  <a:lnTo>
                    <a:pt x="22" y="366"/>
                  </a:lnTo>
                  <a:lnTo>
                    <a:pt x="21" y="364"/>
                  </a:lnTo>
                  <a:lnTo>
                    <a:pt x="17" y="354"/>
                  </a:lnTo>
                  <a:lnTo>
                    <a:pt x="15" y="351"/>
                  </a:lnTo>
                  <a:lnTo>
                    <a:pt x="14" y="348"/>
                  </a:lnTo>
                  <a:lnTo>
                    <a:pt x="13" y="346"/>
                  </a:lnTo>
                  <a:lnTo>
                    <a:pt x="13" y="344"/>
                  </a:lnTo>
                  <a:lnTo>
                    <a:pt x="13" y="343"/>
                  </a:lnTo>
                  <a:lnTo>
                    <a:pt x="13" y="342"/>
                  </a:lnTo>
                  <a:lnTo>
                    <a:pt x="13" y="340"/>
                  </a:lnTo>
                  <a:lnTo>
                    <a:pt x="14" y="338"/>
                  </a:lnTo>
                  <a:lnTo>
                    <a:pt x="15" y="336"/>
                  </a:lnTo>
                  <a:lnTo>
                    <a:pt x="16" y="334"/>
                  </a:lnTo>
                  <a:lnTo>
                    <a:pt x="18" y="332"/>
                  </a:lnTo>
                  <a:lnTo>
                    <a:pt x="25" y="322"/>
                  </a:lnTo>
                  <a:lnTo>
                    <a:pt x="25" y="321"/>
                  </a:lnTo>
                  <a:lnTo>
                    <a:pt x="26" y="320"/>
                  </a:lnTo>
                  <a:lnTo>
                    <a:pt x="26" y="320"/>
                  </a:lnTo>
                  <a:lnTo>
                    <a:pt x="25" y="319"/>
                  </a:lnTo>
                  <a:lnTo>
                    <a:pt x="25" y="318"/>
                  </a:lnTo>
                  <a:lnTo>
                    <a:pt x="22" y="314"/>
                  </a:lnTo>
                  <a:lnTo>
                    <a:pt x="21" y="311"/>
                  </a:lnTo>
                  <a:lnTo>
                    <a:pt x="19" y="309"/>
                  </a:lnTo>
                  <a:lnTo>
                    <a:pt x="18" y="308"/>
                  </a:lnTo>
                  <a:lnTo>
                    <a:pt x="16" y="306"/>
                  </a:lnTo>
                  <a:lnTo>
                    <a:pt x="10" y="302"/>
                  </a:lnTo>
                  <a:lnTo>
                    <a:pt x="7" y="299"/>
                  </a:lnTo>
                  <a:lnTo>
                    <a:pt x="5" y="297"/>
                  </a:lnTo>
                  <a:lnTo>
                    <a:pt x="3" y="295"/>
                  </a:lnTo>
                  <a:lnTo>
                    <a:pt x="2" y="294"/>
                  </a:lnTo>
                  <a:lnTo>
                    <a:pt x="2" y="292"/>
                  </a:lnTo>
                  <a:lnTo>
                    <a:pt x="1" y="291"/>
                  </a:lnTo>
                  <a:lnTo>
                    <a:pt x="1" y="290"/>
                  </a:lnTo>
                  <a:lnTo>
                    <a:pt x="0" y="288"/>
                  </a:lnTo>
                  <a:lnTo>
                    <a:pt x="0" y="286"/>
                  </a:lnTo>
                  <a:lnTo>
                    <a:pt x="0" y="283"/>
                  </a:lnTo>
                  <a:lnTo>
                    <a:pt x="0" y="279"/>
                  </a:lnTo>
                  <a:lnTo>
                    <a:pt x="1" y="275"/>
                  </a:lnTo>
                  <a:lnTo>
                    <a:pt x="2" y="273"/>
                  </a:lnTo>
                  <a:lnTo>
                    <a:pt x="4" y="266"/>
                  </a:lnTo>
                  <a:lnTo>
                    <a:pt x="6" y="262"/>
                  </a:lnTo>
                  <a:lnTo>
                    <a:pt x="7" y="258"/>
                  </a:lnTo>
                  <a:lnTo>
                    <a:pt x="7" y="252"/>
                  </a:lnTo>
                  <a:lnTo>
                    <a:pt x="10" y="243"/>
                  </a:lnTo>
                  <a:lnTo>
                    <a:pt x="10" y="241"/>
                  </a:lnTo>
                  <a:lnTo>
                    <a:pt x="10" y="240"/>
                  </a:lnTo>
                  <a:lnTo>
                    <a:pt x="10" y="239"/>
                  </a:lnTo>
                  <a:lnTo>
                    <a:pt x="9" y="236"/>
                  </a:lnTo>
                  <a:lnTo>
                    <a:pt x="9" y="235"/>
                  </a:lnTo>
                  <a:lnTo>
                    <a:pt x="9" y="233"/>
                  </a:lnTo>
                  <a:lnTo>
                    <a:pt x="9" y="232"/>
                  </a:lnTo>
                  <a:lnTo>
                    <a:pt x="10" y="230"/>
                  </a:lnTo>
                  <a:lnTo>
                    <a:pt x="13" y="223"/>
                  </a:lnTo>
                  <a:lnTo>
                    <a:pt x="16" y="215"/>
                  </a:lnTo>
                  <a:lnTo>
                    <a:pt x="19" y="207"/>
                  </a:lnTo>
                  <a:lnTo>
                    <a:pt x="20" y="203"/>
                  </a:lnTo>
                  <a:lnTo>
                    <a:pt x="22" y="199"/>
                  </a:lnTo>
                  <a:lnTo>
                    <a:pt x="22" y="196"/>
                  </a:lnTo>
                  <a:lnTo>
                    <a:pt x="23" y="193"/>
                  </a:lnTo>
                  <a:lnTo>
                    <a:pt x="23" y="189"/>
                  </a:lnTo>
                  <a:lnTo>
                    <a:pt x="24" y="186"/>
                  </a:lnTo>
                  <a:lnTo>
                    <a:pt x="23" y="180"/>
                  </a:lnTo>
                  <a:lnTo>
                    <a:pt x="23" y="177"/>
                  </a:lnTo>
                  <a:lnTo>
                    <a:pt x="24" y="174"/>
                  </a:lnTo>
                  <a:lnTo>
                    <a:pt x="25" y="167"/>
                  </a:lnTo>
                  <a:lnTo>
                    <a:pt x="25" y="164"/>
                  </a:lnTo>
                  <a:lnTo>
                    <a:pt x="25" y="161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3" y="151"/>
                  </a:lnTo>
                  <a:lnTo>
                    <a:pt x="22" y="149"/>
                  </a:lnTo>
                  <a:lnTo>
                    <a:pt x="21" y="147"/>
                  </a:lnTo>
                  <a:lnTo>
                    <a:pt x="20" y="144"/>
                  </a:lnTo>
                  <a:lnTo>
                    <a:pt x="19" y="142"/>
                  </a:lnTo>
                  <a:lnTo>
                    <a:pt x="15" y="134"/>
                  </a:lnTo>
                  <a:lnTo>
                    <a:pt x="14" y="132"/>
                  </a:lnTo>
                  <a:lnTo>
                    <a:pt x="13" y="130"/>
                  </a:lnTo>
                  <a:lnTo>
                    <a:pt x="13" y="129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26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5" y="123"/>
                  </a:lnTo>
                  <a:lnTo>
                    <a:pt x="17" y="122"/>
                  </a:lnTo>
                  <a:lnTo>
                    <a:pt x="19" y="121"/>
                  </a:lnTo>
                  <a:lnTo>
                    <a:pt x="21" y="120"/>
                  </a:lnTo>
                  <a:lnTo>
                    <a:pt x="24" y="119"/>
                  </a:lnTo>
                  <a:lnTo>
                    <a:pt x="26" y="118"/>
                  </a:lnTo>
                  <a:lnTo>
                    <a:pt x="28" y="117"/>
                  </a:lnTo>
                  <a:lnTo>
                    <a:pt x="29" y="116"/>
                  </a:lnTo>
                  <a:lnTo>
                    <a:pt x="30" y="115"/>
                  </a:lnTo>
                  <a:lnTo>
                    <a:pt x="30" y="113"/>
                  </a:lnTo>
                  <a:lnTo>
                    <a:pt x="31" y="111"/>
                  </a:lnTo>
                  <a:lnTo>
                    <a:pt x="31" y="110"/>
                  </a:lnTo>
                  <a:lnTo>
                    <a:pt x="31" y="108"/>
                  </a:lnTo>
                  <a:lnTo>
                    <a:pt x="31" y="106"/>
                  </a:lnTo>
                  <a:lnTo>
                    <a:pt x="31" y="104"/>
                  </a:lnTo>
                  <a:lnTo>
                    <a:pt x="31" y="101"/>
                  </a:lnTo>
                  <a:lnTo>
                    <a:pt x="30" y="91"/>
                  </a:lnTo>
                  <a:lnTo>
                    <a:pt x="29" y="90"/>
                  </a:lnTo>
                  <a:lnTo>
                    <a:pt x="29" y="89"/>
                  </a:lnTo>
                  <a:lnTo>
                    <a:pt x="30" y="89"/>
                  </a:lnTo>
                  <a:lnTo>
                    <a:pt x="30" y="88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1" y="83"/>
                  </a:lnTo>
                  <a:lnTo>
                    <a:pt x="34" y="80"/>
                  </a:lnTo>
                  <a:lnTo>
                    <a:pt x="35" y="78"/>
                  </a:lnTo>
                  <a:lnTo>
                    <a:pt x="36" y="77"/>
                  </a:lnTo>
                  <a:lnTo>
                    <a:pt x="36" y="75"/>
                  </a:lnTo>
                  <a:lnTo>
                    <a:pt x="36" y="73"/>
                  </a:lnTo>
                  <a:lnTo>
                    <a:pt x="36" y="71"/>
                  </a:lnTo>
                  <a:lnTo>
                    <a:pt x="35" y="68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6" y="60"/>
                  </a:lnTo>
                  <a:lnTo>
                    <a:pt x="37" y="59"/>
                  </a:lnTo>
                  <a:lnTo>
                    <a:pt x="37" y="57"/>
                  </a:lnTo>
                  <a:lnTo>
                    <a:pt x="38" y="57"/>
                  </a:lnTo>
                  <a:lnTo>
                    <a:pt x="39" y="56"/>
                  </a:lnTo>
                  <a:lnTo>
                    <a:pt x="40" y="56"/>
                  </a:lnTo>
                  <a:lnTo>
                    <a:pt x="41" y="55"/>
                  </a:lnTo>
                  <a:lnTo>
                    <a:pt x="47" y="55"/>
                  </a:lnTo>
                  <a:lnTo>
                    <a:pt x="53" y="54"/>
                  </a:lnTo>
                  <a:lnTo>
                    <a:pt x="58" y="54"/>
                  </a:lnTo>
                  <a:lnTo>
                    <a:pt x="61" y="54"/>
                  </a:lnTo>
                  <a:lnTo>
                    <a:pt x="63" y="53"/>
                  </a:lnTo>
                  <a:lnTo>
                    <a:pt x="65" y="53"/>
                  </a:lnTo>
                  <a:lnTo>
                    <a:pt x="67" y="52"/>
                  </a:lnTo>
                  <a:lnTo>
                    <a:pt x="69" y="51"/>
                  </a:lnTo>
                  <a:lnTo>
                    <a:pt x="70" y="50"/>
                  </a:lnTo>
                  <a:lnTo>
                    <a:pt x="71" y="49"/>
                  </a:lnTo>
                  <a:lnTo>
                    <a:pt x="71" y="48"/>
                  </a:lnTo>
                  <a:lnTo>
                    <a:pt x="71" y="48"/>
                  </a:lnTo>
                  <a:lnTo>
                    <a:pt x="71" y="47"/>
                  </a:lnTo>
                  <a:lnTo>
                    <a:pt x="70" y="45"/>
                  </a:lnTo>
                  <a:lnTo>
                    <a:pt x="69" y="43"/>
                  </a:lnTo>
                  <a:lnTo>
                    <a:pt x="67" y="40"/>
                  </a:lnTo>
                  <a:lnTo>
                    <a:pt x="64" y="37"/>
                  </a:lnTo>
                  <a:lnTo>
                    <a:pt x="64" y="35"/>
                  </a:lnTo>
                  <a:lnTo>
                    <a:pt x="63" y="34"/>
                  </a:lnTo>
                  <a:lnTo>
                    <a:pt x="63" y="33"/>
                  </a:lnTo>
                  <a:lnTo>
                    <a:pt x="63" y="32"/>
                  </a:lnTo>
                  <a:lnTo>
                    <a:pt x="64" y="30"/>
                  </a:lnTo>
                  <a:lnTo>
                    <a:pt x="64" y="28"/>
                  </a:lnTo>
                  <a:lnTo>
                    <a:pt x="66" y="26"/>
                  </a:lnTo>
                  <a:lnTo>
                    <a:pt x="67" y="25"/>
                  </a:lnTo>
                  <a:lnTo>
                    <a:pt x="70" y="24"/>
                  </a:lnTo>
                  <a:lnTo>
                    <a:pt x="73" y="23"/>
                  </a:lnTo>
                  <a:lnTo>
                    <a:pt x="75" y="21"/>
                  </a:lnTo>
                  <a:lnTo>
                    <a:pt x="79" y="20"/>
                  </a:lnTo>
                  <a:lnTo>
                    <a:pt x="81" y="2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1" name="Freeform 58">
              <a:extLst>
                <a:ext uri="{FF2B5EF4-FFF2-40B4-BE49-F238E27FC236}">
                  <a16:creationId xmlns:a16="http://schemas.microsoft.com/office/drawing/2014/main" id="{46056602-1144-4E0A-AF8E-4D77C021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5" y="2984"/>
              <a:ext cx="598" cy="491"/>
            </a:xfrm>
            <a:custGeom>
              <a:avLst/>
              <a:gdLst>
                <a:gd name="T0" fmla="*/ 271 w 598"/>
                <a:gd name="T1" fmla="*/ 6 h 491"/>
                <a:gd name="T2" fmla="*/ 293 w 598"/>
                <a:gd name="T3" fmla="*/ 30 h 491"/>
                <a:gd name="T4" fmla="*/ 325 w 598"/>
                <a:gd name="T5" fmla="*/ 19 h 491"/>
                <a:gd name="T6" fmla="*/ 348 w 598"/>
                <a:gd name="T7" fmla="*/ 39 h 491"/>
                <a:gd name="T8" fmla="*/ 371 w 598"/>
                <a:gd name="T9" fmla="*/ 49 h 491"/>
                <a:gd name="T10" fmla="*/ 391 w 598"/>
                <a:gd name="T11" fmla="*/ 41 h 491"/>
                <a:gd name="T12" fmla="*/ 423 w 598"/>
                <a:gd name="T13" fmla="*/ 76 h 491"/>
                <a:gd name="T14" fmla="*/ 450 w 598"/>
                <a:gd name="T15" fmla="*/ 91 h 491"/>
                <a:gd name="T16" fmla="*/ 477 w 598"/>
                <a:gd name="T17" fmla="*/ 101 h 491"/>
                <a:gd name="T18" fmla="*/ 505 w 598"/>
                <a:gd name="T19" fmla="*/ 87 h 491"/>
                <a:gd name="T20" fmla="*/ 536 w 598"/>
                <a:gd name="T21" fmla="*/ 106 h 491"/>
                <a:gd name="T22" fmla="*/ 548 w 598"/>
                <a:gd name="T23" fmla="*/ 126 h 491"/>
                <a:gd name="T24" fmla="*/ 578 w 598"/>
                <a:gd name="T25" fmla="*/ 136 h 491"/>
                <a:gd name="T26" fmla="*/ 581 w 598"/>
                <a:gd name="T27" fmla="*/ 166 h 491"/>
                <a:gd name="T28" fmla="*/ 598 w 598"/>
                <a:gd name="T29" fmla="*/ 193 h 491"/>
                <a:gd name="T30" fmla="*/ 576 w 598"/>
                <a:gd name="T31" fmla="*/ 214 h 491"/>
                <a:gd name="T32" fmla="*/ 574 w 598"/>
                <a:gd name="T33" fmla="*/ 240 h 491"/>
                <a:gd name="T34" fmla="*/ 558 w 598"/>
                <a:gd name="T35" fmla="*/ 256 h 491"/>
                <a:gd name="T36" fmla="*/ 575 w 598"/>
                <a:gd name="T37" fmla="*/ 283 h 491"/>
                <a:gd name="T38" fmla="*/ 581 w 598"/>
                <a:gd name="T39" fmla="*/ 299 h 491"/>
                <a:gd name="T40" fmla="*/ 563 w 598"/>
                <a:gd name="T41" fmla="*/ 318 h 491"/>
                <a:gd name="T42" fmla="*/ 520 w 598"/>
                <a:gd name="T43" fmla="*/ 334 h 491"/>
                <a:gd name="T44" fmla="*/ 498 w 598"/>
                <a:gd name="T45" fmla="*/ 351 h 491"/>
                <a:gd name="T46" fmla="*/ 480 w 598"/>
                <a:gd name="T47" fmla="*/ 372 h 491"/>
                <a:gd name="T48" fmla="*/ 424 w 598"/>
                <a:gd name="T49" fmla="*/ 371 h 491"/>
                <a:gd name="T50" fmla="*/ 393 w 598"/>
                <a:gd name="T51" fmla="*/ 383 h 491"/>
                <a:gd name="T52" fmla="*/ 366 w 598"/>
                <a:gd name="T53" fmla="*/ 364 h 491"/>
                <a:gd name="T54" fmla="*/ 343 w 598"/>
                <a:gd name="T55" fmla="*/ 367 h 491"/>
                <a:gd name="T56" fmla="*/ 320 w 598"/>
                <a:gd name="T57" fmla="*/ 381 h 491"/>
                <a:gd name="T58" fmla="*/ 301 w 598"/>
                <a:gd name="T59" fmla="*/ 393 h 491"/>
                <a:gd name="T60" fmla="*/ 276 w 598"/>
                <a:gd name="T61" fmla="*/ 408 h 491"/>
                <a:gd name="T62" fmla="*/ 235 w 598"/>
                <a:gd name="T63" fmla="*/ 431 h 491"/>
                <a:gd name="T64" fmla="*/ 197 w 598"/>
                <a:gd name="T65" fmla="*/ 462 h 491"/>
                <a:gd name="T66" fmla="*/ 177 w 598"/>
                <a:gd name="T67" fmla="*/ 474 h 491"/>
                <a:gd name="T68" fmla="*/ 137 w 598"/>
                <a:gd name="T69" fmla="*/ 468 h 491"/>
                <a:gd name="T70" fmla="*/ 116 w 598"/>
                <a:gd name="T71" fmla="*/ 491 h 491"/>
                <a:gd name="T72" fmla="*/ 90 w 598"/>
                <a:gd name="T73" fmla="*/ 480 h 491"/>
                <a:gd name="T74" fmla="*/ 71 w 598"/>
                <a:gd name="T75" fmla="*/ 485 h 491"/>
                <a:gd name="T76" fmla="*/ 46 w 598"/>
                <a:gd name="T77" fmla="*/ 459 h 491"/>
                <a:gd name="T78" fmla="*/ 18 w 598"/>
                <a:gd name="T79" fmla="*/ 434 h 491"/>
                <a:gd name="T80" fmla="*/ 0 w 598"/>
                <a:gd name="T81" fmla="*/ 426 h 491"/>
                <a:gd name="T82" fmla="*/ 25 w 598"/>
                <a:gd name="T83" fmla="*/ 392 h 491"/>
                <a:gd name="T84" fmla="*/ 40 w 598"/>
                <a:gd name="T85" fmla="*/ 354 h 491"/>
                <a:gd name="T86" fmla="*/ 68 w 598"/>
                <a:gd name="T87" fmla="*/ 334 h 491"/>
                <a:gd name="T88" fmla="*/ 88 w 598"/>
                <a:gd name="T89" fmla="*/ 321 h 491"/>
                <a:gd name="T90" fmla="*/ 119 w 598"/>
                <a:gd name="T91" fmla="*/ 277 h 491"/>
                <a:gd name="T92" fmla="*/ 123 w 598"/>
                <a:gd name="T93" fmla="*/ 229 h 491"/>
                <a:gd name="T94" fmla="*/ 109 w 598"/>
                <a:gd name="T95" fmla="*/ 188 h 491"/>
                <a:gd name="T96" fmla="*/ 102 w 598"/>
                <a:gd name="T97" fmla="*/ 153 h 491"/>
                <a:gd name="T98" fmla="*/ 109 w 598"/>
                <a:gd name="T99" fmla="*/ 131 h 491"/>
                <a:gd name="T100" fmla="*/ 126 w 598"/>
                <a:gd name="T101" fmla="*/ 129 h 491"/>
                <a:gd name="T102" fmla="*/ 156 w 598"/>
                <a:gd name="T103" fmla="*/ 144 h 491"/>
                <a:gd name="T104" fmla="*/ 167 w 598"/>
                <a:gd name="T105" fmla="*/ 125 h 491"/>
                <a:gd name="T106" fmla="*/ 166 w 598"/>
                <a:gd name="T107" fmla="*/ 89 h 491"/>
                <a:gd name="T108" fmla="*/ 181 w 598"/>
                <a:gd name="T109" fmla="*/ 75 h 491"/>
                <a:gd name="T110" fmla="*/ 179 w 598"/>
                <a:gd name="T111" fmla="*/ 54 h 491"/>
                <a:gd name="T112" fmla="*/ 191 w 598"/>
                <a:gd name="T113" fmla="*/ 29 h 491"/>
                <a:gd name="T114" fmla="*/ 204 w 598"/>
                <a:gd name="T115" fmla="*/ 18 h 491"/>
                <a:gd name="T116" fmla="*/ 234 w 598"/>
                <a:gd name="T117" fmla="*/ 13 h 491"/>
                <a:gd name="T118" fmla="*/ 268 w 598"/>
                <a:gd name="T119" fmla="*/ 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8" h="491">
                  <a:moveTo>
                    <a:pt x="268" y="0"/>
                  </a:moveTo>
                  <a:lnTo>
                    <a:pt x="268" y="0"/>
                  </a:lnTo>
                  <a:lnTo>
                    <a:pt x="269" y="0"/>
                  </a:lnTo>
                  <a:lnTo>
                    <a:pt x="270" y="0"/>
                  </a:lnTo>
                  <a:lnTo>
                    <a:pt x="271" y="0"/>
                  </a:lnTo>
                  <a:lnTo>
                    <a:pt x="270" y="1"/>
                  </a:lnTo>
                  <a:lnTo>
                    <a:pt x="271" y="2"/>
                  </a:lnTo>
                  <a:lnTo>
                    <a:pt x="271" y="3"/>
                  </a:lnTo>
                  <a:lnTo>
                    <a:pt x="272" y="4"/>
                  </a:lnTo>
                  <a:lnTo>
                    <a:pt x="272" y="5"/>
                  </a:lnTo>
                  <a:lnTo>
                    <a:pt x="271" y="5"/>
                  </a:lnTo>
                  <a:lnTo>
                    <a:pt x="271" y="6"/>
                  </a:lnTo>
                  <a:lnTo>
                    <a:pt x="270" y="7"/>
                  </a:lnTo>
                  <a:lnTo>
                    <a:pt x="271" y="7"/>
                  </a:lnTo>
                  <a:lnTo>
                    <a:pt x="271" y="9"/>
                  </a:lnTo>
                  <a:lnTo>
                    <a:pt x="273" y="11"/>
                  </a:lnTo>
                  <a:lnTo>
                    <a:pt x="274" y="13"/>
                  </a:lnTo>
                  <a:lnTo>
                    <a:pt x="276" y="15"/>
                  </a:lnTo>
                  <a:lnTo>
                    <a:pt x="278" y="18"/>
                  </a:lnTo>
                  <a:lnTo>
                    <a:pt x="279" y="19"/>
                  </a:lnTo>
                  <a:lnTo>
                    <a:pt x="290" y="28"/>
                  </a:lnTo>
                  <a:lnTo>
                    <a:pt x="291" y="29"/>
                  </a:lnTo>
                  <a:lnTo>
                    <a:pt x="292" y="30"/>
                  </a:lnTo>
                  <a:lnTo>
                    <a:pt x="293" y="30"/>
                  </a:lnTo>
                  <a:lnTo>
                    <a:pt x="295" y="30"/>
                  </a:lnTo>
                  <a:lnTo>
                    <a:pt x="297" y="31"/>
                  </a:lnTo>
                  <a:lnTo>
                    <a:pt x="300" y="31"/>
                  </a:lnTo>
                  <a:lnTo>
                    <a:pt x="302" y="30"/>
                  </a:lnTo>
                  <a:lnTo>
                    <a:pt x="304" y="30"/>
                  </a:lnTo>
                  <a:lnTo>
                    <a:pt x="308" y="29"/>
                  </a:lnTo>
                  <a:lnTo>
                    <a:pt x="312" y="27"/>
                  </a:lnTo>
                  <a:lnTo>
                    <a:pt x="314" y="25"/>
                  </a:lnTo>
                  <a:lnTo>
                    <a:pt x="320" y="21"/>
                  </a:lnTo>
                  <a:lnTo>
                    <a:pt x="322" y="20"/>
                  </a:lnTo>
                  <a:lnTo>
                    <a:pt x="323" y="19"/>
                  </a:lnTo>
                  <a:lnTo>
                    <a:pt x="325" y="19"/>
                  </a:lnTo>
                  <a:lnTo>
                    <a:pt x="326" y="19"/>
                  </a:lnTo>
                  <a:lnTo>
                    <a:pt x="328" y="19"/>
                  </a:lnTo>
                  <a:lnTo>
                    <a:pt x="330" y="19"/>
                  </a:lnTo>
                  <a:lnTo>
                    <a:pt x="332" y="19"/>
                  </a:lnTo>
                  <a:lnTo>
                    <a:pt x="335" y="19"/>
                  </a:lnTo>
                  <a:lnTo>
                    <a:pt x="337" y="21"/>
                  </a:lnTo>
                  <a:lnTo>
                    <a:pt x="338" y="22"/>
                  </a:lnTo>
                  <a:lnTo>
                    <a:pt x="339" y="23"/>
                  </a:lnTo>
                  <a:lnTo>
                    <a:pt x="340" y="24"/>
                  </a:lnTo>
                  <a:lnTo>
                    <a:pt x="340" y="25"/>
                  </a:lnTo>
                  <a:lnTo>
                    <a:pt x="343" y="30"/>
                  </a:lnTo>
                  <a:lnTo>
                    <a:pt x="348" y="39"/>
                  </a:lnTo>
                  <a:lnTo>
                    <a:pt x="352" y="43"/>
                  </a:lnTo>
                  <a:lnTo>
                    <a:pt x="354" y="45"/>
                  </a:lnTo>
                  <a:lnTo>
                    <a:pt x="356" y="47"/>
                  </a:lnTo>
                  <a:lnTo>
                    <a:pt x="357" y="48"/>
                  </a:lnTo>
                  <a:lnTo>
                    <a:pt x="359" y="49"/>
                  </a:lnTo>
                  <a:lnTo>
                    <a:pt x="361" y="50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8" y="50"/>
                  </a:lnTo>
                  <a:lnTo>
                    <a:pt x="369" y="50"/>
                  </a:lnTo>
                  <a:lnTo>
                    <a:pt x="370" y="49"/>
                  </a:lnTo>
                  <a:lnTo>
                    <a:pt x="371" y="49"/>
                  </a:lnTo>
                  <a:lnTo>
                    <a:pt x="372" y="48"/>
                  </a:lnTo>
                  <a:lnTo>
                    <a:pt x="376" y="44"/>
                  </a:lnTo>
                  <a:lnTo>
                    <a:pt x="377" y="43"/>
                  </a:lnTo>
                  <a:lnTo>
                    <a:pt x="378" y="42"/>
                  </a:lnTo>
                  <a:lnTo>
                    <a:pt x="380" y="41"/>
                  </a:lnTo>
                  <a:lnTo>
                    <a:pt x="381" y="41"/>
                  </a:lnTo>
                  <a:lnTo>
                    <a:pt x="382" y="41"/>
                  </a:lnTo>
                  <a:lnTo>
                    <a:pt x="383" y="41"/>
                  </a:lnTo>
                  <a:lnTo>
                    <a:pt x="385" y="41"/>
                  </a:lnTo>
                  <a:lnTo>
                    <a:pt x="387" y="41"/>
                  </a:lnTo>
                  <a:lnTo>
                    <a:pt x="389" y="41"/>
                  </a:lnTo>
                  <a:lnTo>
                    <a:pt x="391" y="41"/>
                  </a:lnTo>
                  <a:lnTo>
                    <a:pt x="393" y="41"/>
                  </a:lnTo>
                  <a:lnTo>
                    <a:pt x="394" y="42"/>
                  </a:lnTo>
                  <a:lnTo>
                    <a:pt x="399" y="44"/>
                  </a:lnTo>
                  <a:lnTo>
                    <a:pt x="402" y="46"/>
                  </a:lnTo>
                  <a:lnTo>
                    <a:pt x="404" y="47"/>
                  </a:lnTo>
                  <a:lnTo>
                    <a:pt x="405" y="49"/>
                  </a:lnTo>
                  <a:lnTo>
                    <a:pt x="407" y="52"/>
                  </a:lnTo>
                  <a:lnTo>
                    <a:pt x="409" y="53"/>
                  </a:lnTo>
                  <a:lnTo>
                    <a:pt x="410" y="56"/>
                  </a:lnTo>
                  <a:lnTo>
                    <a:pt x="415" y="64"/>
                  </a:lnTo>
                  <a:lnTo>
                    <a:pt x="421" y="74"/>
                  </a:lnTo>
                  <a:lnTo>
                    <a:pt x="423" y="76"/>
                  </a:lnTo>
                  <a:lnTo>
                    <a:pt x="425" y="78"/>
                  </a:lnTo>
                  <a:lnTo>
                    <a:pt x="426" y="79"/>
                  </a:lnTo>
                  <a:lnTo>
                    <a:pt x="428" y="81"/>
                  </a:lnTo>
                  <a:lnTo>
                    <a:pt x="430" y="82"/>
                  </a:lnTo>
                  <a:lnTo>
                    <a:pt x="432" y="83"/>
                  </a:lnTo>
                  <a:lnTo>
                    <a:pt x="436" y="84"/>
                  </a:lnTo>
                  <a:lnTo>
                    <a:pt x="442" y="86"/>
                  </a:lnTo>
                  <a:lnTo>
                    <a:pt x="444" y="86"/>
                  </a:lnTo>
                  <a:lnTo>
                    <a:pt x="445" y="87"/>
                  </a:lnTo>
                  <a:lnTo>
                    <a:pt x="447" y="87"/>
                  </a:lnTo>
                  <a:lnTo>
                    <a:pt x="449" y="89"/>
                  </a:lnTo>
                  <a:lnTo>
                    <a:pt x="450" y="91"/>
                  </a:lnTo>
                  <a:lnTo>
                    <a:pt x="454" y="95"/>
                  </a:lnTo>
                  <a:lnTo>
                    <a:pt x="456" y="97"/>
                  </a:lnTo>
                  <a:lnTo>
                    <a:pt x="458" y="98"/>
                  </a:lnTo>
                  <a:lnTo>
                    <a:pt x="461" y="99"/>
                  </a:lnTo>
                  <a:lnTo>
                    <a:pt x="467" y="102"/>
                  </a:lnTo>
                  <a:lnTo>
                    <a:pt x="469" y="103"/>
                  </a:lnTo>
                  <a:lnTo>
                    <a:pt x="471" y="103"/>
                  </a:lnTo>
                  <a:lnTo>
                    <a:pt x="472" y="103"/>
                  </a:lnTo>
                  <a:lnTo>
                    <a:pt x="474" y="103"/>
                  </a:lnTo>
                  <a:lnTo>
                    <a:pt x="475" y="102"/>
                  </a:lnTo>
                  <a:lnTo>
                    <a:pt x="476" y="102"/>
                  </a:lnTo>
                  <a:lnTo>
                    <a:pt x="477" y="101"/>
                  </a:lnTo>
                  <a:lnTo>
                    <a:pt x="481" y="97"/>
                  </a:lnTo>
                  <a:lnTo>
                    <a:pt x="483" y="95"/>
                  </a:lnTo>
                  <a:lnTo>
                    <a:pt x="484" y="94"/>
                  </a:lnTo>
                  <a:lnTo>
                    <a:pt x="485" y="93"/>
                  </a:lnTo>
                  <a:lnTo>
                    <a:pt x="486" y="92"/>
                  </a:lnTo>
                  <a:lnTo>
                    <a:pt x="489" y="90"/>
                  </a:lnTo>
                  <a:lnTo>
                    <a:pt x="491" y="89"/>
                  </a:lnTo>
                  <a:lnTo>
                    <a:pt x="493" y="89"/>
                  </a:lnTo>
                  <a:lnTo>
                    <a:pt x="495" y="88"/>
                  </a:lnTo>
                  <a:lnTo>
                    <a:pt x="500" y="87"/>
                  </a:lnTo>
                  <a:lnTo>
                    <a:pt x="503" y="87"/>
                  </a:lnTo>
                  <a:lnTo>
                    <a:pt x="505" y="87"/>
                  </a:lnTo>
                  <a:lnTo>
                    <a:pt x="506" y="87"/>
                  </a:lnTo>
                  <a:lnTo>
                    <a:pt x="507" y="87"/>
                  </a:lnTo>
                  <a:lnTo>
                    <a:pt x="513" y="90"/>
                  </a:lnTo>
                  <a:lnTo>
                    <a:pt x="521" y="94"/>
                  </a:lnTo>
                  <a:lnTo>
                    <a:pt x="524" y="95"/>
                  </a:lnTo>
                  <a:lnTo>
                    <a:pt x="525" y="96"/>
                  </a:lnTo>
                  <a:lnTo>
                    <a:pt x="527" y="98"/>
                  </a:lnTo>
                  <a:lnTo>
                    <a:pt x="529" y="100"/>
                  </a:lnTo>
                  <a:lnTo>
                    <a:pt x="530" y="101"/>
                  </a:lnTo>
                  <a:lnTo>
                    <a:pt x="531" y="102"/>
                  </a:lnTo>
                  <a:lnTo>
                    <a:pt x="535" y="105"/>
                  </a:lnTo>
                  <a:lnTo>
                    <a:pt x="536" y="106"/>
                  </a:lnTo>
                  <a:lnTo>
                    <a:pt x="536" y="107"/>
                  </a:lnTo>
                  <a:lnTo>
                    <a:pt x="537" y="108"/>
                  </a:lnTo>
                  <a:lnTo>
                    <a:pt x="537" y="109"/>
                  </a:lnTo>
                  <a:lnTo>
                    <a:pt x="537" y="112"/>
                  </a:lnTo>
                  <a:lnTo>
                    <a:pt x="537" y="113"/>
                  </a:lnTo>
                  <a:lnTo>
                    <a:pt x="539" y="118"/>
                  </a:lnTo>
                  <a:lnTo>
                    <a:pt x="539" y="120"/>
                  </a:lnTo>
                  <a:lnTo>
                    <a:pt x="541" y="121"/>
                  </a:lnTo>
                  <a:lnTo>
                    <a:pt x="542" y="123"/>
                  </a:lnTo>
                  <a:lnTo>
                    <a:pt x="543" y="124"/>
                  </a:lnTo>
                  <a:lnTo>
                    <a:pt x="546" y="126"/>
                  </a:lnTo>
                  <a:lnTo>
                    <a:pt x="548" y="126"/>
                  </a:lnTo>
                  <a:lnTo>
                    <a:pt x="550" y="126"/>
                  </a:lnTo>
                  <a:lnTo>
                    <a:pt x="552" y="125"/>
                  </a:lnTo>
                  <a:lnTo>
                    <a:pt x="558" y="123"/>
                  </a:lnTo>
                  <a:lnTo>
                    <a:pt x="561" y="122"/>
                  </a:lnTo>
                  <a:lnTo>
                    <a:pt x="566" y="121"/>
                  </a:lnTo>
                  <a:lnTo>
                    <a:pt x="572" y="121"/>
                  </a:lnTo>
                  <a:lnTo>
                    <a:pt x="575" y="121"/>
                  </a:lnTo>
                  <a:lnTo>
                    <a:pt x="580" y="120"/>
                  </a:lnTo>
                  <a:lnTo>
                    <a:pt x="583" y="121"/>
                  </a:lnTo>
                  <a:lnTo>
                    <a:pt x="583" y="121"/>
                  </a:lnTo>
                  <a:lnTo>
                    <a:pt x="580" y="131"/>
                  </a:lnTo>
                  <a:lnTo>
                    <a:pt x="578" y="136"/>
                  </a:lnTo>
                  <a:lnTo>
                    <a:pt x="576" y="140"/>
                  </a:lnTo>
                  <a:lnTo>
                    <a:pt x="575" y="144"/>
                  </a:lnTo>
                  <a:lnTo>
                    <a:pt x="575" y="148"/>
                  </a:lnTo>
                  <a:lnTo>
                    <a:pt x="575" y="152"/>
                  </a:lnTo>
                  <a:lnTo>
                    <a:pt x="575" y="155"/>
                  </a:lnTo>
                  <a:lnTo>
                    <a:pt x="575" y="158"/>
                  </a:lnTo>
                  <a:lnTo>
                    <a:pt x="575" y="161"/>
                  </a:lnTo>
                  <a:lnTo>
                    <a:pt x="576" y="162"/>
                  </a:lnTo>
                  <a:lnTo>
                    <a:pt x="577" y="164"/>
                  </a:lnTo>
                  <a:lnTo>
                    <a:pt x="578" y="165"/>
                  </a:lnTo>
                  <a:lnTo>
                    <a:pt x="579" y="166"/>
                  </a:lnTo>
                  <a:lnTo>
                    <a:pt x="581" y="166"/>
                  </a:lnTo>
                  <a:lnTo>
                    <a:pt x="588" y="172"/>
                  </a:lnTo>
                  <a:lnTo>
                    <a:pt x="591" y="174"/>
                  </a:lnTo>
                  <a:lnTo>
                    <a:pt x="593" y="176"/>
                  </a:lnTo>
                  <a:lnTo>
                    <a:pt x="594" y="177"/>
                  </a:lnTo>
                  <a:lnTo>
                    <a:pt x="596" y="178"/>
                  </a:lnTo>
                  <a:lnTo>
                    <a:pt x="596" y="179"/>
                  </a:lnTo>
                  <a:lnTo>
                    <a:pt x="597" y="181"/>
                  </a:lnTo>
                  <a:lnTo>
                    <a:pt x="598" y="183"/>
                  </a:lnTo>
                  <a:lnTo>
                    <a:pt x="598" y="185"/>
                  </a:lnTo>
                  <a:lnTo>
                    <a:pt x="598" y="187"/>
                  </a:lnTo>
                  <a:lnTo>
                    <a:pt x="598" y="190"/>
                  </a:lnTo>
                  <a:lnTo>
                    <a:pt x="598" y="193"/>
                  </a:lnTo>
                  <a:lnTo>
                    <a:pt x="598" y="196"/>
                  </a:lnTo>
                  <a:lnTo>
                    <a:pt x="598" y="198"/>
                  </a:lnTo>
                  <a:lnTo>
                    <a:pt x="598" y="200"/>
                  </a:lnTo>
                  <a:lnTo>
                    <a:pt x="597" y="201"/>
                  </a:lnTo>
                  <a:lnTo>
                    <a:pt x="596" y="202"/>
                  </a:lnTo>
                  <a:lnTo>
                    <a:pt x="594" y="204"/>
                  </a:lnTo>
                  <a:lnTo>
                    <a:pt x="591" y="206"/>
                  </a:lnTo>
                  <a:lnTo>
                    <a:pt x="588" y="208"/>
                  </a:lnTo>
                  <a:lnTo>
                    <a:pt x="586" y="210"/>
                  </a:lnTo>
                  <a:lnTo>
                    <a:pt x="580" y="211"/>
                  </a:lnTo>
                  <a:lnTo>
                    <a:pt x="578" y="213"/>
                  </a:lnTo>
                  <a:lnTo>
                    <a:pt x="576" y="214"/>
                  </a:lnTo>
                  <a:lnTo>
                    <a:pt x="575" y="215"/>
                  </a:lnTo>
                  <a:lnTo>
                    <a:pt x="575" y="216"/>
                  </a:lnTo>
                  <a:lnTo>
                    <a:pt x="574" y="217"/>
                  </a:lnTo>
                  <a:lnTo>
                    <a:pt x="572" y="219"/>
                  </a:lnTo>
                  <a:lnTo>
                    <a:pt x="572" y="222"/>
                  </a:lnTo>
                  <a:lnTo>
                    <a:pt x="571" y="223"/>
                  </a:lnTo>
                  <a:lnTo>
                    <a:pt x="571" y="225"/>
                  </a:lnTo>
                  <a:lnTo>
                    <a:pt x="571" y="227"/>
                  </a:lnTo>
                  <a:lnTo>
                    <a:pt x="571" y="229"/>
                  </a:lnTo>
                  <a:lnTo>
                    <a:pt x="573" y="235"/>
                  </a:lnTo>
                  <a:lnTo>
                    <a:pt x="574" y="238"/>
                  </a:lnTo>
                  <a:lnTo>
                    <a:pt x="574" y="240"/>
                  </a:lnTo>
                  <a:lnTo>
                    <a:pt x="574" y="242"/>
                  </a:lnTo>
                  <a:lnTo>
                    <a:pt x="574" y="244"/>
                  </a:lnTo>
                  <a:lnTo>
                    <a:pt x="574" y="245"/>
                  </a:lnTo>
                  <a:lnTo>
                    <a:pt x="573" y="246"/>
                  </a:lnTo>
                  <a:lnTo>
                    <a:pt x="573" y="248"/>
                  </a:lnTo>
                  <a:lnTo>
                    <a:pt x="571" y="249"/>
                  </a:lnTo>
                  <a:lnTo>
                    <a:pt x="570" y="251"/>
                  </a:lnTo>
                  <a:lnTo>
                    <a:pt x="568" y="252"/>
                  </a:lnTo>
                  <a:lnTo>
                    <a:pt x="566" y="253"/>
                  </a:lnTo>
                  <a:lnTo>
                    <a:pt x="564" y="254"/>
                  </a:lnTo>
                  <a:lnTo>
                    <a:pt x="563" y="255"/>
                  </a:lnTo>
                  <a:lnTo>
                    <a:pt x="558" y="256"/>
                  </a:lnTo>
                  <a:lnTo>
                    <a:pt x="557" y="257"/>
                  </a:lnTo>
                  <a:lnTo>
                    <a:pt x="556" y="257"/>
                  </a:lnTo>
                  <a:lnTo>
                    <a:pt x="555" y="258"/>
                  </a:lnTo>
                  <a:lnTo>
                    <a:pt x="555" y="259"/>
                  </a:lnTo>
                  <a:lnTo>
                    <a:pt x="554" y="260"/>
                  </a:lnTo>
                  <a:lnTo>
                    <a:pt x="555" y="261"/>
                  </a:lnTo>
                  <a:lnTo>
                    <a:pt x="555" y="263"/>
                  </a:lnTo>
                  <a:lnTo>
                    <a:pt x="556" y="264"/>
                  </a:lnTo>
                  <a:lnTo>
                    <a:pt x="558" y="266"/>
                  </a:lnTo>
                  <a:lnTo>
                    <a:pt x="563" y="271"/>
                  </a:lnTo>
                  <a:lnTo>
                    <a:pt x="571" y="279"/>
                  </a:lnTo>
                  <a:lnTo>
                    <a:pt x="575" y="283"/>
                  </a:lnTo>
                  <a:lnTo>
                    <a:pt x="578" y="287"/>
                  </a:lnTo>
                  <a:lnTo>
                    <a:pt x="581" y="291"/>
                  </a:lnTo>
                  <a:lnTo>
                    <a:pt x="582" y="291"/>
                  </a:lnTo>
                  <a:lnTo>
                    <a:pt x="583" y="293"/>
                  </a:lnTo>
                  <a:lnTo>
                    <a:pt x="584" y="295"/>
                  </a:lnTo>
                  <a:lnTo>
                    <a:pt x="584" y="296"/>
                  </a:lnTo>
                  <a:lnTo>
                    <a:pt x="584" y="297"/>
                  </a:lnTo>
                  <a:lnTo>
                    <a:pt x="584" y="298"/>
                  </a:lnTo>
                  <a:lnTo>
                    <a:pt x="584" y="299"/>
                  </a:lnTo>
                  <a:lnTo>
                    <a:pt x="583" y="300"/>
                  </a:lnTo>
                  <a:lnTo>
                    <a:pt x="582" y="299"/>
                  </a:lnTo>
                  <a:lnTo>
                    <a:pt x="581" y="299"/>
                  </a:lnTo>
                  <a:lnTo>
                    <a:pt x="579" y="299"/>
                  </a:lnTo>
                  <a:lnTo>
                    <a:pt x="578" y="300"/>
                  </a:lnTo>
                  <a:lnTo>
                    <a:pt x="577" y="300"/>
                  </a:lnTo>
                  <a:lnTo>
                    <a:pt x="576" y="300"/>
                  </a:lnTo>
                  <a:lnTo>
                    <a:pt x="575" y="301"/>
                  </a:lnTo>
                  <a:lnTo>
                    <a:pt x="574" y="302"/>
                  </a:lnTo>
                  <a:lnTo>
                    <a:pt x="572" y="303"/>
                  </a:lnTo>
                  <a:lnTo>
                    <a:pt x="570" y="305"/>
                  </a:lnTo>
                  <a:lnTo>
                    <a:pt x="569" y="307"/>
                  </a:lnTo>
                  <a:lnTo>
                    <a:pt x="568" y="309"/>
                  </a:lnTo>
                  <a:lnTo>
                    <a:pt x="564" y="315"/>
                  </a:lnTo>
                  <a:lnTo>
                    <a:pt x="563" y="318"/>
                  </a:lnTo>
                  <a:lnTo>
                    <a:pt x="562" y="320"/>
                  </a:lnTo>
                  <a:lnTo>
                    <a:pt x="560" y="323"/>
                  </a:lnTo>
                  <a:lnTo>
                    <a:pt x="558" y="325"/>
                  </a:lnTo>
                  <a:lnTo>
                    <a:pt x="555" y="326"/>
                  </a:lnTo>
                  <a:lnTo>
                    <a:pt x="553" y="328"/>
                  </a:lnTo>
                  <a:lnTo>
                    <a:pt x="552" y="329"/>
                  </a:lnTo>
                  <a:lnTo>
                    <a:pt x="549" y="330"/>
                  </a:lnTo>
                  <a:lnTo>
                    <a:pt x="546" y="331"/>
                  </a:lnTo>
                  <a:lnTo>
                    <a:pt x="541" y="332"/>
                  </a:lnTo>
                  <a:lnTo>
                    <a:pt x="530" y="334"/>
                  </a:lnTo>
                  <a:lnTo>
                    <a:pt x="523" y="334"/>
                  </a:lnTo>
                  <a:lnTo>
                    <a:pt x="520" y="334"/>
                  </a:lnTo>
                  <a:lnTo>
                    <a:pt x="518" y="335"/>
                  </a:lnTo>
                  <a:lnTo>
                    <a:pt x="516" y="335"/>
                  </a:lnTo>
                  <a:lnTo>
                    <a:pt x="512" y="336"/>
                  </a:lnTo>
                  <a:lnTo>
                    <a:pt x="508" y="337"/>
                  </a:lnTo>
                  <a:lnTo>
                    <a:pt x="506" y="339"/>
                  </a:lnTo>
                  <a:lnTo>
                    <a:pt x="503" y="340"/>
                  </a:lnTo>
                  <a:lnTo>
                    <a:pt x="502" y="342"/>
                  </a:lnTo>
                  <a:lnTo>
                    <a:pt x="500" y="344"/>
                  </a:lnTo>
                  <a:lnTo>
                    <a:pt x="499" y="346"/>
                  </a:lnTo>
                  <a:lnTo>
                    <a:pt x="498" y="347"/>
                  </a:lnTo>
                  <a:lnTo>
                    <a:pt x="498" y="349"/>
                  </a:lnTo>
                  <a:lnTo>
                    <a:pt x="498" y="351"/>
                  </a:lnTo>
                  <a:lnTo>
                    <a:pt x="498" y="357"/>
                  </a:lnTo>
                  <a:lnTo>
                    <a:pt x="498" y="359"/>
                  </a:lnTo>
                  <a:lnTo>
                    <a:pt x="498" y="360"/>
                  </a:lnTo>
                  <a:lnTo>
                    <a:pt x="497" y="362"/>
                  </a:lnTo>
                  <a:lnTo>
                    <a:pt x="496" y="363"/>
                  </a:lnTo>
                  <a:lnTo>
                    <a:pt x="495" y="364"/>
                  </a:lnTo>
                  <a:lnTo>
                    <a:pt x="494" y="366"/>
                  </a:lnTo>
                  <a:lnTo>
                    <a:pt x="486" y="370"/>
                  </a:lnTo>
                  <a:lnTo>
                    <a:pt x="485" y="371"/>
                  </a:lnTo>
                  <a:lnTo>
                    <a:pt x="484" y="371"/>
                  </a:lnTo>
                  <a:lnTo>
                    <a:pt x="482" y="372"/>
                  </a:lnTo>
                  <a:lnTo>
                    <a:pt x="480" y="372"/>
                  </a:lnTo>
                  <a:lnTo>
                    <a:pt x="474" y="373"/>
                  </a:lnTo>
                  <a:lnTo>
                    <a:pt x="464" y="375"/>
                  </a:lnTo>
                  <a:lnTo>
                    <a:pt x="459" y="377"/>
                  </a:lnTo>
                  <a:lnTo>
                    <a:pt x="457" y="377"/>
                  </a:lnTo>
                  <a:lnTo>
                    <a:pt x="454" y="377"/>
                  </a:lnTo>
                  <a:lnTo>
                    <a:pt x="449" y="376"/>
                  </a:lnTo>
                  <a:lnTo>
                    <a:pt x="443" y="375"/>
                  </a:lnTo>
                  <a:lnTo>
                    <a:pt x="440" y="374"/>
                  </a:lnTo>
                  <a:lnTo>
                    <a:pt x="435" y="373"/>
                  </a:lnTo>
                  <a:lnTo>
                    <a:pt x="432" y="372"/>
                  </a:lnTo>
                  <a:lnTo>
                    <a:pt x="426" y="371"/>
                  </a:lnTo>
                  <a:lnTo>
                    <a:pt x="424" y="371"/>
                  </a:lnTo>
                  <a:lnTo>
                    <a:pt x="422" y="371"/>
                  </a:lnTo>
                  <a:lnTo>
                    <a:pt x="420" y="371"/>
                  </a:lnTo>
                  <a:lnTo>
                    <a:pt x="418" y="372"/>
                  </a:lnTo>
                  <a:lnTo>
                    <a:pt x="417" y="373"/>
                  </a:lnTo>
                  <a:lnTo>
                    <a:pt x="414" y="376"/>
                  </a:lnTo>
                  <a:lnTo>
                    <a:pt x="412" y="378"/>
                  </a:lnTo>
                  <a:lnTo>
                    <a:pt x="407" y="381"/>
                  </a:lnTo>
                  <a:lnTo>
                    <a:pt x="404" y="381"/>
                  </a:lnTo>
                  <a:lnTo>
                    <a:pt x="402" y="382"/>
                  </a:lnTo>
                  <a:lnTo>
                    <a:pt x="399" y="383"/>
                  </a:lnTo>
                  <a:lnTo>
                    <a:pt x="396" y="383"/>
                  </a:lnTo>
                  <a:lnTo>
                    <a:pt x="393" y="383"/>
                  </a:lnTo>
                  <a:lnTo>
                    <a:pt x="391" y="383"/>
                  </a:lnTo>
                  <a:lnTo>
                    <a:pt x="389" y="382"/>
                  </a:lnTo>
                  <a:lnTo>
                    <a:pt x="386" y="381"/>
                  </a:lnTo>
                  <a:lnTo>
                    <a:pt x="384" y="381"/>
                  </a:lnTo>
                  <a:lnTo>
                    <a:pt x="382" y="381"/>
                  </a:lnTo>
                  <a:lnTo>
                    <a:pt x="381" y="379"/>
                  </a:lnTo>
                  <a:lnTo>
                    <a:pt x="374" y="375"/>
                  </a:lnTo>
                  <a:lnTo>
                    <a:pt x="372" y="373"/>
                  </a:lnTo>
                  <a:lnTo>
                    <a:pt x="371" y="371"/>
                  </a:lnTo>
                  <a:lnTo>
                    <a:pt x="370" y="370"/>
                  </a:lnTo>
                  <a:lnTo>
                    <a:pt x="368" y="367"/>
                  </a:lnTo>
                  <a:lnTo>
                    <a:pt x="366" y="364"/>
                  </a:lnTo>
                  <a:lnTo>
                    <a:pt x="364" y="363"/>
                  </a:lnTo>
                  <a:lnTo>
                    <a:pt x="362" y="361"/>
                  </a:lnTo>
                  <a:lnTo>
                    <a:pt x="361" y="361"/>
                  </a:lnTo>
                  <a:lnTo>
                    <a:pt x="360" y="360"/>
                  </a:lnTo>
                  <a:lnTo>
                    <a:pt x="359" y="360"/>
                  </a:lnTo>
                  <a:lnTo>
                    <a:pt x="357" y="360"/>
                  </a:lnTo>
                  <a:lnTo>
                    <a:pt x="355" y="361"/>
                  </a:lnTo>
                  <a:lnTo>
                    <a:pt x="352" y="362"/>
                  </a:lnTo>
                  <a:lnTo>
                    <a:pt x="347" y="364"/>
                  </a:lnTo>
                  <a:lnTo>
                    <a:pt x="346" y="365"/>
                  </a:lnTo>
                  <a:lnTo>
                    <a:pt x="344" y="366"/>
                  </a:lnTo>
                  <a:lnTo>
                    <a:pt x="343" y="367"/>
                  </a:lnTo>
                  <a:lnTo>
                    <a:pt x="342" y="368"/>
                  </a:lnTo>
                  <a:lnTo>
                    <a:pt x="337" y="373"/>
                  </a:lnTo>
                  <a:lnTo>
                    <a:pt x="335" y="376"/>
                  </a:lnTo>
                  <a:lnTo>
                    <a:pt x="333" y="377"/>
                  </a:lnTo>
                  <a:lnTo>
                    <a:pt x="331" y="379"/>
                  </a:lnTo>
                  <a:lnTo>
                    <a:pt x="329" y="380"/>
                  </a:lnTo>
                  <a:lnTo>
                    <a:pt x="328" y="381"/>
                  </a:lnTo>
                  <a:lnTo>
                    <a:pt x="326" y="381"/>
                  </a:lnTo>
                  <a:lnTo>
                    <a:pt x="325" y="381"/>
                  </a:lnTo>
                  <a:lnTo>
                    <a:pt x="324" y="381"/>
                  </a:lnTo>
                  <a:lnTo>
                    <a:pt x="322" y="381"/>
                  </a:lnTo>
                  <a:lnTo>
                    <a:pt x="320" y="381"/>
                  </a:lnTo>
                  <a:lnTo>
                    <a:pt x="314" y="381"/>
                  </a:lnTo>
                  <a:lnTo>
                    <a:pt x="313" y="381"/>
                  </a:lnTo>
                  <a:lnTo>
                    <a:pt x="311" y="381"/>
                  </a:lnTo>
                  <a:lnTo>
                    <a:pt x="310" y="381"/>
                  </a:lnTo>
                  <a:lnTo>
                    <a:pt x="309" y="381"/>
                  </a:lnTo>
                  <a:lnTo>
                    <a:pt x="308" y="381"/>
                  </a:lnTo>
                  <a:lnTo>
                    <a:pt x="307" y="382"/>
                  </a:lnTo>
                  <a:lnTo>
                    <a:pt x="305" y="383"/>
                  </a:lnTo>
                  <a:lnTo>
                    <a:pt x="304" y="384"/>
                  </a:lnTo>
                  <a:lnTo>
                    <a:pt x="303" y="386"/>
                  </a:lnTo>
                  <a:lnTo>
                    <a:pt x="302" y="388"/>
                  </a:lnTo>
                  <a:lnTo>
                    <a:pt x="301" y="393"/>
                  </a:lnTo>
                  <a:lnTo>
                    <a:pt x="298" y="398"/>
                  </a:lnTo>
                  <a:lnTo>
                    <a:pt x="297" y="401"/>
                  </a:lnTo>
                  <a:lnTo>
                    <a:pt x="296" y="402"/>
                  </a:lnTo>
                  <a:lnTo>
                    <a:pt x="295" y="404"/>
                  </a:lnTo>
                  <a:lnTo>
                    <a:pt x="293" y="405"/>
                  </a:lnTo>
                  <a:lnTo>
                    <a:pt x="292" y="406"/>
                  </a:lnTo>
                  <a:lnTo>
                    <a:pt x="291" y="407"/>
                  </a:lnTo>
                  <a:lnTo>
                    <a:pt x="290" y="407"/>
                  </a:lnTo>
                  <a:lnTo>
                    <a:pt x="288" y="408"/>
                  </a:lnTo>
                  <a:lnTo>
                    <a:pt x="285" y="408"/>
                  </a:lnTo>
                  <a:lnTo>
                    <a:pt x="279" y="408"/>
                  </a:lnTo>
                  <a:lnTo>
                    <a:pt x="276" y="408"/>
                  </a:lnTo>
                  <a:lnTo>
                    <a:pt x="270" y="409"/>
                  </a:lnTo>
                  <a:lnTo>
                    <a:pt x="266" y="410"/>
                  </a:lnTo>
                  <a:lnTo>
                    <a:pt x="262" y="411"/>
                  </a:lnTo>
                  <a:lnTo>
                    <a:pt x="255" y="413"/>
                  </a:lnTo>
                  <a:lnTo>
                    <a:pt x="252" y="415"/>
                  </a:lnTo>
                  <a:lnTo>
                    <a:pt x="248" y="416"/>
                  </a:lnTo>
                  <a:lnTo>
                    <a:pt x="245" y="419"/>
                  </a:lnTo>
                  <a:lnTo>
                    <a:pt x="243" y="421"/>
                  </a:lnTo>
                  <a:lnTo>
                    <a:pt x="242" y="422"/>
                  </a:lnTo>
                  <a:lnTo>
                    <a:pt x="240" y="424"/>
                  </a:lnTo>
                  <a:lnTo>
                    <a:pt x="237" y="428"/>
                  </a:lnTo>
                  <a:lnTo>
                    <a:pt x="235" y="431"/>
                  </a:lnTo>
                  <a:lnTo>
                    <a:pt x="231" y="436"/>
                  </a:lnTo>
                  <a:lnTo>
                    <a:pt x="228" y="438"/>
                  </a:lnTo>
                  <a:lnTo>
                    <a:pt x="225" y="440"/>
                  </a:lnTo>
                  <a:lnTo>
                    <a:pt x="222" y="443"/>
                  </a:lnTo>
                  <a:lnTo>
                    <a:pt x="220" y="444"/>
                  </a:lnTo>
                  <a:lnTo>
                    <a:pt x="213" y="448"/>
                  </a:lnTo>
                  <a:lnTo>
                    <a:pt x="211" y="449"/>
                  </a:lnTo>
                  <a:lnTo>
                    <a:pt x="209" y="450"/>
                  </a:lnTo>
                  <a:lnTo>
                    <a:pt x="207" y="452"/>
                  </a:lnTo>
                  <a:lnTo>
                    <a:pt x="205" y="454"/>
                  </a:lnTo>
                  <a:lnTo>
                    <a:pt x="200" y="459"/>
                  </a:lnTo>
                  <a:lnTo>
                    <a:pt x="197" y="462"/>
                  </a:lnTo>
                  <a:lnTo>
                    <a:pt x="196" y="464"/>
                  </a:lnTo>
                  <a:lnTo>
                    <a:pt x="193" y="467"/>
                  </a:lnTo>
                  <a:lnTo>
                    <a:pt x="189" y="472"/>
                  </a:lnTo>
                  <a:lnTo>
                    <a:pt x="188" y="474"/>
                  </a:lnTo>
                  <a:lnTo>
                    <a:pt x="187" y="475"/>
                  </a:lnTo>
                  <a:lnTo>
                    <a:pt x="186" y="476"/>
                  </a:lnTo>
                  <a:lnTo>
                    <a:pt x="184" y="477"/>
                  </a:lnTo>
                  <a:lnTo>
                    <a:pt x="183" y="477"/>
                  </a:lnTo>
                  <a:lnTo>
                    <a:pt x="181" y="476"/>
                  </a:lnTo>
                  <a:lnTo>
                    <a:pt x="180" y="476"/>
                  </a:lnTo>
                  <a:lnTo>
                    <a:pt x="178" y="475"/>
                  </a:lnTo>
                  <a:lnTo>
                    <a:pt x="177" y="474"/>
                  </a:lnTo>
                  <a:lnTo>
                    <a:pt x="172" y="471"/>
                  </a:lnTo>
                  <a:lnTo>
                    <a:pt x="169" y="470"/>
                  </a:lnTo>
                  <a:lnTo>
                    <a:pt x="166" y="468"/>
                  </a:lnTo>
                  <a:lnTo>
                    <a:pt x="163" y="467"/>
                  </a:lnTo>
                  <a:lnTo>
                    <a:pt x="161" y="466"/>
                  </a:lnTo>
                  <a:lnTo>
                    <a:pt x="158" y="465"/>
                  </a:lnTo>
                  <a:lnTo>
                    <a:pt x="155" y="465"/>
                  </a:lnTo>
                  <a:lnTo>
                    <a:pt x="153" y="465"/>
                  </a:lnTo>
                  <a:lnTo>
                    <a:pt x="143" y="467"/>
                  </a:lnTo>
                  <a:lnTo>
                    <a:pt x="140" y="467"/>
                  </a:lnTo>
                  <a:lnTo>
                    <a:pt x="138" y="468"/>
                  </a:lnTo>
                  <a:lnTo>
                    <a:pt x="137" y="468"/>
                  </a:lnTo>
                  <a:lnTo>
                    <a:pt x="136" y="469"/>
                  </a:lnTo>
                  <a:lnTo>
                    <a:pt x="135" y="470"/>
                  </a:lnTo>
                  <a:lnTo>
                    <a:pt x="133" y="471"/>
                  </a:lnTo>
                  <a:lnTo>
                    <a:pt x="132" y="472"/>
                  </a:lnTo>
                  <a:lnTo>
                    <a:pt x="129" y="478"/>
                  </a:lnTo>
                  <a:lnTo>
                    <a:pt x="125" y="482"/>
                  </a:lnTo>
                  <a:lnTo>
                    <a:pt x="124" y="483"/>
                  </a:lnTo>
                  <a:lnTo>
                    <a:pt x="122" y="485"/>
                  </a:lnTo>
                  <a:lnTo>
                    <a:pt x="120" y="487"/>
                  </a:lnTo>
                  <a:lnTo>
                    <a:pt x="120" y="489"/>
                  </a:lnTo>
                  <a:lnTo>
                    <a:pt x="118" y="490"/>
                  </a:lnTo>
                  <a:lnTo>
                    <a:pt x="116" y="491"/>
                  </a:lnTo>
                  <a:lnTo>
                    <a:pt x="115" y="491"/>
                  </a:lnTo>
                  <a:lnTo>
                    <a:pt x="114" y="491"/>
                  </a:lnTo>
                  <a:lnTo>
                    <a:pt x="111" y="491"/>
                  </a:lnTo>
                  <a:lnTo>
                    <a:pt x="109" y="490"/>
                  </a:lnTo>
                  <a:lnTo>
                    <a:pt x="106" y="490"/>
                  </a:lnTo>
                  <a:lnTo>
                    <a:pt x="104" y="489"/>
                  </a:lnTo>
                  <a:lnTo>
                    <a:pt x="102" y="488"/>
                  </a:lnTo>
                  <a:lnTo>
                    <a:pt x="101" y="487"/>
                  </a:lnTo>
                  <a:lnTo>
                    <a:pt x="97" y="483"/>
                  </a:lnTo>
                  <a:lnTo>
                    <a:pt x="94" y="482"/>
                  </a:lnTo>
                  <a:lnTo>
                    <a:pt x="92" y="481"/>
                  </a:lnTo>
                  <a:lnTo>
                    <a:pt x="90" y="480"/>
                  </a:lnTo>
                  <a:lnTo>
                    <a:pt x="88" y="480"/>
                  </a:lnTo>
                  <a:lnTo>
                    <a:pt x="86" y="480"/>
                  </a:lnTo>
                  <a:lnTo>
                    <a:pt x="84" y="480"/>
                  </a:lnTo>
                  <a:lnTo>
                    <a:pt x="82" y="480"/>
                  </a:lnTo>
                  <a:lnTo>
                    <a:pt x="78" y="481"/>
                  </a:lnTo>
                  <a:lnTo>
                    <a:pt x="76" y="482"/>
                  </a:lnTo>
                  <a:lnTo>
                    <a:pt x="75" y="483"/>
                  </a:lnTo>
                  <a:lnTo>
                    <a:pt x="73" y="483"/>
                  </a:lnTo>
                  <a:lnTo>
                    <a:pt x="72" y="484"/>
                  </a:lnTo>
                  <a:lnTo>
                    <a:pt x="72" y="485"/>
                  </a:lnTo>
                  <a:lnTo>
                    <a:pt x="72" y="486"/>
                  </a:lnTo>
                  <a:lnTo>
                    <a:pt x="71" y="485"/>
                  </a:lnTo>
                  <a:lnTo>
                    <a:pt x="70" y="483"/>
                  </a:lnTo>
                  <a:lnTo>
                    <a:pt x="66" y="476"/>
                  </a:lnTo>
                  <a:lnTo>
                    <a:pt x="63" y="472"/>
                  </a:lnTo>
                  <a:lnTo>
                    <a:pt x="63" y="471"/>
                  </a:lnTo>
                  <a:lnTo>
                    <a:pt x="61" y="469"/>
                  </a:lnTo>
                  <a:lnTo>
                    <a:pt x="60" y="467"/>
                  </a:lnTo>
                  <a:lnTo>
                    <a:pt x="58" y="466"/>
                  </a:lnTo>
                  <a:lnTo>
                    <a:pt x="56" y="464"/>
                  </a:lnTo>
                  <a:lnTo>
                    <a:pt x="53" y="462"/>
                  </a:lnTo>
                  <a:lnTo>
                    <a:pt x="52" y="461"/>
                  </a:lnTo>
                  <a:lnTo>
                    <a:pt x="49" y="460"/>
                  </a:lnTo>
                  <a:lnTo>
                    <a:pt x="46" y="459"/>
                  </a:lnTo>
                  <a:lnTo>
                    <a:pt x="44" y="457"/>
                  </a:lnTo>
                  <a:lnTo>
                    <a:pt x="38" y="454"/>
                  </a:lnTo>
                  <a:lnTo>
                    <a:pt x="34" y="453"/>
                  </a:lnTo>
                  <a:lnTo>
                    <a:pt x="31" y="451"/>
                  </a:lnTo>
                  <a:lnTo>
                    <a:pt x="29" y="449"/>
                  </a:lnTo>
                  <a:lnTo>
                    <a:pt x="28" y="448"/>
                  </a:lnTo>
                  <a:lnTo>
                    <a:pt x="26" y="446"/>
                  </a:lnTo>
                  <a:lnTo>
                    <a:pt x="25" y="444"/>
                  </a:lnTo>
                  <a:lnTo>
                    <a:pt x="21" y="438"/>
                  </a:lnTo>
                  <a:lnTo>
                    <a:pt x="20" y="437"/>
                  </a:lnTo>
                  <a:lnTo>
                    <a:pt x="19" y="435"/>
                  </a:lnTo>
                  <a:lnTo>
                    <a:pt x="18" y="434"/>
                  </a:lnTo>
                  <a:lnTo>
                    <a:pt x="16" y="433"/>
                  </a:lnTo>
                  <a:lnTo>
                    <a:pt x="15" y="432"/>
                  </a:lnTo>
                  <a:lnTo>
                    <a:pt x="13" y="432"/>
                  </a:lnTo>
                  <a:lnTo>
                    <a:pt x="12" y="431"/>
                  </a:lnTo>
                  <a:lnTo>
                    <a:pt x="9" y="431"/>
                  </a:lnTo>
                  <a:lnTo>
                    <a:pt x="5" y="430"/>
                  </a:lnTo>
                  <a:lnTo>
                    <a:pt x="3" y="430"/>
                  </a:lnTo>
                  <a:lnTo>
                    <a:pt x="2" y="430"/>
                  </a:lnTo>
                  <a:lnTo>
                    <a:pt x="1" y="429"/>
                  </a:lnTo>
                  <a:lnTo>
                    <a:pt x="0" y="428"/>
                  </a:lnTo>
                  <a:lnTo>
                    <a:pt x="0" y="427"/>
                  </a:lnTo>
                  <a:lnTo>
                    <a:pt x="0" y="426"/>
                  </a:lnTo>
                  <a:lnTo>
                    <a:pt x="0" y="423"/>
                  </a:lnTo>
                  <a:lnTo>
                    <a:pt x="1" y="421"/>
                  </a:lnTo>
                  <a:lnTo>
                    <a:pt x="2" y="419"/>
                  </a:lnTo>
                  <a:lnTo>
                    <a:pt x="4" y="415"/>
                  </a:lnTo>
                  <a:lnTo>
                    <a:pt x="6" y="412"/>
                  </a:lnTo>
                  <a:lnTo>
                    <a:pt x="10" y="409"/>
                  </a:lnTo>
                  <a:lnTo>
                    <a:pt x="11" y="407"/>
                  </a:lnTo>
                  <a:lnTo>
                    <a:pt x="15" y="404"/>
                  </a:lnTo>
                  <a:lnTo>
                    <a:pt x="21" y="397"/>
                  </a:lnTo>
                  <a:lnTo>
                    <a:pt x="23" y="395"/>
                  </a:lnTo>
                  <a:lnTo>
                    <a:pt x="24" y="393"/>
                  </a:lnTo>
                  <a:lnTo>
                    <a:pt x="25" y="392"/>
                  </a:lnTo>
                  <a:lnTo>
                    <a:pt x="26" y="389"/>
                  </a:lnTo>
                  <a:lnTo>
                    <a:pt x="28" y="383"/>
                  </a:lnTo>
                  <a:lnTo>
                    <a:pt x="29" y="381"/>
                  </a:lnTo>
                  <a:lnTo>
                    <a:pt x="29" y="379"/>
                  </a:lnTo>
                  <a:lnTo>
                    <a:pt x="34" y="372"/>
                  </a:lnTo>
                  <a:lnTo>
                    <a:pt x="35" y="370"/>
                  </a:lnTo>
                  <a:lnTo>
                    <a:pt x="36" y="369"/>
                  </a:lnTo>
                  <a:lnTo>
                    <a:pt x="37" y="368"/>
                  </a:lnTo>
                  <a:lnTo>
                    <a:pt x="37" y="365"/>
                  </a:lnTo>
                  <a:lnTo>
                    <a:pt x="39" y="358"/>
                  </a:lnTo>
                  <a:lnTo>
                    <a:pt x="40" y="356"/>
                  </a:lnTo>
                  <a:lnTo>
                    <a:pt x="40" y="354"/>
                  </a:lnTo>
                  <a:lnTo>
                    <a:pt x="40" y="352"/>
                  </a:lnTo>
                  <a:lnTo>
                    <a:pt x="43" y="347"/>
                  </a:lnTo>
                  <a:lnTo>
                    <a:pt x="46" y="343"/>
                  </a:lnTo>
                  <a:lnTo>
                    <a:pt x="47" y="341"/>
                  </a:lnTo>
                  <a:lnTo>
                    <a:pt x="48" y="340"/>
                  </a:lnTo>
                  <a:lnTo>
                    <a:pt x="49" y="339"/>
                  </a:lnTo>
                  <a:lnTo>
                    <a:pt x="50" y="338"/>
                  </a:lnTo>
                  <a:lnTo>
                    <a:pt x="52" y="338"/>
                  </a:lnTo>
                  <a:lnTo>
                    <a:pt x="53" y="337"/>
                  </a:lnTo>
                  <a:lnTo>
                    <a:pt x="59" y="336"/>
                  </a:lnTo>
                  <a:lnTo>
                    <a:pt x="63" y="335"/>
                  </a:lnTo>
                  <a:lnTo>
                    <a:pt x="68" y="334"/>
                  </a:lnTo>
                  <a:lnTo>
                    <a:pt x="72" y="332"/>
                  </a:lnTo>
                  <a:lnTo>
                    <a:pt x="74" y="330"/>
                  </a:lnTo>
                  <a:lnTo>
                    <a:pt x="76" y="328"/>
                  </a:lnTo>
                  <a:lnTo>
                    <a:pt x="78" y="326"/>
                  </a:lnTo>
                  <a:lnTo>
                    <a:pt x="81" y="323"/>
                  </a:lnTo>
                  <a:lnTo>
                    <a:pt x="82" y="322"/>
                  </a:lnTo>
                  <a:lnTo>
                    <a:pt x="83" y="321"/>
                  </a:lnTo>
                  <a:lnTo>
                    <a:pt x="84" y="322"/>
                  </a:lnTo>
                  <a:lnTo>
                    <a:pt x="85" y="322"/>
                  </a:lnTo>
                  <a:lnTo>
                    <a:pt x="86" y="322"/>
                  </a:lnTo>
                  <a:lnTo>
                    <a:pt x="87" y="321"/>
                  </a:lnTo>
                  <a:lnTo>
                    <a:pt x="88" y="321"/>
                  </a:lnTo>
                  <a:lnTo>
                    <a:pt x="91" y="319"/>
                  </a:lnTo>
                  <a:lnTo>
                    <a:pt x="95" y="315"/>
                  </a:lnTo>
                  <a:lnTo>
                    <a:pt x="101" y="311"/>
                  </a:lnTo>
                  <a:lnTo>
                    <a:pt x="109" y="302"/>
                  </a:lnTo>
                  <a:lnTo>
                    <a:pt x="111" y="301"/>
                  </a:lnTo>
                  <a:lnTo>
                    <a:pt x="112" y="300"/>
                  </a:lnTo>
                  <a:lnTo>
                    <a:pt x="113" y="298"/>
                  </a:lnTo>
                  <a:lnTo>
                    <a:pt x="114" y="295"/>
                  </a:lnTo>
                  <a:lnTo>
                    <a:pt x="115" y="293"/>
                  </a:lnTo>
                  <a:lnTo>
                    <a:pt x="116" y="291"/>
                  </a:lnTo>
                  <a:lnTo>
                    <a:pt x="117" y="283"/>
                  </a:lnTo>
                  <a:lnTo>
                    <a:pt x="119" y="277"/>
                  </a:lnTo>
                  <a:lnTo>
                    <a:pt x="119" y="275"/>
                  </a:lnTo>
                  <a:lnTo>
                    <a:pt x="119" y="272"/>
                  </a:lnTo>
                  <a:lnTo>
                    <a:pt x="119" y="263"/>
                  </a:lnTo>
                  <a:lnTo>
                    <a:pt x="119" y="258"/>
                  </a:lnTo>
                  <a:lnTo>
                    <a:pt x="120" y="256"/>
                  </a:lnTo>
                  <a:lnTo>
                    <a:pt x="120" y="252"/>
                  </a:lnTo>
                  <a:lnTo>
                    <a:pt x="122" y="243"/>
                  </a:lnTo>
                  <a:lnTo>
                    <a:pt x="122" y="240"/>
                  </a:lnTo>
                  <a:lnTo>
                    <a:pt x="123" y="237"/>
                  </a:lnTo>
                  <a:lnTo>
                    <a:pt x="123" y="234"/>
                  </a:lnTo>
                  <a:lnTo>
                    <a:pt x="123" y="232"/>
                  </a:lnTo>
                  <a:lnTo>
                    <a:pt x="123" y="229"/>
                  </a:lnTo>
                  <a:lnTo>
                    <a:pt x="123" y="226"/>
                  </a:lnTo>
                  <a:lnTo>
                    <a:pt x="122" y="223"/>
                  </a:lnTo>
                  <a:lnTo>
                    <a:pt x="121" y="221"/>
                  </a:lnTo>
                  <a:lnTo>
                    <a:pt x="120" y="214"/>
                  </a:lnTo>
                  <a:lnTo>
                    <a:pt x="117" y="206"/>
                  </a:lnTo>
                  <a:lnTo>
                    <a:pt x="116" y="202"/>
                  </a:lnTo>
                  <a:lnTo>
                    <a:pt x="115" y="199"/>
                  </a:lnTo>
                  <a:lnTo>
                    <a:pt x="114" y="197"/>
                  </a:lnTo>
                  <a:lnTo>
                    <a:pt x="113" y="195"/>
                  </a:lnTo>
                  <a:lnTo>
                    <a:pt x="110" y="191"/>
                  </a:lnTo>
                  <a:lnTo>
                    <a:pt x="109" y="189"/>
                  </a:lnTo>
                  <a:lnTo>
                    <a:pt x="109" y="188"/>
                  </a:lnTo>
                  <a:lnTo>
                    <a:pt x="108" y="186"/>
                  </a:lnTo>
                  <a:lnTo>
                    <a:pt x="108" y="184"/>
                  </a:lnTo>
                  <a:lnTo>
                    <a:pt x="108" y="182"/>
                  </a:lnTo>
                  <a:lnTo>
                    <a:pt x="108" y="179"/>
                  </a:lnTo>
                  <a:lnTo>
                    <a:pt x="108" y="173"/>
                  </a:lnTo>
                  <a:lnTo>
                    <a:pt x="108" y="170"/>
                  </a:lnTo>
                  <a:lnTo>
                    <a:pt x="107" y="168"/>
                  </a:lnTo>
                  <a:lnTo>
                    <a:pt x="107" y="166"/>
                  </a:lnTo>
                  <a:lnTo>
                    <a:pt x="106" y="164"/>
                  </a:lnTo>
                  <a:lnTo>
                    <a:pt x="103" y="157"/>
                  </a:lnTo>
                  <a:lnTo>
                    <a:pt x="102" y="155"/>
                  </a:lnTo>
                  <a:lnTo>
                    <a:pt x="102" y="153"/>
                  </a:lnTo>
                  <a:lnTo>
                    <a:pt x="102" y="151"/>
                  </a:lnTo>
                  <a:lnTo>
                    <a:pt x="102" y="149"/>
                  </a:lnTo>
                  <a:lnTo>
                    <a:pt x="102" y="148"/>
                  </a:lnTo>
                  <a:lnTo>
                    <a:pt x="102" y="147"/>
                  </a:lnTo>
                  <a:lnTo>
                    <a:pt x="102" y="145"/>
                  </a:lnTo>
                  <a:lnTo>
                    <a:pt x="103" y="143"/>
                  </a:lnTo>
                  <a:lnTo>
                    <a:pt x="104" y="143"/>
                  </a:lnTo>
                  <a:lnTo>
                    <a:pt x="107" y="139"/>
                  </a:lnTo>
                  <a:lnTo>
                    <a:pt x="108" y="138"/>
                  </a:lnTo>
                  <a:lnTo>
                    <a:pt x="108" y="136"/>
                  </a:lnTo>
                  <a:lnTo>
                    <a:pt x="109" y="132"/>
                  </a:lnTo>
                  <a:lnTo>
                    <a:pt x="109" y="131"/>
                  </a:lnTo>
                  <a:lnTo>
                    <a:pt x="110" y="130"/>
                  </a:lnTo>
                  <a:lnTo>
                    <a:pt x="111" y="129"/>
                  </a:lnTo>
                  <a:lnTo>
                    <a:pt x="112" y="127"/>
                  </a:lnTo>
                  <a:lnTo>
                    <a:pt x="113" y="126"/>
                  </a:lnTo>
                  <a:lnTo>
                    <a:pt x="114" y="125"/>
                  </a:lnTo>
                  <a:lnTo>
                    <a:pt x="116" y="124"/>
                  </a:lnTo>
                  <a:lnTo>
                    <a:pt x="117" y="124"/>
                  </a:lnTo>
                  <a:lnTo>
                    <a:pt x="119" y="124"/>
                  </a:lnTo>
                  <a:lnTo>
                    <a:pt x="120" y="124"/>
                  </a:lnTo>
                  <a:lnTo>
                    <a:pt x="120" y="124"/>
                  </a:lnTo>
                  <a:lnTo>
                    <a:pt x="122" y="126"/>
                  </a:lnTo>
                  <a:lnTo>
                    <a:pt x="126" y="129"/>
                  </a:lnTo>
                  <a:lnTo>
                    <a:pt x="131" y="133"/>
                  </a:lnTo>
                  <a:lnTo>
                    <a:pt x="133" y="135"/>
                  </a:lnTo>
                  <a:lnTo>
                    <a:pt x="135" y="137"/>
                  </a:lnTo>
                  <a:lnTo>
                    <a:pt x="137" y="138"/>
                  </a:lnTo>
                  <a:lnTo>
                    <a:pt x="139" y="140"/>
                  </a:lnTo>
                  <a:lnTo>
                    <a:pt x="143" y="141"/>
                  </a:lnTo>
                  <a:lnTo>
                    <a:pt x="144" y="142"/>
                  </a:lnTo>
                  <a:lnTo>
                    <a:pt x="147" y="143"/>
                  </a:lnTo>
                  <a:lnTo>
                    <a:pt x="150" y="143"/>
                  </a:lnTo>
                  <a:lnTo>
                    <a:pt x="152" y="144"/>
                  </a:lnTo>
                  <a:lnTo>
                    <a:pt x="154" y="144"/>
                  </a:lnTo>
                  <a:lnTo>
                    <a:pt x="156" y="144"/>
                  </a:lnTo>
                  <a:lnTo>
                    <a:pt x="159" y="143"/>
                  </a:lnTo>
                  <a:lnTo>
                    <a:pt x="161" y="143"/>
                  </a:lnTo>
                  <a:lnTo>
                    <a:pt x="162" y="142"/>
                  </a:lnTo>
                  <a:lnTo>
                    <a:pt x="164" y="141"/>
                  </a:lnTo>
                  <a:lnTo>
                    <a:pt x="165" y="140"/>
                  </a:lnTo>
                  <a:lnTo>
                    <a:pt x="166" y="138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7" y="132"/>
                  </a:lnTo>
                  <a:lnTo>
                    <a:pt x="167" y="131"/>
                  </a:lnTo>
                  <a:lnTo>
                    <a:pt x="167" y="129"/>
                  </a:lnTo>
                  <a:lnTo>
                    <a:pt x="167" y="125"/>
                  </a:lnTo>
                  <a:lnTo>
                    <a:pt x="166" y="121"/>
                  </a:lnTo>
                  <a:lnTo>
                    <a:pt x="166" y="117"/>
                  </a:lnTo>
                  <a:lnTo>
                    <a:pt x="163" y="109"/>
                  </a:lnTo>
                  <a:lnTo>
                    <a:pt x="162" y="104"/>
                  </a:lnTo>
                  <a:lnTo>
                    <a:pt x="161" y="101"/>
                  </a:lnTo>
                  <a:lnTo>
                    <a:pt x="161" y="99"/>
                  </a:lnTo>
                  <a:lnTo>
                    <a:pt x="161" y="98"/>
                  </a:lnTo>
                  <a:lnTo>
                    <a:pt x="161" y="96"/>
                  </a:lnTo>
                  <a:lnTo>
                    <a:pt x="162" y="94"/>
                  </a:lnTo>
                  <a:lnTo>
                    <a:pt x="163" y="93"/>
                  </a:lnTo>
                  <a:lnTo>
                    <a:pt x="164" y="91"/>
                  </a:lnTo>
                  <a:lnTo>
                    <a:pt x="166" y="89"/>
                  </a:lnTo>
                  <a:lnTo>
                    <a:pt x="167" y="87"/>
                  </a:lnTo>
                  <a:lnTo>
                    <a:pt x="170" y="87"/>
                  </a:lnTo>
                  <a:lnTo>
                    <a:pt x="172" y="85"/>
                  </a:lnTo>
                  <a:lnTo>
                    <a:pt x="177" y="83"/>
                  </a:lnTo>
                  <a:lnTo>
                    <a:pt x="177" y="82"/>
                  </a:lnTo>
                  <a:lnTo>
                    <a:pt x="178" y="81"/>
                  </a:lnTo>
                  <a:lnTo>
                    <a:pt x="179" y="80"/>
                  </a:lnTo>
                  <a:lnTo>
                    <a:pt x="180" y="79"/>
                  </a:lnTo>
                  <a:lnTo>
                    <a:pt x="180" y="78"/>
                  </a:lnTo>
                  <a:lnTo>
                    <a:pt x="181" y="77"/>
                  </a:lnTo>
                  <a:lnTo>
                    <a:pt x="181" y="76"/>
                  </a:lnTo>
                  <a:lnTo>
                    <a:pt x="181" y="75"/>
                  </a:lnTo>
                  <a:lnTo>
                    <a:pt x="181" y="75"/>
                  </a:lnTo>
                  <a:lnTo>
                    <a:pt x="180" y="73"/>
                  </a:lnTo>
                  <a:lnTo>
                    <a:pt x="179" y="70"/>
                  </a:lnTo>
                  <a:lnTo>
                    <a:pt x="178" y="69"/>
                  </a:lnTo>
                  <a:lnTo>
                    <a:pt x="178" y="67"/>
                  </a:lnTo>
                  <a:lnTo>
                    <a:pt x="178" y="65"/>
                  </a:lnTo>
                  <a:lnTo>
                    <a:pt x="178" y="64"/>
                  </a:lnTo>
                  <a:lnTo>
                    <a:pt x="178" y="61"/>
                  </a:lnTo>
                  <a:lnTo>
                    <a:pt x="178" y="58"/>
                  </a:lnTo>
                  <a:lnTo>
                    <a:pt x="178" y="56"/>
                  </a:lnTo>
                  <a:lnTo>
                    <a:pt x="178" y="55"/>
                  </a:lnTo>
                  <a:lnTo>
                    <a:pt x="179" y="54"/>
                  </a:lnTo>
                  <a:lnTo>
                    <a:pt x="179" y="53"/>
                  </a:lnTo>
                  <a:lnTo>
                    <a:pt x="180" y="53"/>
                  </a:lnTo>
                  <a:lnTo>
                    <a:pt x="183" y="52"/>
                  </a:lnTo>
                  <a:lnTo>
                    <a:pt x="184" y="51"/>
                  </a:lnTo>
                  <a:lnTo>
                    <a:pt x="185" y="50"/>
                  </a:lnTo>
                  <a:lnTo>
                    <a:pt x="188" y="47"/>
                  </a:lnTo>
                  <a:lnTo>
                    <a:pt x="188" y="45"/>
                  </a:lnTo>
                  <a:lnTo>
                    <a:pt x="188" y="44"/>
                  </a:lnTo>
                  <a:lnTo>
                    <a:pt x="189" y="41"/>
                  </a:lnTo>
                  <a:lnTo>
                    <a:pt x="190" y="39"/>
                  </a:lnTo>
                  <a:lnTo>
                    <a:pt x="190" y="36"/>
                  </a:lnTo>
                  <a:lnTo>
                    <a:pt x="191" y="29"/>
                  </a:lnTo>
                  <a:lnTo>
                    <a:pt x="191" y="26"/>
                  </a:lnTo>
                  <a:lnTo>
                    <a:pt x="192" y="23"/>
                  </a:lnTo>
                  <a:lnTo>
                    <a:pt x="192" y="22"/>
                  </a:lnTo>
                  <a:lnTo>
                    <a:pt x="193" y="22"/>
                  </a:lnTo>
                  <a:lnTo>
                    <a:pt x="194" y="21"/>
                  </a:lnTo>
                  <a:lnTo>
                    <a:pt x="195" y="20"/>
                  </a:lnTo>
                  <a:lnTo>
                    <a:pt x="198" y="20"/>
                  </a:lnTo>
                  <a:lnTo>
                    <a:pt x="199" y="19"/>
                  </a:lnTo>
                  <a:lnTo>
                    <a:pt x="200" y="19"/>
                  </a:lnTo>
                  <a:lnTo>
                    <a:pt x="202" y="19"/>
                  </a:lnTo>
                  <a:lnTo>
                    <a:pt x="203" y="18"/>
                  </a:lnTo>
                  <a:lnTo>
                    <a:pt x="204" y="18"/>
                  </a:lnTo>
                  <a:lnTo>
                    <a:pt x="206" y="18"/>
                  </a:lnTo>
                  <a:lnTo>
                    <a:pt x="207" y="17"/>
                  </a:lnTo>
                  <a:lnTo>
                    <a:pt x="210" y="16"/>
                  </a:lnTo>
                  <a:lnTo>
                    <a:pt x="213" y="14"/>
                  </a:lnTo>
                  <a:lnTo>
                    <a:pt x="215" y="13"/>
                  </a:lnTo>
                  <a:lnTo>
                    <a:pt x="217" y="12"/>
                  </a:lnTo>
                  <a:lnTo>
                    <a:pt x="220" y="11"/>
                  </a:lnTo>
                  <a:lnTo>
                    <a:pt x="222" y="11"/>
                  </a:lnTo>
                  <a:lnTo>
                    <a:pt x="224" y="11"/>
                  </a:lnTo>
                  <a:lnTo>
                    <a:pt x="227" y="11"/>
                  </a:lnTo>
                  <a:lnTo>
                    <a:pt x="233" y="13"/>
                  </a:lnTo>
                  <a:lnTo>
                    <a:pt x="234" y="13"/>
                  </a:lnTo>
                  <a:lnTo>
                    <a:pt x="236" y="13"/>
                  </a:lnTo>
                  <a:lnTo>
                    <a:pt x="238" y="13"/>
                  </a:lnTo>
                  <a:lnTo>
                    <a:pt x="240" y="13"/>
                  </a:lnTo>
                  <a:lnTo>
                    <a:pt x="242" y="12"/>
                  </a:lnTo>
                  <a:lnTo>
                    <a:pt x="245" y="12"/>
                  </a:lnTo>
                  <a:lnTo>
                    <a:pt x="250" y="10"/>
                  </a:lnTo>
                  <a:lnTo>
                    <a:pt x="252" y="9"/>
                  </a:lnTo>
                  <a:lnTo>
                    <a:pt x="254" y="8"/>
                  </a:lnTo>
                  <a:lnTo>
                    <a:pt x="256" y="7"/>
                  </a:lnTo>
                  <a:lnTo>
                    <a:pt x="264" y="1"/>
                  </a:lnTo>
                  <a:lnTo>
                    <a:pt x="266" y="0"/>
                  </a:lnTo>
                  <a:lnTo>
                    <a:pt x="268" y="0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2" name="Freeform 59">
              <a:extLst>
                <a:ext uri="{FF2B5EF4-FFF2-40B4-BE49-F238E27FC236}">
                  <a16:creationId xmlns:a16="http://schemas.microsoft.com/office/drawing/2014/main" id="{467B0E72-15EC-496E-9CED-408C22040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2535"/>
              <a:ext cx="502" cy="575"/>
            </a:xfrm>
            <a:custGeom>
              <a:avLst/>
              <a:gdLst>
                <a:gd name="T0" fmla="*/ 195 w 502"/>
                <a:gd name="T1" fmla="*/ 15 h 575"/>
                <a:gd name="T2" fmla="*/ 236 w 502"/>
                <a:gd name="T3" fmla="*/ 25 h 575"/>
                <a:gd name="T4" fmla="*/ 263 w 502"/>
                <a:gd name="T5" fmla="*/ 54 h 575"/>
                <a:gd name="T6" fmla="*/ 301 w 502"/>
                <a:gd name="T7" fmla="*/ 61 h 575"/>
                <a:gd name="T8" fmla="*/ 363 w 502"/>
                <a:gd name="T9" fmla="*/ 86 h 575"/>
                <a:gd name="T10" fmla="*/ 402 w 502"/>
                <a:gd name="T11" fmla="*/ 127 h 575"/>
                <a:gd name="T12" fmla="*/ 449 w 502"/>
                <a:gd name="T13" fmla="*/ 144 h 575"/>
                <a:gd name="T14" fmla="*/ 484 w 502"/>
                <a:gd name="T15" fmla="*/ 188 h 575"/>
                <a:gd name="T16" fmla="*/ 479 w 502"/>
                <a:gd name="T17" fmla="*/ 220 h 575"/>
                <a:gd name="T18" fmla="*/ 500 w 502"/>
                <a:gd name="T19" fmla="*/ 238 h 575"/>
                <a:gd name="T20" fmla="*/ 493 w 502"/>
                <a:gd name="T21" fmla="*/ 264 h 575"/>
                <a:gd name="T22" fmla="*/ 467 w 502"/>
                <a:gd name="T23" fmla="*/ 277 h 575"/>
                <a:gd name="T24" fmla="*/ 466 w 502"/>
                <a:gd name="T25" fmla="*/ 286 h 575"/>
                <a:gd name="T26" fmla="*/ 477 w 502"/>
                <a:gd name="T27" fmla="*/ 320 h 575"/>
                <a:gd name="T28" fmla="*/ 463 w 502"/>
                <a:gd name="T29" fmla="*/ 329 h 575"/>
                <a:gd name="T30" fmla="*/ 450 w 502"/>
                <a:gd name="T31" fmla="*/ 313 h 575"/>
                <a:gd name="T32" fmla="*/ 426 w 502"/>
                <a:gd name="T33" fmla="*/ 321 h 575"/>
                <a:gd name="T34" fmla="*/ 430 w 502"/>
                <a:gd name="T35" fmla="*/ 336 h 575"/>
                <a:gd name="T36" fmla="*/ 438 w 502"/>
                <a:gd name="T37" fmla="*/ 347 h 575"/>
                <a:gd name="T38" fmla="*/ 405 w 502"/>
                <a:gd name="T39" fmla="*/ 358 h 575"/>
                <a:gd name="T40" fmla="*/ 382 w 502"/>
                <a:gd name="T41" fmla="*/ 381 h 575"/>
                <a:gd name="T42" fmla="*/ 366 w 502"/>
                <a:gd name="T43" fmla="*/ 410 h 575"/>
                <a:gd name="T44" fmla="*/ 363 w 502"/>
                <a:gd name="T45" fmla="*/ 449 h 575"/>
                <a:gd name="T46" fmla="*/ 389 w 502"/>
                <a:gd name="T47" fmla="*/ 473 h 575"/>
                <a:gd name="T48" fmla="*/ 387 w 502"/>
                <a:gd name="T49" fmla="*/ 484 h 575"/>
                <a:gd name="T50" fmla="*/ 409 w 502"/>
                <a:gd name="T51" fmla="*/ 497 h 575"/>
                <a:gd name="T52" fmla="*/ 393 w 502"/>
                <a:gd name="T53" fmla="*/ 527 h 575"/>
                <a:gd name="T54" fmla="*/ 403 w 502"/>
                <a:gd name="T55" fmla="*/ 552 h 575"/>
                <a:gd name="T56" fmla="*/ 391 w 502"/>
                <a:gd name="T57" fmla="*/ 568 h 575"/>
                <a:gd name="T58" fmla="*/ 348 w 502"/>
                <a:gd name="T59" fmla="*/ 575 h 575"/>
                <a:gd name="T60" fmla="*/ 336 w 502"/>
                <a:gd name="T61" fmla="*/ 556 h 575"/>
                <a:gd name="T62" fmla="*/ 307 w 502"/>
                <a:gd name="T63" fmla="*/ 536 h 575"/>
                <a:gd name="T64" fmla="*/ 284 w 502"/>
                <a:gd name="T65" fmla="*/ 543 h 575"/>
                <a:gd name="T66" fmla="*/ 261 w 502"/>
                <a:gd name="T67" fmla="*/ 548 h 575"/>
                <a:gd name="T68" fmla="*/ 232 w 502"/>
                <a:gd name="T69" fmla="*/ 532 h 575"/>
                <a:gd name="T70" fmla="*/ 205 w 502"/>
                <a:gd name="T71" fmla="*/ 498 h 575"/>
                <a:gd name="T72" fmla="*/ 182 w 502"/>
                <a:gd name="T73" fmla="*/ 490 h 575"/>
                <a:gd name="T74" fmla="*/ 166 w 502"/>
                <a:gd name="T75" fmla="*/ 499 h 575"/>
                <a:gd name="T76" fmla="*/ 140 w 502"/>
                <a:gd name="T77" fmla="*/ 473 h 575"/>
                <a:gd name="T78" fmla="*/ 122 w 502"/>
                <a:gd name="T79" fmla="*/ 469 h 575"/>
                <a:gd name="T80" fmla="*/ 92 w 502"/>
                <a:gd name="T81" fmla="*/ 479 h 575"/>
                <a:gd name="T82" fmla="*/ 71 w 502"/>
                <a:gd name="T83" fmla="*/ 455 h 575"/>
                <a:gd name="T84" fmla="*/ 70 w 502"/>
                <a:gd name="T85" fmla="*/ 449 h 575"/>
                <a:gd name="T86" fmla="*/ 37 w 502"/>
                <a:gd name="T87" fmla="*/ 409 h 575"/>
                <a:gd name="T88" fmla="*/ 28 w 502"/>
                <a:gd name="T89" fmla="*/ 385 h 575"/>
                <a:gd name="T90" fmla="*/ 47 w 502"/>
                <a:gd name="T91" fmla="*/ 383 h 575"/>
                <a:gd name="T92" fmla="*/ 65 w 502"/>
                <a:gd name="T93" fmla="*/ 371 h 575"/>
                <a:gd name="T94" fmla="*/ 68 w 502"/>
                <a:gd name="T95" fmla="*/ 338 h 575"/>
                <a:gd name="T96" fmla="*/ 33 w 502"/>
                <a:gd name="T97" fmla="*/ 290 h 575"/>
                <a:gd name="T98" fmla="*/ 7 w 502"/>
                <a:gd name="T99" fmla="*/ 238 h 575"/>
                <a:gd name="T100" fmla="*/ 17 w 502"/>
                <a:gd name="T101" fmla="*/ 207 h 575"/>
                <a:gd name="T102" fmla="*/ 21 w 502"/>
                <a:gd name="T103" fmla="*/ 176 h 575"/>
                <a:gd name="T104" fmla="*/ 34 w 502"/>
                <a:gd name="T105" fmla="*/ 133 h 575"/>
                <a:gd name="T106" fmla="*/ 54 w 502"/>
                <a:gd name="T107" fmla="*/ 118 h 575"/>
                <a:gd name="T108" fmla="*/ 56 w 502"/>
                <a:gd name="T109" fmla="*/ 101 h 575"/>
                <a:gd name="T110" fmla="*/ 74 w 502"/>
                <a:gd name="T111" fmla="*/ 92 h 575"/>
                <a:gd name="T112" fmla="*/ 101 w 502"/>
                <a:gd name="T113" fmla="*/ 46 h 575"/>
                <a:gd name="T114" fmla="*/ 134 w 502"/>
                <a:gd name="T115" fmla="*/ 57 h 575"/>
                <a:gd name="T116" fmla="*/ 150 w 502"/>
                <a:gd name="T117" fmla="*/ 43 h 575"/>
                <a:gd name="T118" fmla="*/ 170 w 502"/>
                <a:gd name="T119" fmla="*/ 8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2" h="575">
                  <a:moveTo>
                    <a:pt x="182" y="0"/>
                  </a:moveTo>
                  <a:lnTo>
                    <a:pt x="183" y="0"/>
                  </a:lnTo>
                  <a:lnTo>
                    <a:pt x="184" y="1"/>
                  </a:lnTo>
                  <a:lnTo>
                    <a:pt x="185" y="2"/>
                  </a:lnTo>
                  <a:lnTo>
                    <a:pt x="186" y="3"/>
                  </a:lnTo>
                  <a:lnTo>
                    <a:pt x="187" y="3"/>
                  </a:lnTo>
                  <a:lnTo>
                    <a:pt x="190" y="8"/>
                  </a:lnTo>
                  <a:lnTo>
                    <a:pt x="192" y="10"/>
                  </a:lnTo>
                  <a:lnTo>
                    <a:pt x="193" y="12"/>
                  </a:lnTo>
                  <a:lnTo>
                    <a:pt x="193" y="14"/>
                  </a:lnTo>
                  <a:lnTo>
                    <a:pt x="195" y="15"/>
                  </a:lnTo>
                  <a:lnTo>
                    <a:pt x="197" y="16"/>
                  </a:lnTo>
                  <a:lnTo>
                    <a:pt x="199" y="17"/>
                  </a:lnTo>
                  <a:lnTo>
                    <a:pt x="202" y="19"/>
                  </a:lnTo>
                  <a:lnTo>
                    <a:pt x="205" y="20"/>
                  </a:lnTo>
                  <a:lnTo>
                    <a:pt x="210" y="22"/>
                  </a:lnTo>
                  <a:lnTo>
                    <a:pt x="214" y="23"/>
                  </a:lnTo>
                  <a:lnTo>
                    <a:pt x="217" y="24"/>
                  </a:lnTo>
                  <a:lnTo>
                    <a:pt x="220" y="24"/>
                  </a:lnTo>
                  <a:lnTo>
                    <a:pt x="223" y="25"/>
                  </a:lnTo>
                  <a:lnTo>
                    <a:pt x="232" y="25"/>
                  </a:lnTo>
                  <a:lnTo>
                    <a:pt x="236" y="25"/>
                  </a:lnTo>
                  <a:lnTo>
                    <a:pt x="237" y="26"/>
                  </a:lnTo>
                  <a:lnTo>
                    <a:pt x="238" y="27"/>
                  </a:lnTo>
                  <a:lnTo>
                    <a:pt x="241" y="32"/>
                  </a:lnTo>
                  <a:lnTo>
                    <a:pt x="248" y="40"/>
                  </a:lnTo>
                  <a:lnTo>
                    <a:pt x="250" y="44"/>
                  </a:lnTo>
                  <a:lnTo>
                    <a:pt x="253" y="47"/>
                  </a:lnTo>
                  <a:lnTo>
                    <a:pt x="255" y="48"/>
                  </a:lnTo>
                  <a:lnTo>
                    <a:pt x="257" y="50"/>
                  </a:lnTo>
                  <a:lnTo>
                    <a:pt x="260" y="52"/>
                  </a:lnTo>
                  <a:lnTo>
                    <a:pt x="261" y="53"/>
                  </a:lnTo>
                  <a:lnTo>
                    <a:pt x="263" y="54"/>
                  </a:lnTo>
                  <a:lnTo>
                    <a:pt x="265" y="54"/>
                  </a:lnTo>
                  <a:lnTo>
                    <a:pt x="266" y="55"/>
                  </a:lnTo>
                  <a:lnTo>
                    <a:pt x="270" y="55"/>
                  </a:lnTo>
                  <a:lnTo>
                    <a:pt x="283" y="55"/>
                  </a:lnTo>
                  <a:lnTo>
                    <a:pt x="284" y="55"/>
                  </a:lnTo>
                  <a:lnTo>
                    <a:pt x="287" y="56"/>
                  </a:lnTo>
                  <a:lnTo>
                    <a:pt x="289" y="57"/>
                  </a:lnTo>
                  <a:lnTo>
                    <a:pt x="292" y="57"/>
                  </a:lnTo>
                  <a:lnTo>
                    <a:pt x="295" y="58"/>
                  </a:lnTo>
                  <a:lnTo>
                    <a:pt x="299" y="60"/>
                  </a:lnTo>
                  <a:lnTo>
                    <a:pt x="301" y="61"/>
                  </a:lnTo>
                  <a:lnTo>
                    <a:pt x="303" y="61"/>
                  </a:lnTo>
                  <a:lnTo>
                    <a:pt x="311" y="63"/>
                  </a:lnTo>
                  <a:lnTo>
                    <a:pt x="321" y="67"/>
                  </a:lnTo>
                  <a:lnTo>
                    <a:pt x="329" y="69"/>
                  </a:lnTo>
                  <a:lnTo>
                    <a:pt x="330" y="70"/>
                  </a:lnTo>
                  <a:lnTo>
                    <a:pt x="332" y="71"/>
                  </a:lnTo>
                  <a:lnTo>
                    <a:pt x="343" y="77"/>
                  </a:lnTo>
                  <a:lnTo>
                    <a:pt x="352" y="80"/>
                  </a:lnTo>
                  <a:lnTo>
                    <a:pt x="354" y="82"/>
                  </a:lnTo>
                  <a:lnTo>
                    <a:pt x="358" y="83"/>
                  </a:lnTo>
                  <a:lnTo>
                    <a:pt x="363" y="86"/>
                  </a:lnTo>
                  <a:lnTo>
                    <a:pt x="365" y="88"/>
                  </a:lnTo>
                  <a:lnTo>
                    <a:pt x="368" y="90"/>
                  </a:lnTo>
                  <a:lnTo>
                    <a:pt x="372" y="93"/>
                  </a:lnTo>
                  <a:lnTo>
                    <a:pt x="375" y="96"/>
                  </a:lnTo>
                  <a:lnTo>
                    <a:pt x="384" y="106"/>
                  </a:lnTo>
                  <a:lnTo>
                    <a:pt x="387" y="110"/>
                  </a:lnTo>
                  <a:lnTo>
                    <a:pt x="389" y="113"/>
                  </a:lnTo>
                  <a:lnTo>
                    <a:pt x="393" y="118"/>
                  </a:lnTo>
                  <a:lnTo>
                    <a:pt x="395" y="120"/>
                  </a:lnTo>
                  <a:lnTo>
                    <a:pt x="398" y="124"/>
                  </a:lnTo>
                  <a:lnTo>
                    <a:pt x="402" y="127"/>
                  </a:lnTo>
                  <a:lnTo>
                    <a:pt x="405" y="128"/>
                  </a:lnTo>
                  <a:lnTo>
                    <a:pt x="407" y="129"/>
                  </a:lnTo>
                  <a:lnTo>
                    <a:pt x="409" y="130"/>
                  </a:lnTo>
                  <a:lnTo>
                    <a:pt x="411" y="131"/>
                  </a:lnTo>
                  <a:lnTo>
                    <a:pt x="416" y="132"/>
                  </a:lnTo>
                  <a:lnTo>
                    <a:pt x="419" y="133"/>
                  </a:lnTo>
                  <a:lnTo>
                    <a:pt x="429" y="136"/>
                  </a:lnTo>
                  <a:lnTo>
                    <a:pt x="438" y="139"/>
                  </a:lnTo>
                  <a:lnTo>
                    <a:pt x="442" y="140"/>
                  </a:lnTo>
                  <a:lnTo>
                    <a:pt x="445" y="142"/>
                  </a:lnTo>
                  <a:lnTo>
                    <a:pt x="449" y="144"/>
                  </a:lnTo>
                  <a:lnTo>
                    <a:pt x="457" y="150"/>
                  </a:lnTo>
                  <a:lnTo>
                    <a:pt x="464" y="154"/>
                  </a:lnTo>
                  <a:lnTo>
                    <a:pt x="466" y="156"/>
                  </a:lnTo>
                  <a:lnTo>
                    <a:pt x="469" y="158"/>
                  </a:lnTo>
                  <a:lnTo>
                    <a:pt x="471" y="161"/>
                  </a:lnTo>
                  <a:lnTo>
                    <a:pt x="474" y="164"/>
                  </a:lnTo>
                  <a:lnTo>
                    <a:pt x="485" y="179"/>
                  </a:lnTo>
                  <a:lnTo>
                    <a:pt x="486" y="179"/>
                  </a:lnTo>
                  <a:lnTo>
                    <a:pt x="485" y="182"/>
                  </a:lnTo>
                  <a:lnTo>
                    <a:pt x="485" y="184"/>
                  </a:lnTo>
                  <a:lnTo>
                    <a:pt x="484" y="188"/>
                  </a:lnTo>
                  <a:lnTo>
                    <a:pt x="483" y="193"/>
                  </a:lnTo>
                  <a:lnTo>
                    <a:pt x="482" y="196"/>
                  </a:lnTo>
                  <a:lnTo>
                    <a:pt x="477" y="207"/>
                  </a:lnTo>
                  <a:lnTo>
                    <a:pt x="477" y="209"/>
                  </a:lnTo>
                  <a:lnTo>
                    <a:pt x="477" y="211"/>
                  </a:lnTo>
                  <a:lnTo>
                    <a:pt x="476" y="212"/>
                  </a:lnTo>
                  <a:lnTo>
                    <a:pt x="476" y="213"/>
                  </a:lnTo>
                  <a:lnTo>
                    <a:pt x="477" y="214"/>
                  </a:lnTo>
                  <a:lnTo>
                    <a:pt x="477" y="217"/>
                  </a:lnTo>
                  <a:lnTo>
                    <a:pt x="478" y="218"/>
                  </a:lnTo>
                  <a:lnTo>
                    <a:pt x="479" y="220"/>
                  </a:lnTo>
                  <a:lnTo>
                    <a:pt x="481" y="222"/>
                  </a:lnTo>
                  <a:lnTo>
                    <a:pt x="484" y="224"/>
                  </a:lnTo>
                  <a:lnTo>
                    <a:pt x="486" y="225"/>
                  </a:lnTo>
                  <a:lnTo>
                    <a:pt x="492" y="229"/>
                  </a:lnTo>
                  <a:lnTo>
                    <a:pt x="495" y="230"/>
                  </a:lnTo>
                  <a:lnTo>
                    <a:pt x="496" y="231"/>
                  </a:lnTo>
                  <a:lnTo>
                    <a:pt x="497" y="232"/>
                  </a:lnTo>
                  <a:lnTo>
                    <a:pt x="498" y="233"/>
                  </a:lnTo>
                  <a:lnTo>
                    <a:pt x="499" y="234"/>
                  </a:lnTo>
                  <a:lnTo>
                    <a:pt x="500" y="236"/>
                  </a:lnTo>
                  <a:lnTo>
                    <a:pt x="500" y="238"/>
                  </a:lnTo>
                  <a:lnTo>
                    <a:pt x="501" y="240"/>
                  </a:lnTo>
                  <a:lnTo>
                    <a:pt x="501" y="241"/>
                  </a:lnTo>
                  <a:lnTo>
                    <a:pt x="502" y="243"/>
                  </a:lnTo>
                  <a:lnTo>
                    <a:pt x="502" y="245"/>
                  </a:lnTo>
                  <a:lnTo>
                    <a:pt x="501" y="248"/>
                  </a:lnTo>
                  <a:lnTo>
                    <a:pt x="501" y="250"/>
                  </a:lnTo>
                  <a:lnTo>
                    <a:pt x="500" y="252"/>
                  </a:lnTo>
                  <a:lnTo>
                    <a:pt x="500" y="255"/>
                  </a:lnTo>
                  <a:lnTo>
                    <a:pt x="498" y="258"/>
                  </a:lnTo>
                  <a:lnTo>
                    <a:pt x="496" y="261"/>
                  </a:lnTo>
                  <a:lnTo>
                    <a:pt x="493" y="264"/>
                  </a:lnTo>
                  <a:lnTo>
                    <a:pt x="490" y="269"/>
                  </a:lnTo>
                  <a:lnTo>
                    <a:pt x="488" y="271"/>
                  </a:lnTo>
                  <a:lnTo>
                    <a:pt x="484" y="274"/>
                  </a:lnTo>
                  <a:lnTo>
                    <a:pt x="482" y="275"/>
                  </a:lnTo>
                  <a:lnTo>
                    <a:pt x="480" y="276"/>
                  </a:lnTo>
                  <a:lnTo>
                    <a:pt x="479" y="277"/>
                  </a:lnTo>
                  <a:lnTo>
                    <a:pt x="477" y="277"/>
                  </a:lnTo>
                  <a:lnTo>
                    <a:pt x="475" y="278"/>
                  </a:lnTo>
                  <a:lnTo>
                    <a:pt x="473" y="278"/>
                  </a:lnTo>
                  <a:lnTo>
                    <a:pt x="472" y="278"/>
                  </a:lnTo>
                  <a:lnTo>
                    <a:pt x="467" y="277"/>
                  </a:lnTo>
                  <a:lnTo>
                    <a:pt x="466" y="277"/>
                  </a:lnTo>
                  <a:lnTo>
                    <a:pt x="465" y="277"/>
                  </a:lnTo>
                  <a:lnTo>
                    <a:pt x="464" y="277"/>
                  </a:lnTo>
                  <a:lnTo>
                    <a:pt x="464" y="278"/>
                  </a:lnTo>
                  <a:lnTo>
                    <a:pt x="463" y="279"/>
                  </a:lnTo>
                  <a:lnTo>
                    <a:pt x="463" y="280"/>
                  </a:lnTo>
                  <a:lnTo>
                    <a:pt x="464" y="281"/>
                  </a:lnTo>
                  <a:lnTo>
                    <a:pt x="464" y="283"/>
                  </a:lnTo>
                  <a:lnTo>
                    <a:pt x="465" y="284"/>
                  </a:lnTo>
                  <a:lnTo>
                    <a:pt x="466" y="286"/>
                  </a:lnTo>
                  <a:lnTo>
                    <a:pt x="466" y="286"/>
                  </a:lnTo>
                  <a:lnTo>
                    <a:pt x="468" y="289"/>
                  </a:lnTo>
                  <a:lnTo>
                    <a:pt x="471" y="291"/>
                  </a:lnTo>
                  <a:lnTo>
                    <a:pt x="473" y="293"/>
                  </a:lnTo>
                  <a:lnTo>
                    <a:pt x="478" y="297"/>
                  </a:lnTo>
                  <a:lnTo>
                    <a:pt x="482" y="300"/>
                  </a:lnTo>
                  <a:lnTo>
                    <a:pt x="484" y="301"/>
                  </a:lnTo>
                  <a:lnTo>
                    <a:pt x="485" y="302"/>
                  </a:lnTo>
                  <a:lnTo>
                    <a:pt x="486" y="302"/>
                  </a:lnTo>
                  <a:lnTo>
                    <a:pt x="485" y="304"/>
                  </a:lnTo>
                  <a:lnTo>
                    <a:pt x="481" y="311"/>
                  </a:lnTo>
                  <a:lnTo>
                    <a:pt x="477" y="320"/>
                  </a:lnTo>
                  <a:lnTo>
                    <a:pt x="477" y="321"/>
                  </a:lnTo>
                  <a:lnTo>
                    <a:pt x="476" y="323"/>
                  </a:lnTo>
                  <a:lnTo>
                    <a:pt x="475" y="325"/>
                  </a:lnTo>
                  <a:lnTo>
                    <a:pt x="473" y="327"/>
                  </a:lnTo>
                  <a:lnTo>
                    <a:pt x="472" y="328"/>
                  </a:lnTo>
                  <a:lnTo>
                    <a:pt x="471" y="328"/>
                  </a:lnTo>
                  <a:lnTo>
                    <a:pt x="469" y="329"/>
                  </a:lnTo>
                  <a:lnTo>
                    <a:pt x="467" y="330"/>
                  </a:lnTo>
                  <a:lnTo>
                    <a:pt x="466" y="330"/>
                  </a:lnTo>
                  <a:lnTo>
                    <a:pt x="464" y="329"/>
                  </a:lnTo>
                  <a:lnTo>
                    <a:pt x="463" y="329"/>
                  </a:lnTo>
                  <a:lnTo>
                    <a:pt x="462" y="329"/>
                  </a:lnTo>
                  <a:lnTo>
                    <a:pt x="461" y="328"/>
                  </a:lnTo>
                  <a:lnTo>
                    <a:pt x="460" y="328"/>
                  </a:lnTo>
                  <a:lnTo>
                    <a:pt x="459" y="326"/>
                  </a:lnTo>
                  <a:lnTo>
                    <a:pt x="457" y="324"/>
                  </a:lnTo>
                  <a:lnTo>
                    <a:pt x="456" y="321"/>
                  </a:lnTo>
                  <a:lnTo>
                    <a:pt x="454" y="318"/>
                  </a:lnTo>
                  <a:lnTo>
                    <a:pt x="453" y="316"/>
                  </a:lnTo>
                  <a:lnTo>
                    <a:pt x="452" y="315"/>
                  </a:lnTo>
                  <a:lnTo>
                    <a:pt x="451" y="314"/>
                  </a:lnTo>
                  <a:lnTo>
                    <a:pt x="450" y="313"/>
                  </a:lnTo>
                  <a:lnTo>
                    <a:pt x="449" y="313"/>
                  </a:lnTo>
                  <a:lnTo>
                    <a:pt x="446" y="312"/>
                  </a:lnTo>
                  <a:lnTo>
                    <a:pt x="443" y="312"/>
                  </a:lnTo>
                  <a:lnTo>
                    <a:pt x="442" y="312"/>
                  </a:lnTo>
                  <a:lnTo>
                    <a:pt x="439" y="313"/>
                  </a:lnTo>
                  <a:lnTo>
                    <a:pt x="437" y="314"/>
                  </a:lnTo>
                  <a:lnTo>
                    <a:pt x="434" y="315"/>
                  </a:lnTo>
                  <a:lnTo>
                    <a:pt x="432" y="317"/>
                  </a:lnTo>
                  <a:lnTo>
                    <a:pt x="430" y="319"/>
                  </a:lnTo>
                  <a:lnTo>
                    <a:pt x="428" y="320"/>
                  </a:lnTo>
                  <a:lnTo>
                    <a:pt x="426" y="321"/>
                  </a:lnTo>
                  <a:lnTo>
                    <a:pt x="422" y="325"/>
                  </a:lnTo>
                  <a:lnTo>
                    <a:pt x="421" y="327"/>
                  </a:lnTo>
                  <a:lnTo>
                    <a:pt x="420" y="329"/>
                  </a:lnTo>
                  <a:lnTo>
                    <a:pt x="420" y="330"/>
                  </a:lnTo>
                  <a:lnTo>
                    <a:pt x="419" y="331"/>
                  </a:lnTo>
                  <a:lnTo>
                    <a:pt x="420" y="332"/>
                  </a:lnTo>
                  <a:lnTo>
                    <a:pt x="420" y="332"/>
                  </a:lnTo>
                  <a:lnTo>
                    <a:pt x="420" y="333"/>
                  </a:lnTo>
                  <a:lnTo>
                    <a:pt x="421" y="333"/>
                  </a:lnTo>
                  <a:lnTo>
                    <a:pt x="423" y="334"/>
                  </a:lnTo>
                  <a:lnTo>
                    <a:pt x="430" y="336"/>
                  </a:lnTo>
                  <a:lnTo>
                    <a:pt x="432" y="337"/>
                  </a:lnTo>
                  <a:lnTo>
                    <a:pt x="433" y="337"/>
                  </a:lnTo>
                  <a:lnTo>
                    <a:pt x="434" y="338"/>
                  </a:lnTo>
                  <a:lnTo>
                    <a:pt x="435" y="339"/>
                  </a:lnTo>
                  <a:lnTo>
                    <a:pt x="437" y="340"/>
                  </a:lnTo>
                  <a:lnTo>
                    <a:pt x="438" y="341"/>
                  </a:lnTo>
                  <a:lnTo>
                    <a:pt x="439" y="343"/>
                  </a:lnTo>
                  <a:lnTo>
                    <a:pt x="439" y="343"/>
                  </a:lnTo>
                  <a:lnTo>
                    <a:pt x="439" y="344"/>
                  </a:lnTo>
                  <a:lnTo>
                    <a:pt x="439" y="346"/>
                  </a:lnTo>
                  <a:lnTo>
                    <a:pt x="438" y="347"/>
                  </a:lnTo>
                  <a:lnTo>
                    <a:pt x="437" y="349"/>
                  </a:lnTo>
                  <a:lnTo>
                    <a:pt x="436" y="351"/>
                  </a:lnTo>
                  <a:lnTo>
                    <a:pt x="435" y="352"/>
                  </a:lnTo>
                  <a:lnTo>
                    <a:pt x="434" y="353"/>
                  </a:lnTo>
                  <a:lnTo>
                    <a:pt x="432" y="354"/>
                  </a:lnTo>
                  <a:lnTo>
                    <a:pt x="430" y="354"/>
                  </a:lnTo>
                  <a:lnTo>
                    <a:pt x="426" y="355"/>
                  </a:lnTo>
                  <a:lnTo>
                    <a:pt x="420" y="356"/>
                  </a:lnTo>
                  <a:lnTo>
                    <a:pt x="416" y="357"/>
                  </a:lnTo>
                  <a:lnTo>
                    <a:pt x="409" y="357"/>
                  </a:lnTo>
                  <a:lnTo>
                    <a:pt x="405" y="358"/>
                  </a:lnTo>
                  <a:lnTo>
                    <a:pt x="402" y="359"/>
                  </a:lnTo>
                  <a:lnTo>
                    <a:pt x="399" y="360"/>
                  </a:lnTo>
                  <a:lnTo>
                    <a:pt x="397" y="362"/>
                  </a:lnTo>
                  <a:lnTo>
                    <a:pt x="395" y="364"/>
                  </a:lnTo>
                  <a:lnTo>
                    <a:pt x="393" y="365"/>
                  </a:lnTo>
                  <a:lnTo>
                    <a:pt x="392" y="366"/>
                  </a:lnTo>
                  <a:lnTo>
                    <a:pt x="390" y="367"/>
                  </a:lnTo>
                  <a:lnTo>
                    <a:pt x="388" y="370"/>
                  </a:lnTo>
                  <a:lnTo>
                    <a:pt x="387" y="372"/>
                  </a:lnTo>
                  <a:lnTo>
                    <a:pt x="386" y="375"/>
                  </a:lnTo>
                  <a:lnTo>
                    <a:pt x="382" y="381"/>
                  </a:lnTo>
                  <a:lnTo>
                    <a:pt x="381" y="384"/>
                  </a:lnTo>
                  <a:lnTo>
                    <a:pt x="379" y="386"/>
                  </a:lnTo>
                  <a:lnTo>
                    <a:pt x="375" y="391"/>
                  </a:lnTo>
                  <a:lnTo>
                    <a:pt x="373" y="394"/>
                  </a:lnTo>
                  <a:lnTo>
                    <a:pt x="371" y="396"/>
                  </a:lnTo>
                  <a:lnTo>
                    <a:pt x="370" y="399"/>
                  </a:lnTo>
                  <a:lnTo>
                    <a:pt x="368" y="401"/>
                  </a:lnTo>
                  <a:lnTo>
                    <a:pt x="367" y="403"/>
                  </a:lnTo>
                  <a:lnTo>
                    <a:pt x="366" y="405"/>
                  </a:lnTo>
                  <a:lnTo>
                    <a:pt x="366" y="408"/>
                  </a:lnTo>
                  <a:lnTo>
                    <a:pt x="366" y="410"/>
                  </a:lnTo>
                  <a:lnTo>
                    <a:pt x="366" y="417"/>
                  </a:lnTo>
                  <a:lnTo>
                    <a:pt x="365" y="422"/>
                  </a:lnTo>
                  <a:lnTo>
                    <a:pt x="365" y="425"/>
                  </a:lnTo>
                  <a:lnTo>
                    <a:pt x="363" y="431"/>
                  </a:lnTo>
                  <a:lnTo>
                    <a:pt x="362" y="439"/>
                  </a:lnTo>
                  <a:lnTo>
                    <a:pt x="362" y="442"/>
                  </a:lnTo>
                  <a:lnTo>
                    <a:pt x="362" y="444"/>
                  </a:lnTo>
                  <a:lnTo>
                    <a:pt x="362" y="445"/>
                  </a:lnTo>
                  <a:lnTo>
                    <a:pt x="362" y="446"/>
                  </a:lnTo>
                  <a:lnTo>
                    <a:pt x="362" y="448"/>
                  </a:lnTo>
                  <a:lnTo>
                    <a:pt x="363" y="449"/>
                  </a:lnTo>
                  <a:lnTo>
                    <a:pt x="363" y="451"/>
                  </a:lnTo>
                  <a:lnTo>
                    <a:pt x="364" y="452"/>
                  </a:lnTo>
                  <a:lnTo>
                    <a:pt x="366" y="454"/>
                  </a:lnTo>
                  <a:lnTo>
                    <a:pt x="375" y="460"/>
                  </a:lnTo>
                  <a:lnTo>
                    <a:pt x="387" y="468"/>
                  </a:lnTo>
                  <a:lnTo>
                    <a:pt x="388" y="469"/>
                  </a:lnTo>
                  <a:lnTo>
                    <a:pt x="389" y="470"/>
                  </a:lnTo>
                  <a:lnTo>
                    <a:pt x="389" y="471"/>
                  </a:lnTo>
                  <a:lnTo>
                    <a:pt x="390" y="472"/>
                  </a:lnTo>
                  <a:lnTo>
                    <a:pt x="389" y="472"/>
                  </a:lnTo>
                  <a:lnTo>
                    <a:pt x="389" y="473"/>
                  </a:lnTo>
                  <a:lnTo>
                    <a:pt x="388" y="474"/>
                  </a:lnTo>
                  <a:lnTo>
                    <a:pt x="386" y="476"/>
                  </a:lnTo>
                  <a:lnTo>
                    <a:pt x="385" y="477"/>
                  </a:lnTo>
                  <a:lnTo>
                    <a:pt x="384" y="478"/>
                  </a:lnTo>
                  <a:lnTo>
                    <a:pt x="384" y="479"/>
                  </a:lnTo>
                  <a:lnTo>
                    <a:pt x="384" y="479"/>
                  </a:lnTo>
                  <a:lnTo>
                    <a:pt x="384" y="480"/>
                  </a:lnTo>
                  <a:lnTo>
                    <a:pt x="384" y="481"/>
                  </a:lnTo>
                  <a:lnTo>
                    <a:pt x="385" y="482"/>
                  </a:lnTo>
                  <a:lnTo>
                    <a:pt x="386" y="483"/>
                  </a:lnTo>
                  <a:lnTo>
                    <a:pt x="387" y="484"/>
                  </a:lnTo>
                  <a:lnTo>
                    <a:pt x="389" y="485"/>
                  </a:lnTo>
                  <a:lnTo>
                    <a:pt x="391" y="486"/>
                  </a:lnTo>
                  <a:lnTo>
                    <a:pt x="394" y="487"/>
                  </a:lnTo>
                  <a:lnTo>
                    <a:pt x="397" y="488"/>
                  </a:lnTo>
                  <a:lnTo>
                    <a:pt x="403" y="490"/>
                  </a:lnTo>
                  <a:lnTo>
                    <a:pt x="404" y="490"/>
                  </a:lnTo>
                  <a:lnTo>
                    <a:pt x="406" y="490"/>
                  </a:lnTo>
                  <a:lnTo>
                    <a:pt x="407" y="491"/>
                  </a:lnTo>
                  <a:lnTo>
                    <a:pt x="408" y="493"/>
                  </a:lnTo>
                  <a:lnTo>
                    <a:pt x="409" y="495"/>
                  </a:lnTo>
                  <a:lnTo>
                    <a:pt x="409" y="497"/>
                  </a:lnTo>
                  <a:lnTo>
                    <a:pt x="409" y="499"/>
                  </a:lnTo>
                  <a:lnTo>
                    <a:pt x="409" y="501"/>
                  </a:lnTo>
                  <a:lnTo>
                    <a:pt x="408" y="503"/>
                  </a:lnTo>
                  <a:lnTo>
                    <a:pt x="407" y="505"/>
                  </a:lnTo>
                  <a:lnTo>
                    <a:pt x="405" y="509"/>
                  </a:lnTo>
                  <a:lnTo>
                    <a:pt x="402" y="513"/>
                  </a:lnTo>
                  <a:lnTo>
                    <a:pt x="399" y="516"/>
                  </a:lnTo>
                  <a:lnTo>
                    <a:pt x="396" y="521"/>
                  </a:lnTo>
                  <a:lnTo>
                    <a:pt x="394" y="524"/>
                  </a:lnTo>
                  <a:lnTo>
                    <a:pt x="393" y="525"/>
                  </a:lnTo>
                  <a:lnTo>
                    <a:pt x="393" y="527"/>
                  </a:lnTo>
                  <a:lnTo>
                    <a:pt x="392" y="529"/>
                  </a:lnTo>
                  <a:lnTo>
                    <a:pt x="392" y="531"/>
                  </a:lnTo>
                  <a:lnTo>
                    <a:pt x="392" y="533"/>
                  </a:lnTo>
                  <a:lnTo>
                    <a:pt x="392" y="535"/>
                  </a:lnTo>
                  <a:lnTo>
                    <a:pt x="393" y="537"/>
                  </a:lnTo>
                  <a:lnTo>
                    <a:pt x="394" y="539"/>
                  </a:lnTo>
                  <a:lnTo>
                    <a:pt x="395" y="541"/>
                  </a:lnTo>
                  <a:lnTo>
                    <a:pt x="396" y="543"/>
                  </a:lnTo>
                  <a:lnTo>
                    <a:pt x="401" y="549"/>
                  </a:lnTo>
                  <a:lnTo>
                    <a:pt x="402" y="551"/>
                  </a:lnTo>
                  <a:lnTo>
                    <a:pt x="403" y="552"/>
                  </a:lnTo>
                  <a:lnTo>
                    <a:pt x="403" y="554"/>
                  </a:lnTo>
                  <a:lnTo>
                    <a:pt x="403" y="556"/>
                  </a:lnTo>
                  <a:lnTo>
                    <a:pt x="403" y="557"/>
                  </a:lnTo>
                  <a:lnTo>
                    <a:pt x="403" y="558"/>
                  </a:lnTo>
                  <a:lnTo>
                    <a:pt x="402" y="559"/>
                  </a:lnTo>
                  <a:lnTo>
                    <a:pt x="402" y="560"/>
                  </a:lnTo>
                  <a:lnTo>
                    <a:pt x="400" y="562"/>
                  </a:lnTo>
                  <a:lnTo>
                    <a:pt x="399" y="564"/>
                  </a:lnTo>
                  <a:lnTo>
                    <a:pt x="397" y="565"/>
                  </a:lnTo>
                  <a:lnTo>
                    <a:pt x="394" y="567"/>
                  </a:lnTo>
                  <a:lnTo>
                    <a:pt x="391" y="568"/>
                  </a:lnTo>
                  <a:lnTo>
                    <a:pt x="389" y="568"/>
                  </a:lnTo>
                  <a:lnTo>
                    <a:pt x="383" y="570"/>
                  </a:lnTo>
                  <a:lnTo>
                    <a:pt x="380" y="569"/>
                  </a:lnTo>
                  <a:lnTo>
                    <a:pt x="375" y="570"/>
                  </a:lnTo>
                  <a:lnTo>
                    <a:pt x="372" y="570"/>
                  </a:lnTo>
                  <a:lnTo>
                    <a:pt x="366" y="570"/>
                  </a:lnTo>
                  <a:lnTo>
                    <a:pt x="361" y="571"/>
                  </a:lnTo>
                  <a:lnTo>
                    <a:pt x="358" y="572"/>
                  </a:lnTo>
                  <a:lnTo>
                    <a:pt x="352" y="574"/>
                  </a:lnTo>
                  <a:lnTo>
                    <a:pt x="350" y="575"/>
                  </a:lnTo>
                  <a:lnTo>
                    <a:pt x="348" y="575"/>
                  </a:lnTo>
                  <a:lnTo>
                    <a:pt x="346" y="575"/>
                  </a:lnTo>
                  <a:lnTo>
                    <a:pt x="343" y="573"/>
                  </a:lnTo>
                  <a:lnTo>
                    <a:pt x="342" y="572"/>
                  </a:lnTo>
                  <a:lnTo>
                    <a:pt x="341" y="570"/>
                  </a:lnTo>
                  <a:lnTo>
                    <a:pt x="339" y="569"/>
                  </a:lnTo>
                  <a:lnTo>
                    <a:pt x="339" y="567"/>
                  </a:lnTo>
                  <a:lnTo>
                    <a:pt x="337" y="562"/>
                  </a:lnTo>
                  <a:lnTo>
                    <a:pt x="337" y="561"/>
                  </a:lnTo>
                  <a:lnTo>
                    <a:pt x="337" y="558"/>
                  </a:lnTo>
                  <a:lnTo>
                    <a:pt x="337" y="557"/>
                  </a:lnTo>
                  <a:lnTo>
                    <a:pt x="336" y="556"/>
                  </a:lnTo>
                  <a:lnTo>
                    <a:pt x="336" y="555"/>
                  </a:lnTo>
                  <a:lnTo>
                    <a:pt x="335" y="554"/>
                  </a:lnTo>
                  <a:lnTo>
                    <a:pt x="331" y="551"/>
                  </a:lnTo>
                  <a:lnTo>
                    <a:pt x="330" y="550"/>
                  </a:lnTo>
                  <a:lnTo>
                    <a:pt x="329" y="549"/>
                  </a:lnTo>
                  <a:lnTo>
                    <a:pt x="327" y="547"/>
                  </a:lnTo>
                  <a:lnTo>
                    <a:pt x="325" y="545"/>
                  </a:lnTo>
                  <a:lnTo>
                    <a:pt x="324" y="544"/>
                  </a:lnTo>
                  <a:lnTo>
                    <a:pt x="321" y="543"/>
                  </a:lnTo>
                  <a:lnTo>
                    <a:pt x="313" y="539"/>
                  </a:lnTo>
                  <a:lnTo>
                    <a:pt x="307" y="536"/>
                  </a:lnTo>
                  <a:lnTo>
                    <a:pt x="306" y="536"/>
                  </a:lnTo>
                  <a:lnTo>
                    <a:pt x="305" y="536"/>
                  </a:lnTo>
                  <a:lnTo>
                    <a:pt x="303" y="536"/>
                  </a:lnTo>
                  <a:lnTo>
                    <a:pt x="300" y="536"/>
                  </a:lnTo>
                  <a:lnTo>
                    <a:pt x="295" y="537"/>
                  </a:lnTo>
                  <a:lnTo>
                    <a:pt x="293" y="538"/>
                  </a:lnTo>
                  <a:lnTo>
                    <a:pt x="291" y="538"/>
                  </a:lnTo>
                  <a:lnTo>
                    <a:pt x="289" y="539"/>
                  </a:lnTo>
                  <a:lnTo>
                    <a:pt x="286" y="541"/>
                  </a:lnTo>
                  <a:lnTo>
                    <a:pt x="285" y="542"/>
                  </a:lnTo>
                  <a:lnTo>
                    <a:pt x="284" y="543"/>
                  </a:lnTo>
                  <a:lnTo>
                    <a:pt x="283" y="544"/>
                  </a:lnTo>
                  <a:lnTo>
                    <a:pt x="281" y="546"/>
                  </a:lnTo>
                  <a:lnTo>
                    <a:pt x="277" y="550"/>
                  </a:lnTo>
                  <a:lnTo>
                    <a:pt x="276" y="551"/>
                  </a:lnTo>
                  <a:lnTo>
                    <a:pt x="275" y="551"/>
                  </a:lnTo>
                  <a:lnTo>
                    <a:pt x="274" y="552"/>
                  </a:lnTo>
                  <a:lnTo>
                    <a:pt x="272" y="552"/>
                  </a:lnTo>
                  <a:lnTo>
                    <a:pt x="271" y="552"/>
                  </a:lnTo>
                  <a:lnTo>
                    <a:pt x="269" y="552"/>
                  </a:lnTo>
                  <a:lnTo>
                    <a:pt x="267" y="551"/>
                  </a:lnTo>
                  <a:lnTo>
                    <a:pt x="261" y="548"/>
                  </a:lnTo>
                  <a:lnTo>
                    <a:pt x="258" y="547"/>
                  </a:lnTo>
                  <a:lnTo>
                    <a:pt x="256" y="546"/>
                  </a:lnTo>
                  <a:lnTo>
                    <a:pt x="254" y="544"/>
                  </a:lnTo>
                  <a:lnTo>
                    <a:pt x="250" y="540"/>
                  </a:lnTo>
                  <a:lnTo>
                    <a:pt x="249" y="538"/>
                  </a:lnTo>
                  <a:lnTo>
                    <a:pt x="247" y="536"/>
                  </a:lnTo>
                  <a:lnTo>
                    <a:pt x="245" y="536"/>
                  </a:lnTo>
                  <a:lnTo>
                    <a:pt x="244" y="535"/>
                  </a:lnTo>
                  <a:lnTo>
                    <a:pt x="242" y="535"/>
                  </a:lnTo>
                  <a:lnTo>
                    <a:pt x="236" y="533"/>
                  </a:lnTo>
                  <a:lnTo>
                    <a:pt x="232" y="532"/>
                  </a:lnTo>
                  <a:lnTo>
                    <a:pt x="230" y="531"/>
                  </a:lnTo>
                  <a:lnTo>
                    <a:pt x="228" y="530"/>
                  </a:lnTo>
                  <a:lnTo>
                    <a:pt x="226" y="528"/>
                  </a:lnTo>
                  <a:lnTo>
                    <a:pt x="225" y="527"/>
                  </a:lnTo>
                  <a:lnTo>
                    <a:pt x="223" y="525"/>
                  </a:lnTo>
                  <a:lnTo>
                    <a:pt x="221" y="523"/>
                  </a:lnTo>
                  <a:lnTo>
                    <a:pt x="215" y="513"/>
                  </a:lnTo>
                  <a:lnTo>
                    <a:pt x="210" y="505"/>
                  </a:lnTo>
                  <a:lnTo>
                    <a:pt x="209" y="502"/>
                  </a:lnTo>
                  <a:lnTo>
                    <a:pt x="207" y="501"/>
                  </a:lnTo>
                  <a:lnTo>
                    <a:pt x="205" y="498"/>
                  </a:lnTo>
                  <a:lnTo>
                    <a:pt x="204" y="496"/>
                  </a:lnTo>
                  <a:lnTo>
                    <a:pt x="202" y="495"/>
                  </a:lnTo>
                  <a:lnTo>
                    <a:pt x="199" y="493"/>
                  </a:lnTo>
                  <a:lnTo>
                    <a:pt x="194" y="491"/>
                  </a:lnTo>
                  <a:lnTo>
                    <a:pt x="193" y="490"/>
                  </a:lnTo>
                  <a:lnTo>
                    <a:pt x="191" y="490"/>
                  </a:lnTo>
                  <a:lnTo>
                    <a:pt x="189" y="490"/>
                  </a:lnTo>
                  <a:lnTo>
                    <a:pt x="187" y="490"/>
                  </a:lnTo>
                  <a:lnTo>
                    <a:pt x="185" y="490"/>
                  </a:lnTo>
                  <a:lnTo>
                    <a:pt x="183" y="490"/>
                  </a:lnTo>
                  <a:lnTo>
                    <a:pt x="182" y="490"/>
                  </a:lnTo>
                  <a:lnTo>
                    <a:pt x="181" y="490"/>
                  </a:lnTo>
                  <a:lnTo>
                    <a:pt x="180" y="490"/>
                  </a:lnTo>
                  <a:lnTo>
                    <a:pt x="178" y="491"/>
                  </a:lnTo>
                  <a:lnTo>
                    <a:pt x="177" y="492"/>
                  </a:lnTo>
                  <a:lnTo>
                    <a:pt x="176" y="493"/>
                  </a:lnTo>
                  <a:lnTo>
                    <a:pt x="172" y="497"/>
                  </a:lnTo>
                  <a:lnTo>
                    <a:pt x="171" y="498"/>
                  </a:lnTo>
                  <a:lnTo>
                    <a:pt x="170" y="498"/>
                  </a:lnTo>
                  <a:lnTo>
                    <a:pt x="169" y="499"/>
                  </a:lnTo>
                  <a:lnTo>
                    <a:pt x="168" y="499"/>
                  </a:lnTo>
                  <a:lnTo>
                    <a:pt x="166" y="499"/>
                  </a:lnTo>
                  <a:lnTo>
                    <a:pt x="164" y="499"/>
                  </a:lnTo>
                  <a:lnTo>
                    <a:pt x="161" y="499"/>
                  </a:lnTo>
                  <a:lnTo>
                    <a:pt x="159" y="498"/>
                  </a:lnTo>
                  <a:lnTo>
                    <a:pt x="157" y="497"/>
                  </a:lnTo>
                  <a:lnTo>
                    <a:pt x="156" y="496"/>
                  </a:lnTo>
                  <a:lnTo>
                    <a:pt x="154" y="494"/>
                  </a:lnTo>
                  <a:lnTo>
                    <a:pt x="152" y="492"/>
                  </a:lnTo>
                  <a:lnTo>
                    <a:pt x="148" y="488"/>
                  </a:lnTo>
                  <a:lnTo>
                    <a:pt x="143" y="479"/>
                  </a:lnTo>
                  <a:lnTo>
                    <a:pt x="140" y="474"/>
                  </a:lnTo>
                  <a:lnTo>
                    <a:pt x="140" y="473"/>
                  </a:lnTo>
                  <a:lnTo>
                    <a:pt x="139" y="472"/>
                  </a:lnTo>
                  <a:lnTo>
                    <a:pt x="138" y="471"/>
                  </a:lnTo>
                  <a:lnTo>
                    <a:pt x="137" y="470"/>
                  </a:lnTo>
                  <a:lnTo>
                    <a:pt x="135" y="468"/>
                  </a:lnTo>
                  <a:lnTo>
                    <a:pt x="132" y="468"/>
                  </a:lnTo>
                  <a:lnTo>
                    <a:pt x="130" y="468"/>
                  </a:lnTo>
                  <a:lnTo>
                    <a:pt x="128" y="468"/>
                  </a:lnTo>
                  <a:lnTo>
                    <a:pt x="126" y="468"/>
                  </a:lnTo>
                  <a:lnTo>
                    <a:pt x="125" y="468"/>
                  </a:lnTo>
                  <a:lnTo>
                    <a:pt x="123" y="468"/>
                  </a:lnTo>
                  <a:lnTo>
                    <a:pt x="122" y="469"/>
                  </a:lnTo>
                  <a:lnTo>
                    <a:pt x="120" y="470"/>
                  </a:lnTo>
                  <a:lnTo>
                    <a:pt x="114" y="474"/>
                  </a:lnTo>
                  <a:lnTo>
                    <a:pt x="112" y="476"/>
                  </a:lnTo>
                  <a:lnTo>
                    <a:pt x="108" y="478"/>
                  </a:lnTo>
                  <a:lnTo>
                    <a:pt x="104" y="479"/>
                  </a:lnTo>
                  <a:lnTo>
                    <a:pt x="102" y="479"/>
                  </a:lnTo>
                  <a:lnTo>
                    <a:pt x="100" y="480"/>
                  </a:lnTo>
                  <a:lnTo>
                    <a:pt x="97" y="480"/>
                  </a:lnTo>
                  <a:lnTo>
                    <a:pt x="95" y="479"/>
                  </a:lnTo>
                  <a:lnTo>
                    <a:pt x="93" y="479"/>
                  </a:lnTo>
                  <a:lnTo>
                    <a:pt x="92" y="479"/>
                  </a:lnTo>
                  <a:lnTo>
                    <a:pt x="91" y="478"/>
                  </a:lnTo>
                  <a:lnTo>
                    <a:pt x="90" y="477"/>
                  </a:lnTo>
                  <a:lnTo>
                    <a:pt x="79" y="468"/>
                  </a:lnTo>
                  <a:lnTo>
                    <a:pt x="78" y="467"/>
                  </a:lnTo>
                  <a:lnTo>
                    <a:pt x="76" y="464"/>
                  </a:lnTo>
                  <a:lnTo>
                    <a:pt x="74" y="462"/>
                  </a:lnTo>
                  <a:lnTo>
                    <a:pt x="73" y="460"/>
                  </a:lnTo>
                  <a:lnTo>
                    <a:pt x="71" y="458"/>
                  </a:lnTo>
                  <a:lnTo>
                    <a:pt x="71" y="456"/>
                  </a:lnTo>
                  <a:lnTo>
                    <a:pt x="70" y="456"/>
                  </a:lnTo>
                  <a:lnTo>
                    <a:pt x="71" y="455"/>
                  </a:lnTo>
                  <a:lnTo>
                    <a:pt x="71" y="454"/>
                  </a:lnTo>
                  <a:lnTo>
                    <a:pt x="72" y="454"/>
                  </a:lnTo>
                  <a:lnTo>
                    <a:pt x="72" y="453"/>
                  </a:lnTo>
                  <a:lnTo>
                    <a:pt x="72" y="454"/>
                  </a:lnTo>
                  <a:lnTo>
                    <a:pt x="72" y="453"/>
                  </a:lnTo>
                  <a:lnTo>
                    <a:pt x="72" y="452"/>
                  </a:lnTo>
                  <a:lnTo>
                    <a:pt x="71" y="452"/>
                  </a:lnTo>
                  <a:lnTo>
                    <a:pt x="71" y="451"/>
                  </a:lnTo>
                  <a:lnTo>
                    <a:pt x="70" y="450"/>
                  </a:lnTo>
                  <a:lnTo>
                    <a:pt x="71" y="449"/>
                  </a:lnTo>
                  <a:lnTo>
                    <a:pt x="70" y="449"/>
                  </a:lnTo>
                  <a:lnTo>
                    <a:pt x="69" y="449"/>
                  </a:lnTo>
                  <a:lnTo>
                    <a:pt x="67" y="445"/>
                  </a:lnTo>
                  <a:lnTo>
                    <a:pt x="62" y="440"/>
                  </a:lnTo>
                  <a:lnTo>
                    <a:pt x="58" y="434"/>
                  </a:lnTo>
                  <a:lnTo>
                    <a:pt x="50" y="422"/>
                  </a:lnTo>
                  <a:lnTo>
                    <a:pt x="48" y="419"/>
                  </a:lnTo>
                  <a:lnTo>
                    <a:pt x="46" y="415"/>
                  </a:lnTo>
                  <a:lnTo>
                    <a:pt x="44" y="412"/>
                  </a:lnTo>
                  <a:lnTo>
                    <a:pt x="43" y="411"/>
                  </a:lnTo>
                  <a:lnTo>
                    <a:pt x="41" y="411"/>
                  </a:lnTo>
                  <a:lnTo>
                    <a:pt x="37" y="409"/>
                  </a:lnTo>
                  <a:lnTo>
                    <a:pt x="36" y="408"/>
                  </a:lnTo>
                  <a:lnTo>
                    <a:pt x="36" y="407"/>
                  </a:lnTo>
                  <a:lnTo>
                    <a:pt x="35" y="407"/>
                  </a:lnTo>
                  <a:lnTo>
                    <a:pt x="35" y="406"/>
                  </a:lnTo>
                  <a:lnTo>
                    <a:pt x="35" y="403"/>
                  </a:lnTo>
                  <a:lnTo>
                    <a:pt x="34" y="402"/>
                  </a:lnTo>
                  <a:lnTo>
                    <a:pt x="33" y="395"/>
                  </a:lnTo>
                  <a:lnTo>
                    <a:pt x="32" y="392"/>
                  </a:lnTo>
                  <a:lnTo>
                    <a:pt x="30" y="389"/>
                  </a:lnTo>
                  <a:lnTo>
                    <a:pt x="29" y="388"/>
                  </a:lnTo>
                  <a:lnTo>
                    <a:pt x="28" y="385"/>
                  </a:lnTo>
                  <a:lnTo>
                    <a:pt x="27" y="384"/>
                  </a:lnTo>
                  <a:lnTo>
                    <a:pt x="27" y="383"/>
                  </a:lnTo>
                  <a:lnTo>
                    <a:pt x="28" y="383"/>
                  </a:lnTo>
                  <a:lnTo>
                    <a:pt x="28" y="382"/>
                  </a:lnTo>
                  <a:lnTo>
                    <a:pt x="30" y="381"/>
                  </a:lnTo>
                  <a:lnTo>
                    <a:pt x="31" y="381"/>
                  </a:lnTo>
                  <a:lnTo>
                    <a:pt x="33" y="381"/>
                  </a:lnTo>
                  <a:lnTo>
                    <a:pt x="34" y="381"/>
                  </a:lnTo>
                  <a:lnTo>
                    <a:pt x="42" y="382"/>
                  </a:lnTo>
                  <a:lnTo>
                    <a:pt x="45" y="382"/>
                  </a:lnTo>
                  <a:lnTo>
                    <a:pt x="47" y="383"/>
                  </a:lnTo>
                  <a:lnTo>
                    <a:pt x="49" y="383"/>
                  </a:lnTo>
                  <a:lnTo>
                    <a:pt x="53" y="382"/>
                  </a:lnTo>
                  <a:lnTo>
                    <a:pt x="56" y="381"/>
                  </a:lnTo>
                  <a:lnTo>
                    <a:pt x="58" y="380"/>
                  </a:lnTo>
                  <a:lnTo>
                    <a:pt x="59" y="379"/>
                  </a:lnTo>
                  <a:lnTo>
                    <a:pt x="60" y="379"/>
                  </a:lnTo>
                  <a:lnTo>
                    <a:pt x="61" y="377"/>
                  </a:lnTo>
                  <a:lnTo>
                    <a:pt x="62" y="377"/>
                  </a:lnTo>
                  <a:lnTo>
                    <a:pt x="63" y="375"/>
                  </a:lnTo>
                  <a:lnTo>
                    <a:pt x="64" y="373"/>
                  </a:lnTo>
                  <a:lnTo>
                    <a:pt x="65" y="371"/>
                  </a:lnTo>
                  <a:lnTo>
                    <a:pt x="66" y="369"/>
                  </a:lnTo>
                  <a:lnTo>
                    <a:pt x="68" y="365"/>
                  </a:lnTo>
                  <a:lnTo>
                    <a:pt x="68" y="359"/>
                  </a:lnTo>
                  <a:lnTo>
                    <a:pt x="69" y="354"/>
                  </a:lnTo>
                  <a:lnTo>
                    <a:pt x="70" y="349"/>
                  </a:lnTo>
                  <a:lnTo>
                    <a:pt x="70" y="348"/>
                  </a:lnTo>
                  <a:lnTo>
                    <a:pt x="70" y="346"/>
                  </a:lnTo>
                  <a:lnTo>
                    <a:pt x="70" y="344"/>
                  </a:lnTo>
                  <a:lnTo>
                    <a:pt x="70" y="343"/>
                  </a:lnTo>
                  <a:lnTo>
                    <a:pt x="69" y="341"/>
                  </a:lnTo>
                  <a:lnTo>
                    <a:pt x="68" y="338"/>
                  </a:lnTo>
                  <a:lnTo>
                    <a:pt x="57" y="326"/>
                  </a:lnTo>
                  <a:lnTo>
                    <a:pt x="56" y="323"/>
                  </a:lnTo>
                  <a:lnTo>
                    <a:pt x="55" y="321"/>
                  </a:lnTo>
                  <a:lnTo>
                    <a:pt x="53" y="319"/>
                  </a:lnTo>
                  <a:lnTo>
                    <a:pt x="51" y="316"/>
                  </a:lnTo>
                  <a:lnTo>
                    <a:pt x="45" y="306"/>
                  </a:lnTo>
                  <a:lnTo>
                    <a:pt x="45" y="303"/>
                  </a:lnTo>
                  <a:lnTo>
                    <a:pt x="43" y="301"/>
                  </a:lnTo>
                  <a:lnTo>
                    <a:pt x="42" y="300"/>
                  </a:lnTo>
                  <a:lnTo>
                    <a:pt x="34" y="293"/>
                  </a:lnTo>
                  <a:lnTo>
                    <a:pt x="33" y="290"/>
                  </a:lnTo>
                  <a:lnTo>
                    <a:pt x="24" y="281"/>
                  </a:lnTo>
                  <a:lnTo>
                    <a:pt x="20" y="275"/>
                  </a:lnTo>
                  <a:lnTo>
                    <a:pt x="16" y="271"/>
                  </a:lnTo>
                  <a:lnTo>
                    <a:pt x="14" y="267"/>
                  </a:lnTo>
                  <a:lnTo>
                    <a:pt x="11" y="264"/>
                  </a:lnTo>
                  <a:lnTo>
                    <a:pt x="6" y="253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2" y="242"/>
                  </a:lnTo>
                  <a:lnTo>
                    <a:pt x="5" y="240"/>
                  </a:lnTo>
                  <a:lnTo>
                    <a:pt x="7" y="238"/>
                  </a:lnTo>
                  <a:lnTo>
                    <a:pt x="8" y="235"/>
                  </a:lnTo>
                  <a:lnTo>
                    <a:pt x="10" y="233"/>
                  </a:lnTo>
                  <a:lnTo>
                    <a:pt x="11" y="230"/>
                  </a:lnTo>
                  <a:lnTo>
                    <a:pt x="12" y="227"/>
                  </a:lnTo>
                  <a:lnTo>
                    <a:pt x="14" y="224"/>
                  </a:lnTo>
                  <a:lnTo>
                    <a:pt x="15" y="220"/>
                  </a:lnTo>
                  <a:lnTo>
                    <a:pt x="16" y="218"/>
                  </a:lnTo>
                  <a:lnTo>
                    <a:pt x="16" y="215"/>
                  </a:lnTo>
                  <a:lnTo>
                    <a:pt x="17" y="213"/>
                  </a:lnTo>
                  <a:lnTo>
                    <a:pt x="17" y="211"/>
                  </a:lnTo>
                  <a:lnTo>
                    <a:pt x="17" y="207"/>
                  </a:lnTo>
                  <a:lnTo>
                    <a:pt x="17" y="204"/>
                  </a:lnTo>
                  <a:lnTo>
                    <a:pt x="18" y="201"/>
                  </a:lnTo>
                  <a:lnTo>
                    <a:pt x="20" y="196"/>
                  </a:lnTo>
                  <a:lnTo>
                    <a:pt x="21" y="196"/>
                  </a:lnTo>
                  <a:lnTo>
                    <a:pt x="21" y="194"/>
                  </a:lnTo>
                  <a:lnTo>
                    <a:pt x="22" y="191"/>
                  </a:lnTo>
                  <a:lnTo>
                    <a:pt x="22" y="188"/>
                  </a:lnTo>
                  <a:lnTo>
                    <a:pt x="22" y="184"/>
                  </a:lnTo>
                  <a:lnTo>
                    <a:pt x="22" y="182"/>
                  </a:lnTo>
                  <a:lnTo>
                    <a:pt x="21" y="179"/>
                  </a:lnTo>
                  <a:lnTo>
                    <a:pt x="21" y="176"/>
                  </a:lnTo>
                  <a:lnTo>
                    <a:pt x="18" y="165"/>
                  </a:lnTo>
                  <a:lnTo>
                    <a:pt x="18" y="162"/>
                  </a:lnTo>
                  <a:lnTo>
                    <a:pt x="18" y="161"/>
                  </a:lnTo>
                  <a:lnTo>
                    <a:pt x="18" y="157"/>
                  </a:lnTo>
                  <a:lnTo>
                    <a:pt x="18" y="155"/>
                  </a:lnTo>
                  <a:lnTo>
                    <a:pt x="19" y="152"/>
                  </a:lnTo>
                  <a:lnTo>
                    <a:pt x="20" y="150"/>
                  </a:lnTo>
                  <a:lnTo>
                    <a:pt x="22" y="147"/>
                  </a:lnTo>
                  <a:lnTo>
                    <a:pt x="23" y="144"/>
                  </a:lnTo>
                  <a:lnTo>
                    <a:pt x="33" y="135"/>
                  </a:lnTo>
                  <a:lnTo>
                    <a:pt x="34" y="133"/>
                  </a:lnTo>
                  <a:lnTo>
                    <a:pt x="35" y="132"/>
                  </a:lnTo>
                  <a:lnTo>
                    <a:pt x="38" y="130"/>
                  </a:lnTo>
                  <a:lnTo>
                    <a:pt x="40" y="128"/>
                  </a:lnTo>
                  <a:lnTo>
                    <a:pt x="43" y="128"/>
                  </a:lnTo>
                  <a:lnTo>
                    <a:pt x="47" y="126"/>
                  </a:lnTo>
                  <a:lnTo>
                    <a:pt x="50" y="125"/>
                  </a:lnTo>
                  <a:lnTo>
                    <a:pt x="51" y="124"/>
                  </a:lnTo>
                  <a:lnTo>
                    <a:pt x="52" y="123"/>
                  </a:lnTo>
                  <a:lnTo>
                    <a:pt x="53" y="121"/>
                  </a:lnTo>
                  <a:lnTo>
                    <a:pt x="54" y="120"/>
                  </a:lnTo>
                  <a:lnTo>
                    <a:pt x="54" y="118"/>
                  </a:lnTo>
                  <a:lnTo>
                    <a:pt x="55" y="117"/>
                  </a:lnTo>
                  <a:lnTo>
                    <a:pt x="55" y="116"/>
                  </a:lnTo>
                  <a:lnTo>
                    <a:pt x="55" y="114"/>
                  </a:lnTo>
                  <a:lnTo>
                    <a:pt x="54" y="108"/>
                  </a:lnTo>
                  <a:lnTo>
                    <a:pt x="54" y="106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4"/>
                  </a:lnTo>
                  <a:lnTo>
                    <a:pt x="55" y="103"/>
                  </a:lnTo>
                  <a:lnTo>
                    <a:pt x="56" y="102"/>
                  </a:lnTo>
                  <a:lnTo>
                    <a:pt x="56" y="101"/>
                  </a:lnTo>
                  <a:lnTo>
                    <a:pt x="56" y="100"/>
                  </a:lnTo>
                  <a:lnTo>
                    <a:pt x="57" y="100"/>
                  </a:lnTo>
                  <a:lnTo>
                    <a:pt x="59" y="99"/>
                  </a:lnTo>
                  <a:lnTo>
                    <a:pt x="65" y="99"/>
                  </a:lnTo>
                  <a:lnTo>
                    <a:pt x="66" y="98"/>
                  </a:lnTo>
                  <a:lnTo>
                    <a:pt x="68" y="98"/>
                  </a:lnTo>
                  <a:lnTo>
                    <a:pt x="68" y="97"/>
                  </a:lnTo>
                  <a:lnTo>
                    <a:pt x="69" y="96"/>
                  </a:lnTo>
                  <a:lnTo>
                    <a:pt x="71" y="95"/>
                  </a:lnTo>
                  <a:lnTo>
                    <a:pt x="72" y="94"/>
                  </a:lnTo>
                  <a:lnTo>
                    <a:pt x="74" y="92"/>
                  </a:lnTo>
                  <a:lnTo>
                    <a:pt x="75" y="89"/>
                  </a:lnTo>
                  <a:lnTo>
                    <a:pt x="78" y="84"/>
                  </a:lnTo>
                  <a:lnTo>
                    <a:pt x="81" y="76"/>
                  </a:lnTo>
                  <a:lnTo>
                    <a:pt x="84" y="71"/>
                  </a:lnTo>
                  <a:lnTo>
                    <a:pt x="86" y="65"/>
                  </a:lnTo>
                  <a:lnTo>
                    <a:pt x="89" y="61"/>
                  </a:lnTo>
                  <a:lnTo>
                    <a:pt x="91" y="56"/>
                  </a:lnTo>
                  <a:lnTo>
                    <a:pt x="95" y="51"/>
                  </a:lnTo>
                  <a:lnTo>
                    <a:pt x="97" y="49"/>
                  </a:lnTo>
                  <a:lnTo>
                    <a:pt x="99" y="48"/>
                  </a:lnTo>
                  <a:lnTo>
                    <a:pt x="101" y="46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3" y="46"/>
                  </a:lnTo>
                  <a:lnTo>
                    <a:pt x="111" y="50"/>
                  </a:lnTo>
                  <a:lnTo>
                    <a:pt x="114" y="53"/>
                  </a:lnTo>
                  <a:lnTo>
                    <a:pt x="118" y="54"/>
                  </a:lnTo>
                  <a:lnTo>
                    <a:pt x="122" y="56"/>
                  </a:lnTo>
                  <a:lnTo>
                    <a:pt x="125" y="56"/>
                  </a:lnTo>
                  <a:lnTo>
                    <a:pt x="127" y="56"/>
                  </a:lnTo>
                  <a:lnTo>
                    <a:pt x="131" y="57"/>
                  </a:lnTo>
                  <a:lnTo>
                    <a:pt x="134" y="57"/>
                  </a:lnTo>
                  <a:lnTo>
                    <a:pt x="136" y="56"/>
                  </a:lnTo>
                  <a:lnTo>
                    <a:pt x="137" y="56"/>
                  </a:lnTo>
                  <a:lnTo>
                    <a:pt x="139" y="56"/>
                  </a:lnTo>
                  <a:lnTo>
                    <a:pt x="141" y="55"/>
                  </a:lnTo>
                  <a:lnTo>
                    <a:pt x="143" y="54"/>
                  </a:lnTo>
                  <a:lnTo>
                    <a:pt x="144" y="53"/>
                  </a:lnTo>
                  <a:lnTo>
                    <a:pt x="146" y="51"/>
                  </a:lnTo>
                  <a:lnTo>
                    <a:pt x="147" y="50"/>
                  </a:lnTo>
                  <a:lnTo>
                    <a:pt x="147" y="48"/>
                  </a:lnTo>
                  <a:lnTo>
                    <a:pt x="149" y="45"/>
                  </a:lnTo>
                  <a:lnTo>
                    <a:pt x="150" y="43"/>
                  </a:lnTo>
                  <a:lnTo>
                    <a:pt x="151" y="42"/>
                  </a:lnTo>
                  <a:lnTo>
                    <a:pt x="155" y="38"/>
                  </a:lnTo>
                  <a:lnTo>
                    <a:pt x="156" y="37"/>
                  </a:lnTo>
                  <a:lnTo>
                    <a:pt x="157" y="34"/>
                  </a:lnTo>
                  <a:lnTo>
                    <a:pt x="158" y="33"/>
                  </a:lnTo>
                  <a:lnTo>
                    <a:pt x="160" y="26"/>
                  </a:lnTo>
                  <a:lnTo>
                    <a:pt x="163" y="20"/>
                  </a:lnTo>
                  <a:lnTo>
                    <a:pt x="165" y="16"/>
                  </a:lnTo>
                  <a:lnTo>
                    <a:pt x="168" y="13"/>
                  </a:lnTo>
                  <a:lnTo>
                    <a:pt x="169" y="11"/>
                  </a:lnTo>
                  <a:lnTo>
                    <a:pt x="170" y="8"/>
                  </a:lnTo>
                  <a:lnTo>
                    <a:pt x="174" y="5"/>
                  </a:lnTo>
                  <a:lnTo>
                    <a:pt x="177" y="3"/>
                  </a:lnTo>
                  <a:lnTo>
                    <a:pt x="178" y="2"/>
                  </a:lnTo>
                  <a:lnTo>
                    <a:pt x="179" y="1"/>
                  </a:lnTo>
                  <a:lnTo>
                    <a:pt x="181" y="1"/>
                  </a:lnTo>
                  <a:lnTo>
                    <a:pt x="182" y="0"/>
                  </a:lnTo>
                  <a:lnTo>
                    <a:pt x="182" y="0"/>
                  </a:lnTo>
                  <a:close/>
                </a:path>
              </a:pathLst>
            </a:custGeom>
            <a:solidFill>
              <a:srgbClr val="6BAFD6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3" name="Freeform 60">
              <a:extLst>
                <a:ext uri="{FF2B5EF4-FFF2-40B4-BE49-F238E27FC236}">
                  <a16:creationId xmlns:a16="http://schemas.microsoft.com/office/drawing/2014/main" id="{BE860AED-3B68-4F7B-AE56-2E1F82699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2652"/>
              <a:ext cx="388" cy="405"/>
            </a:xfrm>
            <a:custGeom>
              <a:avLst/>
              <a:gdLst>
                <a:gd name="T0" fmla="*/ 183 w 388"/>
                <a:gd name="T1" fmla="*/ 5 h 405"/>
                <a:gd name="T2" fmla="*/ 209 w 388"/>
                <a:gd name="T3" fmla="*/ 2 h 405"/>
                <a:gd name="T4" fmla="*/ 235 w 388"/>
                <a:gd name="T5" fmla="*/ 3 h 405"/>
                <a:gd name="T6" fmla="*/ 266 w 388"/>
                <a:gd name="T7" fmla="*/ 9 h 405"/>
                <a:gd name="T8" fmla="*/ 315 w 388"/>
                <a:gd name="T9" fmla="*/ 31 h 405"/>
                <a:gd name="T10" fmla="*/ 338 w 388"/>
                <a:gd name="T11" fmla="*/ 33 h 405"/>
                <a:gd name="T12" fmla="*/ 331 w 388"/>
                <a:gd name="T13" fmla="*/ 54 h 405"/>
                <a:gd name="T14" fmla="*/ 319 w 388"/>
                <a:gd name="T15" fmla="*/ 57 h 405"/>
                <a:gd name="T16" fmla="*/ 295 w 388"/>
                <a:gd name="T17" fmla="*/ 59 h 405"/>
                <a:gd name="T18" fmla="*/ 295 w 388"/>
                <a:gd name="T19" fmla="*/ 88 h 405"/>
                <a:gd name="T20" fmla="*/ 299 w 388"/>
                <a:gd name="T21" fmla="*/ 97 h 405"/>
                <a:gd name="T22" fmla="*/ 345 w 388"/>
                <a:gd name="T23" fmla="*/ 109 h 405"/>
                <a:gd name="T24" fmla="*/ 353 w 388"/>
                <a:gd name="T25" fmla="*/ 113 h 405"/>
                <a:gd name="T26" fmla="*/ 334 w 388"/>
                <a:gd name="T27" fmla="*/ 138 h 405"/>
                <a:gd name="T28" fmla="*/ 332 w 388"/>
                <a:gd name="T29" fmla="*/ 166 h 405"/>
                <a:gd name="T30" fmla="*/ 344 w 388"/>
                <a:gd name="T31" fmla="*/ 202 h 405"/>
                <a:gd name="T32" fmla="*/ 355 w 388"/>
                <a:gd name="T33" fmla="*/ 226 h 405"/>
                <a:gd name="T34" fmla="*/ 344 w 388"/>
                <a:gd name="T35" fmla="*/ 239 h 405"/>
                <a:gd name="T36" fmla="*/ 343 w 388"/>
                <a:gd name="T37" fmla="*/ 253 h 405"/>
                <a:gd name="T38" fmla="*/ 373 w 388"/>
                <a:gd name="T39" fmla="*/ 279 h 405"/>
                <a:gd name="T40" fmla="*/ 386 w 388"/>
                <a:gd name="T41" fmla="*/ 294 h 405"/>
                <a:gd name="T42" fmla="*/ 374 w 388"/>
                <a:gd name="T43" fmla="*/ 297 h 405"/>
                <a:gd name="T44" fmla="*/ 360 w 388"/>
                <a:gd name="T45" fmla="*/ 299 h 405"/>
                <a:gd name="T46" fmla="*/ 360 w 388"/>
                <a:gd name="T47" fmla="*/ 313 h 405"/>
                <a:gd name="T48" fmla="*/ 367 w 388"/>
                <a:gd name="T49" fmla="*/ 344 h 405"/>
                <a:gd name="T50" fmla="*/ 353 w 388"/>
                <a:gd name="T51" fmla="*/ 370 h 405"/>
                <a:gd name="T52" fmla="*/ 367 w 388"/>
                <a:gd name="T53" fmla="*/ 385 h 405"/>
                <a:gd name="T54" fmla="*/ 367 w 388"/>
                <a:gd name="T55" fmla="*/ 395 h 405"/>
                <a:gd name="T56" fmla="*/ 355 w 388"/>
                <a:gd name="T57" fmla="*/ 399 h 405"/>
                <a:gd name="T58" fmla="*/ 318 w 388"/>
                <a:gd name="T59" fmla="*/ 400 h 405"/>
                <a:gd name="T60" fmla="*/ 276 w 388"/>
                <a:gd name="T61" fmla="*/ 392 h 405"/>
                <a:gd name="T62" fmla="*/ 254 w 388"/>
                <a:gd name="T63" fmla="*/ 381 h 405"/>
                <a:gd name="T64" fmla="*/ 242 w 388"/>
                <a:gd name="T65" fmla="*/ 387 h 405"/>
                <a:gd name="T66" fmla="*/ 234 w 388"/>
                <a:gd name="T67" fmla="*/ 403 h 405"/>
                <a:gd name="T68" fmla="*/ 226 w 388"/>
                <a:gd name="T69" fmla="*/ 394 h 405"/>
                <a:gd name="T70" fmla="*/ 217 w 388"/>
                <a:gd name="T71" fmla="*/ 367 h 405"/>
                <a:gd name="T72" fmla="*/ 204 w 388"/>
                <a:gd name="T73" fmla="*/ 365 h 405"/>
                <a:gd name="T74" fmla="*/ 166 w 388"/>
                <a:gd name="T75" fmla="*/ 375 h 405"/>
                <a:gd name="T76" fmla="*/ 153 w 388"/>
                <a:gd name="T77" fmla="*/ 369 h 405"/>
                <a:gd name="T78" fmla="*/ 139 w 388"/>
                <a:gd name="T79" fmla="*/ 346 h 405"/>
                <a:gd name="T80" fmla="*/ 133 w 388"/>
                <a:gd name="T81" fmla="*/ 319 h 405"/>
                <a:gd name="T82" fmla="*/ 132 w 388"/>
                <a:gd name="T83" fmla="*/ 297 h 405"/>
                <a:gd name="T84" fmla="*/ 115 w 388"/>
                <a:gd name="T85" fmla="*/ 272 h 405"/>
                <a:gd name="T86" fmla="*/ 88 w 388"/>
                <a:gd name="T87" fmla="*/ 237 h 405"/>
                <a:gd name="T88" fmla="*/ 71 w 388"/>
                <a:gd name="T89" fmla="*/ 227 h 405"/>
                <a:gd name="T90" fmla="*/ 67 w 388"/>
                <a:gd name="T91" fmla="*/ 205 h 405"/>
                <a:gd name="T92" fmla="*/ 49 w 388"/>
                <a:gd name="T93" fmla="*/ 190 h 405"/>
                <a:gd name="T94" fmla="*/ 10 w 388"/>
                <a:gd name="T95" fmla="*/ 176 h 405"/>
                <a:gd name="T96" fmla="*/ 0 w 388"/>
                <a:gd name="T97" fmla="*/ 163 h 405"/>
                <a:gd name="T98" fmla="*/ 10 w 388"/>
                <a:gd name="T99" fmla="*/ 161 h 405"/>
                <a:gd name="T100" fmla="*/ 27 w 388"/>
                <a:gd name="T101" fmla="*/ 152 h 405"/>
                <a:gd name="T102" fmla="*/ 39 w 388"/>
                <a:gd name="T103" fmla="*/ 128 h 405"/>
                <a:gd name="T104" fmla="*/ 34 w 388"/>
                <a:gd name="T105" fmla="*/ 115 h 405"/>
                <a:gd name="T106" fmla="*/ 15 w 388"/>
                <a:gd name="T107" fmla="*/ 101 h 405"/>
                <a:gd name="T108" fmla="*/ 19 w 388"/>
                <a:gd name="T109" fmla="*/ 79 h 405"/>
                <a:gd name="T110" fmla="*/ 26 w 388"/>
                <a:gd name="T111" fmla="*/ 63 h 405"/>
                <a:gd name="T112" fmla="*/ 38 w 388"/>
                <a:gd name="T113" fmla="*/ 55 h 405"/>
                <a:gd name="T114" fmla="*/ 57 w 388"/>
                <a:gd name="T115" fmla="*/ 43 h 405"/>
                <a:gd name="T116" fmla="*/ 71 w 388"/>
                <a:gd name="T117" fmla="*/ 46 h 405"/>
                <a:gd name="T118" fmla="*/ 99 w 388"/>
                <a:gd name="T119" fmla="*/ 43 h 405"/>
                <a:gd name="T120" fmla="*/ 132 w 388"/>
                <a:gd name="T121" fmla="*/ 45 h 405"/>
                <a:gd name="T122" fmla="*/ 146 w 388"/>
                <a:gd name="T123" fmla="*/ 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8" h="405">
                  <a:moveTo>
                    <a:pt x="151" y="0"/>
                  </a:moveTo>
                  <a:lnTo>
                    <a:pt x="151" y="0"/>
                  </a:lnTo>
                  <a:lnTo>
                    <a:pt x="155" y="1"/>
                  </a:lnTo>
                  <a:lnTo>
                    <a:pt x="162" y="3"/>
                  </a:lnTo>
                  <a:lnTo>
                    <a:pt x="166" y="4"/>
                  </a:lnTo>
                  <a:lnTo>
                    <a:pt x="171" y="5"/>
                  </a:lnTo>
                  <a:lnTo>
                    <a:pt x="178" y="5"/>
                  </a:lnTo>
                  <a:lnTo>
                    <a:pt x="183" y="5"/>
                  </a:lnTo>
                  <a:lnTo>
                    <a:pt x="186" y="5"/>
                  </a:lnTo>
                  <a:lnTo>
                    <a:pt x="190" y="4"/>
                  </a:lnTo>
                  <a:lnTo>
                    <a:pt x="197" y="1"/>
                  </a:lnTo>
                  <a:lnTo>
                    <a:pt x="199" y="1"/>
                  </a:lnTo>
                  <a:lnTo>
                    <a:pt x="200" y="1"/>
                  </a:lnTo>
                  <a:lnTo>
                    <a:pt x="203" y="1"/>
                  </a:lnTo>
                  <a:lnTo>
                    <a:pt x="207" y="2"/>
                  </a:lnTo>
                  <a:lnTo>
                    <a:pt x="209" y="2"/>
                  </a:lnTo>
                  <a:lnTo>
                    <a:pt x="216" y="5"/>
                  </a:lnTo>
                  <a:lnTo>
                    <a:pt x="218" y="5"/>
                  </a:lnTo>
                  <a:lnTo>
                    <a:pt x="219" y="5"/>
                  </a:lnTo>
                  <a:lnTo>
                    <a:pt x="221" y="5"/>
                  </a:lnTo>
                  <a:lnTo>
                    <a:pt x="223" y="5"/>
                  </a:lnTo>
                  <a:lnTo>
                    <a:pt x="230" y="4"/>
                  </a:lnTo>
                  <a:lnTo>
                    <a:pt x="233" y="3"/>
                  </a:lnTo>
                  <a:lnTo>
                    <a:pt x="235" y="3"/>
                  </a:lnTo>
                  <a:lnTo>
                    <a:pt x="238" y="3"/>
                  </a:lnTo>
                  <a:lnTo>
                    <a:pt x="243" y="4"/>
                  </a:lnTo>
                  <a:lnTo>
                    <a:pt x="251" y="5"/>
                  </a:lnTo>
                  <a:lnTo>
                    <a:pt x="253" y="5"/>
                  </a:lnTo>
                  <a:lnTo>
                    <a:pt x="255" y="6"/>
                  </a:lnTo>
                  <a:lnTo>
                    <a:pt x="260" y="7"/>
                  </a:lnTo>
                  <a:lnTo>
                    <a:pt x="263" y="8"/>
                  </a:lnTo>
                  <a:lnTo>
                    <a:pt x="266" y="9"/>
                  </a:lnTo>
                  <a:lnTo>
                    <a:pt x="269" y="11"/>
                  </a:lnTo>
                  <a:lnTo>
                    <a:pt x="276" y="13"/>
                  </a:lnTo>
                  <a:lnTo>
                    <a:pt x="293" y="22"/>
                  </a:lnTo>
                  <a:lnTo>
                    <a:pt x="298" y="24"/>
                  </a:lnTo>
                  <a:lnTo>
                    <a:pt x="302" y="26"/>
                  </a:lnTo>
                  <a:lnTo>
                    <a:pt x="306" y="28"/>
                  </a:lnTo>
                  <a:lnTo>
                    <a:pt x="310" y="29"/>
                  </a:lnTo>
                  <a:lnTo>
                    <a:pt x="315" y="31"/>
                  </a:lnTo>
                  <a:lnTo>
                    <a:pt x="319" y="32"/>
                  </a:lnTo>
                  <a:lnTo>
                    <a:pt x="322" y="33"/>
                  </a:lnTo>
                  <a:lnTo>
                    <a:pt x="326" y="33"/>
                  </a:lnTo>
                  <a:lnTo>
                    <a:pt x="330" y="33"/>
                  </a:lnTo>
                  <a:lnTo>
                    <a:pt x="333" y="33"/>
                  </a:lnTo>
                  <a:lnTo>
                    <a:pt x="337" y="33"/>
                  </a:lnTo>
                  <a:lnTo>
                    <a:pt x="338" y="33"/>
                  </a:lnTo>
                  <a:lnTo>
                    <a:pt x="338" y="33"/>
                  </a:lnTo>
                  <a:lnTo>
                    <a:pt x="336" y="35"/>
                  </a:lnTo>
                  <a:lnTo>
                    <a:pt x="335" y="37"/>
                  </a:lnTo>
                  <a:lnTo>
                    <a:pt x="334" y="40"/>
                  </a:lnTo>
                  <a:lnTo>
                    <a:pt x="333" y="43"/>
                  </a:lnTo>
                  <a:lnTo>
                    <a:pt x="333" y="50"/>
                  </a:lnTo>
                  <a:lnTo>
                    <a:pt x="332" y="52"/>
                  </a:lnTo>
                  <a:lnTo>
                    <a:pt x="332" y="53"/>
                  </a:lnTo>
                  <a:lnTo>
                    <a:pt x="331" y="54"/>
                  </a:lnTo>
                  <a:lnTo>
                    <a:pt x="330" y="56"/>
                  </a:lnTo>
                  <a:lnTo>
                    <a:pt x="329" y="56"/>
                  </a:lnTo>
                  <a:lnTo>
                    <a:pt x="328" y="57"/>
                  </a:lnTo>
                  <a:lnTo>
                    <a:pt x="326" y="57"/>
                  </a:lnTo>
                  <a:lnTo>
                    <a:pt x="325" y="58"/>
                  </a:lnTo>
                  <a:lnTo>
                    <a:pt x="323" y="58"/>
                  </a:lnTo>
                  <a:lnTo>
                    <a:pt x="321" y="58"/>
                  </a:lnTo>
                  <a:lnTo>
                    <a:pt x="319" y="57"/>
                  </a:lnTo>
                  <a:lnTo>
                    <a:pt x="310" y="56"/>
                  </a:lnTo>
                  <a:lnTo>
                    <a:pt x="300" y="55"/>
                  </a:lnTo>
                  <a:lnTo>
                    <a:pt x="299" y="55"/>
                  </a:lnTo>
                  <a:lnTo>
                    <a:pt x="298" y="55"/>
                  </a:lnTo>
                  <a:lnTo>
                    <a:pt x="298" y="55"/>
                  </a:lnTo>
                  <a:lnTo>
                    <a:pt x="297" y="56"/>
                  </a:lnTo>
                  <a:lnTo>
                    <a:pt x="296" y="57"/>
                  </a:lnTo>
                  <a:lnTo>
                    <a:pt x="295" y="59"/>
                  </a:lnTo>
                  <a:lnTo>
                    <a:pt x="295" y="62"/>
                  </a:lnTo>
                  <a:lnTo>
                    <a:pt x="294" y="65"/>
                  </a:lnTo>
                  <a:lnTo>
                    <a:pt x="294" y="67"/>
                  </a:lnTo>
                  <a:lnTo>
                    <a:pt x="294" y="69"/>
                  </a:lnTo>
                  <a:lnTo>
                    <a:pt x="295" y="76"/>
                  </a:lnTo>
                  <a:lnTo>
                    <a:pt x="295" y="78"/>
                  </a:lnTo>
                  <a:lnTo>
                    <a:pt x="295" y="80"/>
                  </a:lnTo>
                  <a:lnTo>
                    <a:pt x="295" y="88"/>
                  </a:lnTo>
                  <a:lnTo>
                    <a:pt x="295" y="90"/>
                  </a:lnTo>
                  <a:lnTo>
                    <a:pt x="295" y="91"/>
                  </a:lnTo>
                  <a:lnTo>
                    <a:pt x="295" y="93"/>
                  </a:lnTo>
                  <a:lnTo>
                    <a:pt x="296" y="94"/>
                  </a:lnTo>
                  <a:lnTo>
                    <a:pt x="296" y="95"/>
                  </a:lnTo>
                  <a:lnTo>
                    <a:pt x="297" y="96"/>
                  </a:lnTo>
                  <a:lnTo>
                    <a:pt x="298" y="96"/>
                  </a:lnTo>
                  <a:lnTo>
                    <a:pt x="299" y="97"/>
                  </a:lnTo>
                  <a:lnTo>
                    <a:pt x="300" y="98"/>
                  </a:lnTo>
                  <a:lnTo>
                    <a:pt x="302" y="99"/>
                  </a:lnTo>
                  <a:lnTo>
                    <a:pt x="308" y="100"/>
                  </a:lnTo>
                  <a:lnTo>
                    <a:pt x="316" y="102"/>
                  </a:lnTo>
                  <a:lnTo>
                    <a:pt x="326" y="105"/>
                  </a:lnTo>
                  <a:lnTo>
                    <a:pt x="332" y="106"/>
                  </a:lnTo>
                  <a:lnTo>
                    <a:pt x="337" y="107"/>
                  </a:lnTo>
                  <a:lnTo>
                    <a:pt x="345" y="109"/>
                  </a:lnTo>
                  <a:lnTo>
                    <a:pt x="350" y="110"/>
                  </a:lnTo>
                  <a:lnTo>
                    <a:pt x="351" y="110"/>
                  </a:lnTo>
                  <a:lnTo>
                    <a:pt x="353" y="111"/>
                  </a:lnTo>
                  <a:lnTo>
                    <a:pt x="354" y="111"/>
                  </a:lnTo>
                  <a:lnTo>
                    <a:pt x="354" y="112"/>
                  </a:lnTo>
                  <a:lnTo>
                    <a:pt x="354" y="113"/>
                  </a:lnTo>
                  <a:lnTo>
                    <a:pt x="353" y="113"/>
                  </a:lnTo>
                  <a:lnTo>
                    <a:pt x="353" y="113"/>
                  </a:lnTo>
                  <a:lnTo>
                    <a:pt x="349" y="115"/>
                  </a:lnTo>
                  <a:lnTo>
                    <a:pt x="348" y="117"/>
                  </a:lnTo>
                  <a:lnTo>
                    <a:pt x="346" y="118"/>
                  </a:lnTo>
                  <a:lnTo>
                    <a:pt x="344" y="120"/>
                  </a:lnTo>
                  <a:lnTo>
                    <a:pt x="343" y="123"/>
                  </a:lnTo>
                  <a:lnTo>
                    <a:pt x="340" y="128"/>
                  </a:lnTo>
                  <a:lnTo>
                    <a:pt x="339" y="131"/>
                  </a:lnTo>
                  <a:lnTo>
                    <a:pt x="334" y="138"/>
                  </a:lnTo>
                  <a:lnTo>
                    <a:pt x="333" y="141"/>
                  </a:lnTo>
                  <a:lnTo>
                    <a:pt x="332" y="144"/>
                  </a:lnTo>
                  <a:lnTo>
                    <a:pt x="331" y="147"/>
                  </a:lnTo>
                  <a:lnTo>
                    <a:pt x="331" y="151"/>
                  </a:lnTo>
                  <a:lnTo>
                    <a:pt x="331" y="154"/>
                  </a:lnTo>
                  <a:lnTo>
                    <a:pt x="331" y="157"/>
                  </a:lnTo>
                  <a:lnTo>
                    <a:pt x="331" y="162"/>
                  </a:lnTo>
                  <a:lnTo>
                    <a:pt x="332" y="166"/>
                  </a:lnTo>
                  <a:lnTo>
                    <a:pt x="333" y="169"/>
                  </a:lnTo>
                  <a:lnTo>
                    <a:pt x="333" y="175"/>
                  </a:lnTo>
                  <a:lnTo>
                    <a:pt x="337" y="185"/>
                  </a:lnTo>
                  <a:lnTo>
                    <a:pt x="338" y="191"/>
                  </a:lnTo>
                  <a:lnTo>
                    <a:pt x="340" y="195"/>
                  </a:lnTo>
                  <a:lnTo>
                    <a:pt x="341" y="197"/>
                  </a:lnTo>
                  <a:lnTo>
                    <a:pt x="343" y="199"/>
                  </a:lnTo>
                  <a:lnTo>
                    <a:pt x="344" y="202"/>
                  </a:lnTo>
                  <a:lnTo>
                    <a:pt x="349" y="208"/>
                  </a:lnTo>
                  <a:lnTo>
                    <a:pt x="352" y="212"/>
                  </a:lnTo>
                  <a:lnTo>
                    <a:pt x="354" y="215"/>
                  </a:lnTo>
                  <a:lnTo>
                    <a:pt x="355" y="217"/>
                  </a:lnTo>
                  <a:lnTo>
                    <a:pt x="355" y="221"/>
                  </a:lnTo>
                  <a:lnTo>
                    <a:pt x="356" y="223"/>
                  </a:lnTo>
                  <a:lnTo>
                    <a:pt x="356" y="225"/>
                  </a:lnTo>
                  <a:lnTo>
                    <a:pt x="355" y="226"/>
                  </a:lnTo>
                  <a:lnTo>
                    <a:pt x="355" y="227"/>
                  </a:lnTo>
                  <a:lnTo>
                    <a:pt x="355" y="228"/>
                  </a:lnTo>
                  <a:lnTo>
                    <a:pt x="354" y="229"/>
                  </a:lnTo>
                  <a:lnTo>
                    <a:pt x="353" y="230"/>
                  </a:lnTo>
                  <a:lnTo>
                    <a:pt x="348" y="235"/>
                  </a:lnTo>
                  <a:lnTo>
                    <a:pt x="346" y="236"/>
                  </a:lnTo>
                  <a:lnTo>
                    <a:pt x="344" y="237"/>
                  </a:lnTo>
                  <a:lnTo>
                    <a:pt x="344" y="239"/>
                  </a:lnTo>
                  <a:lnTo>
                    <a:pt x="343" y="242"/>
                  </a:lnTo>
                  <a:lnTo>
                    <a:pt x="342" y="245"/>
                  </a:lnTo>
                  <a:lnTo>
                    <a:pt x="342" y="248"/>
                  </a:lnTo>
                  <a:lnTo>
                    <a:pt x="342" y="249"/>
                  </a:lnTo>
                  <a:lnTo>
                    <a:pt x="342" y="249"/>
                  </a:lnTo>
                  <a:lnTo>
                    <a:pt x="342" y="251"/>
                  </a:lnTo>
                  <a:lnTo>
                    <a:pt x="343" y="252"/>
                  </a:lnTo>
                  <a:lnTo>
                    <a:pt x="343" y="253"/>
                  </a:lnTo>
                  <a:lnTo>
                    <a:pt x="344" y="255"/>
                  </a:lnTo>
                  <a:lnTo>
                    <a:pt x="345" y="258"/>
                  </a:lnTo>
                  <a:lnTo>
                    <a:pt x="347" y="259"/>
                  </a:lnTo>
                  <a:lnTo>
                    <a:pt x="348" y="260"/>
                  </a:lnTo>
                  <a:lnTo>
                    <a:pt x="350" y="261"/>
                  </a:lnTo>
                  <a:lnTo>
                    <a:pt x="352" y="263"/>
                  </a:lnTo>
                  <a:lnTo>
                    <a:pt x="355" y="266"/>
                  </a:lnTo>
                  <a:lnTo>
                    <a:pt x="373" y="279"/>
                  </a:lnTo>
                  <a:lnTo>
                    <a:pt x="386" y="287"/>
                  </a:lnTo>
                  <a:lnTo>
                    <a:pt x="387" y="288"/>
                  </a:lnTo>
                  <a:lnTo>
                    <a:pt x="388" y="289"/>
                  </a:lnTo>
                  <a:lnTo>
                    <a:pt x="388" y="290"/>
                  </a:lnTo>
                  <a:lnTo>
                    <a:pt x="388" y="291"/>
                  </a:lnTo>
                  <a:lnTo>
                    <a:pt x="387" y="292"/>
                  </a:lnTo>
                  <a:lnTo>
                    <a:pt x="387" y="294"/>
                  </a:lnTo>
                  <a:lnTo>
                    <a:pt x="386" y="294"/>
                  </a:lnTo>
                  <a:lnTo>
                    <a:pt x="385" y="295"/>
                  </a:lnTo>
                  <a:lnTo>
                    <a:pt x="384" y="295"/>
                  </a:lnTo>
                  <a:lnTo>
                    <a:pt x="383" y="296"/>
                  </a:lnTo>
                  <a:lnTo>
                    <a:pt x="381" y="296"/>
                  </a:lnTo>
                  <a:lnTo>
                    <a:pt x="380" y="297"/>
                  </a:lnTo>
                  <a:lnTo>
                    <a:pt x="379" y="297"/>
                  </a:lnTo>
                  <a:lnTo>
                    <a:pt x="378" y="297"/>
                  </a:lnTo>
                  <a:lnTo>
                    <a:pt x="374" y="297"/>
                  </a:lnTo>
                  <a:lnTo>
                    <a:pt x="368" y="296"/>
                  </a:lnTo>
                  <a:lnTo>
                    <a:pt x="367" y="296"/>
                  </a:lnTo>
                  <a:lnTo>
                    <a:pt x="365" y="296"/>
                  </a:lnTo>
                  <a:lnTo>
                    <a:pt x="364" y="296"/>
                  </a:lnTo>
                  <a:lnTo>
                    <a:pt x="363" y="297"/>
                  </a:lnTo>
                  <a:lnTo>
                    <a:pt x="362" y="297"/>
                  </a:lnTo>
                  <a:lnTo>
                    <a:pt x="361" y="298"/>
                  </a:lnTo>
                  <a:lnTo>
                    <a:pt x="360" y="299"/>
                  </a:lnTo>
                  <a:lnTo>
                    <a:pt x="359" y="299"/>
                  </a:lnTo>
                  <a:lnTo>
                    <a:pt x="359" y="300"/>
                  </a:lnTo>
                  <a:lnTo>
                    <a:pt x="358" y="302"/>
                  </a:lnTo>
                  <a:lnTo>
                    <a:pt x="358" y="304"/>
                  </a:lnTo>
                  <a:lnTo>
                    <a:pt x="358" y="305"/>
                  </a:lnTo>
                  <a:lnTo>
                    <a:pt x="358" y="306"/>
                  </a:lnTo>
                  <a:lnTo>
                    <a:pt x="358" y="309"/>
                  </a:lnTo>
                  <a:lnTo>
                    <a:pt x="360" y="313"/>
                  </a:lnTo>
                  <a:lnTo>
                    <a:pt x="363" y="322"/>
                  </a:lnTo>
                  <a:lnTo>
                    <a:pt x="365" y="328"/>
                  </a:lnTo>
                  <a:lnTo>
                    <a:pt x="367" y="333"/>
                  </a:lnTo>
                  <a:lnTo>
                    <a:pt x="367" y="337"/>
                  </a:lnTo>
                  <a:lnTo>
                    <a:pt x="367" y="339"/>
                  </a:lnTo>
                  <a:lnTo>
                    <a:pt x="367" y="340"/>
                  </a:lnTo>
                  <a:lnTo>
                    <a:pt x="367" y="342"/>
                  </a:lnTo>
                  <a:lnTo>
                    <a:pt x="367" y="344"/>
                  </a:lnTo>
                  <a:lnTo>
                    <a:pt x="359" y="353"/>
                  </a:lnTo>
                  <a:lnTo>
                    <a:pt x="358" y="355"/>
                  </a:lnTo>
                  <a:lnTo>
                    <a:pt x="356" y="358"/>
                  </a:lnTo>
                  <a:lnTo>
                    <a:pt x="355" y="362"/>
                  </a:lnTo>
                  <a:lnTo>
                    <a:pt x="354" y="364"/>
                  </a:lnTo>
                  <a:lnTo>
                    <a:pt x="353" y="366"/>
                  </a:lnTo>
                  <a:lnTo>
                    <a:pt x="353" y="369"/>
                  </a:lnTo>
                  <a:lnTo>
                    <a:pt x="353" y="370"/>
                  </a:lnTo>
                  <a:lnTo>
                    <a:pt x="354" y="372"/>
                  </a:lnTo>
                  <a:lnTo>
                    <a:pt x="355" y="373"/>
                  </a:lnTo>
                  <a:lnTo>
                    <a:pt x="355" y="375"/>
                  </a:lnTo>
                  <a:lnTo>
                    <a:pt x="357" y="377"/>
                  </a:lnTo>
                  <a:lnTo>
                    <a:pt x="358" y="378"/>
                  </a:lnTo>
                  <a:lnTo>
                    <a:pt x="364" y="383"/>
                  </a:lnTo>
                  <a:lnTo>
                    <a:pt x="367" y="385"/>
                  </a:lnTo>
                  <a:lnTo>
                    <a:pt x="367" y="385"/>
                  </a:lnTo>
                  <a:lnTo>
                    <a:pt x="368" y="386"/>
                  </a:lnTo>
                  <a:lnTo>
                    <a:pt x="368" y="387"/>
                  </a:lnTo>
                  <a:lnTo>
                    <a:pt x="369" y="388"/>
                  </a:lnTo>
                  <a:lnTo>
                    <a:pt x="369" y="390"/>
                  </a:lnTo>
                  <a:lnTo>
                    <a:pt x="369" y="391"/>
                  </a:lnTo>
                  <a:lnTo>
                    <a:pt x="368" y="392"/>
                  </a:lnTo>
                  <a:lnTo>
                    <a:pt x="367" y="394"/>
                  </a:lnTo>
                  <a:lnTo>
                    <a:pt x="367" y="395"/>
                  </a:lnTo>
                  <a:lnTo>
                    <a:pt x="365" y="396"/>
                  </a:lnTo>
                  <a:lnTo>
                    <a:pt x="363" y="396"/>
                  </a:lnTo>
                  <a:lnTo>
                    <a:pt x="362" y="396"/>
                  </a:lnTo>
                  <a:lnTo>
                    <a:pt x="361" y="396"/>
                  </a:lnTo>
                  <a:lnTo>
                    <a:pt x="360" y="396"/>
                  </a:lnTo>
                  <a:lnTo>
                    <a:pt x="358" y="397"/>
                  </a:lnTo>
                  <a:lnTo>
                    <a:pt x="356" y="398"/>
                  </a:lnTo>
                  <a:lnTo>
                    <a:pt x="355" y="399"/>
                  </a:lnTo>
                  <a:lnTo>
                    <a:pt x="353" y="399"/>
                  </a:lnTo>
                  <a:lnTo>
                    <a:pt x="349" y="400"/>
                  </a:lnTo>
                  <a:lnTo>
                    <a:pt x="346" y="400"/>
                  </a:lnTo>
                  <a:lnTo>
                    <a:pt x="342" y="400"/>
                  </a:lnTo>
                  <a:lnTo>
                    <a:pt x="330" y="399"/>
                  </a:lnTo>
                  <a:lnTo>
                    <a:pt x="327" y="399"/>
                  </a:lnTo>
                  <a:lnTo>
                    <a:pt x="324" y="399"/>
                  </a:lnTo>
                  <a:lnTo>
                    <a:pt x="318" y="400"/>
                  </a:lnTo>
                  <a:lnTo>
                    <a:pt x="314" y="400"/>
                  </a:lnTo>
                  <a:lnTo>
                    <a:pt x="308" y="400"/>
                  </a:lnTo>
                  <a:lnTo>
                    <a:pt x="305" y="399"/>
                  </a:lnTo>
                  <a:lnTo>
                    <a:pt x="298" y="398"/>
                  </a:lnTo>
                  <a:lnTo>
                    <a:pt x="288" y="396"/>
                  </a:lnTo>
                  <a:lnTo>
                    <a:pt x="284" y="395"/>
                  </a:lnTo>
                  <a:lnTo>
                    <a:pt x="279" y="393"/>
                  </a:lnTo>
                  <a:lnTo>
                    <a:pt x="276" y="392"/>
                  </a:lnTo>
                  <a:lnTo>
                    <a:pt x="274" y="390"/>
                  </a:lnTo>
                  <a:lnTo>
                    <a:pt x="270" y="388"/>
                  </a:lnTo>
                  <a:lnTo>
                    <a:pt x="265" y="385"/>
                  </a:lnTo>
                  <a:lnTo>
                    <a:pt x="264" y="384"/>
                  </a:lnTo>
                  <a:lnTo>
                    <a:pt x="261" y="383"/>
                  </a:lnTo>
                  <a:lnTo>
                    <a:pt x="258" y="382"/>
                  </a:lnTo>
                  <a:lnTo>
                    <a:pt x="256" y="381"/>
                  </a:lnTo>
                  <a:lnTo>
                    <a:pt x="254" y="381"/>
                  </a:lnTo>
                  <a:lnTo>
                    <a:pt x="251" y="380"/>
                  </a:lnTo>
                  <a:lnTo>
                    <a:pt x="248" y="380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3" y="382"/>
                  </a:lnTo>
                  <a:lnTo>
                    <a:pt x="242" y="384"/>
                  </a:lnTo>
                  <a:lnTo>
                    <a:pt x="242" y="385"/>
                  </a:lnTo>
                  <a:lnTo>
                    <a:pt x="242" y="387"/>
                  </a:lnTo>
                  <a:lnTo>
                    <a:pt x="241" y="389"/>
                  </a:lnTo>
                  <a:lnTo>
                    <a:pt x="241" y="393"/>
                  </a:lnTo>
                  <a:lnTo>
                    <a:pt x="240" y="395"/>
                  </a:lnTo>
                  <a:lnTo>
                    <a:pt x="239" y="398"/>
                  </a:lnTo>
                  <a:lnTo>
                    <a:pt x="238" y="400"/>
                  </a:lnTo>
                  <a:lnTo>
                    <a:pt x="237" y="401"/>
                  </a:lnTo>
                  <a:lnTo>
                    <a:pt x="236" y="402"/>
                  </a:lnTo>
                  <a:lnTo>
                    <a:pt x="234" y="403"/>
                  </a:lnTo>
                  <a:lnTo>
                    <a:pt x="233" y="404"/>
                  </a:lnTo>
                  <a:lnTo>
                    <a:pt x="232" y="405"/>
                  </a:lnTo>
                  <a:lnTo>
                    <a:pt x="230" y="405"/>
                  </a:lnTo>
                  <a:lnTo>
                    <a:pt x="229" y="405"/>
                  </a:lnTo>
                  <a:lnTo>
                    <a:pt x="228" y="405"/>
                  </a:lnTo>
                  <a:lnTo>
                    <a:pt x="227" y="405"/>
                  </a:lnTo>
                  <a:lnTo>
                    <a:pt x="227" y="398"/>
                  </a:lnTo>
                  <a:lnTo>
                    <a:pt x="226" y="394"/>
                  </a:lnTo>
                  <a:lnTo>
                    <a:pt x="225" y="390"/>
                  </a:lnTo>
                  <a:lnTo>
                    <a:pt x="223" y="383"/>
                  </a:lnTo>
                  <a:lnTo>
                    <a:pt x="221" y="376"/>
                  </a:lnTo>
                  <a:lnTo>
                    <a:pt x="220" y="374"/>
                  </a:lnTo>
                  <a:lnTo>
                    <a:pt x="219" y="372"/>
                  </a:lnTo>
                  <a:lnTo>
                    <a:pt x="219" y="370"/>
                  </a:lnTo>
                  <a:lnTo>
                    <a:pt x="218" y="369"/>
                  </a:lnTo>
                  <a:lnTo>
                    <a:pt x="217" y="367"/>
                  </a:lnTo>
                  <a:lnTo>
                    <a:pt x="216" y="366"/>
                  </a:lnTo>
                  <a:lnTo>
                    <a:pt x="215" y="365"/>
                  </a:lnTo>
                  <a:lnTo>
                    <a:pt x="214" y="364"/>
                  </a:lnTo>
                  <a:lnTo>
                    <a:pt x="212" y="364"/>
                  </a:lnTo>
                  <a:lnTo>
                    <a:pt x="210" y="363"/>
                  </a:lnTo>
                  <a:lnTo>
                    <a:pt x="208" y="364"/>
                  </a:lnTo>
                  <a:lnTo>
                    <a:pt x="206" y="364"/>
                  </a:lnTo>
                  <a:lnTo>
                    <a:pt x="204" y="365"/>
                  </a:lnTo>
                  <a:lnTo>
                    <a:pt x="201" y="366"/>
                  </a:lnTo>
                  <a:lnTo>
                    <a:pt x="187" y="371"/>
                  </a:lnTo>
                  <a:lnTo>
                    <a:pt x="182" y="373"/>
                  </a:lnTo>
                  <a:lnTo>
                    <a:pt x="178" y="373"/>
                  </a:lnTo>
                  <a:lnTo>
                    <a:pt x="175" y="374"/>
                  </a:lnTo>
                  <a:lnTo>
                    <a:pt x="172" y="375"/>
                  </a:lnTo>
                  <a:lnTo>
                    <a:pt x="169" y="375"/>
                  </a:lnTo>
                  <a:lnTo>
                    <a:pt x="166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1" y="374"/>
                  </a:lnTo>
                  <a:lnTo>
                    <a:pt x="159" y="374"/>
                  </a:lnTo>
                  <a:lnTo>
                    <a:pt x="158" y="373"/>
                  </a:lnTo>
                  <a:lnTo>
                    <a:pt x="156" y="372"/>
                  </a:lnTo>
                  <a:lnTo>
                    <a:pt x="154" y="370"/>
                  </a:lnTo>
                  <a:lnTo>
                    <a:pt x="153" y="369"/>
                  </a:lnTo>
                  <a:lnTo>
                    <a:pt x="152" y="367"/>
                  </a:lnTo>
                  <a:lnTo>
                    <a:pt x="150" y="363"/>
                  </a:lnTo>
                  <a:lnTo>
                    <a:pt x="148" y="362"/>
                  </a:lnTo>
                  <a:lnTo>
                    <a:pt x="143" y="355"/>
                  </a:lnTo>
                  <a:lnTo>
                    <a:pt x="141" y="352"/>
                  </a:lnTo>
                  <a:lnTo>
                    <a:pt x="139" y="350"/>
                  </a:lnTo>
                  <a:lnTo>
                    <a:pt x="139" y="348"/>
                  </a:lnTo>
                  <a:lnTo>
                    <a:pt x="139" y="346"/>
                  </a:lnTo>
                  <a:lnTo>
                    <a:pt x="139" y="344"/>
                  </a:lnTo>
                  <a:lnTo>
                    <a:pt x="138" y="335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37" y="329"/>
                  </a:lnTo>
                  <a:lnTo>
                    <a:pt x="136" y="328"/>
                  </a:lnTo>
                  <a:lnTo>
                    <a:pt x="133" y="321"/>
                  </a:lnTo>
                  <a:lnTo>
                    <a:pt x="133" y="319"/>
                  </a:lnTo>
                  <a:lnTo>
                    <a:pt x="133" y="317"/>
                  </a:lnTo>
                  <a:lnTo>
                    <a:pt x="132" y="315"/>
                  </a:lnTo>
                  <a:lnTo>
                    <a:pt x="132" y="311"/>
                  </a:lnTo>
                  <a:lnTo>
                    <a:pt x="132" y="307"/>
                  </a:lnTo>
                  <a:lnTo>
                    <a:pt x="132" y="302"/>
                  </a:lnTo>
                  <a:lnTo>
                    <a:pt x="132" y="300"/>
                  </a:lnTo>
                  <a:lnTo>
                    <a:pt x="132" y="299"/>
                  </a:lnTo>
                  <a:lnTo>
                    <a:pt x="132" y="297"/>
                  </a:lnTo>
                  <a:lnTo>
                    <a:pt x="131" y="294"/>
                  </a:lnTo>
                  <a:lnTo>
                    <a:pt x="130" y="293"/>
                  </a:lnTo>
                  <a:lnTo>
                    <a:pt x="129" y="291"/>
                  </a:lnTo>
                  <a:lnTo>
                    <a:pt x="127" y="288"/>
                  </a:lnTo>
                  <a:lnTo>
                    <a:pt x="125" y="284"/>
                  </a:lnTo>
                  <a:lnTo>
                    <a:pt x="117" y="277"/>
                  </a:lnTo>
                  <a:lnTo>
                    <a:pt x="116" y="275"/>
                  </a:lnTo>
                  <a:lnTo>
                    <a:pt x="115" y="272"/>
                  </a:lnTo>
                  <a:lnTo>
                    <a:pt x="113" y="270"/>
                  </a:lnTo>
                  <a:lnTo>
                    <a:pt x="112" y="268"/>
                  </a:lnTo>
                  <a:lnTo>
                    <a:pt x="107" y="260"/>
                  </a:lnTo>
                  <a:lnTo>
                    <a:pt x="105" y="257"/>
                  </a:lnTo>
                  <a:lnTo>
                    <a:pt x="102" y="252"/>
                  </a:lnTo>
                  <a:lnTo>
                    <a:pt x="97" y="247"/>
                  </a:lnTo>
                  <a:lnTo>
                    <a:pt x="93" y="241"/>
                  </a:lnTo>
                  <a:lnTo>
                    <a:pt x="88" y="237"/>
                  </a:lnTo>
                  <a:lnTo>
                    <a:pt x="85" y="236"/>
                  </a:lnTo>
                  <a:lnTo>
                    <a:pt x="83" y="234"/>
                  </a:lnTo>
                  <a:lnTo>
                    <a:pt x="82" y="233"/>
                  </a:lnTo>
                  <a:lnTo>
                    <a:pt x="77" y="232"/>
                  </a:lnTo>
                  <a:lnTo>
                    <a:pt x="75" y="231"/>
                  </a:lnTo>
                  <a:lnTo>
                    <a:pt x="73" y="230"/>
                  </a:lnTo>
                  <a:lnTo>
                    <a:pt x="72" y="228"/>
                  </a:lnTo>
                  <a:lnTo>
                    <a:pt x="71" y="227"/>
                  </a:lnTo>
                  <a:lnTo>
                    <a:pt x="71" y="226"/>
                  </a:lnTo>
                  <a:lnTo>
                    <a:pt x="71" y="224"/>
                  </a:lnTo>
                  <a:lnTo>
                    <a:pt x="70" y="223"/>
                  </a:lnTo>
                  <a:lnTo>
                    <a:pt x="70" y="219"/>
                  </a:lnTo>
                  <a:lnTo>
                    <a:pt x="69" y="214"/>
                  </a:lnTo>
                  <a:lnTo>
                    <a:pt x="69" y="212"/>
                  </a:lnTo>
                  <a:lnTo>
                    <a:pt x="68" y="208"/>
                  </a:lnTo>
                  <a:lnTo>
                    <a:pt x="67" y="205"/>
                  </a:lnTo>
                  <a:lnTo>
                    <a:pt x="66" y="203"/>
                  </a:lnTo>
                  <a:lnTo>
                    <a:pt x="64" y="198"/>
                  </a:lnTo>
                  <a:lnTo>
                    <a:pt x="62" y="196"/>
                  </a:lnTo>
                  <a:lnTo>
                    <a:pt x="60" y="195"/>
                  </a:lnTo>
                  <a:lnTo>
                    <a:pt x="59" y="193"/>
                  </a:lnTo>
                  <a:lnTo>
                    <a:pt x="56" y="192"/>
                  </a:lnTo>
                  <a:lnTo>
                    <a:pt x="53" y="191"/>
                  </a:lnTo>
                  <a:lnTo>
                    <a:pt x="49" y="190"/>
                  </a:lnTo>
                  <a:lnTo>
                    <a:pt x="46" y="189"/>
                  </a:lnTo>
                  <a:lnTo>
                    <a:pt x="42" y="188"/>
                  </a:lnTo>
                  <a:lnTo>
                    <a:pt x="23" y="185"/>
                  </a:lnTo>
                  <a:lnTo>
                    <a:pt x="22" y="185"/>
                  </a:lnTo>
                  <a:lnTo>
                    <a:pt x="21" y="184"/>
                  </a:lnTo>
                  <a:lnTo>
                    <a:pt x="19" y="183"/>
                  </a:lnTo>
                  <a:lnTo>
                    <a:pt x="15" y="180"/>
                  </a:lnTo>
                  <a:lnTo>
                    <a:pt x="10" y="176"/>
                  </a:lnTo>
                  <a:lnTo>
                    <a:pt x="8" y="174"/>
                  </a:lnTo>
                  <a:lnTo>
                    <a:pt x="5" y="172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2" y="167"/>
                  </a:lnTo>
                  <a:lnTo>
                    <a:pt x="1" y="166"/>
                  </a:lnTo>
                  <a:lnTo>
                    <a:pt x="1" y="164"/>
                  </a:lnTo>
                  <a:lnTo>
                    <a:pt x="0" y="163"/>
                  </a:lnTo>
                  <a:lnTo>
                    <a:pt x="0" y="162"/>
                  </a:lnTo>
                  <a:lnTo>
                    <a:pt x="1" y="161"/>
                  </a:lnTo>
                  <a:lnTo>
                    <a:pt x="1" y="160"/>
                  </a:lnTo>
                  <a:lnTo>
                    <a:pt x="2" y="160"/>
                  </a:lnTo>
                  <a:lnTo>
                    <a:pt x="3" y="160"/>
                  </a:lnTo>
                  <a:lnTo>
                    <a:pt x="4" y="160"/>
                  </a:lnTo>
                  <a:lnTo>
                    <a:pt x="9" y="161"/>
                  </a:lnTo>
                  <a:lnTo>
                    <a:pt x="10" y="161"/>
                  </a:lnTo>
                  <a:lnTo>
                    <a:pt x="12" y="161"/>
                  </a:lnTo>
                  <a:lnTo>
                    <a:pt x="14" y="160"/>
                  </a:lnTo>
                  <a:lnTo>
                    <a:pt x="16" y="160"/>
                  </a:lnTo>
                  <a:lnTo>
                    <a:pt x="17" y="159"/>
                  </a:lnTo>
                  <a:lnTo>
                    <a:pt x="19" y="158"/>
                  </a:lnTo>
                  <a:lnTo>
                    <a:pt x="21" y="157"/>
                  </a:lnTo>
                  <a:lnTo>
                    <a:pt x="25" y="154"/>
                  </a:lnTo>
                  <a:lnTo>
                    <a:pt x="27" y="152"/>
                  </a:lnTo>
                  <a:lnTo>
                    <a:pt x="30" y="147"/>
                  </a:lnTo>
                  <a:lnTo>
                    <a:pt x="33" y="144"/>
                  </a:lnTo>
                  <a:lnTo>
                    <a:pt x="35" y="141"/>
                  </a:lnTo>
                  <a:lnTo>
                    <a:pt x="37" y="138"/>
                  </a:lnTo>
                  <a:lnTo>
                    <a:pt x="37" y="135"/>
                  </a:lnTo>
                  <a:lnTo>
                    <a:pt x="38" y="133"/>
                  </a:lnTo>
                  <a:lnTo>
                    <a:pt x="38" y="131"/>
                  </a:lnTo>
                  <a:lnTo>
                    <a:pt x="39" y="128"/>
                  </a:lnTo>
                  <a:lnTo>
                    <a:pt x="39" y="126"/>
                  </a:lnTo>
                  <a:lnTo>
                    <a:pt x="38" y="124"/>
                  </a:lnTo>
                  <a:lnTo>
                    <a:pt x="38" y="123"/>
                  </a:lnTo>
                  <a:lnTo>
                    <a:pt x="37" y="121"/>
                  </a:lnTo>
                  <a:lnTo>
                    <a:pt x="37" y="119"/>
                  </a:lnTo>
                  <a:lnTo>
                    <a:pt x="36" y="117"/>
                  </a:lnTo>
                  <a:lnTo>
                    <a:pt x="35" y="116"/>
                  </a:lnTo>
                  <a:lnTo>
                    <a:pt x="34" y="115"/>
                  </a:lnTo>
                  <a:lnTo>
                    <a:pt x="33" y="114"/>
                  </a:lnTo>
                  <a:lnTo>
                    <a:pt x="32" y="113"/>
                  </a:lnTo>
                  <a:lnTo>
                    <a:pt x="29" y="112"/>
                  </a:lnTo>
                  <a:lnTo>
                    <a:pt x="23" y="108"/>
                  </a:lnTo>
                  <a:lnTo>
                    <a:pt x="21" y="107"/>
                  </a:lnTo>
                  <a:lnTo>
                    <a:pt x="18" y="105"/>
                  </a:lnTo>
                  <a:lnTo>
                    <a:pt x="16" y="103"/>
                  </a:lnTo>
                  <a:lnTo>
                    <a:pt x="15" y="101"/>
                  </a:lnTo>
                  <a:lnTo>
                    <a:pt x="14" y="100"/>
                  </a:lnTo>
                  <a:lnTo>
                    <a:pt x="14" y="97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4" y="94"/>
                  </a:lnTo>
                  <a:lnTo>
                    <a:pt x="14" y="92"/>
                  </a:lnTo>
                  <a:lnTo>
                    <a:pt x="14" y="90"/>
                  </a:lnTo>
                  <a:lnTo>
                    <a:pt x="19" y="79"/>
                  </a:lnTo>
                  <a:lnTo>
                    <a:pt x="20" y="76"/>
                  </a:lnTo>
                  <a:lnTo>
                    <a:pt x="21" y="71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3" y="62"/>
                  </a:lnTo>
                  <a:lnTo>
                    <a:pt x="23" y="63"/>
                  </a:lnTo>
                  <a:lnTo>
                    <a:pt x="24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7" y="63"/>
                  </a:lnTo>
                  <a:lnTo>
                    <a:pt x="28" y="63"/>
                  </a:lnTo>
                  <a:lnTo>
                    <a:pt x="29" y="62"/>
                  </a:lnTo>
                  <a:lnTo>
                    <a:pt x="31" y="61"/>
                  </a:lnTo>
                  <a:lnTo>
                    <a:pt x="33" y="60"/>
                  </a:lnTo>
                  <a:lnTo>
                    <a:pt x="37" y="56"/>
                  </a:lnTo>
                  <a:lnTo>
                    <a:pt x="38" y="55"/>
                  </a:lnTo>
                  <a:lnTo>
                    <a:pt x="43" y="49"/>
                  </a:lnTo>
                  <a:lnTo>
                    <a:pt x="44" y="48"/>
                  </a:lnTo>
                  <a:lnTo>
                    <a:pt x="45" y="47"/>
                  </a:lnTo>
                  <a:lnTo>
                    <a:pt x="47" y="45"/>
                  </a:lnTo>
                  <a:lnTo>
                    <a:pt x="50" y="45"/>
                  </a:lnTo>
                  <a:lnTo>
                    <a:pt x="53" y="44"/>
                  </a:lnTo>
                  <a:lnTo>
                    <a:pt x="55" y="43"/>
                  </a:lnTo>
                  <a:lnTo>
                    <a:pt x="57" y="43"/>
                  </a:lnTo>
                  <a:lnTo>
                    <a:pt x="58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2" y="44"/>
                  </a:lnTo>
                  <a:lnTo>
                    <a:pt x="65" y="45"/>
                  </a:lnTo>
                  <a:lnTo>
                    <a:pt x="67" y="45"/>
                  </a:lnTo>
                  <a:lnTo>
                    <a:pt x="69" y="46"/>
                  </a:lnTo>
                  <a:lnTo>
                    <a:pt x="71" y="46"/>
                  </a:lnTo>
                  <a:lnTo>
                    <a:pt x="73" y="46"/>
                  </a:lnTo>
                  <a:lnTo>
                    <a:pt x="79" y="45"/>
                  </a:lnTo>
                  <a:lnTo>
                    <a:pt x="83" y="45"/>
                  </a:lnTo>
                  <a:lnTo>
                    <a:pt x="91" y="44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7" y="43"/>
                  </a:lnTo>
                  <a:lnTo>
                    <a:pt x="99" y="43"/>
                  </a:lnTo>
                  <a:lnTo>
                    <a:pt x="110" y="45"/>
                  </a:lnTo>
                  <a:lnTo>
                    <a:pt x="114" y="45"/>
                  </a:lnTo>
                  <a:lnTo>
                    <a:pt x="117" y="46"/>
                  </a:lnTo>
                  <a:lnTo>
                    <a:pt x="122" y="46"/>
                  </a:lnTo>
                  <a:lnTo>
                    <a:pt x="126" y="45"/>
                  </a:lnTo>
                  <a:lnTo>
                    <a:pt x="129" y="45"/>
                  </a:lnTo>
                  <a:lnTo>
                    <a:pt x="131" y="45"/>
                  </a:lnTo>
                  <a:lnTo>
                    <a:pt x="132" y="45"/>
                  </a:lnTo>
                  <a:lnTo>
                    <a:pt x="134" y="44"/>
                  </a:lnTo>
                  <a:lnTo>
                    <a:pt x="135" y="42"/>
                  </a:lnTo>
                  <a:lnTo>
                    <a:pt x="136" y="41"/>
                  </a:lnTo>
                  <a:lnTo>
                    <a:pt x="137" y="39"/>
                  </a:lnTo>
                  <a:lnTo>
                    <a:pt x="138" y="35"/>
                  </a:lnTo>
                  <a:lnTo>
                    <a:pt x="139" y="33"/>
                  </a:lnTo>
                  <a:lnTo>
                    <a:pt x="144" y="12"/>
                  </a:lnTo>
                  <a:lnTo>
                    <a:pt x="146" y="7"/>
                  </a:lnTo>
                  <a:lnTo>
                    <a:pt x="147" y="3"/>
                  </a:lnTo>
                  <a:lnTo>
                    <a:pt x="148" y="1"/>
                  </a:lnTo>
                  <a:lnTo>
                    <a:pt x="149" y="0"/>
                  </a:lnTo>
                  <a:lnTo>
                    <a:pt x="150" y="0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rgbClr val="6BAFD6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4" name="Freeform 61">
              <a:extLst>
                <a:ext uri="{FF2B5EF4-FFF2-40B4-BE49-F238E27FC236}">
                  <a16:creationId xmlns:a16="http://schemas.microsoft.com/office/drawing/2014/main" id="{78CD227E-E83A-4D5D-B6A6-4963BD877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1" y="3049"/>
              <a:ext cx="222" cy="211"/>
            </a:xfrm>
            <a:custGeom>
              <a:avLst/>
              <a:gdLst>
                <a:gd name="T0" fmla="*/ 130 w 222"/>
                <a:gd name="T1" fmla="*/ 4 h 211"/>
                <a:gd name="T2" fmla="*/ 141 w 222"/>
                <a:gd name="T3" fmla="*/ 4 h 211"/>
                <a:gd name="T4" fmla="*/ 145 w 222"/>
                <a:gd name="T5" fmla="*/ 9 h 211"/>
                <a:gd name="T6" fmla="*/ 148 w 222"/>
                <a:gd name="T7" fmla="*/ 6 h 211"/>
                <a:gd name="T8" fmla="*/ 151 w 222"/>
                <a:gd name="T9" fmla="*/ 0 h 211"/>
                <a:gd name="T10" fmla="*/ 162 w 222"/>
                <a:gd name="T11" fmla="*/ 7 h 211"/>
                <a:gd name="T12" fmla="*/ 156 w 222"/>
                <a:gd name="T13" fmla="*/ 10 h 211"/>
                <a:gd name="T14" fmla="*/ 151 w 222"/>
                <a:gd name="T15" fmla="*/ 16 h 211"/>
                <a:gd name="T16" fmla="*/ 150 w 222"/>
                <a:gd name="T17" fmla="*/ 22 h 211"/>
                <a:gd name="T18" fmla="*/ 154 w 222"/>
                <a:gd name="T19" fmla="*/ 33 h 211"/>
                <a:gd name="T20" fmla="*/ 165 w 222"/>
                <a:gd name="T21" fmla="*/ 54 h 211"/>
                <a:gd name="T22" fmla="*/ 179 w 222"/>
                <a:gd name="T23" fmla="*/ 71 h 211"/>
                <a:gd name="T24" fmla="*/ 186 w 222"/>
                <a:gd name="T25" fmla="*/ 80 h 211"/>
                <a:gd name="T26" fmla="*/ 193 w 222"/>
                <a:gd name="T27" fmla="*/ 80 h 211"/>
                <a:gd name="T28" fmla="*/ 213 w 222"/>
                <a:gd name="T29" fmla="*/ 66 h 211"/>
                <a:gd name="T30" fmla="*/ 219 w 222"/>
                <a:gd name="T31" fmla="*/ 64 h 211"/>
                <a:gd name="T32" fmla="*/ 222 w 222"/>
                <a:gd name="T33" fmla="*/ 67 h 211"/>
                <a:gd name="T34" fmla="*/ 219 w 222"/>
                <a:gd name="T35" fmla="*/ 90 h 211"/>
                <a:gd name="T36" fmla="*/ 216 w 222"/>
                <a:gd name="T37" fmla="*/ 113 h 211"/>
                <a:gd name="T38" fmla="*/ 208 w 222"/>
                <a:gd name="T39" fmla="*/ 130 h 211"/>
                <a:gd name="T40" fmla="*/ 207 w 222"/>
                <a:gd name="T41" fmla="*/ 144 h 211"/>
                <a:gd name="T42" fmla="*/ 210 w 222"/>
                <a:gd name="T43" fmla="*/ 168 h 211"/>
                <a:gd name="T44" fmla="*/ 212 w 222"/>
                <a:gd name="T45" fmla="*/ 182 h 211"/>
                <a:gd name="T46" fmla="*/ 206 w 222"/>
                <a:gd name="T47" fmla="*/ 194 h 211"/>
                <a:gd name="T48" fmla="*/ 189 w 222"/>
                <a:gd name="T49" fmla="*/ 206 h 211"/>
                <a:gd name="T50" fmla="*/ 175 w 222"/>
                <a:gd name="T51" fmla="*/ 210 h 211"/>
                <a:gd name="T52" fmla="*/ 156 w 222"/>
                <a:gd name="T53" fmla="*/ 210 h 211"/>
                <a:gd name="T54" fmla="*/ 155 w 222"/>
                <a:gd name="T55" fmla="*/ 206 h 211"/>
                <a:gd name="T56" fmla="*/ 157 w 222"/>
                <a:gd name="T57" fmla="*/ 189 h 211"/>
                <a:gd name="T58" fmla="*/ 155 w 222"/>
                <a:gd name="T59" fmla="*/ 182 h 211"/>
                <a:gd name="T60" fmla="*/ 140 w 222"/>
                <a:gd name="T61" fmla="*/ 183 h 211"/>
                <a:gd name="T62" fmla="*/ 130 w 222"/>
                <a:gd name="T63" fmla="*/ 180 h 211"/>
                <a:gd name="T64" fmla="*/ 122 w 222"/>
                <a:gd name="T65" fmla="*/ 168 h 211"/>
                <a:gd name="T66" fmla="*/ 118 w 222"/>
                <a:gd name="T67" fmla="*/ 163 h 211"/>
                <a:gd name="T68" fmla="*/ 106 w 222"/>
                <a:gd name="T69" fmla="*/ 162 h 211"/>
                <a:gd name="T70" fmla="*/ 99 w 222"/>
                <a:gd name="T71" fmla="*/ 160 h 211"/>
                <a:gd name="T72" fmla="*/ 83 w 222"/>
                <a:gd name="T73" fmla="*/ 151 h 211"/>
                <a:gd name="T74" fmla="*/ 67 w 222"/>
                <a:gd name="T75" fmla="*/ 143 h 211"/>
                <a:gd name="T76" fmla="*/ 42 w 222"/>
                <a:gd name="T77" fmla="*/ 122 h 211"/>
                <a:gd name="T78" fmla="*/ 25 w 222"/>
                <a:gd name="T79" fmla="*/ 117 h 211"/>
                <a:gd name="T80" fmla="*/ 14 w 222"/>
                <a:gd name="T81" fmla="*/ 112 h 211"/>
                <a:gd name="T82" fmla="*/ 2 w 222"/>
                <a:gd name="T83" fmla="*/ 95 h 211"/>
                <a:gd name="T84" fmla="*/ 0 w 222"/>
                <a:gd name="T85" fmla="*/ 85 h 211"/>
                <a:gd name="T86" fmla="*/ 7 w 222"/>
                <a:gd name="T87" fmla="*/ 62 h 211"/>
                <a:gd name="T88" fmla="*/ 11 w 222"/>
                <a:gd name="T89" fmla="*/ 36 h 211"/>
                <a:gd name="T90" fmla="*/ 15 w 222"/>
                <a:gd name="T91" fmla="*/ 27 h 211"/>
                <a:gd name="T92" fmla="*/ 20 w 222"/>
                <a:gd name="T93" fmla="*/ 22 h 211"/>
                <a:gd name="T94" fmla="*/ 33 w 222"/>
                <a:gd name="T95" fmla="*/ 22 h 211"/>
                <a:gd name="T96" fmla="*/ 47 w 222"/>
                <a:gd name="T97" fmla="*/ 33 h 211"/>
                <a:gd name="T98" fmla="*/ 56 w 222"/>
                <a:gd name="T99" fmla="*/ 47 h 211"/>
                <a:gd name="T100" fmla="*/ 66 w 222"/>
                <a:gd name="T101" fmla="*/ 56 h 211"/>
                <a:gd name="T102" fmla="*/ 72 w 222"/>
                <a:gd name="T103" fmla="*/ 57 h 211"/>
                <a:gd name="T104" fmla="*/ 82 w 222"/>
                <a:gd name="T105" fmla="*/ 49 h 211"/>
                <a:gd name="T106" fmla="*/ 92 w 222"/>
                <a:gd name="T107" fmla="*/ 44 h 211"/>
                <a:gd name="T108" fmla="*/ 97 w 222"/>
                <a:gd name="T109" fmla="*/ 35 h 211"/>
                <a:gd name="T110" fmla="*/ 107 w 222"/>
                <a:gd name="T111" fmla="*/ 23 h 211"/>
                <a:gd name="T112" fmla="*/ 126 w 222"/>
                <a:gd name="T113" fmla="*/ 3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2" h="211">
                  <a:moveTo>
                    <a:pt x="126" y="3"/>
                  </a:moveTo>
                  <a:lnTo>
                    <a:pt x="127" y="3"/>
                  </a:lnTo>
                  <a:lnTo>
                    <a:pt x="127" y="3"/>
                  </a:lnTo>
                  <a:lnTo>
                    <a:pt x="128" y="4"/>
                  </a:lnTo>
                  <a:lnTo>
                    <a:pt x="130" y="4"/>
                  </a:lnTo>
                  <a:lnTo>
                    <a:pt x="132" y="4"/>
                  </a:lnTo>
                  <a:lnTo>
                    <a:pt x="136" y="3"/>
                  </a:lnTo>
                  <a:lnTo>
                    <a:pt x="138" y="3"/>
                  </a:lnTo>
                  <a:lnTo>
                    <a:pt x="139" y="3"/>
                  </a:lnTo>
                  <a:lnTo>
                    <a:pt x="141" y="4"/>
                  </a:lnTo>
                  <a:lnTo>
                    <a:pt x="142" y="4"/>
                  </a:lnTo>
                  <a:lnTo>
                    <a:pt x="143" y="5"/>
                  </a:lnTo>
                  <a:lnTo>
                    <a:pt x="144" y="8"/>
                  </a:lnTo>
                  <a:lnTo>
                    <a:pt x="144" y="9"/>
                  </a:lnTo>
                  <a:lnTo>
                    <a:pt x="145" y="9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48" y="7"/>
                  </a:lnTo>
                  <a:lnTo>
                    <a:pt x="148" y="6"/>
                  </a:lnTo>
                  <a:lnTo>
                    <a:pt x="149" y="4"/>
                  </a:lnTo>
                  <a:lnTo>
                    <a:pt x="149" y="2"/>
                  </a:lnTo>
                  <a:lnTo>
                    <a:pt x="150" y="1"/>
                  </a:lnTo>
                  <a:lnTo>
                    <a:pt x="150" y="1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52" y="1"/>
                  </a:lnTo>
                  <a:lnTo>
                    <a:pt x="154" y="2"/>
                  </a:lnTo>
                  <a:lnTo>
                    <a:pt x="160" y="6"/>
                  </a:lnTo>
                  <a:lnTo>
                    <a:pt x="162" y="7"/>
                  </a:lnTo>
                  <a:lnTo>
                    <a:pt x="164" y="8"/>
                  </a:lnTo>
                  <a:lnTo>
                    <a:pt x="163" y="8"/>
                  </a:lnTo>
                  <a:lnTo>
                    <a:pt x="160" y="9"/>
                  </a:lnTo>
                  <a:lnTo>
                    <a:pt x="158" y="10"/>
                  </a:lnTo>
                  <a:lnTo>
                    <a:pt x="156" y="10"/>
                  </a:lnTo>
                  <a:lnTo>
                    <a:pt x="156" y="11"/>
                  </a:lnTo>
                  <a:lnTo>
                    <a:pt x="154" y="12"/>
                  </a:lnTo>
                  <a:lnTo>
                    <a:pt x="153" y="14"/>
                  </a:lnTo>
                  <a:lnTo>
                    <a:pt x="152" y="15"/>
                  </a:lnTo>
                  <a:lnTo>
                    <a:pt x="151" y="16"/>
                  </a:lnTo>
                  <a:lnTo>
                    <a:pt x="150" y="17"/>
                  </a:lnTo>
                  <a:lnTo>
                    <a:pt x="150" y="19"/>
                  </a:lnTo>
                  <a:lnTo>
                    <a:pt x="150" y="20"/>
                  </a:lnTo>
                  <a:lnTo>
                    <a:pt x="150" y="21"/>
                  </a:lnTo>
                  <a:lnTo>
                    <a:pt x="150" y="22"/>
                  </a:lnTo>
                  <a:lnTo>
                    <a:pt x="150" y="23"/>
                  </a:lnTo>
                  <a:lnTo>
                    <a:pt x="150" y="25"/>
                  </a:lnTo>
                  <a:lnTo>
                    <a:pt x="151" y="27"/>
                  </a:lnTo>
                  <a:lnTo>
                    <a:pt x="152" y="30"/>
                  </a:lnTo>
                  <a:lnTo>
                    <a:pt x="154" y="33"/>
                  </a:lnTo>
                  <a:lnTo>
                    <a:pt x="156" y="38"/>
                  </a:lnTo>
                  <a:lnTo>
                    <a:pt x="158" y="41"/>
                  </a:lnTo>
                  <a:lnTo>
                    <a:pt x="160" y="44"/>
                  </a:lnTo>
                  <a:lnTo>
                    <a:pt x="163" y="51"/>
                  </a:lnTo>
                  <a:lnTo>
                    <a:pt x="165" y="54"/>
                  </a:lnTo>
                  <a:lnTo>
                    <a:pt x="166" y="56"/>
                  </a:lnTo>
                  <a:lnTo>
                    <a:pt x="167" y="57"/>
                  </a:lnTo>
                  <a:lnTo>
                    <a:pt x="174" y="65"/>
                  </a:lnTo>
                  <a:lnTo>
                    <a:pt x="177" y="68"/>
                  </a:lnTo>
                  <a:lnTo>
                    <a:pt x="179" y="71"/>
                  </a:lnTo>
                  <a:lnTo>
                    <a:pt x="182" y="77"/>
                  </a:lnTo>
                  <a:lnTo>
                    <a:pt x="183" y="78"/>
                  </a:lnTo>
                  <a:lnTo>
                    <a:pt x="184" y="78"/>
                  </a:lnTo>
                  <a:lnTo>
                    <a:pt x="185" y="79"/>
                  </a:lnTo>
                  <a:lnTo>
                    <a:pt x="186" y="80"/>
                  </a:lnTo>
                  <a:lnTo>
                    <a:pt x="188" y="80"/>
                  </a:lnTo>
                  <a:lnTo>
                    <a:pt x="190" y="81"/>
                  </a:lnTo>
                  <a:lnTo>
                    <a:pt x="190" y="80"/>
                  </a:lnTo>
                  <a:lnTo>
                    <a:pt x="192" y="80"/>
                  </a:lnTo>
                  <a:lnTo>
                    <a:pt x="193" y="80"/>
                  </a:lnTo>
                  <a:lnTo>
                    <a:pt x="197" y="78"/>
                  </a:lnTo>
                  <a:lnTo>
                    <a:pt x="201" y="76"/>
                  </a:lnTo>
                  <a:lnTo>
                    <a:pt x="205" y="72"/>
                  </a:lnTo>
                  <a:lnTo>
                    <a:pt x="211" y="67"/>
                  </a:lnTo>
                  <a:lnTo>
                    <a:pt x="213" y="66"/>
                  </a:lnTo>
                  <a:lnTo>
                    <a:pt x="215" y="65"/>
                  </a:lnTo>
                  <a:lnTo>
                    <a:pt x="216" y="64"/>
                  </a:lnTo>
                  <a:lnTo>
                    <a:pt x="217" y="64"/>
                  </a:lnTo>
                  <a:lnTo>
                    <a:pt x="218" y="64"/>
                  </a:lnTo>
                  <a:lnTo>
                    <a:pt x="219" y="64"/>
                  </a:lnTo>
                  <a:lnTo>
                    <a:pt x="220" y="64"/>
                  </a:lnTo>
                  <a:lnTo>
                    <a:pt x="221" y="64"/>
                  </a:lnTo>
                  <a:lnTo>
                    <a:pt x="221" y="65"/>
                  </a:lnTo>
                  <a:lnTo>
                    <a:pt x="222" y="66"/>
                  </a:lnTo>
                  <a:lnTo>
                    <a:pt x="222" y="67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0" y="78"/>
                  </a:lnTo>
                  <a:lnTo>
                    <a:pt x="220" y="84"/>
                  </a:lnTo>
                  <a:lnTo>
                    <a:pt x="219" y="90"/>
                  </a:lnTo>
                  <a:lnTo>
                    <a:pt x="219" y="96"/>
                  </a:lnTo>
                  <a:lnTo>
                    <a:pt x="218" y="103"/>
                  </a:lnTo>
                  <a:lnTo>
                    <a:pt x="218" y="108"/>
                  </a:lnTo>
                  <a:lnTo>
                    <a:pt x="217" y="111"/>
                  </a:lnTo>
                  <a:lnTo>
                    <a:pt x="216" y="113"/>
                  </a:lnTo>
                  <a:lnTo>
                    <a:pt x="215" y="116"/>
                  </a:lnTo>
                  <a:lnTo>
                    <a:pt x="214" y="118"/>
                  </a:lnTo>
                  <a:lnTo>
                    <a:pt x="210" y="126"/>
                  </a:lnTo>
                  <a:lnTo>
                    <a:pt x="209" y="128"/>
                  </a:lnTo>
                  <a:lnTo>
                    <a:pt x="208" y="130"/>
                  </a:lnTo>
                  <a:lnTo>
                    <a:pt x="208" y="132"/>
                  </a:lnTo>
                  <a:lnTo>
                    <a:pt x="207" y="135"/>
                  </a:lnTo>
                  <a:lnTo>
                    <a:pt x="207" y="137"/>
                  </a:lnTo>
                  <a:lnTo>
                    <a:pt x="207" y="139"/>
                  </a:lnTo>
                  <a:lnTo>
                    <a:pt x="207" y="144"/>
                  </a:lnTo>
                  <a:lnTo>
                    <a:pt x="207" y="153"/>
                  </a:lnTo>
                  <a:lnTo>
                    <a:pt x="208" y="157"/>
                  </a:lnTo>
                  <a:lnTo>
                    <a:pt x="208" y="160"/>
                  </a:lnTo>
                  <a:lnTo>
                    <a:pt x="209" y="164"/>
                  </a:lnTo>
                  <a:lnTo>
                    <a:pt x="210" y="168"/>
                  </a:lnTo>
                  <a:lnTo>
                    <a:pt x="212" y="174"/>
                  </a:lnTo>
                  <a:lnTo>
                    <a:pt x="212" y="176"/>
                  </a:lnTo>
                  <a:lnTo>
                    <a:pt x="212" y="178"/>
                  </a:lnTo>
                  <a:lnTo>
                    <a:pt x="212" y="180"/>
                  </a:lnTo>
                  <a:lnTo>
                    <a:pt x="212" y="182"/>
                  </a:lnTo>
                  <a:lnTo>
                    <a:pt x="211" y="185"/>
                  </a:lnTo>
                  <a:lnTo>
                    <a:pt x="210" y="188"/>
                  </a:lnTo>
                  <a:lnTo>
                    <a:pt x="209" y="190"/>
                  </a:lnTo>
                  <a:lnTo>
                    <a:pt x="208" y="192"/>
                  </a:lnTo>
                  <a:lnTo>
                    <a:pt x="206" y="194"/>
                  </a:lnTo>
                  <a:lnTo>
                    <a:pt x="204" y="196"/>
                  </a:lnTo>
                  <a:lnTo>
                    <a:pt x="201" y="199"/>
                  </a:lnTo>
                  <a:lnTo>
                    <a:pt x="195" y="203"/>
                  </a:lnTo>
                  <a:lnTo>
                    <a:pt x="191" y="205"/>
                  </a:lnTo>
                  <a:lnTo>
                    <a:pt x="189" y="206"/>
                  </a:lnTo>
                  <a:lnTo>
                    <a:pt x="187" y="207"/>
                  </a:lnTo>
                  <a:lnTo>
                    <a:pt x="184" y="208"/>
                  </a:lnTo>
                  <a:lnTo>
                    <a:pt x="181" y="209"/>
                  </a:lnTo>
                  <a:lnTo>
                    <a:pt x="179" y="209"/>
                  </a:lnTo>
                  <a:lnTo>
                    <a:pt x="175" y="210"/>
                  </a:lnTo>
                  <a:lnTo>
                    <a:pt x="165" y="210"/>
                  </a:lnTo>
                  <a:lnTo>
                    <a:pt x="158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6" y="210"/>
                  </a:lnTo>
                  <a:lnTo>
                    <a:pt x="156" y="210"/>
                  </a:lnTo>
                  <a:lnTo>
                    <a:pt x="156" y="209"/>
                  </a:lnTo>
                  <a:lnTo>
                    <a:pt x="155" y="208"/>
                  </a:lnTo>
                  <a:lnTo>
                    <a:pt x="155" y="207"/>
                  </a:lnTo>
                  <a:lnTo>
                    <a:pt x="155" y="206"/>
                  </a:lnTo>
                  <a:lnTo>
                    <a:pt x="155" y="203"/>
                  </a:lnTo>
                  <a:lnTo>
                    <a:pt x="155" y="201"/>
                  </a:lnTo>
                  <a:lnTo>
                    <a:pt x="156" y="196"/>
                  </a:lnTo>
                  <a:lnTo>
                    <a:pt x="157" y="192"/>
                  </a:lnTo>
                  <a:lnTo>
                    <a:pt x="157" y="189"/>
                  </a:lnTo>
                  <a:lnTo>
                    <a:pt x="157" y="187"/>
                  </a:lnTo>
                  <a:lnTo>
                    <a:pt x="157" y="185"/>
                  </a:lnTo>
                  <a:lnTo>
                    <a:pt x="156" y="184"/>
                  </a:lnTo>
                  <a:lnTo>
                    <a:pt x="156" y="183"/>
                  </a:lnTo>
                  <a:lnTo>
                    <a:pt x="155" y="182"/>
                  </a:lnTo>
                  <a:lnTo>
                    <a:pt x="153" y="182"/>
                  </a:lnTo>
                  <a:lnTo>
                    <a:pt x="148" y="183"/>
                  </a:lnTo>
                  <a:lnTo>
                    <a:pt x="145" y="183"/>
                  </a:lnTo>
                  <a:lnTo>
                    <a:pt x="143" y="183"/>
                  </a:lnTo>
                  <a:lnTo>
                    <a:pt x="140" y="183"/>
                  </a:lnTo>
                  <a:lnTo>
                    <a:pt x="135" y="183"/>
                  </a:lnTo>
                  <a:lnTo>
                    <a:pt x="133" y="182"/>
                  </a:lnTo>
                  <a:lnTo>
                    <a:pt x="132" y="181"/>
                  </a:lnTo>
                  <a:lnTo>
                    <a:pt x="130" y="181"/>
                  </a:lnTo>
                  <a:lnTo>
                    <a:pt x="130" y="180"/>
                  </a:lnTo>
                  <a:lnTo>
                    <a:pt x="129" y="180"/>
                  </a:lnTo>
                  <a:lnTo>
                    <a:pt x="128" y="179"/>
                  </a:lnTo>
                  <a:lnTo>
                    <a:pt x="127" y="177"/>
                  </a:lnTo>
                  <a:lnTo>
                    <a:pt x="124" y="171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1" y="166"/>
                  </a:lnTo>
                  <a:lnTo>
                    <a:pt x="120" y="165"/>
                  </a:lnTo>
                  <a:lnTo>
                    <a:pt x="119" y="164"/>
                  </a:lnTo>
                  <a:lnTo>
                    <a:pt x="118" y="163"/>
                  </a:lnTo>
                  <a:lnTo>
                    <a:pt x="116" y="162"/>
                  </a:lnTo>
                  <a:lnTo>
                    <a:pt x="115" y="162"/>
                  </a:lnTo>
                  <a:lnTo>
                    <a:pt x="113" y="162"/>
                  </a:lnTo>
                  <a:lnTo>
                    <a:pt x="111" y="161"/>
                  </a:lnTo>
                  <a:lnTo>
                    <a:pt x="106" y="162"/>
                  </a:lnTo>
                  <a:lnTo>
                    <a:pt x="103" y="162"/>
                  </a:lnTo>
                  <a:lnTo>
                    <a:pt x="102" y="161"/>
                  </a:lnTo>
                  <a:lnTo>
                    <a:pt x="100" y="161"/>
                  </a:lnTo>
                  <a:lnTo>
                    <a:pt x="99" y="161"/>
                  </a:lnTo>
                  <a:lnTo>
                    <a:pt x="99" y="160"/>
                  </a:lnTo>
                  <a:lnTo>
                    <a:pt x="96" y="159"/>
                  </a:lnTo>
                  <a:lnTo>
                    <a:pt x="90" y="155"/>
                  </a:lnTo>
                  <a:lnTo>
                    <a:pt x="87" y="153"/>
                  </a:lnTo>
                  <a:lnTo>
                    <a:pt x="86" y="152"/>
                  </a:lnTo>
                  <a:lnTo>
                    <a:pt x="83" y="151"/>
                  </a:lnTo>
                  <a:lnTo>
                    <a:pt x="77" y="149"/>
                  </a:lnTo>
                  <a:lnTo>
                    <a:pt x="76" y="148"/>
                  </a:lnTo>
                  <a:lnTo>
                    <a:pt x="73" y="147"/>
                  </a:lnTo>
                  <a:lnTo>
                    <a:pt x="70" y="146"/>
                  </a:lnTo>
                  <a:lnTo>
                    <a:pt x="67" y="143"/>
                  </a:lnTo>
                  <a:lnTo>
                    <a:pt x="53" y="132"/>
                  </a:lnTo>
                  <a:lnTo>
                    <a:pt x="52" y="130"/>
                  </a:lnTo>
                  <a:lnTo>
                    <a:pt x="45" y="124"/>
                  </a:lnTo>
                  <a:lnTo>
                    <a:pt x="43" y="123"/>
                  </a:lnTo>
                  <a:lnTo>
                    <a:pt x="42" y="122"/>
                  </a:lnTo>
                  <a:lnTo>
                    <a:pt x="39" y="120"/>
                  </a:lnTo>
                  <a:lnTo>
                    <a:pt x="36" y="119"/>
                  </a:lnTo>
                  <a:lnTo>
                    <a:pt x="32" y="118"/>
                  </a:lnTo>
                  <a:lnTo>
                    <a:pt x="28" y="118"/>
                  </a:lnTo>
                  <a:lnTo>
                    <a:pt x="25" y="117"/>
                  </a:lnTo>
                  <a:lnTo>
                    <a:pt x="22" y="117"/>
                  </a:lnTo>
                  <a:lnTo>
                    <a:pt x="20" y="116"/>
                  </a:lnTo>
                  <a:lnTo>
                    <a:pt x="19" y="115"/>
                  </a:lnTo>
                  <a:lnTo>
                    <a:pt x="17" y="113"/>
                  </a:lnTo>
                  <a:lnTo>
                    <a:pt x="14" y="112"/>
                  </a:lnTo>
                  <a:lnTo>
                    <a:pt x="11" y="109"/>
                  </a:lnTo>
                  <a:lnTo>
                    <a:pt x="9" y="105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2" y="95"/>
                  </a:lnTo>
                  <a:lnTo>
                    <a:pt x="1" y="93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0" y="80"/>
                  </a:lnTo>
                  <a:lnTo>
                    <a:pt x="1" y="78"/>
                  </a:lnTo>
                  <a:lnTo>
                    <a:pt x="2" y="74"/>
                  </a:lnTo>
                  <a:lnTo>
                    <a:pt x="2" y="72"/>
                  </a:lnTo>
                  <a:lnTo>
                    <a:pt x="7" y="62"/>
                  </a:lnTo>
                  <a:lnTo>
                    <a:pt x="8" y="57"/>
                  </a:lnTo>
                  <a:lnTo>
                    <a:pt x="9" y="54"/>
                  </a:lnTo>
                  <a:lnTo>
                    <a:pt x="10" y="48"/>
                  </a:lnTo>
                  <a:lnTo>
                    <a:pt x="11" y="39"/>
                  </a:lnTo>
                  <a:lnTo>
                    <a:pt x="11" y="36"/>
                  </a:lnTo>
                  <a:lnTo>
                    <a:pt x="12" y="34"/>
                  </a:lnTo>
                  <a:lnTo>
                    <a:pt x="13" y="32"/>
                  </a:lnTo>
                  <a:lnTo>
                    <a:pt x="13" y="30"/>
                  </a:lnTo>
                  <a:lnTo>
                    <a:pt x="14" y="29"/>
                  </a:lnTo>
                  <a:lnTo>
                    <a:pt x="15" y="27"/>
                  </a:lnTo>
                  <a:lnTo>
                    <a:pt x="16" y="26"/>
                  </a:lnTo>
                  <a:lnTo>
                    <a:pt x="17" y="24"/>
                  </a:lnTo>
                  <a:lnTo>
                    <a:pt x="18" y="23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2" y="21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6" y="24"/>
                  </a:lnTo>
                  <a:lnTo>
                    <a:pt x="39" y="25"/>
                  </a:lnTo>
                  <a:lnTo>
                    <a:pt x="42" y="28"/>
                  </a:lnTo>
                  <a:lnTo>
                    <a:pt x="44" y="30"/>
                  </a:lnTo>
                  <a:lnTo>
                    <a:pt x="47" y="33"/>
                  </a:lnTo>
                  <a:lnTo>
                    <a:pt x="49" y="35"/>
                  </a:lnTo>
                  <a:lnTo>
                    <a:pt x="51" y="36"/>
                  </a:lnTo>
                  <a:lnTo>
                    <a:pt x="52" y="38"/>
                  </a:lnTo>
                  <a:lnTo>
                    <a:pt x="55" y="44"/>
                  </a:lnTo>
                  <a:lnTo>
                    <a:pt x="56" y="47"/>
                  </a:lnTo>
                  <a:lnTo>
                    <a:pt x="59" y="50"/>
                  </a:lnTo>
                  <a:lnTo>
                    <a:pt x="62" y="53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6" y="56"/>
                  </a:lnTo>
                  <a:lnTo>
                    <a:pt x="67" y="57"/>
                  </a:lnTo>
                  <a:lnTo>
                    <a:pt x="69" y="57"/>
                  </a:lnTo>
                  <a:lnTo>
                    <a:pt x="70" y="57"/>
                  </a:lnTo>
                  <a:lnTo>
                    <a:pt x="71" y="57"/>
                  </a:lnTo>
                  <a:lnTo>
                    <a:pt x="72" y="57"/>
                  </a:lnTo>
                  <a:lnTo>
                    <a:pt x="73" y="56"/>
                  </a:lnTo>
                  <a:lnTo>
                    <a:pt x="76" y="53"/>
                  </a:lnTo>
                  <a:lnTo>
                    <a:pt x="77" y="52"/>
                  </a:lnTo>
                  <a:lnTo>
                    <a:pt x="78" y="51"/>
                  </a:lnTo>
                  <a:lnTo>
                    <a:pt x="82" y="49"/>
                  </a:lnTo>
                  <a:lnTo>
                    <a:pt x="86" y="47"/>
                  </a:lnTo>
                  <a:lnTo>
                    <a:pt x="88" y="46"/>
                  </a:lnTo>
                  <a:lnTo>
                    <a:pt x="90" y="45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3" y="44"/>
                  </a:lnTo>
                  <a:lnTo>
                    <a:pt x="94" y="42"/>
                  </a:lnTo>
                  <a:lnTo>
                    <a:pt x="95" y="39"/>
                  </a:lnTo>
                  <a:lnTo>
                    <a:pt x="96" y="36"/>
                  </a:lnTo>
                  <a:lnTo>
                    <a:pt x="97" y="35"/>
                  </a:lnTo>
                  <a:lnTo>
                    <a:pt x="98" y="33"/>
                  </a:lnTo>
                  <a:lnTo>
                    <a:pt x="99" y="31"/>
                  </a:lnTo>
                  <a:lnTo>
                    <a:pt x="101" y="29"/>
                  </a:lnTo>
                  <a:lnTo>
                    <a:pt x="104" y="26"/>
                  </a:lnTo>
                  <a:lnTo>
                    <a:pt x="107" y="23"/>
                  </a:lnTo>
                  <a:lnTo>
                    <a:pt x="114" y="15"/>
                  </a:lnTo>
                  <a:lnTo>
                    <a:pt x="117" y="12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6" y="3"/>
                  </a:lnTo>
                  <a:close/>
                </a:path>
              </a:pathLst>
            </a:custGeom>
            <a:solidFill>
              <a:srgbClr val="296A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5" name="Freeform 62">
              <a:extLst>
                <a:ext uri="{FF2B5EF4-FFF2-40B4-BE49-F238E27FC236}">
                  <a16:creationId xmlns:a16="http://schemas.microsoft.com/office/drawing/2014/main" id="{C4AC5CA6-D3A0-46FD-9F5A-0F5A25C70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9" y="2837"/>
              <a:ext cx="492" cy="701"/>
            </a:xfrm>
            <a:custGeom>
              <a:avLst/>
              <a:gdLst>
                <a:gd name="T0" fmla="*/ 180 w 492"/>
                <a:gd name="T1" fmla="*/ 39 h 701"/>
                <a:gd name="T2" fmla="*/ 222 w 492"/>
                <a:gd name="T3" fmla="*/ 85 h 701"/>
                <a:gd name="T4" fmla="*/ 242 w 492"/>
                <a:gd name="T5" fmla="*/ 134 h 701"/>
                <a:gd name="T6" fmla="*/ 263 w 492"/>
                <a:gd name="T7" fmla="*/ 185 h 701"/>
                <a:gd name="T8" fmla="*/ 317 w 492"/>
                <a:gd name="T9" fmla="*/ 179 h 701"/>
                <a:gd name="T10" fmla="*/ 334 w 492"/>
                <a:gd name="T11" fmla="*/ 219 h 701"/>
                <a:gd name="T12" fmla="*/ 311 w 492"/>
                <a:gd name="T13" fmla="*/ 215 h 701"/>
                <a:gd name="T14" fmla="*/ 267 w 492"/>
                <a:gd name="T15" fmla="*/ 251 h 701"/>
                <a:gd name="T16" fmla="*/ 238 w 492"/>
                <a:gd name="T17" fmla="*/ 268 h 701"/>
                <a:gd name="T18" fmla="*/ 199 w 492"/>
                <a:gd name="T19" fmla="*/ 233 h 701"/>
                <a:gd name="T20" fmla="*/ 180 w 492"/>
                <a:gd name="T21" fmla="*/ 269 h 701"/>
                <a:gd name="T22" fmla="*/ 189 w 492"/>
                <a:gd name="T23" fmla="*/ 325 h 701"/>
                <a:gd name="T24" fmla="*/ 248 w 492"/>
                <a:gd name="T25" fmla="*/ 360 h 701"/>
                <a:gd name="T26" fmla="*/ 290 w 492"/>
                <a:gd name="T27" fmla="*/ 375 h 701"/>
                <a:gd name="T28" fmla="*/ 317 w 492"/>
                <a:gd name="T29" fmla="*/ 395 h 701"/>
                <a:gd name="T30" fmla="*/ 328 w 492"/>
                <a:gd name="T31" fmla="*/ 422 h 701"/>
                <a:gd name="T32" fmla="*/ 381 w 492"/>
                <a:gd name="T33" fmla="*/ 402 h 701"/>
                <a:gd name="T34" fmla="*/ 380 w 492"/>
                <a:gd name="T35" fmla="*/ 344 h 701"/>
                <a:gd name="T36" fmla="*/ 394 w 492"/>
                <a:gd name="T37" fmla="*/ 278 h 701"/>
                <a:gd name="T38" fmla="*/ 362 w 492"/>
                <a:gd name="T39" fmla="*/ 293 h 701"/>
                <a:gd name="T40" fmla="*/ 326 w 492"/>
                <a:gd name="T41" fmla="*/ 245 h 701"/>
                <a:gd name="T42" fmla="*/ 332 w 492"/>
                <a:gd name="T43" fmla="*/ 221 h 701"/>
                <a:gd name="T44" fmla="*/ 351 w 492"/>
                <a:gd name="T45" fmla="*/ 200 h 701"/>
                <a:gd name="T46" fmla="*/ 393 w 492"/>
                <a:gd name="T47" fmla="*/ 210 h 701"/>
                <a:gd name="T48" fmla="*/ 469 w 492"/>
                <a:gd name="T49" fmla="*/ 211 h 701"/>
                <a:gd name="T50" fmla="*/ 465 w 492"/>
                <a:gd name="T51" fmla="*/ 238 h 701"/>
                <a:gd name="T52" fmla="*/ 490 w 492"/>
                <a:gd name="T53" fmla="*/ 287 h 701"/>
                <a:gd name="T54" fmla="*/ 479 w 492"/>
                <a:gd name="T55" fmla="*/ 332 h 701"/>
                <a:gd name="T56" fmla="*/ 456 w 492"/>
                <a:gd name="T57" fmla="*/ 358 h 701"/>
                <a:gd name="T58" fmla="*/ 435 w 492"/>
                <a:gd name="T59" fmla="*/ 422 h 701"/>
                <a:gd name="T60" fmla="*/ 453 w 492"/>
                <a:gd name="T61" fmla="*/ 457 h 701"/>
                <a:gd name="T62" fmla="*/ 437 w 492"/>
                <a:gd name="T63" fmla="*/ 520 h 701"/>
                <a:gd name="T64" fmla="*/ 381 w 492"/>
                <a:gd name="T65" fmla="*/ 521 h 701"/>
                <a:gd name="T66" fmla="*/ 325 w 492"/>
                <a:gd name="T67" fmla="*/ 610 h 701"/>
                <a:gd name="T68" fmla="*/ 318 w 492"/>
                <a:gd name="T69" fmla="*/ 678 h 701"/>
                <a:gd name="T70" fmla="*/ 299 w 492"/>
                <a:gd name="T71" fmla="*/ 700 h 701"/>
                <a:gd name="T72" fmla="*/ 269 w 492"/>
                <a:gd name="T73" fmla="*/ 685 h 701"/>
                <a:gd name="T74" fmla="*/ 214 w 492"/>
                <a:gd name="T75" fmla="*/ 679 h 701"/>
                <a:gd name="T76" fmla="*/ 177 w 492"/>
                <a:gd name="T77" fmla="*/ 686 h 701"/>
                <a:gd name="T78" fmla="*/ 164 w 492"/>
                <a:gd name="T79" fmla="*/ 643 h 701"/>
                <a:gd name="T80" fmla="*/ 163 w 492"/>
                <a:gd name="T81" fmla="*/ 615 h 701"/>
                <a:gd name="T82" fmla="*/ 176 w 492"/>
                <a:gd name="T83" fmla="*/ 551 h 701"/>
                <a:gd name="T84" fmla="*/ 178 w 492"/>
                <a:gd name="T85" fmla="*/ 506 h 701"/>
                <a:gd name="T86" fmla="*/ 123 w 492"/>
                <a:gd name="T87" fmla="*/ 498 h 701"/>
                <a:gd name="T88" fmla="*/ 65 w 492"/>
                <a:gd name="T89" fmla="*/ 472 h 701"/>
                <a:gd name="T90" fmla="*/ 28 w 492"/>
                <a:gd name="T91" fmla="*/ 447 h 701"/>
                <a:gd name="T92" fmla="*/ 1 w 492"/>
                <a:gd name="T93" fmla="*/ 408 h 701"/>
                <a:gd name="T94" fmla="*/ 20 w 492"/>
                <a:gd name="T95" fmla="*/ 389 h 701"/>
                <a:gd name="T96" fmla="*/ 34 w 492"/>
                <a:gd name="T97" fmla="*/ 355 h 701"/>
                <a:gd name="T98" fmla="*/ 39 w 492"/>
                <a:gd name="T99" fmla="*/ 323 h 701"/>
                <a:gd name="T100" fmla="*/ 29 w 492"/>
                <a:gd name="T101" fmla="*/ 268 h 701"/>
                <a:gd name="T102" fmla="*/ 42 w 492"/>
                <a:gd name="T103" fmla="*/ 241 h 701"/>
                <a:gd name="T104" fmla="*/ 55 w 492"/>
                <a:gd name="T105" fmla="*/ 199 h 701"/>
                <a:gd name="T106" fmla="*/ 30 w 492"/>
                <a:gd name="T107" fmla="*/ 178 h 701"/>
                <a:gd name="T108" fmla="*/ 9 w 492"/>
                <a:gd name="T109" fmla="*/ 149 h 701"/>
                <a:gd name="T110" fmla="*/ 16 w 492"/>
                <a:gd name="T111" fmla="*/ 97 h 701"/>
                <a:gd name="T112" fmla="*/ 51 w 492"/>
                <a:gd name="T113" fmla="*/ 56 h 701"/>
                <a:gd name="T114" fmla="*/ 83 w 492"/>
                <a:gd name="T115" fmla="*/ 38 h 701"/>
                <a:gd name="T116" fmla="*/ 74 w 492"/>
                <a:gd name="T117" fmla="*/ 18 h 701"/>
                <a:gd name="T118" fmla="*/ 105 w 492"/>
                <a:gd name="T119" fmla="*/ 24 h 701"/>
                <a:gd name="T120" fmla="*/ 131 w 492"/>
                <a:gd name="T121" fmla="*/ 2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92" h="701">
                  <a:moveTo>
                    <a:pt x="151" y="3"/>
                  </a:moveTo>
                  <a:lnTo>
                    <a:pt x="155" y="4"/>
                  </a:lnTo>
                  <a:lnTo>
                    <a:pt x="158" y="5"/>
                  </a:lnTo>
                  <a:lnTo>
                    <a:pt x="162" y="6"/>
                  </a:lnTo>
                  <a:lnTo>
                    <a:pt x="165" y="7"/>
                  </a:lnTo>
                  <a:lnTo>
                    <a:pt x="168" y="8"/>
                  </a:lnTo>
                  <a:lnTo>
                    <a:pt x="169" y="10"/>
                  </a:lnTo>
                  <a:lnTo>
                    <a:pt x="171" y="11"/>
                  </a:lnTo>
                  <a:lnTo>
                    <a:pt x="173" y="13"/>
                  </a:lnTo>
                  <a:lnTo>
                    <a:pt x="175" y="18"/>
                  </a:lnTo>
                  <a:lnTo>
                    <a:pt x="176" y="20"/>
                  </a:lnTo>
                  <a:lnTo>
                    <a:pt x="177" y="23"/>
                  </a:lnTo>
                  <a:lnTo>
                    <a:pt x="178" y="27"/>
                  </a:lnTo>
                  <a:lnTo>
                    <a:pt x="178" y="29"/>
                  </a:lnTo>
                  <a:lnTo>
                    <a:pt x="179" y="34"/>
                  </a:lnTo>
                  <a:lnTo>
                    <a:pt x="179" y="38"/>
                  </a:lnTo>
                  <a:lnTo>
                    <a:pt x="180" y="39"/>
                  </a:lnTo>
                  <a:lnTo>
                    <a:pt x="180" y="41"/>
                  </a:lnTo>
                  <a:lnTo>
                    <a:pt x="180" y="42"/>
                  </a:lnTo>
                  <a:lnTo>
                    <a:pt x="181" y="43"/>
                  </a:lnTo>
                  <a:lnTo>
                    <a:pt x="182" y="45"/>
                  </a:lnTo>
                  <a:lnTo>
                    <a:pt x="184" y="46"/>
                  </a:lnTo>
                  <a:lnTo>
                    <a:pt x="186" y="47"/>
                  </a:lnTo>
                  <a:lnTo>
                    <a:pt x="191" y="48"/>
                  </a:lnTo>
                  <a:lnTo>
                    <a:pt x="192" y="49"/>
                  </a:lnTo>
                  <a:lnTo>
                    <a:pt x="194" y="51"/>
                  </a:lnTo>
                  <a:lnTo>
                    <a:pt x="197" y="52"/>
                  </a:lnTo>
                  <a:lnTo>
                    <a:pt x="202" y="56"/>
                  </a:lnTo>
                  <a:lnTo>
                    <a:pt x="206" y="62"/>
                  </a:lnTo>
                  <a:lnTo>
                    <a:pt x="211" y="67"/>
                  </a:lnTo>
                  <a:lnTo>
                    <a:pt x="214" y="72"/>
                  </a:lnTo>
                  <a:lnTo>
                    <a:pt x="216" y="75"/>
                  </a:lnTo>
                  <a:lnTo>
                    <a:pt x="221" y="83"/>
                  </a:lnTo>
                  <a:lnTo>
                    <a:pt x="222" y="85"/>
                  </a:lnTo>
                  <a:lnTo>
                    <a:pt x="224" y="87"/>
                  </a:lnTo>
                  <a:lnTo>
                    <a:pt x="225" y="90"/>
                  </a:lnTo>
                  <a:lnTo>
                    <a:pt x="226" y="92"/>
                  </a:lnTo>
                  <a:lnTo>
                    <a:pt x="234" y="99"/>
                  </a:lnTo>
                  <a:lnTo>
                    <a:pt x="236" y="103"/>
                  </a:lnTo>
                  <a:lnTo>
                    <a:pt x="238" y="106"/>
                  </a:lnTo>
                  <a:lnTo>
                    <a:pt x="239" y="108"/>
                  </a:lnTo>
                  <a:lnTo>
                    <a:pt x="240" y="109"/>
                  </a:lnTo>
                  <a:lnTo>
                    <a:pt x="241" y="112"/>
                  </a:lnTo>
                  <a:lnTo>
                    <a:pt x="241" y="114"/>
                  </a:lnTo>
                  <a:lnTo>
                    <a:pt x="241" y="115"/>
                  </a:lnTo>
                  <a:lnTo>
                    <a:pt x="241" y="117"/>
                  </a:lnTo>
                  <a:lnTo>
                    <a:pt x="241" y="122"/>
                  </a:lnTo>
                  <a:lnTo>
                    <a:pt x="241" y="126"/>
                  </a:lnTo>
                  <a:lnTo>
                    <a:pt x="241" y="130"/>
                  </a:lnTo>
                  <a:lnTo>
                    <a:pt x="242" y="132"/>
                  </a:lnTo>
                  <a:lnTo>
                    <a:pt x="242" y="134"/>
                  </a:lnTo>
                  <a:lnTo>
                    <a:pt x="242" y="136"/>
                  </a:lnTo>
                  <a:lnTo>
                    <a:pt x="245" y="143"/>
                  </a:lnTo>
                  <a:lnTo>
                    <a:pt x="246" y="144"/>
                  </a:lnTo>
                  <a:lnTo>
                    <a:pt x="247" y="146"/>
                  </a:lnTo>
                  <a:lnTo>
                    <a:pt x="247" y="148"/>
                  </a:lnTo>
                  <a:lnTo>
                    <a:pt x="247" y="150"/>
                  </a:lnTo>
                  <a:lnTo>
                    <a:pt x="248" y="159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8" y="165"/>
                  </a:lnTo>
                  <a:lnTo>
                    <a:pt x="250" y="167"/>
                  </a:lnTo>
                  <a:lnTo>
                    <a:pt x="252" y="170"/>
                  </a:lnTo>
                  <a:lnTo>
                    <a:pt x="257" y="177"/>
                  </a:lnTo>
                  <a:lnTo>
                    <a:pt x="259" y="178"/>
                  </a:lnTo>
                  <a:lnTo>
                    <a:pt x="261" y="182"/>
                  </a:lnTo>
                  <a:lnTo>
                    <a:pt x="262" y="184"/>
                  </a:lnTo>
                  <a:lnTo>
                    <a:pt x="263" y="185"/>
                  </a:lnTo>
                  <a:lnTo>
                    <a:pt x="265" y="187"/>
                  </a:lnTo>
                  <a:lnTo>
                    <a:pt x="267" y="188"/>
                  </a:lnTo>
                  <a:lnTo>
                    <a:pt x="268" y="189"/>
                  </a:lnTo>
                  <a:lnTo>
                    <a:pt x="270" y="189"/>
                  </a:lnTo>
                  <a:lnTo>
                    <a:pt x="271" y="190"/>
                  </a:lnTo>
                  <a:lnTo>
                    <a:pt x="273" y="190"/>
                  </a:lnTo>
                  <a:lnTo>
                    <a:pt x="275" y="190"/>
                  </a:lnTo>
                  <a:lnTo>
                    <a:pt x="278" y="190"/>
                  </a:lnTo>
                  <a:lnTo>
                    <a:pt x="281" y="190"/>
                  </a:lnTo>
                  <a:lnTo>
                    <a:pt x="284" y="189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6" y="186"/>
                  </a:lnTo>
                  <a:lnTo>
                    <a:pt x="310" y="181"/>
                  </a:lnTo>
                  <a:lnTo>
                    <a:pt x="313" y="180"/>
                  </a:lnTo>
                  <a:lnTo>
                    <a:pt x="315" y="179"/>
                  </a:lnTo>
                  <a:lnTo>
                    <a:pt x="317" y="179"/>
                  </a:lnTo>
                  <a:lnTo>
                    <a:pt x="319" y="178"/>
                  </a:lnTo>
                  <a:lnTo>
                    <a:pt x="321" y="179"/>
                  </a:lnTo>
                  <a:lnTo>
                    <a:pt x="323" y="179"/>
                  </a:lnTo>
                  <a:lnTo>
                    <a:pt x="324" y="180"/>
                  </a:lnTo>
                  <a:lnTo>
                    <a:pt x="325" y="181"/>
                  </a:lnTo>
                  <a:lnTo>
                    <a:pt x="326" y="182"/>
                  </a:lnTo>
                  <a:lnTo>
                    <a:pt x="327" y="184"/>
                  </a:lnTo>
                  <a:lnTo>
                    <a:pt x="328" y="185"/>
                  </a:lnTo>
                  <a:lnTo>
                    <a:pt x="328" y="187"/>
                  </a:lnTo>
                  <a:lnTo>
                    <a:pt x="329" y="189"/>
                  </a:lnTo>
                  <a:lnTo>
                    <a:pt x="330" y="191"/>
                  </a:lnTo>
                  <a:lnTo>
                    <a:pt x="332" y="198"/>
                  </a:lnTo>
                  <a:lnTo>
                    <a:pt x="334" y="205"/>
                  </a:lnTo>
                  <a:lnTo>
                    <a:pt x="335" y="209"/>
                  </a:lnTo>
                  <a:lnTo>
                    <a:pt x="336" y="213"/>
                  </a:lnTo>
                  <a:lnTo>
                    <a:pt x="336" y="220"/>
                  </a:lnTo>
                  <a:lnTo>
                    <a:pt x="334" y="219"/>
                  </a:lnTo>
                  <a:lnTo>
                    <a:pt x="332" y="218"/>
                  </a:lnTo>
                  <a:lnTo>
                    <a:pt x="326" y="214"/>
                  </a:lnTo>
                  <a:lnTo>
                    <a:pt x="324" y="213"/>
                  </a:lnTo>
                  <a:lnTo>
                    <a:pt x="323" y="212"/>
                  </a:lnTo>
                  <a:lnTo>
                    <a:pt x="322" y="213"/>
                  </a:lnTo>
                  <a:lnTo>
                    <a:pt x="321" y="214"/>
                  </a:lnTo>
                  <a:lnTo>
                    <a:pt x="321" y="216"/>
                  </a:lnTo>
                  <a:lnTo>
                    <a:pt x="320" y="218"/>
                  </a:lnTo>
                  <a:lnTo>
                    <a:pt x="320" y="219"/>
                  </a:lnTo>
                  <a:lnTo>
                    <a:pt x="319" y="221"/>
                  </a:lnTo>
                  <a:lnTo>
                    <a:pt x="317" y="221"/>
                  </a:lnTo>
                  <a:lnTo>
                    <a:pt x="316" y="221"/>
                  </a:lnTo>
                  <a:lnTo>
                    <a:pt x="316" y="220"/>
                  </a:lnTo>
                  <a:lnTo>
                    <a:pt x="315" y="217"/>
                  </a:lnTo>
                  <a:lnTo>
                    <a:pt x="314" y="216"/>
                  </a:lnTo>
                  <a:lnTo>
                    <a:pt x="313" y="216"/>
                  </a:lnTo>
                  <a:lnTo>
                    <a:pt x="311" y="215"/>
                  </a:lnTo>
                  <a:lnTo>
                    <a:pt x="310" y="215"/>
                  </a:lnTo>
                  <a:lnTo>
                    <a:pt x="308" y="215"/>
                  </a:lnTo>
                  <a:lnTo>
                    <a:pt x="304" y="216"/>
                  </a:lnTo>
                  <a:lnTo>
                    <a:pt x="302" y="216"/>
                  </a:lnTo>
                  <a:lnTo>
                    <a:pt x="300" y="216"/>
                  </a:lnTo>
                  <a:lnTo>
                    <a:pt x="299" y="215"/>
                  </a:lnTo>
                  <a:lnTo>
                    <a:pt x="298" y="215"/>
                  </a:lnTo>
                  <a:lnTo>
                    <a:pt x="289" y="224"/>
                  </a:lnTo>
                  <a:lnTo>
                    <a:pt x="286" y="227"/>
                  </a:lnTo>
                  <a:lnTo>
                    <a:pt x="279" y="235"/>
                  </a:lnTo>
                  <a:lnTo>
                    <a:pt x="276" y="238"/>
                  </a:lnTo>
                  <a:lnTo>
                    <a:pt x="273" y="241"/>
                  </a:lnTo>
                  <a:lnTo>
                    <a:pt x="271" y="243"/>
                  </a:lnTo>
                  <a:lnTo>
                    <a:pt x="270" y="245"/>
                  </a:lnTo>
                  <a:lnTo>
                    <a:pt x="269" y="247"/>
                  </a:lnTo>
                  <a:lnTo>
                    <a:pt x="268" y="248"/>
                  </a:lnTo>
                  <a:lnTo>
                    <a:pt x="267" y="251"/>
                  </a:lnTo>
                  <a:lnTo>
                    <a:pt x="266" y="254"/>
                  </a:lnTo>
                  <a:lnTo>
                    <a:pt x="265" y="256"/>
                  </a:lnTo>
                  <a:lnTo>
                    <a:pt x="264" y="256"/>
                  </a:lnTo>
                  <a:lnTo>
                    <a:pt x="262" y="257"/>
                  </a:lnTo>
                  <a:lnTo>
                    <a:pt x="260" y="258"/>
                  </a:lnTo>
                  <a:lnTo>
                    <a:pt x="258" y="259"/>
                  </a:lnTo>
                  <a:lnTo>
                    <a:pt x="254" y="261"/>
                  </a:lnTo>
                  <a:lnTo>
                    <a:pt x="250" y="263"/>
                  </a:lnTo>
                  <a:lnTo>
                    <a:pt x="249" y="264"/>
                  </a:lnTo>
                  <a:lnTo>
                    <a:pt x="248" y="265"/>
                  </a:lnTo>
                  <a:lnTo>
                    <a:pt x="245" y="268"/>
                  </a:lnTo>
                  <a:lnTo>
                    <a:pt x="244" y="269"/>
                  </a:lnTo>
                  <a:lnTo>
                    <a:pt x="243" y="269"/>
                  </a:lnTo>
                  <a:lnTo>
                    <a:pt x="242" y="269"/>
                  </a:lnTo>
                  <a:lnTo>
                    <a:pt x="241" y="269"/>
                  </a:lnTo>
                  <a:lnTo>
                    <a:pt x="239" y="269"/>
                  </a:lnTo>
                  <a:lnTo>
                    <a:pt x="238" y="268"/>
                  </a:lnTo>
                  <a:lnTo>
                    <a:pt x="237" y="268"/>
                  </a:lnTo>
                  <a:lnTo>
                    <a:pt x="237" y="268"/>
                  </a:lnTo>
                  <a:lnTo>
                    <a:pt x="234" y="265"/>
                  </a:lnTo>
                  <a:lnTo>
                    <a:pt x="231" y="262"/>
                  </a:lnTo>
                  <a:lnTo>
                    <a:pt x="228" y="259"/>
                  </a:lnTo>
                  <a:lnTo>
                    <a:pt x="227" y="256"/>
                  </a:lnTo>
                  <a:lnTo>
                    <a:pt x="224" y="250"/>
                  </a:lnTo>
                  <a:lnTo>
                    <a:pt x="223" y="248"/>
                  </a:lnTo>
                  <a:lnTo>
                    <a:pt x="221" y="247"/>
                  </a:lnTo>
                  <a:lnTo>
                    <a:pt x="219" y="245"/>
                  </a:lnTo>
                  <a:lnTo>
                    <a:pt x="216" y="242"/>
                  </a:lnTo>
                  <a:lnTo>
                    <a:pt x="214" y="240"/>
                  </a:lnTo>
                  <a:lnTo>
                    <a:pt x="211" y="237"/>
                  </a:lnTo>
                  <a:lnTo>
                    <a:pt x="208" y="236"/>
                  </a:lnTo>
                  <a:lnTo>
                    <a:pt x="205" y="234"/>
                  </a:lnTo>
                  <a:lnTo>
                    <a:pt x="203" y="234"/>
                  </a:lnTo>
                  <a:lnTo>
                    <a:pt x="199" y="233"/>
                  </a:lnTo>
                  <a:lnTo>
                    <a:pt x="196" y="233"/>
                  </a:lnTo>
                  <a:lnTo>
                    <a:pt x="194" y="233"/>
                  </a:lnTo>
                  <a:lnTo>
                    <a:pt x="192" y="234"/>
                  </a:lnTo>
                  <a:lnTo>
                    <a:pt x="191" y="234"/>
                  </a:lnTo>
                  <a:lnTo>
                    <a:pt x="190" y="235"/>
                  </a:lnTo>
                  <a:lnTo>
                    <a:pt x="189" y="236"/>
                  </a:lnTo>
                  <a:lnTo>
                    <a:pt x="188" y="238"/>
                  </a:lnTo>
                  <a:lnTo>
                    <a:pt x="187" y="239"/>
                  </a:lnTo>
                  <a:lnTo>
                    <a:pt x="186" y="241"/>
                  </a:lnTo>
                  <a:lnTo>
                    <a:pt x="185" y="242"/>
                  </a:lnTo>
                  <a:lnTo>
                    <a:pt x="185" y="244"/>
                  </a:lnTo>
                  <a:lnTo>
                    <a:pt x="184" y="246"/>
                  </a:lnTo>
                  <a:lnTo>
                    <a:pt x="183" y="248"/>
                  </a:lnTo>
                  <a:lnTo>
                    <a:pt x="183" y="251"/>
                  </a:lnTo>
                  <a:lnTo>
                    <a:pt x="182" y="260"/>
                  </a:lnTo>
                  <a:lnTo>
                    <a:pt x="181" y="266"/>
                  </a:lnTo>
                  <a:lnTo>
                    <a:pt x="180" y="269"/>
                  </a:lnTo>
                  <a:lnTo>
                    <a:pt x="179" y="274"/>
                  </a:lnTo>
                  <a:lnTo>
                    <a:pt x="174" y="284"/>
                  </a:lnTo>
                  <a:lnTo>
                    <a:pt x="174" y="286"/>
                  </a:lnTo>
                  <a:lnTo>
                    <a:pt x="173" y="290"/>
                  </a:lnTo>
                  <a:lnTo>
                    <a:pt x="172" y="292"/>
                  </a:lnTo>
                  <a:lnTo>
                    <a:pt x="172" y="297"/>
                  </a:lnTo>
                  <a:lnTo>
                    <a:pt x="172" y="300"/>
                  </a:lnTo>
                  <a:lnTo>
                    <a:pt x="172" y="302"/>
                  </a:lnTo>
                  <a:lnTo>
                    <a:pt x="172" y="303"/>
                  </a:lnTo>
                  <a:lnTo>
                    <a:pt x="173" y="305"/>
                  </a:lnTo>
                  <a:lnTo>
                    <a:pt x="174" y="307"/>
                  </a:lnTo>
                  <a:lnTo>
                    <a:pt x="175" y="309"/>
                  </a:lnTo>
                  <a:lnTo>
                    <a:pt x="177" y="312"/>
                  </a:lnTo>
                  <a:lnTo>
                    <a:pt x="181" y="317"/>
                  </a:lnTo>
                  <a:lnTo>
                    <a:pt x="183" y="321"/>
                  </a:lnTo>
                  <a:lnTo>
                    <a:pt x="186" y="324"/>
                  </a:lnTo>
                  <a:lnTo>
                    <a:pt x="189" y="325"/>
                  </a:lnTo>
                  <a:lnTo>
                    <a:pt x="191" y="327"/>
                  </a:lnTo>
                  <a:lnTo>
                    <a:pt x="192" y="328"/>
                  </a:lnTo>
                  <a:lnTo>
                    <a:pt x="194" y="329"/>
                  </a:lnTo>
                  <a:lnTo>
                    <a:pt x="197" y="329"/>
                  </a:lnTo>
                  <a:lnTo>
                    <a:pt x="200" y="330"/>
                  </a:lnTo>
                  <a:lnTo>
                    <a:pt x="204" y="330"/>
                  </a:lnTo>
                  <a:lnTo>
                    <a:pt x="208" y="331"/>
                  </a:lnTo>
                  <a:lnTo>
                    <a:pt x="211" y="332"/>
                  </a:lnTo>
                  <a:lnTo>
                    <a:pt x="214" y="334"/>
                  </a:lnTo>
                  <a:lnTo>
                    <a:pt x="215" y="335"/>
                  </a:lnTo>
                  <a:lnTo>
                    <a:pt x="217" y="336"/>
                  </a:lnTo>
                  <a:lnTo>
                    <a:pt x="224" y="342"/>
                  </a:lnTo>
                  <a:lnTo>
                    <a:pt x="225" y="344"/>
                  </a:lnTo>
                  <a:lnTo>
                    <a:pt x="239" y="355"/>
                  </a:lnTo>
                  <a:lnTo>
                    <a:pt x="242" y="358"/>
                  </a:lnTo>
                  <a:lnTo>
                    <a:pt x="245" y="359"/>
                  </a:lnTo>
                  <a:lnTo>
                    <a:pt x="248" y="360"/>
                  </a:lnTo>
                  <a:lnTo>
                    <a:pt x="249" y="361"/>
                  </a:lnTo>
                  <a:lnTo>
                    <a:pt x="255" y="363"/>
                  </a:lnTo>
                  <a:lnTo>
                    <a:pt x="258" y="364"/>
                  </a:lnTo>
                  <a:lnTo>
                    <a:pt x="259" y="365"/>
                  </a:lnTo>
                  <a:lnTo>
                    <a:pt x="262" y="367"/>
                  </a:lnTo>
                  <a:lnTo>
                    <a:pt x="268" y="371"/>
                  </a:lnTo>
                  <a:lnTo>
                    <a:pt x="271" y="372"/>
                  </a:lnTo>
                  <a:lnTo>
                    <a:pt x="271" y="373"/>
                  </a:lnTo>
                  <a:lnTo>
                    <a:pt x="272" y="373"/>
                  </a:lnTo>
                  <a:lnTo>
                    <a:pt x="274" y="373"/>
                  </a:lnTo>
                  <a:lnTo>
                    <a:pt x="275" y="374"/>
                  </a:lnTo>
                  <a:lnTo>
                    <a:pt x="278" y="374"/>
                  </a:lnTo>
                  <a:lnTo>
                    <a:pt x="283" y="373"/>
                  </a:lnTo>
                  <a:lnTo>
                    <a:pt x="285" y="374"/>
                  </a:lnTo>
                  <a:lnTo>
                    <a:pt x="287" y="374"/>
                  </a:lnTo>
                  <a:lnTo>
                    <a:pt x="288" y="374"/>
                  </a:lnTo>
                  <a:lnTo>
                    <a:pt x="290" y="375"/>
                  </a:lnTo>
                  <a:lnTo>
                    <a:pt x="291" y="376"/>
                  </a:lnTo>
                  <a:lnTo>
                    <a:pt x="292" y="377"/>
                  </a:lnTo>
                  <a:lnTo>
                    <a:pt x="293" y="378"/>
                  </a:lnTo>
                  <a:lnTo>
                    <a:pt x="294" y="379"/>
                  </a:lnTo>
                  <a:lnTo>
                    <a:pt x="294" y="380"/>
                  </a:lnTo>
                  <a:lnTo>
                    <a:pt x="296" y="383"/>
                  </a:lnTo>
                  <a:lnTo>
                    <a:pt x="299" y="389"/>
                  </a:lnTo>
                  <a:lnTo>
                    <a:pt x="300" y="391"/>
                  </a:lnTo>
                  <a:lnTo>
                    <a:pt x="301" y="392"/>
                  </a:lnTo>
                  <a:lnTo>
                    <a:pt x="302" y="392"/>
                  </a:lnTo>
                  <a:lnTo>
                    <a:pt x="302" y="393"/>
                  </a:lnTo>
                  <a:lnTo>
                    <a:pt x="304" y="393"/>
                  </a:lnTo>
                  <a:lnTo>
                    <a:pt x="305" y="394"/>
                  </a:lnTo>
                  <a:lnTo>
                    <a:pt x="307" y="395"/>
                  </a:lnTo>
                  <a:lnTo>
                    <a:pt x="312" y="395"/>
                  </a:lnTo>
                  <a:lnTo>
                    <a:pt x="315" y="395"/>
                  </a:lnTo>
                  <a:lnTo>
                    <a:pt x="317" y="395"/>
                  </a:lnTo>
                  <a:lnTo>
                    <a:pt x="320" y="395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28" y="395"/>
                  </a:lnTo>
                  <a:lnTo>
                    <a:pt x="328" y="396"/>
                  </a:lnTo>
                  <a:lnTo>
                    <a:pt x="329" y="397"/>
                  </a:lnTo>
                  <a:lnTo>
                    <a:pt x="329" y="399"/>
                  </a:lnTo>
                  <a:lnTo>
                    <a:pt x="329" y="401"/>
                  </a:lnTo>
                  <a:lnTo>
                    <a:pt x="329" y="404"/>
                  </a:lnTo>
                  <a:lnTo>
                    <a:pt x="328" y="408"/>
                  </a:lnTo>
                  <a:lnTo>
                    <a:pt x="327" y="413"/>
                  </a:lnTo>
                  <a:lnTo>
                    <a:pt x="327" y="415"/>
                  </a:lnTo>
                  <a:lnTo>
                    <a:pt x="327" y="418"/>
                  </a:lnTo>
                  <a:lnTo>
                    <a:pt x="327" y="419"/>
                  </a:lnTo>
                  <a:lnTo>
                    <a:pt x="327" y="420"/>
                  </a:lnTo>
                  <a:lnTo>
                    <a:pt x="328" y="421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9" y="423"/>
                  </a:lnTo>
                  <a:lnTo>
                    <a:pt x="330" y="423"/>
                  </a:lnTo>
                  <a:lnTo>
                    <a:pt x="337" y="422"/>
                  </a:lnTo>
                  <a:lnTo>
                    <a:pt x="347" y="422"/>
                  </a:lnTo>
                  <a:lnTo>
                    <a:pt x="351" y="421"/>
                  </a:lnTo>
                  <a:lnTo>
                    <a:pt x="353" y="421"/>
                  </a:lnTo>
                  <a:lnTo>
                    <a:pt x="356" y="420"/>
                  </a:lnTo>
                  <a:lnTo>
                    <a:pt x="359" y="419"/>
                  </a:lnTo>
                  <a:lnTo>
                    <a:pt x="361" y="418"/>
                  </a:lnTo>
                  <a:lnTo>
                    <a:pt x="363" y="417"/>
                  </a:lnTo>
                  <a:lnTo>
                    <a:pt x="367" y="415"/>
                  </a:lnTo>
                  <a:lnTo>
                    <a:pt x="373" y="411"/>
                  </a:lnTo>
                  <a:lnTo>
                    <a:pt x="376" y="408"/>
                  </a:lnTo>
                  <a:lnTo>
                    <a:pt x="378" y="406"/>
                  </a:lnTo>
                  <a:lnTo>
                    <a:pt x="380" y="404"/>
                  </a:lnTo>
                  <a:lnTo>
                    <a:pt x="381" y="402"/>
                  </a:lnTo>
                  <a:lnTo>
                    <a:pt x="382" y="400"/>
                  </a:lnTo>
                  <a:lnTo>
                    <a:pt x="383" y="397"/>
                  </a:lnTo>
                  <a:lnTo>
                    <a:pt x="384" y="394"/>
                  </a:lnTo>
                  <a:lnTo>
                    <a:pt x="384" y="392"/>
                  </a:lnTo>
                  <a:lnTo>
                    <a:pt x="384" y="390"/>
                  </a:lnTo>
                  <a:lnTo>
                    <a:pt x="384" y="388"/>
                  </a:lnTo>
                  <a:lnTo>
                    <a:pt x="384" y="386"/>
                  </a:lnTo>
                  <a:lnTo>
                    <a:pt x="382" y="380"/>
                  </a:lnTo>
                  <a:lnTo>
                    <a:pt x="381" y="376"/>
                  </a:lnTo>
                  <a:lnTo>
                    <a:pt x="380" y="372"/>
                  </a:lnTo>
                  <a:lnTo>
                    <a:pt x="380" y="369"/>
                  </a:lnTo>
                  <a:lnTo>
                    <a:pt x="379" y="365"/>
                  </a:lnTo>
                  <a:lnTo>
                    <a:pt x="379" y="356"/>
                  </a:lnTo>
                  <a:lnTo>
                    <a:pt x="379" y="351"/>
                  </a:lnTo>
                  <a:lnTo>
                    <a:pt x="379" y="349"/>
                  </a:lnTo>
                  <a:lnTo>
                    <a:pt x="379" y="347"/>
                  </a:lnTo>
                  <a:lnTo>
                    <a:pt x="380" y="344"/>
                  </a:lnTo>
                  <a:lnTo>
                    <a:pt x="380" y="342"/>
                  </a:lnTo>
                  <a:lnTo>
                    <a:pt x="381" y="340"/>
                  </a:lnTo>
                  <a:lnTo>
                    <a:pt x="382" y="338"/>
                  </a:lnTo>
                  <a:lnTo>
                    <a:pt x="386" y="330"/>
                  </a:lnTo>
                  <a:lnTo>
                    <a:pt x="387" y="328"/>
                  </a:lnTo>
                  <a:lnTo>
                    <a:pt x="388" y="325"/>
                  </a:lnTo>
                  <a:lnTo>
                    <a:pt x="389" y="323"/>
                  </a:lnTo>
                  <a:lnTo>
                    <a:pt x="390" y="320"/>
                  </a:lnTo>
                  <a:lnTo>
                    <a:pt x="390" y="315"/>
                  </a:lnTo>
                  <a:lnTo>
                    <a:pt x="391" y="308"/>
                  </a:lnTo>
                  <a:lnTo>
                    <a:pt x="391" y="302"/>
                  </a:lnTo>
                  <a:lnTo>
                    <a:pt x="392" y="296"/>
                  </a:lnTo>
                  <a:lnTo>
                    <a:pt x="392" y="290"/>
                  </a:lnTo>
                  <a:lnTo>
                    <a:pt x="394" y="282"/>
                  </a:lnTo>
                  <a:lnTo>
                    <a:pt x="394" y="280"/>
                  </a:lnTo>
                  <a:lnTo>
                    <a:pt x="394" y="279"/>
                  </a:lnTo>
                  <a:lnTo>
                    <a:pt x="394" y="278"/>
                  </a:lnTo>
                  <a:lnTo>
                    <a:pt x="393" y="277"/>
                  </a:lnTo>
                  <a:lnTo>
                    <a:pt x="393" y="276"/>
                  </a:lnTo>
                  <a:lnTo>
                    <a:pt x="392" y="276"/>
                  </a:lnTo>
                  <a:lnTo>
                    <a:pt x="391" y="276"/>
                  </a:lnTo>
                  <a:lnTo>
                    <a:pt x="390" y="276"/>
                  </a:lnTo>
                  <a:lnTo>
                    <a:pt x="389" y="276"/>
                  </a:lnTo>
                  <a:lnTo>
                    <a:pt x="388" y="276"/>
                  </a:lnTo>
                  <a:lnTo>
                    <a:pt x="387" y="277"/>
                  </a:lnTo>
                  <a:lnTo>
                    <a:pt x="385" y="278"/>
                  </a:lnTo>
                  <a:lnTo>
                    <a:pt x="383" y="279"/>
                  </a:lnTo>
                  <a:lnTo>
                    <a:pt x="377" y="284"/>
                  </a:lnTo>
                  <a:lnTo>
                    <a:pt x="373" y="288"/>
                  </a:lnTo>
                  <a:lnTo>
                    <a:pt x="369" y="290"/>
                  </a:lnTo>
                  <a:lnTo>
                    <a:pt x="365" y="292"/>
                  </a:lnTo>
                  <a:lnTo>
                    <a:pt x="364" y="292"/>
                  </a:lnTo>
                  <a:lnTo>
                    <a:pt x="362" y="292"/>
                  </a:lnTo>
                  <a:lnTo>
                    <a:pt x="362" y="293"/>
                  </a:lnTo>
                  <a:lnTo>
                    <a:pt x="360" y="292"/>
                  </a:lnTo>
                  <a:lnTo>
                    <a:pt x="358" y="292"/>
                  </a:lnTo>
                  <a:lnTo>
                    <a:pt x="357" y="291"/>
                  </a:lnTo>
                  <a:lnTo>
                    <a:pt x="356" y="290"/>
                  </a:lnTo>
                  <a:lnTo>
                    <a:pt x="355" y="290"/>
                  </a:lnTo>
                  <a:lnTo>
                    <a:pt x="354" y="289"/>
                  </a:lnTo>
                  <a:lnTo>
                    <a:pt x="351" y="283"/>
                  </a:lnTo>
                  <a:lnTo>
                    <a:pt x="349" y="280"/>
                  </a:lnTo>
                  <a:lnTo>
                    <a:pt x="346" y="277"/>
                  </a:lnTo>
                  <a:lnTo>
                    <a:pt x="339" y="269"/>
                  </a:lnTo>
                  <a:lnTo>
                    <a:pt x="338" y="268"/>
                  </a:lnTo>
                  <a:lnTo>
                    <a:pt x="337" y="266"/>
                  </a:lnTo>
                  <a:lnTo>
                    <a:pt x="335" y="263"/>
                  </a:lnTo>
                  <a:lnTo>
                    <a:pt x="332" y="256"/>
                  </a:lnTo>
                  <a:lnTo>
                    <a:pt x="330" y="253"/>
                  </a:lnTo>
                  <a:lnTo>
                    <a:pt x="328" y="250"/>
                  </a:lnTo>
                  <a:lnTo>
                    <a:pt x="326" y="245"/>
                  </a:lnTo>
                  <a:lnTo>
                    <a:pt x="324" y="242"/>
                  </a:lnTo>
                  <a:lnTo>
                    <a:pt x="323" y="239"/>
                  </a:lnTo>
                  <a:lnTo>
                    <a:pt x="322" y="237"/>
                  </a:lnTo>
                  <a:lnTo>
                    <a:pt x="322" y="235"/>
                  </a:lnTo>
                  <a:lnTo>
                    <a:pt x="322" y="234"/>
                  </a:lnTo>
                  <a:lnTo>
                    <a:pt x="322" y="233"/>
                  </a:lnTo>
                  <a:lnTo>
                    <a:pt x="322" y="232"/>
                  </a:lnTo>
                  <a:lnTo>
                    <a:pt x="322" y="231"/>
                  </a:lnTo>
                  <a:lnTo>
                    <a:pt x="322" y="229"/>
                  </a:lnTo>
                  <a:lnTo>
                    <a:pt x="323" y="228"/>
                  </a:lnTo>
                  <a:lnTo>
                    <a:pt x="324" y="227"/>
                  </a:lnTo>
                  <a:lnTo>
                    <a:pt x="325" y="226"/>
                  </a:lnTo>
                  <a:lnTo>
                    <a:pt x="326" y="224"/>
                  </a:lnTo>
                  <a:lnTo>
                    <a:pt x="328" y="223"/>
                  </a:lnTo>
                  <a:lnTo>
                    <a:pt x="328" y="222"/>
                  </a:lnTo>
                  <a:lnTo>
                    <a:pt x="330" y="222"/>
                  </a:lnTo>
                  <a:lnTo>
                    <a:pt x="332" y="221"/>
                  </a:lnTo>
                  <a:lnTo>
                    <a:pt x="335" y="220"/>
                  </a:lnTo>
                  <a:lnTo>
                    <a:pt x="336" y="220"/>
                  </a:lnTo>
                  <a:lnTo>
                    <a:pt x="337" y="220"/>
                  </a:lnTo>
                  <a:lnTo>
                    <a:pt x="338" y="220"/>
                  </a:lnTo>
                  <a:lnTo>
                    <a:pt x="339" y="220"/>
                  </a:lnTo>
                  <a:lnTo>
                    <a:pt x="341" y="220"/>
                  </a:lnTo>
                  <a:lnTo>
                    <a:pt x="342" y="219"/>
                  </a:lnTo>
                  <a:lnTo>
                    <a:pt x="343" y="218"/>
                  </a:lnTo>
                  <a:lnTo>
                    <a:pt x="345" y="217"/>
                  </a:lnTo>
                  <a:lnTo>
                    <a:pt x="346" y="216"/>
                  </a:lnTo>
                  <a:lnTo>
                    <a:pt x="347" y="215"/>
                  </a:lnTo>
                  <a:lnTo>
                    <a:pt x="348" y="213"/>
                  </a:lnTo>
                  <a:lnTo>
                    <a:pt x="349" y="210"/>
                  </a:lnTo>
                  <a:lnTo>
                    <a:pt x="350" y="208"/>
                  </a:lnTo>
                  <a:lnTo>
                    <a:pt x="350" y="204"/>
                  </a:lnTo>
                  <a:lnTo>
                    <a:pt x="351" y="202"/>
                  </a:lnTo>
                  <a:lnTo>
                    <a:pt x="351" y="200"/>
                  </a:lnTo>
                  <a:lnTo>
                    <a:pt x="351" y="199"/>
                  </a:lnTo>
                  <a:lnTo>
                    <a:pt x="352" y="197"/>
                  </a:lnTo>
                  <a:lnTo>
                    <a:pt x="353" y="196"/>
                  </a:lnTo>
                  <a:lnTo>
                    <a:pt x="355" y="196"/>
                  </a:lnTo>
                  <a:lnTo>
                    <a:pt x="357" y="195"/>
                  </a:lnTo>
                  <a:lnTo>
                    <a:pt x="360" y="195"/>
                  </a:lnTo>
                  <a:lnTo>
                    <a:pt x="363" y="196"/>
                  </a:lnTo>
                  <a:lnTo>
                    <a:pt x="365" y="196"/>
                  </a:lnTo>
                  <a:lnTo>
                    <a:pt x="367" y="197"/>
                  </a:lnTo>
                  <a:lnTo>
                    <a:pt x="370" y="198"/>
                  </a:lnTo>
                  <a:lnTo>
                    <a:pt x="373" y="199"/>
                  </a:lnTo>
                  <a:lnTo>
                    <a:pt x="374" y="200"/>
                  </a:lnTo>
                  <a:lnTo>
                    <a:pt x="379" y="203"/>
                  </a:lnTo>
                  <a:lnTo>
                    <a:pt x="383" y="205"/>
                  </a:lnTo>
                  <a:lnTo>
                    <a:pt x="385" y="207"/>
                  </a:lnTo>
                  <a:lnTo>
                    <a:pt x="388" y="208"/>
                  </a:lnTo>
                  <a:lnTo>
                    <a:pt x="393" y="210"/>
                  </a:lnTo>
                  <a:lnTo>
                    <a:pt x="397" y="211"/>
                  </a:lnTo>
                  <a:lnTo>
                    <a:pt x="407" y="213"/>
                  </a:lnTo>
                  <a:lnTo>
                    <a:pt x="414" y="214"/>
                  </a:lnTo>
                  <a:lnTo>
                    <a:pt x="417" y="215"/>
                  </a:lnTo>
                  <a:lnTo>
                    <a:pt x="423" y="215"/>
                  </a:lnTo>
                  <a:lnTo>
                    <a:pt x="427" y="215"/>
                  </a:lnTo>
                  <a:lnTo>
                    <a:pt x="433" y="214"/>
                  </a:lnTo>
                  <a:lnTo>
                    <a:pt x="436" y="214"/>
                  </a:lnTo>
                  <a:lnTo>
                    <a:pt x="439" y="214"/>
                  </a:lnTo>
                  <a:lnTo>
                    <a:pt x="451" y="215"/>
                  </a:lnTo>
                  <a:lnTo>
                    <a:pt x="455" y="215"/>
                  </a:lnTo>
                  <a:lnTo>
                    <a:pt x="458" y="215"/>
                  </a:lnTo>
                  <a:lnTo>
                    <a:pt x="462" y="214"/>
                  </a:lnTo>
                  <a:lnTo>
                    <a:pt x="464" y="214"/>
                  </a:lnTo>
                  <a:lnTo>
                    <a:pt x="465" y="213"/>
                  </a:lnTo>
                  <a:lnTo>
                    <a:pt x="467" y="212"/>
                  </a:lnTo>
                  <a:lnTo>
                    <a:pt x="469" y="211"/>
                  </a:lnTo>
                  <a:lnTo>
                    <a:pt x="470" y="211"/>
                  </a:lnTo>
                  <a:lnTo>
                    <a:pt x="471" y="211"/>
                  </a:lnTo>
                  <a:lnTo>
                    <a:pt x="472" y="211"/>
                  </a:lnTo>
                  <a:lnTo>
                    <a:pt x="472" y="211"/>
                  </a:lnTo>
                  <a:lnTo>
                    <a:pt x="473" y="211"/>
                  </a:lnTo>
                  <a:lnTo>
                    <a:pt x="473" y="212"/>
                  </a:lnTo>
                  <a:lnTo>
                    <a:pt x="474" y="213"/>
                  </a:lnTo>
                  <a:lnTo>
                    <a:pt x="474" y="214"/>
                  </a:lnTo>
                  <a:lnTo>
                    <a:pt x="474" y="215"/>
                  </a:lnTo>
                  <a:lnTo>
                    <a:pt x="474" y="217"/>
                  </a:lnTo>
                  <a:lnTo>
                    <a:pt x="473" y="220"/>
                  </a:lnTo>
                  <a:lnTo>
                    <a:pt x="472" y="222"/>
                  </a:lnTo>
                  <a:lnTo>
                    <a:pt x="471" y="225"/>
                  </a:lnTo>
                  <a:lnTo>
                    <a:pt x="467" y="232"/>
                  </a:lnTo>
                  <a:lnTo>
                    <a:pt x="466" y="234"/>
                  </a:lnTo>
                  <a:lnTo>
                    <a:pt x="466" y="235"/>
                  </a:lnTo>
                  <a:lnTo>
                    <a:pt x="465" y="238"/>
                  </a:lnTo>
                  <a:lnTo>
                    <a:pt x="465" y="240"/>
                  </a:lnTo>
                  <a:lnTo>
                    <a:pt x="465" y="242"/>
                  </a:lnTo>
                  <a:lnTo>
                    <a:pt x="466" y="245"/>
                  </a:lnTo>
                  <a:lnTo>
                    <a:pt x="467" y="247"/>
                  </a:lnTo>
                  <a:lnTo>
                    <a:pt x="468" y="250"/>
                  </a:lnTo>
                  <a:lnTo>
                    <a:pt x="471" y="256"/>
                  </a:lnTo>
                  <a:lnTo>
                    <a:pt x="473" y="259"/>
                  </a:lnTo>
                  <a:lnTo>
                    <a:pt x="475" y="262"/>
                  </a:lnTo>
                  <a:lnTo>
                    <a:pt x="477" y="266"/>
                  </a:lnTo>
                  <a:lnTo>
                    <a:pt x="484" y="273"/>
                  </a:lnTo>
                  <a:lnTo>
                    <a:pt x="486" y="275"/>
                  </a:lnTo>
                  <a:lnTo>
                    <a:pt x="487" y="277"/>
                  </a:lnTo>
                  <a:lnTo>
                    <a:pt x="487" y="279"/>
                  </a:lnTo>
                  <a:lnTo>
                    <a:pt x="488" y="280"/>
                  </a:lnTo>
                  <a:lnTo>
                    <a:pt x="489" y="282"/>
                  </a:lnTo>
                  <a:lnTo>
                    <a:pt x="490" y="285"/>
                  </a:lnTo>
                  <a:lnTo>
                    <a:pt x="490" y="287"/>
                  </a:lnTo>
                  <a:lnTo>
                    <a:pt x="490" y="289"/>
                  </a:lnTo>
                  <a:lnTo>
                    <a:pt x="490" y="293"/>
                  </a:lnTo>
                  <a:lnTo>
                    <a:pt x="490" y="298"/>
                  </a:lnTo>
                  <a:lnTo>
                    <a:pt x="491" y="306"/>
                  </a:lnTo>
                  <a:lnTo>
                    <a:pt x="492" y="310"/>
                  </a:lnTo>
                  <a:lnTo>
                    <a:pt x="492" y="313"/>
                  </a:lnTo>
                  <a:lnTo>
                    <a:pt x="491" y="316"/>
                  </a:lnTo>
                  <a:lnTo>
                    <a:pt x="491" y="318"/>
                  </a:lnTo>
                  <a:lnTo>
                    <a:pt x="490" y="319"/>
                  </a:lnTo>
                  <a:lnTo>
                    <a:pt x="489" y="322"/>
                  </a:lnTo>
                  <a:lnTo>
                    <a:pt x="488" y="323"/>
                  </a:lnTo>
                  <a:lnTo>
                    <a:pt x="487" y="325"/>
                  </a:lnTo>
                  <a:lnTo>
                    <a:pt x="486" y="327"/>
                  </a:lnTo>
                  <a:lnTo>
                    <a:pt x="484" y="328"/>
                  </a:lnTo>
                  <a:lnTo>
                    <a:pt x="482" y="330"/>
                  </a:lnTo>
                  <a:lnTo>
                    <a:pt x="481" y="331"/>
                  </a:lnTo>
                  <a:lnTo>
                    <a:pt x="479" y="332"/>
                  </a:lnTo>
                  <a:lnTo>
                    <a:pt x="477" y="333"/>
                  </a:lnTo>
                  <a:lnTo>
                    <a:pt x="476" y="334"/>
                  </a:lnTo>
                  <a:lnTo>
                    <a:pt x="474" y="335"/>
                  </a:lnTo>
                  <a:lnTo>
                    <a:pt x="472" y="335"/>
                  </a:lnTo>
                  <a:lnTo>
                    <a:pt x="465" y="336"/>
                  </a:lnTo>
                  <a:lnTo>
                    <a:pt x="464" y="336"/>
                  </a:lnTo>
                  <a:lnTo>
                    <a:pt x="464" y="337"/>
                  </a:lnTo>
                  <a:lnTo>
                    <a:pt x="462" y="338"/>
                  </a:lnTo>
                  <a:lnTo>
                    <a:pt x="461" y="338"/>
                  </a:lnTo>
                  <a:lnTo>
                    <a:pt x="460" y="340"/>
                  </a:lnTo>
                  <a:lnTo>
                    <a:pt x="459" y="341"/>
                  </a:lnTo>
                  <a:lnTo>
                    <a:pt x="458" y="343"/>
                  </a:lnTo>
                  <a:lnTo>
                    <a:pt x="458" y="344"/>
                  </a:lnTo>
                  <a:lnTo>
                    <a:pt x="457" y="346"/>
                  </a:lnTo>
                  <a:lnTo>
                    <a:pt x="457" y="347"/>
                  </a:lnTo>
                  <a:lnTo>
                    <a:pt x="457" y="349"/>
                  </a:lnTo>
                  <a:lnTo>
                    <a:pt x="456" y="358"/>
                  </a:lnTo>
                  <a:lnTo>
                    <a:pt x="456" y="363"/>
                  </a:lnTo>
                  <a:lnTo>
                    <a:pt x="456" y="365"/>
                  </a:lnTo>
                  <a:lnTo>
                    <a:pt x="455" y="367"/>
                  </a:lnTo>
                  <a:lnTo>
                    <a:pt x="454" y="371"/>
                  </a:lnTo>
                  <a:lnTo>
                    <a:pt x="453" y="375"/>
                  </a:lnTo>
                  <a:lnTo>
                    <a:pt x="452" y="379"/>
                  </a:lnTo>
                  <a:lnTo>
                    <a:pt x="448" y="385"/>
                  </a:lnTo>
                  <a:lnTo>
                    <a:pt x="444" y="392"/>
                  </a:lnTo>
                  <a:lnTo>
                    <a:pt x="437" y="404"/>
                  </a:lnTo>
                  <a:lnTo>
                    <a:pt x="435" y="408"/>
                  </a:lnTo>
                  <a:lnTo>
                    <a:pt x="434" y="410"/>
                  </a:lnTo>
                  <a:lnTo>
                    <a:pt x="433" y="412"/>
                  </a:lnTo>
                  <a:lnTo>
                    <a:pt x="433" y="414"/>
                  </a:lnTo>
                  <a:lnTo>
                    <a:pt x="433" y="415"/>
                  </a:lnTo>
                  <a:lnTo>
                    <a:pt x="433" y="417"/>
                  </a:lnTo>
                  <a:lnTo>
                    <a:pt x="434" y="419"/>
                  </a:lnTo>
                  <a:lnTo>
                    <a:pt x="435" y="422"/>
                  </a:lnTo>
                  <a:lnTo>
                    <a:pt x="435" y="423"/>
                  </a:lnTo>
                  <a:lnTo>
                    <a:pt x="436" y="424"/>
                  </a:lnTo>
                  <a:lnTo>
                    <a:pt x="437" y="425"/>
                  </a:lnTo>
                  <a:lnTo>
                    <a:pt x="439" y="426"/>
                  </a:lnTo>
                  <a:lnTo>
                    <a:pt x="441" y="426"/>
                  </a:lnTo>
                  <a:lnTo>
                    <a:pt x="443" y="427"/>
                  </a:lnTo>
                  <a:lnTo>
                    <a:pt x="445" y="427"/>
                  </a:lnTo>
                  <a:lnTo>
                    <a:pt x="445" y="428"/>
                  </a:lnTo>
                  <a:lnTo>
                    <a:pt x="446" y="428"/>
                  </a:lnTo>
                  <a:lnTo>
                    <a:pt x="447" y="429"/>
                  </a:lnTo>
                  <a:lnTo>
                    <a:pt x="447" y="430"/>
                  </a:lnTo>
                  <a:lnTo>
                    <a:pt x="448" y="432"/>
                  </a:lnTo>
                  <a:lnTo>
                    <a:pt x="448" y="433"/>
                  </a:lnTo>
                  <a:lnTo>
                    <a:pt x="450" y="445"/>
                  </a:lnTo>
                  <a:lnTo>
                    <a:pt x="451" y="450"/>
                  </a:lnTo>
                  <a:lnTo>
                    <a:pt x="452" y="453"/>
                  </a:lnTo>
                  <a:lnTo>
                    <a:pt x="453" y="457"/>
                  </a:lnTo>
                  <a:lnTo>
                    <a:pt x="453" y="459"/>
                  </a:lnTo>
                  <a:lnTo>
                    <a:pt x="453" y="461"/>
                  </a:lnTo>
                  <a:lnTo>
                    <a:pt x="459" y="473"/>
                  </a:lnTo>
                  <a:lnTo>
                    <a:pt x="463" y="482"/>
                  </a:lnTo>
                  <a:lnTo>
                    <a:pt x="464" y="487"/>
                  </a:lnTo>
                  <a:lnTo>
                    <a:pt x="466" y="494"/>
                  </a:lnTo>
                  <a:lnTo>
                    <a:pt x="465" y="494"/>
                  </a:lnTo>
                  <a:lnTo>
                    <a:pt x="463" y="500"/>
                  </a:lnTo>
                  <a:lnTo>
                    <a:pt x="459" y="506"/>
                  </a:lnTo>
                  <a:lnTo>
                    <a:pt x="456" y="508"/>
                  </a:lnTo>
                  <a:lnTo>
                    <a:pt x="453" y="512"/>
                  </a:lnTo>
                  <a:lnTo>
                    <a:pt x="451" y="514"/>
                  </a:lnTo>
                  <a:lnTo>
                    <a:pt x="449" y="516"/>
                  </a:lnTo>
                  <a:lnTo>
                    <a:pt x="447" y="517"/>
                  </a:lnTo>
                  <a:lnTo>
                    <a:pt x="444" y="518"/>
                  </a:lnTo>
                  <a:lnTo>
                    <a:pt x="441" y="519"/>
                  </a:lnTo>
                  <a:lnTo>
                    <a:pt x="437" y="520"/>
                  </a:lnTo>
                  <a:lnTo>
                    <a:pt x="434" y="521"/>
                  </a:lnTo>
                  <a:lnTo>
                    <a:pt x="430" y="521"/>
                  </a:lnTo>
                  <a:lnTo>
                    <a:pt x="426" y="520"/>
                  </a:lnTo>
                  <a:lnTo>
                    <a:pt x="422" y="519"/>
                  </a:lnTo>
                  <a:lnTo>
                    <a:pt x="419" y="518"/>
                  </a:lnTo>
                  <a:lnTo>
                    <a:pt x="408" y="516"/>
                  </a:lnTo>
                  <a:lnTo>
                    <a:pt x="405" y="514"/>
                  </a:lnTo>
                  <a:lnTo>
                    <a:pt x="402" y="514"/>
                  </a:lnTo>
                  <a:lnTo>
                    <a:pt x="398" y="513"/>
                  </a:lnTo>
                  <a:lnTo>
                    <a:pt x="397" y="513"/>
                  </a:lnTo>
                  <a:lnTo>
                    <a:pt x="394" y="514"/>
                  </a:lnTo>
                  <a:lnTo>
                    <a:pt x="391" y="515"/>
                  </a:lnTo>
                  <a:lnTo>
                    <a:pt x="387" y="517"/>
                  </a:lnTo>
                  <a:lnTo>
                    <a:pt x="385" y="517"/>
                  </a:lnTo>
                  <a:lnTo>
                    <a:pt x="384" y="518"/>
                  </a:lnTo>
                  <a:lnTo>
                    <a:pt x="382" y="520"/>
                  </a:lnTo>
                  <a:lnTo>
                    <a:pt x="381" y="521"/>
                  </a:lnTo>
                  <a:lnTo>
                    <a:pt x="373" y="531"/>
                  </a:lnTo>
                  <a:lnTo>
                    <a:pt x="370" y="537"/>
                  </a:lnTo>
                  <a:lnTo>
                    <a:pt x="367" y="540"/>
                  </a:lnTo>
                  <a:lnTo>
                    <a:pt x="362" y="548"/>
                  </a:lnTo>
                  <a:lnTo>
                    <a:pt x="356" y="552"/>
                  </a:lnTo>
                  <a:lnTo>
                    <a:pt x="354" y="555"/>
                  </a:lnTo>
                  <a:lnTo>
                    <a:pt x="352" y="558"/>
                  </a:lnTo>
                  <a:lnTo>
                    <a:pt x="351" y="562"/>
                  </a:lnTo>
                  <a:lnTo>
                    <a:pt x="350" y="564"/>
                  </a:lnTo>
                  <a:lnTo>
                    <a:pt x="347" y="572"/>
                  </a:lnTo>
                  <a:lnTo>
                    <a:pt x="345" y="575"/>
                  </a:lnTo>
                  <a:lnTo>
                    <a:pt x="344" y="577"/>
                  </a:lnTo>
                  <a:lnTo>
                    <a:pt x="339" y="584"/>
                  </a:lnTo>
                  <a:lnTo>
                    <a:pt x="336" y="590"/>
                  </a:lnTo>
                  <a:lnTo>
                    <a:pt x="334" y="594"/>
                  </a:lnTo>
                  <a:lnTo>
                    <a:pt x="327" y="607"/>
                  </a:lnTo>
                  <a:lnTo>
                    <a:pt x="325" y="610"/>
                  </a:lnTo>
                  <a:lnTo>
                    <a:pt x="324" y="612"/>
                  </a:lnTo>
                  <a:lnTo>
                    <a:pt x="322" y="615"/>
                  </a:lnTo>
                  <a:lnTo>
                    <a:pt x="317" y="619"/>
                  </a:lnTo>
                  <a:lnTo>
                    <a:pt x="316" y="622"/>
                  </a:lnTo>
                  <a:lnTo>
                    <a:pt x="315" y="625"/>
                  </a:lnTo>
                  <a:lnTo>
                    <a:pt x="314" y="626"/>
                  </a:lnTo>
                  <a:lnTo>
                    <a:pt x="313" y="628"/>
                  </a:lnTo>
                  <a:lnTo>
                    <a:pt x="313" y="630"/>
                  </a:lnTo>
                  <a:lnTo>
                    <a:pt x="312" y="632"/>
                  </a:lnTo>
                  <a:lnTo>
                    <a:pt x="312" y="635"/>
                  </a:lnTo>
                  <a:lnTo>
                    <a:pt x="311" y="638"/>
                  </a:lnTo>
                  <a:lnTo>
                    <a:pt x="312" y="641"/>
                  </a:lnTo>
                  <a:lnTo>
                    <a:pt x="312" y="643"/>
                  </a:lnTo>
                  <a:lnTo>
                    <a:pt x="314" y="652"/>
                  </a:lnTo>
                  <a:lnTo>
                    <a:pt x="316" y="664"/>
                  </a:lnTo>
                  <a:lnTo>
                    <a:pt x="317" y="674"/>
                  </a:lnTo>
                  <a:lnTo>
                    <a:pt x="318" y="678"/>
                  </a:lnTo>
                  <a:lnTo>
                    <a:pt x="319" y="682"/>
                  </a:lnTo>
                  <a:lnTo>
                    <a:pt x="319" y="686"/>
                  </a:lnTo>
                  <a:lnTo>
                    <a:pt x="319" y="687"/>
                  </a:lnTo>
                  <a:lnTo>
                    <a:pt x="318" y="688"/>
                  </a:lnTo>
                  <a:lnTo>
                    <a:pt x="318" y="690"/>
                  </a:lnTo>
                  <a:lnTo>
                    <a:pt x="317" y="692"/>
                  </a:lnTo>
                  <a:lnTo>
                    <a:pt x="316" y="694"/>
                  </a:lnTo>
                  <a:lnTo>
                    <a:pt x="315" y="696"/>
                  </a:lnTo>
                  <a:lnTo>
                    <a:pt x="313" y="698"/>
                  </a:lnTo>
                  <a:lnTo>
                    <a:pt x="312" y="698"/>
                  </a:lnTo>
                  <a:lnTo>
                    <a:pt x="310" y="699"/>
                  </a:lnTo>
                  <a:lnTo>
                    <a:pt x="308" y="700"/>
                  </a:lnTo>
                  <a:lnTo>
                    <a:pt x="306" y="701"/>
                  </a:lnTo>
                  <a:lnTo>
                    <a:pt x="305" y="701"/>
                  </a:lnTo>
                  <a:lnTo>
                    <a:pt x="302" y="701"/>
                  </a:lnTo>
                  <a:lnTo>
                    <a:pt x="301" y="701"/>
                  </a:lnTo>
                  <a:lnTo>
                    <a:pt x="299" y="700"/>
                  </a:lnTo>
                  <a:lnTo>
                    <a:pt x="297" y="700"/>
                  </a:lnTo>
                  <a:lnTo>
                    <a:pt x="296" y="699"/>
                  </a:lnTo>
                  <a:lnTo>
                    <a:pt x="294" y="698"/>
                  </a:lnTo>
                  <a:lnTo>
                    <a:pt x="294" y="698"/>
                  </a:lnTo>
                  <a:lnTo>
                    <a:pt x="293" y="696"/>
                  </a:lnTo>
                  <a:lnTo>
                    <a:pt x="292" y="694"/>
                  </a:lnTo>
                  <a:lnTo>
                    <a:pt x="290" y="689"/>
                  </a:lnTo>
                  <a:lnTo>
                    <a:pt x="290" y="688"/>
                  </a:lnTo>
                  <a:lnTo>
                    <a:pt x="289" y="687"/>
                  </a:lnTo>
                  <a:lnTo>
                    <a:pt x="288" y="687"/>
                  </a:lnTo>
                  <a:lnTo>
                    <a:pt x="287" y="686"/>
                  </a:lnTo>
                  <a:lnTo>
                    <a:pt x="286" y="686"/>
                  </a:lnTo>
                  <a:lnTo>
                    <a:pt x="284" y="685"/>
                  </a:lnTo>
                  <a:lnTo>
                    <a:pt x="282" y="685"/>
                  </a:lnTo>
                  <a:lnTo>
                    <a:pt x="280" y="685"/>
                  </a:lnTo>
                  <a:lnTo>
                    <a:pt x="272" y="685"/>
                  </a:lnTo>
                  <a:lnTo>
                    <a:pt x="269" y="685"/>
                  </a:lnTo>
                  <a:lnTo>
                    <a:pt x="267" y="685"/>
                  </a:lnTo>
                  <a:lnTo>
                    <a:pt x="264" y="686"/>
                  </a:lnTo>
                  <a:lnTo>
                    <a:pt x="259" y="687"/>
                  </a:lnTo>
                  <a:lnTo>
                    <a:pt x="256" y="687"/>
                  </a:lnTo>
                  <a:lnTo>
                    <a:pt x="254" y="687"/>
                  </a:lnTo>
                  <a:lnTo>
                    <a:pt x="251" y="687"/>
                  </a:lnTo>
                  <a:lnTo>
                    <a:pt x="248" y="687"/>
                  </a:lnTo>
                  <a:lnTo>
                    <a:pt x="244" y="686"/>
                  </a:lnTo>
                  <a:lnTo>
                    <a:pt x="239" y="684"/>
                  </a:lnTo>
                  <a:lnTo>
                    <a:pt x="233" y="682"/>
                  </a:lnTo>
                  <a:lnTo>
                    <a:pt x="228" y="680"/>
                  </a:lnTo>
                  <a:lnTo>
                    <a:pt x="226" y="680"/>
                  </a:lnTo>
                  <a:lnTo>
                    <a:pt x="224" y="679"/>
                  </a:lnTo>
                  <a:lnTo>
                    <a:pt x="221" y="679"/>
                  </a:lnTo>
                  <a:lnTo>
                    <a:pt x="219" y="679"/>
                  </a:lnTo>
                  <a:lnTo>
                    <a:pt x="217" y="679"/>
                  </a:lnTo>
                  <a:lnTo>
                    <a:pt x="214" y="679"/>
                  </a:lnTo>
                  <a:lnTo>
                    <a:pt x="212" y="679"/>
                  </a:lnTo>
                  <a:lnTo>
                    <a:pt x="208" y="679"/>
                  </a:lnTo>
                  <a:lnTo>
                    <a:pt x="206" y="680"/>
                  </a:lnTo>
                  <a:lnTo>
                    <a:pt x="203" y="681"/>
                  </a:lnTo>
                  <a:lnTo>
                    <a:pt x="199" y="682"/>
                  </a:lnTo>
                  <a:lnTo>
                    <a:pt x="197" y="684"/>
                  </a:lnTo>
                  <a:lnTo>
                    <a:pt x="194" y="685"/>
                  </a:lnTo>
                  <a:lnTo>
                    <a:pt x="191" y="687"/>
                  </a:lnTo>
                  <a:lnTo>
                    <a:pt x="189" y="688"/>
                  </a:lnTo>
                  <a:lnTo>
                    <a:pt x="187" y="690"/>
                  </a:lnTo>
                  <a:lnTo>
                    <a:pt x="186" y="691"/>
                  </a:lnTo>
                  <a:lnTo>
                    <a:pt x="186" y="692"/>
                  </a:lnTo>
                  <a:lnTo>
                    <a:pt x="185" y="691"/>
                  </a:lnTo>
                  <a:lnTo>
                    <a:pt x="183" y="690"/>
                  </a:lnTo>
                  <a:lnTo>
                    <a:pt x="181" y="689"/>
                  </a:lnTo>
                  <a:lnTo>
                    <a:pt x="179" y="687"/>
                  </a:lnTo>
                  <a:lnTo>
                    <a:pt x="177" y="686"/>
                  </a:lnTo>
                  <a:lnTo>
                    <a:pt x="175" y="684"/>
                  </a:lnTo>
                  <a:lnTo>
                    <a:pt x="173" y="682"/>
                  </a:lnTo>
                  <a:lnTo>
                    <a:pt x="171" y="680"/>
                  </a:lnTo>
                  <a:lnTo>
                    <a:pt x="169" y="678"/>
                  </a:lnTo>
                  <a:lnTo>
                    <a:pt x="169" y="676"/>
                  </a:lnTo>
                  <a:lnTo>
                    <a:pt x="167" y="673"/>
                  </a:lnTo>
                  <a:lnTo>
                    <a:pt x="165" y="669"/>
                  </a:lnTo>
                  <a:lnTo>
                    <a:pt x="164" y="666"/>
                  </a:lnTo>
                  <a:lnTo>
                    <a:pt x="163" y="663"/>
                  </a:lnTo>
                  <a:lnTo>
                    <a:pt x="163" y="661"/>
                  </a:lnTo>
                  <a:lnTo>
                    <a:pt x="162" y="658"/>
                  </a:lnTo>
                  <a:lnTo>
                    <a:pt x="162" y="655"/>
                  </a:lnTo>
                  <a:lnTo>
                    <a:pt x="162" y="653"/>
                  </a:lnTo>
                  <a:lnTo>
                    <a:pt x="162" y="651"/>
                  </a:lnTo>
                  <a:lnTo>
                    <a:pt x="162" y="648"/>
                  </a:lnTo>
                  <a:lnTo>
                    <a:pt x="163" y="645"/>
                  </a:lnTo>
                  <a:lnTo>
                    <a:pt x="164" y="643"/>
                  </a:lnTo>
                  <a:lnTo>
                    <a:pt x="164" y="642"/>
                  </a:lnTo>
                  <a:lnTo>
                    <a:pt x="165" y="642"/>
                  </a:lnTo>
                  <a:lnTo>
                    <a:pt x="166" y="640"/>
                  </a:lnTo>
                  <a:lnTo>
                    <a:pt x="168" y="639"/>
                  </a:lnTo>
                  <a:lnTo>
                    <a:pt x="171" y="636"/>
                  </a:lnTo>
                  <a:lnTo>
                    <a:pt x="173" y="635"/>
                  </a:lnTo>
                  <a:lnTo>
                    <a:pt x="174" y="634"/>
                  </a:lnTo>
                  <a:lnTo>
                    <a:pt x="175" y="632"/>
                  </a:lnTo>
                  <a:lnTo>
                    <a:pt x="175" y="631"/>
                  </a:lnTo>
                  <a:lnTo>
                    <a:pt x="175" y="630"/>
                  </a:lnTo>
                  <a:lnTo>
                    <a:pt x="174" y="629"/>
                  </a:lnTo>
                  <a:lnTo>
                    <a:pt x="173" y="627"/>
                  </a:lnTo>
                  <a:lnTo>
                    <a:pt x="172" y="625"/>
                  </a:lnTo>
                  <a:lnTo>
                    <a:pt x="170" y="623"/>
                  </a:lnTo>
                  <a:lnTo>
                    <a:pt x="165" y="619"/>
                  </a:lnTo>
                  <a:lnTo>
                    <a:pt x="164" y="617"/>
                  </a:lnTo>
                  <a:lnTo>
                    <a:pt x="163" y="615"/>
                  </a:lnTo>
                  <a:lnTo>
                    <a:pt x="162" y="613"/>
                  </a:lnTo>
                  <a:lnTo>
                    <a:pt x="161" y="611"/>
                  </a:lnTo>
                  <a:lnTo>
                    <a:pt x="160" y="610"/>
                  </a:lnTo>
                  <a:lnTo>
                    <a:pt x="160" y="608"/>
                  </a:lnTo>
                  <a:lnTo>
                    <a:pt x="160" y="607"/>
                  </a:lnTo>
                  <a:lnTo>
                    <a:pt x="161" y="605"/>
                  </a:lnTo>
                  <a:lnTo>
                    <a:pt x="161" y="603"/>
                  </a:lnTo>
                  <a:lnTo>
                    <a:pt x="162" y="601"/>
                  </a:lnTo>
                  <a:lnTo>
                    <a:pt x="164" y="597"/>
                  </a:lnTo>
                  <a:lnTo>
                    <a:pt x="169" y="587"/>
                  </a:lnTo>
                  <a:lnTo>
                    <a:pt x="169" y="585"/>
                  </a:lnTo>
                  <a:lnTo>
                    <a:pt x="171" y="581"/>
                  </a:lnTo>
                  <a:lnTo>
                    <a:pt x="171" y="578"/>
                  </a:lnTo>
                  <a:lnTo>
                    <a:pt x="172" y="570"/>
                  </a:lnTo>
                  <a:lnTo>
                    <a:pt x="173" y="566"/>
                  </a:lnTo>
                  <a:lnTo>
                    <a:pt x="175" y="559"/>
                  </a:lnTo>
                  <a:lnTo>
                    <a:pt x="176" y="551"/>
                  </a:lnTo>
                  <a:lnTo>
                    <a:pt x="177" y="548"/>
                  </a:lnTo>
                  <a:lnTo>
                    <a:pt x="178" y="545"/>
                  </a:lnTo>
                  <a:lnTo>
                    <a:pt x="179" y="542"/>
                  </a:lnTo>
                  <a:lnTo>
                    <a:pt x="184" y="533"/>
                  </a:lnTo>
                  <a:lnTo>
                    <a:pt x="185" y="529"/>
                  </a:lnTo>
                  <a:lnTo>
                    <a:pt x="186" y="528"/>
                  </a:lnTo>
                  <a:lnTo>
                    <a:pt x="187" y="525"/>
                  </a:lnTo>
                  <a:lnTo>
                    <a:pt x="188" y="523"/>
                  </a:lnTo>
                  <a:lnTo>
                    <a:pt x="188" y="521"/>
                  </a:lnTo>
                  <a:lnTo>
                    <a:pt x="187" y="518"/>
                  </a:lnTo>
                  <a:lnTo>
                    <a:pt x="187" y="517"/>
                  </a:lnTo>
                  <a:lnTo>
                    <a:pt x="186" y="516"/>
                  </a:lnTo>
                  <a:lnTo>
                    <a:pt x="186" y="515"/>
                  </a:lnTo>
                  <a:lnTo>
                    <a:pt x="185" y="513"/>
                  </a:lnTo>
                  <a:lnTo>
                    <a:pt x="183" y="511"/>
                  </a:lnTo>
                  <a:lnTo>
                    <a:pt x="180" y="508"/>
                  </a:lnTo>
                  <a:lnTo>
                    <a:pt x="178" y="506"/>
                  </a:lnTo>
                  <a:lnTo>
                    <a:pt x="174" y="503"/>
                  </a:lnTo>
                  <a:lnTo>
                    <a:pt x="169" y="497"/>
                  </a:lnTo>
                  <a:lnTo>
                    <a:pt x="166" y="495"/>
                  </a:lnTo>
                  <a:lnTo>
                    <a:pt x="161" y="494"/>
                  </a:lnTo>
                  <a:lnTo>
                    <a:pt x="159" y="493"/>
                  </a:lnTo>
                  <a:lnTo>
                    <a:pt x="157" y="492"/>
                  </a:lnTo>
                  <a:lnTo>
                    <a:pt x="154" y="491"/>
                  </a:lnTo>
                  <a:lnTo>
                    <a:pt x="151" y="491"/>
                  </a:lnTo>
                  <a:lnTo>
                    <a:pt x="147" y="491"/>
                  </a:lnTo>
                  <a:lnTo>
                    <a:pt x="145" y="491"/>
                  </a:lnTo>
                  <a:lnTo>
                    <a:pt x="141" y="492"/>
                  </a:lnTo>
                  <a:lnTo>
                    <a:pt x="137" y="493"/>
                  </a:lnTo>
                  <a:lnTo>
                    <a:pt x="135" y="494"/>
                  </a:lnTo>
                  <a:lnTo>
                    <a:pt x="129" y="496"/>
                  </a:lnTo>
                  <a:lnTo>
                    <a:pt x="127" y="497"/>
                  </a:lnTo>
                  <a:lnTo>
                    <a:pt x="125" y="498"/>
                  </a:lnTo>
                  <a:lnTo>
                    <a:pt x="123" y="498"/>
                  </a:lnTo>
                  <a:lnTo>
                    <a:pt x="121" y="497"/>
                  </a:lnTo>
                  <a:lnTo>
                    <a:pt x="119" y="496"/>
                  </a:lnTo>
                  <a:lnTo>
                    <a:pt x="117" y="494"/>
                  </a:lnTo>
                  <a:lnTo>
                    <a:pt x="112" y="490"/>
                  </a:lnTo>
                  <a:lnTo>
                    <a:pt x="109" y="488"/>
                  </a:lnTo>
                  <a:lnTo>
                    <a:pt x="107" y="487"/>
                  </a:lnTo>
                  <a:lnTo>
                    <a:pt x="102" y="485"/>
                  </a:lnTo>
                  <a:lnTo>
                    <a:pt x="100" y="483"/>
                  </a:lnTo>
                  <a:lnTo>
                    <a:pt x="96" y="482"/>
                  </a:lnTo>
                  <a:lnTo>
                    <a:pt x="89" y="478"/>
                  </a:lnTo>
                  <a:lnTo>
                    <a:pt x="87" y="476"/>
                  </a:lnTo>
                  <a:lnTo>
                    <a:pt x="84" y="475"/>
                  </a:lnTo>
                  <a:lnTo>
                    <a:pt x="81" y="473"/>
                  </a:lnTo>
                  <a:lnTo>
                    <a:pt x="79" y="473"/>
                  </a:lnTo>
                  <a:lnTo>
                    <a:pt x="77" y="473"/>
                  </a:lnTo>
                  <a:lnTo>
                    <a:pt x="73" y="472"/>
                  </a:lnTo>
                  <a:lnTo>
                    <a:pt x="65" y="472"/>
                  </a:lnTo>
                  <a:lnTo>
                    <a:pt x="62" y="472"/>
                  </a:lnTo>
                  <a:lnTo>
                    <a:pt x="59" y="472"/>
                  </a:lnTo>
                  <a:lnTo>
                    <a:pt x="57" y="472"/>
                  </a:lnTo>
                  <a:lnTo>
                    <a:pt x="55" y="471"/>
                  </a:lnTo>
                  <a:lnTo>
                    <a:pt x="54" y="470"/>
                  </a:lnTo>
                  <a:lnTo>
                    <a:pt x="52" y="468"/>
                  </a:lnTo>
                  <a:lnTo>
                    <a:pt x="50" y="465"/>
                  </a:lnTo>
                  <a:lnTo>
                    <a:pt x="45" y="459"/>
                  </a:lnTo>
                  <a:lnTo>
                    <a:pt x="44" y="457"/>
                  </a:lnTo>
                  <a:lnTo>
                    <a:pt x="43" y="455"/>
                  </a:lnTo>
                  <a:lnTo>
                    <a:pt x="40" y="453"/>
                  </a:lnTo>
                  <a:lnTo>
                    <a:pt x="37" y="451"/>
                  </a:lnTo>
                  <a:lnTo>
                    <a:pt x="35" y="450"/>
                  </a:lnTo>
                  <a:lnTo>
                    <a:pt x="31" y="449"/>
                  </a:lnTo>
                  <a:lnTo>
                    <a:pt x="30" y="449"/>
                  </a:lnTo>
                  <a:lnTo>
                    <a:pt x="29" y="448"/>
                  </a:lnTo>
                  <a:lnTo>
                    <a:pt x="28" y="447"/>
                  </a:lnTo>
                  <a:lnTo>
                    <a:pt x="29" y="447"/>
                  </a:lnTo>
                  <a:lnTo>
                    <a:pt x="30" y="446"/>
                  </a:lnTo>
                  <a:lnTo>
                    <a:pt x="30" y="445"/>
                  </a:lnTo>
                  <a:lnTo>
                    <a:pt x="30" y="444"/>
                  </a:lnTo>
                  <a:lnTo>
                    <a:pt x="30" y="443"/>
                  </a:lnTo>
                  <a:lnTo>
                    <a:pt x="30" y="442"/>
                  </a:lnTo>
                  <a:lnTo>
                    <a:pt x="29" y="440"/>
                  </a:lnTo>
                  <a:lnTo>
                    <a:pt x="28" y="438"/>
                  </a:lnTo>
                  <a:lnTo>
                    <a:pt x="27" y="438"/>
                  </a:lnTo>
                  <a:lnTo>
                    <a:pt x="24" y="434"/>
                  </a:lnTo>
                  <a:lnTo>
                    <a:pt x="21" y="430"/>
                  </a:lnTo>
                  <a:lnTo>
                    <a:pt x="17" y="426"/>
                  </a:lnTo>
                  <a:lnTo>
                    <a:pt x="9" y="418"/>
                  </a:lnTo>
                  <a:lnTo>
                    <a:pt x="4" y="413"/>
                  </a:lnTo>
                  <a:lnTo>
                    <a:pt x="2" y="411"/>
                  </a:lnTo>
                  <a:lnTo>
                    <a:pt x="1" y="410"/>
                  </a:lnTo>
                  <a:lnTo>
                    <a:pt x="1" y="408"/>
                  </a:lnTo>
                  <a:lnTo>
                    <a:pt x="0" y="407"/>
                  </a:lnTo>
                  <a:lnTo>
                    <a:pt x="1" y="406"/>
                  </a:lnTo>
                  <a:lnTo>
                    <a:pt x="1" y="405"/>
                  </a:lnTo>
                  <a:lnTo>
                    <a:pt x="2" y="404"/>
                  </a:lnTo>
                  <a:lnTo>
                    <a:pt x="3" y="404"/>
                  </a:lnTo>
                  <a:lnTo>
                    <a:pt x="4" y="403"/>
                  </a:lnTo>
                  <a:lnTo>
                    <a:pt x="9" y="402"/>
                  </a:lnTo>
                  <a:lnTo>
                    <a:pt x="10" y="401"/>
                  </a:lnTo>
                  <a:lnTo>
                    <a:pt x="12" y="400"/>
                  </a:lnTo>
                  <a:lnTo>
                    <a:pt x="14" y="399"/>
                  </a:lnTo>
                  <a:lnTo>
                    <a:pt x="16" y="398"/>
                  </a:lnTo>
                  <a:lnTo>
                    <a:pt x="17" y="396"/>
                  </a:lnTo>
                  <a:lnTo>
                    <a:pt x="19" y="395"/>
                  </a:lnTo>
                  <a:lnTo>
                    <a:pt x="19" y="393"/>
                  </a:lnTo>
                  <a:lnTo>
                    <a:pt x="20" y="392"/>
                  </a:lnTo>
                  <a:lnTo>
                    <a:pt x="20" y="391"/>
                  </a:lnTo>
                  <a:lnTo>
                    <a:pt x="20" y="389"/>
                  </a:lnTo>
                  <a:lnTo>
                    <a:pt x="20" y="387"/>
                  </a:lnTo>
                  <a:lnTo>
                    <a:pt x="20" y="385"/>
                  </a:lnTo>
                  <a:lnTo>
                    <a:pt x="19" y="382"/>
                  </a:lnTo>
                  <a:lnTo>
                    <a:pt x="17" y="376"/>
                  </a:lnTo>
                  <a:lnTo>
                    <a:pt x="17" y="374"/>
                  </a:lnTo>
                  <a:lnTo>
                    <a:pt x="17" y="372"/>
                  </a:lnTo>
                  <a:lnTo>
                    <a:pt x="17" y="370"/>
                  </a:lnTo>
                  <a:lnTo>
                    <a:pt x="18" y="369"/>
                  </a:lnTo>
                  <a:lnTo>
                    <a:pt x="18" y="366"/>
                  </a:lnTo>
                  <a:lnTo>
                    <a:pt x="20" y="364"/>
                  </a:lnTo>
                  <a:lnTo>
                    <a:pt x="21" y="363"/>
                  </a:lnTo>
                  <a:lnTo>
                    <a:pt x="21" y="362"/>
                  </a:lnTo>
                  <a:lnTo>
                    <a:pt x="22" y="361"/>
                  </a:lnTo>
                  <a:lnTo>
                    <a:pt x="24" y="360"/>
                  </a:lnTo>
                  <a:lnTo>
                    <a:pt x="26" y="358"/>
                  </a:lnTo>
                  <a:lnTo>
                    <a:pt x="32" y="357"/>
                  </a:lnTo>
                  <a:lnTo>
                    <a:pt x="34" y="355"/>
                  </a:lnTo>
                  <a:lnTo>
                    <a:pt x="37" y="353"/>
                  </a:lnTo>
                  <a:lnTo>
                    <a:pt x="40" y="351"/>
                  </a:lnTo>
                  <a:lnTo>
                    <a:pt x="42" y="349"/>
                  </a:lnTo>
                  <a:lnTo>
                    <a:pt x="43" y="348"/>
                  </a:lnTo>
                  <a:lnTo>
                    <a:pt x="44" y="347"/>
                  </a:lnTo>
                  <a:lnTo>
                    <a:pt x="44" y="345"/>
                  </a:lnTo>
                  <a:lnTo>
                    <a:pt x="44" y="343"/>
                  </a:lnTo>
                  <a:lnTo>
                    <a:pt x="44" y="340"/>
                  </a:lnTo>
                  <a:lnTo>
                    <a:pt x="44" y="337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4" y="330"/>
                  </a:lnTo>
                  <a:lnTo>
                    <a:pt x="43" y="328"/>
                  </a:lnTo>
                  <a:lnTo>
                    <a:pt x="42" y="326"/>
                  </a:lnTo>
                  <a:lnTo>
                    <a:pt x="42" y="325"/>
                  </a:lnTo>
                  <a:lnTo>
                    <a:pt x="40" y="324"/>
                  </a:lnTo>
                  <a:lnTo>
                    <a:pt x="39" y="323"/>
                  </a:lnTo>
                  <a:lnTo>
                    <a:pt x="37" y="321"/>
                  </a:lnTo>
                  <a:lnTo>
                    <a:pt x="34" y="319"/>
                  </a:lnTo>
                  <a:lnTo>
                    <a:pt x="27" y="313"/>
                  </a:lnTo>
                  <a:lnTo>
                    <a:pt x="25" y="313"/>
                  </a:lnTo>
                  <a:lnTo>
                    <a:pt x="24" y="312"/>
                  </a:lnTo>
                  <a:lnTo>
                    <a:pt x="23" y="311"/>
                  </a:lnTo>
                  <a:lnTo>
                    <a:pt x="22" y="309"/>
                  </a:lnTo>
                  <a:lnTo>
                    <a:pt x="21" y="308"/>
                  </a:lnTo>
                  <a:lnTo>
                    <a:pt x="21" y="305"/>
                  </a:lnTo>
                  <a:lnTo>
                    <a:pt x="21" y="302"/>
                  </a:lnTo>
                  <a:lnTo>
                    <a:pt x="21" y="299"/>
                  </a:lnTo>
                  <a:lnTo>
                    <a:pt x="21" y="295"/>
                  </a:lnTo>
                  <a:lnTo>
                    <a:pt x="21" y="291"/>
                  </a:lnTo>
                  <a:lnTo>
                    <a:pt x="22" y="287"/>
                  </a:lnTo>
                  <a:lnTo>
                    <a:pt x="24" y="283"/>
                  </a:lnTo>
                  <a:lnTo>
                    <a:pt x="26" y="278"/>
                  </a:lnTo>
                  <a:lnTo>
                    <a:pt x="29" y="268"/>
                  </a:lnTo>
                  <a:lnTo>
                    <a:pt x="29" y="268"/>
                  </a:lnTo>
                  <a:lnTo>
                    <a:pt x="35" y="266"/>
                  </a:lnTo>
                  <a:lnTo>
                    <a:pt x="37" y="266"/>
                  </a:lnTo>
                  <a:lnTo>
                    <a:pt x="40" y="265"/>
                  </a:lnTo>
                  <a:lnTo>
                    <a:pt x="43" y="263"/>
                  </a:lnTo>
                  <a:lnTo>
                    <a:pt x="45" y="262"/>
                  </a:lnTo>
                  <a:lnTo>
                    <a:pt x="46" y="260"/>
                  </a:lnTo>
                  <a:lnTo>
                    <a:pt x="48" y="258"/>
                  </a:lnTo>
                  <a:lnTo>
                    <a:pt x="48" y="257"/>
                  </a:lnTo>
                  <a:lnTo>
                    <a:pt x="49" y="256"/>
                  </a:lnTo>
                  <a:lnTo>
                    <a:pt x="49" y="255"/>
                  </a:lnTo>
                  <a:lnTo>
                    <a:pt x="49" y="254"/>
                  </a:lnTo>
                  <a:lnTo>
                    <a:pt x="49" y="252"/>
                  </a:lnTo>
                  <a:lnTo>
                    <a:pt x="49" y="250"/>
                  </a:lnTo>
                  <a:lnTo>
                    <a:pt x="48" y="249"/>
                  </a:lnTo>
                  <a:lnTo>
                    <a:pt x="47" y="247"/>
                  </a:lnTo>
                  <a:lnTo>
                    <a:pt x="42" y="241"/>
                  </a:lnTo>
                  <a:lnTo>
                    <a:pt x="41" y="239"/>
                  </a:lnTo>
                  <a:lnTo>
                    <a:pt x="40" y="237"/>
                  </a:lnTo>
                  <a:lnTo>
                    <a:pt x="39" y="235"/>
                  </a:lnTo>
                  <a:lnTo>
                    <a:pt x="38" y="233"/>
                  </a:lnTo>
                  <a:lnTo>
                    <a:pt x="38" y="231"/>
                  </a:lnTo>
                  <a:lnTo>
                    <a:pt x="38" y="229"/>
                  </a:lnTo>
                  <a:lnTo>
                    <a:pt x="38" y="227"/>
                  </a:lnTo>
                  <a:lnTo>
                    <a:pt x="39" y="225"/>
                  </a:lnTo>
                  <a:lnTo>
                    <a:pt x="39" y="223"/>
                  </a:lnTo>
                  <a:lnTo>
                    <a:pt x="40" y="222"/>
                  </a:lnTo>
                  <a:lnTo>
                    <a:pt x="42" y="219"/>
                  </a:lnTo>
                  <a:lnTo>
                    <a:pt x="45" y="214"/>
                  </a:lnTo>
                  <a:lnTo>
                    <a:pt x="48" y="211"/>
                  </a:lnTo>
                  <a:lnTo>
                    <a:pt x="51" y="207"/>
                  </a:lnTo>
                  <a:lnTo>
                    <a:pt x="53" y="203"/>
                  </a:lnTo>
                  <a:lnTo>
                    <a:pt x="54" y="201"/>
                  </a:lnTo>
                  <a:lnTo>
                    <a:pt x="55" y="199"/>
                  </a:lnTo>
                  <a:lnTo>
                    <a:pt x="55" y="197"/>
                  </a:lnTo>
                  <a:lnTo>
                    <a:pt x="55" y="195"/>
                  </a:lnTo>
                  <a:lnTo>
                    <a:pt x="55" y="193"/>
                  </a:lnTo>
                  <a:lnTo>
                    <a:pt x="54" y="191"/>
                  </a:lnTo>
                  <a:lnTo>
                    <a:pt x="53" y="189"/>
                  </a:lnTo>
                  <a:lnTo>
                    <a:pt x="52" y="188"/>
                  </a:lnTo>
                  <a:lnTo>
                    <a:pt x="50" y="188"/>
                  </a:lnTo>
                  <a:lnTo>
                    <a:pt x="49" y="188"/>
                  </a:lnTo>
                  <a:lnTo>
                    <a:pt x="43" y="186"/>
                  </a:lnTo>
                  <a:lnTo>
                    <a:pt x="40" y="185"/>
                  </a:lnTo>
                  <a:lnTo>
                    <a:pt x="37" y="184"/>
                  </a:lnTo>
                  <a:lnTo>
                    <a:pt x="35" y="183"/>
                  </a:lnTo>
                  <a:lnTo>
                    <a:pt x="33" y="182"/>
                  </a:lnTo>
                  <a:lnTo>
                    <a:pt x="32" y="181"/>
                  </a:lnTo>
                  <a:lnTo>
                    <a:pt x="31" y="180"/>
                  </a:lnTo>
                  <a:lnTo>
                    <a:pt x="30" y="179"/>
                  </a:lnTo>
                  <a:lnTo>
                    <a:pt x="30" y="178"/>
                  </a:lnTo>
                  <a:lnTo>
                    <a:pt x="30" y="177"/>
                  </a:lnTo>
                  <a:lnTo>
                    <a:pt x="30" y="177"/>
                  </a:lnTo>
                  <a:lnTo>
                    <a:pt x="30" y="176"/>
                  </a:lnTo>
                  <a:lnTo>
                    <a:pt x="31" y="175"/>
                  </a:lnTo>
                  <a:lnTo>
                    <a:pt x="32" y="174"/>
                  </a:lnTo>
                  <a:lnTo>
                    <a:pt x="34" y="172"/>
                  </a:lnTo>
                  <a:lnTo>
                    <a:pt x="35" y="171"/>
                  </a:lnTo>
                  <a:lnTo>
                    <a:pt x="35" y="170"/>
                  </a:lnTo>
                  <a:lnTo>
                    <a:pt x="36" y="170"/>
                  </a:lnTo>
                  <a:lnTo>
                    <a:pt x="35" y="169"/>
                  </a:lnTo>
                  <a:lnTo>
                    <a:pt x="35" y="168"/>
                  </a:lnTo>
                  <a:lnTo>
                    <a:pt x="34" y="167"/>
                  </a:lnTo>
                  <a:lnTo>
                    <a:pt x="33" y="166"/>
                  </a:lnTo>
                  <a:lnTo>
                    <a:pt x="21" y="158"/>
                  </a:lnTo>
                  <a:lnTo>
                    <a:pt x="12" y="152"/>
                  </a:lnTo>
                  <a:lnTo>
                    <a:pt x="10" y="150"/>
                  </a:lnTo>
                  <a:lnTo>
                    <a:pt x="9" y="149"/>
                  </a:lnTo>
                  <a:lnTo>
                    <a:pt x="9" y="147"/>
                  </a:lnTo>
                  <a:lnTo>
                    <a:pt x="8" y="146"/>
                  </a:lnTo>
                  <a:lnTo>
                    <a:pt x="8" y="144"/>
                  </a:lnTo>
                  <a:lnTo>
                    <a:pt x="8" y="143"/>
                  </a:lnTo>
                  <a:lnTo>
                    <a:pt x="8" y="142"/>
                  </a:lnTo>
                  <a:lnTo>
                    <a:pt x="8" y="140"/>
                  </a:lnTo>
                  <a:lnTo>
                    <a:pt x="8" y="137"/>
                  </a:lnTo>
                  <a:lnTo>
                    <a:pt x="9" y="129"/>
                  </a:lnTo>
                  <a:lnTo>
                    <a:pt x="11" y="123"/>
                  </a:lnTo>
                  <a:lnTo>
                    <a:pt x="11" y="120"/>
                  </a:lnTo>
                  <a:lnTo>
                    <a:pt x="12" y="115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3"/>
                  </a:lnTo>
                  <a:lnTo>
                    <a:pt x="13" y="101"/>
                  </a:lnTo>
                  <a:lnTo>
                    <a:pt x="14" y="99"/>
                  </a:lnTo>
                  <a:lnTo>
                    <a:pt x="16" y="97"/>
                  </a:lnTo>
                  <a:lnTo>
                    <a:pt x="17" y="94"/>
                  </a:lnTo>
                  <a:lnTo>
                    <a:pt x="19" y="92"/>
                  </a:lnTo>
                  <a:lnTo>
                    <a:pt x="21" y="89"/>
                  </a:lnTo>
                  <a:lnTo>
                    <a:pt x="25" y="84"/>
                  </a:lnTo>
                  <a:lnTo>
                    <a:pt x="27" y="82"/>
                  </a:lnTo>
                  <a:lnTo>
                    <a:pt x="28" y="79"/>
                  </a:lnTo>
                  <a:lnTo>
                    <a:pt x="32" y="73"/>
                  </a:lnTo>
                  <a:lnTo>
                    <a:pt x="33" y="70"/>
                  </a:lnTo>
                  <a:lnTo>
                    <a:pt x="34" y="68"/>
                  </a:lnTo>
                  <a:lnTo>
                    <a:pt x="36" y="65"/>
                  </a:lnTo>
                  <a:lnTo>
                    <a:pt x="38" y="64"/>
                  </a:lnTo>
                  <a:lnTo>
                    <a:pt x="39" y="63"/>
                  </a:lnTo>
                  <a:lnTo>
                    <a:pt x="41" y="62"/>
                  </a:lnTo>
                  <a:lnTo>
                    <a:pt x="43" y="60"/>
                  </a:lnTo>
                  <a:lnTo>
                    <a:pt x="45" y="58"/>
                  </a:lnTo>
                  <a:lnTo>
                    <a:pt x="48" y="57"/>
                  </a:lnTo>
                  <a:lnTo>
                    <a:pt x="51" y="56"/>
                  </a:lnTo>
                  <a:lnTo>
                    <a:pt x="55" y="55"/>
                  </a:lnTo>
                  <a:lnTo>
                    <a:pt x="62" y="55"/>
                  </a:lnTo>
                  <a:lnTo>
                    <a:pt x="66" y="54"/>
                  </a:lnTo>
                  <a:lnTo>
                    <a:pt x="72" y="53"/>
                  </a:lnTo>
                  <a:lnTo>
                    <a:pt x="76" y="52"/>
                  </a:lnTo>
                  <a:lnTo>
                    <a:pt x="78" y="52"/>
                  </a:lnTo>
                  <a:lnTo>
                    <a:pt x="80" y="51"/>
                  </a:lnTo>
                  <a:lnTo>
                    <a:pt x="81" y="50"/>
                  </a:lnTo>
                  <a:lnTo>
                    <a:pt x="82" y="49"/>
                  </a:lnTo>
                  <a:lnTo>
                    <a:pt x="83" y="47"/>
                  </a:lnTo>
                  <a:lnTo>
                    <a:pt x="84" y="45"/>
                  </a:lnTo>
                  <a:lnTo>
                    <a:pt x="85" y="44"/>
                  </a:lnTo>
                  <a:lnTo>
                    <a:pt x="85" y="42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4" y="39"/>
                  </a:lnTo>
                  <a:lnTo>
                    <a:pt x="83" y="38"/>
                  </a:lnTo>
                  <a:lnTo>
                    <a:pt x="81" y="37"/>
                  </a:lnTo>
                  <a:lnTo>
                    <a:pt x="80" y="36"/>
                  </a:lnTo>
                  <a:lnTo>
                    <a:pt x="79" y="35"/>
                  </a:lnTo>
                  <a:lnTo>
                    <a:pt x="78" y="35"/>
                  </a:lnTo>
                  <a:lnTo>
                    <a:pt x="76" y="34"/>
                  </a:lnTo>
                  <a:lnTo>
                    <a:pt x="69" y="32"/>
                  </a:lnTo>
                  <a:lnTo>
                    <a:pt x="67" y="31"/>
                  </a:lnTo>
                  <a:lnTo>
                    <a:pt x="66" y="31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5" y="29"/>
                  </a:lnTo>
                  <a:lnTo>
                    <a:pt x="66" y="28"/>
                  </a:lnTo>
                  <a:lnTo>
                    <a:pt x="66" y="27"/>
                  </a:lnTo>
                  <a:lnTo>
                    <a:pt x="67" y="25"/>
                  </a:lnTo>
                  <a:lnTo>
                    <a:pt x="68" y="23"/>
                  </a:lnTo>
                  <a:lnTo>
                    <a:pt x="72" y="19"/>
                  </a:lnTo>
                  <a:lnTo>
                    <a:pt x="74" y="18"/>
                  </a:lnTo>
                  <a:lnTo>
                    <a:pt x="76" y="17"/>
                  </a:lnTo>
                  <a:lnTo>
                    <a:pt x="78" y="15"/>
                  </a:lnTo>
                  <a:lnTo>
                    <a:pt x="80" y="13"/>
                  </a:lnTo>
                  <a:lnTo>
                    <a:pt x="83" y="12"/>
                  </a:lnTo>
                  <a:lnTo>
                    <a:pt x="85" y="11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92" y="10"/>
                  </a:lnTo>
                  <a:lnTo>
                    <a:pt x="95" y="11"/>
                  </a:lnTo>
                  <a:lnTo>
                    <a:pt x="96" y="11"/>
                  </a:lnTo>
                  <a:lnTo>
                    <a:pt x="97" y="12"/>
                  </a:lnTo>
                  <a:lnTo>
                    <a:pt x="98" y="13"/>
                  </a:lnTo>
                  <a:lnTo>
                    <a:pt x="99" y="14"/>
                  </a:lnTo>
                  <a:lnTo>
                    <a:pt x="100" y="16"/>
                  </a:lnTo>
                  <a:lnTo>
                    <a:pt x="102" y="19"/>
                  </a:lnTo>
                  <a:lnTo>
                    <a:pt x="103" y="22"/>
                  </a:lnTo>
                  <a:lnTo>
                    <a:pt x="105" y="24"/>
                  </a:lnTo>
                  <a:lnTo>
                    <a:pt x="106" y="26"/>
                  </a:lnTo>
                  <a:lnTo>
                    <a:pt x="107" y="26"/>
                  </a:lnTo>
                  <a:lnTo>
                    <a:pt x="108" y="27"/>
                  </a:lnTo>
                  <a:lnTo>
                    <a:pt x="109" y="27"/>
                  </a:lnTo>
                  <a:lnTo>
                    <a:pt x="110" y="27"/>
                  </a:lnTo>
                  <a:lnTo>
                    <a:pt x="112" y="28"/>
                  </a:lnTo>
                  <a:lnTo>
                    <a:pt x="113" y="28"/>
                  </a:lnTo>
                  <a:lnTo>
                    <a:pt x="115" y="27"/>
                  </a:lnTo>
                  <a:lnTo>
                    <a:pt x="117" y="26"/>
                  </a:lnTo>
                  <a:lnTo>
                    <a:pt x="118" y="26"/>
                  </a:lnTo>
                  <a:lnTo>
                    <a:pt x="119" y="25"/>
                  </a:lnTo>
                  <a:lnTo>
                    <a:pt x="121" y="23"/>
                  </a:lnTo>
                  <a:lnTo>
                    <a:pt x="122" y="21"/>
                  </a:lnTo>
                  <a:lnTo>
                    <a:pt x="123" y="19"/>
                  </a:lnTo>
                  <a:lnTo>
                    <a:pt x="123" y="18"/>
                  </a:lnTo>
                  <a:lnTo>
                    <a:pt x="127" y="9"/>
                  </a:lnTo>
                  <a:lnTo>
                    <a:pt x="131" y="2"/>
                  </a:lnTo>
                  <a:lnTo>
                    <a:pt x="132" y="0"/>
                  </a:lnTo>
                  <a:lnTo>
                    <a:pt x="151" y="3"/>
                  </a:lnTo>
                  <a:close/>
                </a:path>
              </a:pathLst>
            </a:custGeom>
            <a:solidFill>
              <a:srgbClr val="6BAF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6" name="Freeform 63">
              <a:extLst>
                <a:ext uri="{FF2B5EF4-FFF2-40B4-BE49-F238E27FC236}">
                  <a16:creationId xmlns:a16="http://schemas.microsoft.com/office/drawing/2014/main" id="{F5C0E307-0E03-4F1D-8680-D1A882A72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9" y="2840"/>
              <a:ext cx="492" cy="698"/>
            </a:xfrm>
            <a:custGeom>
              <a:avLst/>
              <a:gdLst>
                <a:gd name="T0" fmla="*/ 180 w 492"/>
                <a:gd name="T1" fmla="*/ 36 h 698"/>
                <a:gd name="T2" fmla="*/ 222 w 492"/>
                <a:gd name="T3" fmla="*/ 82 h 698"/>
                <a:gd name="T4" fmla="*/ 242 w 492"/>
                <a:gd name="T5" fmla="*/ 131 h 698"/>
                <a:gd name="T6" fmla="*/ 263 w 492"/>
                <a:gd name="T7" fmla="*/ 182 h 698"/>
                <a:gd name="T8" fmla="*/ 317 w 492"/>
                <a:gd name="T9" fmla="*/ 176 h 698"/>
                <a:gd name="T10" fmla="*/ 334 w 492"/>
                <a:gd name="T11" fmla="*/ 216 h 698"/>
                <a:gd name="T12" fmla="*/ 311 w 492"/>
                <a:gd name="T13" fmla="*/ 212 h 698"/>
                <a:gd name="T14" fmla="*/ 267 w 492"/>
                <a:gd name="T15" fmla="*/ 248 h 698"/>
                <a:gd name="T16" fmla="*/ 238 w 492"/>
                <a:gd name="T17" fmla="*/ 265 h 698"/>
                <a:gd name="T18" fmla="*/ 199 w 492"/>
                <a:gd name="T19" fmla="*/ 230 h 698"/>
                <a:gd name="T20" fmla="*/ 180 w 492"/>
                <a:gd name="T21" fmla="*/ 266 h 698"/>
                <a:gd name="T22" fmla="*/ 189 w 492"/>
                <a:gd name="T23" fmla="*/ 322 h 698"/>
                <a:gd name="T24" fmla="*/ 248 w 492"/>
                <a:gd name="T25" fmla="*/ 357 h 698"/>
                <a:gd name="T26" fmla="*/ 290 w 492"/>
                <a:gd name="T27" fmla="*/ 372 h 698"/>
                <a:gd name="T28" fmla="*/ 317 w 492"/>
                <a:gd name="T29" fmla="*/ 392 h 698"/>
                <a:gd name="T30" fmla="*/ 328 w 492"/>
                <a:gd name="T31" fmla="*/ 419 h 698"/>
                <a:gd name="T32" fmla="*/ 381 w 492"/>
                <a:gd name="T33" fmla="*/ 399 h 698"/>
                <a:gd name="T34" fmla="*/ 380 w 492"/>
                <a:gd name="T35" fmla="*/ 341 h 698"/>
                <a:gd name="T36" fmla="*/ 394 w 492"/>
                <a:gd name="T37" fmla="*/ 275 h 698"/>
                <a:gd name="T38" fmla="*/ 362 w 492"/>
                <a:gd name="T39" fmla="*/ 290 h 698"/>
                <a:gd name="T40" fmla="*/ 326 w 492"/>
                <a:gd name="T41" fmla="*/ 242 h 698"/>
                <a:gd name="T42" fmla="*/ 332 w 492"/>
                <a:gd name="T43" fmla="*/ 218 h 698"/>
                <a:gd name="T44" fmla="*/ 351 w 492"/>
                <a:gd name="T45" fmla="*/ 197 h 698"/>
                <a:gd name="T46" fmla="*/ 393 w 492"/>
                <a:gd name="T47" fmla="*/ 207 h 698"/>
                <a:gd name="T48" fmla="*/ 469 w 492"/>
                <a:gd name="T49" fmla="*/ 208 h 698"/>
                <a:gd name="T50" fmla="*/ 465 w 492"/>
                <a:gd name="T51" fmla="*/ 235 h 698"/>
                <a:gd name="T52" fmla="*/ 490 w 492"/>
                <a:gd name="T53" fmla="*/ 284 h 698"/>
                <a:gd name="T54" fmla="*/ 479 w 492"/>
                <a:gd name="T55" fmla="*/ 329 h 698"/>
                <a:gd name="T56" fmla="*/ 456 w 492"/>
                <a:gd name="T57" fmla="*/ 355 h 698"/>
                <a:gd name="T58" fmla="*/ 435 w 492"/>
                <a:gd name="T59" fmla="*/ 419 h 698"/>
                <a:gd name="T60" fmla="*/ 453 w 492"/>
                <a:gd name="T61" fmla="*/ 454 h 698"/>
                <a:gd name="T62" fmla="*/ 437 w 492"/>
                <a:gd name="T63" fmla="*/ 517 h 698"/>
                <a:gd name="T64" fmla="*/ 381 w 492"/>
                <a:gd name="T65" fmla="*/ 518 h 698"/>
                <a:gd name="T66" fmla="*/ 325 w 492"/>
                <a:gd name="T67" fmla="*/ 607 h 698"/>
                <a:gd name="T68" fmla="*/ 318 w 492"/>
                <a:gd name="T69" fmla="*/ 675 h 698"/>
                <a:gd name="T70" fmla="*/ 299 w 492"/>
                <a:gd name="T71" fmla="*/ 697 h 698"/>
                <a:gd name="T72" fmla="*/ 269 w 492"/>
                <a:gd name="T73" fmla="*/ 682 h 698"/>
                <a:gd name="T74" fmla="*/ 214 w 492"/>
                <a:gd name="T75" fmla="*/ 676 h 698"/>
                <a:gd name="T76" fmla="*/ 177 w 492"/>
                <a:gd name="T77" fmla="*/ 683 h 698"/>
                <a:gd name="T78" fmla="*/ 164 w 492"/>
                <a:gd name="T79" fmla="*/ 640 h 698"/>
                <a:gd name="T80" fmla="*/ 163 w 492"/>
                <a:gd name="T81" fmla="*/ 612 h 698"/>
                <a:gd name="T82" fmla="*/ 176 w 492"/>
                <a:gd name="T83" fmla="*/ 548 h 698"/>
                <a:gd name="T84" fmla="*/ 178 w 492"/>
                <a:gd name="T85" fmla="*/ 503 h 698"/>
                <a:gd name="T86" fmla="*/ 123 w 492"/>
                <a:gd name="T87" fmla="*/ 495 h 698"/>
                <a:gd name="T88" fmla="*/ 65 w 492"/>
                <a:gd name="T89" fmla="*/ 469 h 698"/>
                <a:gd name="T90" fmla="*/ 28 w 492"/>
                <a:gd name="T91" fmla="*/ 444 h 698"/>
                <a:gd name="T92" fmla="*/ 1 w 492"/>
                <a:gd name="T93" fmla="*/ 405 h 698"/>
                <a:gd name="T94" fmla="*/ 20 w 492"/>
                <a:gd name="T95" fmla="*/ 386 h 698"/>
                <a:gd name="T96" fmla="*/ 34 w 492"/>
                <a:gd name="T97" fmla="*/ 352 h 698"/>
                <a:gd name="T98" fmla="*/ 39 w 492"/>
                <a:gd name="T99" fmla="*/ 320 h 698"/>
                <a:gd name="T100" fmla="*/ 29 w 492"/>
                <a:gd name="T101" fmla="*/ 265 h 698"/>
                <a:gd name="T102" fmla="*/ 42 w 492"/>
                <a:gd name="T103" fmla="*/ 238 h 698"/>
                <a:gd name="T104" fmla="*/ 55 w 492"/>
                <a:gd name="T105" fmla="*/ 196 h 698"/>
                <a:gd name="T106" fmla="*/ 30 w 492"/>
                <a:gd name="T107" fmla="*/ 175 h 698"/>
                <a:gd name="T108" fmla="*/ 9 w 492"/>
                <a:gd name="T109" fmla="*/ 146 h 698"/>
                <a:gd name="T110" fmla="*/ 16 w 492"/>
                <a:gd name="T111" fmla="*/ 94 h 698"/>
                <a:gd name="T112" fmla="*/ 51 w 492"/>
                <a:gd name="T113" fmla="*/ 53 h 698"/>
                <a:gd name="T114" fmla="*/ 83 w 492"/>
                <a:gd name="T115" fmla="*/ 35 h 698"/>
                <a:gd name="T116" fmla="*/ 74 w 492"/>
                <a:gd name="T117" fmla="*/ 15 h 698"/>
                <a:gd name="T118" fmla="*/ 105 w 492"/>
                <a:gd name="T119" fmla="*/ 21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92" h="698">
                  <a:moveTo>
                    <a:pt x="151" y="0"/>
                  </a:moveTo>
                  <a:lnTo>
                    <a:pt x="155" y="1"/>
                  </a:lnTo>
                  <a:lnTo>
                    <a:pt x="158" y="2"/>
                  </a:lnTo>
                  <a:lnTo>
                    <a:pt x="162" y="3"/>
                  </a:lnTo>
                  <a:lnTo>
                    <a:pt x="165" y="4"/>
                  </a:lnTo>
                  <a:lnTo>
                    <a:pt x="168" y="5"/>
                  </a:lnTo>
                  <a:lnTo>
                    <a:pt x="169" y="7"/>
                  </a:lnTo>
                  <a:lnTo>
                    <a:pt x="171" y="8"/>
                  </a:lnTo>
                  <a:lnTo>
                    <a:pt x="173" y="10"/>
                  </a:lnTo>
                  <a:lnTo>
                    <a:pt x="175" y="15"/>
                  </a:lnTo>
                  <a:lnTo>
                    <a:pt x="176" y="17"/>
                  </a:lnTo>
                  <a:lnTo>
                    <a:pt x="177" y="20"/>
                  </a:lnTo>
                  <a:lnTo>
                    <a:pt x="178" y="24"/>
                  </a:lnTo>
                  <a:lnTo>
                    <a:pt x="178" y="26"/>
                  </a:lnTo>
                  <a:lnTo>
                    <a:pt x="179" y="31"/>
                  </a:lnTo>
                  <a:lnTo>
                    <a:pt x="179" y="35"/>
                  </a:lnTo>
                  <a:lnTo>
                    <a:pt x="180" y="36"/>
                  </a:lnTo>
                  <a:lnTo>
                    <a:pt x="180" y="38"/>
                  </a:lnTo>
                  <a:lnTo>
                    <a:pt x="180" y="39"/>
                  </a:lnTo>
                  <a:lnTo>
                    <a:pt x="181" y="40"/>
                  </a:lnTo>
                  <a:lnTo>
                    <a:pt x="182" y="42"/>
                  </a:lnTo>
                  <a:lnTo>
                    <a:pt x="184" y="43"/>
                  </a:lnTo>
                  <a:lnTo>
                    <a:pt x="186" y="44"/>
                  </a:lnTo>
                  <a:lnTo>
                    <a:pt x="191" y="45"/>
                  </a:lnTo>
                  <a:lnTo>
                    <a:pt x="192" y="46"/>
                  </a:lnTo>
                  <a:lnTo>
                    <a:pt x="194" y="48"/>
                  </a:lnTo>
                  <a:lnTo>
                    <a:pt x="197" y="49"/>
                  </a:lnTo>
                  <a:lnTo>
                    <a:pt x="202" y="53"/>
                  </a:lnTo>
                  <a:lnTo>
                    <a:pt x="206" y="59"/>
                  </a:lnTo>
                  <a:lnTo>
                    <a:pt x="211" y="64"/>
                  </a:lnTo>
                  <a:lnTo>
                    <a:pt x="214" y="69"/>
                  </a:lnTo>
                  <a:lnTo>
                    <a:pt x="216" y="72"/>
                  </a:lnTo>
                  <a:lnTo>
                    <a:pt x="221" y="80"/>
                  </a:lnTo>
                  <a:lnTo>
                    <a:pt x="222" y="82"/>
                  </a:lnTo>
                  <a:lnTo>
                    <a:pt x="224" y="84"/>
                  </a:lnTo>
                  <a:lnTo>
                    <a:pt x="225" y="87"/>
                  </a:lnTo>
                  <a:lnTo>
                    <a:pt x="226" y="89"/>
                  </a:lnTo>
                  <a:lnTo>
                    <a:pt x="234" y="96"/>
                  </a:lnTo>
                  <a:lnTo>
                    <a:pt x="236" y="100"/>
                  </a:lnTo>
                  <a:lnTo>
                    <a:pt x="238" y="103"/>
                  </a:lnTo>
                  <a:lnTo>
                    <a:pt x="239" y="105"/>
                  </a:lnTo>
                  <a:lnTo>
                    <a:pt x="240" y="106"/>
                  </a:lnTo>
                  <a:lnTo>
                    <a:pt x="241" y="109"/>
                  </a:lnTo>
                  <a:lnTo>
                    <a:pt x="241" y="111"/>
                  </a:lnTo>
                  <a:lnTo>
                    <a:pt x="241" y="112"/>
                  </a:lnTo>
                  <a:lnTo>
                    <a:pt x="241" y="114"/>
                  </a:lnTo>
                  <a:lnTo>
                    <a:pt x="241" y="119"/>
                  </a:lnTo>
                  <a:lnTo>
                    <a:pt x="241" y="123"/>
                  </a:lnTo>
                  <a:lnTo>
                    <a:pt x="241" y="127"/>
                  </a:lnTo>
                  <a:lnTo>
                    <a:pt x="242" y="129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5" y="140"/>
                  </a:lnTo>
                  <a:lnTo>
                    <a:pt x="246" y="141"/>
                  </a:lnTo>
                  <a:lnTo>
                    <a:pt x="247" y="143"/>
                  </a:lnTo>
                  <a:lnTo>
                    <a:pt x="247" y="145"/>
                  </a:lnTo>
                  <a:lnTo>
                    <a:pt x="247" y="147"/>
                  </a:lnTo>
                  <a:lnTo>
                    <a:pt x="248" y="156"/>
                  </a:lnTo>
                  <a:lnTo>
                    <a:pt x="248" y="158"/>
                  </a:lnTo>
                  <a:lnTo>
                    <a:pt x="248" y="160"/>
                  </a:lnTo>
                  <a:lnTo>
                    <a:pt x="248" y="162"/>
                  </a:lnTo>
                  <a:lnTo>
                    <a:pt x="250" y="164"/>
                  </a:lnTo>
                  <a:lnTo>
                    <a:pt x="252" y="167"/>
                  </a:lnTo>
                  <a:lnTo>
                    <a:pt x="257" y="174"/>
                  </a:lnTo>
                  <a:lnTo>
                    <a:pt x="259" y="175"/>
                  </a:lnTo>
                  <a:lnTo>
                    <a:pt x="261" y="179"/>
                  </a:lnTo>
                  <a:lnTo>
                    <a:pt x="262" y="181"/>
                  </a:lnTo>
                  <a:lnTo>
                    <a:pt x="263" y="182"/>
                  </a:lnTo>
                  <a:lnTo>
                    <a:pt x="265" y="184"/>
                  </a:lnTo>
                  <a:lnTo>
                    <a:pt x="267" y="185"/>
                  </a:lnTo>
                  <a:lnTo>
                    <a:pt x="268" y="186"/>
                  </a:lnTo>
                  <a:lnTo>
                    <a:pt x="270" y="186"/>
                  </a:lnTo>
                  <a:lnTo>
                    <a:pt x="271" y="187"/>
                  </a:lnTo>
                  <a:lnTo>
                    <a:pt x="273" y="187"/>
                  </a:lnTo>
                  <a:lnTo>
                    <a:pt x="275" y="187"/>
                  </a:lnTo>
                  <a:lnTo>
                    <a:pt x="278" y="187"/>
                  </a:lnTo>
                  <a:lnTo>
                    <a:pt x="281" y="187"/>
                  </a:lnTo>
                  <a:lnTo>
                    <a:pt x="284" y="186"/>
                  </a:lnTo>
                  <a:lnTo>
                    <a:pt x="287" y="185"/>
                  </a:lnTo>
                  <a:lnTo>
                    <a:pt x="291" y="185"/>
                  </a:lnTo>
                  <a:lnTo>
                    <a:pt x="296" y="183"/>
                  </a:lnTo>
                  <a:lnTo>
                    <a:pt x="310" y="178"/>
                  </a:lnTo>
                  <a:lnTo>
                    <a:pt x="313" y="177"/>
                  </a:lnTo>
                  <a:lnTo>
                    <a:pt x="315" y="176"/>
                  </a:lnTo>
                  <a:lnTo>
                    <a:pt x="317" y="176"/>
                  </a:lnTo>
                  <a:lnTo>
                    <a:pt x="319" y="175"/>
                  </a:lnTo>
                  <a:lnTo>
                    <a:pt x="321" y="176"/>
                  </a:lnTo>
                  <a:lnTo>
                    <a:pt x="323" y="176"/>
                  </a:lnTo>
                  <a:lnTo>
                    <a:pt x="324" y="177"/>
                  </a:lnTo>
                  <a:lnTo>
                    <a:pt x="325" y="178"/>
                  </a:lnTo>
                  <a:lnTo>
                    <a:pt x="326" y="179"/>
                  </a:lnTo>
                  <a:lnTo>
                    <a:pt x="327" y="181"/>
                  </a:lnTo>
                  <a:lnTo>
                    <a:pt x="328" y="182"/>
                  </a:lnTo>
                  <a:lnTo>
                    <a:pt x="328" y="184"/>
                  </a:lnTo>
                  <a:lnTo>
                    <a:pt x="329" y="186"/>
                  </a:lnTo>
                  <a:lnTo>
                    <a:pt x="330" y="188"/>
                  </a:lnTo>
                  <a:lnTo>
                    <a:pt x="332" y="195"/>
                  </a:lnTo>
                  <a:lnTo>
                    <a:pt x="334" y="202"/>
                  </a:lnTo>
                  <a:lnTo>
                    <a:pt x="335" y="206"/>
                  </a:lnTo>
                  <a:lnTo>
                    <a:pt x="336" y="210"/>
                  </a:lnTo>
                  <a:lnTo>
                    <a:pt x="336" y="217"/>
                  </a:lnTo>
                  <a:lnTo>
                    <a:pt x="334" y="216"/>
                  </a:lnTo>
                  <a:lnTo>
                    <a:pt x="332" y="215"/>
                  </a:lnTo>
                  <a:lnTo>
                    <a:pt x="326" y="211"/>
                  </a:lnTo>
                  <a:lnTo>
                    <a:pt x="324" y="210"/>
                  </a:lnTo>
                  <a:lnTo>
                    <a:pt x="323" y="209"/>
                  </a:lnTo>
                  <a:lnTo>
                    <a:pt x="322" y="210"/>
                  </a:lnTo>
                  <a:lnTo>
                    <a:pt x="321" y="211"/>
                  </a:lnTo>
                  <a:lnTo>
                    <a:pt x="321" y="213"/>
                  </a:lnTo>
                  <a:lnTo>
                    <a:pt x="320" y="215"/>
                  </a:lnTo>
                  <a:lnTo>
                    <a:pt x="320" y="216"/>
                  </a:lnTo>
                  <a:lnTo>
                    <a:pt x="319" y="218"/>
                  </a:lnTo>
                  <a:lnTo>
                    <a:pt x="317" y="218"/>
                  </a:lnTo>
                  <a:lnTo>
                    <a:pt x="316" y="218"/>
                  </a:lnTo>
                  <a:lnTo>
                    <a:pt x="316" y="217"/>
                  </a:lnTo>
                  <a:lnTo>
                    <a:pt x="315" y="214"/>
                  </a:lnTo>
                  <a:lnTo>
                    <a:pt x="314" y="213"/>
                  </a:lnTo>
                  <a:lnTo>
                    <a:pt x="313" y="213"/>
                  </a:lnTo>
                  <a:lnTo>
                    <a:pt x="311" y="212"/>
                  </a:lnTo>
                  <a:lnTo>
                    <a:pt x="310" y="212"/>
                  </a:lnTo>
                  <a:lnTo>
                    <a:pt x="308" y="212"/>
                  </a:lnTo>
                  <a:lnTo>
                    <a:pt x="304" y="213"/>
                  </a:lnTo>
                  <a:lnTo>
                    <a:pt x="302" y="213"/>
                  </a:lnTo>
                  <a:lnTo>
                    <a:pt x="300" y="213"/>
                  </a:lnTo>
                  <a:lnTo>
                    <a:pt x="299" y="212"/>
                  </a:lnTo>
                  <a:lnTo>
                    <a:pt x="298" y="212"/>
                  </a:lnTo>
                  <a:lnTo>
                    <a:pt x="289" y="221"/>
                  </a:lnTo>
                  <a:lnTo>
                    <a:pt x="286" y="224"/>
                  </a:lnTo>
                  <a:lnTo>
                    <a:pt x="279" y="232"/>
                  </a:lnTo>
                  <a:lnTo>
                    <a:pt x="276" y="235"/>
                  </a:lnTo>
                  <a:lnTo>
                    <a:pt x="273" y="238"/>
                  </a:lnTo>
                  <a:lnTo>
                    <a:pt x="271" y="240"/>
                  </a:lnTo>
                  <a:lnTo>
                    <a:pt x="270" y="242"/>
                  </a:lnTo>
                  <a:lnTo>
                    <a:pt x="269" y="244"/>
                  </a:lnTo>
                  <a:lnTo>
                    <a:pt x="268" y="245"/>
                  </a:lnTo>
                  <a:lnTo>
                    <a:pt x="267" y="248"/>
                  </a:lnTo>
                  <a:lnTo>
                    <a:pt x="266" y="251"/>
                  </a:lnTo>
                  <a:lnTo>
                    <a:pt x="265" y="253"/>
                  </a:lnTo>
                  <a:lnTo>
                    <a:pt x="264" y="253"/>
                  </a:lnTo>
                  <a:lnTo>
                    <a:pt x="262" y="254"/>
                  </a:lnTo>
                  <a:lnTo>
                    <a:pt x="260" y="255"/>
                  </a:lnTo>
                  <a:lnTo>
                    <a:pt x="258" y="256"/>
                  </a:lnTo>
                  <a:lnTo>
                    <a:pt x="254" y="258"/>
                  </a:lnTo>
                  <a:lnTo>
                    <a:pt x="250" y="260"/>
                  </a:lnTo>
                  <a:lnTo>
                    <a:pt x="249" y="261"/>
                  </a:lnTo>
                  <a:lnTo>
                    <a:pt x="248" y="262"/>
                  </a:lnTo>
                  <a:lnTo>
                    <a:pt x="245" y="265"/>
                  </a:lnTo>
                  <a:lnTo>
                    <a:pt x="244" y="266"/>
                  </a:lnTo>
                  <a:lnTo>
                    <a:pt x="243" y="266"/>
                  </a:lnTo>
                  <a:lnTo>
                    <a:pt x="242" y="266"/>
                  </a:lnTo>
                  <a:lnTo>
                    <a:pt x="241" y="266"/>
                  </a:lnTo>
                  <a:lnTo>
                    <a:pt x="239" y="266"/>
                  </a:lnTo>
                  <a:lnTo>
                    <a:pt x="238" y="265"/>
                  </a:lnTo>
                  <a:lnTo>
                    <a:pt x="237" y="265"/>
                  </a:lnTo>
                  <a:lnTo>
                    <a:pt x="237" y="265"/>
                  </a:lnTo>
                  <a:lnTo>
                    <a:pt x="234" y="262"/>
                  </a:lnTo>
                  <a:lnTo>
                    <a:pt x="231" y="259"/>
                  </a:lnTo>
                  <a:lnTo>
                    <a:pt x="228" y="256"/>
                  </a:lnTo>
                  <a:lnTo>
                    <a:pt x="227" y="253"/>
                  </a:lnTo>
                  <a:lnTo>
                    <a:pt x="224" y="247"/>
                  </a:lnTo>
                  <a:lnTo>
                    <a:pt x="223" y="245"/>
                  </a:lnTo>
                  <a:lnTo>
                    <a:pt x="221" y="244"/>
                  </a:lnTo>
                  <a:lnTo>
                    <a:pt x="219" y="242"/>
                  </a:lnTo>
                  <a:lnTo>
                    <a:pt x="216" y="239"/>
                  </a:lnTo>
                  <a:lnTo>
                    <a:pt x="214" y="237"/>
                  </a:lnTo>
                  <a:lnTo>
                    <a:pt x="211" y="234"/>
                  </a:lnTo>
                  <a:lnTo>
                    <a:pt x="208" y="233"/>
                  </a:lnTo>
                  <a:lnTo>
                    <a:pt x="205" y="231"/>
                  </a:lnTo>
                  <a:lnTo>
                    <a:pt x="203" y="231"/>
                  </a:lnTo>
                  <a:lnTo>
                    <a:pt x="199" y="230"/>
                  </a:lnTo>
                  <a:lnTo>
                    <a:pt x="196" y="230"/>
                  </a:lnTo>
                  <a:lnTo>
                    <a:pt x="194" y="230"/>
                  </a:lnTo>
                  <a:lnTo>
                    <a:pt x="192" y="231"/>
                  </a:lnTo>
                  <a:lnTo>
                    <a:pt x="191" y="231"/>
                  </a:lnTo>
                  <a:lnTo>
                    <a:pt x="190" y="232"/>
                  </a:lnTo>
                  <a:lnTo>
                    <a:pt x="189" y="233"/>
                  </a:lnTo>
                  <a:lnTo>
                    <a:pt x="188" y="235"/>
                  </a:lnTo>
                  <a:lnTo>
                    <a:pt x="187" y="236"/>
                  </a:lnTo>
                  <a:lnTo>
                    <a:pt x="186" y="238"/>
                  </a:lnTo>
                  <a:lnTo>
                    <a:pt x="185" y="239"/>
                  </a:lnTo>
                  <a:lnTo>
                    <a:pt x="185" y="241"/>
                  </a:lnTo>
                  <a:lnTo>
                    <a:pt x="184" y="243"/>
                  </a:lnTo>
                  <a:lnTo>
                    <a:pt x="183" y="245"/>
                  </a:lnTo>
                  <a:lnTo>
                    <a:pt x="183" y="248"/>
                  </a:lnTo>
                  <a:lnTo>
                    <a:pt x="182" y="257"/>
                  </a:lnTo>
                  <a:lnTo>
                    <a:pt x="181" y="263"/>
                  </a:lnTo>
                  <a:lnTo>
                    <a:pt x="180" y="266"/>
                  </a:lnTo>
                  <a:lnTo>
                    <a:pt x="179" y="271"/>
                  </a:lnTo>
                  <a:lnTo>
                    <a:pt x="174" y="281"/>
                  </a:lnTo>
                  <a:lnTo>
                    <a:pt x="174" y="283"/>
                  </a:lnTo>
                  <a:lnTo>
                    <a:pt x="173" y="287"/>
                  </a:lnTo>
                  <a:lnTo>
                    <a:pt x="172" y="289"/>
                  </a:lnTo>
                  <a:lnTo>
                    <a:pt x="172" y="294"/>
                  </a:lnTo>
                  <a:lnTo>
                    <a:pt x="172" y="297"/>
                  </a:lnTo>
                  <a:lnTo>
                    <a:pt x="172" y="299"/>
                  </a:lnTo>
                  <a:lnTo>
                    <a:pt x="172" y="300"/>
                  </a:lnTo>
                  <a:lnTo>
                    <a:pt x="173" y="302"/>
                  </a:lnTo>
                  <a:lnTo>
                    <a:pt x="174" y="304"/>
                  </a:lnTo>
                  <a:lnTo>
                    <a:pt x="175" y="306"/>
                  </a:lnTo>
                  <a:lnTo>
                    <a:pt x="177" y="309"/>
                  </a:lnTo>
                  <a:lnTo>
                    <a:pt x="181" y="314"/>
                  </a:lnTo>
                  <a:lnTo>
                    <a:pt x="183" y="318"/>
                  </a:lnTo>
                  <a:lnTo>
                    <a:pt x="186" y="321"/>
                  </a:lnTo>
                  <a:lnTo>
                    <a:pt x="189" y="322"/>
                  </a:lnTo>
                  <a:lnTo>
                    <a:pt x="191" y="324"/>
                  </a:lnTo>
                  <a:lnTo>
                    <a:pt x="192" y="325"/>
                  </a:lnTo>
                  <a:lnTo>
                    <a:pt x="194" y="326"/>
                  </a:lnTo>
                  <a:lnTo>
                    <a:pt x="197" y="326"/>
                  </a:lnTo>
                  <a:lnTo>
                    <a:pt x="200" y="327"/>
                  </a:lnTo>
                  <a:lnTo>
                    <a:pt x="204" y="327"/>
                  </a:lnTo>
                  <a:lnTo>
                    <a:pt x="208" y="328"/>
                  </a:lnTo>
                  <a:lnTo>
                    <a:pt x="211" y="329"/>
                  </a:lnTo>
                  <a:lnTo>
                    <a:pt x="214" y="331"/>
                  </a:lnTo>
                  <a:lnTo>
                    <a:pt x="215" y="332"/>
                  </a:lnTo>
                  <a:lnTo>
                    <a:pt x="217" y="333"/>
                  </a:lnTo>
                  <a:lnTo>
                    <a:pt x="224" y="339"/>
                  </a:lnTo>
                  <a:lnTo>
                    <a:pt x="225" y="341"/>
                  </a:lnTo>
                  <a:lnTo>
                    <a:pt x="239" y="352"/>
                  </a:lnTo>
                  <a:lnTo>
                    <a:pt x="242" y="355"/>
                  </a:lnTo>
                  <a:lnTo>
                    <a:pt x="245" y="356"/>
                  </a:lnTo>
                  <a:lnTo>
                    <a:pt x="248" y="357"/>
                  </a:lnTo>
                  <a:lnTo>
                    <a:pt x="249" y="358"/>
                  </a:lnTo>
                  <a:lnTo>
                    <a:pt x="255" y="360"/>
                  </a:lnTo>
                  <a:lnTo>
                    <a:pt x="258" y="361"/>
                  </a:lnTo>
                  <a:lnTo>
                    <a:pt x="259" y="362"/>
                  </a:lnTo>
                  <a:lnTo>
                    <a:pt x="262" y="364"/>
                  </a:lnTo>
                  <a:lnTo>
                    <a:pt x="268" y="368"/>
                  </a:lnTo>
                  <a:lnTo>
                    <a:pt x="271" y="369"/>
                  </a:lnTo>
                  <a:lnTo>
                    <a:pt x="271" y="370"/>
                  </a:lnTo>
                  <a:lnTo>
                    <a:pt x="272" y="370"/>
                  </a:lnTo>
                  <a:lnTo>
                    <a:pt x="274" y="370"/>
                  </a:lnTo>
                  <a:lnTo>
                    <a:pt x="275" y="371"/>
                  </a:lnTo>
                  <a:lnTo>
                    <a:pt x="278" y="371"/>
                  </a:lnTo>
                  <a:lnTo>
                    <a:pt x="283" y="370"/>
                  </a:lnTo>
                  <a:lnTo>
                    <a:pt x="285" y="371"/>
                  </a:lnTo>
                  <a:lnTo>
                    <a:pt x="287" y="371"/>
                  </a:lnTo>
                  <a:lnTo>
                    <a:pt x="288" y="371"/>
                  </a:lnTo>
                  <a:lnTo>
                    <a:pt x="290" y="372"/>
                  </a:lnTo>
                  <a:lnTo>
                    <a:pt x="291" y="373"/>
                  </a:lnTo>
                  <a:lnTo>
                    <a:pt x="292" y="374"/>
                  </a:lnTo>
                  <a:lnTo>
                    <a:pt x="293" y="375"/>
                  </a:lnTo>
                  <a:lnTo>
                    <a:pt x="294" y="376"/>
                  </a:lnTo>
                  <a:lnTo>
                    <a:pt x="294" y="377"/>
                  </a:lnTo>
                  <a:lnTo>
                    <a:pt x="296" y="380"/>
                  </a:lnTo>
                  <a:lnTo>
                    <a:pt x="299" y="386"/>
                  </a:lnTo>
                  <a:lnTo>
                    <a:pt x="300" y="388"/>
                  </a:lnTo>
                  <a:lnTo>
                    <a:pt x="301" y="389"/>
                  </a:lnTo>
                  <a:lnTo>
                    <a:pt x="302" y="389"/>
                  </a:lnTo>
                  <a:lnTo>
                    <a:pt x="302" y="390"/>
                  </a:lnTo>
                  <a:lnTo>
                    <a:pt x="304" y="390"/>
                  </a:lnTo>
                  <a:lnTo>
                    <a:pt x="305" y="391"/>
                  </a:lnTo>
                  <a:lnTo>
                    <a:pt x="307" y="392"/>
                  </a:lnTo>
                  <a:lnTo>
                    <a:pt x="312" y="392"/>
                  </a:lnTo>
                  <a:lnTo>
                    <a:pt x="315" y="392"/>
                  </a:lnTo>
                  <a:lnTo>
                    <a:pt x="317" y="392"/>
                  </a:lnTo>
                  <a:lnTo>
                    <a:pt x="320" y="392"/>
                  </a:lnTo>
                  <a:lnTo>
                    <a:pt x="325" y="391"/>
                  </a:lnTo>
                  <a:lnTo>
                    <a:pt x="327" y="391"/>
                  </a:lnTo>
                  <a:lnTo>
                    <a:pt x="328" y="392"/>
                  </a:lnTo>
                  <a:lnTo>
                    <a:pt x="328" y="393"/>
                  </a:lnTo>
                  <a:lnTo>
                    <a:pt x="329" y="394"/>
                  </a:lnTo>
                  <a:lnTo>
                    <a:pt x="329" y="396"/>
                  </a:lnTo>
                  <a:lnTo>
                    <a:pt x="329" y="398"/>
                  </a:lnTo>
                  <a:lnTo>
                    <a:pt x="329" y="401"/>
                  </a:lnTo>
                  <a:lnTo>
                    <a:pt x="328" y="405"/>
                  </a:lnTo>
                  <a:lnTo>
                    <a:pt x="327" y="410"/>
                  </a:lnTo>
                  <a:lnTo>
                    <a:pt x="327" y="412"/>
                  </a:lnTo>
                  <a:lnTo>
                    <a:pt x="327" y="415"/>
                  </a:lnTo>
                  <a:lnTo>
                    <a:pt x="327" y="416"/>
                  </a:lnTo>
                  <a:lnTo>
                    <a:pt x="327" y="417"/>
                  </a:lnTo>
                  <a:lnTo>
                    <a:pt x="328" y="418"/>
                  </a:lnTo>
                  <a:lnTo>
                    <a:pt x="328" y="419"/>
                  </a:lnTo>
                  <a:lnTo>
                    <a:pt x="328" y="419"/>
                  </a:lnTo>
                  <a:lnTo>
                    <a:pt x="329" y="420"/>
                  </a:lnTo>
                  <a:lnTo>
                    <a:pt x="330" y="420"/>
                  </a:lnTo>
                  <a:lnTo>
                    <a:pt x="337" y="419"/>
                  </a:lnTo>
                  <a:lnTo>
                    <a:pt x="347" y="419"/>
                  </a:lnTo>
                  <a:lnTo>
                    <a:pt x="351" y="418"/>
                  </a:lnTo>
                  <a:lnTo>
                    <a:pt x="353" y="418"/>
                  </a:lnTo>
                  <a:lnTo>
                    <a:pt x="356" y="417"/>
                  </a:lnTo>
                  <a:lnTo>
                    <a:pt x="359" y="416"/>
                  </a:lnTo>
                  <a:lnTo>
                    <a:pt x="361" y="415"/>
                  </a:lnTo>
                  <a:lnTo>
                    <a:pt x="363" y="414"/>
                  </a:lnTo>
                  <a:lnTo>
                    <a:pt x="367" y="412"/>
                  </a:lnTo>
                  <a:lnTo>
                    <a:pt x="373" y="408"/>
                  </a:lnTo>
                  <a:lnTo>
                    <a:pt x="376" y="405"/>
                  </a:lnTo>
                  <a:lnTo>
                    <a:pt x="378" y="403"/>
                  </a:lnTo>
                  <a:lnTo>
                    <a:pt x="380" y="401"/>
                  </a:lnTo>
                  <a:lnTo>
                    <a:pt x="381" y="399"/>
                  </a:lnTo>
                  <a:lnTo>
                    <a:pt x="382" y="397"/>
                  </a:lnTo>
                  <a:lnTo>
                    <a:pt x="383" y="394"/>
                  </a:lnTo>
                  <a:lnTo>
                    <a:pt x="384" y="391"/>
                  </a:lnTo>
                  <a:lnTo>
                    <a:pt x="384" y="389"/>
                  </a:lnTo>
                  <a:lnTo>
                    <a:pt x="384" y="387"/>
                  </a:lnTo>
                  <a:lnTo>
                    <a:pt x="384" y="385"/>
                  </a:lnTo>
                  <a:lnTo>
                    <a:pt x="384" y="383"/>
                  </a:lnTo>
                  <a:lnTo>
                    <a:pt x="382" y="377"/>
                  </a:lnTo>
                  <a:lnTo>
                    <a:pt x="381" y="373"/>
                  </a:lnTo>
                  <a:lnTo>
                    <a:pt x="380" y="369"/>
                  </a:lnTo>
                  <a:lnTo>
                    <a:pt x="380" y="366"/>
                  </a:lnTo>
                  <a:lnTo>
                    <a:pt x="379" y="362"/>
                  </a:lnTo>
                  <a:lnTo>
                    <a:pt x="379" y="353"/>
                  </a:lnTo>
                  <a:lnTo>
                    <a:pt x="379" y="348"/>
                  </a:lnTo>
                  <a:lnTo>
                    <a:pt x="379" y="346"/>
                  </a:lnTo>
                  <a:lnTo>
                    <a:pt x="379" y="344"/>
                  </a:lnTo>
                  <a:lnTo>
                    <a:pt x="380" y="341"/>
                  </a:lnTo>
                  <a:lnTo>
                    <a:pt x="380" y="339"/>
                  </a:lnTo>
                  <a:lnTo>
                    <a:pt x="381" y="337"/>
                  </a:lnTo>
                  <a:lnTo>
                    <a:pt x="382" y="335"/>
                  </a:lnTo>
                  <a:lnTo>
                    <a:pt x="386" y="327"/>
                  </a:lnTo>
                  <a:lnTo>
                    <a:pt x="387" y="325"/>
                  </a:lnTo>
                  <a:lnTo>
                    <a:pt x="388" y="322"/>
                  </a:lnTo>
                  <a:lnTo>
                    <a:pt x="389" y="320"/>
                  </a:lnTo>
                  <a:lnTo>
                    <a:pt x="390" y="317"/>
                  </a:lnTo>
                  <a:lnTo>
                    <a:pt x="390" y="312"/>
                  </a:lnTo>
                  <a:lnTo>
                    <a:pt x="391" y="305"/>
                  </a:lnTo>
                  <a:lnTo>
                    <a:pt x="391" y="299"/>
                  </a:lnTo>
                  <a:lnTo>
                    <a:pt x="392" y="293"/>
                  </a:lnTo>
                  <a:lnTo>
                    <a:pt x="392" y="287"/>
                  </a:lnTo>
                  <a:lnTo>
                    <a:pt x="394" y="279"/>
                  </a:lnTo>
                  <a:lnTo>
                    <a:pt x="394" y="277"/>
                  </a:lnTo>
                  <a:lnTo>
                    <a:pt x="394" y="276"/>
                  </a:lnTo>
                  <a:lnTo>
                    <a:pt x="394" y="275"/>
                  </a:lnTo>
                  <a:lnTo>
                    <a:pt x="393" y="274"/>
                  </a:lnTo>
                  <a:lnTo>
                    <a:pt x="393" y="273"/>
                  </a:lnTo>
                  <a:lnTo>
                    <a:pt x="392" y="273"/>
                  </a:lnTo>
                  <a:lnTo>
                    <a:pt x="391" y="273"/>
                  </a:lnTo>
                  <a:lnTo>
                    <a:pt x="390" y="273"/>
                  </a:lnTo>
                  <a:lnTo>
                    <a:pt x="389" y="273"/>
                  </a:lnTo>
                  <a:lnTo>
                    <a:pt x="388" y="273"/>
                  </a:lnTo>
                  <a:lnTo>
                    <a:pt x="387" y="274"/>
                  </a:lnTo>
                  <a:lnTo>
                    <a:pt x="385" y="275"/>
                  </a:lnTo>
                  <a:lnTo>
                    <a:pt x="383" y="276"/>
                  </a:lnTo>
                  <a:lnTo>
                    <a:pt x="377" y="281"/>
                  </a:lnTo>
                  <a:lnTo>
                    <a:pt x="373" y="285"/>
                  </a:lnTo>
                  <a:lnTo>
                    <a:pt x="369" y="287"/>
                  </a:lnTo>
                  <a:lnTo>
                    <a:pt x="365" y="289"/>
                  </a:lnTo>
                  <a:lnTo>
                    <a:pt x="364" y="289"/>
                  </a:lnTo>
                  <a:lnTo>
                    <a:pt x="362" y="289"/>
                  </a:lnTo>
                  <a:lnTo>
                    <a:pt x="362" y="290"/>
                  </a:lnTo>
                  <a:lnTo>
                    <a:pt x="360" y="289"/>
                  </a:lnTo>
                  <a:lnTo>
                    <a:pt x="358" y="289"/>
                  </a:lnTo>
                  <a:lnTo>
                    <a:pt x="357" y="288"/>
                  </a:lnTo>
                  <a:lnTo>
                    <a:pt x="356" y="287"/>
                  </a:lnTo>
                  <a:lnTo>
                    <a:pt x="355" y="287"/>
                  </a:lnTo>
                  <a:lnTo>
                    <a:pt x="354" y="286"/>
                  </a:lnTo>
                  <a:lnTo>
                    <a:pt x="351" y="280"/>
                  </a:lnTo>
                  <a:lnTo>
                    <a:pt x="349" y="277"/>
                  </a:lnTo>
                  <a:lnTo>
                    <a:pt x="346" y="274"/>
                  </a:lnTo>
                  <a:lnTo>
                    <a:pt x="339" y="266"/>
                  </a:lnTo>
                  <a:lnTo>
                    <a:pt x="338" y="265"/>
                  </a:lnTo>
                  <a:lnTo>
                    <a:pt x="337" y="263"/>
                  </a:lnTo>
                  <a:lnTo>
                    <a:pt x="335" y="260"/>
                  </a:lnTo>
                  <a:lnTo>
                    <a:pt x="332" y="253"/>
                  </a:lnTo>
                  <a:lnTo>
                    <a:pt x="330" y="250"/>
                  </a:lnTo>
                  <a:lnTo>
                    <a:pt x="328" y="247"/>
                  </a:lnTo>
                  <a:lnTo>
                    <a:pt x="326" y="242"/>
                  </a:lnTo>
                  <a:lnTo>
                    <a:pt x="324" y="239"/>
                  </a:lnTo>
                  <a:lnTo>
                    <a:pt x="323" y="236"/>
                  </a:lnTo>
                  <a:lnTo>
                    <a:pt x="322" y="234"/>
                  </a:lnTo>
                  <a:lnTo>
                    <a:pt x="322" y="232"/>
                  </a:lnTo>
                  <a:lnTo>
                    <a:pt x="322" y="231"/>
                  </a:lnTo>
                  <a:lnTo>
                    <a:pt x="322" y="230"/>
                  </a:lnTo>
                  <a:lnTo>
                    <a:pt x="322" y="229"/>
                  </a:lnTo>
                  <a:lnTo>
                    <a:pt x="322" y="228"/>
                  </a:lnTo>
                  <a:lnTo>
                    <a:pt x="322" y="226"/>
                  </a:lnTo>
                  <a:lnTo>
                    <a:pt x="323" y="225"/>
                  </a:lnTo>
                  <a:lnTo>
                    <a:pt x="324" y="224"/>
                  </a:lnTo>
                  <a:lnTo>
                    <a:pt x="325" y="223"/>
                  </a:lnTo>
                  <a:lnTo>
                    <a:pt x="326" y="221"/>
                  </a:lnTo>
                  <a:lnTo>
                    <a:pt x="328" y="220"/>
                  </a:lnTo>
                  <a:lnTo>
                    <a:pt x="328" y="219"/>
                  </a:lnTo>
                  <a:lnTo>
                    <a:pt x="330" y="219"/>
                  </a:lnTo>
                  <a:lnTo>
                    <a:pt x="332" y="218"/>
                  </a:lnTo>
                  <a:lnTo>
                    <a:pt x="335" y="217"/>
                  </a:lnTo>
                  <a:lnTo>
                    <a:pt x="336" y="217"/>
                  </a:lnTo>
                  <a:lnTo>
                    <a:pt x="337" y="217"/>
                  </a:lnTo>
                  <a:lnTo>
                    <a:pt x="338" y="217"/>
                  </a:lnTo>
                  <a:lnTo>
                    <a:pt x="339" y="217"/>
                  </a:lnTo>
                  <a:lnTo>
                    <a:pt x="341" y="217"/>
                  </a:lnTo>
                  <a:lnTo>
                    <a:pt x="342" y="216"/>
                  </a:lnTo>
                  <a:lnTo>
                    <a:pt x="343" y="215"/>
                  </a:lnTo>
                  <a:lnTo>
                    <a:pt x="345" y="214"/>
                  </a:lnTo>
                  <a:lnTo>
                    <a:pt x="346" y="213"/>
                  </a:lnTo>
                  <a:lnTo>
                    <a:pt x="347" y="212"/>
                  </a:lnTo>
                  <a:lnTo>
                    <a:pt x="348" y="210"/>
                  </a:lnTo>
                  <a:lnTo>
                    <a:pt x="349" y="207"/>
                  </a:lnTo>
                  <a:lnTo>
                    <a:pt x="350" y="205"/>
                  </a:lnTo>
                  <a:lnTo>
                    <a:pt x="350" y="201"/>
                  </a:lnTo>
                  <a:lnTo>
                    <a:pt x="351" y="199"/>
                  </a:lnTo>
                  <a:lnTo>
                    <a:pt x="351" y="197"/>
                  </a:lnTo>
                  <a:lnTo>
                    <a:pt x="351" y="196"/>
                  </a:lnTo>
                  <a:lnTo>
                    <a:pt x="352" y="194"/>
                  </a:lnTo>
                  <a:lnTo>
                    <a:pt x="353" y="193"/>
                  </a:lnTo>
                  <a:lnTo>
                    <a:pt x="355" y="193"/>
                  </a:lnTo>
                  <a:lnTo>
                    <a:pt x="357" y="192"/>
                  </a:lnTo>
                  <a:lnTo>
                    <a:pt x="360" y="192"/>
                  </a:lnTo>
                  <a:lnTo>
                    <a:pt x="363" y="193"/>
                  </a:lnTo>
                  <a:lnTo>
                    <a:pt x="365" y="193"/>
                  </a:lnTo>
                  <a:lnTo>
                    <a:pt x="367" y="194"/>
                  </a:lnTo>
                  <a:lnTo>
                    <a:pt x="370" y="195"/>
                  </a:lnTo>
                  <a:lnTo>
                    <a:pt x="373" y="196"/>
                  </a:lnTo>
                  <a:lnTo>
                    <a:pt x="374" y="197"/>
                  </a:lnTo>
                  <a:lnTo>
                    <a:pt x="379" y="200"/>
                  </a:lnTo>
                  <a:lnTo>
                    <a:pt x="383" y="202"/>
                  </a:lnTo>
                  <a:lnTo>
                    <a:pt x="385" y="204"/>
                  </a:lnTo>
                  <a:lnTo>
                    <a:pt x="388" y="205"/>
                  </a:lnTo>
                  <a:lnTo>
                    <a:pt x="393" y="207"/>
                  </a:lnTo>
                  <a:lnTo>
                    <a:pt x="397" y="208"/>
                  </a:lnTo>
                  <a:lnTo>
                    <a:pt x="407" y="210"/>
                  </a:lnTo>
                  <a:lnTo>
                    <a:pt x="414" y="211"/>
                  </a:lnTo>
                  <a:lnTo>
                    <a:pt x="417" y="212"/>
                  </a:lnTo>
                  <a:lnTo>
                    <a:pt x="423" y="212"/>
                  </a:lnTo>
                  <a:lnTo>
                    <a:pt x="427" y="212"/>
                  </a:lnTo>
                  <a:lnTo>
                    <a:pt x="433" y="211"/>
                  </a:lnTo>
                  <a:lnTo>
                    <a:pt x="436" y="211"/>
                  </a:lnTo>
                  <a:lnTo>
                    <a:pt x="439" y="211"/>
                  </a:lnTo>
                  <a:lnTo>
                    <a:pt x="451" y="212"/>
                  </a:lnTo>
                  <a:lnTo>
                    <a:pt x="455" y="212"/>
                  </a:lnTo>
                  <a:lnTo>
                    <a:pt x="458" y="212"/>
                  </a:lnTo>
                  <a:lnTo>
                    <a:pt x="462" y="211"/>
                  </a:lnTo>
                  <a:lnTo>
                    <a:pt x="464" y="211"/>
                  </a:lnTo>
                  <a:lnTo>
                    <a:pt x="465" y="210"/>
                  </a:lnTo>
                  <a:lnTo>
                    <a:pt x="467" y="209"/>
                  </a:lnTo>
                  <a:lnTo>
                    <a:pt x="469" y="208"/>
                  </a:lnTo>
                  <a:lnTo>
                    <a:pt x="470" y="208"/>
                  </a:lnTo>
                  <a:lnTo>
                    <a:pt x="471" y="208"/>
                  </a:lnTo>
                  <a:lnTo>
                    <a:pt x="472" y="208"/>
                  </a:lnTo>
                  <a:lnTo>
                    <a:pt x="472" y="208"/>
                  </a:lnTo>
                  <a:lnTo>
                    <a:pt x="473" y="208"/>
                  </a:lnTo>
                  <a:lnTo>
                    <a:pt x="473" y="209"/>
                  </a:lnTo>
                  <a:lnTo>
                    <a:pt x="474" y="210"/>
                  </a:lnTo>
                  <a:lnTo>
                    <a:pt x="474" y="211"/>
                  </a:lnTo>
                  <a:lnTo>
                    <a:pt x="474" y="212"/>
                  </a:lnTo>
                  <a:lnTo>
                    <a:pt x="474" y="214"/>
                  </a:lnTo>
                  <a:lnTo>
                    <a:pt x="473" y="217"/>
                  </a:lnTo>
                  <a:lnTo>
                    <a:pt x="472" y="219"/>
                  </a:lnTo>
                  <a:lnTo>
                    <a:pt x="471" y="222"/>
                  </a:lnTo>
                  <a:lnTo>
                    <a:pt x="467" y="229"/>
                  </a:lnTo>
                  <a:lnTo>
                    <a:pt x="466" y="231"/>
                  </a:lnTo>
                  <a:lnTo>
                    <a:pt x="466" y="232"/>
                  </a:lnTo>
                  <a:lnTo>
                    <a:pt x="465" y="235"/>
                  </a:lnTo>
                  <a:lnTo>
                    <a:pt x="465" y="237"/>
                  </a:lnTo>
                  <a:lnTo>
                    <a:pt x="465" y="239"/>
                  </a:lnTo>
                  <a:lnTo>
                    <a:pt x="466" y="242"/>
                  </a:lnTo>
                  <a:lnTo>
                    <a:pt x="467" y="244"/>
                  </a:lnTo>
                  <a:lnTo>
                    <a:pt x="468" y="247"/>
                  </a:lnTo>
                  <a:lnTo>
                    <a:pt x="471" y="253"/>
                  </a:lnTo>
                  <a:lnTo>
                    <a:pt x="473" y="256"/>
                  </a:lnTo>
                  <a:lnTo>
                    <a:pt x="475" y="259"/>
                  </a:lnTo>
                  <a:lnTo>
                    <a:pt x="477" y="263"/>
                  </a:lnTo>
                  <a:lnTo>
                    <a:pt x="484" y="270"/>
                  </a:lnTo>
                  <a:lnTo>
                    <a:pt x="486" y="272"/>
                  </a:lnTo>
                  <a:lnTo>
                    <a:pt x="487" y="274"/>
                  </a:lnTo>
                  <a:lnTo>
                    <a:pt x="487" y="276"/>
                  </a:lnTo>
                  <a:lnTo>
                    <a:pt x="488" y="277"/>
                  </a:lnTo>
                  <a:lnTo>
                    <a:pt x="489" y="279"/>
                  </a:lnTo>
                  <a:lnTo>
                    <a:pt x="490" y="282"/>
                  </a:lnTo>
                  <a:lnTo>
                    <a:pt x="490" y="284"/>
                  </a:lnTo>
                  <a:lnTo>
                    <a:pt x="490" y="286"/>
                  </a:lnTo>
                  <a:lnTo>
                    <a:pt x="490" y="290"/>
                  </a:lnTo>
                  <a:lnTo>
                    <a:pt x="490" y="295"/>
                  </a:lnTo>
                  <a:lnTo>
                    <a:pt x="491" y="303"/>
                  </a:lnTo>
                  <a:lnTo>
                    <a:pt x="492" y="307"/>
                  </a:lnTo>
                  <a:lnTo>
                    <a:pt x="492" y="310"/>
                  </a:lnTo>
                  <a:lnTo>
                    <a:pt x="491" y="313"/>
                  </a:lnTo>
                  <a:lnTo>
                    <a:pt x="491" y="315"/>
                  </a:lnTo>
                  <a:lnTo>
                    <a:pt x="490" y="316"/>
                  </a:lnTo>
                  <a:lnTo>
                    <a:pt x="489" y="319"/>
                  </a:lnTo>
                  <a:lnTo>
                    <a:pt x="488" y="320"/>
                  </a:lnTo>
                  <a:lnTo>
                    <a:pt x="487" y="322"/>
                  </a:lnTo>
                  <a:lnTo>
                    <a:pt x="486" y="324"/>
                  </a:lnTo>
                  <a:lnTo>
                    <a:pt x="484" y="325"/>
                  </a:lnTo>
                  <a:lnTo>
                    <a:pt x="482" y="327"/>
                  </a:lnTo>
                  <a:lnTo>
                    <a:pt x="481" y="328"/>
                  </a:lnTo>
                  <a:lnTo>
                    <a:pt x="479" y="329"/>
                  </a:lnTo>
                  <a:lnTo>
                    <a:pt x="477" y="330"/>
                  </a:lnTo>
                  <a:lnTo>
                    <a:pt x="476" y="331"/>
                  </a:lnTo>
                  <a:lnTo>
                    <a:pt x="474" y="332"/>
                  </a:lnTo>
                  <a:lnTo>
                    <a:pt x="472" y="332"/>
                  </a:lnTo>
                  <a:lnTo>
                    <a:pt x="465" y="333"/>
                  </a:lnTo>
                  <a:lnTo>
                    <a:pt x="464" y="333"/>
                  </a:lnTo>
                  <a:lnTo>
                    <a:pt x="464" y="334"/>
                  </a:lnTo>
                  <a:lnTo>
                    <a:pt x="462" y="335"/>
                  </a:lnTo>
                  <a:lnTo>
                    <a:pt x="461" y="335"/>
                  </a:lnTo>
                  <a:lnTo>
                    <a:pt x="460" y="337"/>
                  </a:lnTo>
                  <a:lnTo>
                    <a:pt x="459" y="338"/>
                  </a:lnTo>
                  <a:lnTo>
                    <a:pt x="458" y="340"/>
                  </a:lnTo>
                  <a:lnTo>
                    <a:pt x="458" y="341"/>
                  </a:lnTo>
                  <a:lnTo>
                    <a:pt x="457" y="343"/>
                  </a:lnTo>
                  <a:lnTo>
                    <a:pt x="457" y="344"/>
                  </a:lnTo>
                  <a:lnTo>
                    <a:pt x="457" y="346"/>
                  </a:lnTo>
                  <a:lnTo>
                    <a:pt x="456" y="355"/>
                  </a:lnTo>
                  <a:lnTo>
                    <a:pt x="456" y="360"/>
                  </a:lnTo>
                  <a:lnTo>
                    <a:pt x="456" y="362"/>
                  </a:lnTo>
                  <a:lnTo>
                    <a:pt x="455" y="364"/>
                  </a:lnTo>
                  <a:lnTo>
                    <a:pt x="454" y="368"/>
                  </a:lnTo>
                  <a:lnTo>
                    <a:pt x="453" y="372"/>
                  </a:lnTo>
                  <a:lnTo>
                    <a:pt x="452" y="376"/>
                  </a:lnTo>
                  <a:lnTo>
                    <a:pt x="448" y="382"/>
                  </a:lnTo>
                  <a:lnTo>
                    <a:pt x="444" y="389"/>
                  </a:lnTo>
                  <a:lnTo>
                    <a:pt x="437" y="401"/>
                  </a:lnTo>
                  <a:lnTo>
                    <a:pt x="435" y="405"/>
                  </a:lnTo>
                  <a:lnTo>
                    <a:pt x="434" y="407"/>
                  </a:lnTo>
                  <a:lnTo>
                    <a:pt x="433" y="409"/>
                  </a:lnTo>
                  <a:lnTo>
                    <a:pt x="433" y="411"/>
                  </a:lnTo>
                  <a:lnTo>
                    <a:pt x="433" y="412"/>
                  </a:lnTo>
                  <a:lnTo>
                    <a:pt x="433" y="414"/>
                  </a:lnTo>
                  <a:lnTo>
                    <a:pt x="434" y="416"/>
                  </a:lnTo>
                  <a:lnTo>
                    <a:pt x="435" y="419"/>
                  </a:lnTo>
                  <a:lnTo>
                    <a:pt x="435" y="420"/>
                  </a:lnTo>
                  <a:lnTo>
                    <a:pt x="436" y="421"/>
                  </a:lnTo>
                  <a:lnTo>
                    <a:pt x="437" y="422"/>
                  </a:lnTo>
                  <a:lnTo>
                    <a:pt x="439" y="423"/>
                  </a:lnTo>
                  <a:lnTo>
                    <a:pt x="441" y="423"/>
                  </a:lnTo>
                  <a:lnTo>
                    <a:pt x="443" y="424"/>
                  </a:lnTo>
                  <a:lnTo>
                    <a:pt x="445" y="424"/>
                  </a:lnTo>
                  <a:lnTo>
                    <a:pt x="445" y="425"/>
                  </a:lnTo>
                  <a:lnTo>
                    <a:pt x="446" y="425"/>
                  </a:lnTo>
                  <a:lnTo>
                    <a:pt x="447" y="426"/>
                  </a:lnTo>
                  <a:lnTo>
                    <a:pt x="447" y="427"/>
                  </a:lnTo>
                  <a:lnTo>
                    <a:pt x="448" y="429"/>
                  </a:lnTo>
                  <a:lnTo>
                    <a:pt x="448" y="430"/>
                  </a:lnTo>
                  <a:lnTo>
                    <a:pt x="450" y="442"/>
                  </a:lnTo>
                  <a:lnTo>
                    <a:pt x="451" y="447"/>
                  </a:lnTo>
                  <a:lnTo>
                    <a:pt x="452" y="450"/>
                  </a:lnTo>
                  <a:lnTo>
                    <a:pt x="453" y="454"/>
                  </a:lnTo>
                  <a:lnTo>
                    <a:pt x="453" y="456"/>
                  </a:lnTo>
                  <a:lnTo>
                    <a:pt x="453" y="458"/>
                  </a:lnTo>
                  <a:lnTo>
                    <a:pt x="459" y="470"/>
                  </a:lnTo>
                  <a:lnTo>
                    <a:pt x="463" y="479"/>
                  </a:lnTo>
                  <a:lnTo>
                    <a:pt x="464" y="484"/>
                  </a:lnTo>
                  <a:lnTo>
                    <a:pt x="466" y="491"/>
                  </a:lnTo>
                  <a:lnTo>
                    <a:pt x="465" y="491"/>
                  </a:lnTo>
                  <a:lnTo>
                    <a:pt x="463" y="497"/>
                  </a:lnTo>
                  <a:lnTo>
                    <a:pt x="459" y="503"/>
                  </a:lnTo>
                  <a:lnTo>
                    <a:pt x="456" y="505"/>
                  </a:lnTo>
                  <a:lnTo>
                    <a:pt x="453" y="509"/>
                  </a:lnTo>
                  <a:lnTo>
                    <a:pt x="451" y="511"/>
                  </a:lnTo>
                  <a:lnTo>
                    <a:pt x="449" y="513"/>
                  </a:lnTo>
                  <a:lnTo>
                    <a:pt x="447" y="514"/>
                  </a:lnTo>
                  <a:lnTo>
                    <a:pt x="444" y="515"/>
                  </a:lnTo>
                  <a:lnTo>
                    <a:pt x="441" y="516"/>
                  </a:lnTo>
                  <a:lnTo>
                    <a:pt x="437" y="517"/>
                  </a:lnTo>
                  <a:lnTo>
                    <a:pt x="434" y="518"/>
                  </a:lnTo>
                  <a:lnTo>
                    <a:pt x="430" y="518"/>
                  </a:lnTo>
                  <a:lnTo>
                    <a:pt x="426" y="517"/>
                  </a:lnTo>
                  <a:lnTo>
                    <a:pt x="422" y="516"/>
                  </a:lnTo>
                  <a:lnTo>
                    <a:pt x="419" y="515"/>
                  </a:lnTo>
                  <a:lnTo>
                    <a:pt x="408" y="513"/>
                  </a:lnTo>
                  <a:lnTo>
                    <a:pt x="405" y="511"/>
                  </a:lnTo>
                  <a:lnTo>
                    <a:pt x="402" y="511"/>
                  </a:lnTo>
                  <a:lnTo>
                    <a:pt x="398" y="510"/>
                  </a:lnTo>
                  <a:lnTo>
                    <a:pt x="397" y="510"/>
                  </a:lnTo>
                  <a:lnTo>
                    <a:pt x="394" y="511"/>
                  </a:lnTo>
                  <a:lnTo>
                    <a:pt x="391" y="512"/>
                  </a:lnTo>
                  <a:lnTo>
                    <a:pt x="387" y="514"/>
                  </a:lnTo>
                  <a:lnTo>
                    <a:pt x="385" y="514"/>
                  </a:lnTo>
                  <a:lnTo>
                    <a:pt x="384" y="515"/>
                  </a:lnTo>
                  <a:lnTo>
                    <a:pt x="382" y="517"/>
                  </a:lnTo>
                  <a:lnTo>
                    <a:pt x="381" y="518"/>
                  </a:lnTo>
                  <a:lnTo>
                    <a:pt x="373" y="528"/>
                  </a:lnTo>
                  <a:lnTo>
                    <a:pt x="370" y="534"/>
                  </a:lnTo>
                  <a:lnTo>
                    <a:pt x="367" y="537"/>
                  </a:lnTo>
                  <a:lnTo>
                    <a:pt x="362" y="545"/>
                  </a:lnTo>
                  <a:lnTo>
                    <a:pt x="356" y="549"/>
                  </a:lnTo>
                  <a:lnTo>
                    <a:pt x="354" y="552"/>
                  </a:lnTo>
                  <a:lnTo>
                    <a:pt x="352" y="555"/>
                  </a:lnTo>
                  <a:lnTo>
                    <a:pt x="351" y="559"/>
                  </a:lnTo>
                  <a:lnTo>
                    <a:pt x="350" y="561"/>
                  </a:lnTo>
                  <a:lnTo>
                    <a:pt x="347" y="569"/>
                  </a:lnTo>
                  <a:lnTo>
                    <a:pt x="345" y="572"/>
                  </a:lnTo>
                  <a:lnTo>
                    <a:pt x="344" y="574"/>
                  </a:lnTo>
                  <a:lnTo>
                    <a:pt x="339" y="581"/>
                  </a:lnTo>
                  <a:lnTo>
                    <a:pt x="336" y="587"/>
                  </a:lnTo>
                  <a:lnTo>
                    <a:pt x="334" y="591"/>
                  </a:lnTo>
                  <a:lnTo>
                    <a:pt x="327" y="604"/>
                  </a:lnTo>
                  <a:lnTo>
                    <a:pt x="325" y="607"/>
                  </a:lnTo>
                  <a:lnTo>
                    <a:pt x="324" y="609"/>
                  </a:lnTo>
                  <a:lnTo>
                    <a:pt x="322" y="612"/>
                  </a:lnTo>
                  <a:lnTo>
                    <a:pt x="317" y="616"/>
                  </a:lnTo>
                  <a:lnTo>
                    <a:pt x="316" y="619"/>
                  </a:lnTo>
                  <a:lnTo>
                    <a:pt x="315" y="622"/>
                  </a:lnTo>
                  <a:lnTo>
                    <a:pt x="314" y="623"/>
                  </a:lnTo>
                  <a:lnTo>
                    <a:pt x="313" y="625"/>
                  </a:lnTo>
                  <a:lnTo>
                    <a:pt x="313" y="627"/>
                  </a:lnTo>
                  <a:lnTo>
                    <a:pt x="312" y="629"/>
                  </a:lnTo>
                  <a:lnTo>
                    <a:pt x="312" y="632"/>
                  </a:lnTo>
                  <a:lnTo>
                    <a:pt x="311" y="635"/>
                  </a:lnTo>
                  <a:lnTo>
                    <a:pt x="312" y="638"/>
                  </a:lnTo>
                  <a:lnTo>
                    <a:pt x="312" y="640"/>
                  </a:lnTo>
                  <a:lnTo>
                    <a:pt x="314" y="649"/>
                  </a:lnTo>
                  <a:lnTo>
                    <a:pt x="316" y="661"/>
                  </a:lnTo>
                  <a:lnTo>
                    <a:pt x="317" y="671"/>
                  </a:lnTo>
                  <a:lnTo>
                    <a:pt x="318" y="675"/>
                  </a:lnTo>
                  <a:lnTo>
                    <a:pt x="319" y="679"/>
                  </a:lnTo>
                  <a:lnTo>
                    <a:pt x="319" y="683"/>
                  </a:lnTo>
                  <a:lnTo>
                    <a:pt x="319" y="684"/>
                  </a:lnTo>
                  <a:lnTo>
                    <a:pt x="318" y="685"/>
                  </a:lnTo>
                  <a:lnTo>
                    <a:pt x="318" y="687"/>
                  </a:lnTo>
                  <a:lnTo>
                    <a:pt x="317" y="689"/>
                  </a:lnTo>
                  <a:lnTo>
                    <a:pt x="316" y="691"/>
                  </a:lnTo>
                  <a:lnTo>
                    <a:pt x="315" y="693"/>
                  </a:lnTo>
                  <a:lnTo>
                    <a:pt x="313" y="695"/>
                  </a:lnTo>
                  <a:lnTo>
                    <a:pt x="312" y="695"/>
                  </a:lnTo>
                  <a:lnTo>
                    <a:pt x="310" y="696"/>
                  </a:lnTo>
                  <a:lnTo>
                    <a:pt x="308" y="697"/>
                  </a:lnTo>
                  <a:lnTo>
                    <a:pt x="306" y="698"/>
                  </a:lnTo>
                  <a:lnTo>
                    <a:pt x="305" y="698"/>
                  </a:lnTo>
                  <a:lnTo>
                    <a:pt x="302" y="698"/>
                  </a:lnTo>
                  <a:lnTo>
                    <a:pt x="301" y="698"/>
                  </a:lnTo>
                  <a:lnTo>
                    <a:pt x="299" y="697"/>
                  </a:lnTo>
                  <a:lnTo>
                    <a:pt x="297" y="697"/>
                  </a:lnTo>
                  <a:lnTo>
                    <a:pt x="296" y="696"/>
                  </a:lnTo>
                  <a:lnTo>
                    <a:pt x="294" y="695"/>
                  </a:lnTo>
                  <a:lnTo>
                    <a:pt x="294" y="695"/>
                  </a:lnTo>
                  <a:lnTo>
                    <a:pt x="293" y="693"/>
                  </a:lnTo>
                  <a:lnTo>
                    <a:pt x="292" y="691"/>
                  </a:lnTo>
                  <a:lnTo>
                    <a:pt x="290" y="686"/>
                  </a:lnTo>
                  <a:lnTo>
                    <a:pt x="290" y="685"/>
                  </a:lnTo>
                  <a:lnTo>
                    <a:pt x="289" y="684"/>
                  </a:lnTo>
                  <a:lnTo>
                    <a:pt x="288" y="684"/>
                  </a:lnTo>
                  <a:lnTo>
                    <a:pt x="287" y="683"/>
                  </a:lnTo>
                  <a:lnTo>
                    <a:pt x="286" y="683"/>
                  </a:lnTo>
                  <a:lnTo>
                    <a:pt x="284" y="682"/>
                  </a:lnTo>
                  <a:lnTo>
                    <a:pt x="282" y="682"/>
                  </a:lnTo>
                  <a:lnTo>
                    <a:pt x="280" y="682"/>
                  </a:lnTo>
                  <a:lnTo>
                    <a:pt x="272" y="682"/>
                  </a:lnTo>
                  <a:lnTo>
                    <a:pt x="269" y="682"/>
                  </a:lnTo>
                  <a:lnTo>
                    <a:pt x="267" y="682"/>
                  </a:lnTo>
                  <a:lnTo>
                    <a:pt x="264" y="683"/>
                  </a:lnTo>
                  <a:lnTo>
                    <a:pt x="259" y="684"/>
                  </a:lnTo>
                  <a:lnTo>
                    <a:pt x="256" y="684"/>
                  </a:lnTo>
                  <a:lnTo>
                    <a:pt x="254" y="684"/>
                  </a:lnTo>
                  <a:lnTo>
                    <a:pt x="251" y="684"/>
                  </a:lnTo>
                  <a:lnTo>
                    <a:pt x="248" y="684"/>
                  </a:lnTo>
                  <a:lnTo>
                    <a:pt x="244" y="683"/>
                  </a:lnTo>
                  <a:lnTo>
                    <a:pt x="239" y="681"/>
                  </a:lnTo>
                  <a:lnTo>
                    <a:pt x="233" y="679"/>
                  </a:lnTo>
                  <a:lnTo>
                    <a:pt x="228" y="677"/>
                  </a:lnTo>
                  <a:lnTo>
                    <a:pt x="226" y="677"/>
                  </a:lnTo>
                  <a:lnTo>
                    <a:pt x="224" y="676"/>
                  </a:lnTo>
                  <a:lnTo>
                    <a:pt x="221" y="676"/>
                  </a:lnTo>
                  <a:lnTo>
                    <a:pt x="219" y="676"/>
                  </a:lnTo>
                  <a:lnTo>
                    <a:pt x="217" y="676"/>
                  </a:lnTo>
                  <a:lnTo>
                    <a:pt x="214" y="676"/>
                  </a:lnTo>
                  <a:lnTo>
                    <a:pt x="212" y="676"/>
                  </a:lnTo>
                  <a:lnTo>
                    <a:pt x="208" y="676"/>
                  </a:lnTo>
                  <a:lnTo>
                    <a:pt x="206" y="677"/>
                  </a:lnTo>
                  <a:lnTo>
                    <a:pt x="203" y="678"/>
                  </a:lnTo>
                  <a:lnTo>
                    <a:pt x="199" y="679"/>
                  </a:lnTo>
                  <a:lnTo>
                    <a:pt x="197" y="681"/>
                  </a:lnTo>
                  <a:lnTo>
                    <a:pt x="194" y="682"/>
                  </a:lnTo>
                  <a:lnTo>
                    <a:pt x="191" y="684"/>
                  </a:lnTo>
                  <a:lnTo>
                    <a:pt x="189" y="685"/>
                  </a:lnTo>
                  <a:lnTo>
                    <a:pt x="187" y="687"/>
                  </a:lnTo>
                  <a:lnTo>
                    <a:pt x="186" y="688"/>
                  </a:lnTo>
                  <a:lnTo>
                    <a:pt x="186" y="689"/>
                  </a:lnTo>
                  <a:lnTo>
                    <a:pt x="185" y="688"/>
                  </a:lnTo>
                  <a:lnTo>
                    <a:pt x="183" y="687"/>
                  </a:lnTo>
                  <a:lnTo>
                    <a:pt x="181" y="686"/>
                  </a:lnTo>
                  <a:lnTo>
                    <a:pt x="179" y="684"/>
                  </a:lnTo>
                  <a:lnTo>
                    <a:pt x="177" y="683"/>
                  </a:lnTo>
                  <a:lnTo>
                    <a:pt x="175" y="681"/>
                  </a:lnTo>
                  <a:lnTo>
                    <a:pt x="173" y="679"/>
                  </a:lnTo>
                  <a:lnTo>
                    <a:pt x="171" y="677"/>
                  </a:lnTo>
                  <a:lnTo>
                    <a:pt x="169" y="675"/>
                  </a:lnTo>
                  <a:lnTo>
                    <a:pt x="169" y="673"/>
                  </a:lnTo>
                  <a:lnTo>
                    <a:pt x="167" y="670"/>
                  </a:lnTo>
                  <a:lnTo>
                    <a:pt x="165" y="666"/>
                  </a:lnTo>
                  <a:lnTo>
                    <a:pt x="164" y="663"/>
                  </a:lnTo>
                  <a:lnTo>
                    <a:pt x="163" y="660"/>
                  </a:lnTo>
                  <a:lnTo>
                    <a:pt x="163" y="658"/>
                  </a:lnTo>
                  <a:lnTo>
                    <a:pt x="162" y="655"/>
                  </a:lnTo>
                  <a:lnTo>
                    <a:pt x="162" y="652"/>
                  </a:lnTo>
                  <a:lnTo>
                    <a:pt x="162" y="650"/>
                  </a:lnTo>
                  <a:lnTo>
                    <a:pt x="162" y="648"/>
                  </a:lnTo>
                  <a:lnTo>
                    <a:pt x="162" y="645"/>
                  </a:lnTo>
                  <a:lnTo>
                    <a:pt x="163" y="642"/>
                  </a:lnTo>
                  <a:lnTo>
                    <a:pt x="164" y="640"/>
                  </a:lnTo>
                  <a:lnTo>
                    <a:pt x="164" y="639"/>
                  </a:lnTo>
                  <a:lnTo>
                    <a:pt x="165" y="639"/>
                  </a:lnTo>
                  <a:lnTo>
                    <a:pt x="166" y="637"/>
                  </a:lnTo>
                  <a:lnTo>
                    <a:pt x="168" y="636"/>
                  </a:lnTo>
                  <a:lnTo>
                    <a:pt x="171" y="633"/>
                  </a:lnTo>
                  <a:lnTo>
                    <a:pt x="173" y="632"/>
                  </a:lnTo>
                  <a:lnTo>
                    <a:pt x="174" y="631"/>
                  </a:lnTo>
                  <a:lnTo>
                    <a:pt x="175" y="629"/>
                  </a:lnTo>
                  <a:lnTo>
                    <a:pt x="175" y="628"/>
                  </a:lnTo>
                  <a:lnTo>
                    <a:pt x="175" y="627"/>
                  </a:lnTo>
                  <a:lnTo>
                    <a:pt x="174" y="626"/>
                  </a:lnTo>
                  <a:lnTo>
                    <a:pt x="173" y="624"/>
                  </a:lnTo>
                  <a:lnTo>
                    <a:pt x="172" y="622"/>
                  </a:lnTo>
                  <a:lnTo>
                    <a:pt x="170" y="620"/>
                  </a:lnTo>
                  <a:lnTo>
                    <a:pt x="165" y="616"/>
                  </a:lnTo>
                  <a:lnTo>
                    <a:pt x="164" y="614"/>
                  </a:lnTo>
                  <a:lnTo>
                    <a:pt x="163" y="612"/>
                  </a:lnTo>
                  <a:lnTo>
                    <a:pt x="162" y="610"/>
                  </a:lnTo>
                  <a:lnTo>
                    <a:pt x="161" y="608"/>
                  </a:lnTo>
                  <a:lnTo>
                    <a:pt x="160" y="607"/>
                  </a:lnTo>
                  <a:lnTo>
                    <a:pt x="160" y="605"/>
                  </a:lnTo>
                  <a:lnTo>
                    <a:pt x="160" y="604"/>
                  </a:lnTo>
                  <a:lnTo>
                    <a:pt x="161" y="602"/>
                  </a:lnTo>
                  <a:lnTo>
                    <a:pt x="161" y="600"/>
                  </a:lnTo>
                  <a:lnTo>
                    <a:pt x="162" y="598"/>
                  </a:lnTo>
                  <a:lnTo>
                    <a:pt x="164" y="594"/>
                  </a:lnTo>
                  <a:lnTo>
                    <a:pt x="169" y="584"/>
                  </a:lnTo>
                  <a:lnTo>
                    <a:pt x="169" y="582"/>
                  </a:lnTo>
                  <a:lnTo>
                    <a:pt x="171" y="578"/>
                  </a:lnTo>
                  <a:lnTo>
                    <a:pt x="171" y="575"/>
                  </a:lnTo>
                  <a:lnTo>
                    <a:pt x="172" y="567"/>
                  </a:lnTo>
                  <a:lnTo>
                    <a:pt x="173" y="563"/>
                  </a:lnTo>
                  <a:lnTo>
                    <a:pt x="175" y="556"/>
                  </a:lnTo>
                  <a:lnTo>
                    <a:pt x="176" y="548"/>
                  </a:lnTo>
                  <a:lnTo>
                    <a:pt x="177" y="545"/>
                  </a:lnTo>
                  <a:lnTo>
                    <a:pt x="178" y="542"/>
                  </a:lnTo>
                  <a:lnTo>
                    <a:pt x="179" y="539"/>
                  </a:lnTo>
                  <a:lnTo>
                    <a:pt x="184" y="530"/>
                  </a:lnTo>
                  <a:lnTo>
                    <a:pt x="185" y="526"/>
                  </a:lnTo>
                  <a:lnTo>
                    <a:pt x="186" y="525"/>
                  </a:lnTo>
                  <a:lnTo>
                    <a:pt x="187" y="522"/>
                  </a:lnTo>
                  <a:lnTo>
                    <a:pt x="188" y="520"/>
                  </a:lnTo>
                  <a:lnTo>
                    <a:pt x="188" y="518"/>
                  </a:lnTo>
                  <a:lnTo>
                    <a:pt x="187" y="515"/>
                  </a:lnTo>
                  <a:lnTo>
                    <a:pt x="187" y="514"/>
                  </a:lnTo>
                  <a:lnTo>
                    <a:pt x="186" y="513"/>
                  </a:lnTo>
                  <a:lnTo>
                    <a:pt x="186" y="512"/>
                  </a:lnTo>
                  <a:lnTo>
                    <a:pt x="185" y="510"/>
                  </a:lnTo>
                  <a:lnTo>
                    <a:pt x="183" y="508"/>
                  </a:lnTo>
                  <a:lnTo>
                    <a:pt x="180" y="505"/>
                  </a:lnTo>
                  <a:lnTo>
                    <a:pt x="178" y="503"/>
                  </a:lnTo>
                  <a:lnTo>
                    <a:pt x="174" y="500"/>
                  </a:lnTo>
                  <a:lnTo>
                    <a:pt x="169" y="494"/>
                  </a:lnTo>
                  <a:lnTo>
                    <a:pt x="166" y="492"/>
                  </a:lnTo>
                  <a:lnTo>
                    <a:pt x="161" y="491"/>
                  </a:lnTo>
                  <a:lnTo>
                    <a:pt x="159" y="490"/>
                  </a:lnTo>
                  <a:lnTo>
                    <a:pt x="157" y="489"/>
                  </a:lnTo>
                  <a:lnTo>
                    <a:pt x="154" y="488"/>
                  </a:lnTo>
                  <a:lnTo>
                    <a:pt x="151" y="488"/>
                  </a:lnTo>
                  <a:lnTo>
                    <a:pt x="147" y="488"/>
                  </a:lnTo>
                  <a:lnTo>
                    <a:pt x="145" y="488"/>
                  </a:lnTo>
                  <a:lnTo>
                    <a:pt x="141" y="489"/>
                  </a:lnTo>
                  <a:lnTo>
                    <a:pt x="137" y="490"/>
                  </a:lnTo>
                  <a:lnTo>
                    <a:pt x="135" y="491"/>
                  </a:lnTo>
                  <a:lnTo>
                    <a:pt x="129" y="493"/>
                  </a:lnTo>
                  <a:lnTo>
                    <a:pt x="127" y="494"/>
                  </a:lnTo>
                  <a:lnTo>
                    <a:pt x="125" y="495"/>
                  </a:lnTo>
                  <a:lnTo>
                    <a:pt x="123" y="495"/>
                  </a:lnTo>
                  <a:lnTo>
                    <a:pt x="121" y="494"/>
                  </a:lnTo>
                  <a:lnTo>
                    <a:pt x="119" y="493"/>
                  </a:lnTo>
                  <a:lnTo>
                    <a:pt x="117" y="491"/>
                  </a:lnTo>
                  <a:lnTo>
                    <a:pt x="112" y="487"/>
                  </a:lnTo>
                  <a:lnTo>
                    <a:pt x="109" y="485"/>
                  </a:lnTo>
                  <a:lnTo>
                    <a:pt x="107" y="484"/>
                  </a:lnTo>
                  <a:lnTo>
                    <a:pt x="102" y="482"/>
                  </a:lnTo>
                  <a:lnTo>
                    <a:pt x="100" y="480"/>
                  </a:lnTo>
                  <a:lnTo>
                    <a:pt x="96" y="479"/>
                  </a:lnTo>
                  <a:lnTo>
                    <a:pt x="89" y="475"/>
                  </a:lnTo>
                  <a:lnTo>
                    <a:pt x="87" y="473"/>
                  </a:lnTo>
                  <a:lnTo>
                    <a:pt x="84" y="472"/>
                  </a:lnTo>
                  <a:lnTo>
                    <a:pt x="81" y="470"/>
                  </a:lnTo>
                  <a:lnTo>
                    <a:pt x="79" y="470"/>
                  </a:lnTo>
                  <a:lnTo>
                    <a:pt x="77" y="470"/>
                  </a:lnTo>
                  <a:lnTo>
                    <a:pt x="73" y="469"/>
                  </a:lnTo>
                  <a:lnTo>
                    <a:pt x="65" y="469"/>
                  </a:lnTo>
                  <a:lnTo>
                    <a:pt x="62" y="469"/>
                  </a:lnTo>
                  <a:lnTo>
                    <a:pt x="59" y="469"/>
                  </a:lnTo>
                  <a:lnTo>
                    <a:pt x="57" y="469"/>
                  </a:lnTo>
                  <a:lnTo>
                    <a:pt x="55" y="468"/>
                  </a:lnTo>
                  <a:lnTo>
                    <a:pt x="54" y="467"/>
                  </a:lnTo>
                  <a:lnTo>
                    <a:pt x="52" y="465"/>
                  </a:lnTo>
                  <a:lnTo>
                    <a:pt x="50" y="462"/>
                  </a:lnTo>
                  <a:lnTo>
                    <a:pt x="45" y="456"/>
                  </a:lnTo>
                  <a:lnTo>
                    <a:pt x="44" y="454"/>
                  </a:lnTo>
                  <a:lnTo>
                    <a:pt x="43" y="452"/>
                  </a:lnTo>
                  <a:lnTo>
                    <a:pt x="40" y="450"/>
                  </a:lnTo>
                  <a:lnTo>
                    <a:pt x="37" y="448"/>
                  </a:lnTo>
                  <a:lnTo>
                    <a:pt x="35" y="447"/>
                  </a:lnTo>
                  <a:lnTo>
                    <a:pt x="31" y="446"/>
                  </a:lnTo>
                  <a:lnTo>
                    <a:pt x="30" y="446"/>
                  </a:lnTo>
                  <a:lnTo>
                    <a:pt x="29" y="445"/>
                  </a:lnTo>
                  <a:lnTo>
                    <a:pt x="28" y="444"/>
                  </a:lnTo>
                  <a:lnTo>
                    <a:pt x="29" y="444"/>
                  </a:lnTo>
                  <a:lnTo>
                    <a:pt x="30" y="443"/>
                  </a:lnTo>
                  <a:lnTo>
                    <a:pt x="30" y="442"/>
                  </a:lnTo>
                  <a:lnTo>
                    <a:pt x="30" y="441"/>
                  </a:lnTo>
                  <a:lnTo>
                    <a:pt x="30" y="440"/>
                  </a:lnTo>
                  <a:lnTo>
                    <a:pt x="30" y="439"/>
                  </a:lnTo>
                  <a:lnTo>
                    <a:pt x="29" y="437"/>
                  </a:lnTo>
                  <a:lnTo>
                    <a:pt x="28" y="435"/>
                  </a:lnTo>
                  <a:lnTo>
                    <a:pt x="27" y="435"/>
                  </a:lnTo>
                  <a:lnTo>
                    <a:pt x="24" y="431"/>
                  </a:lnTo>
                  <a:lnTo>
                    <a:pt x="21" y="427"/>
                  </a:lnTo>
                  <a:lnTo>
                    <a:pt x="17" y="423"/>
                  </a:lnTo>
                  <a:lnTo>
                    <a:pt x="9" y="415"/>
                  </a:lnTo>
                  <a:lnTo>
                    <a:pt x="4" y="410"/>
                  </a:lnTo>
                  <a:lnTo>
                    <a:pt x="2" y="408"/>
                  </a:lnTo>
                  <a:lnTo>
                    <a:pt x="1" y="407"/>
                  </a:lnTo>
                  <a:lnTo>
                    <a:pt x="1" y="405"/>
                  </a:lnTo>
                  <a:lnTo>
                    <a:pt x="0" y="404"/>
                  </a:lnTo>
                  <a:lnTo>
                    <a:pt x="1" y="403"/>
                  </a:lnTo>
                  <a:lnTo>
                    <a:pt x="1" y="402"/>
                  </a:lnTo>
                  <a:lnTo>
                    <a:pt x="2" y="401"/>
                  </a:lnTo>
                  <a:lnTo>
                    <a:pt x="3" y="401"/>
                  </a:lnTo>
                  <a:lnTo>
                    <a:pt x="4" y="400"/>
                  </a:lnTo>
                  <a:lnTo>
                    <a:pt x="9" y="399"/>
                  </a:lnTo>
                  <a:lnTo>
                    <a:pt x="10" y="398"/>
                  </a:lnTo>
                  <a:lnTo>
                    <a:pt x="12" y="397"/>
                  </a:lnTo>
                  <a:lnTo>
                    <a:pt x="14" y="396"/>
                  </a:lnTo>
                  <a:lnTo>
                    <a:pt x="16" y="395"/>
                  </a:lnTo>
                  <a:lnTo>
                    <a:pt x="17" y="393"/>
                  </a:lnTo>
                  <a:lnTo>
                    <a:pt x="19" y="392"/>
                  </a:lnTo>
                  <a:lnTo>
                    <a:pt x="19" y="390"/>
                  </a:lnTo>
                  <a:lnTo>
                    <a:pt x="20" y="389"/>
                  </a:lnTo>
                  <a:lnTo>
                    <a:pt x="20" y="388"/>
                  </a:lnTo>
                  <a:lnTo>
                    <a:pt x="20" y="386"/>
                  </a:lnTo>
                  <a:lnTo>
                    <a:pt x="20" y="384"/>
                  </a:lnTo>
                  <a:lnTo>
                    <a:pt x="20" y="382"/>
                  </a:lnTo>
                  <a:lnTo>
                    <a:pt x="19" y="379"/>
                  </a:lnTo>
                  <a:lnTo>
                    <a:pt x="17" y="373"/>
                  </a:lnTo>
                  <a:lnTo>
                    <a:pt x="17" y="371"/>
                  </a:lnTo>
                  <a:lnTo>
                    <a:pt x="17" y="369"/>
                  </a:lnTo>
                  <a:lnTo>
                    <a:pt x="17" y="367"/>
                  </a:lnTo>
                  <a:lnTo>
                    <a:pt x="18" y="366"/>
                  </a:lnTo>
                  <a:lnTo>
                    <a:pt x="18" y="363"/>
                  </a:lnTo>
                  <a:lnTo>
                    <a:pt x="20" y="361"/>
                  </a:lnTo>
                  <a:lnTo>
                    <a:pt x="21" y="360"/>
                  </a:lnTo>
                  <a:lnTo>
                    <a:pt x="21" y="359"/>
                  </a:lnTo>
                  <a:lnTo>
                    <a:pt x="22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32" y="354"/>
                  </a:lnTo>
                  <a:lnTo>
                    <a:pt x="34" y="352"/>
                  </a:lnTo>
                  <a:lnTo>
                    <a:pt x="37" y="350"/>
                  </a:lnTo>
                  <a:lnTo>
                    <a:pt x="40" y="348"/>
                  </a:lnTo>
                  <a:lnTo>
                    <a:pt x="42" y="346"/>
                  </a:lnTo>
                  <a:lnTo>
                    <a:pt x="43" y="345"/>
                  </a:lnTo>
                  <a:lnTo>
                    <a:pt x="44" y="344"/>
                  </a:lnTo>
                  <a:lnTo>
                    <a:pt x="44" y="342"/>
                  </a:lnTo>
                  <a:lnTo>
                    <a:pt x="44" y="340"/>
                  </a:lnTo>
                  <a:lnTo>
                    <a:pt x="44" y="337"/>
                  </a:lnTo>
                  <a:lnTo>
                    <a:pt x="44" y="334"/>
                  </a:lnTo>
                  <a:lnTo>
                    <a:pt x="44" y="331"/>
                  </a:lnTo>
                  <a:lnTo>
                    <a:pt x="44" y="329"/>
                  </a:lnTo>
                  <a:lnTo>
                    <a:pt x="44" y="327"/>
                  </a:lnTo>
                  <a:lnTo>
                    <a:pt x="43" y="325"/>
                  </a:lnTo>
                  <a:lnTo>
                    <a:pt x="42" y="323"/>
                  </a:lnTo>
                  <a:lnTo>
                    <a:pt x="42" y="322"/>
                  </a:lnTo>
                  <a:lnTo>
                    <a:pt x="40" y="321"/>
                  </a:lnTo>
                  <a:lnTo>
                    <a:pt x="39" y="320"/>
                  </a:lnTo>
                  <a:lnTo>
                    <a:pt x="37" y="318"/>
                  </a:lnTo>
                  <a:lnTo>
                    <a:pt x="34" y="316"/>
                  </a:lnTo>
                  <a:lnTo>
                    <a:pt x="27" y="310"/>
                  </a:lnTo>
                  <a:lnTo>
                    <a:pt x="25" y="310"/>
                  </a:lnTo>
                  <a:lnTo>
                    <a:pt x="24" y="309"/>
                  </a:lnTo>
                  <a:lnTo>
                    <a:pt x="23" y="308"/>
                  </a:lnTo>
                  <a:lnTo>
                    <a:pt x="22" y="306"/>
                  </a:lnTo>
                  <a:lnTo>
                    <a:pt x="21" y="305"/>
                  </a:lnTo>
                  <a:lnTo>
                    <a:pt x="21" y="302"/>
                  </a:lnTo>
                  <a:lnTo>
                    <a:pt x="21" y="299"/>
                  </a:lnTo>
                  <a:lnTo>
                    <a:pt x="21" y="296"/>
                  </a:lnTo>
                  <a:lnTo>
                    <a:pt x="21" y="292"/>
                  </a:lnTo>
                  <a:lnTo>
                    <a:pt x="21" y="288"/>
                  </a:lnTo>
                  <a:lnTo>
                    <a:pt x="22" y="284"/>
                  </a:lnTo>
                  <a:lnTo>
                    <a:pt x="24" y="280"/>
                  </a:lnTo>
                  <a:lnTo>
                    <a:pt x="26" y="275"/>
                  </a:lnTo>
                  <a:lnTo>
                    <a:pt x="29" y="265"/>
                  </a:lnTo>
                  <a:lnTo>
                    <a:pt x="29" y="265"/>
                  </a:lnTo>
                  <a:lnTo>
                    <a:pt x="35" y="263"/>
                  </a:lnTo>
                  <a:lnTo>
                    <a:pt x="37" y="263"/>
                  </a:lnTo>
                  <a:lnTo>
                    <a:pt x="40" y="262"/>
                  </a:lnTo>
                  <a:lnTo>
                    <a:pt x="43" y="260"/>
                  </a:lnTo>
                  <a:lnTo>
                    <a:pt x="45" y="259"/>
                  </a:lnTo>
                  <a:lnTo>
                    <a:pt x="46" y="257"/>
                  </a:lnTo>
                  <a:lnTo>
                    <a:pt x="48" y="255"/>
                  </a:lnTo>
                  <a:lnTo>
                    <a:pt x="48" y="254"/>
                  </a:lnTo>
                  <a:lnTo>
                    <a:pt x="49" y="253"/>
                  </a:lnTo>
                  <a:lnTo>
                    <a:pt x="49" y="252"/>
                  </a:lnTo>
                  <a:lnTo>
                    <a:pt x="49" y="251"/>
                  </a:lnTo>
                  <a:lnTo>
                    <a:pt x="49" y="249"/>
                  </a:lnTo>
                  <a:lnTo>
                    <a:pt x="49" y="247"/>
                  </a:lnTo>
                  <a:lnTo>
                    <a:pt x="48" y="246"/>
                  </a:lnTo>
                  <a:lnTo>
                    <a:pt x="47" y="244"/>
                  </a:lnTo>
                  <a:lnTo>
                    <a:pt x="42" y="238"/>
                  </a:lnTo>
                  <a:lnTo>
                    <a:pt x="41" y="236"/>
                  </a:lnTo>
                  <a:lnTo>
                    <a:pt x="40" y="234"/>
                  </a:lnTo>
                  <a:lnTo>
                    <a:pt x="39" y="232"/>
                  </a:lnTo>
                  <a:lnTo>
                    <a:pt x="38" y="230"/>
                  </a:lnTo>
                  <a:lnTo>
                    <a:pt x="38" y="228"/>
                  </a:lnTo>
                  <a:lnTo>
                    <a:pt x="38" y="226"/>
                  </a:lnTo>
                  <a:lnTo>
                    <a:pt x="38" y="224"/>
                  </a:lnTo>
                  <a:lnTo>
                    <a:pt x="39" y="222"/>
                  </a:lnTo>
                  <a:lnTo>
                    <a:pt x="39" y="220"/>
                  </a:lnTo>
                  <a:lnTo>
                    <a:pt x="40" y="219"/>
                  </a:lnTo>
                  <a:lnTo>
                    <a:pt x="42" y="216"/>
                  </a:lnTo>
                  <a:lnTo>
                    <a:pt x="45" y="211"/>
                  </a:lnTo>
                  <a:lnTo>
                    <a:pt x="48" y="208"/>
                  </a:lnTo>
                  <a:lnTo>
                    <a:pt x="51" y="204"/>
                  </a:lnTo>
                  <a:lnTo>
                    <a:pt x="53" y="200"/>
                  </a:lnTo>
                  <a:lnTo>
                    <a:pt x="54" y="198"/>
                  </a:lnTo>
                  <a:lnTo>
                    <a:pt x="55" y="196"/>
                  </a:lnTo>
                  <a:lnTo>
                    <a:pt x="55" y="194"/>
                  </a:lnTo>
                  <a:lnTo>
                    <a:pt x="55" y="192"/>
                  </a:lnTo>
                  <a:lnTo>
                    <a:pt x="55" y="190"/>
                  </a:lnTo>
                  <a:lnTo>
                    <a:pt x="54" y="188"/>
                  </a:lnTo>
                  <a:lnTo>
                    <a:pt x="53" y="186"/>
                  </a:lnTo>
                  <a:lnTo>
                    <a:pt x="52" y="185"/>
                  </a:lnTo>
                  <a:lnTo>
                    <a:pt x="50" y="185"/>
                  </a:lnTo>
                  <a:lnTo>
                    <a:pt x="49" y="185"/>
                  </a:lnTo>
                  <a:lnTo>
                    <a:pt x="43" y="183"/>
                  </a:lnTo>
                  <a:lnTo>
                    <a:pt x="40" y="182"/>
                  </a:lnTo>
                  <a:lnTo>
                    <a:pt x="37" y="181"/>
                  </a:lnTo>
                  <a:lnTo>
                    <a:pt x="35" y="180"/>
                  </a:lnTo>
                  <a:lnTo>
                    <a:pt x="33" y="179"/>
                  </a:lnTo>
                  <a:lnTo>
                    <a:pt x="32" y="178"/>
                  </a:lnTo>
                  <a:lnTo>
                    <a:pt x="31" y="177"/>
                  </a:lnTo>
                  <a:lnTo>
                    <a:pt x="30" y="176"/>
                  </a:lnTo>
                  <a:lnTo>
                    <a:pt x="30" y="175"/>
                  </a:lnTo>
                  <a:lnTo>
                    <a:pt x="30" y="174"/>
                  </a:lnTo>
                  <a:lnTo>
                    <a:pt x="30" y="174"/>
                  </a:lnTo>
                  <a:lnTo>
                    <a:pt x="30" y="173"/>
                  </a:lnTo>
                  <a:lnTo>
                    <a:pt x="31" y="172"/>
                  </a:lnTo>
                  <a:lnTo>
                    <a:pt x="32" y="171"/>
                  </a:lnTo>
                  <a:lnTo>
                    <a:pt x="34" y="169"/>
                  </a:lnTo>
                  <a:lnTo>
                    <a:pt x="35" y="168"/>
                  </a:lnTo>
                  <a:lnTo>
                    <a:pt x="35" y="167"/>
                  </a:lnTo>
                  <a:lnTo>
                    <a:pt x="36" y="167"/>
                  </a:lnTo>
                  <a:lnTo>
                    <a:pt x="35" y="166"/>
                  </a:lnTo>
                  <a:lnTo>
                    <a:pt x="35" y="165"/>
                  </a:lnTo>
                  <a:lnTo>
                    <a:pt x="34" y="164"/>
                  </a:lnTo>
                  <a:lnTo>
                    <a:pt x="33" y="163"/>
                  </a:lnTo>
                  <a:lnTo>
                    <a:pt x="21" y="155"/>
                  </a:lnTo>
                  <a:lnTo>
                    <a:pt x="12" y="149"/>
                  </a:lnTo>
                  <a:lnTo>
                    <a:pt x="10" y="147"/>
                  </a:lnTo>
                  <a:lnTo>
                    <a:pt x="9" y="146"/>
                  </a:lnTo>
                  <a:lnTo>
                    <a:pt x="9" y="144"/>
                  </a:lnTo>
                  <a:lnTo>
                    <a:pt x="8" y="143"/>
                  </a:lnTo>
                  <a:lnTo>
                    <a:pt x="8" y="141"/>
                  </a:lnTo>
                  <a:lnTo>
                    <a:pt x="8" y="140"/>
                  </a:lnTo>
                  <a:lnTo>
                    <a:pt x="8" y="139"/>
                  </a:lnTo>
                  <a:lnTo>
                    <a:pt x="8" y="137"/>
                  </a:lnTo>
                  <a:lnTo>
                    <a:pt x="8" y="134"/>
                  </a:lnTo>
                  <a:lnTo>
                    <a:pt x="9" y="126"/>
                  </a:lnTo>
                  <a:lnTo>
                    <a:pt x="11" y="120"/>
                  </a:lnTo>
                  <a:lnTo>
                    <a:pt x="11" y="117"/>
                  </a:lnTo>
                  <a:lnTo>
                    <a:pt x="12" y="112"/>
                  </a:lnTo>
                  <a:lnTo>
                    <a:pt x="12" y="105"/>
                  </a:lnTo>
                  <a:lnTo>
                    <a:pt x="12" y="103"/>
                  </a:lnTo>
                  <a:lnTo>
                    <a:pt x="12" y="100"/>
                  </a:lnTo>
                  <a:lnTo>
                    <a:pt x="13" y="98"/>
                  </a:lnTo>
                  <a:lnTo>
                    <a:pt x="14" y="96"/>
                  </a:lnTo>
                  <a:lnTo>
                    <a:pt x="16" y="94"/>
                  </a:lnTo>
                  <a:lnTo>
                    <a:pt x="17" y="91"/>
                  </a:lnTo>
                  <a:lnTo>
                    <a:pt x="19" y="89"/>
                  </a:lnTo>
                  <a:lnTo>
                    <a:pt x="21" y="86"/>
                  </a:lnTo>
                  <a:lnTo>
                    <a:pt x="25" y="81"/>
                  </a:lnTo>
                  <a:lnTo>
                    <a:pt x="27" y="79"/>
                  </a:lnTo>
                  <a:lnTo>
                    <a:pt x="28" y="76"/>
                  </a:lnTo>
                  <a:lnTo>
                    <a:pt x="32" y="70"/>
                  </a:lnTo>
                  <a:lnTo>
                    <a:pt x="33" y="67"/>
                  </a:lnTo>
                  <a:lnTo>
                    <a:pt x="34" y="65"/>
                  </a:lnTo>
                  <a:lnTo>
                    <a:pt x="36" y="62"/>
                  </a:lnTo>
                  <a:lnTo>
                    <a:pt x="38" y="61"/>
                  </a:lnTo>
                  <a:lnTo>
                    <a:pt x="39" y="60"/>
                  </a:lnTo>
                  <a:lnTo>
                    <a:pt x="41" y="59"/>
                  </a:lnTo>
                  <a:lnTo>
                    <a:pt x="43" y="57"/>
                  </a:lnTo>
                  <a:lnTo>
                    <a:pt x="45" y="55"/>
                  </a:lnTo>
                  <a:lnTo>
                    <a:pt x="48" y="54"/>
                  </a:lnTo>
                  <a:lnTo>
                    <a:pt x="51" y="53"/>
                  </a:lnTo>
                  <a:lnTo>
                    <a:pt x="55" y="52"/>
                  </a:lnTo>
                  <a:lnTo>
                    <a:pt x="62" y="52"/>
                  </a:lnTo>
                  <a:lnTo>
                    <a:pt x="66" y="51"/>
                  </a:lnTo>
                  <a:lnTo>
                    <a:pt x="72" y="50"/>
                  </a:lnTo>
                  <a:lnTo>
                    <a:pt x="76" y="49"/>
                  </a:lnTo>
                  <a:lnTo>
                    <a:pt x="78" y="49"/>
                  </a:lnTo>
                  <a:lnTo>
                    <a:pt x="80" y="48"/>
                  </a:lnTo>
                  <a:lnTo>
                    <a:pt x="81" y="47"/>
                  </a:lnTo>
                  <a:lnTo>
                    <a:pt x="82" y="46"/>
                  </a:lnTo>
                  <a:lnTo>
                    <a:pt x="83" y="44"/>
                  </a:lnTo>
                  <a:lnTo>
                    <a:pt x="84" y="42"/>
                  </a:lnTo>
                  <a:lnTo>
                    <a:pt x="85" y="41"/>
                  </a:lnTo>
                  <a:lnTo>
                    <a:pt x="85" y="39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4" y="36"/>
                  </a:lnTo>
                  <a:lnTo>
                    <a:pt x="83" y="35"/>
                  </a:lnTo>
                  <a:lnTo>
                    <a:pt x="81" y="34"/>
                  </a:lnTo>
                  <a:lnTo>
                    <a:pt x="80" y="33"/>
                  </a:lnTo>
                  <a:lnTo>
                    <a:pt x="79" y="32"/>
                  </a:lnTo>
                  <a:lnTo>
                    <a:pt x="78" y="32"/>
                  </a:lnTo>
                  <a:lnTo>
                    <a:pt x="76" y="31"/>
                  </a:lnTo>
                  <a:lnTo>
                    <a:pt x="69" y="29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5" y="26"/>
                  </a:lnTo>
                  <a:lnTo>
                    <a:pt x="66" y="25"/>
                  </a:lnTo>
                  <a:lnTo>
                    <a:pt x="66" y="24"/>
                  </a:lnTo>
                  <a:lnTo>
                    <a:pt x="67" y="22"/>
                  </a:lnTo>
                  <a:lnTo>
                    <a:pt x="68" y="20"/>
                  </a:lnTo>
                  <a:lnTo>
                    <a:pt x="72" y="16"/>
                  </a:lnTo>
                  <a:lnTo>
                    <a:pt x="74" y="15"/>
                  </a:lnTo>
                  <a:lnTo>
                    <a:pt x="76" y="14"/>
                  </a:lnTo>
                  <a:lnTo>
                    <a:pt x="78" y="12"/>
                  </a:lnTo>
                  <a:lnTo>
                    <a:pt x="80" y="10"/>
                  </a:lnTo>
                  <a:lnTo>
                    <a:pt x="83" y="9"/>
                  </a:lnTo>
                  <a:lnTo>
                    <a:pt x="85" y="8"/>
                  </a:lnTo>
                  <a:lnTo>
                    <a:pt x="88" y="7"/>
                  </a:lnTo>
                  <a:lnTo>
                    <a:pt x="89" y="7"/>
                  </a:lnTo>
                  <a:lnTo>
                    <a:pt x="92" y="7"/>
                  </a:lnTo>
                  <a:lnTo>
                    <a:pt x="95" y="8"/>
                  </a:lnTo>
                  <a:lnTo>
                    <a:pt x="96" y="8"/>
                  </a:lnTo>
                  <a:lnTo>
                    <a:pt x="97" y="9"/>
                  </a:lnTo>
                  <a:lnTo>
                    <a:pt x="98" y="10"/>
                  </a:lnTo>
                  <a:lnTo>
                    <a:pt x="99" y="11"/>
                  </a:lnTo>
                  <a:lnTo>
                    <a:pt x="100" y="13"/>
                  </a:lnTo>
                  <a:lnTo>
                    <a:pt x="102" y="16"/>
                  </a:lnTo>
                  <a:lnTo>
                    <a:pt x="103" y="19"/>
                  </a:lnTo>
                  <a:lnTo>
                    <a:pt x="105" y="21"/>
                  </a:lnTo>
                  <a:lnTo>
                    <a:pt x="106" y="23"/>
                  </a:lnTo>
                  <a:lnTo>
                    <a:pt x="107" y="23"/>
                  </a:lnTo>
                  <a:lnTo>
                    <a:pt x="108" y="24"/>
                  </a:lnTo>
                  <a:lnTo>
                    <a:pt x="109" y="2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7" name="Freeform 64">
              <a:extLst>
                <a:ext uri="{FF2B5EF4-FFF2-40B4-BE49-F238E27FC236}">
                  <a16:creationId xmlns:a16="http://schemas.microsoft.com/office/drawing/2014/main" id="{DA1C03AE-380F-45D6-850B-DC9063F64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2837"/>
              <a:ext cx="42" cy="28"/>
            </a:xfrm>
            <a:custGeom>
              <a:avLst/>
              <a:gdLst>
                <a:gd name="T0" fmla="*/ 0 w 42"/>
                <a:gd name="T1" fmla="*/ 27 h 28"/>
                <a:gd name="T2" fmla="*/ 1 w 42"/>
                <a:gd name="T3" fmla="*/ 27 h 28"/>
                <a:gd name="T4" fmla="*/ 3 w 42"/>
                <a:gd name="T5" fmla="*/ 28 h 28"/>
                <a:gd name="T6" fmla="*/ 4 w 42"/>
                <a:gd name="T7" fmla="*/ 28 h 28"/>
                <a:gd name="T8" fmla="*/ 6 w 42"/>
                <a:gd name="T9" fmla="*/ 27 h 28"/>
                <a:gd name="T10" fmla="*/ 8 w 42"/>
                <a:gd name="T11" fmla="*/ 26 h 28"/>
                <a:gd name="T12" fmla="*/ 9 w 42"/>
                <a:gd name="T13" fmla="*/ 26 h 28"/>
                <a:gd name="T14" fmla="*/ 10 w 42"/>
                <a:gd name="T15" fmla="*/ 25 h 28"/>
                <a:gd name="T16" fmla="*/ 12 w 42"/>
                <a:gd name="T17" fmla="*/ 23 h 28"/>
                <a:gd name="T18" fmla="*/ 13 w 42"/>
                <a:gd name="T19" fmla="*/ 21 h 28"/>
                <a:gd name="T20" fmla="*/ 14 w 42"/>
                <a:gd name="T21" fmla="*/ 19 h 28"/>
                <a:gd name="T22" fmla="*/ 14 w 42"/>
                <a:gd name="T23" fmla="*/ 18 h 28"/>
                <a:gd name="T24" fmla="*/ 18 w 42"/>
                <a:gd name="T25" fmla="*/ 9 h 28"/>
                <a:gd name="T26" fmla="*/ 22 w 42"/>
                <a:gd name="T27" fmla="*/ 2 h 28"/>
                <a:gd name="T28" fmla="*/ 23 w 42"/>
                <a:gd name="T29" fmla="*/ 0 h 28"/>
                <a:gd name="T30" fmla="*/ 42 w 42"/>
                <a:gd name="T31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28">
                  <a:moveTo>
                    <a:pt x="0" y="27"/>
                  </a:moveTo>
                  <a:lnTo>
                    <a:pt x="1" y="27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6" y="27"/>
                  </a:lnTo>
                  <a:lnTo>
                    <a:pt x="8" y="26"/>
                  </a:lnTo>
                  <a:lnTo>
                    <a:pt x="9" y="26"/>
                  </a:lnTo>
                  <a:lnTo>
                    <a:pt x="10" y="25"/>
                  </a:lnTo>
                  <a:lnTo>
                    <a:pt x="12" y="23"/>
                  </a:lnTo>
                  <a:lnTo>
                    <a:pt x="13" y="21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8" y="9"/>
                  </a:lnTo>
                  <a:lnTo>
                    <a:pt x="22" y="2"/>
                  </a:lnTo>
                  <a:lnTo>
                    <a:pt x="23" y="0"/>
                  </a:lnTo>
                  <a:lnTo>
                    <a:pt x="42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8" name="Freeform 65">
              <a:extLst>
                <a:ext uri="{FF2B5EF4-FFF2-40B4-BE49-F238E27FC236}">
                  <a16:creationId xmlns:a16="http://schemas.microsoft.com/office/drawing/2014/main" id="{24D4068F-3E5F-4190-8F40-CAB8354EA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2" y="3318"/>
              <a:ext cx="523" cy="520"/>
            </a:xfrm>
            <a:custGeom>
              <a:avLst/>
              <a:gdLst>
                <a:gd name="T0" fmla="*/ 364 w 523"/>
                <a:gd name="T1" fmla="*/ 30 h 520"/>
                <a:gd name="T2" fmla="*/ 373 w 523"/>
                <a:gd name="T3" fmla="*/ 68 h 520"/>
                <a:gd name="T4" fmla="*/ 392 w 523"/>
                <a:gd name="T5" fmla="*/ 83 h 520"/>
                <a:gd name="T6" fmla="*/ 394 w 523"/>
                <a:gd name="T7" fmla="*/ 121 h 520"/>
                <a:gd name="T8" fmla="*/ 393 w 523"/>
                <a:gd name="T9" fmla="*/ 143 h 520"/>
                <a:gd name="T10" fmla="*/ 404 w 523"/>
                <a:gd name="T11" fmla="*/ 157 h 520"/>
                <a:gd name="T12" fmla="*/ 385 w 523"/>
                <a:gd name="T13" fmla="*/ 162 h 520"/>
                <a:gd name="T14" fmla="*/ 377 w 523"/>
                <a:gd name="T15" fmla="*/ 181 h 520"/>
                <a:gd name="T16" fmla="*/ 384 w 523"/>
                <a:gd name="T17" fmla="*/ 226 h 520"/>
                <a:gd name="T18" fmla="*/ 410 w 523"/>
                <a:gd name="T19" fmla="*/ 262 h 520"/>
                <a:gd name="T20" fmla="*/ 429 w 523"/>
                <a:gd name="T21" fmla="*/ 285 h 520"/>
                <a:gd name="T22" fmla="*/ 455 w 523"/>
                <a:gd name="T23" fmla="*/ 281 h 520"/>
                <a:gd name="T24" fmla="*/ 473 w 523"/>
                <a:gd name="T25" fmla="*/ 286 h 520"/>
                <a:gd name="T26" fmla="*/ 503 w 523"/>
                <a:gd name="T27" fmla="*/ 306 h 520"/>
                <a:gd name="T28" fmla="*/ 523 w 523"/>
                <a:gd name="T29" fmla="*/ 308 h 520"/>
                <a:gd name="T30" fmla="*/ 505 w 523"/>
                <a:gd name="T31" fmla="*/ 331 h 520"/>
                <a:gd name="T32" fmla="*/ 461 w 523"/>
                <a:gd name="T33" fmla="*/ 402 h 520"/>
                <a:gd name="T34" fmla="*/ 437 w 523"/>
                <a:gd name="T35" fmla="*/ 455 h 520"/>
                <a:gd name="T36" fmla="*/ 424 w 523"/>
                <a:gd name="T37" fmla="*/ 502 h 520"/>
                <a:gd name="T38" fmla="*/ 408 w 523"/>
                <a:gd name="T39" fmla="*/ 520 h 520"/>
                <a:gd name="T40" fmla="*/ 398 w 523"/>
                <a:gd name="T41" fmla="*/ 514 h 520"/>
                <a:gd name="T42" fmla="*/ 391 w 523"/>
                <a:gd name="T43" fmla="*/ 465 h 520"/>
                <a:gd name="T44" fmla="*/ 382 w 523"/>
                <a:gd name="T45" fmla="*/ 422 h 520"/>
                <a:gd name="T46" fmla="*/ 362 w 523"/>
                <a:gd name="T47" fmla="*/ 408 h 520"/>
                <a:gd name="T48" fmla="*/ 333 w 523"/>
                <a:gd name="T49" fmla="*/ 413 h 520"/>
                <a:gd name="T50" fmla="*/ 278 w 523"/>
                <a:gd name="T51" fmla="*/ 413 h 520"/>
                <a:gd name="T52" fmla="*/ 251 w 523"/>
                <a:gd name="T53" fmla="*/ 397 h 520"/>
                <a:gd name="T54" fmla="*/ 223 w 523"/>
                <a:gd name="T55" fmla="*/ 389 h 520"/>
                <a:gd name="T56" fmla="*/ 202 w 523"/>
                <a:gd name="T57" fmla="*/ 384 h 520"/>
                <a:gd name="T58" fmla="*/ 194 w 523"/>
                <a:gd name="T59" fmla="*/ 352 h 520"/>
                <a:gd name="T60" fmla="*/ 178 w 523"/>
                <a:gd name="T61" fmla="*/ 336 h 520"/>
                <a:gd name="T62" fmla="*/ 147 w 523"/>
                <a:gd name="T63" fmla="*/ 334 h 520"/>
                <a:gd name="T64" fmla="*/ 102 w 523"/>
                <a:gd name="T65" fmla="*/ 313 h 520"/>
                <a:gd name="T66" fmla="*/ 87 w 523"/>
                <a:gd name="T67" fmla="*/ 308 h 520"/>
                <a:gd name="T68" fmla="*/ 50 w 523"/>
                <a:gd name="T69" fmla="*/ 311 h 520"/>
                <a:gd name="T70" fmla="*/ 30 w 523"/>
                <a:gd name="T71" fmla="*/ 305 h 520"/>
                <a:gd name="T72" fmla="*/ 6 w 523"/>
                <a:gd name="T73" fmla="*/ 289 h 520"/>
                <a:gd name="T74" fmla="*/ 0 w 523"/>
                <a:gd name="T75" fmla="*/ 258 h 520"/>
                <a:gd name="T76" fmla="*/ 8 w 523"/>
                <a:gd name="T77" fmla="*/ 229 h 520"/>
                <a:gd name="T78" fmla="*/ 13 w 523"/>
                <a:gd name="T79" fmla="*/ 210 h 520"/>
                <a:gd name="T80" fmla="*/ 35 w 523"/>
                <a:gd name="T81" fmla="*/ 198 h 520"/>
                <a:gd name="T82" fmla="*/ 60 w 523"/>
                <a:gd name="T83" fmla="*/ 201 h 520"/>
                <a:gd name="T84" fmla="*/ 94 w 523"/>
                <a:gd name="T85" fmla="*/ 204 h 520"/>
                <a:gd name="T86" fmla="*/ 116 w 523"/>
                <a:gd name="T87" fmla="*/ 206 h 520"/>
                <a:gd name="T88" fmla="*/ 126 w 523"/>
                <a:gd name="T89" fmla="*/ 219 h 520"/>
                <a:gd name="T90" fmla="*/ 142 w 523"/>
                <a:gd name="T91" fmla="*/ 215 h 520"/>
                <a:gd name="T92" fmla="*/ 144 w 523"/>
                <a:gd name="T93" fmla="*/ 193 h 520"/>
                <a:gd name="T94" fmla="*/ 140 w 523"/>
                <a:gd name="T95" fmla="*/ 147 h 520"/>
                <a:gd name="T96" fmla="*/ 161 w 523"/>
                <a:gd name="T97" fmla="*/ 113 h 520"/>
                <a:gd name="T98" fmla="*/ 181 w 523"/>
                <a:gd name="T99" fmla="*/ 74 h 520"/>
                <a:gd name="T100" fmla="*/ 212 w 523"/>
                <a:gd name="T101" fmla="*/ 36 h 520"/>
                <a:gd name="T102" fmla="*/ 246 w 523"/>
                <a:gd name="T103" fmla="*/ 37 h 520"/>
                <a:gd name="T104" fmla="*/ 276 w 523"/>
                <a:gd name="T105" fmla="*/ 35 h 520"/>
                <a:gd name="T106" fmla="*/ 294 w 523"/>
                <a:gd name="T107" fmla="*/ 15 h 520"/>
                <a:gd name="T108" fmla="*/ 306 w 523"/>
                <a:gd name="T109" fmla="*/ 25 h 520"/>
                <a:gd name="T110" fmla="*/ 325 w 523"/>
                <a:gd name="T111" fmla="*/ 17 h 520"/>
                <a:gd name="T112" fmla="*/ 344 w 523"/>
                <a:gd name="T113" fmla="*/ 12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3" h="520">
                  <a:moveTo>
                    <a:pt x="357" y="1"/>
                  </a:moveTo>
                  <a:lnTo>
                    <a:pt x="364" y="0"/>
                  </a:lnTo>
                  <a:lnTo>
                    <a:pt x="364" y="5"/>
                  </a:lnTo>
                  <a:lnTo>
                    <a:pt x="364" y="9"/>
                  </a:lnTo>
                  <a:lnTo>
                    <a:pt x="364" y="13"/>
                  </a:lnTo>
                  <a:lnTo>
                    <a:pt x="363" y="20"/>
                  </a:lnTo>
                  <a:lnTo>
                    <a:pt x="363" y="23"/>
                  </a:lnTo>
                  <a:lnTo>
                    <a:pt x="363" y="26"/>
                  </a:lnTo>
                  <a:lnTo>
                    <a:pt x="364" y="30"/>
                  </a:lnTo>
                  <a:lnTo>
                    <a:pt x="365" y="36"/>
                  </a:lnTo>
                  <a:lnTo>
                    <a:pt x="366" y="41"/>
                  </a:lnTo>
                  <a:lnTo>
                    <a:pt x="367" y="46"/>
                  </a:lnTo>
                  <a:lnTo>
                    <a:pt x="371" y="55"/>
                  </a:lnTo>
                  <a:lnTo>
                    <a:pt x="371" y="59"/>
                  </a:lnTo>
                  <a:lnTo>
                    <a:pt x="371" y="63"/>
                  </a:lnTo>
                  <a:lnTo>
                    <a:pt x="372" y="65"/>
                  </a:lnTo>
                  <a:lnTo>
                    <a:pt x="373" y="66"/>
                  </a:lnTo>
                  <a:lnTo>
                    <a:pt x="373" y="68"/>
                  </a:lnTo>
                  <a:lnTo>
                    <a:pt x="374" y="69"/>
                  </a:lnTo>
                  <a:lnTo>
                    <a:pt x="375" y="70"/>
                  </a:lnTo>
                  <a:lnTo>
                    <a:pt x="377" y="70"/>
                  </a:lnTo>
                  <a:lnTo>
                    <a:pt x="382" y="73"/>
                  </a:lnTo>
                  <a:lnTo>
                    <a:pt x="384" y="75"/>
                  </a:lnTo>
                  <a:lnTo>
                    <a:pt x="386" y="77"/>
                  </a:lnTo>
                  <a:lnTo>
                    <a:pt x="389" y="80"/>
                  </a:lnTo>
                  <a:lnTo>
                    <a:pt x="391" y="81"/>
                  </a:lnTo>
                  <a:lnTo>
                    <a:pt x="392" y="83"/>
                  </a:lnTo>
                  <a:lnTo>
                    <a:pt x="394" y="87"/>
                  </a:lnTo>
                  <a:lnTo>
                    <a:pt x="395" y="90"/>
                  </a:lnTo>
                  <a:lnTo>
                    <a:pt x="396" y="93"/>
                  </a:lnTo>
                  <a:lnTo>
                    <a:pt x="396" y="96"/>
                  </a:lnTo>
                  <a:lnTo>
                    <a:pt x="396" y="99"/>
                  </a:lnTo>
                  <a:lnTo>
                    <a:pt x="396" y="107"/>
                  </a:lnTo>
                  <a:lnTo>
                    <a:pt x="395" y="113"/>
                  </a:lnTo>
                  <a:lnTo>
                    <a:pt x="395" y="117"/>
                  </a:lnTo>
                  <a:lnTo>
                    <a:pt x="394" y="121"/>
                  </a:lnTo>
                  <a:lnTo>
                    <a:pt x="394" y="124"/>
                  </a:lnTo>
                  <a:lnTo>
                    <a:pt x="392" y="131"/>
                  </a:lnTo>
                  <a:lnTo>
                    <a:pt x="392" y="134"/>
                  </a:lnTo>
                  <a:lnTo>
                    <a:pt x="391" y="136"/>
                  </a:lnTo>
                  <a:lnTo>
                    <a:pt x="391" y="138"/>
                  </a:lnTo>
                  <a:lnTo>
                    <a:pt x="391" y="139"/>
                  </a:lnTo>
                  <a:lnTo>
                    <a:pt x="392" y="140"/>
                  </a:lnTo>
                  <a:lnTo>
                    <a:pt x="392" y="141"/>
                  </a:lnTo>
                  <a:lnTo>
                    <a:pt x="393" y="143"/>
                  </a:lnTo>
                  <a:lnTo>
                    <a:pt x="394" y="146"/>
                  </a:lnTo>
                  <a:lnTo>
                    <a:pt x="396" y="148"/>
                  </a:lnTo>
                  <a:lnTo>
                    <a:pt x="397" y="149"/>
                  </a:lnTo>
                  <a:lnTo>
                    <a:pt x="398" y="150"/>
                  </a:lnTo>
                  <a:lnTo>
                    <a:pt x="402" y="152"/>
                  </a:lnTo>
                  <a:lnTo>
                    <a:pt x="403" y="154"/>
                  </a:lnTo>
                  <a:lnTo>
                    <a:pt x="404" y="155"/>
                  </a:lnTo>
                  <a:lnTo>
                    <a:pt x="404" y="156"/>
                  </a:lnTo>
                  <a:lnTo>
                    <a:pt x="404" y="157"/>
                  </a:lnTo>
                  <a:lnTo>
                    <a:pt x="404" y="159"/>
                  </a:lnTo>
                  <a:lnTo>
                    <a:pt x="403" y="160"/>
                  </a:lnTo>
                  <a:lnTo>
                    <a:pt x="402" y="160"/>
                  </a:lnTo>
                  <a:lnTo>
                    <a:pt x="400" y="161"/>
                  </a:lnTo>
                  <a:lnTo>
                    <a:pt x="399" y="161"/>
                  </a:lnTo>
                  <a:lnTo>
                    <a:pt x="394" y="161"/>
                  </a:lnTo>
                  <a:lnTo>
                    <a:pt x="391" y="161"/>
                  </a:lnTo>
                  <a:lnTo>
                    <a:pt x="387" y="161"/>
                  </a:lnTo>
                  <a:lnTo>
                    <a:pt x="385" y="162"/>
                  </a:lnTo>
                  <a:lnTo>
                    <a:pt x="384" y="163"/>
                  </a:lnTo>
                  <a:lnTo>
                    <a:pt x="382" y="164"/>
                  </a:lnTo>
                  <a:lnTo>
                    <a:pt x="380" y="166"/>
                  </a:lnTo>
                  <a:lnTo>
                    <a:pt x="379" y="168"/>
                  </a:lnTo>
                  <a:lnTo>
                    <a:pt x="378" y="170"/>
                  </a:lnTo>
                  <a:lnTo>
                    <a:pt x="378" y="172"/>
                  </a:lnTo>
                  <a:lnTo>
                    <a:pt x="377" y="172"/>
                  </a:lnTo>
                  <a:lnTo>
                    <a:pt x="377" y="174"/>
                  </a:lnTo>
                  <a:lnTo>
                    <a:pt x="377" y="181"/>
                  </a:lnTo>
                  <a:lnTo>
                    <a:pt x="377" y="188"/>
                  </a:lnTo>
                  <a:lnTo>
                    <a:pt x="378" y="194"/>
                  </a:lnTo>
                  <a:lnTo>
                    <a:pt x="378" y="197"/>
                  </a:lnTo>
                  <a:lnTo>
                    <a:pt x="380" y="216"/>
                  </a:lnTo>
                  <a:lnTo>
                    <a:pt x="381" y="217"/>
                  </a:lnTo>
                  <a:lnTo>
                    <a:pt x="381" y="219"/>
                  </a:lnTo>
                  <a:lnTo>
                    <a:pt x="382" y="221"/>
                  </a:lnTo>
                  <a:lnTo>
                    <a:pt x="382" y="222"/>
                  </a:lnTo>
                  <a:lnTo>
                    <a:pt x="384" y="226"/>
                  </a:lnTo>
                  <a:lnTo>
                    <a:pt x="387" y="229"/>
                  </a:lnTo>
                  <a:lnTo>
                    <a:pt x="390" y="233"/>
                  </a:lnTo>
                  <a:lnTo>
                    <a:pt x="396" y="240"/>
                  </a:lnTo>
                  <a:lnTo>
                    <a:pt x="398" y="242"/>
                  </a:lnTo>
                  <a:lnTo>
                    <a:pt x="401" y="245"/>
                  </a:lnTo>
                  <a:lnTo>
                    <a:pt x="404" y="249"/>
                  </a:lnTo>
                  <a:lnTo>
                    <a:pt x="406" y="253"/>
                  </a:lnTo>
                  <a:lnTo>
                    <a:pt x="408" y="258"/>
                  </a:lnTo>
                  <a:lnTo>
                    <a:pt x="410" y="262"/>
                  </a:lnTo>
                  <a:lnTo>
                    <a:pt x="415" y="274"/>
                  </a:lnTo>
                  <a:lnTo>
                    <a:pt x="417" y="277"/>
                  </a:lnTo>
                  <a:lnTo>
                    <a:pt x="418" y="280"/>
                  </a:lnTo>
                  <a:lnTo>
                    <a:pt x="420" y="281"/>
                  </a:lnTo>
                  <a:lnTo>
                    <a:pt x="421" y="283"/>
                  </a:lnTo>
                  <a:lnTo>
                    <a:pt x="423" y="284"/>
                  </a:lnTo>
                  <a:lnTo>
                    <a:pt x="424" y="284"/>
                  </a:lnTo>
                  <a:lnTo>
                    <a:pt x="426" y="285"/>
                  </a:lnTo>
                  <a:lnTo>
                    <a:pt x="429" y="285"/>
                  </a:lnTo>
                  <a:lnTo>
                    <a:pt x="432" y="286"/>
                  </a:lnTo>
                  <a:lnTo>
                    <a:pt x="434" y="286"/>
                  </a:lnTo>
                  <a:lnTo>
                    <a:pt x="436" y="286"/>
                  </a:lnTo>
                  <a:lnTo>
                    <a:pt x="439" y="286"/>
                  </a:lnTo>
                  <a:lnTo>
                    <a:pt x="440" y="285"/>
                  </a:lnTo>
                  <a:lnTo>
                    <a:pt x="443" y="285"/>
                  </a:lnTo>
                  <a:lnTo>
                    <a:pt x="450" y="283"/>
                  </a:lnTo>
                  <a:lnTo>
                    <a:pt x="452" y="282"/>
                  </a:lnTo>
                  <a:lnTo>
                    <a:pt x="455" y="281"/>
                  </a:lnTo>
                  <a:lnTo>
                    <a:pt x="458" y="281"/>
                  </a:lnTo>
                  <a:lnTo>
                    <a:pt x="460" y="281"/>
                  </a:lnTo>
                  <a:lnTo>
                    <a:pt x="462" y="281"/>
                  </a:lnTo>
                  <a:lnTo>
                    <a:pt x="463" y="282"/>
                  </a:lnTo>
                  <a:lnTo>
                    <a:pt x="465" y="282"/>
                  </a:lnTo>
                  <a:lnTo>
                    <a:pt x="468" y="283"/>
                  </a:lnTo>
                  <a:lnTo>
                    <a:pt x="470" y="284"/>
                  </a:lnTo>
                  <a:lnTo>
                    <a:pt x="472" y="285"/>
                  </a:lnTo>
                  <a:lnTo>
                    <a:pt x="473" y="286"/>
                  </a:lnTo>
                  <a:lnTo>
                    <a:pt x="476" y="288"/>
                  </a:lnTo>
                  <a:lnTo>
                    <a:pt x="479" y="290"/>
                  </a:lnTo>
                  <a:lnTo>
                    <a:pt x="484" y="295"/>
                  </a:lnTo>
                  <a:lnTo>
                    <a:pt x="485" y="296"/>
                  </a:lnTo>
                  <a:lnTo>
                    <a:pt x="488" y="297"/>
                  </a:lnTo>
                  <a:lnTo>
                    <a:pt x="492" y="300"/>
                  </a:lnTo>
                  <a:lnTo>
                    <a:pt x="496" y="303"/>
                  </a:lnTo>
                  <a:lnTo>
                    <a:pt x="499" y="304"/>
                  </a:lnTo>
                  <a:lnTo>
                    <a:pt x="503" y="306"/>
                  </a:lnTo>
                  <a:lnTo>
                    <a:pt x="507" y="308"/>
                  </a:lnTo>
                  <a:lnTo>
                    <a:pt x="509" y="308"/>
                  </a:lnTo>
                  <a:lnTo>
                    <a:pt x="512" y="308"/>
                  </a:lnTo>
                  <a:lnTo>
                    <a:pt x="516" y="309"/>
                  </a:lnTo>
                  <a:lnTo>
                    <a:pt x="519" y="309"/>
                  </a:lnTo>
                  <a:lnTo>
                    <a:pt x="520" y="308"/>
                  </a:lnTo>
                  <a:lnTo>
                    <a:pt x="521" y="308"/>
                  </a:lnTo>
                  <a:lnTo>
                    <a:pt x="522" y="308"/>
                  </a:lnTo>
                  <a:lnTo>
                    <a:pt x="523" y="308"/>
                  </a:lnTo>
                  <a:lnTo>
                    <a:pt x="523" y="307"/>
                  </a:lnTo>
                  <a:lnTo>
                    <a:pt x="523" y="308"/>
                  </a:lnTo>
                  <a:lnTo>
                    <a:pt x="523" y="308"/>
                  </a:lnTo>
                  <a:lnTo>
                    <a:pt x="522" y="310"/>
                  </a:lnTo>
                  <a:lnTo>
                    <a:pt x="521" y="311"/>
                  </a:lnTo>
                  <a:lnTo>
                    <a:pt x="519" y="314"/>
                  </a:lnTo>
                  <a:lnTo>
                    <a:pt x="518" y="318"/>
                  </a:lnTo>
                  <a:lnTo>
                    <a:pt x="514" y="321"/>
                  </a:lnTo>
                  <a:lnTo>
                    <a:pt x="505" y="331"/>
                  </a:lnTo>
                  <a:lnTo>
                    <a:pt x="494" y="342"/>
                  </a:lnTo>
                  <a:lnTo>
                    <a:pt x="491" y="346"/>
                  </a:lnTo>
                  <a:lnTo>
                    <a:pt x="488" y="349"/>
                  </a:lnTo>
                  <a:lnTo>
                    <a:pt x="486" y="352"/>
                  </a:lnTo>
                  <a:lnTo>
                    <a:pt x="485" y="354"/>
                  </a:lnTo>
                  <a:lnTo>
                    <a:pt x="475" y="371"/>
                  </a:lnTo>
                  <a:lnTo>
                    <a:pt x="469" y="384"/>
                  </a:lnTo>
                  <a:lnTo>
                    <a:pt x="465" y="391"/>
                  </a:lnTo>
                  <a:lnTo>
                    <a:pt x="461" y="402"/>
                  </a:lnTo>
                  <a:lnTo>
                    <a:pt x="456" y="411"/>
                  </a:lnTo>
                  <a:lnTo>
                    <a:pt x="454" y="415"/>
                  </a:lnTo>
                  <a:lnTo>
                    <a:pt x="452" y="420"/>
                  </a:lnTo>
                  <a:lnTo>
                    <a:pt x="450" y="429"/>
                  </a:lnTo>
                  <a:lnTo>
                    <a:pt x="448" y="433"/>
                  </a:lnTo>
                  <a:lnTo>
                    <a:pt x="446" y="438"/>
                  </a:lnTo>
                  <a:lnTo>
                    <a:pt x="441" y="446"/>
                  </a:lnTo>
                  <a:lnTo>
                    <a:pt x="439" y="450"/>
                  </a:lnTo>
                  <a:lnTo>
                    <a:pt x="437" y="455"/>
                  </a:lnTo>
                  <a:lnTo>
                    <a:pt x="434" y="461"/>
                  </a:lnTo>
                  <a:lnTo>
                    <a:pt x="432" y="466"/>
                  </a:lnTo>
                  <a:lnTo>
                    <a:pt x="431" y="470"/>
                  </a:lnTo>
                  <a:lnTo>
                    <a:pt x="430" y="477"/>
                  </a:lnTo>
                  <a:lnTo>
                    <a:pt x="428" y="488"/>
                  </a:lnTo>
                  <a:lnTo>
                    <a:pt x="428" y="492"/>
                  </a:lnTo>
                  <a:lnTo>
                    <a:pt x="427" y="496"/>
                  </a:lnTo>
                  <a:lnTo>
                    <a:pt x="425" y="500"/>
                  </a:lnTo>
                  <a:lnTo>
                    <a:pt x="424" y="502"/>
                  </a:lnTo>
                  <a:lnTo>
                    <a:pt x="423" y="505"/>
                  </a:lnTo>
                  <a:lnTo>
                    <a:pt x="421" y="508"/>
                  </a:lnTo>
                  <a:lnTo>
                    <a:pt x="419" y="512"/>
                  </a:lnTo>
                  <a:lnTo>
                    <a:pt x="417" y="513"/>
                  </a:lnTo>
                  <a:lnTo>
                    <a:pt x="416" y="515"/>
                  </a:lnTo>
                  <a:lnTo>
                    <a:pt x="413" y="517"/>
                  </a:lnTo>
                  <a:lnTo>
                    <a:pt x="412" y="518"/>
                  </a:lnTo>
                  <a:lnTo>
                    <a:pt x="410" y="519"/>
                  </a:lnTo>
                  <a:lnTo>
                    <a:pt x="408" y="520"/>
                  </a:lnTo>
                  <a:lnTo>
                    <a:pt x="407" y="520"/>
                  </a:lnTo>
                  <a:lnTo>
                    <a:pt x="406" y="520"/>
                  </a:lnTo>
                  <a:lnTo>
                    <a:pt x="405" y="520"/>
                  </a:lnTo>
                  <a:lnTo>
                    <a:pt x="403" y="519"/>
                  </a:lnTo>
                  <a:lnTo>
                    <a:pt x="402" y="519"/>
                  </a:lnTo>
                  <a:lnTo>
                    <a:pt x="401" y="518"/>
                  </a:lnTo>
                  <a:lnTo>
                    <a:pt x="399" y="517"/>
                  </a:lnTo>
                  <a:lnTo>
                    <a:pt x="398" y="516"/>
                  </a:lnTo>
                  <a:lnTo>
                    <a:pt x="398" y="514"/>
                  </a:lnTo>
                  <a:lnTo>
                    <a:pt x="397" y="512"/>
                  </a:lnTo>
                  <a:lnTo>
                    <a:pt x="396" y="512"/>
                  </a:lnTo>
                  <a:lnTo>
                    <a:pt x="396" y="509"/>
                  </a:lnTo>
                  <a:lnTo>
                    <a:pt x="395" y="500"/>
                  </a:lnTo>
                  <a:lnTo>
                    <a:pt x="394" y="489"/>
                  </a:lnTo>
                  <a:lnTo>
                    <a:pt x="394" y="485"/>
                  </a:lnTo>
                  <a:lnTo>
                    <a:pt x="393" y="476"/>
                  </a:lnTo>
                  <a:lnTo>
                    <a:pt x="392" y="470"/>
                  </a:lnTo>
                  <a:lnTo>
                    <a:pt x="391" y="465"/>
                  </a:lnTo>
                  <a:lnTo>
                    <a:pt x="389" y="456"/>
                  </a:lnTo>
                  <a:lnTo>
                    <a:pt x="388" y="453"/>
                  </a:lnTo>
                  <a:lnTo>
                    <a:pt x="388" y="448"/>
                  </a:lnTo>
                  <a:lnTo>
                    <a:pt x="387" y="437"/>
                  </a:lnTo>
                  <a:lnTo>
                    <a:pt x="386" y="434"/>
                  </a:lnTo>
                  <a:lnTo>
                    <a:pt x="385" y="431"/>
                  </a:lnTo>
                  <a:lnTo>
                    <a:pt x="384" y="428"/>
                  </a:lnTo>
                  <a:lnTo>
                    <a:pt x="383" y="425"/>
                  </a:lnTo>
                  <a:lnTo>
                    <a:pt x="382" y="422"/>
                  </a:lnTo>
                  <a:lnTo>
                    <a:pt x="381" y="420"/>
                  </a:lnTo>
                  <a:lnTo>
                    <a:pt x="379" y="416"/>
                  </a:lnTo>
                  <a:lnTo>
                    <a:pt x="377" y="414"/>
                  </a:lnTo>
                  <a:lnTo>
                    <a:pt x="375" y="412"/>
                  </a:lnTo>
                  <a:lnTo>
                    <a:pt x="373" y="410"/>
                  </a:lnTo>
                  <a:lnTo>
                    <a:pt x="371" y="410"/>
                  </a:lnTo>
                  <a:lnTo>
                    <a:pt x="370" y="410"/>
                  </a:lnTo>
                  <a:lnTo>
                    <a:pt x="366" y="408"/>
                  </a:lnTo>
                  <a:lnTo>
                    <a:pt x="362" y="408"/>
                  </a:lnTo>
                  <a:lnTo>
                    <a:pt x="360" y="407"/>
                  </a:lnTo>
                  <a:lnTo>
                    <a:pt x="359" y="407"/>
                  </a:lnTo>
                  <a:lnTo>
                    <a:pt x="357" y="408"/>
                  </a:lnTo>
                  <a:lnTo>
                    <a:pt x="355" y="408"/>
                  </a:lnTo>
                  <a:lnTo>
                    <a:pt x="348" y="410"/>
                  </a:lnTo>
                  <a:lnTo>
                    <a:pt x="346" y="410"/>
                  </a:lnTo>
                  <a:lnTo>
                    <a:pt x="342" y="411"/>
                  </a:lnTo>
                  <a:lnTo>
                    <a:pt x="339" y="412"/>
                  </a:lnTo>
                  <a:lnTo>
                    <a:pt x="333" y="413"/>
                  </a:lnTo>
                  <a:lnTo>
                    <a:pt x="324" y="414"/>
                  </a:lnTo>
                  <a:lnTo>
                    <a:pt x="315" y="415"/>
                  </a:lnTo>
                  <a:lnTo>
                    <a:pt x="310" y="416"/>
                  </a:lnTo>
                  <a:lnTo>
                    <a:pt x="302" y="417"/>
                  </a:lnTo>
                  <a:lnTo>
                    <a:pt x="299" y="417"/>
                  </a:lnTo>
                  <a:lnTo>
                    <a:pt x="295" y="417"/>
                  </a:lnTo>
                  <a:lnTo>
                    <a:pt x="291" y="416"/>
                  </a:lnTo>
                  <a:lnTo>
                    <a:pt x="283" y="414"/>
                  </a:lnTo>
                  <a:lnTo>
                    <a:pt x="278" y="413"/>
                  </a:lnTo>
                  <a:lnTo>
                    <a:pt x="275" y="412"/>
                  </a:lnTo>
                  <a:lnTo>
                    <a:pt x="272" y="411"/>
                  </a:lnTo>
                  <a:lnTo>
                    <a:pt x="269" y="409"/>
                  </a:lnTo>
                  <a:lnTo>
                    <a:pt x="266" y="408"/>
                  </a:lnTo>
                  <a:lnTo>
                    <a:pt x="263" y="406"/>
                  </a:lnTo>
                  <a:lnTo>
                    <a:pt x="261" y="405"/>
                  </a:lnTo>
                  <a:lnTo>
                    <a:pt x="255" y="399"/>
                  </a:lnTo>
                  <a:lnTo>
                    <a:pt x="253" y="398"/>
                  </a:lnTo>
                  <a:lnTo>
                    <a:pt x="251" y="397"/>
                  </a:lnTo>
                  <a:lnTo>
                    <a:pt x="249" y="396"/>
                  </a:lnTo>
                  <a:lnTo>
                    <a:pt x="244" y="393"/>
                  </a:lnTo>
                  <a:lnTo>
                    <a:pt x="239" y="391"/>
                  </a:lnTo>
                  <a:lnTo>
                    <a:pt x="236" y="390"/>
                  </a:lnTo>
                  <a:lnTo>
                    <a:pt x="234" y="390"/>
                  </a:lnTo>
                  <a:lnTo>
                    <a:pt x="232" y="390"/>
                  </a:lnTo>
                  <a:lnTo>
                    <a:pt x="229" y="389"/>
                  </a:lnTo>
                  <a:lnTo>
                    <a:pt x="226" y="389"/>
                  </a:lnTo>
                  <a:lnTo>
                    <a:pt x="223" y="389"/>
                  </a:lnTo>
                  <a:lnTo>
                    <a:pt x="214" y="390"/>
                  </a:lnTo>
                  <a:lnTo>
                    <a:pt x="212" y="390"/>
                  </a:lnTo>
                  <a:lnTo>
                    <a:pt x="210" y="390"/>
                  </a:lnTo>
                  <a:lnTo>
                    <a:pt x="209" y="390"/>
                  </a:lnTo>
                  <a:lnTo>
                    <a:pt x="208" y="389"/>
                  </a:lnTo>
                  <a:lnTo>
                    <a:pt x="206" y="389"/>
                  </a:lnTo>
                  <a:lnTo>
                    <a:pt x="205" y="387"/>
                  </a:lnTo>
                  <a:lnTo>
                    <a:pt x="203" y="386"/>
                  </a:lnTo>
                  <a:lnTo>
                    <a:pt x="202" y="384"/>
                  </a:lnTo>
                  <a:lnTo>
                    <a:pt x="201" y="381"/>
                  </a:lnTo>
                  <a:lnTo>
                    <a:pt x="200" y="378"/>
                  </a:lnTo>
                  <a:lnTo>
                    <a:pt x="200" y="368"/>
                  </a:lnTo>
                  <a:lnTo>
                    <a:pt x="199" y="365"/>
                  </a:lnTo>
                  <a:lnTo>
                    <a:pt x="199" y="363"/>
                  </a:lnTo>
                  <a:lnTo>
                    <a:pt x="198" y="359"/>
                  </a:lnTo>
                  <a:lnTo>
                    <a:pt x="197" y="356"/>
                  </a:lnTo>
                  <a:lnTo>
                    <a:pt x="196" y="354"/>
                  </a:lnTo>
                  <a:lnTo>
                    <a:pt x="194" y="352"/>
                  </a:lnTo>
                  <a:lnTo>
                    <a:pt x="193" y="349"/>
                  </a:lnTo>
                  <a:lnTo>
                    <a:pt x="191" y="347"/>
                  </a:lnTo>
                  <a:lnTo>
                    <a:pt x="189" y="344"/>
                  </a:lnTo>
                  <a:lnTo>
                    <a:pt x="188" y="342"/>
                  </a:lnTo>
                  <a:lnTo>
                    <a:pt x="185" y="341"/>
                  </a:lnTo>
                  <a:lnTo>
                    <a:pt x="183" y="339"/>
                  </a:lnTo>
                  <a:lnTo>
                    <a:pt x="181" y="338"/>
                  </a:lnTo>
                  <a:lnTo>
                    <a:pt x="179" y="337"/>
                  </a:lnTo>
                  <a:lnTo>
                    <a:pt x="178" y="336"/>
                  </a:lnTo>
                  <a:lnTo>
                    <a:pt x="176" y="335"/>
                  </a:lnTo>
                  <a:lnTo>
                    <a:pt x="173" y="335"/>
                  </a:lnTo>
                  <a:lnTo>
                    <a:pt x="171" y="334"/>
                  </a:lnTo>
                  <a:lnTo>
                    <a:pt x="168" y="334"/>
                  </a:lnTo>
                  <a:lnTo>
                    <a:pt x="166" y="334"/>
                  </a:lnTo>
                  <a:lnTo>
                    <a:pt x="160" y="334"/>
                  </a:lnTo>
                  <a:lnTo>
                    <a:pt x="156" y="334"/>
                  </a:lnTo>
                  <a:lnTo>
                    <a:pt x="150" y="334"/>
                  </a:lnTo>
                  <a:lnTo>
                    <a:pt x="147" y="334"/>
                  </a:lnTo>
                  <a:lnTo>
                    <a:pt x="143" y="333"/>
                  </a:lnTo>
                  <a:lnTo>
                    <a:pt x="141" y="333"/>
                  </a:lnTo>
                  <a:lnTo>
                    <a:pt x="138" y="332"/>
                  </a:lnTo>
                  <a:lnTo>
                    <a:pt x="135" y="331"/>
                  </a:lnTo>
                  <a:lnTo>
                    <a:pt x="132" y="330"/>
                  </a:lnTo>
                  <a:lnTo>
                    <a:pt x="116" y="321"/>
                  </a:lnTo>
                  <a:lnTo>
                    <a:pt x="113" y="320"/>
                  </a:lnTo>
                  <a:lnTo>
                    <a:pt x="111" y="319"/>
                  </a:lnTo>
                  <a:lnTo>
                    <a:pt x="102" y="313"/>
                  </a:lnTo>
                  <a:lnTo>
                    <a:pt x="98" y="310"/>
                  </a:lnTo>
                  <a:lnTo>
                    <a:pt x="97" y="309"/>
                  </a:lnTo>
                  <a:lnTo>
                    <a:pt x="95" y="308"/>
                  </a:lnTo>
                  <a:lnTo>
                    <a:pt x="93" y="308"/>
                  </a:lnTo>
                  <a:lnTo>
                    <a:pt x="92" y="308"/>
                  </a:lnTo>
                  <a:lnTo>
                    <a:pt x="90" y="308"/>
                  </a:lnTo>
                  <a:lnTo>
                    <a:pt x="89" y="308"/>
                  </a:lnTo>
                  <a:lnTo>
                    <a:pt x="87" y="308"/>
                  </a:lnTo>
                  <a:lnTo>
                    <a:pt x="87" y="308"/>
                  </a:lnTo>
                  <a:lnTo>
                    <a:pt x="83" y="308"/>
                  </a:lnTo>
                  <a:lnTo>
                    <a:pt x="77" y="310"/>
                  </a:lnTo>
                  <a:lnTo>
                    <a:pt x="75" y="311"/>
                  </a:lnTo>
                  <a:lnTo>
                    <a:pt x="73" y="311"/>
                  </a:lnTo>
                  <a:lnTo>
                    <a:pt x="70" y="312"/>
                  </a:lnTo>
                  <a:lnTo>
                    <a:pt x="67" y="312"/>
                  </a:lnTo>
                  <a:lnTo>
                    <a:pt x="59" y="312"/>
                  </a:lnTo>
                  <a:lnTo>
                    <a:pt x="54" y="311"/>
                  </a:lnTo>
                  <a:lnTo>
                    <a:pt x="50" y="311"/>
                  </a:lnTo>
                  <a:lnTo>
                    <a:pt x="45" y="310"/>
                  </a:lnTo>
                  <a:lnTo>
                    <a:pt x="41" y="309"/>
                  </a:lnTo>
                  <a:lnTo>
                    <a:pt x="38" y="308"/>
                  </a:lnTo>
                  <a:lnTo>
                    <a:pt x="35" y="308"/>
                  </a:lnTo>
                  <a:lnTo>
                    <a:pt x="33" y="307"/>
                  </a:lnTo>
                  <a:lnTo>
                    <a:pt x="32" y="306"/>
                  </a:lnTo>
                  <a:lnTo>
                    <a:pt x="31" y="306"/>
                  </a:lnTo>
                  <a:lnTo>
                    <a:pt x="31" y="305"/>
                  </a:lnTo>
                  <a:lnTo>
                    <a:pt x="30" y="305"/>
                  </a:lnTo>
                  <a:lnTo>
                    <a:pt x="29" y="303"/>
                  </a:lnTo>
                  <a:lnTo>
                    <a:pt x="24" y="301"/>
                  </a:lnTo>
                  <a:lnTo>
                    <a:pt x="19" y="298"/>
                  </a:lnTo>
                  <a:lnTo>
                    <a:pt x="11" y="295"/>
                  </a:lnTo>
                  <a:lnTo>
                    <a:pt x="8" y="294"/>
                  </a:lnTo>
                  <a:lnTo>
                    <a:pt x="7" y="292"/>
                  </a:lnTo>
                  <a:lnTo>
                    <a:pt x="7" y="292"/>
                  </a:lnTo>
                  <a:lnTo>
                    <a:pt x="6" y="290"/>
                  </a:lnTo>
                  <a:lnTo>
                    <a:pt x="6" y="289"/>
                  </a:lnTo>
                  <a:lnTo>
                    <a:pt x="5" y="287"/>
                  </a:lnTo>
                  <a:lnTo>
                    <a:pt x="5" y="281"/>
                  </a:lnTo>
                  <a:lnTo>
                    <a:pt x="5" y="276"/>
                  </a:lnTo>
                  <a:lnTo>
                    <a:pt x="4" y="274"/>
                  </a:lnTo>
                  <a:lnTo>
                    <a:pt x="3" y="272"/>
                  </a:lnTo>
                  <a:lnTo>
                    <a:pt x="1" y="264"/>
                  </a:lnTo>
                  <a:lnTo>
                    <a:pt x="0" y="262"/>
                  </a:lnTo>
                  <a:lnTo>
                    <a:pt x="0" y="260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1" y="254"/>
                  </a:lnTo>
                  <a:lnTo>
                    <a:pt x="4" y="246"/>
                  </a:lnTo>
                  <a:lnTo>
                    <a:pt x="5" y="241"/>
                  </a:lnTo>
                  <a:lnTo>
                    <a:pt x="7" y="238"/>
                  </a:lnTo>
                  <a:lnTo>
                    <a:pt x="7" y="235"/>
                  </a:lnTo>
                  <a:lnTo>
                    <a:pt x="7" y="233"/>
                  </a:lnTo>
                  <a:lnTo>
                    <a:pt x="8" y="231"/>
                  </a:lnTo>
                  <a:lnTo>
                    <a:pt x="8" y="229"/>
                  </a:lnTo>
                  <a:lnTo>
                    <a:pt x="8" y="223"/>
                  </a:lnTo>
                  <a:lnTo>
                    <a:pt x="8" y="221"/>
                  </a:lnTo>
                  <a:lnTo>
                    <a:pt x="9" y="219"/>
                  </a:lnTo>
                  <a:lnTo>
                    <a:pt x="9" y="218"/>
                  </a:lnTo>
                  <a:lnTo>
                    <a:pt x="10" y="216"/>
                  </a:lnTo>
                  <a:lnTo>
                    <a:pt x="11" y="214"/>
                  </a:lnTo>
                  <a:lnTo>
                    <a:pt x="12" y="212"/>
                  </a:lnTo>
                  <a:lnTo>
                    <a:pt x="13" y="211"/>
                  </a:lnTo>
                  <a:lnTo>
                    <a:pt x="13" y="210"/>
                  </a:lnTo>
                  <a:lnTo>
                    <a:pt x="14" y="209"/>
                  </a:lnTo>
                  <a:lnTo>
                    <a:pt x="16" y="207"/>
                  </a:lnTo>
                  <a:lnTo>
                    <a:pt x="18" y="206"/>
                  </a:lnTo>
                  <a:lnTo>
                    <a:pt x="21" y="204"/>
                  </a:lnTo>
                  <a:lnTo>
                    <a:pt x="24" y="203"/>
                  </a:lnTo>
                  <a:lnTo>
                    <a:pt x="26" y="201"/>
                  </a:lnTo>
                  <a:lnTo>
                    <a:pt x="30" y="200"/>
                  </a:lnTo>
                  <a:lnTo>
                    <a:pt x="33" y="199"/>
                  </a:lnTo>
                  <a:lnTo>
                    <a:pt x="35" y="198"/>
                  </a:lnTo>
                  <a:lnTo>
                    <a:pt x="39" y="198"/>
                  </a:lnTo>
                  <a:lnTo>
                    <a:pt x="41" y="198"/>
                  </a:lnTo>
                  <a:lnTo>
                    <a:pt x="44" y="198"/>
                  </a:lnTo>
                  <a:lnTo>
                    <a:pt x="46" y="198"/>
                  </a:lnTo>
                  <a:lnTo>
                    <a:pt x="48" y="198"/>
                  </a:lnTo>
                  <a:lnTo>
                    <a:pt x="51" y="198"/>
                  </a:lnTo>
                  <a:lnTo>
                    <a:pt x="53" y="199"/>
                  </a:lnTo>
                  <a:lnTo>
                    <a:pt x="55" y="199"/>
                  </a:lnTo>
                  <a:lnTo>
                    <a:pt x="60" y="201"/>
                  </a:lnTo>
                  <a:lnTo>
                    <a:pt x="66" y="203"/>
                  </a:lnTo>
                  <a:lnTo>
                    <a:pt x="71" y="205"/>
                  </a:lnTo>
                  <a:lnTo>
                    <a:pt x="75" y="206"/>
                  </a:lnTo>
                  <a:lnTo>
                    <a:pt x="78" y="206"/>
                  </a:lnTo>
                  <a:lnTo>
                    <a:pt x="81" y="206"/>
                  </a:lnTo>
                  <a:lnTo>
                    <a:pt x="83" y="206"/>
                  </a:lnTo>
                  <a:lnTo>
                    <a:pt x="86" y="206"/>
                  </a:lnTo>
                  <a:lnTo>
                    <a:pt x="91" y="205"/>
                  </a:lnTo>
                  <a:lnTo>
                    <a:pt x="94" y="204"/>
                  </a:lnTo>
                  <a:lnTo>
                    <a:pt x="96" y="204"/>
                  </a:lnTo>
                  <a:lnTo>
                    <a:pt x="99" y="204"/>
                  </a:lnTo>
                  <a:lnTo>
                    <a:pt x="107" y="204"/>
                  </a:lnTo>
                  <a:lnTo>
                    <a:pt x="109" y="204"/>
                  </a:lnTo>
                  <a:lnTo>
                    <a:pt x="111" y="204"/>
                  </a:lnTo>
                  <a:lnTo>
                    <a:pt x="113" y="205"/>
                  </a:lnTo>
                  <a:lnTo>
                    <a:pt x="114" y="205"/>
                  </a:lnTo>
                  <a:lnTo>
                    <a:pt x="115" y="206"/>
                  </a:lnTo>
                  <a:lnTo>
                    <a:pt x="116" y="206"/>
                  </a:lnTo>
                  <a:lnTo>
                    <a:pt x="117" y="207"/>
                  </a:lnTo>
                  <a:lnTo>
                    <a:pt x="117" y="208"/>
                  </a:lnTo>
                  <a:lnTo>
                    <a:pt x="119" y="213"/>
                  </a:lnTo>
                  <a:lnTo>
                    <a:pt x="120" y="215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3" y="218"/>
                  </a:lnTo>
                  <a:lnTo>
                    <a:pt x="124" y="219"/>
                  </a:lnTo>
                  <a:lnTo>
                    <a:pt x="126" y="219"/>
                  </a:lnTo>
                  <a:lnTo>
                    <a:pt x="128" y="220"/>
                  </a:lnTo>
                  <a:lnTo>
                    <a:pt x="129" y="220"/>
                  </a:lnTo>
                  <a:lnTo>
                    <a:pt x="132" y="220"/>
                  </a:lnTo>
                  <a:lnTo>
                    <a:pt x="133" y="220"/>
                  </a:lnTo>
                  <a:lnTo>
                    <a:pt x="135" y="219"/>
                  </a:lnTo>
                  <a:lnTo>
                    <a:pt x="137" y="218"/>
                  </a:lnTo>
                  <a:lnTo>
                    <a:pt x="139" y="217"/>
                  </a:lnTo>
                  <a:lnTo>
                    <a:pt x="140" y="217"/>
                  </a:lnTo>
                  <a:lnTo>
                    <a:pt x="142" y="215"/>
                  </a:lnTo>
                  <a:lnTo>
                    <a:pt x="143" y="213"/>
                  </a:lnTo>
                  <a:lnTo>
                    <a:pt x="144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6" y="206"/>
                  </a:lnTo>
                  <a:lnTo>
                    <a:pt x="146" y="205"/>
                  </a:lnTo>
                  <a:lnTo>
                    <a:pt x="146" y="201"/>
                  </a:lnTo>
                  <a:lnTo>
                    <a:pt x="145" y="197"/>
                  </a:lnTo>
                  <a:lnTo>
                    <a:pt x="144" y="193"/>
                  </a:lnTo>
                  <a:lnTo>
                    <a:pt x="143" y="183"/>
                  </a:lnTo>
                  <a:lnTo>
                    <a:pt x="141" y="171"/>
                  </a:lnTo>
                  <a:lnTo>
                    <a:pt x="139" y="162"/>
                  </a:lnTo>
                  <a:lnTo>
                    <a:pt x="139" y="160"/>
                  </a:lnTo>
                  <a:lnTo>
                    <a:pt x="138" y="157"/>
                  </a:lnTo>
                  <a:lnTo>
                    <a:pt x="139" y="154"/>
                  </a:lnTo>
                  <a:lnTo>
                    <a:pt x="139" y="151"/>
                  </a:lnTo>
                  <a:lnTo>
                    <a:pt x="140" y="149"/>
                  </a:lnTo>
                  <a:lnTo>
                    <a:pt x="140" y="147"/>
                  </a:lnTo>
                  <a:lnTo>
                    <a:pt x="141" y="145"/>
                  </a:lnTo>
                  <a:lnTo>
                    <a:pt x="142" y="144"/>
                  </a:lnTo>
                  <a:lnTo>
                    <a:pt x="143" y="141"/>
                  </a:lnTo>
                  <a:lnTo>
                    <a:pt x="144" y="138"/>
                  </a:lnTo>
                  <a:lnTo>
                    <a:pt x="149" y="134"/>
                  </a:lnTo>
                  <a:lnTo>
                    <a:pt x="151" y="131"/>
                  </a:lnTo>
                  <a:lnTo>
                    <a:pt x="152" y="129"/>
                  </a:lnTo>
                  <a:lnTo>
                    <a:pt x="154" y="126"/>
                  </a:lnTo>
                  <a:lnTo>
                    <a:pt x="161" y="113"/>
                  </a:lnTo>
                  <a:lnTo>
                    <a:pt x="163" y="109"/>
                  </a:lnTo>
                  <a:lnTo>
                    <a:pt x="166" y="103"/>
                  </a:lnTo>
                  <a:lnTo>
                    <a:pt x="171" y="96"/>
                  </a:lnTo>
                  <a:lnTo>
                    <a:pt x="172" y="94"/>
                  </a:lnTo>
                  <a:lnTo>
                    <a:pt x="174" y="91"/>
                  </a:lnTo>
                  <a:lnTo>
                    <a:pt x="177" y="83"/>
                  </a:lnTo>
                  <a:lnTo>
                    <a:pt x="178" y="81"/>
                  </a:lnTo>
                  <a:lnTo>
                    <a:pt x="179" y="77"/>
                  </a:lnTo>
                  <a:lnTo>
                    <a:pt x="181" y="74"/>
                  </a:lnTo>
                  <a:lnTo>
                    <a:pt x="183" y="71"/>
                  </a:lnTo>
                  <a:lnTo>
                    <a:pt x="189" y="67"/>
                  </a:lnTo>
                  <a:lnTo>
                    <a:pt x="194" y="59"/>
                  </a:lnTo>
                  <a:lnTo>
                    <a:pt x="197" y="56"/>
                  </a:lnTo>
                  <a:lnTo>
                    <a:pt x="200" y="50"/>
                  </a:lnTo>
                  <a:lnTo>
                    <a:pt x="208" y="40"/>
                  </a:lnTo>
                  <a:lnTo>
                    <a:pt x="209" y="39"/>
                  </a:lnTo>
                  <a:lnTo>
                    <a:pt x="211" y="37"/>
                  </a:lnTo>
                  <a:lnTo>
                    <a:pt x="212" y="36"/>
                  </a:lnTo>
                  <a:lnTo>
                    <a:pt x="214" y="36"/>
                  </a:lnTo>
                  <a:lnTo>
                    <a:pt x="218" y="34"/>
                  </a:lnTo>
                  <a:lnTo>
                    <a:pt x="221" y="33"/>
                  </a:lnTo>
                  <a:lnTo>
                    <a:pt x="224" y="32"/>
                  </a:lnTo>
                  <a:lnTo>
                    <a:pt x="225" y="32"/>
                  </a:lnTo>
                  <a:lnTo>
                    <a:pt x="229" y="33"/>
                  </a:lnTo>
                  <a:lnTo>
                    <a:pt x="232" y="33"/>
                  </a:lnTo>
                  <a:lnTo>
                    <a:pt x="235" y="35"/>
                  </a:lnTo>
                  <a:lnTo>
                    <a:pt x="246" y="37"/>
                  </a:lnTo>
                  <a:lnTo>
                    <a:pt x="249" y="38"/>
                  </a:lnTo>
                  <a:lnTo>
                    <a:pt x="253" y="39"/>
                  </a:lnTo>
                  <a:lnTo>
                    <a:pt x="257" y="40"/>
                  </a:lnTo>
                  <a:lnTo>
                    <a:pt x="261" y="40"/>
                  </a:lnTo>
                  <a:lnTo>
                    <a:pt x="264" y="39"/>
                  </a:lnTo>
                  <a:lnTo>
                    <a:pt x="268" y="38"/>
                  </a:lnTo>
                  <a:lnTo>
                    <a:pt x="271" y="37"/>
                  </a:lnTo>
                  <a:lnTo>
                    <a:pt x="274" y="36"/>
                  </a:lnTo>
                  <a:lnTo>
                    <a:pt x="276" y="35"/>
                  </a:lnTo>
                  <a:lnTo>
                    <a:pt x="278" y="33"/>
                  </a:lnTo>
                  <a:lnTo>
                    <a:pt x="280" y="31"/>
                  </a:lnTo>
                  <a:lnTo>
                    <a:pt x="283" y="27"/>
                  </a:lnTo>
                  <a:lnTo>
                    <a:pt x="286" y="25"/>
                  </a:lnTo>
                  <a:lnTo>
                    <a:pt x="290" y="19"/>
                  </a:lnTo>
                  <a:lnTo>
                    <a:pt x="292" y="13"/>
                  </a:lnTo>
                  <a:lnTo>
                    <a:pt x="293" y="13"/>
                  </a:lnTo>
                  <a:lnTo>
                    <a:pt x="294" y="14"/>
                  </a:lnTo>
                  <a:lnTo>
                    <a:pt x="294" y="15"/>
                  </a:lnTo>
                  <a:lnTo>
                    <a:pt x="296" y="17"/>
                  </a:lnTo>
                  <a:lnTo>
                    <a:pt x="297" y="18"/>
                  </a:lnTo>
                  <a:lnTo>
                    <a:pt x="299" y="20"/>
                  </a:lnTo>
                  <a:lnTo>
                    <a:pt x="300" y="21"/>
                  </a:lnTo>
                  <a:lnTo>
                    <a:pt x="301" y="22"/>
                  </a:lnTo>
                  <a:lnTo>
                    <a:pt x="303" y="23"/>
                  </a:lnTo>
                  <a:lnTo>
                    <a:pt x="304" y="24"/>
                  </a:lnTo>
                  <a:lnTo>
                    <a:pt x="305" y="25"/>
                  </a:lnTo>
                  <a:lnTo>
                    <a:pt x="306" y="25"/>
                  </a:lnTo>
                  <a:lnTo>
                    <a:pt x="308" y="25"/>
                  </a:lnTo>
                  <a:lnTo>
                    <a:pt x="309" y="25"/>
                  </a:lnTo>
                  <a:lnTo>
                    <a:pt x="311" y="25"/>
                  </a:lnTo>
                  <a:lnTo>
                    <a:pt x="313" y="25"/>
                  </a:lnTo>
                  <a:lnTo>
                    <a:pt x="314" y="25"/>
                  </a:lnTo>
                  <a:lnTo>
                    <a:pt x="316" y="24"/>
                  </a:lnTo>
                  <a:lnTo>
                    <a:pt x="319" y="23"/>
                  </a:lnTo>
                  <a:lnTo>
                    <a:pt x="321" y="22"/>
                  </a:lnTo>
                  <a:lnTo>
                    <a:pt x="325" y="17"/>
                  </a:lnTo>
                  <a:lnTo>
                    <a:pt x="328" y="16"/>
                  </a:lnTo>
                  <a:lnTo>
                    <a:pt x="329" y="15"/>
                  </a:lnTo>
                  <a:lnTo>
                    <a:pt x="330" y="15"/>
                  </a:lnTo>
                  <a:lnTo>
                    <a:pt x="332" y="14"/>
                  </a:lnTo>
                  <a:lnTo>
                    <a:pt x="334" y="14"/>
                  </a:lnTo>
                  <a:lnTo>
                    <a:pt x="336" y="14"/>
                  </a:lnTo>
                  <a:lnTo>
                    <a:pt x="340" y="13"/>
                  </a:lnTo>
                  <a:lnTo>
                    <a:pt x="342" y="13"/>
                  </a:lnTo>
                  <a:lnTo>
                    <a:pt x="344" y="12"/>
                  </a:lnTo>
                  <a:lnTo>
                    <a:pt x="345" y="12"/>
                  </a:lnTo>
                  <a:lnTo>
                    <a:pt x="346" y="11"/>
                  </a:lnTo>
                  <a:lnTo>
                    <a:pt x="349" y="6"/>
                  </a:lnTo>
                  <a:lnTo>
                    <a:pt x="352" y="2"/>
                  </a:lnTo>
                  <a:lnTo>
                    <a:pt x="354" y="2"/>
                  </a:lnTo>
                  <a:lnTo>
                    <a:pt x="355" y="1"/>
                  </a:lnTo>
                  <a:lnTo>
                    <a:pt x="356" y="1"/>
                  </a:lnTo>
                  <a:lnTo>
                    <a:pt x="357" y="1"/>
                  </a:lnTo>
                  <a:close/>
                </a:path>
              </a:pathLst>
            </a:custGeom>
            <a:solidFill>
              <a:srgbClr val="6BAFD6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9" name="Freeform 66">
              <a:extLst>
                <a:ext uri="{FF2B5EF4-FFF2-40B4-BE49-F238E27FC236}">
                  <a16:creationId xmlns:a16="http://schemas.microsoft.com/office/drawing/2014/main" id="{D3A1759E-D077-40BB-942B-F20A23315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3228"/>
              <a:ext cx="590" cy="399"/>
            </a:xfrm>
            <a:custGeom>
              <a:avLst/>
              <a:gdLst>
                <a:gd name="T0" fmla="*/ 184 w 590"/>
                <a:gd name="T1" fmla="*/ 31 h 399"/>
                <a:gd name="T2" fmla="*/ 170 w 590"/>
                <a:gd name="T3" fmla="*/ 39 h 399"/>
                <a:gd name="T4" fmla="*/ 167 w 590"/>
                <a:gd name="T5" fmla="*/ 51 h 399"/>
                <a:gd name="T6" fmla="*/ 171 w 590"/>
                <a:gd name="T7" fmla="*/ 68 h 399"/>
                <a:gd name="T8" fmla="*/ 194 w 590"/>
                <a:gd name="T9" fmla="*/ 67 h 399"/>
                <a:gd name="T10" fmla="*/ 245 w 590"/>
                <a:gd name="T11" fmla="*/ 49 h 399"/>
                <a:gd name="T12" fmla="*/ 255 w 590"/>
                <a:gd name="T13" fmla="*/ 85 h 399"/>
                <a:gd name="T14" fmla="*/ 256 w 590"/>
                <a:gd name="T15" fmla="*/ 109 h 399"/>
                <a:gd name="T16" fmla="*/ 277 w 590"/>
                <a:gd name="T17" fmla="*/ 116 h 399"/>
                <a:gd name="T18" fmla="*/ 298 w 590"/>
                <a:gd name="T19" fmla="*/ 132 h 399"/>
                <a:gd name="T20" fmla="*/ 342 w 590"/>
                <a:gd name="T21" fmla="*/ 139 h 399"/>
                <a:gd name="T22" fmla="*/ 357 w 590"/>
                <a:gd name="T23" fmla="*/ 150 h 399"/>
                <a:gd name="T24" fmla="*/ 361 w 590"/>
                <a:gd name="T25" fmla="*/ 173 h 399"/>
                <a:gd name="T26" fmla="*/ 373 w 590"/>
                <a:gd name="T27" fmla="*/ 179 h 399"/>
                <a:gd name="T28" fmla="*/ 407 w 590"/>
                <a:gd name="T29" fmla="*/ 196 h 399"/>
                <a:gd name="T30" fmla="*/ 427 w 590"/>
                <a:gd name="T31" fmla="*/ 203 h 399"/>
                <a:gd name="T32" fmla="*/ 470 w 590"/>
                <a:gd name="T33" fmla="*/ 196 h 399"/>
                <a:gd name="T34" fmla="*/ 499 w 590"/>
                <a:gd name="T35" fmla="*/ 208 h 399"/>
                <a:gd name="T36" fmla="*/ 508 w 590"/>
                <a:gd name="T37" fmla="*/ 223 h 399"/>
                <a:gd name="T38" fmla="*/ 514 w 590"/>
                <a:gd name="T39" fmla="*/ 239 h 399"/>
                <a:gd name="T40" fmla="*/ 553 w 590"/>
                <a:gd name="T41" fmla="*/ 259 h 399"/>
                <a:gd name="T42" fmla="*/ 582 w 590"/>
                <a:gd name="T43" fmla="*/ 298 h 399"/>
                <a:gd name="T44" fmla="*/ 587 w 590"/>
                <a:gd name="T45" fmla="*/ 319 h 399"/>
                <a:gd name="T46" fmla="*/ 544 w 590"/>
                <a:gd name="T47" fmla="*/ 349 h 399"/>
                <a:gd name="T48" fmla="*/ 520 w 590"/>
                <a:gd name="T49" fmla="*/ 355 h 399"/>
                <a:gd name="T50" fmla="*/ 501 w 590"/>
                <a:gd name="T51" fmla="*/ 364 h 399"/>
                <a:gd name="T52" fmla="*/ 487 w 590"/>
                <a:gd name="T53" fmla="*/ 358 h 399"/>
                <a:gd name="T54" fmla="*/ 457 w 590"/>
                <a:gd name="T55" fmla="*/ 341 h 399"/>
                <a:gd name="T56" fmla="*/ 437 w 590"/>
                <a:gd name="T57" fmla="*/ 339 h 399"/>
                <a:gd name="T58" fmla="*/ 400 w 590"/>
                <a:gd name="T59" fmla="*/ 364 h 399"/>
                <a:gd name="T60" fmla="*/ 375 w 590"/>
                <a:gd name="T61" fmla="*/ 369 h 399"/>
                <a:gd name="T62" fmla="*/ 355 w 590"/>
                <a:gd name="T63" fmla="*/ 359 h 399"/>
                <a:gd name="T64" fmla="*/ 325 w 590"/>
                <a:gd name="T65" fmla="*/ 337 h 399"/>
                <a:gd name="T66" fmla="*/ 270 w 590"/>
                <a:gd name="T67" fmla="*/ 311 h 399"/>
                <a:gd name="T68" fmla="*/ 245 w 590"/>
                <a:gd name="T69" fmla="*/ 307 h 399"/>
                <a:gd name="T70" fmla="*/ 208 w 590"/>
                <a:gd name="T71" fmla="*/ 334 h 399"/>
                <a:gd name="T72" fmla="*/ 176 w 590"/>
                <a:gd name="T73" fmla="*/ 362 h 399"/>
                <a:gd name="T74" fmla="*/ 161 w 590"/>
                <a:gd name="T75" fmla="*/ 396 h 399"/>
                <a:gd name="T76" fmla="*/ 149 w 590"/>
                <a:gd name="T77" fmla="*/ 398 h 399"/>
                <a:gd name="T78" fmla="*/ 122 w 590"/>
                <a:gd name="T79" fmla="*/ 386 h 399"/>
                <a:gd name="T80" fmla="*/ 102 w 590"/>
                <a:gd name="T81" fmla="*/ 372 h 399"/>
                <a:gd name="T82" fmla="*/ 80 w 590"/>
                <a:gd name="T83" fmla="*/ 375 h 399"/>
                <a:gd name="T84" fmla="*/ 61 w 590"/>
                <a:gd name="T85" fmla="*/ 374 h 399"/>
                <a:gd name="T86" fmla="*/ 45 w 590"/>
                <a:gd name="T87" fmla="*/ 348 h 399"/>
                <a:gd name="T88" fmla="*/ 21 w 590"/>
                <a:gd name="T89" fmla="*/ 316 h 399"/>
                <a:gd name="T90" fmla="*/ 14 w 590"/>
                <a:gd name="T91" fmla="*/ 278 h 399"/>
                <a:gd name="T92" fmla="*/ 19 w 590"/>
                <a:gd name="T93" fmla="*/ 254 h 399"/>
                <a:gd name="T94" fmla="*/ 39 w 590"/>
                <a:gd name="T95" fmla="*/ 250 h 399"/>
                <a:gd name="T96" fmla="*/ 35 w 590"/>
                <a:gd name="T97" fmla="*/ 240 h 399"/>
                <a:gd name="T98" fmla="*/ 28 w 590"/>
                <a:gd name="T99" fmla="*/ 228 h 399"/>
                <a:gd name="T100" fmla="*/ 33 w 590"/>
                <a:gd name="T101" fmla="*/ 197 h 399"/>
                <a:gd name="T102" fmla="*/ 26 w 590"/>
                <a:gd name="T103" fmla="*/ 170 h 399"/>
                <a:gd name="T104" fmla="*/ 10 w 590"/>
                <a:gd name="T105" fmla="*/ 156 h 399"/>
                <a:gd name="T106" fmla="*/ 1 w 590"/>
                <a:gd name="T107" fmla="*/ 120 h 399"/>
                <a:gd name="T108" fmla="*/ 4 w 590"/>
                <a:gd name="T109" fmla="*/ 88 h 399"/>
                <a:gd name="T110" fmla="*/ 34 w 590"/>
                <a:gd name="T111" fmla="*/ 65 h 399"/>
                <a:gd name="T112" fmla="*/ 84 w 590"/>
                <a:gd name="T113" fmla="*/ 60 h 399"/>
                <a:gd name="T114" fmla="*/ 91 w 590"/>
                <a:gd name="T115" fmla="*/ 49 h 399"/>
                <a:gd name="T116" fmla="*/ 96 w 590"/>
                <a:gd name="T117" fmla="*/ 22 h 399"/>
                <a:gd name="T118" fmla="*/ 103 w 590"/>
                <a:gd name="T119" fmla="*/ 18 h 399"/>
                <a:gd name="T120" fmla="*/ 123 w 590"/>
                <a:gd name="T121" fmla="*/ 35 h 399"/>
                <a:gd name="T122" fmla="*/ 142 w 590"/>
                <a:gd name="T123" fmla="*/ 36 h 399"/>
                <a:gd name="T124" fmla="*/ 164 w 590"/>
                <a:gd name="T125" fmla="*/ 27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0" h="399">
                  <a:moveTo>
                    <a:pt x="193" y="0"/>
                  </a:moveTo>
                  <a:lnTo>
                    <a:pt x="193" y="1"/>
                  </a:lnTo>
                  <a:lnTo>
                    <a:pt x="190" y="13"/>
                  </a:lnTo>
                  <a:lnTo>
                    <a:pt x="189" y="20"/>
                  </a:lnTo>
                  <a:lnTo>
                    <a:pt x="188" y="23"/>
                  </a:lnTo>
                  <a:lnTo>
                    <a:pt x="186" y="27"/>
                  </a:lnTo>
                  <a:lnTo>
                    <a:pt x="185" y="29"/>
                  </a:lnTo>
                  <a:lnTo>
                    <a:pt x="184" y="31"/>
                  </a:lnTo>
                  <a:lnTo>
                    <a:pt x="183" y="32"/>
                  </a:lnTo>
                  <a:lnTo>
                    <a:pt x="183" y="33"/>
                  </a:lnTo>
                  <a:lnTo>
                    <a:pt x="181" y="34"/>
                  </a:lnTo>
                  <a:lnTo>
                    <a:pt x="180" y="35"/>
                  </a:lnTo>
                  <a:lnTo>
                    <a:pt x="178" y="36"/>
                  </a:lnTo>
                  <a:lnTo>
                    <a:pt x="173" y="38"/>
                  </a:lnTo>
                  <a:lnTo>
                    <a:pt x="172" y="38"/>
                  </a:lnTo>
                  <a:lnTo>
                    <a:pt x="170" y="39"/>
                  </a:lnTo>
                  <a:lnTo>
                    <a:pt x="169" y="40"/>
                  </a:lnTo>
                  <a:lnTo>
                    <a:pt x="169" y="41"/>
                  </a:lnTo>
                  <a:lnTo>
                    <a:pt x="168" y="42"/>
                  </a:lnTo>
                  <a:lnTo>
                    <a:pt x="167" y="43"/>
                  </a:lnTo>
                  <a:lnTo>
                    <a:pt x="167" y="45"/>
                  </a:lnTo>
                  <a:lnTo>
                    <a:pt x="167" y="47"/>
                  </a:lnTo>
                  <a:lnTo>
                    <a:pt x="167" y="49"/>
                  </a:lnTo>
                  <a:lnTo>
                    <a:pt x="167" y="51"/>
                  </a:lnTo>
                  <a:lnTo>
                    <a:pt x="167" y="57"/>
                  </a:lnTo>
                  <a:lnTo>
                    <a:pt x="168" y="61"/>
                  </a:lnTo>
                  <a:lnTo>
                    <a:pt x="168" y="63"/>
                  </a:lnTo>
                  <a:lnTo>
                    <a:pt x="168" y="65"/>
                  </a:lnTo>
                  <a:lnTo>
                    <a:pt x="169" y="65"/>
                  </a:lnTo>
                  <a:lnTo>
                    <a:pt x="170" y="66"/>
                  </a:lnTo>
                  <a:lnTo>
                    <a:pt x="170" y="67"/>
                  </a:lnTo>
                  <a:lnTo>
                    <a:pt x="171" y="68"/>
                  </a:lnTo>
                  <a:lnTo>
                    <a:pt x="173" y="68"/>
                  </a:lnTo>
                  <a:lnTo>
                    <a:pt x="176" y="69"/>
                  </a:lnTo>
                  <a:lnTo>
                    <a:pt x="178" y="69"/>
                  </a:lnTo>
                  <a:lnTo>
                    <a:pt x="180" y="69"/>
                  </a:lnTo>
                  <a:lnTo>
                    <a:pt x="185" y="69"/>
                  </a:lnTo>
                  <a:lnTo>
                    <a:pt x="188" y="69"/>
                  </a:lnTo>
                  <a:lnTo>
                    <a:pt x="190" y="68"/>
                  </a:lnTo>
                  <a:lnTo>
                    <a:pt x="194" y="67"/>
                  </a:lnTo>
                  <a:lnTo>
                    <a:pt x="216" y="58"/>
                  </a:lnTo>
                  <a:lnTo>
                    <a:pt x="222" y="56"/>
                  </a:lnTo>
                  <a:lnTo>
                    <a:pt x="233" y="50"/>
                  </a:lnTo>
                  <a:lnTo>
                    <a:pt x="237" y="48"/>
                  </a:lnTo>
                  <a:lnTo>
                    <a:pt x="242" y="47"/>
                  </a:lnTo>
                  <a:lnTo>
                    <a:pt x="243" y="47"/>
                  </a:lnTo>
                  <a:lnTo>
                    <a:pt x="244" y="47"/>
                  </a:lnTo>
                  <a:lnTo>
                    <a:pt x="245" y="49"/>
                  </a:lnTo>
                  <a:lnTo>
                    <a:pt x="246" y="52"/>
                  </a:lnTo>
                  <a:lnTo>
                    <a:pt x="249" y="63"/>
                  </a:lnTo>
                  <a:lnTo>
                    <a:pt x="251" y="67"/>
                  </a:lnTo>
                  <a:lnTo>
                    <a:pt x="252" y="71"/>
                  </a:lnTo>
                  <a:lnTo>
                    <a:pt x="254" y="77"/>
                  </a:lnTo>
                  <a:lnTo>
                    <a:pt x="254" y="80"/>
                  </a:lnTo>
                  <a:lnTo>
                    <a:pt x="254" y="82"/>
                  </a:lnTo>
                  <a:lnTo>
                    <a:pt x="255" y="85"/>
                  </a:lnTo>
                  <a:lnTo>
                    <a:pt x="255" y="89"/>
                  </a:lnTo>
                  <a:lnTo>
                    <a:pt x="255" y="92"/>
                  </a:lnTo>
                  <a:lnTo>
                    <a:pt x="254" y="100"/>
                  </a:lnTo>
                  <a:lnTo>
                    <a:pt x="254" y="103"/>
                  </a:lnTo>
                  <a:lnTo>
                    <a:pt x="254" y="104"/>
                  </a:lnTo>
                  <a:lnTo>
                    <a:pt x="254" y="106"/>
                  </a:lnTo>
                  <a:lnTo>
                    <a:pt x="255" y="107"/>
                  </a:lnTo>
                  <a:lnTo>
                    <a:pt x="256" y="109"/>
                  </a:lnTo>
                  <a:lnTo>
                    <a:pt x="257" y="110"/>
                  </a:lnTo>
                  <a:lnTo>
                    <a:pt x="258" y="110"/>
                  </a:lnTo>
                  <a:lnTo>
                    <a:pt x="258" y="111"/>
                  </a:lnTo>
                  <a:lnTo>
                    <a:pt x="265" y="112"/>
                  </a:lnTo>
                  <a:lnTo>
                    <a:pt x="268" y="113"/>
                  </a:lnTo>
                  <a:lnTo>
                    <a:pt x="270" y="114"/>
                  </a:lnTo>
                  <a:lnTo>
                    <a:pt x="272" y="115"/>
                  </a:lnTo>
                  <a:lnTo>
                    <a:pt x="277" y="116"/>
                  </a:lnTo>
                  <a:lnTo>
                    <a:pt x="281" y="118"/>
                  </a:lnTo>
                  <a:lnTo>
                    <a:pt x="283" y="119"/>
                  </a:lnTo>
                  <a:lnTo>
                    <a:pt x="285" y="120"/>
                  </a:lnTo>
                  <a:lnTo>
                    <a:pt x="288" y="122"/>
                  </a:lnTo>
                  <a:lnTo>
                    <a:pt x="292" y="126"/>
                  </a:lnTo>
                  <a:lnTo>
                    <a:pt x="295" y="129"/>
                  </a:lnTo>
                  <a:lnTo>
                    <a:pt x="296" y="130"/>
                  </a:lnTo>
                  <a:lnTo>
                    <a:pt x="298" y="132"/>
                  </a:lnTo>
                  <a:lnTo>
                    <a:pt x="300" y="133"/>
                  </a:lnTo>
                  <a:lnTo>
                    <a:pt x="302" y="133"/>
                  </a:lnTo>
                  <a:lnTo>
                    <a:pt x="304" y="134"/>
                  </a:lnTo>
                  <a:lnTo>
                    <a:pt x="319" y="136"/>
                  </a:lnTo>
                  <a:lnTo>
                    <a:pt x="326" y="137"/>
                  </a:lnTo>
                  <a:lnTo>
                    <a:pt x="338" y="138"/>
                  </a:lnTo>
                  <a:lnTo>
                    <a:pt x="340" y="139"/>
                  </a:lnTo>
                  <a:lnTo>
                    <a:pt x="342" y="139"/>
                  </a:lnTo>
                  <a:lnTo>
                    <a:pt x="345" y="141"/>
                  </a:lnTo>
                  <a:lnTo>
                    <a:pt x="347" y="142"/>
                  </a:lnTo>
                  <a:lnTo>
                    <a:pt x="350" y="144"/>
                  </a:lnTo>
                  <a:lnTo>
                    <a:pt x="353" y="147"/>
                  </a:lnTo>
                  <a:lnTo>
                    <a:pt x="354" y="148"/>
                  </a:lnTo>
                  <a:lnTo>
                    <a:pt x="355" y="149"/>
                  </a:lnTo>
                  <a:lnTo>
                    <a:pt x="356" y="149"/>
                  </a:lnTo>
                  <a:lnTo>
                    <a:pt x="357" y="150"/>
                  </a:lnTo>
                  <a:lnTo>
                    <a:pt x="357" y="152"/>
                  </a:lnTo>
                  <a:lnTo>
                    <a:pt x="358" y="153"/>
                  </a:lnTo>
                  <a:lnTo>
                    <a:pt x="359" y="157"/>
                  </a:lnTo>
                  <a:lnTo>
                    <a:pt x="359" y="160"/>
                  </a:lnTo>
                  <a:lnTo>
                    <a:pt x="360" y="168"/>
                  </a:lnTo>
                  <a:lnTo>
                    <a:pt x="360" y="170"/>
                  </a:lnTo>
                  <a:lnTo>
                    <a:pt x="360" y="171"/>
                  </a:lnTo>
                  <a:lnTo>
                    <a:pt x="361" y="173"/>
                  </a:lnTo>
                  <a:lnTo>
                    <a:pt x="362" y="174"/>
                  </a:lnTo>
                  <a:lnTo>
                    <a:pt x="363" y="175"/>
                  </a:lnTo>
                  <a:lnTo>
                    <a:pt x="364" y="176"/>
                  </a:lnTo>
                  <a:lnTo>
                    <a:pt x="366" y="177"/>
                  </a:lnTo>
                  <a:lnTo>
                    <a:pt x="367" y="177"/>
                  </a:lnTo>
                  <a:lnTo>
                    <a:pt x="369" y="178"/>
                  </a:lnTo>
                  <a:lnTo>
                    <a:pt x="372" y="179"/>
                  </a:lnTo>
                  <a:lnTo>
                    <a:pt x="373" y="179"/>
                  </a:lnTo>
                  <a:lnTo>
                    <a:pt x="379" y="179"/>
                  </a:lnTo>
                  <a:lnTo>
                    <a:pt x="382" y="180"/>
                  </a:lnTo>
                  <a:lnTo>
                    <a:pt x="384" y="181"/>
                  </a:lnTo>
                  <a:lnTo>
                    <a:pt x="387" y="182"/>
                  </a:lnTo>
                  <a:lnTo>
                    <a:pt x="389" y="183"/>
                  </a:lnTo>
                  <a:lnTo>
                    <a:pt x="392" y="184"/>
                  </a:lnTo>
                  <a:lnTo>
                    <a:pt x="404" y="194"/>
                  </a:lnTo>
                  <a:lnTo>
                    <a:pt x="407" y="196"/>
                  </a:lnTo>
                  <a:lnTo>
                    <a:pt x="409" y="197"/>
                  </a:lnTo>
                  <a:lnTo>
                    <a:pt x="412" y="199"/>
                  </a:lnTo>
                  <a:lnTo>
                    <a:pt x="414" y="200"/>
                  </a:lnTo>
                  <a:lnTo>
                    <a:pt x="416" y="201"/>
                  </a:lnTo>
                  <a:lnTo>
                    <a:pt x="418" y="202"/>
                  </a:lnTo>
                  <a:lnTo>
                    <a:pt x="421" y="203"/>
                  </a:lnTo>
                  <a:lnTo>
                    <a:pt x="424" y="203"/>
                  </a:lnTo>
                  <a:lnTo>
                    <a:pt x="427" y="203"/>
                  </a:lnTo>
                  <a:lnTo>
                    <a:pt x="429" y="202"/>
                  </a:lnTo>
                  <a:lnTo>
                    <a:pt x="431" y="202"/>
                  </a:lnTo>
                  <a:lnTo>
                    <a:pt x="441" y="199"/>
                  </a:lnTo>
                  <a:lnTo>
                    <a:pt x="446" y="198"/>
                  </a:lnTo>
                  <a:lnTo>
                    <a:pt x="450" y="198"/>
                  </a:lnTo>
                  <a:lnTo>
                    <a:pt x="457" y="197"/>
                  </a:lnTo>
                  <a:lnTo>
                    <a:pt x="467" y="196"/>
                  </a:lnTo>
                  <a:lnTo>
                    <a:pt x="470" y="196"/>
                  </a:lnTo>
                  <a:lnTo>
                    <a:pt x="472" y="196"/>
                  </a:lnTo>
                  <a:lnTo>
                    <a:pt x="474" y="196"/>
                  </a:lnTo>
                  <a:lnTo>
                    <a:pt x="476" y="197"/>
                  </a:lnTo>
                  <a:lnTo>
                    <a:pt x="482" y="200"/>
                  </a:lnTo>
                  <a:lnTo>
                    <a:pt x="489" y="203"/>
                  </a:lnTo>
                  <a:lnTo>
                    <a:pt x="493" y="205"/>
                  </a:lnTo>
                  <a:lnTo>
                    <a:pt x="497" y="206"/>
                  </a:lnTo>
                  <a:lnTo>
                    <a:pt x="499" y="208"/>
                  </a:lnTo>
                  <a:lnTo>
                    <a:pt x="502" y="211"/>
                  </a:lnTo>
                  <a:lnTo>
                    <a:pt x="503" y="212"/>
                  </a:lnTo>
                  <a:lnTo>
                    <a:pt x="504" y="213"/>
                  </a:lnTo>
                  <a:lnTo>
                    <a:pt x="505" y="215"/>
                  </a:lnTo>
                  <a:lnTo>
                    <a:pt x="506" y="216"/>
                  </a:lnTo>
                  <a:lnTo>
                    <a:pt x="507" y="218"/>
                  </a:lnTo>
                  <a:lnTo>
                    <a:pt x="507" y="220"/>
                  </a:lnTo>
                  <a:lnTo>
                    <a:pt x="508" y="223"/>
                  </a:lnTo>
                  <a:lnTo>
                    <a:pt x="508" y="229"/>
                  </a:lnTo>
                  <a:lnTo>
                    <a:pt x="508" y="231"/>
                  </a:lnTo>
                  <a:lnTo>
                    <a:pt x="509" y="233"/>
                  </a:lnTo>
                  <a:lnTo>
                    <a:pt x="509" y="235"/>
                  </a:lnTo>
                  <a:lnTo>
                    <a:pt x="510" y="236"/>
                  </a:lnTo>
                  <a:lnTo>
                    <a:pt x="511" y="238"/>
                  </a:lnTo>
                  <a:lnTo>
                    <a:pt x="512" y="239"/>
                  </a:lnTo>
                  <a:lnTo>
                    <a:pt x="514" y="239"/>
                  </a:lnTo>
                  <a:lnTo>
                    <a:pt x="516" y="240"/>
                  </a:lnTo>
                  <a:lnTo>
                    <a:pt x="518" y="241"/>
                  </a:lnTo>
                  <a:lnTo>
                    <a:pt x="522" y="243"/>
                  </a:lnTo>
                  <a:lnTo>
                    <a:pt x="527" y="245"/>
                  </a:lnTo>
                  <a:lnTo>
                    <a:pt x="543" y="253"/>
                  </a:lnTo>
                  <a:lnTo>
                    <a:pt x="546" y="255"/>
                  </a:lnTo>
                  <a:lnTo>
                    <a:pt x="550" y="257"/>
                  </a:lnTo>
                  <a:lnTo>
                    <a:pt x="553" y="259"/>
                  </a:lnTo>
                  <a:lnTo>
                    <a:pt x="555" y="262"/>
                  </a:lnTo>
                  <a:lnTo>
                    <a:pt x="559" y="265"/>
                  </a:lnTo>
                  <a:lnTo>
                    <a:pt x="561" y="269"/>
                  </a:lnTo>
                  <a:lnTo>
                    <a:pt x="564" y="273"/>
                  </a:lnTo>
                  <a:lnTo>
                    <a:pt x="572" y="285"/>
                  </a:lnTo>
                  <a:lnTo>
                    <a:pt x="578" y="293"/>
                  </a:lnTo>
                  <a:lnTo>
                    <a:pt x="580" y="296"/>
                  </a:lnTo>
                  <a:lnTo>
                    <a:pt x="582" y="298"/>
                  </a:lnTo>
                  <a:lnTo>
                    <a:pt x="583" y="301"/>
                  </a:lnTo>
                  <a:lnTo>
                    <a:pt x="587" y="309"/>
                  </a:lnTo>
                  <a:lnTo>
                    <a:pt x="588" y="314"/>
                  </a:lnTo>
                  <a:lnTo>
                    <a:pt x="589" y="317"/>
                  </a:lnTo>
                  <a:lnTo>
                    <a:pt x="590" y="318"/>
                  </a:lnTo>
                  <a:lnTo>
                    <a:pt x="589" y="318"/>
                  </a:lnTo>
                  <a:lnTo>
                    <a:pt x="588" y="318"/>
                  </a:lnTo>
                  <a:lnTo>
                    <a:pt x="587" y="319"/>
                  </a:lnTo>
                  <a:lnTo>
                    <a:pt x="584" y="319"/>
                  </a:lnTo>
                  <a:lnTo>
                    <a:pt x="581" y="322"/>
                  </a:lnTo>
                  <a:lnTo>
                    <a:pt x="571" y="329"/>
                  </a:lnTo>
                  <a:lnTo>
                    <a:pt x="560" y="337"/>
                  </a:lnTo>
                  <a:lnTo>
                    <a:pt x="556" y="340"/>
                  </a:lnTo>
                  <a:lnTo>
                    <a:pt x="549" y="346"/>
                  </a:lnTo>
                  <a:lnTo>
                    <a:pt x="546" y="348"/>
                  </a:lnTo>
                  <a:lnTo>
                    <a:pt x="544" y="349"/>
                  </a:lnTo>
                  <a:lnTo>
                    <a:pt x="542" y="350"/>
                  </a:lnTo>
                  <a:lnTo>
                    <a:pt x="541" y="351"/>
                  </a:lnTo>
                  <a:lnTo>
                    <a:pt x="539" y="352"/>
                  </a:lnTo>
                  <a:lnTo>
                    <a:pt x="536" y="353"/>
                  </a:lnTo>
                  <a:lnTo>
                    <a:pt x="531" y="353"/>
                  </a:lnTo>
                  <a:lnTo>
                    <a:pt x="524" y="354"/>
                  </a:lnTo>
                  <a:lnTo>
                    <a:pt x="521" y="354"/>
                  </a:lnTo>
                  <a:lnTo>
                    <a:pt x="520" y="355"/>
                  </a:lnTo>
                  <a:lnTo>
                    <a:pt x="519" y="356"/>
                  </a:lnTo>
                  <a:lnTo>
                    <a:pt x="514" y="360"/>
                  </a:lnTo>
                  <a:lnTo>
                    <a:pt x="513" y="361"/>
                  </a:lnTo>
                  <a:lnTo>
                    <a:pt x="511" y="362"/>
                  </a:lnTo>
                  <a:lnTo>
                    <a:pt x="510" y="363"/>
                  </a:lnTo>
                  <a:lnTo>
                    <a:pt x="508" y="363"/>
                  </a:lnTo>
                  <a:lnTo>
                    <a:pt x="504" y="364"/>
                  </a:lnTo>
                  <a:lnTo>
                    <a:pt x="501" y="364"/>
                  </a:lnTo>
                  <a:lnTo>
                    <a:pt x="499" y="364"/>
                  </a:lnTo>
                  <a:lnTo>
                    <a:pt x="497" y="364"/>
                  </a:lnTo>
                  <a:lnTo>
                    <a:pt x="496" y="364"/>
                  </a:lnTo>
                  <a:lnTo>
                    <a:pt x="495" y="364"/>
                  </a:lnTo>
                  <a:lnTo>
                    <a:pt x="493" y="363"/>
                  </a:lnTo>
                  <a:lnTo>
                    <a:pt x="490" y="360"/>
                  </a:lnTo>
                  <a:lnTo>
                    <a:pt x="489" y="359"/>
                  </a:lnTo>
                  <a:lnTo>
                    <a:pt x="487" y="358"/>
                  </a:lnTo>
                  <a:lnTo>
                    <a:pt x="484" y="357"/>
                  </a:lnTo>
                  <a:lnTo>
                    <a:pt x="482" y="356"/>
                  </a:lnTo>
                  <a:lnTo>
                    <a:pt x="480" y="355"/>
                  </a:lnTo>
                  <a:lnTo>
                    <a:pt x="476" y="353"/>
                  </a:lnTo>
                  <a:lnTo>
                    <a:pt x="468" y="347"/>
                  </a:lnTo>
                  <a:lnTo>
                    <a:pt x="464" y="345"/>
                  </a:lnTo>
                  <a:lnTo>
                    <a:pt x="461" y="342"/>
                  </a:lnTo>
                  <a:lnTo>
                    <a:pt x="457" y="341"/>
                  </a:lnTo>
                  <a:lnTo>
                    <a:pt x="453" y="340"/>
                  </a:lnTo>
                  <a:lnTo>
                    <a:pt x="450" y="339"/>
                  </a:lnTo>
                  <a:lnTo>
                    <a:pt x="446" y="338"/>
                  </a:lnTo>
                  <a:lnTo>
                    <a:pt x="443" y="338"/>
                  </a:lnTo>
                  <a:lnTo>
                    <a:pt x="441" y="338"/>
                  </a:lnTo>
                  <a:lnTo>
                    <a:pt x="440" y="338"/>
                  </a:lnTo>
                  <a:lnTo>
                    <a:pt x="439" y="339"/>
                  </a:lnTo>
                  <a:lnTo>
                    <a:pt x="437" y="339"/>
                  </a:lnTo>
                  <a:lnTo>
                    <a:pt x="433" y="341"/>
                  </a:lnTo>
                  <a:lnTo>
                    <a:pt x="429" y="343"/>
                  </a:lnTo>
                  <a:lnTo>
                    <a:pt x="428" y="344"/>
                  </a:lnTo>
                  <a:lnTo>
                    <a:pt x="426" y="345"/>
                  </a:lnTo>
                  <a:lnTo>
                    <a:pt x="419" y="352"/>
                  </a:lnTo>
                  <a:lnTo>
                    <a:pt x="416" y="353"/>
                  </a:lnTo>
                  <a:lnTo>
                    <a:pt x="404" y="362"/>
                  </a:lnTo>
                  <a:lnTo>
                    <a:pt x="400" y="364"/>
                  </a:lnTo>
                  <a:lnTo>
                    <a:pt x="397" y="366"/>
                  </a:lnTo>
                  <a:lnTo>
                    <a:pt x="395" y="367"/>
                  </a:lnTo>
                  <a:lnTo>
                    <a:pt x="394" y="367"/>
                  </a:lnTo>
                  <a:lnTo>
                    <a:pt x="392" y="368"/>
                  </a:lnTo>
                  <a:lnTo>
                    <a:pt x="389" y="368"/>
                  </a:lnTo>
                  <a:lnTo>
                    <a:pt x="384" y="369"/>
                  </a:lnTo>
                  <a:lnTo>
                    <a:pt x="377" y="369"/>
                  </a:lnTo>
                  <a:lnTo>
                    <a:pt x="375" y="369"/>
                  </a:lnTo>
                  <a:lnTo>
                    <a:pt x="373" y="368"/>
                  </a:lnTo>
                  <a:lnTo>
                    <a:pt x="372" y="368"/>
                  </a:lnTo>
                  <a:lnTo>
                    <a:pt x="370" y="367"/>
                  </a:lnTo>
                  <a:lnTo>
                    <a:pt x="369" y="367"/>
                  </a:lnTo>
                  <a:lnTo>
                    <a:pt x="367" y="366"/>
                  </a:lnTo>
                  <a:lnTo>
                    <a:pt x="362" y="364"/>
                  </a:lnTo>
                  <a:lnTo>
                    <a:pt x="360" y="362"/>
                  </a:lnTo>
                  <a:lnTo>
                    <a:pt x="355" y="359"/>
                  </a:lnTo>
                  <a:lnTo>
                    <a:pt x="351" y="356"/>
                  </a:lnTo>
                  <a:lnTo>
                    <a:pt x="349" y="354"/>
                  </a:lnTo>
                  <a:lnTo>
                    <a:pt x="344" y="351"/>
                  </a:lnTo>
                  <a:lnTo>
                    <a:pt x="337" y="343"/>
                  </a:lnTo>
                  <a:lnTo>
                    <a:pt x="335" y="341"/>
                  </a:lnTo>
                  <a:lnTo>
                    <a:pt x="334" y="341"/>
                  </a:lnTo>
                  <a:lnTo>
                    <a:pt x="331" y="340"/>
                  </a:lnTo>
                  <a:lnTo>
                    <a:pt x="325" y="337"/>
                  </a:lnTo>
                  <a:lnTo>
                    <a:pt x="322" y="335"/>
                  </a:lnTo>
                  <a:lnTo>
                    <a:pt x="311" y="329"/>
                  </a:lnTo>
                  <a:lnTo>
                    <a:pt x="303" y="324"/>
                  </a:lnTo>
                  <a:lnTo>
                    <a:pt x="299" y="322"/>
                  </a:lnTo>
                  <a:lnTo>
                    <a:pt x="296" y="320"/>
                  </a:lnTo>
                  <a:lnTo>
                    <a:pt x="286" y="317"/>
                  </a:lnTo>
                  <a:lnTo>
                    <a:pt x="275" y="313"/>
                  </a:lnTo>
                  <a:lnTo>
                    <a:pt x="270" y="311"/>
                  </a:lnTo>
                  <a:lnTo>
                    <a:pt x="264" y="309"/>
                  </a:lnTo>
                  <a:lnTo>
                    <a:pt x="261" y="308"/>
                  </a:lnTo>
                  <a:lnTo>
                    <a:pt x="258" y="308"/>
                  </a:lnTo>
                  <a:lnTo>
                    <a:pt x="254" y="307"/>
                  </a:lnTo>
                  <a:lnTo>
                    <a:pt x="251" y="307"/>
                  </a:lnTo>
                  <a:lnTo>
                    <a:pt x="248" y="307"/>
                  </a:lnTo>
                  <a:lnTo>
                    <a:pt x="247" y="307"/>
                  </a:lnTo>
                  <a:lnTo>
                    <a:pt x="245" y="307"/>
                  </a:lnTo>
                  <a:lnTo>
                    <a:pt x="243" y="307"/>
                  </a:lnTo>
                  <a:lnTo>
                    <a:pt x="241" y="307"/>
                  </a:lnTo>
                  <a:lnTo>
                    <a:pt x="239" y="307"/>
                  </a:lnTo>
                  <a:lnTo>
                    <a:pt x="236" y="309"/>
                  </a:lnTo>
                  <a:lnTo>
                    <a:pt x="234" y="311"/>
                  </a:lnTo>
                  <a:lnTo>
                    <a:pt x="231" y="313"/>
                  </a:lnTo>
                  <a:lnTo>
                    <a:pt x="225" y="317"/>
                  </a:lnTo>
                  <a:lnTo>
                    <a:pt x="208" y="334"/>
                  </a:lnTo>
                  <a:lnTo>
                    <a:pt x="204" y="337"/>
                  </a:lnTo>
                  <a:lnTo>
                    <a:pt x="201" y="341"/>
                  </a:lnTo>
                  <a:lnTo>
                    <a:pt x="190" y="348"/>
                  </a:lnTo>
                  <a:lnTo>
                    <a:pt x="186" y="351"/>
                  </a:lnTo>
                  <a:lnTo>
                    <a:pt x="183" y="353"/>
                  </a:lnTo>
                  <a:lnTo>
                    <a:pt x="180" y="356"/>
                  </a:lnTo>
                  <a:lnTo>
                    <a:pt x="178" y="359"/>
                  </a:lnTo>
                  <a:lnTo>
                    <a:pt x="176" y="362"/>
                  </a:lnTo>
                  <a:lnTo>
                    <a:pt x="173" y="365"/>
                  </a:lnTo>
                  <a:lnTo>
                    <a:pt x="171" y="369"/>
                  </a:lnTo>
                  <a:lnTo>
                    <a:pt x="170" y="372"/>
                  </a:lnTo>
                  <a:lnTo>
                    <a:pt x="168" y="376"/>
                  </a:lnTo>
                  <a:lnTo>
                    <a:pt x="164" y="388"/>
                  </a:lnTo>
                  <a:lnTo>
                    <a:pt x="163" y="392"/>
                  </a:lnTo>
                  <a:lnTo>
                    <a:pt x="162" y="394"/>
                  </a:lnTo>
                  <a:lnTo>
                    <a:pt x="161" y="396"/>
                  </a:lnTo>
                  <a:lnTo>
                    <a:pt x="160" y="397"/>
                  </a:lnTo>
                  <a:lnTo>
                    <a:pt x="160" y="398"/>
                  </a:lnTo>
                  <a:lnTo>
                    <a:pt x="159" y="398"/>
                  </a:lnTo>
                  <a:lnTo>
                    <a:pt x="158" y="398"/>
                  </a:lnTo>
                  <a:lnTo>
                    <a:pt x="157" y="398"/>
                  </a:lnTo>
                  <a:lnTo>
                    <a:pt x="156" y="399"/>
                  </a:lnTo>
                  <a:lnTo>
                    <a:pt x="153" y="399"/>
                  </a:lnTo>
                  <a:lnTo>
                    <a:pt x="149" y="398"/>
                  </a:lnTo>
                  <a:lnTo>
                    <a:pt x="146" y="398"/>
                  </a:lnTo>
                  <a:lnTo>
                    <a:pt x="144" y="398"/>
                  </a:lnTo>
                  <a:lnTo>
                    <a:pt x="140" y="396"/>
                  </a:lnTo>
                  <a:lnTo>
                    <a:pt x="136" y="394"/>
                  </a:lnTo>
                  <a:lnTo>
                    <a:pt x="133" y="393"/>
                  </a:lnTo>
                  <a:lnTo>
                    <a:pt x="129" y="390"/>
                  </a:lnTo>
                  <a:lnTo>
                    <a:pt x="125" y="387"/>
                  </a:lnTo>
                  <a:lnTo>
                    <a:pt x="122" y="386"/>
                  </a:lnTo>
                  <a:lnTo>
                    <a:pt x="121" y="385"/>
                  </a:lnTo>
                  <a:lnTo>
                    <a:pt x="116" y="380"/>
                  </a:lnTo>
                  <a:lnTo>
                    <a:pt x="113" y="378"/>
                  </a:lnTo>
                  <a:lnTo>
                    <a:pt x="110" y="376"/>
                  </a:lnTo>
                  <a:lnTo>
                    <a:pt x="109" y="375"/>
                  </a:lnTo>
                  <a:lnTo>
                    <a:pt x="107" y="374"/>
                  </a:lnTo>
                  <a:lnTo>
                    <a:pt x="105" y="373"/>
                  </a:lnTo>
                  <a:lnTo>
                    <a:pt x="102" y="372"/>
                  </a:lnTo>
                  <a:lnTo>
                    <a:pt x="100" y="372"/>
                  </a:lnTo>
                  <a:lnTo>
                    <a:pt x="99" y="371"/>
                  </a:lnTo>
                  <a:lnTo>
                    <a:pt x="97" y="371"/>
                  </a:lnTo>
                  <a:lnTo>
                    <a:pt x="95" y="371"/>
                  </a:lnTo>
                  <a:lnTo>
                    <a:pt x="92" y="371"/>
                  </a:lnTo>
                  <a:lnTo>
                    <a:pt x="89" y="372"/>
                  </a:lnTo>
                  <a:lnTo>
                    <a:pt x="87" y="373"/>
                  </a:lnTo>
                  <a:lnTo>
                    <a:pt x="80" y="375"/>
                  </a:lnTo>
                  <a:lnTo>
                    <a:pt x="77" y="375"/>
                  </a:lnTo>
                  <a:lnTo>
                    <a:pt x="76" y="376"/>
                  </a:lnTo>
                  <a:lnTo>
                    <a:pt x="73" y="376"/>
                  </a:lnTo>
                  <a:lnTo>
                    <a:pt x="71" y="376"/>
                  </a:lnTo>
                  <a:lnTo>
                    <a:pt x="69" y="376"/>
                  </a:lnTo>
                  <a:lnTo>
                    <a:pt x="66" y="375"/>
                  </a:lnTo>
                  <a:lnTo>
                    <a:pt x="63" y="375"/>
                  </a:lnTo>
                  <a:lnTo>
                    <a:pt x="61" y="374"/>
                  </a:lnTo>
                  <a:lnTo>
                    <a:pt x="60" y="374"/>
                  </a:lnTo>
                  <a:lnTo>
                    <a:pt x="58" y="373"/>
                  </a:lnTo>
                  <a:lnTo>
                    <a:pt x="57" y="371"/>
                  </a:lnTo>
                  <a:lnTo>
                    <a:pt x="55" y="370"/>
                  </a:lnTo>
                  <a:lnTo>
                    <a:pt x="54" y="367"/>
                  </a:lnTo>
                  <a:lnTo>
                    <a:pt x="52" y="364"/>
                  </a:lnTo>
                  <a:lnTo>
                    <a:pt x="47" y="352"/>
                  </a:lnTo>
                  <a:lnTo>
                    <a:pt x="45" y="348"/>
                  </a:lnTo>
                  <a:lnTo>
                    <a:pt x="43" y="343"/>
                  </a:lnTo>
                  <a:lnTo>
                    <a:pt x="41" y="339"/>
                  </a:lnTo>
                  <a:lnTo>
                    <a:pt x="38" y="335"/>
                  </a:lnTo>
                  <a:lnTo>
                    <a:pt x="35" y="332"/>
                  </a:lnTo>
                  <a:lnTo>
                    <a:pt x="33" y="330"/>
                  </a:lnTo>
                  <a:lnTo>
                    <a:pt x="27" y="323"/>
                  </a:lnTo>
                  <a:lnTo>
                    <a:pt x="24" y="319"/>
                  </a:lnTo>
                  <a:lnTo>
                    <a:pt x="21" y="316"/>
                  </a:lnTo>
                  <a:lnTo>
                    <a:pt x="19" y="312"/>
                  </a:lnTo>
                  <a:lnTo>
                    <a:pt x="19" y="311"/>
                  </a:lnTo>
                  <a:lnTo>
                    <a:pt x="18" y="309"/>
                  </a:lnTo>
                  <a:lnTo>
                    <a:pt x="18" y="307"/>
                  </a:lnTo>
                  <a:lnTo>
                    <a:pt x="17" y="306"/>
                  </a:lnTo>
                  <a:lnTo>
                    <a:pt x="15" y="287"/>
                  </a:lnTo>
                  <a:lnTo>
                    <a:pt x="15" y="284"/>
                  </a:lnTo>
                  <a:lnTo>
                    <a:pt x="14" y="278"/>
                  </a:lnTo>
                  <a:lnTo>
                    <a:pt x="14" y="271"/>
                  </a:lnTo>
                  <a:lnTo>
                    <a:pt x="14" y="264"/>
                  </a:lnTo>
                  <a:lnTo>
                    <a:pt x="14" y="262"/>
                  </a:lnTo>
                  <a:lnTo>
                    <a:pt x="15" y="262"/>
                  </a:lnTo>
                  <a:lnTo>
                    <a:pt x="15" y="260"/>
                  </a:lnTo>
                  <a:lnTo>
                    <a:pt x="16" y="258"/>
                  </a:lnTo>
                  <a:lnTo>
                    <a:pt x="17" y="256"/>
                  </a:lnTo>
                  <a:lnTo>
                    <a:pt x="19" y="254"/>
                  </a:lnTo>
                  <a:lnTo>
                    <a:pt x="21" y="253"/>
                  </a:lnTo>
                  <a:lnTo>
                    <a:pt x="22" y="252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31" y="251"/>
                  </a:lnTo>
                  <a:lnTo>
                    <a:pt x="36" y="251"/>
                  </a:lnTo>
                  <a:lnTo>
                    <a:pt x="37" y="251"/>
                  </a:lnTo>
                  <a:lnTo>
                    <a:pt x="39" y="250"/>
                  </a:lnTo>
                  <a:lnTo>
                    <a:pt x="40" y="250"/>
                  </a:lnTo>
                  <a:lnTo>
                    <a:pt x="41" y="249"/>
                  </a:lnTo>
                  <a:lnTo>
                    <a:pt x="41" y="247"/>
                  </a:lnTo>
                  <a:lnTo>
                    <a:pt x="41" y="246"/>
                  </a:lnTo>
                  <a:lnTo>
                    <a:pt x="41" y="245"/>
                  </a:lnTo>
                  <a:lnTo>
                    <a:pt x="40" y="244"/>
                  </a:lnTo>
                  <a:lnTo>
                    <a:pt x="39" y="242"/>
                  </a:lnTo>
                  <a:lnTo>
                    <a:pt x="35" y="240"/>
                  </a:lnTo>
                  <a:lnTo>
                    <a:pt x="34" y="239"/>
                  </a:lnTo>
                  <a:lnTo>
                    <a:pt x="33" y="238"/>
                  </a:lnTo>
                  <a:lnTo>
                    <a:pt x="31" y="236"/>
                  </a:lnTo>
                  <a:lnTo>
                    <a:pt x="30" y="233"/>
                  </a:lnTo>
                  <a:lnTo>
                    <a:pt x="29" y="231"/>
                  </a:lnTo>
                  <a:lnTo>
                    <a:pt x="29" y="230"/>
                  </a:lnTo>
                  <a:lnTo>
                    <a:pt x="28" y="229"/>
                  </a:lnTo>
                  <a:lnTo>
                    <a:pt x="28" y="228"/>
                  </a:lnTo>
                  <a:lnTo>
                    <a:pt x="28" y="226"/>
                  </a:lnTo>
                  <a:lnTo>
                    <a:pt x="29" y="224"/>
                  </a:lnTo>
                  <a:lnTo>
                    <a:pt x="29" y="221"/>
                  </a:lnTo>
                  <a:lnTo>
                    <a:pt x="31" y="214"/>
                  </a:lnTo>
                  <a:lnTo>
                    <a:pt x="31" y="211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33" y="197"/>
                  </a:lnTo>
                  <a:lnTo>
                    <a:pt x="33" y="189"/>
                  </a:lnTo>
                  <a:lnTo>
                    <a:pt x="33" y="186"/>
                  </a:lnTo>
                  <a:lnTo>
                    <a:pt x="33" y="183"/>
                  </a:lnTo>
                  <a:lnTo>
                    <a:pt x="32" y="180"/>
                  </a:lnTo>
                  <a:lnTo>
                    <a:pt x="31" y="177"/>
                  </a:lnTo>
                  <a:lnTo>
                    <a:pt x="29" y="173"/>
                  </a:lnTo>
                  <a:lnTo>
                    <a:pt x="28" y="171"/>
                  </a:lnTo>
                  <a:lnTo>
                    <a:pt x="26" y="170"/>
                  </a:lnTo>
                  <a:lnTo>
                    <a:pt x="23" y="167"/>
                  </a:lnTo>
                  <a:lnTo>
                    <a:pt x="21" y="165"/>
                  </a:lnTo>
                  <a:lnTo>
                    <a:pt x="19" y="163"/>
                  </a:lnTo>
                  <a:lnTo>
                    <a:pt x="14" y="160"/>
                  </a:lnTo>
                  <a:lnTo>
                    <a:pt x="12" y="160"/>
                  </a:lnTo>
                  <a:lnTo>
                    <a:pt x="11" y="159"/>
                  </a:lnTo>
                  <a:lnTo>
                    <a:pt x="10" y="158"/>
                  </a:lnTo>
                  <a:lnTo>
                    <a:pt x="10" y="156"/>
                  </a:lnTo>
                  <a:lnTo>
                    <a:pt x="9" y="155"/>
                  </a:lnTo>
                  <a:lnTo>
                    <a:pt x="8" y="153"/>
                  </a:lnTo>
                  <a:lnTo>
                    <a:pt x="8" y="149"/>
                  </a:lnTo>
                  <a:lnTo>
                    <a:pt x="8" y="145"/>
                  </a:lnTo>
                  <a:lnTo>
                    <a:pt x="4" y="136"/>
                  </a:lnTo>
                  <a:lnTo>
                    <a:pt x="3" y="131"/>
                  </a:lnTo>
                  <a:lnTo>
                    <a:pt x="2" y="126"/>
                  </a:lnTo>
                  <a:lnTo>
                    <a:pt x="1" y="120"/>
                  </a:lnTo>
                  <a:lnTo>
                    <a:pt x="0" y="116"/>
                  </a:lnTo>
                  <a:lnTo>
                    <a:pt x="0" y="113"/>
                  </a:lnTo>
                  <a:lnTo>
                    <a:pt x="0" y="110"/>
                  </a:lnTo>
                  <a:lnTo>
                    <a:pt x="1" y="103"/>
                  </a:lnTo>
                  <a:lnTo>
                    <a:pt x="1" y="99"/>
                  </a:lnTo>
                  <a:lnTo>
                    <a:pt x="1" y="95"/>
                  </a:lnTo>
                  <a:lnTo>
                    <a:pt x="1" y="90"/>
                  </a:lnTo>
                  <a:lnTo>
                    <a:pt x="4" y="88"/>
                  </a:lnTo>
                  <a:lnTo>
                    <a:pt x="10" y="81"/>
                  </a:lnTo>
                  <a:lnTo>
                    <a:pt x="16" y="77"/>
                  </a:lnTo>
                  <a:lnTo>
                    <a:pt x="19" y="74"/>
                  </a:lnTo>
                  <a:lnTo>
                    <a:pt x="22" y="71"/>
                  </a:lnTo>
                  <a:lnTo>
                    <a:pt x="25" y="69"/>
                  </a:lnTo>
                  <a:lnTo>
                    <a:pt x="28" y="68"/>
                  </a:lnTo>
                  <a:lnTo>
                    <a:pt x="31" y="67"/>
                  </a:lnTo>
                  <a:lnTo>
                    <a:pt x="34" y="65"/>
                  </a:lnTo>
                  <a:lnTo>
                    <a:pt x="38" y="64"/>
                  </a:lnTo>
                  <a:lnTo>
                    <a:pt x="41" y="64"/>
                  </a:lnTo>
                  <a:lnTo>
                    <a:pt x="61" y="60"/>
                  </a:lnTo>
                  <a:lnTo>
                    <a:pt x="64" y="60"/>
                  </a:lnTo>
                  <a:lnTo>
                    <a:pt x="66" y="60"/>
                  </a:lnTo>
                  <a:lnTo>
                    <a:pt x="76" y="60"/>
                  </a:lnTo>
                  <a:lnTo>
                    <a:pt x="80" y="60"/>
                  </a:lnTo>
                  <a:lnTo>
                    <a:pt x="84" y="60"/>
                  </a:lnTo>
                  <a:lnTo>
                    <a:pt x="85" y="59"/>
                  </a:lnTo>
                  <a:lnTo>
                    <a:pt x="86" y="59"/>
                  </a:lnTo>
                  <a:lnTo>
                    <a:pt x="87" y="58"/>
                  </a:lnTo>
                  <a:lnTo>
                    <a:pt x="88" y="58"/>
                  </a:lnTo>
                  <a:lnTo>
                    <a:pt x="89" y="56"/>
                  </a:lnTo>
                  <a:lnTo>
                    <a:pt x="90" y="54"/>
                  </a:lnTo>
                  <a:lnTo>
                    <a:pt x="91" y="52"/>
                  </a:lnTo>
                  <a:lnTo>
                    <a:pt x="91" y="49"/>
                  </a:lnTo>
                  <a:lnTo>
                    <a:pt x="91" y="47"/>
                  </a:lnTo>
                  <a:lnTo>
                    <a:pt x="92" y="37"/>
                  </a:lnTo>
                  <a:lnTo>
                    <a:pt x="92" y="32"/>
                  </a:lnTo>
                  <a:lnTo>
                    <a:pt x="93" y="29"/>
                  </a:lnTo>
                  <a:lnTo>
                    <a:pt x="93" y="26"/>
                  </a:lnTo>
                  <a:lnTo>
                    <a:pt x="95" y="24"/>
                  </a:lnTo>
                  <a:lnTo>
                    <a:pt x="95" y="23"/>
                  </a:lnTo>
                  <a:lnTo>
                    <a:pt x="96" y="22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99" y="19"/>
                  </a:lnTo>
                  <a:lnTo>
                    <a:pt x="99" y="18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5" y="19"/>
                  </a:lnTo>
                  <a:lnTo>
                    <a:pt x="109" y="21"/>
                  </a:lnTo>
                  <a:lnTo>
                    <a:pt x="110" y="22"/>
                  </a:lnTo>
                  <a:lnTo>
                    <a:pt x="112" y="24"/>
                  </a:lnTo>
                  <a:lnTo>
                    <a:pt x="115" y="26"/>
                  </a:lnTo>
                  <a:lnTo>
                    <a:pt x="120" y="32"/>
                  </a:lnTo>
                  <a:lnTo>
                    <a:pt x="122" y="34"/>
                  </a:lnTo>
                  <a:lnTo>
                    <a:pt x="123" y="35"/>
                  </a:lnTo>
                  <a:lnTo>
                    <a:pt x="125" y="35"/>
                  </a:lnTo>
                  <a:lnTo>
                    <a:pt x="127" y="36"/>
                  </a:lnTo>
                  <a:lnTo>
                    <a:pt x="129" y="36"/>
                  </a:lnTo>
                  <a:lnTo>
                    <a:pt x="131" y="36"/>
                  </a:lnTo>
                  <a:lnTo>
                    <a:pt x="133" y="36"/>
                  </a:lnTo>
                  <a:lnTo>
                    <a:pt x="136" y="37"/>
                  </a:lnTo>
                  <a:lnTo>
                    <a:pt x="139" y="37"/>
                  </a:lnTo>
                  <a:lnTo>
                    <a:pt x="142" y="36"/>
                  </a:lnTo>
                  <a:lnTo>
                    <a:pt x="144" y="36"/>
                  </a:lnTo>
                  <a:lnTo>
                    <a:pt x="149" y="35"/>
                  </a:lnTo>
                  <a:lnTo>
                    <a:pt x="153" y="34"/>
                  </a:lnTo>
                  <a:lnTo>
                    <a:pt x="155" y="33"/>
                  </a:lnTo>
                  <a:lnTo>
                    <a:pt x="156" y="32"/>
                  </a:lnTo>
                  <a:lnTo>
                    <a:pt x="158" y="31"/>
                  </a:lnTo>
                  <a:lnTo>
                    <a:pt x="160" y="30"/>
                  </a:lnTo>
                  <a:lnTo>
                    <a:pt x="164" y="27"/>
                  </a:lnTo>
                  <a:lnTo>
                    <a:pt x="167" y="24"/>
                  </a:lnTo>
                  <a:lnTo>
                    <a:pt x="175" y="15"/>
                  </a:lnTo>
                  <a:lnTo>
                    <a:pt x="189" y="3"/>
                  </a:lnTo>
                  <a:lnTo>
                    <a:pt x="192" y="1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6BAFD6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0" name="Freeform 67">
              <a:extLst>
                <a:ext uri="{FF2B5EF4-FFF2-40B4-BE49-F238E27FC236}">
                  <a16:creationId xmlns:a16="http://schemas.microsoft.com/office/drawing/2014/main" id="{409CF926-7896-4B8F-97D5-DFC0BF26F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2" y="2799"/>
              <a:ext cx="332" cy="544"/>
            </a:xfrm>
            <a:custGeom>
              <a:avLst/>
              <a:gdLst>
                <a:gd name="T0" fmla="*/ 125 w 332"/>
                <a:gd name="T1" fmla="*/ 12 h 544"/>
                <a:gd name="T2" fmla="*/ 145 w 332"/>
                <a:gd name="T3" fmla="*/ 38 h 544"/>
                <a:gd name="T4" fmla="*/ 156 w 332"/>
                <a:gd name="T5" fmla="*/ 56 h 544"/>
                <a:gd name="T6" fmla="*/ 168 w 332"/>
                <a:gd name="T7" fmla="*/ 89 h 544"/>
                <a:gd name="T8" fmla="*/ 183 w 332"/>
                <a:gd name="T9" fmla="*/ 108 h 544"/>
                <a:gd name="T10" fmla="*/ 197 w 332"/>
                <a:gd name="T11" fmla="*/ 124 h 544"/>
                <a:gd name="T12" fmla="*/ 204 w 332"/>
                <a:gd name="T13" fmla="*/ 123 h 544"/>
                <a:gd name="T14" fmla="*/ 211 w 332"/>
                <a:gd name="T15" fmla="*/ 116 h 544"/>
                <a:gd name="T16" fmla="*/ 213 w 332"/>
                <a:gd name="T17" fmla="*/ 137 h 544"/>
                <a:gd name="T18" fmla="*/ 209 w 332"/>
                <a:gd name="T19" fmla="*/ 167 h 544"/>
                <a:gd name="T20" fmla="*/ 240 w 332"/>
                <a:gd name="T21" fmla="*/ 183 h 544"/>
                <a:gd name="T22" fmla="*/ 277 w 332"/>
                <a:gd name="T23" fmla="*/ 204 h 544"/>
                <a:gd name="T24" fmla="*/ 289 w 332"/>
                <a:gd name="T25" fmla="*/ 237 h 544"/>
                <a:gd name="T26" fmla="*/ 285 w 332"/>
                <a:gd name="T27" fmla="*/ 290 h 544"/>
                <a:gd name="T28" fmla="*/ 287 w 332"/>
                <a:gd name="T29" fmla="*/ 318 h 544"/>
                <a:gd name="T30" fmla="*/ 299 w 332"/>
                <a:gd name="T31" fmla="*/ 361 h 544"/>
                <a:gd name="T32" fmla="*/ 300 w 332"/>
                <a:gd name="T33" fmla="*/ 376 h 544"/>
                <a:gd name="T34" fmla="*/ 323 w 332"/>
                <a:gd name="T35" fmla="*/ 377 h 544"/>
                <a:gd name="T36" fmla="*/ 331 w 332"/>
                <a:gd name="T37" fmla="*/ 383 h 544"/>
                <a:gd name="T38" fmla="*/ 327 w 332"/>
                <a:gd name="T39" fmla="*/ 408 h 544"/>
                <a:gd name="T40" fmla="*/ 306 w 332"/>
                <a:gd name="T41" fmla="*/ 427 h 544"/>
                <a:gd name="T42" fmla="*/ 270 w 332"/>
                <a:gd name="T43" fmla="*/ 453 h 544"/>
                <a:gd name="T44" fmla="*/ 247 w 332"/>
                <a:gd name="T45" fmla="*/ 465 h 544"/>
                <a:gd name="T46" fmla="*/ 228 w 332"/>
                <a:gd name="T47" fmla="*/ 464 h 544"/>
                <a:gd name="T48" fmla="*/ 208 w 332"/>
                <a:gd name="T49" fmla="*/ 448 h 544"/>
                <a:gd name="T50" fmla="*/ 200 w 332"/>
                <a:gd name="T51" fmla="*/ 449 h 544"/>
                <a:gd name="T52" fmla="*/ 194 w 332"/>
                <a:gd name="T53" fmla="*/ 476 h 544"/>
                <a:gd name="T54" fmla="*/ 188 w 332"/>
                <a:gd name="T55" fmla="*/ 488 h 544"/>
                <a:gd name="T56" fmla="*/ 141 w 332"/>
                <a:gd name="T57" fmla="*/ 493 h 544"/>
                <a:gd name="T58" fmla="*/ 113 w 332"/>
                <a:gd name="T59" fmla="*/ 510 h 544"/>
                <a:gd name="T60" fmla="*/ 89 w 332"/>
                <a:gd name="T61" fmla="*/ 525 h 544"/>
                <a:gd name="T62" fmla="*/ 72 w 332"/>
                <a:gd name="T63" fmla="*/ 533 h 544"/>
                <a:gd name="T64" fmla="*/ 54 w 332"/>
                <a:gd name="T65" fmla="*/ 544 h 544"/>
                <a:gd name="T66" fmla="*/ 43 w 332"/>
                <a:gd name="T67" fmla="*/ 542 h 544"/>
                <a:gd name="T68" fmla="*/ 33 w 332"/>
                <a:gd name="T69" fmla="*/ 532 h 544"/>
                <a:gd name="T70" fmla="*/ 18 w 332"/>
                <a:gd name="T71" fmla="*/ 488 h 544"/>
                <a:gd name="T72" fmla="*/ 12 w 332"/>
                <a:gd name="T73" fmla="*/ 465 h 544"/>
                <a:gd name="T74" fmla="*/ 1 w 332"/>
                <a:gd name="T75" fmla="*/ 457 h 544"/>
                <a:gd name="T76" fmla="*/ 11 w 332"/>
                <a:gd name="T77" fmla="*/ 430 h 544"/>
                <a:gd name="T78" fmla="*/ 23 w 332"/>
                <a:gd name="T79" fmla="*/ 396 h 544"/>
                <a:gd name="T80" fmla="*/ 28 w 332"/>
                <a:gd name="T81" fmla="*/ 376 h 544"/>
                <a:gd name="T82" fmla="*/ 44 w 332"/>
                <a:gd name="T83" fmla="*/ 371 h 544"/>
                <a:gd name="T84" fmla="*/ 56 w 332"/>
                <a:gd name="T85" fmla="*/ 360 h 544"/>
                <a:gd name="T86" fmla="*/ 57 w 332"/>
                <a:gd name="T87" fmla="*/ 331 h 544"/>
                <a:gd name="T88" fmla="*/ 53 w 332"/>
                <a:gd name="T89" fmla="*/ 313 h 544"/>
                <a:gd name="T90" fmla="*/ 33 w 332"/>
                <a:gd name="T91" fmla="*/ 283 h 544"/>
                <a:gd name="T92" fmla="*/ 39 w 332"/>
                <a:gd name="T93" fmla="*/ 260 h 544"/>
                <a:gd name="T94" fmla="*/ 39 w 332"/>
                <a:gd name="T95" fmla="*/ 249 h 544"/>
                <a:gd name="T96" fmla="*/ 45 w 332"/>
                <a:gd name="T97" fmla="*/ 244 h 544"/>
                <a:gd name="T98" fmla="*/ 34 w 332"/>
                <a:gd name="T99" fmla="*/ 231 h 544"/>
                <a:gd name="T100" fmla="*/ 30 w 332"/>
                <a:gd name="T101" fmla="*/ 217 h 544"/>
                <a:gd name="T102" fmla="*/ 43 w 332"/>
                <a:gd name="T103" fmla="*/ 192 h 544"/>
                <a:gd name="T104" fmla="*/ 34 w 332"/>
                <a:gd name="T105" fmla="*/ 158 h 544"/>
                <a:gd name="T106" fmla="*/ 39 w 332"/>
                <a:gd name="T107" fmla="*/ 150 h 544"/>
                <a:gd name="T108" fmla="*/ 56 w 332"/>
                <a:gd name="T109" fmla="*/ 150 h 544"/>
                <a:gd name="T110" fmla="*/ 64 w 332"/>
                <a:gd name="T111" fmla="*/ 144 h 544"/>
                <a:gd name="T112" fmla="*/ 82 w 332"/>
                <a:gd name="T113" fmla="*/ 118 h 544"/>
                <a:gd name="T114" fmla="*/ 98 w 332"/>
                <a:gd name="T115" fmla="*/ 89 h 544"/>
                <a:gd name="T116" fmla="*/ 98 w 332"/>
                <a:gd name="T117" fmla="*/ 73 h 544"/>
                <a:gd name="T118" fmla="*/ 88 w 332"/>
                <a:gd name="T119" fmla="*/ 53 h 544"/>
                <a:gd name="T120" fmla="*/ 66 w 332"/>
                <a:gd name="T121" fmla="*/ 25 h 544"/>
                <a:gd name="T122" fmla="*/ 94 w 332"/>
                <a:gd name="T123" fmla="*/ 5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2" h="544">
                  <a:moveTo>
                    <a:pt x="105" y="1"/>
                  </a:moveTo>
                  <a:lnTo>
                    <a:pt x="106" y="2"/>
                  </a:lnTo>
                  <a:lnTo>
                    <a:pt x="110" y="5"/>
                  </a:lnTo>
                  <a:lnTo>
                    <a:pt x="113" y="6"/>
                  </a:lnTo>
                  <a:lnTo>
                    <a:pt x="120" y="9"/>
                  </a:lnTo>
                  <a:lnTo>
                    <a:pt x="122" y="10"/>
                  </a:lnTo>
                  <a:lnTo>
                    <a:pt x="124" y="11"/>
                  </a:lnTo>
                  <a:lnTo>
                    <a:pt x="125" y="12"/>
                  </a:lnTo>
                  <a:lnTo>
                    <a:pt x="128" y="14"/>
                  </a:lnTo>
                  <a:lnTo>
                    <a:pt x="130" y="17"/>
                  </a:lnTo>
                  <a:lnTo>
                    <a:pt x="132" y="19"/>
                  </a:lnTo>
                  <a:lnTo>
                    <a:pt x="134" y="22"/>
                  </a:lnTo>
                  <a:lnTo>
                    <a:pt x="136" y="28"/>
                  </a:lnTo>
                  <a:lnTo>
                    <a:pt x="138" y="32"/>
                  </a:lnTo>
                  <a:lnTo>
                    <a:pt x="141" y="34"/>
                  </a:lnTo>
                  <a:lnTo>
                    <a:pt x="145" y="38"/>
                  </a:lnTo>
                  <a:lnTo>
                    <a:pt x="146" y="40"/>
                  </a:lnTo>
                  <a:lnTo>
                    <a:pt x="147" y="42"/>
                  </a:lnTo>
                  <a:lnTo>
                    <a:pt x="149" y="45"/>
                  </a:lnTo>
                  <a:lnTo>
                    <a:pt x="150" y="46"/>
                  </a:lnTo>
                  <a:lnTo>
                    <a:pt x="152" y="48"/>
                  </a:lnTo>
                  <a:lnTo>
                    <a:pt x="155" y="53"/>
                  </a:lnTo>
                  <a:lnTo>
                    <a:pt x="156" y="54"/>
                  </a:lnTo>
                  <a:lnTo>
                    <a:pt x="156" y="56"/>
                  </a:lnTo>
                  <a:lnTo>
                    <a:pt x="157" y="57"/>
                  </a:lnTo>
                  <a:lnTo>
                    <a:pt x="158" y="60"/>
                  </a:lnTo>
                  <a:lnTo>
                    <a:pt x="160" y="66"/>
                  </a:lnTo>
                  <a:lnTo>
                    <a:pt x="163" y="74"/>
                  </a:lnTo>
                  <a:lnTo>
                    <a:pt x="165" y="82"/>
                  </a:lnTo>
                  <a:lnTo>
                    <a:pt x="166" y="85"/>
                  </a:lnTo>
                  <a:lnTo>
                    <a:pt x="167" y="87"/>
                  </a:lnTo>
                  <a:lnTo>
                    <a:pt x="168" y="89"/>
                  </a:lnTo>
                  <a:lnTo>
                    <a:pt x="169" y="90"/>
                  </a:lnTo>
                  <a:lnTo>
                    <a:pt x="171" y="92"/>
                  </a:lnTo>
                  <a:lnTo>
                    <a:pt x="175" y="95"/>
                  </a:lnTo>
                  <a:lnTo>
                    <a:pt x="177" y="97"/>
                  </a:lnTo>
                  <a:lnTo>
                    <a:pt x="178" y="99"/>
                  </a:lnTo>
                  <a:lnTo>
                    <a:pt x="179" y="100"/>
                  </a:lnTo>
                  <a:lnTo>
                    <a:pt x="179" y="102"/>
                  </a:lnTo>
                  <a:lnTo>
                    <a:pt x="183" y="108"/>
                  </a:lnTo>
                  <a:lnTo>
                    <a:pt x="184" y="111"/>
                  </a:lnTo>
                  <a:lnTo>
                    <a:pt x="185" y="112"/>
                  </a:lnTo>
                  <a:lnTo>
                    <a:pt x="188" y="114"/>
                  </a:lnTo>
                  <a:lnTo>
                    <a:pt x="190" y="118"/>
                  </a:lnTo>
                  <a:lnTo>
                    <a:pt x="191" y="120"/>
                  </a:lnTo>
                  <a:lnTo>
                    <a:pt x="194" y="123"/>
                  </a:lnTo>
                  <a:lnTo>
                    <a:pt x="196" y="124"/>
                  </a:lnTo>
                  <a:lnTo>
                    <a:pt x="197" y="124"/>
                  </a:lnTo>
                  <a:lnTo>
                    <a:pt x="198" y="124"/>
                  </a:lnTo>
                  <a:lnTo>
                    <a:pt x="199" y="124"/>
                  </a:lnTo>
                  <a:lnTo>
                    <a:pt x="200" y="124"/>
                  </a:lnTo>
                  <a:lnTo>
                    <a:pt x="201" y="124"/>
                  </a:lnTo>
                  <a:lnTo>
                    <a:pt x="202" y="124"/>
                  </a:lnTo>
                  <a:lnTo>
                    <a:pt x="202" y="124"/>
                  </a:lnTo>
                  <a:lnTo>
                    <a:pt x="203" y="124"/>
                  </a:lnTo>
                  <a:lnTo>
                    <a:pt x="204" y="123"/>
                  </a:lnTo>
                  <a:lnTo>
                    <a:pt x="205" y="122"/>
                  </a:lnTo>
                  <a:lnTo>
                    <a:pt x="207" y="118"/>
                  </a:lnTo>
                  <a:lnTo>
                    <a:pt x="208" y="117"/>
                  </a:lnTo>
                  <a:lnTo>
                    <a:pt x="209" y="116"/>
                  </a:lnTo>
                  <a:lnTo>
                    <a:pt x="209" y="115"/>
                  </a:lnTo>
                  <a:lnTo>
                    <a:pt x="210" y="115"/>
                  </a:lnTo>
                  <a:lnTo>
                    <a:pt x="211" y="115"/>
                  </a:lnTo>
                  <a:lnTo>
                    <a:pt x="211" y="116"/>
                  </a:lnTo>
                  <a:lnTo>
                    <a:pt x="212" y="116"/>
                  </a:lnTo>
                  <a:lnTo>
                    <a:pt x="212" y="117"/>
                  </a:lnTo>
                  <a:lnTo>
                    <a:pt x="213" y="119"/>
                  </a:lnTo>
                  <a:lnTo>
                    <a:pt x="213" y="122"/>
                  </a:lnTo>
                  <a:lnTo>
                    <a:pt x="213" y="124"/>
                  </a:lnTo>
                  <a:lnTo>
                    <a:pt x="213" y="128"/>
                  </a:lnTo>
                  <a:lnTo>
                    <a:pt x="213" y="133"/>
                  </a:lnTo>
                  <a:lnTo>
                    <a:pt x="213" y="137"/>
                  </a:lnTo>
                  <a:lnTo>
                    <a:pt x="212" y="140"/>
                  </a:lnTo>
                  <a:lnTo>
                    <a:pt x="210" y="149"/>
                  </a:lnTo>
                  <a:lnTo>
                    <a:pt x="208" y="156"/>
                  </a:lnTo>
                  <a:lnTo>
                    <a:pt x="207" y="162"/>
                  </a:lnTo>
                  <a:lnTo>
                    <a:pt x="207" y="163"/>
                  </a:lnTo>
                  <a:lnTo>
                    <a:pt x="207" y="164"/>
                  </a:lnTo>
                  <a:lnTo>
                    <a:pt x="208" y="166"/>
                  </a:lnTo>
                  <a:lnTo>
                    <a:pt x="209" y="167"/>
                  </a:lnTo>
                  <a:lnTo>
                    <a:pt x="210" y="168"/>
                  </a:lnTo>
                  <a:lnTo>
                    <a:pt x="211" y="169"/>
                  </a:lnTo>
                  <a:lnTo>
                    <a:pt x="214" y="170"/>
                  </a:lnTo>
                  <a:lnTo>
                    <a:pt x="222" y="175"/>
                  </a:lnTo>
                  <a:lnTo>
                    <a:pt x="226" y="178"/>
                  </a:lnTo>
                  <a:lnTo>
                    <a:pt x="230" y="180"/>
                  </a:lnTo>
                  <a:lnTo>
                    <a:pt x="235" y="181"/>
                  </a:lnTo>
                  <a:lnTo>
                    <a:pt x="240" y="183"/>
                  </a:lnTo>
                  <a:lnTo>
                    <a:pt x="247" y="185"/>
                  </a:lnTo>
                  <a:lnTo>
                    <a:pt x="251" y="186"/>
                  </a:lnTo>
                  <a:lnTo>
                    <a:pt x="257" y="189"/>
                  </a:lnTo>
                  <a:lnTo>
                    <a:pt x="260" y="191"/>
                  </a:lnTo>
                  <a:lnTo>
                    <a:pt x="264" y="193"/>
                  </a:lnTo>
                  <a:lnTo>
                    <a:pt x="269" y="196"/>
                  </a:lnTo>
                  <a:lnTo>
                    <a:pt x="275" y="202"/>
                  </a:lnTo>
                  <a:lnTo>
                    <a:pt x="277" y="204"/>
                  </a:lnTo>
                  <a:lnTo>
                    <a:pt x="278" y="204"/>
                  </a:lnTo>
                  <a:lnTo>
                    <a:pt x="279" y="206"/>
                  </a:lnTo>
                  <a:lnTo>
                    <a:pt x="280" y="207"/>
                  </a:lnTo>
                  <a:lnTo>
                    <a:pt x="281" y="211"/>
                  </a:lnTo>
                  <a:lnTo>
                    <a:pt x="281" y="214"/>
                  </a:lnTo>
                  <a:lnTo>
                    <a:pt x="286" y="226"/>
                  </a:lnTo>
                  <a:lnTo>
                    <a:pt x="288" y="233"/>
                  </a:lnTo>
                  <a:lnTo>
                    <a:pt x="289" y="237"/>
                  </a:lnTo>
                  <a:lnTo>
                    <a:pt x="293" y="246"/>
                  </a:lnTo>
                  <a:lnTo>
                    <a:pt x="297" y="258"/>
                  </a:lnTo>
                  <a:lnTo>
                    <a:pt x="299" y="260"/>
                  </a:lnTo>
                  <a:lnTo>
                    <a:pt x="299" y="261"/>
                  </a:lnTo>
                  <a:lnTo>
                    <a:pt x="290" y="278"/>
                  </a:lnTo>
                  <a:lnTo>
                    <a:pt x="287" y="283"/>
                  </a:lnTo>
                  <a:lnTo>
                    <a:pt x="286" y="287"/>
                  </a:lnTo>
                  <a:lnTo>
                    <a:pt x="285" y="290"/>
                  </a:lnTo>
                  <a:lnTo>
                    <a:pt x="284" y="292"/>
                  </a:lnTo>
                  <a:lnTo>
                    <a:pt x="283" y="294"/>
                  </a:lnTo>
                  <a:lnTo>
                    <a:pt x="283" y="298"/>
                  </a:lnTo>
                  <a:lnTo>
                    <a:pt x="283" y="301"/>
                  </a:lnTo>
                  <a:lnTo>
                    <a:pt x="284" y="304"/>
                  </a:lnTo>
                  <a:lnTo>
                    <a:pt x="285" y="311"/>
                  </a:lnTo>
                  <a:lnTo>
                    <a:pt x="286" y="315"/>
                  </a:lnTo>
                  <a:lnTo>
                    <a:pt x="287" y="318"/>
                  </a:lnTo>
                  <a:lnTo>
                    <a:pt x="287" y="328"/>
                  </a:lnTo>
                  <a:lnTo>
                    <a:pt x="288" y="330"/>
                  </a:lnTo>
                  <a:lnTo>
                    <a:pt x="288" y="333"/>
                  </a:lnTo>
                  <a:lnTo>
                    <a:pt x="289" y="336"/>
                  </a:lnTo>
                  <a:lnTo>
                    <a:pt x="291" y="340"/>
                  </a:lnTo>
                  <a:lnTo>
                    <a:pt x="295" y="351"/>
                  </a:lnTo>
                  <a:lnTo>
                    <a:pt x="298" y="358"/>
                  </a:lnTo>
                  <a:lnTo>
                    <a:pt x="299" y="361"/>
                  </a:lnTo>
                  <a:lnTo>
                    <a:pt x="299" y="362"/>
                  </a:lnTo>
                  <a:lnTo>
                    <a:pt x="300" y="365"/>
                  </a:lnTo>
                  <a:lnTo>
                    <a:pt x="300" y="366"/>
                  </a:lnTo>
                  <a:lnTo>
                    <a:pt x="299" y="371"/>
                  </a:lnTo>
                  <a:lnTo>
                    <a:pt x="299" y="373"/>
                  </a:lnTo>
                  <a:lnTo>
                    <a:pt x="300" y="374"/>
                  </a:lnTo>
                  <a:lnTo>
                    <a:pt x="300" y="375"/>
                  </a:lnTo>
                  <a:lnTo>
                    <a:pt x="300" y="376"/>
                  </a:lnTo>
                  <a:lnTo>
                    <a:pt x="301" y="377"/>
                  </a:lnTo>
                  <a:lnTo>
                    <a:pt x="303" y="377"/>
                  </a:lnTo>
                  <a:lnTo>
                    <a:pt x="304" y="378"/>
                  </a:lnTo>
                  <a:lnTo>
                    <a:pt x="306" y="378"/>
                  </a:lnTo>
                  <a:lnTo>
                    <a:pt x="313" y="378"/>
                  </a:lnTo>
                  <a:lnTo>
                    <a:pt x="316" y="378"/>
                  </a:lnTo>
                  <a:lnTo>
                    <a:pt x="319" y="378"/>
                  </a:lnTo>
                  <a:lnTo>
                    <a:pt x="323" y="377"/>
                  </a:lnTo>
                  <a:lnTo>
                    <a:pt x="325" y="377"/>
                  </a:lnTo>
                  <a:lnTo>
                    <a:pt x="327" y="377"/>
                  </a:lnTo>
                  <a:lnTo>
                    <a:pt x="327" y="377"/>
                  </a:lnTo>
                  <a:lnTo>
                    <a:pt x="328" y="378"/>
                  </a:lnTo>
                  <a:lnTo>
                    <a:pt x="329" y="379"/>
                  </a:lnTo>
                  <a:lnTo>
                    <a:pt x="330" y="380"/>
                  </a:lnTo>
                  <a:lnTo>
                    <a:pt x="331" y="381"/>
                  </a:lnTo>
                  <a:lnTo>
                    <a:pt x="331" y="383"/>
                  </a:lnTo>
                  <a:lnTo>
                    <a:pt x="332" y="384"/>
                  </a:lnTo>
                  <a:lnTo>
                    <a:pt x="332" y="385"/>
                  </a:lnTo>
                  <a:lnTo>
                    <a:pt x="332" y="388"/>
                  </a:lnTo>
                  <a:lnTo>
                    <a:pt x="332" y="392"/>
                  </a:lnTo>
                  <a:lnTo>
                    <a:pt x="331" y="396"/>
                  </a:lnTo>
                  <a:lnTo>
                    <a:pt x="330" y="399"/>
                  </a:lnTo>
                  <a:lnTo>
                    <a:pt x="328" y="405"/>
                  </a:lnTo>
                  <a:lnTo>
                    <a:pt x="327" y="408"/>
                  </a:lnTo>
                  <a:lnTo>
                    <a:pt x="326" y="410"/>
                  </a:lnTo>
                  <a:lnTo>
                    <a:pt x="324" y="414"/>
                  </a:lnTo>
                  <a:lnTo>
                    <a:pt x="322" y="417"/>
                  </a:lnTo>
                  <a:lnTo>
                    <a:pt x="320" y="419"/>
                  </a:lnTo>
                  <a:lnTo>
                    <a:pt x="317" y="420"/>
                  </a:lnTo>
                  <a:lnTo>
                    <a:pt x="314" y="423"/>
                  </a:lnTo>
                  <a:lnTo>
                    <a:pt x="310" y="425"/>
                  </a:lnTo>
                  <a:lnTo>
                    <a:pt x="306" y="427"/>
                  </a:lnTo>
                  <a:lnTo>
                    <a:pt x="303" y="428"/>
                  </a:lnTo>
                  <a:lnTo>
                    <a:pt x="299" y="429"/>
                  </a:lnTo>
                  <a:lnTo>
                    <a:pt x="297" y="429"/>
                  </a:lnTo>
                  <a:lnTo>
                    <a:pt x="296" y="429"/>
                  </a:lnTo>
                  <a:lnTo>
                    <a:pt x="295" y="430"/>
                  </a:lnTo>
                  <a:lnTo>
                    <a:pt x="292" y="432"/>
                  </a:lnTo>
                  <a:lnTo>
                    <a:pt x="278" y="444"/>
                  </a:lnTo>
                  <a:lnTo>
                    <a:pt x="270" y="453"/>
                  </a:lnTo>
                  <a:lnTo>
                    <a:pt x="267" y="456"/>
                  </a:lnTo>
                  <a:lnTo>
                    <a:pt x="263" y="459"/>
                  </a:lnTo>
                  <a:lnTo>
                    <a:pt x="261" y="460"/>
                  </a:lnTo>
                  <a:lnTo>
                    <a:pt x="259" y="461"/>
                  </a:lnTo>
                  <a:lnTo>
                    <a:pt x="258" y="462"/>
                  </a:lnTo>
                  <a:lnTo>
                    <a:pt x="256" y="463"/>
                  </a:lnTo>
                  <a:lnTo>
                    <a:pt x="252" y="464"/>
                  </a:lnTo>
                  <a:lnTo>
                    <a:pt x="247" y="465"/>
                  </a:lnTo>
                  <a:lnTo>
                    <a:pt x="245" y="465"/>
                  </a:lnTo>
                  <a:lnTo>
                    <a:pt x="242" y="466"/>
                  </a:lnTo>
                  <a:lnTo>
                    <a:pt x="239" y="466"/>
                  </a:lnTo>
                  <a:lnTo>
                    <a:pt x="236" y="465"/>
                  </a:lnTo>
                  <a:lnTo>
                    <a:pt x="234" y="465"/>
                  </a:lnTo>
                  <a:lnTo>
                    <a:pt x="232" y="465"/>
                  </a:lnTo>
                  <a:lnTo>
                    <a:pt x="230" y="465"/>
                  </a:lnTo>
                  <a:lnTo>
                    <a:pt x="228" y="464"/>
                  </a:lnTo>
                  <a:lnTo>
                    <a:pt x="226" y="464"/>
                  </a:lnTo>
                  <a:lnTo>
                    <a:pt x="225" y="463"/>
                  </a:lnTo>
                  <a:lnTo>
                    <a:pt x="223" y="461"/>
                  </a:lnTo>
                  <a:lnTo>
                    <a:pt x="218" y="455"/>
                  </a:lnTo>
                  <a:lnTo>
                    <a:pt x="215" y="453"/>
                  </a:lnTo>
                  <a:lnTo>
                    <a:pt x="213" y="451"/>
                  </a:lnTo>
                  <a:lnTo>
                    <a:pt x="212" y="450"/>
                  </a:lnTo>
                  <a:lnTo>
                    <a:pt x="208" y="448"/>
                  </a:lnTo>
                  <a:lnTo>
                    <a:pt x="206" y="447"/>
                  </a:lnTo>
                  <a:lnTo>
                    <a:pt x="205" y="447"/>
                  </a:lnTo>
                  <a:lnTo>
                    <a:pt x="204" y="447"/>
                  </a:lnTo>
                  <a:lnTo>
                    <a:pt x="203" y="447"/>
                  </a:lnTo>
                  <a:lnTo>
                    <a:pt x="202" y="447"/>
                  </a:lnTo>
                  <a:lnTo>
                    <a:pt x="202" y="448"/>
                  </a:lnTo>
                  <a:lnTo>
                    <a:pt x="201" y="449"/>
                  </a:lnTo>
                  <a:lnTo>
                    <a:pt x="200" y="449"/>
                  </a:lnTo>
                  <a:lnTo>
                    <a:pt x="199" y="451"/>
                  </a:lnTo>
                  <a:lnTo>
                    <a:pt x="198" y="452"/>
                  </a:lnTo>
                  <a:lnTo>
                    <a:pt x="198" y="453"/>
                  </a:lnTo>
                  <a:lnTo>
                    <a:pt x="196" y="455"/>
                  </a:lnTo>
                  <a:lnTo>
                    <a:pt x="196" y="458"/>
                  </a:lnTo>
                  <a:lnTo>
                    <a:pt x="195" y="461"/>
                  </a:lnTo>
                  <a:lnTo>
                    <a:pt x="195" y="466"/>
                  </a:lnTo>
                  <a:lnTo>
                    <a:pt x="194" y="476"/>
                  </a:lnTo>
                  <a:lnTo>
                    <a:pt x="194" y="478"/>
                  </a:lnTo>
                  <a:lnTo>
                    <a:pt x="194" y="481"/>
                  </a:lnTo>
                  <a:lnTo>
                    <a:pt x="193" y="483"/>
                  </a:lnTo>
                  <a:lnTo>
                    <a:pt x="192" y="485"/>
                  </a:lnTo>
                  <a:lnTo>
                    <a:pt x="191" y="487"/>
                  </a:lnTo>
                  <a:lnTo>
                    <a:pt x="190" y="487"/>
                  </a:lnTo>
                  <a:lnTo>
                    <a:pt x="189" y="488"/>
                  </a:lnTo>
                  <a:lnTo>
                    <a:pt x="188" y="488"/>
                  </a:lnTo>
                  <a:lnTo>
                    <a:pt x="187" y="489"/>
                  </a:lnTo>
                  <a:lnTo>
                    <a:pt x="183" y="489"/>
                  </a:lnTo>
                  <a:lnTo>
                    <a:pt x="179" y="489"/>
                  </a:lnTo>
                  <a:lnTo>
                    <a:pt x="169" y="489"/>
                  </a:lnTo>
                  <a:lnTo>
                    <a:pt x="167" y="489"/>
                  </a:lnTo>
                  <a:lnTo>
                    <a:pt x="164" y="489"/>
                  </a:lnTo>
                  <a:lnTo>
                    <a:pt x="144" y="493"/>
                  </a:lnTo>
                  <a:lnTo>
                    <a:pt x="141" y="493"/>
                  </a:lnTo>
                  <a:lnTo>
                    <a:pt x="137" y="494"/>
                  </a:lnTo>
                  <a:lnTo>
                    <a:pt x="134" y="496"/>
                  </a:lnTo>
                  <a:lnTo>
                    <a:pt x="131" y="497"/>
                  </a:lnTo>
                  <a:lnTo>
                    <a:pt x="128" y="498"/>
                  </a:lnTo>
                  <a:lnTo>
                    <a:pt x="125" y="500"/>
                  </a:lnTo>
                  <a:lnTo>
                    <a:pt x="122" y="503"/>
                  </a:lnTo>
                  <a:lnTo>
                    <a:pt x="119" y="506"/>
                  </a:lnTo>
                  <a:lnTo>
                    <a:pt x="113" y="510"/>
                  </a:lnTo>
                  <a:lnTo>
                    <a:pt x="107" y="517"/>
                  </a:lnTo>
                  <a:lnTo>
                    <a:pt x="104" y="519"/>
                  </a:lnTo>
                  <a:lnTo>
                    <a:pt x="97" y="520"/>
                  </a:lnTo>
                  <a:lnTo>
                    <a:pt x="96" y="520"/>
                  </a:lnTo>
                  <a:lnTo>
                    <a:pt x="95" y="520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89" y="525"/>
                  </a:lnTo>
                  <a:lnTo>
                    <a:pt x="86" y="530"/>
                  </a:lnTo>
                  <a:lnTo>
                    <a:pt x="85" y="531"/>
                  </a:lnTo>
                  <a:lnTo>
                    <a:pt x="84" y="531"/>
                  </a:lnTo>
                  <a:lnTo>
                    <a:pt x="82" y="532"/>
                  </a:lnTo>
                  <a:lnTo>
                    <a:pt x="80" y="532"/>
                  </a:lnTo>
                  <a:lnTo>
                    <a:pt x="76" y="533"/>
                  </a:lnTo>
                  <a:lnTo>
                    <a:pt x="74" y="533"/>
                  </a:lnTo>
                  <a:lnTo>
                    <a:pt x="72" y="533"/>
                  </a:lnTo>
                  <a:lnTo>
                    <a:pt x="70" y="534"/>
                  </a:lnTo>
                  <a:lnTo>
                    <a:pt x="69" y="534"/>
                  </a:lnTo>
                  <a:lnTo>
                    <a:pt x="68" y="535"/>
                  </a:lnTo>
                  <a:lnTo>
                    <a:pt x="65" y="536"/>
                  </a:lnTo>
                  <a:lnTo>
                    <a:pt x="61" y="541"/>
                  </a:lnTo>
                  <a:lnTo>
                    <a:pt x="59" y="542"/>
                  </a:lnTo>
                  <a:lnTo>
                    <a:pt x="56" y="543"/>
                  </a:lnTo>
                  <a:lnTo>
                    <a:pt x="54" y="544"/>
                  </a:lnTo>
                  <a:lnTo>
                    <a:pt x="53" y="544"/>
                  </a:lnTo>
                  <a:lnTo>
                    <a:pt x="51" y="544"/>
                  </a:lnTo>
                  <a:lnTo>
                    <a:pt x="49" y="544"/>
                  </a:lnTo>
                  <a:lnTo>
                    <a:pt x="48" y="544"/>
                  </a:lnTo>
                  <a:lnTo>
                    <a:pt x="46" y="544"/>
                  </a:lnTo>
                  <a:lnTo>
                    <a:pt x="45" y="544"/>
                  </a:lnTo>
                  <a:lnTo>
                    <a:pt x="44" y="543"/>
                  </a:lnTo>
                  <a:lnTo>
                    <a:pt x="43" y="542"/>
                  </a:lnTo>
                  <a:lnTo>
                    <a:pt x="41" y="541"/>
                  </a:lnTo>
                  <a:lnTo>
                    <a:pt x="40" y="540"/>
                  </a:lnTo>
                  <a:lnTo>
                    <a:pt x="39" y="539"/>
                  </a:lnTo>
                  <a:lnTo>
                    <a:pt x="37" y="537"/>
                  </a:lnTo>
                  <a:lnTo>
                    <a:pt x="36" y="536"/>
                  </a:lnTo>
                  <a:lnTo>
                    <a:pt x="34" y="534"/>
                  </a:lnTo>
                  <a:lnTo>
                    <a:pt x="34" y="533"/>
                  </a:lnTo>
                  <a:lnTo>
                    <a:pt x="33" y="532"/>
                  </a:lnTo>
                  <a:lnTo>
                    <a:pt x="31" y="525"/>
                  </a:lnTo>
                  <a:lnTo>
                    <a:pt x="30" y="520"/>
                  </a:lnTo>
                  <a:lnTo>
                    <a:pt x="26" y="511"/>
                  </a:lnTo>
                  <a:lnTo>
                    <a:pt x="20" y="499"/>
                  </a:lnTo>
                  <a:lnTo>
                    <a:pt x="20" y="497"/>
                  </a:lnTo>
                  <a:lnTo>
                    <a:pt x="20" y="495"/>
                  </a:lnTo>
                  <a:lnTo>
                    <a:pt x="19" y="491"/>
                  </a:lnTo>
                  <a:lnTo>
                    <a:pt x="18" y="488"/>
                  </a:lnTo>
                  <a:lnTo>
                    <a:pt x="17" y="483"/>
                  </a:lnTo>
                  <a:lnTo>
                    <a:pt x="15" y="471"/>
                  </a:lnTo>
                  <a:lnTo>
                    <a:pt x="15" y="470"/>
                  </a:lnTo>
                  <a:lnTo>
                    <a:pt x="14" y="468"/>
                  </a:lnTo>
                  <a:lnTo>
                    <a:pt x="14" y="467"/>
                  </a:lnTo>
                  <a:lnTo>
                    <a:pt x="13" y="466"/>
                  </a:lnTo>
                  <a:lnTo>
                    <a:pt x="12" y="466"/>
                  </a:lnTo>
                  <a:lnTo>
                    <a:pt x="12" y="465"/>
                  </a:lnTo>
                  <a:lnTo>
                    <a:pt x="10" y="465"/>
                  </a:lnTo>
                  <a:lnTo>
                    <a:pt x="8" y="464"/>
                  </a:lnTo>
                  <a:lnTo>
                    <a:pt x="6" y="464"/>
                  </a:lnTo>
                  <a:lnTo>
                    <a:pt x="4" y="463"/>
                  </a:lnTo>
                  <a:lnTo>
                    <a:pt x="3" y="462"/>
                  </a:lnTo>
                  <a:lnTo>
                    <a:pt x="2" y="461"/>
                  </a:lnTo>
                  <a:lnTo>
                    <a:pt x="2" y="460"/>
                  </a:lnTo>
                  <a:lnTo>
                    <a:pt x="1" y="457"/>
                  </a:lnTo>
                  <a:lnTo>
                    <a:pt x="0" y="455"/>
                  </a:lnTo>
                  <a:lnTo>
                    <a:pt x="0" y="453"/>
                  </a:lnTo>
                  <a:lnTo>
                    <a:pt x="0" y="452"/>
                  </a:lnTo>
                  <a:lnTo>
                    <a:pt x="0" y="450"/>
                  </a:lnTo>
                  <a:lnTo>
                    <a:pt x="1" y="448"/>
                  </a:lnTo>
                  <a:lnTo>
                    <a:pt x="2" y="446"/>
                  </a:lnTo>
                  <a:lnTo>
                    <a:pt x="4" y="442"/>
                  </a:lnTo>
                  <a:lnTo>
                    <a:pt x="11" y="430"/>
                  </a:lnTo>
                  <a:lnTo>
                    <a:pt x="15" y="423"/>
                  </a:lnTo>
                  <a:lnTo>
                    <a:pt x="19" y="417"/>
                  </a:lnTo>
                  <a:lnTo>
                    <a:pt x="20" y="413"/>
                  </a:lnTo>
                  <a:lnTo>
                    <a:pt x="21" y="409"/>
                  </a:lnTo>
                  <a:lnTo>
                    <a:pt x="22" y="405"/>
                  </a:lnTo>
                  <a:lnTo>
                    <a:pt x="23" y="403"/>
                  </a:lnTo>
                  <a:lnTo>
                    <a:pt x="23" y="401"/>
                  </a:lnTo>
                  <a:lnTo>
                    <a:pt x="23" y="396"/>
                  </a:lnTo>
                  <a:lnTo>
                    <a:pt x="24" y="387"/>
                  </a:lnTo>
                  <a:lnTo>
                    <a:pt x="24" y="385"/>
                  </a:lnTo>
                  <a:lnTo>
                    <a:pt x="24" y="384"/>
                  </a:lnTo>
                  <a:lnTo>
                    <a:pt x="25" y="382"/>
                  </a:lnTo>
                  <a:lnTo>
                    <a:pt x="25" y="381"/>
                  </a:lnTo>
                  <a:lnTo>
                    <a:pt x="26" y="379"/>
                  </a:lnTo>
                  <a:lnTo>
                    <a:pt x="27" y="378"/>
                  </a:lnTo>
                  <a:lnTo>
                    <a:pt x="28" y="376"/>
                  </a:lnTo>
                  <a:lnTo>
                    <a:pt x="29" y="376"/>
                  </a:lnTo>
                  <a:lnTo>
                    <a:pt x="31" y="375"/>
                  </a:lnTo>
                  <a:lnTo>
                    <a:pt x="31" y="374"/>
                  </a:lnTo>
                  <a:lnTo>
                    <a:pt x="32" y="374"/>
                  </a:lnTo>
                  <a:lnTo>
                    <a:pt x="39" y="373"/>
                  </a:lnTo>
                  <a:lnTo>
                    <a:pt x="41" y="373"/>
                  </a:lnTo>
                  <a:lnTo>
                    <a:pt x="43" y="372"/>
                  </a:lnTo>
                  <a:lnTo>
                    <a:pt x="44" y="371"/>
                  </a:lnTo>
                  <a:lnTo>
                    <a:pt x="46" y="370"/>
                  </a:lnTo>
                  <a:lnTo>
                    <a:pt x="48" y="369"/>
                  </a:lnTo>
                  <a:lnTo>
                    <a:pt x="49" y="368"/>
                  </a:lnTo>
                  <a:lnTo>
                    <a:pt x="51" y="366"/>
                  </a:lnTo>
                  <a:lnTo>
                    <a:pt x="53" y="365"/>
                  </a:lnTo>
                  <a:lnTo>
                    <a:pt x="54" y="363"/>
                  </a:lnTo>
                  <a:lnTo>
                    <a:pt x="55" y="361"/>
                  </a:lnTo>
                  <a:lnTo>
                    <a:pt x="56" y="360"/>
                  </a:lnTo>
                  <a:lnTo>
                    <a:pt x="57" y="357"/>
                  </a:lnTo>
                  <a:lnTo>
                    <a:pt x="58" y="356"/>
                  </a:lnTo>
                  <a:lnTo>
                    <a:pt x="58" y="354"/>
                  </a:lnTo>
                  <a:lnTo>
                    <a:pt x="59" y="351"/>
                  </a:lnTo>
                  <a:lnTo>
                    <a:pt x="59" y="348"/>
                  </a:lnTo>
                  <a:lnTo>
                    <a:pt x="58" y="344"/>
                  </a:lnTo>
                  <a:lnTo>
                    <a:pt x="57" y="336"/>
                  </a:lnTo>
                  <a:lnTo>
                    <a:pt x="57" y="331"/>
                  </a:lnTo>
                  <a:lnTo>
                    <a:pt x="57" y="327"/>
                  </a:lnTo>
                  <a:lnTo>
                    <a:pt x="57" y="325"/>
                  </a:lnTo>
                  <a:lnTo>
                    <a:pt x="57" y="323"/>
                  </a:lnTo>
                  <a:lnTo>
                    <a:pt x="56" y="320"/>
                  </a:lnTo>
                  <a:lnTo>
                    <a:pt x="55" y="318"/>
                  </a:lnTo>
                  <a:lnTo>
                    <a:pt x="54" y="317"/>
                  </a:lnTo>
                  <a:lnTo>
                    <a:pt x="54" y="315"/>
                  </a:lnTo>
                  <a:lnTo>
                    <a:pt x="53" y="313"/>
                  </a:lnTo>
                  <a:lnTo>
                    <a:pt x="51" y="311"/>
                  </a:lnTo>
                  <a:lnTo>
                    <a:pt x="44" y="304"/>
                  </a:lnTo>
                  <a:lnTo>
                    <a:pt x="42" y="300"/>
                  </a:lnTo>
                  <a:lnTo>
                    <a:pt x="40" y="297"/>
                  </a:lnTo>
                  <a:lnTo>
                    <a:pt x="38" y="294"/>
                  </a:lnTo>
                  <a:lnTo>
                    <a:pt x="35" y="288"/>
                  </a:lnTo>
                  <a:lnTo>
                    <a:pt x="34" y="285"/>
                  </a:lnTo>
                  <a:lnTo>
                    <a:pt x="33" y="283"/>
                  </a:lnTo>
                  <a:lnTo>
                    <a:pt x="32" y="280"/>
                  </a:lnTo>
                  <a:lnTo>
                    <a:pt x="32" y="278"/>
                  </a:lnTo>
                  <a:lnTo>
                    <a:pt x="32" y="276"/>
                  </a:lnTo>
                  <a:lnTo>
                    <a:pt x="33" y="273"/>
                  </a:lnTo>
                  <a:lnTo>
                    <a:pt x="33" y="272"/>
                  </a:lnTo>
                  <a:lnTo>
                    <a:pt x="34" y="270"/>
                  </a:lnTo>
                  <a:lnTo>
                    <a:pt x="38" y="263"/>
                  </a:lnTo>
                  <a:lnTo>
                    <a:pt x="39" y="260"/>
                  </a:lnTo>
                  <a:lnTo>
                    <a:pt x="40" y="258"/>
                  </a:lnTo>
                  <a:lnTo>
                    <a:pt x="41" y="255"/>
                  </a:lnTo>
                  <a:lnTo>
                    <a:pt x="41" y="253"/>
                  </a:lnTo>
                  <a:lnTo>
                    <a:pt x="41" y="252"/>
                  </a:lnTo>
                  <a:lnTo>
                    <a:pt x="41" y="251"/>
                  </a:lnTo>
                  <a:lnTo>
                    <a:pt x="40" y="250"/>
                  </a:lnTo>
                  <a:lnTo>
                    <a:pt x="40" y="249"/>
                  </a:lnTo>
                  <a:lnTo>
                    <a:pt x="39" y="249"/>
                  </a:lnTo>
                  <a:lnTo>
                    <a:pt x="39" y="249"/>
                  </a:lnTo>
                  <a:lnTo>
                    <a:pt x="38" y="249"/>
                  </a:lnTo>
                  <a:lnTo>
                    <a:pt x="39" y="249"/>
                  </a:lnTo>
                  <a:lnTo>
                    <a:pt x="41" y="249"/>
                  </a:lnTo>
                  <a:lnTo>
                    <a:pt x="43" y="248"/>
                  </a:lnTo>
                  <a:lnTo>
                    <a:pt x="43" y="247"/>
                  </a:lnTo>
                  <a:lnTo>
                    <a:pt x="44" y="245"/>
                  </a:lnTo>
                  <a:lnTo>
                    <a:pt x="45" y="244"/>
                  </a:lnTo>
                  <a:lnTo>
                    <a:pt x="45" y="243"/>
                  </a:lnTo>
                  <a:lnTo>
                    <a:pt x="45" y="241"/>
                  </a:lnTo>
                  <a:lnTo>
                    <a:pt x="44" y="240"/>
                  </a:lnTo>
                  <a:lnTo>
                    <a:pt x="44" y="239"/>
                  </a:lnTo>
                  <a:lnTo>
                    <a:pt x="43" y="238"/>
                  </a:lnTo>
                  <a:lnTo>
                    <a:pt x="43" y="238"/>
                  </a:lnTo>
                  <a:lnTo>
                    <a:pt x="40" y="236"/>
                  </a:lnTo>
                  <a:lnTo>
                    <a:pt x="34" y="231"/>
                  </a:lnTo>
                  <a:lnTo>
                    <a:pt x="33" y="230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0" y="225"/>
                  </a:lnTo>
                  <a:lnTo>
                    <a:pt x="29" y="223"/>
                  </a:lnTo>
                  <a:lnTo>
                    <a:pt x="29" y="222"/>
                  </a:lnTo>
                  <a:lnTo>
                    <a:pt x="29" y="219"/>
                  </a:lnTo>
                  <a:lnTo>
                    <a:pt x="30" y="217"/>
                  </a:lnTo>
                  <a:lnTo>
                    <a:pt x="31" y="215"/>
                  </a:lnTo>
                  <a:lnTo>
                    <a:pt x="32" y="211"/>
                  </a:lnTo>
                  <a:lnTo>
                    <a:pt x="34" y="208"/>
                  </a:lnTo>
                  <a:lnTo>
                    <a:pt x="35" y="206"/>
                  </a:lnTo>
                  <a:lnTo>
                    <a:pt x="43" y="197"/>
                  </a:lnTo>
                  <a:lnTo>
                    <a:pt x="43" y="195"/>
                  </a:lnTo>
                  <a:lnTo>
                    <a:pt x="43" y="193"/>
                  </a:lnTo>
                  <a:lnTo>
                    <a:pt x="43" y="192"/>
                  </a:lnTo>
                  <a:lnTo>
                    <a:pt x="43" y="190"/>
                  </a:lnTo>
                  <a:lnTo>
                    <a:pt x="43" y="186"/>
                  </a:lnTo>
                  <a:lnTo>
                    <a:pt x="41" y="181"/>
                  </a:lnTo>
                  <a:lnTo>
                    <a:pt x="39" y="175"/>
                  </a:lnTo>
                  <a:lnTo>
                    <a:pt x="36" y="166"/>
                  </a:lnTo>
                  <a:lnTo>
                    <a:pt x="34" y="162"/>
                  </a:lnTo>
                  <a:lnTo>
                    <a:pt x="34" y="159"/>
                  </a:lnTo>
                  <a:lnTo>
                    <a:pt x="34" y="158"/>
                  </a:lnTo>
                  <a:lnTo>
                    <a:pt x="34" y="157"/>
                  </a:lnTo>
                  <a:lnTo>
                    <a:pt x="34" y="155"/>
                  </a:lnTo>
                  <a:lnTo>
                    <a:pt x="35" y="153"/>
                  </a:lnTo>
                  <a:lnTo>
                    <a:pt x="35" y="152"/>
                  </a:lnTo>
                  <a:lnTo>
                    <a:pt x="36" y="152"/>
                  </a:lnTo>
                  <a:lnTo>
                    <a:pt x="37" y="151"/>
                  </a:lnTo>
                  <a:lnTo>
                    <a:pt x="38" y="150"/>
                  </a:lnTo>
                  <a:lnTo>
                    <a:pt x="39" y="150"/>
                  </a:lnTo>
                  <a:lnTo>
                    <a:pt x="40" y="149"/>
                  </a:lnTo>
                  <a:lnTo>
                    <a:pt x="41" y="149"/>
                  </a:lnTo>
                  <a:lnTo>
                    <a:pt x="43" y="149"/>
                  </a:lnTo>
                  <a:lnTo>
                    <a:pt x="44" y="149"/>
                  </a:lnTo>
                  <a:lnTo>
                    <a:pt x="50" y="150"/>
                  </a:lnTo>
                  <a:lnTo>
                    <a:pt x="54" y="150"/>
                  </a:lnTo>
                  <a:lnTo>
                    <a:pt x="55" y="150"/>
                  </a:lnTo>
                  <a:lnTo>
                    <a:pt x="56" y="150"/>
                  </a:lnTo>
                  <a:lnTo>
                    <a:pt x="57" y="149"/>
                  </a:lnTo>
                  <a:lnTo>
                    <a:pt x="59" y="149"/>
                  </a:lnTo>
                  <a:lnTo>
                    <a:pt x="60" y="148"/>
                  </a:lnTo>
                  <a:lnTo>
                    <a:pt x="61" y="148"/>
                  </a:lnTo>
                  <a:lnTo>
                    <a:pt x="62" y="147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4" y="144"/>
                  </a:lnTo>
                  <a:lnTo>
                    <a:pt x="64" y="143"/>
                  </a:lnTo>
                  <a:lnTo>
                    <a:pt x="64" y="142"/>
                  </a:lnTo>
                  <a:lnTo>
                    <a:pt x="64" y="141"/>
                  </a:lnTo>
                  <a:lnTo>
                    <a:pt x="65" y="140"/>
                  </a:lnTo>
                  <a:lnTo>
                    <a:pt x="66" y="136"/>
                  </a:lnTo>
                  <a:lnTo>
                    <a:pt x="71" y="131"/>
                  </a:lnTo>
                  <a:lnTo>
                    <a:pt x="79" y="122"/>
                  </a:lnTo>
                  <a:lnTo>
                    <a:pt x="82" y="118"/>
                  </a:lnTo>
                  <a:lnTo>
                    <a:pt x="83" y="115"/>
                  </a:lnTo>
                  <a:lnTo>
                    <a:pt x="85" y="113"/>
                  </a:lnTo>
                  <a:lnTo>
                    <a:pt x="87" y="109"/>
                  </a:lnTo>
                  <a:lnTo>
                    <a:pt x="88" y="106"/>
                  </a:lnTo>
                  <a:lnTo>
                    <a:pt x="90" y="101"/>
                  </a:lnTo>
                  <a:lnTo>
                    <a:pt x="92" y="96"/>
                  </a:lnTo>
                  <a:lnTo>
                    <a:pt x="95" y="92"/>
                  </a:lnTo>
                  <a:lnTo>
                    <a:pt x="98" y="89"/>
                  </a:lnTo>
                  <a:lnTo>
                    <a:pt x="99" y="87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99" y="82"/>
                  </a:lnTo>
                  <a:lnTo>
                    <a:pt x="99" y="80"/>
                  </a:lnTo>
                  <a:lnTo>
                    <a:pt x="99" y="79"/>
                  </a:lnTo>
                  <a:lnTo>
                    <a:pt x="99" y="75"/>
                  </a:lnTo>
                  <a:lnTo>
                    <a:pt x="98" y="73"/>
                  </a:lnTo>
                  <a:lnTo>
                    <a:pt x="98" y="71"/>
                  </a:lnTo>
                  <a:lnTo>
                    <a:pt x="97" y="69"/>
                  </a:lnTo>
                  <a:lnTo>
                    <a:pt x="93" y="65"/>
                  </a:lnTo>
                  <a:lnTo>
                    <a:pt x="92" y="63"/>
                  </a:lnTo>
                  <a:lnTo>
                    <a:pt x="92" y="61"/>
                  </a:lnTo>
                  <a:lnTo>
                    <a:pt x="90" y="56"/>
                  </a:lnTo>
                  <a:lnTo>
                    <a:pt x="89" y="55"/>
                  </a:lnTo>
                  <a:lnTo>
                    <a:pt x="88" y="53"/>
                  </a:lnTo>
                  <a:lnTo>
                    <a:pt x="88" y="51"/>
                  </a:lnTo>
                  <a:lnTo>
                    <a:pt x="86" y="49"/>
                  </a:lnTo>
                  <a:lnTo>
                    <a:pt x="73" y="37"/>
                  </a:lnTo>
                  <a:lnTo>
                    <a:pt x="71" y="35"/>
                  </a:lnTo>
                  <a:lnTo>
                    <a:pt x="69" y="33"/>
                  </a:lnTo>
                  <a:lnTo>
                    <a:pt x="67" y="28"/>
                  </a:lnTo>
                  <a:lnTo>
                    <a:pt x="66" y="26"/>
                  </a:lnTo>
                  <a:lnTo>
                    <a:pt x="66" y="25"/>
                  </a:lnTo>
                  <a:lnTo>
                    <a:pt x="67" y="24"/>
                  </a:lnTo>
                  <a:lnTo>
                    <a:pt x="67" y="23"/>
                  </a:lnTo>
                  <a:lnTo>
                    <a:pt x="72" y="20"/>
                  </a:lnTo>
                  <a:lnTo>
                    <a:pt x="77" y="15"/>
                  </a:lnTo>
                  <a:lnTo>
                    <a:pt x="78" y="14"/>
                  </a:lnTo>
                  <a:lnTo>
                    <a:pt x="80" y="12"/>
                  </a:lnTo>
                  <a:lnTo>
                    <a:pt x="86" y="10"/>
                  </a:lnTo>
                  <a:lnTo>
                    <a:pt x="94" y="5"/>
                  </a:lnTo>
                  <a:lnTo>
                    <a:pt x="100" y="2"/>
                  </a:lnTo>
                  <a:lnTo>
                    <a:pt x="103" y="1"/>
                  </a:lnTo>
                  <a:lnTo>
                    <a:pt x="104" y="0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rgbClr val="6BAFD6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1" name="Freeform 68">
              <a:extLst>
                <a:ext uri="{FF2B5EF4-FFF2-40B4-BE49-F238E27FC236}">
                  <a16:creationId xmlns:a16="http://schemas.microsoft.com/office/drawing/2014/main" id="{CC470AAB-2AF8-4EBC-BFA0-6AE9554ED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3" y="3283"/>
              <a:ext cx="720" cy="434"/>
            </a:xfrm>
            <a:custGeom>
              <a:avLst/>
              <a:gdLst>
                <a:gd name="T0" fmla="*/ 551 w 720"/>
                <a:gd name="T1" fmla="*/ 4 h 434"/>
                <a:gd name="T2" fmla="*/ 573 w 720"/>
                <a:gd name="T3" fmla="*/ 26 h 434"/>
                <a:gd name="T4" fmla="*/ 605 w 720"/>
                <a:gd name="T5" fmla="*/ 32 h 434"/>
                <a:gd name="T6" fmla="*/ 639 w 720"/>
                <a:gd name="T7" fmla="*/ 52 h 434"/>
                <a:gd name="T8" fmla="*/ 670 w 720"/>
                <a:gd name="T9" fmla="*/ 45 h 434"/>
                <a:gd name="T10" fmla="*/ 701 w 720"/>
                <a:gd name="T11" fmla="*/ 67 h 434"/>
                <a:gd name="T12" fmla="*/ 700 w 720"/>
                <a:gd name="T13" fmla="*/ 87 h 434"/>
                <a:gd name="T14" fmla="*/ 685 w 720"/>
                <a:gd name="T15" fmla="*/ 139 h 434"/>
                <a:gd name="T16" fmla="*/ 678 w 720"/>
                <a:gd name="T17" fmla="*/ 167 h 434"/>
                <a:gd name="T18" fmla="*/ 691 w 720"/>
                <a:gd name="T19" fmla="*/ 186 h 434"/>
                <a:gd name="T20" fmla="*/ 678 w 720"/>
                <a:gd name="T21" fmla="*/ 202 h 434"/>
                <a:gd name="T22" fmla="*/ 685 w 720"/>
                <a:gd name="T23" fmla="*/ 230 h 434"/>
                <a:gd name="T24" fmla="*/ 702 w 720"/>
                <a:gd name="T25" fmla="*/ 246 h 434"/>
                <a:gd name="T26" fmla="*/ 696 w 720"/>
                <a:gd name="T27" fmla="*/ 268 h 434"/>
                <a:gd name="T28" fmla="*/ 690 w 720"/>
                <a:gd name="T29" fmla="*/ 299 h 434"/>
                <a:gd name="T30" fmla="*/ 697 w 720"/>
                <a:gd name="T31" fmla="*/ 329 h 434"/>
                <a:gd name="T32" fmla="*/ 714 w 720"/>
                <a:gd name="T33" fmla="*/ 351 h 434"/>
                <a:gd name="T34" fmla="*/ 677 w 720"/>
                <a:gd name="T35" fmla="*/ 418 h 434"/>
                <a:gd name="T36" fmla="*/ 646 w 720"/>
                <a:gd name="T37" fmla="*/ 434 h 434"/>
                <a:gd name="T38" fmla="*/ 628 w 720"/>
                <a:gd name="T39" fmla="*/ 425 h 434"/>
                <a:gd name="T40" fmla="*/ 609 w 720"/>
                <a:gd name="T41" fmla="*/ 431 h 434"/>
                <a:gd name="T42" fmla="*/ 559 w 720"/>
                <a:gd name="T43" fmla="*/ 426 h 434"/>
                <a:gd name="T44" fmla="*/ 467 w 720"/>
                <a:gd name="T45" fmla="*/ 422 h 434"/>
                <a:gd name="T46" fmla="*/ 414 w 720"/>
                <a:gd name="T47" fmla="*/ 412 h 434"/>
                <a:gd name="T48" fmla="*/ 344 w 720"/>
                <a:gd name="T49" fmla="*/ 372 h 434"/>
                <a:gd name="T50" fmla="*/ 322 w 720"/>
                <a:gd name="T51" fmla="*/ 346 h 434"/>
                <a:gd name="T52" fmla="*/ 312 w 720"/>
                <a:gd name="T53" fmla="*/ 330 h 434"/>
                <a:gd name="T54" fmla="*/ 293 w 720"/>
                <a:gd name="T55" fmla="*/ 318 h 434"/>
                <a:gd name="T56" fmla="*/ 276 w 720"/>
                <a:gd name="T57" fmla="*/ 309 h 434"/>
                <a:gd name="T58" fmla="*/ 259 w 720"/>
                <a:gd name="T59" fmla="*/ 294 h 434"/>
                <a:gd name="T60" fmla="*/ 237 w 720"/>
                <a:gd name="T61" fmla="*/ 280 h 434"/>
                <a:gd name="T62" fmla="*/ 218 w 720"/>
                <a:gd name="T63" fmla="*/ 273 h 434"/>
                <a:gd name="T64" fmla="*/ 182 w 720"/>
                <a:gd name="T65" fmla="*/ 281 h 434"/>
                <a:gd name="T66" fmla="*/ 148 w 720"/>
                <a:gd name="T67" fmla="*/ 294 h 434"/>
                <a:gd name="T68" fmla="*/ 100 w 720"/>
                <a:gd name="T69" fmla="*/ 278 h 434"/>
                <a:gd name="T70" fmla="*/ 50 w 720"/>
                <a:gd name="T71" fmla="*/ 248 h 434"/>
                <a:gd name="T72" fmla="*/ 5 w 720"/>
                <a:gd name="T73" fmla="*/ 219 h 434"/>
                <a:gd name="T74" fmla="*/ 17 w 720"/>
                <a:gd name="T75" fmla="*/ 210 h 434"/>
                <a:gd name="T76" fmla="*/ 20 w 720"/>
                <a:gd name="T77" fmla="*/ 196 h 434"/>
                <a:gd name="T78" fmla="*/ 34 w 720"/>
                <a:gd name="T79" fmla="*/ 186 h 434"/>
                <a:gd name="T80" fmla="*/ 52 w 720"/>
                <a:gd name="T81" fmla="*/ 181 h 434"/>
                <a:gd name="T82" fmla="*/ 76 w 720"/>
                <a:gd name="T83" fmla="*/ 192 h 434"/>
                <a:gd name="T84" fmla="*/ 94 w 720"/>
                <a:gd name="T85" fmla="*/ 173 h 434"/>
                <a:gd name="T86" fmla="*/ 120 w 720"/>
                <a:gd name="T87" fmla="*/ 166 h 434"/>
                <a:gd name="T88" fmla="*/ 145 w 720"/>
                <a:gd name="T89" fmla="*/ 178 h 434"/>
                <a:gd name="T90" fmla="*/ 167 w 720"/>
                <a:gd name="T91" fmla="*/ 155 h 434"/>
                <a:gd name="T92" fmla="*/ 197 w 720"/>
                <a:gd name="T93" fmla="*/ 132 h 434"/>
                <a:gd name="T94" fmla="*/ 228 w 720"/>
                <a:gd name="T95" fmla="*/ 111 h 434"/>
                <a:gd name="T96" fmla="*/ 257 w 720"/>
                <a:gd name="T97" fmla="*/ 105 h 434"/>
                <a:gd name="T98" fmla="*/ 270 w 720"/>
                <a:gd name="T99" fmla="*/ 82 h 434"/>
                <a:gd name="T100" fmla="*/ 288 w 720"/>
                <a:gd name="T101" fmla="*/ 82 h 434"/>
                <a:gd name="T102" fmla="*/ 308 w 720"/>
                <a:gd name="T103" fmla="*/ 66 h 434"/>
                <a:gd name="T104" fmla="*/ 328 w 720"/>
                <a:gd name="T105" fmla="*/ 65 h 434"/>
                <a:gd name="T106" fmla="*/ 351 w 720"/>
                <a:gd name="T107" fmla="*/ 83 h 434"/>
                <a:gd name="T108" fmla="*/ 379 w 720"/>
                <a:gd name="T109" fmla="*/ 74 h 434"/>
                <a:gd name="T110" fmla="*/ 411 w 720"/>
                <a:gd name="T111" fmla="*/ 77 h 434"/>
                <a:gd name="T112" fmla="*/ 448 w 720"/>
                <a:gd name="T113" fmla="*/ 71 h 434"/>
                <a:gd name="T114" fmla="*/ 460 w 720"/>
                <a:gd name="T115" fmla="*/ 48 h 434"/>
                <a:gd name="T116" fmla="*/ 482 w 720"/>
                <a:gd name="T117" fmla="*/ 35 h 434"/>
                <a:gd name="T118" fmla="*/ 522 w 720"/>
                <a:gd name="T119" fmla="*/ 24 h 434"/>
                <a:gd name="T120" fmla="*/ 538 w 720"/>
                <a:gd name="T121" fmla="*/ 1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0" h="434">
                  <a:moveTo>
                    <a:pt x="540" y="1"/>
                  </a:moveTo>
                  <a:lnTo>
                    <a:pt x="541" y="0"/>
                  </a:lnTo>
                  <a:lnTo>
                    <a:pt x="543" y="0"/>
                  </a:lnTo>
                  <a:lnTo>
                    <a:pt x="544" y="0"/>
                  </a:lnTo>
                  <a:lnTo>
                    <a:pt x="545" y="1"/>
                  </a:lnTo>
                  <a:lnTo>
                    <a:pt x="544" y="1"/>
                  </a:lnTo>
                  <a:lnTo>
                    <a:pt x="545" y="2"/>
                  </a:lnTo>
                  <a:lnTo>
                    <a:pt x="546" y="3"/>
                  </a:lnTo>
                  <a:lnTo>
                    <a:pt x="547" y="3"/>
                  </a:lnTo>
                  <a:lnTo>
                    <a:pt x="551" y="4"/>
                  </a:lnTo>
                  <a:lnTo>
                    <a:pt x="553" y="5"/>
                  </a:lnTo>
                  <a:lnTo>
                    <a:pt x="556" y="7"/>
                  </a:lnTo>
                  <a:lnTo>
                    <a:pt x="559" y="9"/>
                  </a:lnTo>
                  <a:lnTo>
                    <a:pt x="560" y="11"/>
                  </a:lnTo>
                  <a:lnTo>
                    <a:pt x="561" y="13"/>
                  </a:lnTo>
                  <a:lnTo>
                    <a:pt x="566" y="19"/>
                  </a:lnTo>
                  <a:lnTo>
                    <a:pt x="568" y="22"/>
                  </a:lnTo>
                  <a:lnTo>
                    <a:pt x="570" y="24"/>
                  </a:lnTo>
                  <a:lnTo>
                    <a:pt x="571" y="25"/>
                  </a:lnTo>
                  <a:lnTo>
                    <a:pt x="573" y="26"/>
                  </a:lnTo>
                  <a:lnTo>
                    <a:pt x="575" y="26"/>
                  </a:lnTo>
                  <a:lnTo>
                    <a:pt x="578" y="26"/>
                  </a:lnTo>
                  <a:lnTo>
                    <a:pt x="581" y="26"/>
                  </a:lnTo>
                  <a:lnTo>
                    <a:pt x="589" y="26"/>
                  </a:lnTo>
                  <a:lnTo>
                    <a:pt x="593" y="27"/>
                  </a:lnTo>
                  <a:lnTo>
                    <a:pt x="595" y="27"/>
                  </a:lnTo>
                  <a:lnTo>
                    <a:pt x="597" y="27"/>
                  </a:lnTo>
                  <a:lnTo>
                    <a:pt x="600" y="29"/>
                  </a:lnTo>
                  <a:lnTo>
                    <a:pt x="603" y="30"/>
                  </a:lnTo>
                  <a:lnTo>
                    <a:pt x="605" y="32"/>
                  </a:lnTo>
                  <a:lnTo>
                    <a:pt x="612" y="36"/>
                  </a:lnTo>
                  <a:lnTo>
                    <a:pt x="616" y="37"/>
                  </a:lnTo>
                  <a:lnTo>
                    <a:pt x="618" y="39"/>
                  </a:lnTo>
                  <a:lnTo>
                    <a:pt x="623" y="41"/>
                  </a:lnTo>
                  <a:lnTo>
                    <a:pt x="625" y="42"/>
                  </a:lnTo>
                  <a:lnTo>
                    <a:pt x="628" y="44"/>
                  </a:lnTo>
                  <a:lnTo>
                    <a:pt x="633" y="48"/>
                  </a:lnTo>
                  <a:lnTo>
                    <a:pt x="635" y="50"/>
                  </a:lnTo>
                  <a:lnTo>
                    <a:pt x="637" y="51"/>
                  </a:lnTo>
                  <a:lnTo>
                    <a:pt x="639" y="52"/>
                  </a:lnTo>
                  <a:lnTo>
                    <a:pt x="641" y="52"/>
                  </a:lnTo>
                  <a:lnTo>
                    <a:pt x="643" y="51"/>
                  </a:lnTo>
                  <a:lnTo>
                    <a:pt x="645" y="50"/>
                  </a:lnTo>
                  <a:lnTo>
                    <a:pt x="651" y="48"/>
                  </a:lnTo>
                  <a:lnTo>
                    <a:pt x="653" y="47"/>
                  </a:lnTo>
                  <a:lnTo>
                    <a:pt x="657" y="46"/>
                  </a:lnTo>
                  <a:lnTo>
                    <a:pt x="661" y="45"/>
                  </a:lnTo>
                  <a:lnTo>
                    <a:pt x="663" y="45"/>
                  </a:lnTo>
                  <a:lnTo>
                    <a:pt x="667" y="45"/>
                  </a:lnTo>
                  <a:lnTo>
                    <a:pt x="670" y="45"/>
                  </a:lnTo>
                  <a:lnTo>
                    <a:pt x="673" y="46"/>
                  </a:lnTo>
                  <a:lnTo>
                    <a:pt x="675" y="47"/>
                  </a:lnTo>
                  <a:lnTo>
                    <a:pt x="677" y="48"/>
                  </a:lnTo>
                  <a:lnTo>
                    <a:pt x="682" y="49"/>
                  </a:lnTo>
                  <a:lnTo>
                    <a:pt x="685" y="51"/>
                  </a:lnTo>
                  <a:lnTo>
                    <a:pt x="690" y="57"/>
                  </a:lnTo>
                  <a:lnTo>
                    <a:pt x="694" y="60"/>
                  </a:lnTo>
                  <a:lnTo>
                    <a:pt x="696" y="62"/>
                  </a:lnTo>
                  <a:lnTo>
                    <a:pt x="699" y="65"/>
                  </a:lnTo>
                  <a:lnTo>
                    <a:pt x="701" y="67"/>
                  </a:lnTo>
                  <a:lnTo>
                    <a:pt x="702" y="69"/>
                  </a:lnTo>
                  <a:lnTo>
                    <a:pt x="702" y="70"/>
                  </a:lnTo>
                  <a:lnTo>
                    <a:pt x="703" y="71"/>
                  </a:lnTo>
                  <a:lnTo>
                    <a:pt x="703" y="72"/>
                  </a:lnTo>
                  <a:lnTo>
                    <a:pt x="704" y="75"/>
                  </a:lnTo>
                  <a:lnTo>
                    <a:pt x="704" y="77"/>
                  </a:lnTo>
                  <a:lnTo>
                    <a:pt x="703" y="79"/>
                  </a:lnTo>
                  <a:lnTo>
                    <a:pt x="702" y="82"/>
                  </a:lnTo>
                  <a:lnTo>
                    <a:pt x="701" y="83"/>
                  </a:lnTo>
                  <a:lnTo>
                    <a:pt x="700" y="87"/>
                  </a:lnTo>
                  <a:lnTo>
                    <a:pt x="695" y="96"/>
                  </a:lnTo>
                  <a:lnTo>
                    <a:pt x="694" y="99"/>
                  </a:lnTo>
                  <a:lnTo>
                    <a:pt x="693" y="102"/>
                  </a:lnTo>
                  <a:lnTo>
                    <a:pt x="692" y="105"/>
                  </a:lnTo>
                  <a:lnTo>
                    <a:pt x="691" y="113"/>
                  </a:lnTo>
                  <a:lnTo>
                    <a:pt x="689" y="120"/>
                  </a:lnTo>
                  <a:lnTo>
                    <a:pt x="688" y="124"/>
                  </a:lnTo>
                  <a:lnTo>
                    <a:pt x="687" y="132"/>
                  </a:lnTo>
                  <a:lnTo>
                    <a:pt x="687" y="135"/>
                  </a:lnTo>
                  <a:lnTo>
                    <a:pt x="685" y="139"/>
                  </a:lnTo>
                  <a:lnTo>
                    <a:pt x="685" y="141"/>
                  </a:lnTo>
                  <a:lnTo>
                    <a:pt x="680" y="151"/>
                  </a:lnTo>
                  <a:lnTo>
                    <a:pt x="678" y="155"/>
                  </a:lnTo>
                  <a:lnTo>
                    <a:pt x="677" y="157"/>
                  </a:lnTo>
                  <a:lnTo>
                    <a:pt x="677" y="159"/>
                  </a:lnTo>
                  <a:lnTo>
                    <a:pt x="676" y="161"/>
                  </a:lnTo>
                  <a:lnTo>
                    <a:pt x="676" y="162"/>
                  </a:lnTo>
                  <a:lnTo>
                    <a:pt x="676" y="164"/>
                  </a:lnTo>
                  <a:lnTo>
                    <a:pt x="677" y="165"/>
                  </a:lnTo>
                  <a:lnTo>
                    <a:pt x="678" y="167"/>
                  </a:lnTo>
                  <a:lnTo>
                    <a:pt x="679" y="169"/>
                  </a:lnTo>
                  <a:lnTo>
                    <a:pt x="680" y="171"/>
                  </a:lnTo>
                  <a:lnTo>
                    <a:pt x="681" y="173"/>
                  </a:lnTo>
                  <a:lnTo>
                    <a:pt x="686" y="177"/>
                  </a:lnTo>
                  <a:lnTo>
                    <a:pt x="688" y="179"/>
                  </a:lnTo>
                  <a:lnTo>
                    <a:pt x="689" y="181"/>
                  </a:lnTo>
                  <a:lnTo>
                    <a:pt x="690" y="183"/>
                  </a:lnTo>
                  <a:lnTo>
                    <a:pt x="691" y="184"/>
                  </a:lnTo>
                  <a:lnTo>
                    <a:pt x="691" y="185"/>
                  </a:lnTo>
                  <a:lnTo>
                    <a:pt x="691" y="186"/>
                  </a:lnTo>
                  <a:lnTo>
                    <a:pt x="690" y="188"/>
                  </a:lnTo>
                  <a:lnTo>
                    <a:pt x="689" y="189"/>
                  </a:lnTo>
                  <a:lnTo>
                    <a:pt x="687" y="190"/>
                  </a:lnTo>
                  <a:lnTo>
                    <a:pt x="684" y="193"/>
                  </a:lnTo>
                  <a:lnTo>
                    <a:pt x="682" y="194"/>
                  </a:lnTo>
                  <a:lnTo>
                    <a:pt x="681" y="196"/>
                  </a:lnTo>
                  <a:lnTo>
                    <a:pt x="680" y="196"/>
                  </a:lnTo>
                  <a:lnTo>
                    <a:pt x="680" y="197"/>
                  </a:lnTo>
                  <a:lnTo>
                    <a:pt x="679" y="199"/>
                  </a:lnTo>
                  <a:lnTo>
                    <a:pt x="678" y="202"/>
                  </a:lnTo>
                  <a:lnTo>
                    <a:pt x="678" y="205"/>
                  </a:lnTo>
                  <a:lnTo>
                    <a:pt x="678" y="207"/>
                  </a:lnTo>
                  <a:lnTo>
                    <a:pt x="678" y="209"/>
                  </a:lnTo>
                  <a:lnTo>
                    <a:pt x="678" y="212"/>
                  </a:lnTo>
                  <a:lnTo>
                    <a:pt x="679" y="215"/>
                  </a:lnTo>
                  <a:lnTo>
                    <a:pt x="679" y="217"/>
                  </a:lnTo>
                  <a:lnTo>
                    <a:pt x="680" y="220"/>
                  </a:lnTo>
                  <a:lnTo>
                    <a:pt x="681" y="223"/>
                  </a:lnTo>
                  <a:lnTo>
                    <a:pt x="683" y="227"/>
                  </a:lnTo>
                  <a:lnTo>
                    <a:pt x="685" y="230"/>
                  </a:lnTo>
                  <a:lnTo>
                    <a:pt x="685" y="232"/>
                  </a:lnTo>
                  <a:lnTo>
                    <a:pt x="687" y="234"/>
                  </a:lnTo>
                  <a:lnTo>
                    <a:pt x="689" y="236"/>
                  </a:lnTo>
                  <a:lnTo>
                    <a:pt x="691" y="238"/>
                  </a:lnTo>
                  <a:lnTo>
                    <a:pt x="693" y="240"/>
                  </a:lnTo>
                  <a:lnTo>
                    <a:pt x="695" y="241"/>
                  </a:lnTo>
                  <a:lnTo>
                    <a:pt x="697" y="243"/>
                  </a:lnTo>
                  <a:lnTo>
                    <a:pt x="699" y="244"/>
                  </a:lnTo>
                  <a:lnTo>
                    <a:pt x="701" y="245"/>
                  </a:lnTo>
                  <a:lnTo>
                    <a:pt x="702" y="246"/>
                  </a:lnTo>
                  <a:lnTo>
                    <a:pt x="701" y="247"/>
                  </a:lnTo>
                  <a:lnTo>
                    <a:pt x="700" y="249"/>
                  </a:lnTo>
                  <a:lnTo>
                    <a:pt x="699" y="251"/>
                  </a:lnTo>
                  <a:lnTo>
                    <a:pt x="698" y="253"/>
                  </a:lnTo>
                  <a:lnTo>
                    <a:pt x="698" y="254"/>
                  </a:lnTo>
                  <a:lnTo>
                    <a:pt x="697" y="256"/>
                  </a:lnTo>
                  <a:lnTo>
                    <a:pt x="697" y="258"/>
                  </a:lnTo>
                  <a:lnTo>
                    <a:pt x="697" y="264"/>
                  </a:lnTo>
                  <a:lnTo>
                    <a:pt x="697" y="266"/>
                  </a:lnTo>
                  <a:lnTo>
                    <a:pt x="696" y="268"/>
                  </a:lnTo>
                  <a:lnTo>
                    <a:pt x="696" y="270"/>
                  </a:lnTo>
                  <a:lnTo>
                    <a:pt x="696" y="273"/>
                  </a:lnTo>
                  <a:lnTo>
                    <a:pt x="694" y="276"/>
                  </a:lnTo>
                  <a:lnTo>
                    <a:pt x="693" y="281"/>
                  </a:lnTo>
                  <a:lnTo>
                    <a:pt x="690" y="289"/>
                  </a:lnTo>
                  <a:lnTo>
                    <a:pt x="689" y="291"/>
                  </a:lnTo>
                  <a:lnTo>
                    <a:pt x="689" y="293"/>
                  </a:lnTo>
                  <a:lnTo>
                    <a:pt x="689" y="295"/>
                  </a:lnTo>
                  <a:lnTo>
                    <a:pt x="689" y="297"/>
                  </a:lnTo>
                  <a:lnTo>
                    <a:pt x="690" y="299"/>
                  </a:lnTo>
                  <a:lnTo>
                    <a:pt x="692" y="307"/>
                  </a:lnTo>
                  <a:lnTo>
                    <a:pt x="693" y="309"/>
                  </a:lnTo>
                  <a:lnTo>
                    <a:pt x="694" y="311"/>
                  </a:lnTo>
                  <a:lnTo>
                    <a:pt x="694" y="316"/>
                  </a:lnTo>
                  <a:lnTo>
                    <a:pt x="694" y="322"/>
                  </a:lnTo>
                  <a:lnTo>
                    <a:pt x="695" y="324"/>
                  </a:lnTo>
                  <a:lnTo>
                    <a:pt x="695" y="325"/>
                  </a:lnTo>
                  <a:lnTo>
                    <a:pt x="696" y="327"/>
                  </a:lnTo>
                  <a:lnTo>
                    <a:pt x="696" y="327"/>
                  </a:lnTo>
                  <a:lnTo>
                    <a:pt x="697" y="329"/>
                  </a:lnTo>
                  <a:lnTo>
                    <a:pt x="700" y="330"/>
                  </a:lnTo>
                  <a:lnTo>
                    <a:pt x="708" y="333"/>
                  </a:lnTo>
                  <a:lnTo>
                    <a:pt x="713" y="336"/>
                  </a:lnTo>
                  <a:lnTo>
                    <a:pt x="718" y="338"/>
                  </a:lnTo>
                  <a:lnTo>
                    <a:pt x="719" y="340"/>
                  </a:lnTo>
                  <a:lnTo>
                    <a:pt x="720" y="340"/>
                  </a:lnTo>
                  <a:lnTo>
                    <a:pt x="720" y="341"/>
                  </a:lnTo>
                  <a:lnTo>
                    <a:pt x="719" y="341"/>
                  </a:lnTo>
                  <a:lnTo>
                    <a:pt x="716" y="347"/>
                  </a:lnTo>
                  <a:lnTo>
                    <a:pt x="714" y="351"/>
                  </a:lnTo>
                  <a:lnTo>
                    <a:pt x="711" y="355"/>
                  </a:lnTo>
                  <a:lnTo>
                    <a:pt x="707" y="364"/>
                  </a:lnTo>
                  <a:lnTo>
                    <a:pt x="704" y="370"/>
                  </a:lnTo>
                  <a:lnTo>
                    <a:pt x="702" y="377"/>
                  </a:lnTo>
                  <a:lnTo>
                    <a:pt x="698" y="386"/>
                  </a:lnTo>
                  <a:lnTo>
                    <a:pt x="696" y="390"/>
                  </a:lnTo>
                  <a:lnTo>
                    <a:pt x="694" y="394"/>
                  </a:lnTo>
                  <a:lnTo>
                    <a:pt x="686" y="404"/>
                  </a:lnTo>
                  <a:lnTo>
                    <a:pt x="679" y="416"/>
                  </a:lnTo>
                  <a:lnTo>
                    <a:pt x="677" y="418"/>
                  </a:lnTo>
                  <a:lnTo>
                    <a:pt x="675" y="421"/>
                  </a:lnTo>
                  <a:lnTo>
                    <a:pt x="673" y="422"/>
                  </a:lnTo>
                  <a:lnTo>
                    <a:pt x="670" y="425"/>
                  </a:lnTo>
                  <a:lnTo>
                    <a:pt x="667" y="427"/>
                  </a:lnTo>
                  <a:lnTo>
                    <a:pt x="659" y="432"/>
                  </a:lnTo>
                  <a:lnTo>
                    <a:pt x="657" y="433"/>
                  </a:lnTo>
                  <a:lnTo>
                    <a:pt x="654" y="434"/>
                  </a:lnTo>
                  <a:lnTo>
                    <a:pt x="652" y="434"/>
                  </a:lnTo>
                  <a:lnTo>
                    <a:pt x="649" y="434"/>
                  </a:lnTo>
                  <a:lnTo>
                    <a:pt x="646" y="434"/>
                  </a:lnTo>
                  <a:lnTo>
                    <a:pt x="644" y="434"/>
                  </a:lnTo>
                  <a:lnTo>
                    <a:pt x="641" y="433"/>
                  </a:lnTo>
                  <a:lnTo>
                    <a:pt x="639" y="432"/>
                  </a:lnTo>
                  <a:lnTo>
                    <a:pt x="639" y="431"/>
                  </a:lnTo>
                  <a:lnTo>
                    <a:pt x="635" y="428"/>
                  </a:lnTo>
                  <a:lnTo>
                    <a:pt x="633" y="427"/>
                  </a:lnTo>
                  <a:lnTo>
                    <a:pt x="632" y="426"/>
                  </a:lnTo>
                  <a:lnTo>
                    <a:pt x="630" y="425"/>
                  </a:lnTo>
                  <a:lnTo>
                    <a:pt x="629" y="425"/>
                  </a:lnTo>
                  <a:lnTo>
                    <a:pt x="628" y="425"/>
                  </a:lnTo>
                  <a:lnTo>
                    <a:pt x="627" y="425"/>
                  </a:lnTo>
                  <a:lnTo>
                    <a:pt x="625" y="425"/>
                  </a:lnTo>
                  <a:lnTo>
                    <a:pt x="624" y="426"/>
                  </a:lnTo>
                  <a:lnTo>
                    <a:pt x="619" y="429"/>
                  </a:lnTo>
                  <a:lnTo>
                    <a:pt x="618" y="429"/>
                  </a:lnTo>
                  <a:lnTo>
                    <a:pt x="616" y="430"/>
                  </a:lnTo>
                  <a:lnTo>
                    <a:pt x="615" y="430"/>
                  </a:lnTo>
                  <a:lnTo>
                    <a:pt x="613" y="430"/>
                  </a:lnTo>
                  <a:lnTo>
                    <a:pt x="611" y="431"/>
                  </a:lnTo>
                  <a:lnTo>
                    <a:pt x="609" y="431"/>
                  </a:lnTo>
                  <a:lnTo>
                    <a:pt x="606" y="430"/>
                  </a:lnTo>
                  <a:lnTo>
                    <a:pt x="604" y="430"/>
                  </a:lnTo>
                  <a:lnTo>
                    <a:pt x="595" y="428"/>
                  </a:lnTo>
                  <a:lnTo>
                    <a:pt x="592" y="428"/>
                  </a:lnTo>
                  <a:lnTo>
                    <a:pt x="585" y="427"/>
                  </a:lnTo>
                  <a:lnTo>
                    <a:pt x="581" y="426"/>
                  </a:lnTo>
                  <a:lnTo>
                    <a:pt x="577" y="426"/>
                  </a:lnTo>
                  <a:lnTo>
                    <a:pt x="573" y="426"/>
                  </a:lnTo>
                  <a:lnTo>
                    <a:pt x="563" y="426"/>
                  </a:lnTo>
                  <a:lnTo>
                    <a:pt x="559" y="426"/>
                  </a:lnTo>
                  <a:lnTo>
                    <a:pt x="550" y="426"/>
                  </a:lnTo>
                  <a:lnTo>
                    <a:pt x="542" y="425"/>
                  </a:lnTo>
                  <a:lnTo>
                    <a:pt x="530" y="424"/>
                  </a:lnTo>
                  <a:lnTo>
                    <a:pt x="498" y="422"/>
                  </a:lnTo>
                  <a:lnTo>
                    <a:pt x="491" y="421"/>
                  </a:lnTo>
                  <a:lnTo>
                    <a:pt x="487" y="421"/>
                  </a:lnTo>
                  <a:lnTo>
                    <a:pt x="483" y="421"/>
                  </a:lnTo>
                  <a:lnTo>
                    <a:pt x="480" y="421"/>
                  </a:lnTo>
                  <a:lnTo>
                    <a:pt x="472" y="422"/>
                  </a:lnTo>
                  <a:lnTo>
                    <a:pt x="467" y="422"/>
                  </a:lnTo>
                  <a:lnTo>
                    <a:pt x="463" y="422"/>
                  </a:lnTo>
                  <a:lnTo>
                    <a:pt x="456" y="421"/>
                  </a:lnTo>
                  <a:lnTo>
                    <a:pt x="444" y="420"/>
                  </a:lnTo>
                  <a:lnTo>
                    <a:pt x="439" y="420"/>
                  </a:lnTo>
                  <a:lnTo>
                    <a:pt x="435" y="419"/>
                  </a:lnTo>
                  <a:lnTo>
                    <a:pt x="432" y="418"/>
                  </a:lnTo>
                  <a:lnTo>
                    <a:pt x="429" y="417"/>
                  </a:lnTo>
                  <a:lnTo>
                    <a:pt x="425" y="416"/>
                  </a:lnTo>
                  <a:lnTo>
                    <a:pt x="419" y="414"/>
                  </a:lnTo>
                  <a:lnTo>
                    <a:pt x="414" y="412"/>
                  </a:lnTo>
                  <a:lnTo>
                    <a:pt x="411" y="411"/>
                  </a:lnTo>
                  <a:lnTo>
                    <a:pt x="405" y="408"/>
                  </a:lnTo>
                  <a:lnTo>
                    <a:pt x="390" y="400"/>
                  </a:lnTo>
                  <a:lnTo>
                    <a:pt x="368" y="388"/>
                  </a:lnTo>
                  <a:lnTo>
                    <a:pt x="361" y="384"/>
                  </a:lnTo>
                  <a:lnTo>
                    <a:pt x="357" y="382"/>
                  </a:lnTo>
                  <a:lnTo>
                    <a:pt x="355" y="380"/>
                  </a:lnTo>
                  <a:lnTo>
                    <a:pt x="352" y="378"/>
                  </a:lnTo>
                  <a:lnTo>
                    <a:pt x="348" y="375"/>
                  </a:lnTo>
                  <a:lnTo>
                    <a:pt x="344" y="372"/>
                  </a:lnTo>
                  <a:lnTo>
                    <a:pt x="340" y="368"/>
                  </a:lnTo>
                  <a:lnTo>
                    <a:pt x="336" y="365"/>
                  </a:lnTo>
                  <a:lnTo>
                    <a:pt x="332" y="362"/>
                  </a:lnTo>
                  <a:lnTo>
                    <a:pt x="330" y="359"/>
                  </a:lnTo>
                  <a:lnTo>
                    <a:pt x="328" y="356"/>
                  </a:lnTo>
                  <a:lnTo>
                    <a:pt x="326" y="354"/>
                  </a:lnTo>
                  <a:lnTo>
                    <a:pt x="325" y="353"/>
                  </a:lnTo>
                  <a:lnTo>
                    <a:pt x="324" y="351"/>
                  </a:lnTo>
                  <a:lnTo>
                    <a:pt x="323" y="349"/>
                  </a:lnTo>
                  <a:lnTo>
                    <a:pt x="322" y="346"/>
                  </a:lnTo>
                  <a:lnTo>
                    <a:pt x="321" y="339"/>
                  </a:lnTo>
                  <a:lnTo>
                    <a:pt x="321" y="338"/>
                  </a:lnTo>
                  <a:lnTo>
                    <a:pt x="320" y="337"/>
                  </a:lnTo>
                  <a:lnTo>
                    <a:pt x="319" y="335"/>
                  </a:lnTo>
                  <a:lnTo>
                    <a:pt x="319" y="334"/>
                  </a:lnTo>
                  <a:lnTo>
                    <a:pt x="318" y="333"/>
                  </a:lnTo>
                  <a:lnTo>
                    <a:pt x="317" y="332"/>
                  </a:lnTo>
                  <a:lnTo>
                    <a:pt x="315" y="332"/>
                  </a:lnTo>
                  <a:lnTo>
                    <a:pt x="313" y="331"/>
                  </a:lnTo>
                  <a:lnTo>
                    <a:pt x="312" y="330"/>
                  </a:lnTo>
                  <a:lnTo>
                    <a:pt x="309" y="330"/>
                  </a:lnTo>
                  <a:lnTo>
                    <a:pt x="308" y="330"/>
                  </a:lnTo>
                  <a:lnTo>
                    <a:pt x="306" y="329"/>
                  </a:lnTo>
                  <a:lnTo>
                    <a:pt x="305" y="328"/>
                  </a:lnTo>
                  <a:lnTo>
                    <a:pt x="303" y="327"/>
                  </a:lnTo>
                  <a:lnTo>
                    <a:pt x="302" y="326"/>
                  </a:lnTo>
                  <a:lnTo>
                    <a:pt x="298" y="322"/>
                  </a:lnTo>
                  <a:lnTo>
                    <a:pt x="298" y="320"/>
                  </a:lnTo>
                  <a:lnTo>
                    <a:pt x="296" y="320"/>
                  </a:lnTo>
                  <a:lnTo>
                    <a:pt x="293" y="318"/>
                  </a:lnTo>
                  <a:lnTo>
                    <a:pt x="291" y="318"/>
                  </a:lnTo>
                  <a:lnTo>
                    <a:pt x="289" y="317"/>
                  </a:lnTo>
                  <a:lnTo>
                    <a:pt x="282" y="315"/>
                  </a:lnTo>
                  <a:lnTo>
                    <a:pt x="281" y="314"/>
                  </a:lnTo>
                  <a:lnTo>
                    <a:pt x="279" y="314"/>
                  </a:lnTo>
                  <a:lnTo>
                    <a:pt x="278" y="313"/>
                  </a:lnTo>
                  <a:lnTo>
                    <a:pt x="278" y="312"/>
                  </a:lnTo>
                  <a:lnTo>
                    <a:pt x="277" y="311"/>
                  </a:lnTo>
                  <a:lnTo>
                    <a:pt x="277" y="309"/>
                  </a:lnTo>
                  <a:lnTo>
                    <a:pt x="276" y="309"/>
                  </a:lnTo>
                  <a:lnTo>
                    <a:pt x="275" y="308"/>
                  </a:lnTo>
                  <a:lnTo>
                    <a:pt x="275" y="306"/>
                  </a:lnTo>
                  <a:lnTo>
                    <a:pt x="273" y="305"/>
                  </a:lnTo>
                  <a:lnTo>
                    <a:pt x="269" y="303"/>
                  </a:lnTo>
                  <a:lnTo>
                    <a:pt x="268" y="302"/>
                  </a:lnTo>
                  <a:lnTo>
                    <a:pt x="266" y="300"/>
                  </a:lnTo>
                  <a:lnTo>
                    <a:pt x="262" y="297"/>
                  </a:lnTo>
                  <a:lnTo>
                    <a:pt x="261" y="295"/>
                  </a:lnTo>
                  <a:lnTo>
                    <a:pt x="260" y="294"/>
                  </a:lnTo>
                  <a:lnTo>
                    <a:pt x="259" y="294"/>
                  </a:lnTo>
                  <a:lnTo>
                    <a:pt x="257" y="293"/>
                  </a:lnTo>
                  <a:lnTo>
                    <a:pt x="253" y="292"/>
                  </a:lnTo>
                  <a:lnTo>
                    <a:pt x="250" y="291"/>
                  </a:lnTo>
                  <a:lnTo>
                    <a:pt x="247" y="290"/>
                  </a:lnTo>
                  <a:lnTo>
                    <a:pt x="245" y="288"/>
                  </a:lnTo>
                  <a:lnTo>
                    <a:pt x="243" y="287"/>
                  </a:lnTo>
                  <a:lnTo>
                    <a:pt x="241" y="286"/>
                  </a:lnTo>
                  <a:lnTo>
                    <a:pt x="241" y="285"/>
                  </a:lnTo>
                  <a:lnTo>
                    <a:pt x="240" y="284"/>
                  </a:lnTo>
                  <a:lnTo>
                    <a:pt x="237" y="280"/>
                  </a:lnTo>
                  <a:lnTo>
                    <a:pt x="237" y="279"/>
                  </a:lnTo>
                  <a:lnTo>
                    <a:pt x="236" y="278"/>
                  </a:lnTo>
                  <a:lnTo>
                    <a:pt x="234" y="276"/>
                  </a:lnTo>
                  <a:lnTo>
                    <a:pt x="233" y="275"/>
                  </a:lnTo>
                  <a:lnTo>
                    <a:pt x="232" y="275"/>
                  </a:lnTo>
                  <a:lnTo>
                    <a:pt x="230" y="275"/>
                  </a:lnTo>
                  <a:lnTo>
                    <a:pt x="230" y="274"/>
                  </a:lnTo>
                  <a:lnTo>
                    <a:pt x="229" y="274"/>
                  </a:lnTo>
                  <a:lnTo>
                    <a:pt x="226" y="273"/>
                  </a:lnTo>
                  <a:lnTo>
                    <a:pt x="218" y="273"/>
                  </a:lnTo>
                  <a:lnTo>
                    <a:pt x="213" y="273"/>
                  </a:lnTo>
                  <a:lnTo>
                    <a:pt x="207" y="274"/>
                  </a:lnTo>
                  <a:lnTo>
                    <a:pt x="202" y="274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1" y="276"/>
                  </a:lnTo>
                  <a:lnTo>
                    <a:pt x="189" y="277"/>
                  </a:lnTo>
                  <a:lnTo>
                    <a:pt x="187" y="277"/>
                  </a:lnTo>
                  <a:lnTo>
                    <a:pt x="185" y="279"/>
                  </a:lnTo>
                  <a:lnTo>
                    <a:pt x="182" y="281"/>
                  </a:lnTo>
                  <a:lnTo>
                    <a:pt x="173" y="287"/>
                  </a:lnTo>
                  <a:lnTo>
                    <a:pt x="170" y="289"/>
                  </a:lnTo>
                  <a:lnTo>
                    <a:pt x="168" y="290"/>
                  </a:lnTo>
                  <a:lnTo>
                    <a:pt x="165" y="291"/>
                  </a:lnTo>
                  <a:lnTo>
                    <a:pt x="163" y="292"/>
                  </a:lnTo>
                  <a:lnTo>
                    <a:pt x="162" y="293"/>
                  </a:lnTo>
                  <a:lnTo>
                    <a:pt x="159" y="293"/>
                  </a:lnTo>
                  <a:lnTo>
                    <a:pt x="155" y="294"/>
                  </a:lnTo>
                  <a:lnTo>
                    <a:pt x="152" y="294"/>
                  </a:lnTo>
                  <a:lnTo>
                    <a:pt x="148" y="294"/>
                  </a:lnTo>
                  <a:lnTo>
                    <a:pt x="144" y="294"/>
                  </a:lnTo>
                  <a:lnTo>
                    <a:pt x="138" y="293"/>
                  </a:lnTo>
                  <a:lnTo>
                    <a:pt x="122" y="291"/>
                  </a:lnTo>
                  <a:lnTo>
                    <a:pt x="118" y="290"/>
                  </a:lnTo>
                  <a:lnTo>
                    <a:pt x="116" y="289"/>
                  </a:lnTo>
                  <a:lnTo>
                    <a:pt x="114" y="288"/>
                  </a:lnTo>
                  <a:lnTo>
                    <a:pt x="110" y="286"/>
                  </a:lnTo>
                  <a:lnTo>
                    <a:pt x="106" y="284"/>
                  </a:lnTo>
                  <a:lnTo>
                    <a:pt x="103" y="281"/>
                  </a:lnTo>
                  <a:lnTo>
                    <a:pt x="100" y="278"/>
                  </a:lnTo>
                  <a:lnTo>
                    <a:pt x="89" y="269"/>
                  </a:lnTo>
                  <a:lnTo>
                    <a:pt x="86" y="266"/>
                  </a:lnTo>
                  <a:lnTo>
                    <a:pt x="83" y="264"/>
                  </a:lnTo>
                  <a:lnTo>
                    <a:pt x="81" y="263"/>
                  </a:lnTo>
                  <a:lnTo>
                    <a:pt x="78" y="261"/>
                  </a:lnTo>
                  <a:lnTo>
                    <a:pt x="69" y="257"/>
                  </a:lnTo>
                  <a:lnTo>
                    <a:pt x="61" y="252"/>
                  </a:lnTo>
                  <a:lnTo>
                    <a:pt x="58" y="251"/>
                  </a:lnTo>
                  <a:lnTo>
                    <a:pt x="54" y="249"/>
                  </a:lnTo>
                  <a:lnTo>
                    <a:pt x="50" y="248"/>
                  </a:lnTo>
                  <a:lnTo>
                    <a:pt x="46" y="247"/>
                  </a:lnTo>
                  <a:lnTo>
                    <a:pt x="30" y="244"/>
                  </a:lnTo>
                  <a:lnTo>
                    <a:pt x="26" y="243"/>
                  </a:lnTo>
                  <a:lnTo>
                    <a:pt x="22" y="242"/>
                  </a:lnTo>
                  <a:lnTo>
                    <a:pt x="17" y="241"/>
                  </a:lnTo>
                  <a:lnTo>
                    <a:pt x="14" y="240"/>
                  </a:lnTo>
                  <a:lnTo>
                    <a:pt x="0" y="234"/>
                  </a:lnTo>
                  <a:lnTo>
                    <a:pt x="0" y="231"/>
                  </a:lnTo>
                  <a:lnTo>
                    <a:pt x="2" y="229"/>
                  </a:lnTo>
                  <a:lnTo>
                    <a:pt x="5" y="219"/>
                  </a:lnTo>
                  <a:lnTo>
                    <a:pt x="6" y="218"/>
                  </a:lnTo>
                  <a:lnTo>
                    <a:pt x="7" y="217"/>
                  </a:lnTo>
                  <a:lnTo>
                    <a:pt x="7" y="216"/>
                  </a:lnTo>
                  <a:lnTo>
                    <a:pt x="9" y="216"/>
                  </a:lnTo>
                  <a:lnTo>
                    <a:pt x="11" y="215"/>
                  </a:lnTo>
                  <a:lnTo>
                    <a:pt x="12" y="214"/>
                  </a:lnTo>
                  <a:lnTo>
                    <a:pt x="14" y="212"/>
                  </a:lnTo>
                  <a:lnTo>
                    <a:pt x="16" y="211"/>
                  </a:lnTo>
                  <a:lnTo>
                    <a:pt x="16" y="210"/>
                  </a:lnTo>
                  <a:lnTo>
                    <a:pt x="17" y="210"/>
                  </a:lnTo>
                  <a:lnTo>
                    <a:pt x="16" y="210"/>
                  </a:lnTo>
                  <a:lnTo>
                    <a:pt x="15" y="209"/>
                  </a:lnTo>
                  <a:lnTo>
                    <a:pt x="15" y="208"/>
                  </a:lnTo>
                  <a:lnTo>
                    <a:pt x="15" y="207"/>
                  </a:lnTo>
                  <a:lnTo>
                    <a:pt x="15" y="207"/>
                  </a:lnTo>
                  <a:lnTo>
                    <a:pt x="18" y="204"/>
                  </a:lnTo>
                  <a:lnTo>
                    <a:pt x="19" y="203"/>
                  </a:lnTo>
                  <a:lnTo>
                    <a:pt x="20" y="200"/>
                  </a:lnTo>
                  <a:lnTo>
                    <a:pt x="20" y="199"/>
                  </a:lnTo>
                  <a:lnTo>
                    <a:pt x="20" y="196"/>
                  </a:lnTo>
                  <a:lnTo>
                    <a:pt x="21" y="196"/>
                  </a:lnTo>
                  <a:lnTo>
                    <a:pt x="22" y="196"/>
                  </a:lnTo>
                  <a:lnTo>
                    <a:pt x="25" y="195"/>
                  </a:lnTo>
                  <a:lnTo>
                    <a:pt x="26" y="195"/>
                  </a:lnTo>
                  <a:lnTo>
                    <a:pt x="27" y="194"/>
                  </a:lnTo>
                  <a:lnTo>
                    <a:pt x="28" y="194"/>
                  </a:lnTo>
                  <a:lnTo>
                    <a:pt x="29" y="193"/>
                  </a:lnTo>
                  <a:lnTo>
                    <a:pt x="33" y="189"/>
                  </a:lnTo>
                  <a:lnTo>
                    <a:pt x="34" y="187"/>
                  </a:lnTo>
                  <a:lnTo>
                    <a:pt x="34" y="186"/>
                  </a:lnTo>
                  <a:lnTo>
                    <a:pt x="34" y="185"/>
                  </a:lnTo>
                  <a:lnTo>
                    <a:pt x="35" y="184"/>
                  </a:lnTo>
                  <a:lnTo>
                    <a:pt x="37" y="184"/>
                  </a:lnTo>
                  <a:lnTo>
                    <a:pt x="38" y="183"/>
                  </a:lnTo>
                  <a:lnTo>
                    <a:pt x="40" y="182"/>
                  </a:lnTo>
                  <a:lnTo>
                    <a:pt x="44" y="181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50" y="181"/>
                  </a:lnTo>
                  <a:lnTo>
                    <a:pt x="52" y="181"/>
                  </a:lnTo>
                  <a:lnTo>
                    <a:pt x="54" y="182"/>
                  </a:lnTo>
                  <a:lnTo>
                    <a:pt x="56" y="183"/>
                  </a:lnTo>
                  <a:lnTo>
                    <a:pt x="59" y="184"/>
                  </a:lnTo>
                  <a:lnTo>
                    <a:pt x="63" y="188"/>
                  </a:lnTo>
                  <a:lnTo>
                    <a:pt x="64" y="189"/>
                  </a:lnTo>
                  <a:lnTo>
                    <a:pt x="66" y="190"/>
                  </a:lnTo>
                  <a:lnTo>
                    <a:pt x="68" y="191"/>
                  </a:lnTo>
                  <a:lnTo>
                    <a:pt x="71" y="191"/>
                  </a:lnTo>
                  <a:lnTo>
                    <a:pt x="73" y="192"/>
                  </a:lnTo>
                  <a:lnTo>
                    <a:pt x="76" y="192"/>
                  </a:lnTo>
                  <a:lnTo>
                    <a:pt x="77" y="192"/>
                  </a:lnTo>
                  <a:lnTo>
                    <a:pt x="78" y="192"/>
                  </a:lnTo>
                  <a:lnTo>
                    <a:pt x="80" y="191"/>
                  </a:lnTo>
                  <a:lnTo>
                    <a:pt x="82" y="190"/>
                  </a:lnTo>
                  <a:lnTo>
                    <a:pt x="82" y="188"/>
                  </a:lnTo>
                  <a:lnTo>
                    <a:pt x="84" y="186"/>
                  </a:lnTo>
                  <a:lnTo>
                    <a:pt x="86" y="184"/>
                  </a:lnTo>
                  <a:lnTo>
                    <a:pt x="87" y="183"/>
                  </a:lnTo>
                  <a:lnTo>
                    <a:pt x="91" y="179"/>
                  </a:lnTo>
                  <a:lnTo>
                    <a:pt x="94" y="173"/>
                  </a:lnTo>
                  <a:lnTo>
                    <a:pt x="95" y="172"/>
                  </a:lnTo>
                  <a:lnTo>
                    <a:pt x="97" y="171"/>
                  </a:lnTo>
                  <a:lnTo>
                    <a:pt x="98" y="170"/>
                  </a:lnTo>
                  <a:lnTo>
                    <a:pt x="99" y="169"/>
                  </a:lnTo>
                  <a:lnTo>
                    <a:pt x="100" y="169"/>
                  </a:lnTo>
                  <a:lnTo>
                    <a:pt x="102" y="168"/>
                  </a:lnTo>
                  <a:lnTo>
                    <a:pt x="105" y="168"/>
                  </a:lnTo>
                  <a:lnTo>
                    <a:pt x="115" y="166"/>
                  </a:lnTo>
                  <a:lnTo>
                    <a:pt x="117" y="166"/>
                  </a:lnTo>
                  <a:lnTo>
                    <a:pt x="120" y="166"/>
                  </a:lnTo>
                  <a:lnTo>
                    <a:pt x="123" y="167"/>
                  </a:lnTo>
                  <a:lnTo>
                    <a:pt x="125" y="168"/>
                  </a:lnTo>
                  <a:lnTo>
                    <a:pt x="128" y="169"/>
                  </a:lnTo>
                  <a:lnTo>
                    <a:pt x="131" y="171"/>
                  </a:lnTo>
                  <a:lnTo>
                    <a:pt x="134" y="172"/>
                  </a:lnTo>
                  <a:lnTo>
                    <a:pt x="139" y="175"/>
                  </a:lnTo>
                  <a:lnTo>
                    <a:pt x="140" y="176"/>
                  </a:lnTo>
                  <a:lnTo>
                    <a:pt x="142" y="177"/>
                  </a:lnTo>
                  <a:lnTo>
                    <a:pt x="143" y="177"/>
                  </a:lnTo>
                  <a:lnTo>
                    <a:pt x="145" y="178"/>
                  </a:lnTo>
                  <a:lnTo>
                    <a:pt x="146" y="178"/>
                  </a:lnTo>
                  <a:lnTo>
                    <a:pt x="148" y="177"/>
                  </a:lnTo>
                  <a:lnTo>
                    <a:pt x="149" y="176"/>
                  </a:lnTo>
                  <a:lnTo>
                    <a:pt x="150" y="175"/>
                  </a:lnTo>
                  <a:lnTo>
                    <a:pt x="151" y="173"/>
                  </a:lnTo>
                  <a:lnTo>
                    <a:pt x="155" y="168"/>
                  </a:lnTo>
                  <a:lnTo>
                    <a:pt x="158" y="165"/>
                  </a:lnTo>
                  <a:lnTo>
                    <a:pt x="159" y="163"/>
                  </a:lnTo>
                  <a:lnTo>
                    <a:pt x="162" y="160"/>
                  </a:lnTo>
                  <a:lnTo>
                    <a:pt x="167" y="155"/>
                  </a:lnTo>
                  <a:lnTo>
                    <a:pt x="169" y="153"/>
                  </a:lnTo>
                  <a:lnTo>
                    <a:pt x="171" y="151"/>
                  </a:lnTo>
                  <a:lnTo>
                    <a:pt x="173" y="150"/>
                  </a:lnTo>
                  <a:lnTo>
                    <a:pt x="175" y="149"/>
                  </a:lnTo>
                  <a:lnTo>
                    <a:pt x="182" y="145"/>
                  </a:lnTo>
                  <a:lnTo>
                    <a:pt x="184" y="144"/>
                  </a:lnTo>
                  <a:lnTo>
                    <a:pt x="187" y="141"/>
                  </a:lnTo>
                  <a:lnTo>
                    <a:pt x="190" y="139"/>
                  </a:lnTo>
                  <a:lnTo>
                    <a:pt x="193" y="137"/>
                  </a:lnTo>
                  <a:lnTo>
                    <a:pt x="197" y="132"/>
                  </a:lnTo>
                  <a:lnTo>
                    <a:pt x="199" y="129"/>
                  </a:lnTo>
                  <a:lnTo>
                    <a:pt x="202" y="125"/>
                  </a:lnTo>
                  <a:lnTo>
                    <a:pt x="204" y="123"/>
                  </a:lnTo>
                  <a:lnTo>
                    <a:pt x="205" y="122"/>
                  </a:lnTo>
                  <a:lnTo>
                    <a:pt x="207" y="120"/>
                  </a:lnTo>
                  <a:lnTo>
                    <a:pt x="210" y="117"/>
                  </a:lnTo>
                  <a:lnTo>
                    <a:pt x="214" y="116"/>
                  </a:lnTo>
                  <a:lnTo>
                    <a:pt x="217" y="114"/>
                  </a:lnTo>
                  <a:lnTo>
                    <a:pt x="224" y="112"/>
                  </a:lnTo>
                  <a:lnTo>
                    <a:pt x="228" y="111"/>
                  </a:lnTo>
                  <a:lnTo>
                    <a:pt x="232" y="110"/>
                  </a:lnTo>
                  <a:lnTo>
                    <a:pt x="238" y="109"/>
                  </a:lnTo>
                  <a:lnTo>
                    <a:pt x="241" y="109"/>
                  </a:lnTo>
                  <a:lnTo>
                    <a:pt x="247" y="109"/>
                  </a:lnTo>
                  <a:lnTo>
                    <a:pt x="250" y="109"/>
                  </a:lnTo>
                  <a:lnTo>
                    <a:pt x="252" y="108"/>
                  </a:lnTo>
                  <a:lnTo>
                    <a:pt x="253" y="108"/>
                  </a:lnTo>
                  <a:lnTo>
                    <a:pt x="254" y="107"/>
                  </a:lnTo>
                  <a:lnTo>
                    <a:pt x="255" y="106"/>
                  </a:lnTo>
                  <a:lnTo>
                    <a:pt x="257" y="105"/>
                  </a:lnTo>
                  <a:lnTo>
                    <a:pt x="258" y="103"/>
                  </a:lnTo>
                  <a:lnTo>
                    <a:pt x="259" y="102"/>
                  </a:lnTo>
                  <a:lnTo>
                    <a:pt x="260" y="99"/>
                  </a:lnTo>
                  <a:lnTo>
                    <a:pt x="263" y="94"/>
                  </a:lnTo>
                  <a:lnTo>
                    <a:pt x="264" y="89"/>
                  </a:lnTo>
                  <a:lnTo>
                    <a:pt x="265" y="87"/>
                  </a:lnTo>
                  <a:lnTo>
                    <a:pt x="266" y="85"/>
                  </a:lnTo>
                  <a:lnTo>
                    <a:pt x="267" y="84"/>
                  </a:lnTo>
                  <a:lnTo>
                    <a:pt x="269" y="83"/>
                  </a:lnTo>
                  <a:lnTo>
                    <a:pt x="270" y="82"/>
                  </a:lnTo>
                  <a:lnTo>
                    <a:pt x="271" y="82"/>
                  </a:lnTo>
                  <a:lnTo>
                    <a:pt x="272" y="82"/>
                  </a:lnTo>
                  <a:lnTo>
                    <a:pt x="273" y="82"/>
                  </a:lnTo>
                  <a:lnTo>
                    <a:pt x="275" y="82"/>
                  </a:lnTo>
                  <a:lnTo>
                    <a:pt x="276" y="82"/>
                  </a:lnTo>
                  <a:lnTo>
                    <a:pt x="282" y="82"/>
                  </a:lnTo>
                  <a:lnTo>
                    <a:pt x="284" y="82"/>
                  </a:lnTo>
                  <a:lnTo>
                    <a:pt x="286" y="82"/>
                  </a:lnTo>
                  <a:lnTo>
                    <a:pt x="287" y="82"/>
                  </a:lnTo>
                  <a:lnTo>
                    <a:pt x="288" y="82"/>
                  </a:lnTo>
                  <a:lnTo>
                    <a:pt x="290" y="82"/>
                  </a:lnTo>
                  <a:lnTo>
                    <a:pt x="291" y="81"/>
                  </a:lnTo>
                  <a:lnTo>
                    <a:pt x="293" y="80"/>
                  </a:lnTo>
                  <a:lnTo>
                    <a:pt x="295" y="78"/>
                  </a:lnTo>
                  <a:lnTo>
                    <a:pt x="297" y="77"/>
                  </a:lnTo>
                  <a:lnTo>
                    <a:pt x="299" y="74"/>
                  </a:lnTo>
                  <a:lnTo>
                    <a:pt x="304" y="69"/>
                  </a:lnTo>
                  <a:lnTo>
                    <a:pt x="305" y="68"/>
                  </a:lnTo>
                  <a:lnTo>
                    <a:pt x="306" y="67"/>
                  </a:lnTo>
                  <a:lnTo>
                    <a:pt x="308" y="66"/>
                  </a:lnTo>
                  <a:lnTo>
                    <a:pt x="309" y="65"/>
                  </a:lnTo>
                  <a:lnTo>
                    <a:pt x="314" y="63"/>
                  </a:lnTo>
                  <a:lnTo>
                    <a:pt x="317" y="62"/>
                  </a:lnTo>
                  <a:lnTo>
                    <a:pt x="319" y="61"/>
                  </a:lnTo>
                  <a:lnTo>
                    <a:pt x="321" y="61"/>
                  </a:lnTo>
                  <a:lnTo>
                    <a:pt x="322" y="61"/>
                  </a:lnTo>
                  <a:lnTo>
                    <a:pt x="323" y="62"/>
                  </a:lnTo>
                  <a:lnTo>
                    <a:pt x="324" y="62"/>
                  </a:lnTo>
                  <a:lnTo>
                    <a:pt x="326" y="64"/>
                  </a:lnTo>
                  <a:lnTo>
                    <a:pt x="328" y="65"/>
                  </a:lnTo>
                  <a:lnTo>
                    <a:pt x="330" y="68"/>
                  </a:lnTo>
                  <a:lnTo>
                    <a:pt x="332" y="71"/>
                  </a:lnTo>
                  <a:lnTo>
                    <a:pt x="333" y="72"/>
                  </a:lnTo>
                  <a:lnTo>
                    <a:pt x="334" y="74"/>
                  </a:lnTo>
                  <a:lnTo>
                    <a:pt x="336" y="76"/>
                  </a:lnTo>
                  <a:lnTo>
                    <a:pt x="343" y="80"/>
                  </a:lnTo>
                  <a:lnTo>
                    <a:pt x="344" y="82"/>
                  </a:lnTo>
                  <a:lnTo>
                    <a:pt x="346" y="82"/>
                  </a:lnTo>
                  <a:lnTo>
                    <a:pt x="348" y="82"/>
                  </a:lnTo>
                  <a:lnTo>
                    <a:pt x="351" y="83"/>
                  </a:lnTo>
                  <a:lnTo>
                    <a:pt x="353" y="84"/>
                  </a:lnTo>
                  <a:lnTo>
                    <a:pt x="355" y="84"/>
                  </a:lnTo>
                  <a:lnTo>
                    <a:pt x="358" y="84"/>
                  </a:lnTo>
                  <a:lnTo>
                    <a:pt x="361" y="84"/>
                  </a:lnTo>
                  <a:lnTo>
                    <a:pt x="364" y="83"/>
                  </a:lnTo>
                  <a:lnTo>
                    <a:pt x="366" y="82"/>
                  </a:lnTo>
                  <a:lnTo>
                    <a:pt x="369" y="82"/>
                  </a:lnTo>
                  <a:lnTo>
                    <a:pt x="374" y="79"/>
                  </a:lnTo>
                  <a:lnTo>
                    <a:pt x="376" y="77"/>
                  </a:lnTo>
                  <a:lnTo>
                    <a:pt x="379" y="74"/>
                  </a:lnTo>
                  <a:lnTo>
                    <a:pt x="380" y="73"/>
                  </a:lnTo>
                  <a:lnTo>
                    <a:pt x="382" y="72"/>
                  </a:lnTo>
                  <a:lnTo>
                    <a:pt x="384" y="72"/>
                  </a:lnTo>
                  <a:lnTo>
                    <a:pt x="386" y="72"/>
                  </a:lnTo>
                  <a:lnTo>
                    <a:pt x="388" y="72"/>
                  </a:lnTo>
                  <a:lnTo>
                    <a:pt x="394" y="73"/>
                  </a:lnTo>
                  <a:lnTo>
                    <a:pt x="397" y="74"/>
                  </a:lnTo>
                  <a:lnTo>
                    <a:pt x="402" y="75"/>
                  </a:lnTo>
                  <a:lnTo>
                    <a:pt x="405" y="76"/>
                  </a:lnTo>
                  <a:lnTo>
                    <a:pt x="411" y="77"/>
                  </a:lnTo>
                  <a:lnTo>
                    <a:pt x="416" y="78"/>
                  </a:lnTo>
                  <a:lnTo>
                    <a:pt x="419" y="78"/>
                  </a:lnTo>
                  <a:lnTo>
                    <a:pt x="421" y="78"/>
                  </a:lnTo>
                  <a:lnTo>
                    <a:pt x="426" y="76"/>
                  </a:lnTo>
                  <a:lnTo>
                    <a:pt x="436" y="74"/>
                  </a:lnTo>
                  <a:lnTo>
                    <a:pt x="442" y="73"/>
                  </a:lnTo>
                  <a:lnTo>
                    <a:pt x="444" y="73"/>
                  </a:lnTo>
                  <a:lnTo>
                    <a:pt x="446" y="72"/>
                  </a:lnTo>
                  <a:lnTo>
                    <a:pt x="447" y="72"/>
                  </a:lnTo>
                  <a:lnTo>
                    <a:pt x="448" y="71"/>
                  </a:lnTo>
                  <a:lnTo>
                    <a:pt x="456" y="67"/>
                  </a:lnTo>
                  <a:lnTo>
                    <a:pt x="457" y="65"/>
                  </a:lnTo>
                  <a:lnTo>
                    <a:pt x="458" y="64"/>
                  </a:lnTo>
                  <a:lnTo>
                    <a:pt x="459" y="63"/>
                  </a:lnTo>
                  <a:lnTo>
                    <a:pt x="460" y="61"/>
                  </a:lnTo>
                  <a:lnTo>
                    <a:pt x="460" y="60"/>
                  </a:lnTo>
                  <a:lnTo>
                    <a:pt x="460" y="58"/>
                  </a:lnTo>
                  <a:lnTo>
                    <a:pt x="460" y="52"/>
                  </a:lnTo>
                  <a:lnTo>
                    <a:pt x="460" y="50"/>
                  </a:lnTo>
                  <a:lnTo>
                    <a:pt x="460" y="48"/>
                  </a:lnTo>
                  <a:lnTo>
                    <a:pt x="461" y="47"/>
                  </a:lnTo>
                  <a:lnTo>
                    <a:pt x="462" y="45"/>
                  </a:lnTo>
                  <a:lnTo>
                    <a:pt x="464" y="43"/>
                  </a:lnTo>
                  <a:lnTo>
                    <a:pt x="465" y="41"/>
                  </a:lnTo>
                  <a:lnTo>
                    <a:pt x="468" y="40"/>
                  </a:lnTo>
                  <a:lnTo>
                    <a:pt x="470" y="38"/>
                  </a:lnTo>
                  <a:lnTo>
                    <a:pt x="474" y="37"/>
                  </a:lnTo>
                  <a:lnTo>
                    <a:pt x="478" y="36"/>
                  </a:lnTo>
                  <a:lnTo>
                    <a:pt x="480" y="36"/>
                  </a:lnTo>
                  <a:lnTo>
                    <a:pt x="482" y="35"/>
                  </a:lnTo>
                  <a:lnTo>
                    <a:pt x="485" y="35"/>
                  </a:lnTo>
                  <a:lnTo>
                    <a:pt x="492" y="35"/>
                  </a:lnTo>
                  <a:lnTo>
                    <a:pt x="503" y="33"/>
                  </a:lnTo>
                  <a:lnTo>
                    <a:pt x="508" y="32"/>
                  </a:lnTo>
                  <a:lnTo>
                    <a:pt x="511" y="31"/>
                  </a:lnTo>
                  <a:lnTo>
                    <a:pt x="514" y="30"/>
                  </a:lnTo>
                  <a:lnTo>
                    <a:pt x="515" y="29"/>
                  </a:lnTo>
                  <a:lnTo>
                    <a:pt x="517" y="27"/>
                  </a:lnTo>
                  <a:lnTo>
                    <a:pt x="520" y="26"/>
                  </a:lnTo>
                  <a:lnTo>
                    <a:pt x="522" y="24"/>
                  </a:lnTo>
                  <a:lnTo>
                    <a:pt x="524" y="21"/>
                  </a:lnTo>
                  <a:lnTo>
                    <a:pt x="525" y="19"/>
                  </a:lnTo>
                  <a:lnTo>
                    <a:pt x="526" y="16"/>
                  </a:lnTo>
                  <a:lnTo>
                    <a:pt x="530" y="10"/>
                  </a:lnTo>
                  <a:lnTo>
                    <a:pt x="531" y="8"/>
                  </a:lnTo>
                  <a:lnTo>
                    <a:pt x="532" y="6"/>
                  </a:lnTo>
                  <a:lnTo>
                    <a:pt x="534" y="4"/>
                  </a:lnTo>
                  <a:lnTo>
                    <a:pt x="536" y="3"/>
                  </a:lnTo>
                  <a:lnTo>
                    <a:pt x="537" y="2"/>
                  </a:lnTo>
                  <a:lnTo>
                    <a:pt x="538" y="1"/>
                  </a:lnTo>
                  <a:lnTo>
                    <a:pt x="539" y="1"/>
                  </a:lnTo>
                  <a:lnTo>
                    <a:pt x="540" y="1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2" name="Freeform 69">
              <a:extLst>
                <a:ext uri="{FF2B5EF4-FFF2-40B4-BE49-F238E27FC236}">
                  <a16:creationId xmlns:a16="http://schemas.microsoft.com/office/drawing/2014/main" id="{4B4C9BD8-56DB-43D2-B649-ECD95D53AC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" y="1677"/>
              <a:ext cx="430" cy="404"/>
            </a:xfrm>
            <a:custGeom>
              <a:avLst/>
              <a:gdLst>
                <a:gd name="T0" fmla="*/ 48 w 430"/>
                <a:gd name="T1" fmla="*/ 13 h 404"/>
                <a:gd name="T2" fmla="*/ 80 w 430"/>
                <a:gd name="T3" fmla="*/ 29 h 404"/>
                <a:gd name="T4" fmla="*/ 103 w 430"/>
                <a:gd name="T5" fmla="*/ 31 h 404"/>
                <a:gd name="T6" fmla="*/ 143 w 430"/>
                <a:gd name="T7" fmla="*/ 45 h 404"/>
                <a:gd name="T8" fmla="*/ 174 w 430"/>
                <a:gd name="T9" fmla="*/ 51 h 404"/>
                <a:gd name="T10" fmla="*/ 202 w 430"/>
                <a:gd name="T11" fmla="*/ 67 h 404"/>
                <a:gd name="T12" fmla="*/ 219 w 430"/>
                <a:gd name="T13" fmla="*/ 71 h 404"/>
                <a:gd name="T14" fmla="*/ 243 w 430"/>
                <a:gd name="T15" fmla="*/ 71 h 404"/>
                <a:gd name="T16" fmla="*/ 251 w 430"/>
                <a:gd name="T17" fmla="*/ 79 h 404"/>
                <a:gd name="T18" fmla="*/ 268 w 430"/>
                <a:gd name="T19" fmla="*/ 110 h 404"/>
                <a:gd name="T20" fmla="*/ 288 w 430"/>
                <a:gd name="T21" fmla="*/ 129 h 404"/>
                <a:gd name="T22" fmla="*/ 310 w 430"/>
                <a:gd name="T23" fmla="*/ 140 h 404"/>
                <a:gd name="T24" fmla="*/ 326 w 430"/>
                <a:gd name="T25" fmla="*/ 143 h 404"/>
                <a:gd name="T26" fmla="*/ 351 w 430"/>
                <a:gd name="T27" fmla="*/ 139 h 404"/>
                <a:gd name="T28" fmla="*/ 359 w 430"/>
                <a:gd name="T29" fmla="*/ 140 h 404"/>
                <a:gd name="T30" fmla="*/ 366 w 430"/>
                <a:gd name="T31" fmla="*/ 159 h 404"/>
                <a:gd name="T32" fmla="*/ 365 w 430"/>
                <a:gd name="T33" fmla="*/ 191 h 404"/>
                <a:gd name="T34" fmla="*/ 370 w 430"/>
                <a:gd name="T35" fmla="*/ 201 h 404"/>
                <a:gd name="T36" fmla="*/ 377 w 430"/>
                <a:gd name="T37" fmla="*/ 201 h 404"/>
                <a:gd name="T38" fmla="*/ 390 w 430"/>
                <a:gd name="T39" fmla="*/ 192 h 404"/>
                <a:gd name="T40" fmla="*/ 406 w 430"/>
                <a:gd name="T41" fmla="*/ 193 h 404"/>
                <a:gd name="T42" fmla="*/ 422 w 430"/>
                <a:gd name="T43" fmla="*/ 202 h 404"/>
                <a:gd name="T44" fmla="*/ 429 w 430"/>
                <a:gd name="T45" fmla="*/ 214 h 404"/>
                <a:gd name="T46" fmla="*/ 428 w 430"/>
                <a:gd name="T47" fmla="*/ 247 h 404"/>
                <a:gd name="T48" fmla="*/ 423 w 430"/>
                <a:gd name="T49" fmla="*/ 266 h 404"/>
                <a:gd name="T50" fmla="*/ 415 w 430"/>
                <a:gd name="T51" fmla="*/ 270 h 404"/>
                <a:gd name="T52" fmla="*/ 396 w 430"/>
                <a:gd name="T53" fmla="*/ 267 h 404"/>
                <a:gd name="T54" fmla="*/ 380 w 430"/>
                <a:gd name="T55" fmla="*/ 279 h 404"/>
                <a:gd name="T56" fmla="*/ 359 w 430"/>
                <a:gd name="T57" fmla="*/ 298 h 404"/>
                <a:gd name="T58" fmla="*/ 341 w 430"/>
                <a:gd name="T59" fmla="*/ 308 h 404"/>
                <a:gd name="T60" fmla="*/ 321 w 430"/>
                <a:gd name="T61" fmla="*/ 327 h 404"/>
                <a:gd name="T62" fmla="*/ 294 w 430"/>
                <a:gd name="T63" fmla="*/ 363 h 404"/>
                <a:gd name="T64" fmla="*/ 287 w 430"/>
                <a:gd name="T65" fmla="*/ 391 h 404"/>
                <a:gd name="T66" fmla="*/ 277 w 430"/>
                <a:gd name="T67" fmla="*/ 404 h 404"/>
                <a:gd name="T68" fmla="*/ 256 w 430"/>
                <a:gd name="T69" fmla="*/ 397 h 404"/>
                <a:gd name="T70" fmla="*/ 230 w 430"/>
                <a:gd name="T71" fmla="*/ 379 h 404"/>
                <a:gd name="T72" fmla="*/ 210 w 430"/>
                <a:gd name="T73" fmla="*/ 352 h 404"/>
                <a:gd name="T74" fmla="*/ 196 w 430"/>
                <a:gd name="T75" fmla="*/ 341 h 404"/>
                <a:gd name="T76" fmla="*/ 162 w 430"/>
                <a:gd name="T77" fmla="*/ 339 h 404"/>
                <a:gd name="T78" fmla="*/ 147 w 430"/>
                <a:gd name="T79" fmla="*/ 333 h 404"/>
                <a:gd name="T80" fmla="*/ 128 w 430"/>
                <a:gd name="T81" fmla="*/ 307 h 404"/>
                <a:gd name="T82" fmla="*/ 117 w 430"/>
                <a:gd name="T83" fmla="*/ 270 h 404"/>
                <a:gd name="T84" fmla="*/ 118 w 430"/>
                <a:gd name="T85" fmla="*/ 257 h 404"/>
                <a:gd name="T86" fmla="*/ 113 w 430"/>
                <a:gd name="T87" fmla="*/ 226 h 404"/>
                <a:gd name="T88" fmla="*/ 115 w 430"/>
                <a:gd name="T89" fmla="*/ 199 h 404"/>
                <a:gd name="T90" fmla="*/ 104 w 430"/>
                <a:gd name="T91" fmla="*/ 178 h 404"/>
                <a:gd name="T92" fmla="*/ 77 w 430"/>
                <a:gd name="T93" fmla="*/ 161 h 404"/>
                <a:gd name="T94" fmla="*/ 60 w 430"/>
                <a:gd name="T95" fmla="*/ 149 h 404"/>
                <a:gd name="T96" fmla="*/ 45 w 430"/>
                <a:gd name="T97" fmla="*/ 114 h 404"/>
                <a:gd name="T98" fmla="*/ 32 w 430"/>
                <a:gd name="T99" fmla="*/ 79 h 404"/>
                <a:gd name="T100" fmla="*/ 18 w 430"/>
                <a:gd name="T101" fmla="*/ 65 h 404"/>
                <a:gd name="T102" fmla="*/ 1 w 430"/>
                <a:gd name="T103" fmla="*/ 48 h 404"/>
                <a:gd name="T104" fmla="*/ 2 w 430"/>
                <a:gd name="T105" fmla="*/ 31 h 404"/>
                <a:gd name="T106" fmla="*/ 15 w 430"/>
                <a:gd name="T107" fmla="*/ 10 h 404"/>
                <a:gd name="T108" fmla="*/ 29 w 430"/>
                <a:gd name="T109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0" h="404">
                  <a:moveTo>
                    <a:pt x="29" y="0"/>
                  </a:moveTo>
                  <a:lnTo>
                    <a:pt x="30" y="1"/>
                  </a:lnTo>
                  <a:lnTo>
                    <a:pt x="33" y="3"/>
                  </a:lnTo>
                  <a:lnTo>
                    <a:pt x="37" y="7"/>
                  </a:lnTo>
                  <a:lnTo>
                    <a:pt x="42" y="10"/>
                  </a:lnTo>
                  <a:lnTo>
                    <a:pt x="48" y="13"/>
                  </a:lnTo>
                  <a:lnTo>
                    <a:pt x="60" y="20"/>
                  </a:lnTo>
                  <a:lnTo>
                    <a:pt x="66" y="23"/>
                  </a:lnTo>
                  <a:lnTo>
                    <a:pt x="72" y="26"/>
                  </a:lnTo>
                  <a:lnTo>
                    <a:pt x="74" y="27"/>
                  </a:lnTo>
                  <a:lnTo>
                    <a:pt x="77" y="28"/>
                  </a:lnTo>
                  <a:lnTo>
                    <a:pt x="80" y="29"/>
                  </a:lnTo>
                  <a:lnTo>
                    <a:pt x="82" y="30"/>
                  </a:lnTo>
                  <a:lnTo>
                    <a:pt x="86" y="30"/>
                  </a:lnTo>
                  <a:lnTo>
                    <a:pt x="94" y="30"/>
                  </a:lnTo>
                  <a:lnTo>
                    <a:pt x="96" y="30"/>
                  </a:lnTo>
                  <a:lnTo>
                    <a:pt x="99" y="30"/>
                  </a:lnTo>
                  <a:lnTo>
                    <a:pt x="103" y="31"/>
                  </a:lnTo>
                  <a:lnTo>
                    <a:pt x="113" y="34"/>
                  </a:lnTo>
                  <a:lnTo>
                    <a:pt x="116" y="34"/>
                  </a:lnTo>
                  <a:lnTo>
                    <a:pt x="119" y="35"/>
                  </a:lnTo>
                  <a:lnTo>
                    <a:pt x="135" y="42"/>
                  </a:lnTo>
                  <a:lnTo>
                    <a:pt x="139" y="44"/>
                  </a:lnTo>
                  <a:lnTo>
                    <a:pt x="143" y="45"/>
                  </a:lnTo>
                  <a:lnTo>
                    <a:pt x="149" y="46"/>
                  </a:lnTo>
                  <a:lnTo>
                    <a:pt x="155" y="48"/>
                  </a:lnTo>
                  <a:lnTo>
                    <a:pt x="160" y="49"/>
                  </a:lnTo>
                  <a:lnTo>
                    <a:pt x="168" y="50"/>
                  </a:lnTo>
                  <a:lnTo>
                    <a:pt x="172" y="50"/>
                  </a:lnTo>
                  <a:lnTo>
                    <a:pt x="174" y="51"/>
                  </a:lnTo>
                  <a:lnTo>
                    <a:pt x="177" y="52"/>
                  </a:lnTo>
                  <a:lnTo>
                    <a:pt x="180" y="54"/>
                  </a:lnTo>
                  <a:lnTo>
                    <a:pt x="183" y="55"/>
                  </a:lnTo>
                  <a:lnTo>
                    <a:pt x="186" y="58"/>
                  </a:lnTo>
                  <a:lnTo>
                    <a:pt x="188" y="59"/>
                  </a:lnTo>
                  <a:lnTo>
                    <a:pt x="202" y="67"/>
                  </a:lnTo>
                  <a:lnTo>
                    <a:pt x="204" y="68"/>
                  </a:lnTo>
                  <a:lnTo>
                    <a:pt x="207" y="69"/>
                  </a:lnTo>
                  <a:lnTo>
                    <a:pt x="210" y="70"/>
                  </a:lnTo>
                  <a:lnTo>
                    <a:pt x="213" y="71"/>
                  </a:lnTo>
                  <a:lnTo>
                    <a:pt x="215" y="71"/>
                  </a:lnTo>
                  <a:lnTo>
                    <a:pt x="219" y="71"/>
                  </a:lnTo>
                  <a:lnTo>
                    <a:pt x="223" y="71"/>
                  </a:lnTo>
                  <a:lnTo>
                    <a:pt x="233" y="70"/>
                  </a:lnTo>
                  <a:lnTo>
                    <a:pt x="238" y="70"/>
                  </a:lnTo>
                  <a:lnTo>
                    <a:pt x="240" y="70"/>
                  </a:lnTo>
                  <a:lnTo>
                    <a:pt x="241" y="70"/>
                  </a:lnTo>
                  <a:lnTo>
                    <a:pt x="243" y="71"/>
                  </a:lnTo>
                  <a:lnTo>
                    <a:pt x="245" y="72"/>
                  </a:lnTo>
                  <a:lnTo>
                    <a:pt x="246" y="73"/>
                  </a:lnTo>
                  <a:lnTo>
                    <a:pt x="247" y="74"/>
                  </a:lnTo>
                  <a:lnTo>
                    <a:pt x="249" y="75"/>
                  </a:lnTo>
                  <a:lnTo>
                    <a:pt x="250" y="77"/>
                  </a:lnTo>
                  <a:lnTo>
                    <a:pt x="251" y="79"/>
                  </a:lnTo>
                  <a:lnTo>
                    <a:pt x="255" y="90"/>
                  </a:lnTo>
                  <a:lnTo>
                    <a:pt x="258" y="94"/>
                  </a:lnTo>
                  <a:lnTo>
                    <a:pt x="260" y="98"/>
                  </a:lnTo>
                  <a:lnTo>
                    <a:pt x="263" y="102"/>
                  </a:lnTo>
                  <a:lnTo>
                    <a:pt x="265" y="106"/>
                  </a:lnTo>
                  <a:lnTo>
                    <a:pt x="268" y="110"/>
                  </a:lnTo>
                  <a:lnTo>
                    <a:pt x="271" y="113"/>
                  </a:lnTo>
                  <a:lnTo>
                    <a:pt x="274" y="116"/>
                  </a:lnTo>
                  <a:lnTo>
                    <a:pt x="277" y="119"/>
                  </a:lnTo>
                  <a:lnTo>
                    <a:pt x="280" y="122"/>
                  </a:lnTo>
                  <a:lnTo>
                    <a:pt x="285" y="125"/>
                  </a:lnTo>
                  <a:lnTo>
                    <a:pt x="288" y="129"/>
                  </a:lnTo>
                  <a:lnTo>
                    <a:pt x="292" y="131"/>
                  </a:lnTo>
                  <a:lnTo>
                    <a:pt x="295" y="133"/>
                  </a:lnTo>
                  <a:lnTo>
                    <a:pt x="298" y="135"/>
                  </a:lnTo>
                  <a:lnTo>
                    <a:pt x="302" y="136"/>
                  </a:lnTo>
                  <a:lnTo>
                    <a:pt x="307" y="138"/>
                  </a:lnTo>
                  <a:lnTo>
                    <a:pt x="310" y="140"/>
                  </a:lnTo>
                  <a:lnTo>
                    <a:pt x="312" y="141"/>
                  </a:lnTo>
                  <a:lnTo>
                    <a:pt x="315" y="142"/>
                  </a:lnTo>
                  <a:lnTo>
                    <a:pt x="317" y="142"/>
                  </a:lnTo>
                  <a:lnTo>
                    <a:pt x="321" y="143"/>
                  </a:lnTo>
                  <a:lnTo>
                    <a:pt x="323" y="143"/>
                  </a:lnTo>
                  <a:lnTo>
                    <a:pt x="326" y="143"/>
                  </a:lnTo>
                  <a:lnTo>
                    <a:pt x="329" y="143"/>
                  </a:lnTo>
                  <a:lnTo>
                    <a:pt x="332" y="143"/>
                  </a:lnTo>
                  <a:lnTo>
                    <a:pt x="335" y="142"/>
                  </a:lnTo>
                  <a:lnTo>
                    <a:pt x="338" y="141"/>
                  </a:lnTo>
                  <a:lnTo>
                    <a:pt x="348" y="139"/>
                  </a:lnTo>
                  <a:lnTo>
                    <a:pt x="351" y="139"/>
                  </a:lnTo>
                  <a:lnTo>
                    <a:pt x="353" y="139"/>
                  </a:lnTo>
                  <a:lnTo>
                    <a:pt x="355" y="139"/>
                  </a:lnTo>
                  <a:lnTo>
                    <a:pt x="357" y="139"/>
                  </a:lnTo>
                  <a:lnTo>
                    <a:pt x="358" y="139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60" y="141"/>
                  </a:lnTo>
                  <a:lnTo>
                    <a:pt x="361" y="142"/>
                  </a:lnTo>
                  <a:lnTo>
                    <a:pt x="362" y="143"/>
                  </a:lnTo>
                  <a:lnTo>
                    <a:pt x="363" y="149"/>
                  </a:lnTo>
                  <a:lnTo>
                    <a:pt x="366" y="157"/>
                  </a:lnTo>
                  <a:lnTo>
                    <a:pt x="366" y="159"/>
                  </a:lnTo>
                  <a:lnTo>
                    <a:pt x="366" y="160"/>
                  </a:lnTo>
                  <a:lnTo>
                    <a:pt x="366" y="163"/>
                  </a:lnTo>
                  <a:lnTo>
                    <a:pt x="366" y="166"/>
                  </a:lnTo>
                  <a:lnTo>
                    <a:pt x="365" y="185"/>
                  </a:lnTo>
                  <a:lnTo>
                    <a:pt x="365" y="188"/>
                  </a:lnTo>
                  <a:lnTo>
                    <a:pt x="365" y="191"/>
                  </a:lnTo>
                  <a:lnTo>
                    <a:pt x="366" y="194"/>
                  </a:lnTo>
                  <a:lnTo>
                    <a:pt x="366" y="197"/>
                  </a:lnTo>
                  <a:lnTo>
                    <a:pt x="367" y="198"/>
                  </a:lnTo>
                  <a:lnTo>
                    <a:pt x="368" y="200"/>
                  </a:lnTo>
                  <a:lnTo>
                    <a:pt x="369" y="201"/>
                  </a:lnTo>
                  <a:lnTo>
                    <a:pt x="370" y="201"/>
                  </a:lnTo>
                  <a:lnTo>
                    <a:pt x="371" y="202"/>
                  </a:lnTo>
                  <a:lnTo>
                    <a:pt x="372" y="203"/>
                  </a:lnTo>
                  <a:lnTo>
                    <a:pt x="374" y="203"/>
                  </a:lnTo>
                  <a:lnTo>
                    <a:pt x="375" y="202"/>
                  </a:lnTo>
                  <a:lnTo>
                    <a:pt x="376" y="201"/>
                  </a:lnTo>
                  <a:lnTo>
                    <a:pt x="377" y="201"/>
                  </a:lnTo>
                  <a:lnTo>
                    <a:pt x="381" y="196"/>
                  </a:lnTo>
                  <a:lnTo>
                    <a:pt x="384" y="194"/>
                  </a:lnTo>
                  <a:lnTo>
                    <a:pt x="385" y="193"/>
                  </a:lnTo>
                  <a:lnTo>
                    <a:pt x="387" y="193"/>
                  </a:lnTo>
                  <a:lnTo>
                    <a:pt x="389" y="193"/>
                  </a:lnTo>
                  <a:lnTo>
                    <a:pt x="390" y="192"/>
                  </a:lnTo>
                  <a:lnTo>
                    <a:pt x="394" y="192"/>
                  </a:lnTo>
                  <a:lnTo>
                    <a:pt x="396" y="192"/>
                  </a:lnTo>
                  <a:lnTo>
                    <a:pt x="398" y="192"/>
                  </a:lnTo>
                  <a:lnTo>
                    <a:pt x="401" y="192"/>
                  </a:lnTo>
                  <a:lnTo>
                    <a:pt x="404" y="193"/>
                  </a:lnTo>
                  <a:lnTo>
                    <a:pt x="406" y="193"/>
                  </a:lnTo>
                  <a:lnTo>
                    <a:pt x="409" y="194"/>
                  </a:lnTo>
                  <a:lnTo>
                    <a:pt x="412" y="195"/>
                  </a:lnTo>
                  <a:lnTo>
                    <a:pt x="414" y="197"/>
                  </a:lnTo>
                  <a:lnTo>
                    <a:pt x="417" y="198"/>
                  </a:lnTo>
                  <a:lnTo>
                    <a:pt x="419" y="200"/>
                  </a:lnTo>
                  <a:lnTo>
                    <a:pt x="422" y="202"/>
                  </a:lnTo>
                  <a:lnTo>
                    <a:pt x="423" y="203"/>
                  </a:lnTo>
                  <a:lnTo>
                    <a:pt x="424" y="204"/>
                  </a:lnTo>
                  <a:lnTo>
                    <a:pt x="426" y="207"/>
                  </a:lnTo>
                  <a:lnTo>
                    <a:pt x="427" y="209"/>
                  </a:lnTo>
                  <a:lnTo>
                    <a:pt x="428" y="212"/>
                  </a:lnTo>
                  <a:lnTo>
                    <a:pt x="429" y="214"/>
                  </a:lnTo>
                  <a:lnTo>
                    <a:pt x="430" y="216"/>
                  </a:lnTo>
                  <a:lnTo>
                    <a:pt x="430" y="218"/>
                  </a:lnTo>
                  <a:lnTo>
                    <a:pt x="430" y="219"/>
                  </a:lnTo>
                  <a:lnTo>
                    <a:pt x="430" y="219"/>
                  </a:lnTo>
                  <a:lnTo>
                    <a:pt x="429" y="241"/>
                  </a:lnTo>
                  <a:lnTo>
                    <a:pt x="428" y="247"/>
                  </a:lnTo>
                  <a:lnTo>
                    <a:pt x="428" y="251"/>
                  </a:lnTo>
                  <a:lnTo>
                    <a:pt x="427" y="256"/>
                  </a:lnTo>
                  <a:lnTo>
                    <a:pt x="426" y="261"/>
                  </a:lnTo>
                  <a:lnTo>
                    <a:pt x="424" y="263"/>
                  </a:lnTo>
                  <a:lnTo>
                    <a:pt x="423" y="265"/>
                  </a:lnTo>
                  <a:lnTo>
                    <a:pt x="423" y="266"/>
                  </a:lnTo>
                  <a:lnTo>
                    <a:pt x="423" y="267"/>
                  </a:lnTo>
                  <a:lnTo>
                    <a:pt x="422" y="267"/>
                  </a:lnTo>
                  <a:lnTo>
                    <a:pt x="421" y="268"/>
                  </a:lnTo>
                  <a:lnTo>
                    <a:pt x="420" y="269"/>
                  </a:lnTo>
                  <a:lnTo>
                    <a:pt x="418" y="269"/>
                  </a:lnTo>
                  <a:lnTo>
                    <a:pt x="415" y="270"/>
                  </a:lnTo>
                  <a:lnTo>
                    <a:pt x="412" y="270"/>
                  </a:lnTo>
                  <a:lnTo>
                    <a:pt x="409" y="269"/>
                  </a:lnTo>
                  <a:lnTo>
                    <a:pt x="406" y="269"/>
                  </a:lnTo>
                  <a:lnTo>
                    <a:pt x="401" y="268"/>
                  </a:lnTo>
                  <a:lnTo>
                    <a:pt x="398" y="267"/>
                  </a:lnTo>
                  <a:lnTo>
                    <a:pt x="396" y="267"/>
                  </a:lnTo>
                  <a:lnTo>
                    <a:pt x="394" y="267"/>
                  </a:lnTo>
                  <a:lnTo>
                    <a:pt x="392" y="268"/>
                  </a:lnTo>
                  <a:lnTo>
                    <a:pt x="390" y="269"/>
                  </a:lnTo>
                  <a:lnTo>
                    <a:pt x="389" y="271"/>
                  </a:lnTo>
                  <a:lnTo>
                    <a:pt x="386" y="273"/>
                  </a:lnTo>
                  <a:lnTo>
                    <a:pt x="380" y="279"/>
                  </a:lnTo>
                  <a:lnTo>
                    <a:pt x="372" y="289"/>
                  </a:lnTo>
                  <a:lnTo>
                    <a:pt x="369" y="292"/>
                  </a:lnTo>
                  <a:lnTo>
                    <a:pt x="367" y="294"/>
                  </a:lnTo>
                  <a:lnTo>
                    <a:pt x="365" y="295"/>
                  </a:lnTo>
                  <a:lnTo>
                    <a:pt x="362" y="297"/>
                  </a:lnTo>
                  <a:lnTo>
                    <a:pt x="359" y="298"/>
                  </a:lnTo>
                  <a:lnTo>
                    <a:pt x="353" y="301"/>
                  </a:lnTo>
                  <a:lnTo>
                    <a:pt x="351" y="302"/>
                  </a:lnTo>
                  <a:lnTo>
                    <a:pt x="348" y="304"/>
                  </a:lnTo>
                  <a:lnTo>
                    <a:pt x="345" y="305"/>
                  </a:lnTo>
                  <a:lnTo>
                    <a:pt x="343" y="306"/>
                  </a:lnTo>
                  <a:lnTo>
                    <a:pt x="341" y="308"/>
                  </a:lnTo>
                  <a:lnTo>
                    <a:pt x="335" y="315"/>
                  </a:lnTo>
                  <a:lnTo>
                    <a:pt x="332" y="317"/>
                  </a:lnTo>
                  <a:lnTo>
                    <a:pt x="331" y="318"/>
                  </a:lnTo>
                  <a:lnTo>
                    <a:pt x="326" y="322"/>
                  </a:lnTo>
                  <a:lnTo>
                    <a:pt x="323" y="324"/>
                  </a:lnTo>
                  <a:lnTo>
                    <a:pt x="321" y="327"/>
                  </a:lnTo>
                  <a:lnTo>
                    <a:pt x="316" y="332"/>
                  </a:lnTo>
                  <a:lnTo>
                    <a:pt x="302" y="349"/>
                  </a:lnTo>
                  <a:lnTo>
                    <a:pt x="298" y="353"/>
                  </a:lnTo>
                  <a:lnTo>
                    <a:pt x="297" y="357"/>
                  </a:lnTo>
                  <a:lnTo>
                    <a:pt x="295" y="360"/>
                  </a:lnTo>
                  <a:lnTo>
                    <a:pt x="294" y="363"/>
                  </a:lnTo>
                  <a:lnTo>
                    <a:pt x="293" y="366"/>
                  </a:lnTo>
                  <a:lnTo>
                    <a:pt x="291" y="375"/>
                  </a:lnTo>
                  <a:lnTo>
                    <a:pt x="290" y="381"/>
                  </a:lnTo>
                  <a:lnTo>
                    <a:pt x="289" y="385"/>
                  </a:lnTo>
                  <a:lnTo>
                    <a:pt x="288" y="388"/>
                  </a:lnTo>
                  <a:lnTo>
                    <a:pt x="287" y="391"/>
                  </a:lnTo>
                  <a:lnTo>
                    <a:pt x="286" y="393"/>
                  </a:lnTo>
                  <a:lnTo>
                    <a:pt x="285" y="395"/>
                  </a:lnTo>
                  <a:lnTo>
                    <a:pt x="283" y="397"/>
                  </a:lnTo>
                  <a:lnTo>
                    <a:pt x="281" y="400"/>
                  </a:lnTo>
                  <a:lnTo>
                    <a:pt x="279" y="402"/>
                  </a:lnTo>
                  <a:lnTo>
                    <a:pt x="277" y="404"/>
                  </a:lnTo>
                  <a:lnTo>
                    <a:pt x="277" y="404"/>
                  </a:lnTo>
                  <a:lnTo>
                    <a:pt x="276" y="404"/>
                  </a:lnTo>
                  <a:lnTo>
                    <a:pt x="272" y="403"/>
                  </a:lnTo>
                  <a:lnTo>
                    <a:pt x="267" y="401"/>
                  </a:lnTo>
                  <a:lnTo>
                    <a:pt x="262" y="399"/>
                  </a:lnTo>
                  <a:lnTo>
                    <a:pt x="256" y="397"/>
                  </a:lnTo>
                  <a:lnTo>
                    <a:pt x="251" y="394"/>
                  </a:lnTo>
                  <a:lnTo>
                    <a:pt x="245" y="390"/>
                  </a:lnTo>
                  <a:lnTo>
                    <a:pt x="237" y="385"/>
                  </a:lnTo>
                  <a:lnTo>
                    <a:pt x="233" y="382"/>
                  </a:lnTo>
                  <a:lnTo>
                    <a:pt x="231" y="381"/>
                  </a:lnTo>
                  <a:lnTo>
                    <a:pt x="230" y="379"/>
                  </a:lnTo>
                  <a:lnTo>
                    <a:pt x="228" y="376"/>
                  </a:lnTo>
                  <a:lnTo>
                    <a:pt x="226" y="374"/>
                  </a:lnTo>
                  <a:lnTo>
                    <a:pt x="224" y="372"/>
                  </a:lnTo>
                  <a:lnTo>
                    <a:pt x="220" y="367"/>
                  </a:lnTo>
                  <a:lnTo>
                    <a:pt x="212" y="356"/>
                  </a:lnTo>
                  <a:lnTo>
                    <a:pt x="210" y="352"/>
                  </a:lnTo>
                  <a:lnTo>
                    <a:pt x="208" y="351"/>
                  </a:lnTo>
                  <a:lnTo>
                    <a:pt x="207" y="349"/>
                  </a:lnTo>
                  <a:lnTo>
                    <a:pt x="204" y="346"/>
                  </a:lnTo>
                  <a:lnTo>
                    <a:pt x="201" y="344"/>
                  </a:lnTo>
                  <a:lnTo>
                    <a:pt x="198" y="342"/>
                  </a:lnTo>
                  <a:lnTo>
                    <a:pt x="196" y="341"/>
                  </a:lnTo>
                  <a:lnTo>
                    <a:pt x="194" y="340"/>
                  </a:lnTo>
                  <a:lnTo>
                    <a:pt x="193" y="340"/>
                  </a:lnTo>
                  <a:lnTo>
                    <a:pt x="188" y="340"/>
                  </a:lnTo>
                  <a:lnTo>
                    <a:pt x="185" y="339"/>
                  </a:lnTo>
                  <a:lnTo>
                    <a:pt x="163" y="339"/>
                  </a:lnTo>
                  <a:lnTo>
                    <a:pt x="162" y="339"/>
                  </a:lnTo>
                  <a:lnTo>
                    <a:pt x="158" y="338"/>
                  </a:lnTo>
                  <a:lnTo>
                    <a:pt x="154" y="337"/>
                  </a:lnTo>
                  <a:lnTo>
                    <a:pt x="151" y="336"/>
                  </a:lnTo>
                  <a:lnTo>
                    <a:pt x="150" y="335"/>
                  </a:lnTo>
                  <a:lnTo>
                    <a:pt x="148" y="334"/>
                  </a:lnTo>
                  <a:lnTo>
                    <a:pt x="147" y="333"/>
                  </a:lnTo>
                  <a:lnTo>
                    <a:pt x="146" y="332"/>
                  </a:lnTo>
                  <a:lnTo>
                    <a:pt x="142" y="327"/>
                  </a:lnTo>
                  <a:lnTo>
                    <a:pt x="134" y="317"/>
                  </a:lnTo>
                  <a:lnTo>
                    <a:pt x="130" y="312"/>
                  </a:lnTo>
                  <a:lnTo>
                    <a:pt x="128" y="309"/>
                  </a:lnTo>
                  <a:lnTo>
                    <a:pt x="128" y="307"/>
                  </a:lnTo>
                  <a:lnTo>
                    <a:pt x="127" y="305"/>
                  </a:lnTo>
                  <a:lnTo>
                    <a:pt x="125" y="295"/>
                  </a:lnTo>
                  <a:lnTo>
                    <a:pt x="124" y="290"/>
                  </a:lnTo>
                  <a:lnTo>
                    <a:pt x="117" y="272"/>
                  </a:lnTo>
                  <a:lnTo>
                    <a:pt x="116" y="270"/>
                  </a:lnTo>
                  <a:lnTo>
                    <a:pt x="117" y="270"/>
                  </a:lnTo>
                  <a:lnTo>
                    <a:pt x="117" y="269"/>
                  </a:lnTo>
                  <a:lnTo>
                    <a:pt x="118" y="267"/>
                  </a:lnTo>
                  <a:lnTo>
                    <a:pt x="118" y="266"/>
                  </a:lnTo>
                  <a:lnTo>
                    <a:pt x="119" y="263"/>
                  </a:lnTo>
                  <a:lnTo>
                    <a:pt x="118" y="261"/>
                  </a:lnTo>
                  <a:lnTo>
                    <a:pt x="118" y="257"/>
                  </a:lnTo>
                  <a:lnTo>
                    <a:pt x="118" y="255"/>
                  </a:lnTo>
                  <a:lnTo>
                    <a:pt x="116" y="243"/>
                  </a:lnTo>
                  <a:lnTo>
                    <a:pt x="114" y="236"/>
                  </a:lnTo>
                  <a:lnTo>
                    <a:pt x="113" y="231"/>
                  </a:lnTo>
                  <a:lnTo>
                    <a:pt x="113" y="227"/>
                  </a:lnTo>
                  <a:lnTo>
                    <a:pt x="113" y="226"/>
                  </a:lnTo>
                  <a:lnTo>
                    <a:pt x="113" y="223"/>
                  </a:lnTo>
                  <a:lnTo>
                    <a:pt x="115" y="215"/>
                  </a:lnTo>
                  <a:lnTo>
                    <a:pt x="115" y="211"/>
                  </a:lnTo>
                  <a:lnTo>
                    <a:pt x="116" y="207"/>
                  </a:lnTo>
                  <a:lnTo>
                    <a:pt x="116" y="203"/>
                  </a:lnTo>
                  <a:lnTo>
                    <a:pt x="115" y="199"/>
                  </a:lnTo>
                  <a:lnTo>
                    <a:pt x="114" y="195"/>
                  </a:lnTo>
                  <a:lnTo>
                    <a:pt x="113" y="192"/>
                  </a:lnTo>
                  <a:lnTo>
                    <a:pt x="111" y="188"/>
                  </a:lnTo>
                  <a:lnTo>
                    <a:pt x="109" y="184"/>
                  </a:lnTo>
                  <a:lnTo>
                    <a:pt x="106" y="181"/>
                  </a:lnTo>
                  <a:lnTo>
                    <a:pt x="104" y="178"/>
                  </a:lnTo>
                  <a:lnTo>
                    <a:pt x="102" y="176"/>
                  </a:lnTo>
                  <a:lnTo>
                    <a:pt x="101" y="175"/>
                  </a:lnTo>
                  <a:lnTo>
                    <a:pt x="98" y="173"/>
                  </a:lnTo>
                  <a:lnTo>
                    <a:pt x="94" y="171"/>
                  </a:lnTo>
                  <a:lnTo>
                    <a:pt x="80" y="162"/>
                  </a:lnTo>
                  <a:lnTo>
                    <a:pt x="77" y="161"/>
                  </a:lnTo>
                  <a:lnTo>
                    <a:pt x="71" y="159"/>
                  </a:lnTo>
                  <a:lnTo>
                    <a:pt x="68" y="157"/>
                  </a:lnTo>
                  <a:lnTo>
                    <a:pt x="66" y="155"/>
                  </a:lnTo>
                  <a:lnTo>
                    <a:pt x="64" y="153"/>
                  </a:lnTo>
                  <a:lnTo>
                    <a:pt x="62" y="151"/>
                  </a:lnTo>
                  <a:lnTo>
                    <a:pt x="60" y="149"/>
                  </a:lnTo>
                  <a:lnTo>
                    <a:pt x="59" y="147"/>
                  </a:lnTo>
                  <a:lnTo>
                    <a:pt x="58" y="145"/>
                  </a:lnTo>
                  <a:lnTo>
                    <a:pt x="56" y="142"/>
                  </a:lnTo>
                  <a:lnTo>
                    <a:pt x="55" y="140"/>
                  </a:lnTo>
                  <a:lnTo>
                    <a:pt x="50" y="127"/>
                  </a:lnTo>
                  <a:lnTo>
                    <a:pt x="45" y="114"/>
                  </a:lnTo>
                  <a:lnTo>
                    <a:pt x="42" y="108"/>
                  </a:lnTo>
                  <a:lnTo>
                    <a:pt x="40" y="102"/>
                  </a:lnTo>
                  <a:lnTo>
                    <a:pt x="37" y="93"/>
                  </a:lnTo>
                  <a:lnTo>
                    <a:pt x="36" y="87"/>
                  </a:lnTo>
                  <a:lnTo>
                    <a:pt x="34" y="83"/>
                  </a:lnTo>
                  <a:lnTo>
                    <a:pt x="32" y="79"/>
                  </a:lnTo>
                  <a:lnTo>
                    <a:pt x="30" y="78"/>
                  </a:lnTo>
                  <a:lnTo>
                    <a:pt x="29" y="76"/>
                  </a:lnTo>
                  <a:lnTo>
                    <a:pt x="27" y="74"/>
                  </a:lnTo>
                  <a:lnTo>
                    <a:pt x="25" y="72"/>
                  </a:lnTo>
                  <a:lnTo>
                    <a:pt x="24" y="70"/>
                  </a:lnTo>
                  <a:lnTo>
                    <a:pt x="18" y="65"/>
                  </a:lnTo>
                  <a:lnTo>
                    <a:pt x="9" y="57"/>
                  </a:lnTo>
                  <a:lnTo>
                    <a:pt x="7" y="56"/>
                  </a:lnTo>
                  <a:lnTo>
                    <a:pt x="5" y="54"/>
                  </a:lnTo>
                  <a:lnTo>
                    <a:pt x="3" y="52"/>
                  </a:lnTo>
                  <a:lnTo>
                    <a:pt x="2" y="50"/>
                  </a:lnTo>
                  <a:lnTo>
                    <a:pt x="1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1"/>
                  </a:lnTo>
                  <a:lnTo>
                    <a:pt x="0" y="37"/>
                  </a:lnTo>
                  <a:lnTo>
                    <a:pt x="1" y="34"/>
                  </a:lnTo>
                  <a:lnTo>
                    <a:pt x="2" y="31"/>
                  </a:lnTo>
                  <a:lnTo>
                    <a:pt x="3" y="27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0" y="16"/>
                  </a:lnTo>
                  <a:lnTo>
                    <a:pt x="13" y="12"/>
                  </a:lnTo>
                  <a:lnTo>
                    <a:pt x="15" y="10"/>
                  </a:lnTo>
                  <a:lnTo>
                    <a:pt x="17" y="7"/>
                  </a:lnTo>
                  <a:lnTo>
                    <a:pt x="21" y="5"/>
                  </a:lnTo>
                  <a:lnTo>
                    <a:pt x="25" y="2"/>
                  </a:lnTo>
                  <a:lnTo>
                    <a:pt x="26" y="1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3" name="Freeform 70">
              <a:extLst>
                <a:ext uri="{FF2B5EF4-FFF2-40B4-BE49-F238E27FC236}">
                  <a16:creationId xmlns:a16="http://schemas.microsoft.com/office/drawing/2014/main" id="{6E410243-3242-4833-B905-73E95760F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" y="2347"/>
              <a:ext cx="665" cy="517"/>
            </a:xfrm>
            <a:custGeom>
              <a:avLst/>
              <a:gdLst>
                <a:gd name="T0" fmla="*/ 265 w 665"/>
                <a:gd name="T1" fmla="*/ 31 h 517"/>
                <a:gd name="T2" fmla="*/ 292 w 665"/>
                <a:gd name="T3" fmla="*/ 29 h 517"/>
                <a:gd name="T4" fmla="*/ 293 w 665"/>
                <a:gd name="T5" fmla="*/ 58 h 517"/>
                <a:gd name="T6" fmla="*/ 324 w 665"/>
                <a:gd name="T7" fmla="*/ 63 h 517"/>
                <a:gd name="T8" fmla="*/ 363 w 665"/>
                <a:gd name="T9" fmla="*/ 29 h 517"/>
                <a:gd name="T10" fmla="*/ 398 w 665"/>
                <a:gd name="T11" fmla="*/ 19 h 517"/>
                <a:gd name="T12" fmla="*/ 411 w 665"/>
                <a:gd name="T13" fmla="*/ 36 h 517"/>
                <a:gd name="T14" fmla="*/ 413 w 665"/>
                <a:gd name="T15" fmla="*/ 85 h 517"/>
                <a:gd name="T16" fmla="*/ 432 w 665"/>
                <a:gd name="T17" fmla="*/ 77 h 517"/>
                <a:gd name="T18" fmla="*/ 454 w 665"/>
                <a:gd name="T19" fmla="*/ 54 h 517"/>
                <a:gd name="T20" fmla="*/ 469 w 665"/>
                <a:gd name="T21" fmla="*/ 50 h 517"/>
                <a:gd name="T22" fmla="*/ 471 w 665"/>
                <a:gd name="T23" fmla="*/ 9 h 517"/>
                <a:gd name="T24" fmla="*/ 485 w 665"/>
                <a:gd name="T25" fmla="*/ 6 h 517"/>
                <a:gd name="T26" fmla="*/ 498 w 665"/>
                <a:gd name="T27" fmla="*/ 47 h 517"/>
                <a:gd name="T28" fmla="*/ 514 w 665"/>
                <a:gd name="T29" fmla="*/ 84 h 517"/>
                <a:gd name="T30" fmla="*/ 529 w 665"/>
                <a:gd name="T31" fmla="*/ 98 h 517"/>
                <a:gd name="T32" fmla="*/ 558 w 665"/>
                <a:gd name="T33" fmla="*/ 129 h 517"/>
                <a:gd name="T34" fmla="*/ 610 w 665"/>
                <a:gd name="T35" fmla="*/ 136 h 517"/>
                <a:gd name="T36" fmla="*/ 653 w 665"/>
                <a:gd name="T37" fmla="*/ 130 h 517"/>
                <a:gd name="T38" fmla="*/ 660 w 665"/>
                <a:gd name="T39" fmla="*/ 173 h 517"/>
                <a:gd name="T40" fmla="*/ 659 w 665"/>
                <a:gd name="T41" fmla="*/ 211 h 517"/>
                <a:gd name="T42" fmla="*/ 645 w 665"/>
                <a:gd name="T43" fmla="*/ 231 h 517"/>
                <a:gd name="T44" fmla="*/ 605 w 665"/>
                <a:gd name="T45" fmla="*/ 282 h 517"/>
                <a:gd name="T46" fmla="*/ 605 w 665"/>
                <a:gd name="T47" fmla="*/ 302 h 517"/>
                <a:gd name="T48" fmla="*/ 615 w 665"/>
                <a:gd name="T49" fmla="*/ 345 h 517"/>
                <a:gd name="T50" fmla="*/ 603 w 665"/>
                <a:gd name="T51" fmla="*/ 352 h 517"/>
                <a:gd name="T52" fmla="*/ 556 w 665"/>
                <a:gd name="T53" fmla="*/ 372 h 517"/>
                <a:gd name="T54" fmla="*/ 529 w 665"/>
                <a:gd name="T55" fmla="*/ 366 h 517"/>
                <a:gd name="T56" fmla="*/ 510 w 665"/>
                <a:gd name="T57" fmla="*/ 361 h 517"/>
                <a:gd name="T58" fmla="*/ 488 w 665"/>
                <a:gd name="T59" fmla="*/ 375 h 517"/>
                <a:gd name="T60" fmla="*/ 481 w 665"/>
                <a:gd name="T61" fmla="*/ 410 h 517"/>
                <a:gd name="T62" fmla="*/ 446 w 665"/>
                <a:gd name="T63" fmla="*/ 414 h 517"/>
                <a:gd name="T64" fmla="*/ 417 w 665"/>
                <a:gd name="T65" fmla="*/ 424 h 517"/>
                <a:gd name="T66" fmla="*/ 384 w 665"/>
                <a:gd name="T67" fmla="*/ 461 h 517"/>
                <a:gd name="T68" fmla="*/ 387 w 665"/>
                <a:gd name="T69" fmla="*/ 489 h 517"/>
                <a:gd name="T70" fmla="*/ 391 w 665"/>
                <a:gd name="T71" fmla="*/ 514 h 517"/>
                <a:gd name="T72" fmla="*/ 356 w 665"/>
                <a:gd name="T73" fmla="*/ 506 h 517"/>
                <a:gd name="T74" fmla="*/ 332 w 665"/>
                <a:gd name="T75" fmla="*/ 489 h 517"/>
                <a:gd name="T76" fmla="*/ 278 w 665"/>
                <a:gd name="T77" fmla="*/ 408 h 517"/>
                <a:gd name="T78" fmla="*/ 252 w 665"/>
                <a:gd name="T79" fmla="*/ 393 h 517"/>
                <a:gd name="T80" fmla="*/ 227 w 665"/>
                <a:gd name="T81" fmla="*/ 403 h 517"/>
                <a:gd name="T82" fmla="*/ 195 w 665"/>
                <a:gd name="T83" fmla="*/ 384 h 517"/>
                <a:gd name="T84" fmla="*/ 158 w 665"/>
                <a:gd name="T85" fmla="*/ 368 h 517"/>
                <a:gd name="T86" fmla="*/ 119 w 665"/>
                <a:gd name="T87" fmla="*/ 312 h 517"/>
                <a:gd name="T88" fmla="*/ 97 w 665"/>
                <a:gd name="T89" fmla="*/ 285 h 517"/>
                <a:gd name="T90" fmla="*/ 69 w 665"/>
                <a:gd name="T91" fmla="*/ 266 h 517"/>
                <a:gd name="T92" fmla="*/ 55 w 665"/>
                <a:gd name="T93" fmla="*/ 266 h 517"/>
                <a:gd name="T94" fmla="*/ 26 w 665"/>
                <a:gd name="T95" fmla="*/ 248 h 517"/>
                <a:gd name="T96" fmla="*/ 7 w 665"/>
                <a:gd name="T97" fmla="*/ 256 h 517"/>
                <a:gd name="T98" fmla="*/ 10 w 665"/>
                <a:gd name="T99" fmla="*/ 245 h 517"/>
                <a:gd name="T100" fmla="*/ 13 w 665"/>
                <a:gd name="T101" fmla="*/ 216 h 517"/>
                <a:gd name="T102" fmla="*/ 23 w 665"/>
                <a:gd name="T103" fmla="*/ 201 h 517"/>
                <a:gd name="T104" fmla="*/ 72 w 665"/>
                <a:gd name="T105" fmla="*/ 187 h 517"/>
                <a:gd name="T106" fmla="*/ 96 w 665"/>
                <a:gd name="T107" fmla="*/ 192 h 517"/>
                <a:gd name="T108" fmla="*/ 123 w 665"/>
                <a:gd name="T109" fmla="*/ 165 h 517"/>
                <a:gd name="T110" fmla="*/ 129 w 665"/>
                <a:gd name="T111" fmla="*/ 123 h 517"/>
                <a:gd name="T112" fmla="*/ 150 w 665"/>
                <a:gd name="T113" fmla="*/ 85 h 517"/>
                <a:gd name="T114" fmla="*/ 165 w 665"/>
                <a:gd name="T115" fmla="*/ 40 h 517"/>
                <a:gd name="T116" fmla="*/ 181 w 665"/>
                <a:gd name="T117" fmla="*/ 21 h 517"/>
                <a:gd name="T118" fmla="*/ 209 w 665"/>
                <a:gd name="T119" fmla="*/ 33 h 517"/>
                <a:gd name="T120" fmla="*/ 230 w 665"/>
                <a:gd name="T121" fmla="*/ 8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65" h="517">
                  <a:moveTo>
                    <a:pt x="237" y="0"/>
                  </a:moveTo>
                  <a:lnTo>
                    <a:pt x="238" y="1"/>
                  </a:lnTo>
                  <a:lnTo>
                    <a:pt x="238" y="0"/>
                  </a:lnTo>
                  <a:lnTo>
                    <a:pt x="239" y="1"/>
                  </a:lnTo>
                  <a:lnTo>
                    <a:pt x="240" y="3"/>
                  </a:lnTo>
                  <a:lnTo>
                    <a:pt x="246" y="10"/>
                  </a:lnTo>
                  <a:lnTo>
                    <a:pt x="252" y="17"/>
                  </a:lnTo>
                  <a:lnTo>
                    <a:pt x="258" y="24"/>
                  </a:lnTo>
                  <a:lnTo>
                    <a:pt x="261" y="27"/>
                  </a:lnTo>
                  <a:lnTo>
                    <a:pt x="262" y="28"/>
                  </a:lnTo>
                  <a:lnTo>
                    <a:pt x="263" y="30"/>
                  </a:lnTo>
                  <a:lnTo>
                    <a:pt x="265" y="31"/>
                  </a:lnTo>
                  <a:lnTo>
                    <a:pt x="266" y="32"/>
                  </a:lnTo>
                  <a:lnTo>
                    <a:pt x="268" y="33"/>
                  </a:lnTo>
                  <a:lnTo>
                    <a:pt x="270" y="33"/>
                  </a:lnTo>
                  <a:lnTo>
                    <a:pt x="272" y="33"/>
                  </a:lnTo>
                  <a:lnTo>
                    <a:pt x="273" y="33"/>
                  </a:lnTo>
                  <a:lnTo>
                    <a:pt x="275" y="33"/>
                  </a:lnTo>
                  <a:lnTo>
                    <a:pt x="282" y="32"/>
                  </a:lnTo>
                  <a:lnTo>
                    <a:pt x="284" y="31"/>
                  </a:lnTo>
                  <a:lnTo>
                    <a:pt x="287" y="30"/>
                  </a:lnTo>
                  <a:lnTo>
                    <a:pt x="289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3" y="30"/>
                  </a:lnTo>
                  <a:lnTo>
                    <a:pt x="294" y="31"/>
                  </a:lnTo>
                  <a:lnTo>
                    <a:pt x="294" y="32"/>
                  </a:lnTo>
                  <a:lnTo>
                    <a:pt x="294" y="33"/>
                  </a:lnTo>
                  <a:lnTo>
                    <a:pt x="294" y="35"/>
                  </a:lnTo>
                  <a:lnTo>
                    <a:pt x="294" y="38"/>
                  </a:lnTo>
                  <a:lnTo>
                    <a:pt x="294" y="40"/>
                  </a:lnTo>
                  <a:lnTo>
                    <a:pt x="292" y="48"/>
                  </a:lnTo>
                  <a:lnTo>
                    <a:pt x="292" y="51"/>
                  </a:lnTo>
                  <a:lnTo>
                    <a:pt x="292" y="55"/>
                  </a:lnTo>
                  <a:lnTo>
                    <a:pt x="292" y="56"/>
                  </a:lnTo>
                  <a:lnTo>
                    <a:pt x="293" y="58"/>
                  </a:lnTo>
                  <a:lnTo>
                    <a:pt x="293" y="59"/>
                  </a:lnTo>
                  <a:lnTo>
                    <a:pt x="294" y="61"/>
                  </a:lnTo>
                  <a:lnTo>
                    <a:pt x="295" y="62"/>
                  </a:lnTo>
                  <a:lnTo>
                    <a:pt x="296" y="63"/>
                  </a:lnTo>
                  <a:lnTo>
                    <a:pt x="296" y="63"/>
                  </a:lnTo>
                  <a:lnTo>
                    <a:pt x="297" y="64"/>
                  </a:lnTo>
                  <a:lnTo>
                    <a:pt x="299" y="64"/>
                  </a:lnTo>
                  <a:lnTo>
                    <a:pt x="302" y="64"/>
                  </a:lnTo>
                  <a:lnTo>
                    <a:pt x="310" y="64"/>
                  </a:lnTo>
                  <a:lnTo>
                    <a:pt x="319" y="64"/>
                  </a:lnTo>
                  <a:lnTo>
                    <a:pt x="321" y="63"/>
                  </a:lnTo>
                  <a:lnTo>
                    <a:pt x="324" y="63"/>
                  </a:lnTo>
                  <a:lnTo>
                    <a:pt x="325" y="62"/>
                  </a:lnTo>
                  <a:lnTo>
                    <a:pt x="327" y="61"/>
                  </a:lnTo>
                  <a:lnTo>
                    <a:pt x="328" y="59"/>
                  </a:lnTo>
                  <a:lnTo>
                    <a:pt x="330" y="55"/>
                  </a:lnTo>
                  <a:lnTo>
                    <a:pt x="331" y="54"/>
                  </a:lnTo>
                  <a:lnTo>
                    <a:pt x="333" y="52"/>
                  </a:lnTo>
                  <a:lnTo>
                    <a:pt x="336" y="49"/>
                  </a:lnTo>
                  <a:lnTo>
                    <a:pt x="339" y="47"/>
                  </a:lnTo>
                  <a:lnTo>
                    <a:pt x="346" y="42"/>
                  </a:lnTo>
                  <a:lnTo>
                    <a:pt x="354" y="35"/>
                  </a:lnTo>
                  <a:lnTo>
                    <a:pt x="358" y="33"/>
                  </a:lnTo>
                  <a:lnTo>
                    <a:pt x="363" y="29"/>
                  </a:lnTo>
                  <a:lnTo>
                    <a:pt x="365" y="27"/>
                  </a:lnTo>
                  <a:lnTo>
                    <a:pt x="367" y="26"/>
                  </a:lnTo>
                  <a:lnTo>
                    <a:pt x="370" y="25"/>
                  </a:lnTo>
                  <a:lnTo>
                    <a:pt x="374" y="23"/>
                  </a:lnTo>
                  <a:lnTo>
                    <a:pt x="378" y="21"/>
                  </a:lnTo>
                  <a:lnTo>
                    <a:pt x="380" y="21"/>
                  </a:lnTo>
                  <a:lnTo>
                    <a:pt x="381" y="21"/>
                  </a:lnTo>
                  <a:lnTo>
                    <a:pt x="386" y="20"/>
                  </a:lnTo>
                  <a:lnTo>
                    <a:pt x="391" y="19"/>
                  </a:lnTo>
                  <a:lnTo>
                    <a:pt x="394" y="19"/>
                  </a:lnTo>
                  <a:lnTo>
                    <a:pt x="396" y="19"/>
                  </a:lnTo>
                  <a:lnTo>
                    <a:pt x="398" y="19"/>
                  </a:lnTo>
                  <a:lnTo>
                    <a:pt x="399" y="20"/>
                  </a:lnTo>
                  <a:lnTo>
                    <a:pt x="400" y="20"/>
                  </a:lnTo>
                  <a:lnTo>
                    <a:pt x="402" y="21"/>
                  </a:lnTo>
                  <a:lnTo>
                    <a:pt x="405" y="22"/>
                  </a:lnTo>
                  <a:lnTo>
                    <a:pt x="407" y="24"/>
                  </a:lnTo>
                  <a:lnTo>
                    <a:pt x="408" y="25"/>
                  </a:lnTo>
                  <a:lnTo>
                    <a:pt x="409" y="27"/>
                  </a:lnTo>
                  <a:lnTo>
                    <a:pt x="410" y="30"/>
                  </a:lnTo>
                  <a:lnTo>
                    <a:pt x="410" y="32"/>
                  </a:lnTo>
                  <a:lnTo>
                    <a:pt x="411" y="33"/>
                  </a:lnTo>
                  <a:lnTo>
                    <a:pt x="411" y="34"/>
                  </a:lnTo>
                  <a:lnTo>
                    <a:pt x="411" y="36"/>
                  </a:lnTo>
                  <a:lnTo>
                    <a:pt x="410" y="42"/>
                  </a:lnTo>
                  <a:lnTo>
                    <a:pt x="410" y="47"/>
                  </a:lnTo>
                  <a:lnTo>
                    <a:pt x="407" y="57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6" y="68"/>
                  </a:lnTo>
                  <a:lnTo>
                    <a:pt x="407" y="71"/>
                  </a:lnTo>
                  <a:lnTo>
                    <a:pt x="407" y="73"/>
                  </a:lnTo>
                  <a:lnTo>
                    <a:pt x="408" y="76"/>
                  </a:lnTo>
                  <a:lnTo>
                    <a:pt x="410" y="79"/>
                  </a:lnTo>
                  <a:lnTo>
                    <a:pt x="411" y="82"/>
                  </a:lnTo>
                  <a:lnTo>
                    <a:pt x="413" y="85"/>
                  </a:lnTo>
                  <a:lnTo>
                    <a:pt x="415" y="87"/>
                  </a:lnTo>
                  <a:lnTo>
                    <a:pt x="417" y="88"/>
                  </a:lnTo>
                  <a:lnTo>
                    <a:pt x="419" y="89"/>
                  </a:lnTo>
                  <a:lnTo>
                    <a:pt x="421" y="89"/>
                  </a:lnTo>
                  <a:lnTo>
                    <a:pt x="421" y="89"/>
                  </a:lnTo>
                  <a:lnTo>
                    <a:pt x="422" y="89"/>
                  </a:lnTo>
                  <a:lnTo>
                    <a:pt x="423" y="88"/>
                  </a:lnTo>
                  <a:lnTo>
                    <a:pt x="424" y="87"/>
                  </a:lnTo>
                  <a:lnTo>
                    <a:pt x="426" y="85"/>
                  </a:lnTo>
                  <a:lnTo>
                    <a:pt x="430" y="80"/>
                  </a:lnTo>
                  <a:lnTo>
                    <a:pt x="431" y="78"/>
                  </a:lnTo>
                  <a:lnTo>
                    <a:pt x="432" y="77"/>
                  </a:lnTo>
                  <a:lnTo>
                    <a:pt x="437" y="71"/>
                  </a:lnTo>
                  <a:lnTo>
                    <a:pt x="439" y="69"/>
                  </a:lnTo>
                  <a:lnTo>
                    <a:pt x="440" y="68"/>
                  </a:lnTo>
                  <a:lnTo>
                    <a:pt x="441" y="67"/>
                  </a:lnTo>
                  <a:lnTo>
                    <a:pt x="442" y="63"/>
                  </a:lnTo>
                  <a:lnTo>
                    <a:pt x="443" y="61"/>
                  </a:lnTo>
                  <a:lnTo>
                    <a:pt x="444" y="60"/>
                  </a:lnTo>
                  <a:lnTo>
                    <a:pt x="445" y="58"/>
                  </a:lnTo>
                  <a:lnTo>
                    <a:pt x="446" y="57"/>
                  </a:lnTo>
                  <a:lnTo>
                    <a:pt x="448" y="56"/>
                  </a:lnTo>
                  <a:lnTo>
                    <a:pt x="453" y="55"/>
                  </a:lnTo>
                  <a:lnTo>
                    <a:pt x="454" y="54"/>
                  </a:lnTo>
                  <a:lnTo>
                    <a:pt x="455" y="52"/>
                  </a:lnTo>
                  <a:lnTo>
                    <a:pt x="456" y="51"/>
                  </a:lnTo>
                  <a:lnTo>
                    <a:pt x="457" y="51"/>
                  </a:lnTo>
                  <a:lnTo>
                    <a:pt x="458" y="51"/>
                  </a:lnTo>
                  <a:lnTo>
                    <a:pt x="459" y="51"/>
                  </a:lnTo>
                  <a:lnTo>
                    <a:pt x="460" y="51"/>
                  </a:lnTo>
                  <a:lnTo>
                    <a:pt x="463" y="52"/>
                  </a:lnTo>
                  <a:lnTo>
                    <a:pt x="464" y="53"/>
                  </a:lnTo>
                  <a:lnTo>
                    <a:pt x="465" y="52"/>
                  </a:lnTo>
                  <a:lnTo>
                    <a:pt x="466" y="52"/>
                  </a:lnTo>
                  <a:lnTo>
                    <a:pt x="467" y="52"/>
                  </a:lnTo>
                  <a:lnTo>
                    <a:pt x="469" y="50"/>
                  </a:lnTo>
                  <a:lnTo>
                    <a:pt x="471" y="49"/>
                  </a:lnTo>
                  <a:lnTo>
                    <a:pt x="473" y="47"/>
                  </a:lnTo>
                  <a:lnTo>
                    <a:pt x="475" y="44"/>
                  </a:lnTo>
                  <a:lnTo>
                    <a:pt x="476" y="43"/>
                  </a:lnTo>
                  <a:lnTo>
                    <a:pt x="477" y="41"/>
                  </a:lnTo>
                  <a:lnTo>
                    <a:pt x="477" y="38"/>
                  </a:lnTo>
                  <a:lnTo>
                    <a:pt x="477" y="35"/>
                  </a:lnTo>
                  <a:lnTo>
                    <a:pt x="477" y="34"/>
                  </a:lnTo>
                  <a:lnTo>
                    <a:pt x="476" y="32"/>
                  </a:lnTo>
                  <a:lnTo>
                    <a:pt x="471" y="14"/>
                  </a:lnTo>
                  <a:lnTo>
                    <a:pt x="471" y="10"/>
                  </a:lnTo>
                  <a:lnTo>
                    <a:pt x="471" y="9"/>
                  </a:lnTo>
                  <a:lnTo>
                    <a:pt x="471" y="8"/>
                  </a:lnTo>
                  <a:lnTo>
                    <a:pt x="471" y="7"/>
                  </a:lnTo>
                  <a:lnTo>
                    <a:pt x="472" y="5"/>
                  </a:lnTo>
                  <a:lnTo>
                    <a:pt x="473" y="4"/>
                  </a:lnTo>
                  <a:lnTo>
                    <a:pt x="475" y="3"/>
                  </a:lnTo>
                  <a:lnTo>
                    <a:pt x="476" y="3"/>
                  </a:lnTo>
                  <a:lnTo>
                    <a:pt x="478" y="2"/>
                  </a:lnTo>
                  <a:lnTo>
                    <a:pt x="479" y="3"/>
                  </a:lnTo>
                  <a:lnTo>
                    <a:pt x="481" y="3"/>
                  </a:lnTo>
                  <a:lnTo>
                    <a:pt x="483" y="4"/>
                  </a:lnTo>
                  <a:lnTo>
                    <a:pt x="484" y="5"/>
                  </a:lnTo>
                  <a:lnTo>
                    <a:pt x="485" y="6"/>
                  </a:lnTo>
                  <a:lnTo>
                    <a:pt x="486" y="7"/>
                  </a:lnTo>
                  <a:lnTo>
                    <a:pt x="488" y="10"/>
                  </a:lnTo>
                  <a:lnTo>
                    <a:pt x="490" y="15"/>
                  </a:lnTo>
                  <a:lnTo>
                    <a:pt x="493" y="21"/>
                  </a:lnTo>
                  <a:lnTo>
                    <a:pt x="495" y="23"/>
                  </a:lnTo>
                  <a:lnTo>
                    <a:pt x="496" y="28"/>
                  </a:lnTo>
                  <a:lnTo>
                    <a:pt x="497" y="29"/>
                  </a:lnTo>
                  <a:lnTo>
                    <a:pt x="497" y="32"/>
                  </a:lnTo>
                  <a:lnTo>
                    <a:pt x="498" y="35"/>
                  </a:lnTo>
                  <a:lnTo>
                    <a:pt x="498" y="41"/>
                  </a:lnTo>
                  <a:lnTo>
                    <a:pt x="498" y="44"/>
                  </a:lnTo>
                  <a:lnTo>
                    <a:pt x="498" y="47"/>
                  </a:lnTo>
                  <a:lnTo>
                    <a:pt x="499" y="50"/>
                  </a:lnTo>
                  <a:lnTo>
                    <a:pt x="500" y="53"/>
                  </a:lnTo>
                  <a:lnTo>
                    <a:pt x="501" y="55"/>
                  </a:lnTo>
                  <a:lnTo>
                    <a:pt x="504" y="62"/>
                  </a:lnTo>
                  <a:lnTo>
                    <a:pt x="506" y="64"/>
                  </a:lnTo>
                  <a:lnTo>
                    <a:pt x="509" y="67"/>
                  </a:lnTo>
                  <a:lnTo>
                    <a:pt x="510" y="69"/>
                  </a:lnTo>
                  <a:lnTo>
                    <a:pt x="511" y="72"/>
                  </a:lnTo>
                  <a:lnTo>
                    <a:pt x="512" y="77"/>
                  </a:lnTo>
                  <a:lnTo>
                    <a:pt x="512" y="79"/>
                  </a:lnTo>
                  <a:lnTo>
                    <a:pt x="513" y="81"/>
                  </a:lnTo>
                  <a:lnTo>
                    <a:pt x="514" y="84"/>
                  </a:lnTo>
                  <a:lnTo>
                    <a:pt x="515" y="86"/>
                  </a:lnTo>
                  <a:lnTo>
                    <a:pt x="516" y="87"/>
                  </a:lnTo>
                  <a:lnTo>
                    <a:pt x="518" y="89"/>
                  </a:lnTo>
                  <a:lnTo>
                    <a:pt x="520" y="90"/>
                  </a:lnTo>
                  <a:lnTo>
                    <a:pt x="523" y="92"/>
                  </a:lnTo>
                  <a:lnTo>
                    <a:pt x="525" y="93"/>
                  </a:lnTo>
                  <a:lnTo>
                    <a:pt x="528" y="95"/>
                  </a:lnTo>
                  <a:lnTo>
                    <a:pt x="529" y="95"/>
                  </a:lnTo>
                  <a:lnTo>
                    <a:pt x="530" y="95"/>
                  </a:lnTo>
                  <a:lnTo>
                    <a:pt x="530" y="96"/>
                  </a:lnTo>
                  <a:lnTo>
                    <a:pt x="529" y="97"/>
                  </a:lnTo>
                  <a:lnTo>
                    <a:pt x="529" y="98"/>
                  </a:lnTo>
                  <a:lnTo>
                    <a:pt x="529" y="99"/>
                  </a:lnTo>
                  <a:lnTo>
                    <a:pt x="530" y="101"/>
                  </a:lnTo>
                  <a:lnTo>
                    <a:pt x="531" y="104"/>
                  </a:lnTo>
                  <a:lnTo>
                    <a:pt x="532" y="107"/>
                  </a:lnTo>
                  <a:lnTo>
                    <a:pt x="534" y="109"/>
                  </a:lnTo>
                  <a:lnTo>
                    <a:pt x="535" y="111"/>
                  </a:lnTo>
                  <a:lnTo>
                    <a:pt x="537" y="113"/>
                  </a:lnTo>
                  <a:lnTo>
                    <a:pt x="539" y="115"/>
                  </a:lnTo>
                  <a:lnTo>
                    <a:pt x="549" y="122"/>
                  </a:lnTo>
                  <a:lnTo>
                    <a:pt x="551" y="123"/>
                  </a:lnTo>
                  <a:lnTo>
                    <a:pt x="557" y="128"/>
                  </a:lnTo>
                  <a:lnTo>
                    <a:pt x="558" y="129"/>
                  </a:lnTo>
                  <a:lnTo>
                    <a:pt x="560" y="131"/>
                  </a:lnTo>
                  <a:lnTo>
                    <a:pt x="564" y="133"/>
                  </a:lnTo>
                  <a:lnTo>
                    <a:pt x="572" y="136"/>
                  </a:lnTo>
                  <a:lnTo>
                    <a:pt x="577" y="138"/>
                  </a:lnTo>
                  <a:lnTo>
                    <a:pt x="580" y="139"/>
                  </a:lnTo>
                  <a:lnTo>
                    <a:pt x="584" y="140"/>
                  </a:lnTo>
                  <a:lnTo>
                    <a:pt x="591" y="141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9" y="141"/>
                  </a:lnTo>
                  <a:lnTo>
                    <a:pt x="604" y="138"/>
                  </a:lnTo>
                  <a:lnTo>
                    <a:pt x="610" y="136"/>
                  </a:lnTo>
                  <a:lnTo>
                    <a:pt x="616" y="134"/>
                  </a:lnTo>
                  <a:lnTo>
                    <a:pt x="628" y="130"/>
                  </a:lnTo>
                  <a:lnTo>
                    <a:pt x="633" y="128"/>
                  </a:lnTo>
                  <a:lnTo>
                    <a:pt x="640" y="126"/>
                  </a:lnTo>
                  <a:lnTo>
                    <a:pt x="644" y="126"/>
                  </a:lnTo>
                  <a:lnTo>
                    <a:pt x="645" y="126"/>
                  </a:lnTo>
                  <a:lnTo>
                    <a:pt x="647" y="126"/>
                  </a:lnTo>
                  <a:lnTo>
                    <a:pt x="648" y="126"/>
                  </a:lnTo>
                  <a:lnTo>
                    <a:pt x="649" y="127"/>
                  </a:lnTo>
                  <a:lnTo>
                    <a:pt x="651" y="128"/>
                  </a:lnTo>
                  <a:lnTo>
                    <a:pt x="652" y="129"/>
                  </a:lnTo>
                  <a:lnTo>
                    <a:pt x="653" y="130"/>
                  </a:lnTo>
                  <a:lnTo>
                    <a:pt x="654" y="132"/>
                  </a:lnTo>
                  <a:lnTo>
                    <a:pt x="656" y="134"/>
                  </a:lnTo>
                  <a:lnTo>
                    <a:pt x="657" y="135"/>
                  </a:lnTo>
                  <a:lnTo>
                    <a:pt x="658" y="137"/>
                  </a:lnTo>
                  <a:lnTo>
                    <a:pt x="659" y="139"/>
                  </a:lnTo>
                  <a:lnTo>
                    <a:pt x="660" y="141"/>
                  </a:lnTo>
                  <a:lnTo>
                    <a:pt x="660" y="145"/>
                  </a:lnTo>
                  <a:lnTo>
                    <a:pt x="662" y="153"/>
                  </a:lnTo>
                  <a:lnTo>
                    <a:pt x="664" y="160"/>
                  </a:lnTo>
                  <a:lnTo>
                    <a:pt x="665" y="168"/>
                  </a:lnTo>
                  <a:lnTo>
                    <a:pt x="663" y="170"/>
                  </a:lnTo>
                  <a:lnTo>
                    <a:pt x="660" y="173"/>
                  </a:lnTo>
                  <a:lnTo>
                    <a:pt x="660" y="175"/>
                  </a:lnTo>
                  <a:lnTo>
                    <a:pt x="659" y="177"/>
                  </a:lnTo>
                  <a:lnTo>
                    <a:pt x="657" y="180"/>
                  </a:lnTo>
                  <a:lnTo>
                    <a:pt x="656" y="181"/>
                  </a:lnTo>
                  <a:lnTo>
                    <a:pt x="655" y="185"/>
                  </a:lnTo>
                  <a:lnTo>
                    <a:pt x="654" y="188"/>
                  </a:lnTo>
                  <a:lnTo>
                    <a:pt x="654" y="191"/>
                  </a:lnTo>
                  <a:lnTo>
                    <a:pt x="654" y="192"/>
                  </a:lnTo>
                  <a:lnTo>
                    <a:pt x="654" y="193"/>
                  </a:lnTo>
                  <a:lnTo>
                    <a:pt x="655" y="200"/>
                  </a:lnTo>
                  <a:lnTo>
                    <a:pt x="658" y="205"/>
                  </a:lnTo>
                  <a:lnTo>
                    <a:pt x="659" y="211"/>
                  </a:lnTo>
                  <a:lnTo>
                    <a:pt x="659" y="212"/>
                  </a:lnTo>
                  <a:lnTo>
                    <a:pt x="659" y="213"/>
                  </a:lnTo>
                  <a:lnTo>
                    <a:pt x="658" y="219"/>
                  </a:lnTo>
                  <a:lnTo>
                    <a:pt x="658" y="220"/>
                  </a:lnTo>
                  <a:lnTo>
                    <a:pt x="658" y="219"/>
                  </a:lnTo>
                  <a:lnTo>
                    <a:pt x="657" y="219"/>
                  </a:lnTo>
                  <a:lnTo>
                    <a:pt x="655" y="219"/>
                  </a:lnTo>
                  <a:lnTo>
                    <a:pt x="654" y="219"/>
                  </a:lnTo>
                  <a:lnTo>
                    <a:pt x="654" y="220"/>
                  </a:lnTo>
                  <a:lnTo>
                    <a:pt x="652" y="221"/>
                  </a:lnTo>
                  <a:lnTo>
                    <a:pt x="648" y="228"/>
                  </a:lnTo>
                  <a:lnTo>
                    <a:pt x="645" y="231"/>
                  </a:lnTo>
                  <a:lnTo>
                    <a:pt x="637" y="239"/>
                  </a:lnTo>
                  <a:lnTo>
                    <a:pt x="630" y="248"/>
                  </a:lnTo>
                  <a:lnTo>
                    <a:pt x="626" y="254"/>
                  </a:lnTo>
                  <a:lnTo>
                    <a:pt x="622" y="259"/>
                  </a:lnTo>
                  <a:lnTo>
                    <a:pt x="620" y="263"/>
                  </a:lnTo>
                  <a:lnTo>
                    <a:pt x="617" y="267"/>
                  </a:lnTo>
                  <a:lnTo>
                    <a:pt x="614" y="274"/>
                  </a:lnTo>
                  <a:lnTo>
                    <a:pt x="613" y="276"/>
                  </a:lnTo>
                  <a:lnTo>
                    <a:pt x="612" y="277"/>
                  </a:lnTo>
                  <a:lnTo>
                    <a:pt x="610" y="279"/>
                  </a:lnTo>
                  <a:lnTo>
                    <a:pt x="609" y="280"/>
                  </a:lnTo>
                  <a:lnTo>
                    <a:pt x="605" y="282"/>
                  </a:lnTo>
                  <a:lnTo>
                    <a:pt x="603" y="282"/>
                  </a:lnTo>
                  <a:lnTo>
                    <a:pt x="603" y="283"/>
                  </a:lnTo>
                  <a:lnTo>
                    <a:pt x="602" y="285"/>
                  </a:lnTo>
                  <a:lnTo>
                    <a:pt x="601" y="286"/>
                  </a:lnTo>
                  <a:lnTo>
                    <a:pt x="601" y="287"/>
                  </a:lnTo>
                  <a:lnTo>
                    <a:pt x="600" y="289"/>
                  </a:lnTo>
                  <a:lnTo>
                    <a:pt x="600" y="291"/>
                  </a:lnTo>
                  <a:lnTo>
                    <a:pt x="600" y="292"/>
                  </a:lnTo>
                  <a:lnTo>
                    <a:pt x="601" y="293"/>
                  </a:lnTo>
                  <a:lnTo>
                    <a:pt x="602" y="295"/>
                  </a:lnTo>
                  <a:lnTo>
                    <a:pt x="603" y="300"/>
                  </a:lnTo>
                  <a:lnTo>
                    <a:pt x="605" y="302"/>
                  </a:lnTo>
                  <a:lnTo>
                    <a:pt x="608" y="310"/>
                  </a:lnTo>
                  <a:lnTo>
                    <a:pt x="613" y="323"/>
                  </a:lnTo>
                  <a:lnTo>
                    <a:pt x="615" y="328"/>
                  </a:lnTo>
                  <a:lnTo>
                    <a:pt x="616" y="331"/>
                  </a:lnTo>
                  <a:lnTo>
                    <a:pt x="616" y="333"/>
                  </a:lnTo>
                  <a:lnTo>
                    <a:pt x="616" y="335"/>
                  </a:lnTo>
                  <a:lnTo>
                    <a:pt x="616" y="337"/>
                  </a:lnTo>
                  <a:lnTo>
                    <a:pt x="616" y="338"/>
                  </a:lnTo>
                  <a:lnTo>
                    <a:pt x="616" y="340"/>
                  </a:lnTo>
                  <a:lnTo>
                    <a:pt x="615" y="343"/>
                  </a:lnTo>
                  <a:lnTo>
                    <a:pt x="615" y="344"/>
                  </a:lnTo>
                  <a:lnTo>
                    <a:pt x="615" y="345"/>
                  </a:lnTo>
                  <a:lnTo>
                    <a:pt x="614" y="345"/>
                  </a:lnTo>
                  <a:lnTo>
                    <a:pt x="614" y="345"/>
                  </a:lnTo>
                  <a:lnTo>
                    <a:pt x="613" y="344"/>
                  </a:lnTo>
                  <a:lnTo>
                    <a:pt x="612" y="343"/>
                  </a:lnTo>
                  <a:lnTo>
                    <a:pt x="611" y="343"/>
                  </a:lnTo>
                  <a:lnTo>
                    <a:pt x="611" y="344"/>
                  </a:lnTo>
                  <a:lnTo>
                    <a:pt x="609" y="348"/>
                  </a:lnTo>
                  <a:lnTo>
                    <a:pt x="609" y="349"/>
                  </a:lnTo>
                  <a:lnTo>
                    <a:pt x="608" y="350"/>
                  </a:lnTo>
                  <a:lnTo>
                    <a:pt x="606" y="351"/>
                  </a:lnTo>
                  <a:lnTo>
                    <a:pt x="605" y="351"/>
                  </a:lnTo>
                  <a:lnTo>
                    <a:pt x="603" y="352"/>
                  </a:lnTo>
                  <a:lnTo>
                    <a:pt x="596" y="354"/>
                  </a:lnTo>
                  <a:lnTo>
                    <a:pt x="594" y="355"/>
                  </a:lnTo>
                  <a:lnTo>
                    <a:pt x="590" y="357"/>
                  </a:lnTo>
                  <a:lnTo>
                    <a:pt x="583" y="358"/>
                  </a:lnTo>
                  <a:lnTo>
                    <a:pt x="579" y="360"/>
                  </a:lnTo>
                  <a:lnTo>
                    <a:pt x="576" y="361"/>
                  </a:lnTo>
                  <a:lnTo>
                    <a:pt x="572" y="363"/>
                  </a:lnTo>
                  <a:lnTo>
                    <a:pt x="569" y="365"/>
                  </a:lnTo>
                  <a:lnTo>
                    <a:pt x="562" y="370"/>
                  </a:lnTo>
                  <a:lnTo>
                    <a:pt x="558" y="371"/>
                  </a:lnTo>
                  <a:lnTo>
                    <a:pt x="557" y="372"/>
                  </a:lnTo>
                  <a:lnTo>
                    <a:pt x="556" y="372"/>
                  </a:lnTo>
                  <a:lnTo>
                    <a:pt x="554" y="372"/>
                  </a:lnTo>
                  <a:lnTo>
                    <a:pt x="552" y="373"/>
                  </a:lnTo>
                  <a:lnTo>
                    <a:pt x="550" y="373"/>
                  </a:lnTo>
                  <a:lnTo>
                    <a:pt x="548" y="373"/>
                  </a:lnTo>
                  <a:lnTo>
                    <a:pt x="546" y="373"/>
                  </a:lnTo>
                  <a:lnTo>
                    <a:pt x="545" y="373"/>
                  </a:lnTo>
                  <a:lnTo>
                    <a:pt x="542" y="372"/>
                  </a:lnTo>
                  <a:lnTo>
                    <a:pt x="537" y="371"/>
                  </a:lnTo>
                  <a:lnTo>
                    <a:pt x="535" y="370"/>
                  </a:lnTo>
                  <a:lnTo>
                    <a:pt x="533" y="368"/>
                  </a:lnTo>
                  <a:lnTo>
                    <a:pt x="531" y="367"/>
                  </a:lnTo>
                  <a:lnTo>
                    <a:pt x="529" y="366"/>
                  </a:lnTo>
                  <a:lnTo>
                    <a:pt x="527" y="364"/>
                  </a:lnTo>
                  <a:lnTo>
                    <a:pt x="526" y="363"/>
                  </a:lnTo>
                  <a:lnTo>
                    <a:pt x="524" y="362"/>
                  </a:lnTo>
                  <a:lnTo>
                    <a:pt x="524" y="361"/>
                  </a:lnTo>
                  <a:lnTo>
                    <a:pt x="523" y="358"/>
                  </a:lnTo>
                  <a:lnTo>
                    <a:pt x="523" y="357"/>
                  </a:lnTo>
                  <a:lnTo>
                    <a:pt x="522" y="357"/>
                  </a:lnTo>
                  <a:lnTo>
                    <a:pt x="521" y="357"/>
                  </a:lnTo>
                  <a:lnTo>
                    <a:pt x="520" y="358"/>
                  </a:lnTo>
                  <a:lnTo>
                    <a:pt x="514" y="361"/>
                  </a:lnTo>
                  <a:lnTo>
                    <a:pt x="512" y="361"/>
                  </a:lnTo>
                  <a:lnTo>
                    <a:pt x="510" y="361"/>
                  </a:lnTo>
                  <a:lnTo>
                    <a:pt x="504" y="362"/>
                  </a:lnTo>
                  <a:lnTo>
                    <a:pt x="501" y="362"/>
                  </a:lnTo>
                  <a:lnTo>
                    <a:pt x="498" y="363"/>
                  </a:lnTo>
                  <a:lnTo>
                    <a:pt x="497" y="364"/>
                  </a:lnTo>
                  <a:lnTo>
                    <a:pt x="495" y="365"/>
                  </a:lnTo>
                  <a:lnTo>
                    <a:pt x="494" y="365"/>
                  </a:lnTo>
                  <a:lnTo>
                    <a:pt x="493" y="367"/>
                  </a:lnTo>
                  <a:lnTo>
                    <a:pt x="491" y="368"/>
                  </a:lnTo>
                  <a:lnTo>
                    <a:pt x="490" y="370"/>
                  </a:lnTo>
                  <a:lnTo>
                    <a:pt x="489" y="371"/>
                  </a:lnTo>
                  <a:lnTo>
                    <a:pt x="489" y="372"/>
                  </a:lnTo>
                  <a:lnTo>
                    <a:pt x="488" y="375"/>
                  </a:lnTo>
                  <a:lnTo>
                    <a:pt x="487" y="377"/>
                  </a:lnTo>
                  <a:lnTo>
                    <a:pt x="486" y="380"/>
                  </a:lnTo>
                  <a:lnTo>
                    <a:pt x="486" y="383"/>
                  </a:lnTo>
                  <a:lnTo>
                    <a:pt x="486" y="384"/>
                  </a:lnTo>
                  <a:lnTo>
                    <a:pt x="487" y="395"/>
                  </a:lnTo>
                  <a:lnTo>
                    <a:pt x="487" y="398"/>
                  </a:lnTo>
                  <a:lnTo>
                    <a:pt x="487" y="401"/>
                  </a:lnTo>
                  <a:lnTo>
                    <a:pt x="486" y="403"/>
                  </a:lnTo>
                  <a:lnTo>
                    <a:pt x="485" y="406"/>
                  </a:lnTo>
                  <a:lnTo>
                    <a:pt x="484" y="406"/>
                  </a:lnTo>
                  <a:lnTo>
                    <a:pt x="483" y="408"/>
                  </a:lnTo>
                  <a:lnTo>
                    <a:pt x="481" y="410"/>
                  </a:lnTo>
                  <a:lnTo>
                    <a:pt x="479" y="411"/>
                  </a:lnTo>
                  <a:lnTo>
                    <a:pt x="478" y="411"/>
                  </a:lnTo>
                  <a:lnTo>
                    <a:pt x="477" y="412"/>
                  </a:lnTo>
                  <a:lnTo>
                    <a:pt x="475" y="412"/>
                  </a:lnTo>
                  <a:lnTo>
                    <a:pt x="473" y="412"/>
                  </a:lnTo>
                  <a:lnTo>
                    <a:pt x="472" y="412"/>
                  </a:lnTo>
                  <a:lnTo>
                    <a:pt x="466" y="411"/>
                  </a:lnTo>
                  <a:lnTo>
                    <a:pt x="463" y="411"/>
                  </a:lnTo>
                  <a:lnTo>
                    <a:pt x="458" y="411"/>
                  </a:lnTo>
                  <a:lnTo>
                    <a:pt x="455" y="412"/>
                  </a:lnTo>
                  <a:lnTo>
                    <a:pt x="451" y="413"/>
                  </a:lnTo>
                  <a:lnTo>
                    <a:pt x="446" y="414"/>
                  </a:lnTo>
                  <a:lnTo>
                    <a:pt x="444" y="415"/>
                  </a:lnTo>
                  <a:lnTo>
                    <a:pt x="436" y="418"/>
                  </a:lnTo>
                  <a:lnTo>
                    <a:pt x="432" y="418"/>
                  </a:lnTo>
                  <a:lnTo>
                    <a:pt x="431" y="419"/>
                  </a:lnTo>
                  <a:lnTo>
                    <a:pt x="429" y="419"/>
                  </a:lnTo>
                  <a:lnTo>
                    <a:pt x="424" y="420"/>
                  </a:lnTo>
                  <a:lnTo>
                    <a:pt x="422" y="420"/>
                  </a:lnTo>
                  <a:lnTo>
                    <a:pt x="421" y="421"/>
                  </a:lnTo>
                  <a:lnTo>
                    <a:pt x="419" y="422"/>
                  </a:lnTo>
                  <a:lnTo>
                    <a:pt x="418" y="422"/>
                  </a:lnTo>
                  <a:lnTo>
                    <a:pt x="417" y="423"/>
                  </a:lnTo>
                  <a:lnTo>
                    <a:pt x="417" y="424"/>
                  </a:lnTo>
                  <a:lnTo>
                    <a:pt x="416" y="425"/>
                  </a:lnTo>
                  <a:lnTo>
                    <a:pt x="415" y="427"/>
                  </a:lnTo>
                  <a:lnTo>
                    <a:pt x="412" y="434"/>
                  </a:lnTo>
                  <a:lnTo>
                    <a:pt x="411" y="437"/>
                  </a:lnTo>
                  <a:lnTo>
                    <a:pt x="410" y="440"/>
                  </a:lnTo>
                  <a:lnTo>
                    <a:pt x="408" y="441"/>
                  </a:lnTo>
                  <a:lnTo>
                    <a:pt x="406" y="444"/>
                  </a:lnTo>
                  <a:lnTo>
                    <a:pt x="402" y="447"/>
                  </a:lnTo>
                  <a:lnTo>
                    <a:pt x="398" y="450"/>
                  </a:lnTo>
                  <a:lnTo>
                    <a:pt x="391" y="454"/>
                  </a:lnTo>
                  <a:lnTo>
                    <a:pt x="387" y="457"/>
                  </a:lnTo>
                  <a:lnTo>
                    <a:pt x="384" y="461"/>
                  </a:lnTo>
                  <a:lnTo>
                    <a:pt x="383" y="463"/>
                  </a:lnTo>
                  <a:lnTo>
                    <a:pt x="382" y="463"/>
                  </a:lnTo>
                  <a:lnTo>
                    <a:pt x="381" y="465"/>
                  </a:lnTo>
                  <a:lnTo>
                    <a:pt x="380" y="466"/>
                  </a:lnTo>
                  <a:lnTo>
                    <a:pt x="380" y="468"/>
                  </a:lnTo>
                  <a:lnTo>
                    <a:pt x="379" y="470"/>
                  </a:lnTo>
                  <a:lnTo>
                    <a:pt x="379" y="472"/>
                  </a:lnTo>
                  <a:lnTo>
                    <a:pt x="380" y="474"/>
                  </a:lnTo>
                  <a:lnTo>
                    <a:pt x="380" y="476"/>
                  </a:lnTo>
                  <a:lnTo>
                    <a:pt x="381" y="479"/>
                  </a:lnTo>
                  <a:lnTo>
                    <a:pt x="382" y="481"/>
                  </a:lnTo>
                  <a:lnTo>
                    <a:pt x="387" y="489"/>
                  </a:lnTo>
                  <a:lnTo>
                    <a:pt x="390" y="495"/>
                  </a:lnTo>
                  <a:lnTo>
                    <a:pt x="391" y="497"/>
                  </a:lnTo>
                  <a:lnTo>
                    <a:pt x="392" y="499"/>
                  </a:lnTo>
                  <a:lnTo>
                    <a:pt x="393" y="502"/>
                  </a:lnTo>
                  <a:lnTo>
                    <a:pt x="394" y="504"/>
                  </a:lnTo>
                  <a:lnTo>
                    <a:pt x="394" y="506"/>
                  </a:lnTo>
                  <a:lnTo>
                    <a:pt x="394" y="508"/>
                  </a:lnTo>
                  <a:lnTo>
                    <a:pt x="394" y="508"/>
                  </a:lnTo>
                  <a:lnTo>
                    <a:pt x="393" y="510"/>
                  </a:lnTo>
                  <a:lnTo>
                    <a:pt x="393" y="511"/>
                  </a:lnTo>
                  <a:lnTo>
                    <a:pt x="392" y="513"/>
                  </a:lnTo>
                  <a:lnTo>
                    <a:pt x="391" y="514"/>
                  </a:lnTo>
                  <a:lnTo>
                    <a:pt x="390" y="515"/>
                  </a:lnTo>
                  <a:lnTo>
                    <a:pt x="389" y="516"/>
                  </a:lnTo>
                  <a:lnTo>
                    <a:pt x="388" y="517"/>
                  </a:lnTo>
                  <a:lnTo>
                    <a:pt x="387" y="517"/>
                  </a:lnTo>
                  <a:lnTo>
                    <a:pt x="387" y="516"/>
                  </a:lnTo>
                  <a:lnTo>
                    <a:pt x="382" y="514"/>
                  </a:lnTo>
                  <a:lnTo>
                    <a:pt x="376" y="512"/>
                  </a:lnTo>
                  <a:lnTo>
                    <a:pt x="366" y="508"/>
                  </a:lnTo>
                  <a:lnTo>
                    <a:pt x="364" y="508"/>
                  </a:lnTo>
                  <a:lnTo>
                    <a:pt x="361" y="507"/>
                  </a:lnTo>
                  <a:lnTo>
                    <a:pt x="359" y="507"/>
                  </a:lnTo>
                  <a:lnTo>
                    <a:pt x="356" y="506"/>
                  </a:lnTo>
                  <a:lnTo>
                    <a:pt x="354" y="507"/>
                  </a:lnTo>
                  <a:lnTo>
                    <a:pt x="353" y="507"/>
                  </a:lnTo>
                  <a:lnTo>
                    <a:pt x="351" y="507"/>
                  </a:lnTo>
                  <a:lnTo>
                    <a:pt x="349" y="508"/>
                  </a:lnTo>
                  <a:lnTo>
                    <a:pt x="348" y="508"/>
                  </a:lnTo>
                  <a:lnTo>
                    <a:pt x="348" y="508"/>
                  </a:lnTo>
                  <a:lnTo>
                    <a:pt x="347" y="508"/>
                  </a:lnTo>
                  <a:lnTo>
                    <a:pt x="343" y="505"/>
                  </a:lnTo>
                  <a:lnTo>
                    <a:pt x="341" y="501"/>
                  </a:lnTo>
                  <a:lnTo>
                    <a:pt x="337" y="497"/>
                  </a:lnTo>
                  <a:lnTo>
                    <a:pt x="334" y="493"/>
                  </a:lnTo>
                  <a:lnTo>
                    <a:pt x="332" y="489"/>
                  </a:lnTo>
                  <a:lnTo>
                    <a:pt x="328" y="480"/>
                  </a:lnTo>
                  <a:lnTo>
                    <a:pt x="320" y="467"/>
                  </a:lnTo>
                  <a:lnTo>
                    <a:pt x="315" y="457"/>
                  </a:lnTo>
                  <a:lnTo>
                    <a:pt x="305" y="439"/>
                  </a:lnTo>
                  <a:lnTo>
                    <a:pt x="303" y="436"/>
                  </a:lnTo>
                  <a:lnTo>
                    <a:pt x="301" y="433"/>
                  </a:lnTo>
                  <a:lnTo>
                    <a:pt x="298" y="429"/>
                  </a:lnTo>
                  <a:lnTo>
                    <a:pt x="292" y="421"/>
                  </a:lnTo>
                  <a:lnTo>
                    <a:pt x="289" y="419"/>
                  </a:lnTo>
                  <a:lnTo>
                    <a:pt x="284" y="415"/>
                  </a:lnTo>
                  <a:lnTo>
                    <a:pt x="281" y="412"/>
                  </a:lnTo>
                  <a:lnTo>
                    <a:pt x="278" y="408"/>
                  </a:lnTo>
                  <a:lnTo>
                    <a:pt x="271" y="399"/>
                  </a:lnTo>
                  <a:lnTo>
                    <a:pt x="269" y="396"/>
                  </a:lnTo>
                  <a:lnTo>
                    <a:pt x="267" y="395"/>
                  </a:lnTo>
                  <a:lnTo>
                    <a:pt x="265" y="394"/>
                  </a:lnTo>
                  <a:lnTo>
                    <a:pt x="264" y="394"/>
                  </a:lnTo>
                  <a:lnTo>
                    <a:pt x="262" y="393"/>
                  </a:lnTo>
                  <a:lnTo>
                    <a:pt x="261" y="392"/>
                  </a:lnTo>
                  <a:lnTo>
                    <a:pt x="260" y="392"/>
                  </a:lnTo>
                  <a:lnTo>
                    <a:pt x="258" y="392"/>
                  </a:lnTo>
                  <a:lnTo>
                    <a:pt x="257" y="392"/>
                  </a:lnTo>
                  <a:lnTo>
                    <a:pt x="255" y="392"/>
                  </a:lnTo>
                  <a:lnTo>
                    <a:pt x="252" y="393"/>
                  </a:lnTo>
                  <a:lnTo>
                    <a:pt x="250" y="394"/>
                  </a:lnTo>
                  <a:lnTo>
                    <a:pt x="247" y="395"/>
                  </a:lnTo>
                  <a:lnTo>
                    <a:pt x="245" y="396"/>
                  </a:lnTo>
                  <a:lnTo>
                    <a:pt x="241" y="398"/>
                  </a:lnTo>
                  <a:lnTo>
                    <a:pt x="236" y="402"/>
                  </a:lnTo>
                  <a:lnTo>
                    <a:pt x="234" y="403"/>
                  </a:lnTo>
                  <a:lnTo>
                    <a:pt x="233" y="404"/>
                  </a:lnTo>
                  <a:lnTo>
                    <a:pt x="231" y="404"/>
                  </a:lnTo>
                  <a:lnTo>
                    <a:pt x="230" y="404"/>
                  </a:lnTo>
                  <a:lnTo>
                    <a:pt x="229" y="404"/>
                  </a:lnTo>
                  <a:lnTo>
                    <a:pt x="228" y="403"/>
                  </a:lnTo>
                  <a:lnTo>
                    <a:pt x="227" y="403"/>
                  </a:lnTo>
                  <a:lnTo>
                    <a:pt x="226" y="402"/>
                  </a:lnTo>
                  <a:lnTo>
                    <a:pt x="224" y="401"/>
                  </a:lnTo>
                  <a:lnTo>
                    <a:pt x="222" y="399"/>
                  </a:lnTo>
                  <a:lnTo>
                    <a:pt x="218" y="396"/>
                  </a:lnTo>
                  <a:lnTo>
                    <a:pt x="213" y="392"/>
                  </a:lnTo>
                  <a:lnTo>
                    <a:pt x="211" y="390"/>
                  </a:lnTo>
                  <a:lnTo>
                    <a:pt x="209" y="389"/>
                  </a:lnTo>
                  <a:lnTo>
                    <a:pt x="206" y="387"/>
                  </a:lnTo>
                  <a:lnTo>
                    <a:pt x="204" y="386"/>
                  </a:lnTo>
                  <a:lnTo>
                    <a:pt x="201" y="385"/>
                  </a:lnTo>
                  <a:lnTo>
                    <a:pt x="198" y="384"/>
                  </a:lnTo>
                  <a:lnTo>
                    <a:pt x="195" y="384"/>
                  </a:lnTo>
                  <a:lnTo>
                    <a:pt x="192" y="384"/>
                  </a:lnTo>
                  <a:lnTo>
                    <a:pt x="183" y="384"/>
                  </a:lnTo>
                  <a:lnTo>
                    <a:pt x="182" y="383"/>
                  </a:lnTo>
                  <a:lnTo>
                    <a:pt x="180" y="383"/>
                  </a:lnTo>
                  <a:lnTo>
                    <a:pt x="177" y="382"/>
                  </a:lnTo>
                  <a:lnTo>
                    <a:pt x="174" y="381"/>
                  </a:lnTo>
                  <a:lnTo>
                    <a:pt x="171" y="380"/>
                  </a:lnTo>
                  <a:lnTo>
                    <a:pt x="168" y="378"/>
                  </a:lnTo>
                  <a:lnTo>
                    <a:pt x="166" y="376"/>
                  </a:lnTo>
                  <a:lnTo>
                    <a:pt x="162" y="373"/>
                  </a:lnTo>
                  <a:lnTo>
                    <a:pt x="160" y="371"/>
                  </a:lnTo>
                  <a:lnTo>
                    <a:pt x="158" y="368"/>
                  </a:lnTo>
                  <a:lnTo>
                    <a:pt x="153" y="360"/>
                  </a:lnTo>
                  <a:lnTo>
                    <a:pt x="151" y="357"/>
                  </a:lnTo>
                  <a:lnTo>
                    <a:pt x="139" y="336"/>
                  </a:lnTo>
                  <a:lnTo>
                    <a:pt x="138" y="333"/>
                  </a:lnTo>
                  <a:lnTo>
                    <a:pt x="137" y="331"/>
                  </a:lnTo>
                  <a:lnTo>
                    <a:pt x="136" y="329"/>
                  </a:lnTo>
                  <a:lnTo>
                    <a:pt x="134" y="328"/>
                  </a:lnTo>
                  <a:lnTo>
                    <a:pt x="127" y="323"/>
                  </a:lnTo>
                  <a:lnTo>
                    <a:pt x="125" y="321"/>
                  </a:lnTo>
                  <a:lnTo>
                    <a:pt x="123" y="317"/>
                  </a:lnTo>
                  <a:lnTo>
                    <a:pt x="121" y="315"/>
                  </a:lnTo>
                  <a:lnTo>
                    <a:pt x="119" y="312"/>
                  </a:lnTo>
                  <a:lnTo>
                    <a:pt x="117" y="309"/>
                  </a:lnTo>
                  <a:lnTo>
                    <a:pt x="115" y="304"/>
                  </a:lnTo>
                  <a:lnTo>
                    <a:pt x="114" y="299"/>
                  </a:lnTo>
                  <a:lnTo>
                    <a:pt x="112" y="296"/>
                  </a:lnTo>
                  <a:lnTo>
                    <a:pt x="111" y="295"/>
                  </a:lnTo>
                  <a:lnTo>
                    <a:pt x="110" y="293"/>
                  </a:lnTo>
                  <a:lnTo>
                    <a:pt x="108" y="292"/>
                  </a:lnTo>
                  <a:lnTo>
                    <a:pt x="106" y="290"/>
                  </a:lnTo>
                  <a:lnTo>
                    <a:pt x="103" y="288"/>
                  </a:lnTo>
                  <a:lnTo>
                    <a:pt x="102" y="287"/>
                  </a:lnTo>
                  <a:lnTo>
                    <a:pt x="100" y="286"/>
                  </a:lnTo>
                  <a:lnTo>
                    <a:pt x="97" y="285"/>
                  </a:lnTo>
                  <a:lnTo>
                    <a:pt x="90" y="284"/>
                  </a:lnTo>
                  <a:lnTo>
                    <a:pt x="85" y="283"/>
                  </a:lnTo>
                  <a:lnTo>
                    <a:pt x="83" y="282"/>
                  </a:lnTo>
                  <a:lnTo>
                    <a:pt x="82" y="282"/>
                  </a:lnTo>
                  <a:lnTo>
                    <a:pt x="80" y="281"/>
                  </a:lnTo>
                  <a:lnTo>
                    <a:pt x="80" y="281"/>
                  </a:lnTo>
                  <a:lnTo>
                    <a:pt x="77" y="279"/>
                  </a:lnTo>
                  <a:lnTo>
                    <a:pt x="75" y="276"/>
                  </a:lnTo>
                  <a:lnTo>
                    <a:pt x="74" y="275"/>
                  </a:lnTo>
                  <a:lnTo>
                    <a:pt x="73" y="273"/>
                  </a:lnTo>
                  <a:lnTo>
                    <a:pt x="70" y="267"/>
                  </a:lnTo>
                  <a:lnTo>
                    <a:pt x="69" y="266"/>
                  </a:lnTo>
                  <a:lnTo>
                    <a:pt x="68" y="265"/>
                  </a:lnTo>
                  <a:lnTo>
                    <a:pt x="68" y="264"/>
                  </a:lnTo>
                  <a:lnTo>
                    <a:pt x="67" y="263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1" y="263"/>
                  </a:lnTo>
                  <a:lnTo>
                    <a:pt x="60" y="263"/>
                  </a:lnTo>
                  <a:lnTo>
                    <a:pt x="57" y="265"/>
                  </a:lnTo>
                  <a:lnTo>
                    <a:pt x="57" y="266"/>
                  </a:lnTo>
                  <a:lnTo>
                    <a:pt x="55" y="266"/>
                  </a:lnTo>
                  <a:lnTo>
                    <a:pt x="54" y="266"/>
                  </a:lnTo>
                  <a:lnTo>
                    <a:pt x="52" y="265"/>
                  </a:lnTo>
                  <a:lnTo>
                    <a:pt x="47" y="262"/>
                  </a:lnTo>
                  <a:lnTo>
                    <a:pt x="40" y="259"/>
                  </a:lnTo>
                  <a:lnTo>
                    <a:pt x="37" y="257"/>
                  </a:lnTo>
                  <a:lnTo>
                    <a:pt x="34" y="255"/>
                  </a:lnTo>
                  <a:lnTo>
                    <a:pt x="31" y="253"/>
                  </a:lnTo>
                  <a:lnTo>
                    <a:pt x="29" y="251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2" y="250"/>
                  </a:lnTo>
                  <a:lnTo>
                    <a:pt x="20" y="251"/>
                  </a:lnTo>
                  <a:lnTo>
                    <a:pt x="19" y="251"/>
                  </a:lnTo>
                  <a:lnTo>
                    <a:pt x="17" y="251"/>
                  </a:lnTo>
                  <a:lnTo>
                    <a:pt x="17" y="252"/>
                  </a:lnTo>
                  <a:lnTo>
                    <a:pt x="15" y="253"/>
                  </a:lnTo>
                  <a:lnTo>
                    <a:pt x="13" y="254"/>
                  </a:lnTo>
                  <a:lnTo>
                    <a:pt x="12" y="255"/>
                  </a:lnTo>
                  <a:lnTo>
                    <a:pt x="10" y="255"/>
                  </a:lnTo>
                  <a:lnTo>
                    <a:pt x="7" y="256"/>
                  </a:lnTo>
                  <a:lnTo>
                    <a:pt x="3" y="256"/>
                  </a:lnTo>
                  <a:lnTo>
                    <a:pt x="0" y="256"/>
                  </a:lnTo>
                  <a:lnTo>
                    <a:pt x="0" y="255"/>
                  </a:lnTo>
                  <a:lnTo>
                    <a:pt x="0" y="254"/>
                  </a:lnTo>
                  <a:lnTo>
                    <a:pt x="0" y="253"/>
                  </a:lnTo>
                  <a:lnTo>
                    <a:pt x="1" y="252"/>
                  </a:lnTo>
                  <a:lnTo>
                    <a:pt x="1" y="251"/>
                  </a:lnTo>
                  <a:lnTo>
                    <a:pt x="3" y="249"/>
                  </a:lnTo>
                  <a:lnTo>
                    <a:pt x="4" y="249"/>
                  </a:lnTo>
                  <a:lnTo>
                    <a:pt x="7" y="248"/>
                  </a:lnTo>
                  <a:lnTo>
                    <a:pt x="8" y="247"/>
                  </a:lnTo>
                  <a:lnTo>
                    <a:pt x="10" y="245"/>
                  </a:lnTo>
                  <a:lnTo>
                    <a:pt x="11" y="242"/>
                  </a:lnTo>
                  <a:lnTo>
                    <a:pt x="12" y="241"/>
                  </a:lnTo>
                  <a:lnTo>
                    <a:pt x="12" y="239"/>
                  </a:lnTo>
                  <a:lnTo>
                    <a:pt x="12" y="238"/>
                  </a:lnTo>
                  <a:lnTo>
                    <a:pt x="12" y="236"/>
                  </a:lnTo>
                  <a:lnTo>
                    <a:pt x="12" y="235"/>
                  </a:lnTo>
                  <a:lnTo>
                    <a:pt x="12" y="229"/>
                  </a:lnTo>
                  <a:lnTo>
                    <a:pt x="12" y="224"/>
                  </a:lnTo>
                  <a:lnTo>
                    <a:pt x="13" y="221"/>
                  </a:lnTo>
                  <a:lnTo>
                    <a:pt x="13" y="218"/>
                  </a:lnTo>
                  <a:lnTo>
                    <a:pt x="14" y="217"/>
                  </a:lnTo>
                  <a:lnTo>
                    <a:pt x="13" y="216"/>
                  </a:lnTo>
                  <a:lnTo>
                    <a:pt x="13" y="215"/>
                  </a:lnTo>
                  <a:lnTo>
                    <a:pt x="13" y="214"/>
                  </a:lnTo>
                  <a:lnTo>
                    <a:pt x="12" y="214"/>
                  </a:lnTo>
                  <a:lnTo>
                    <a:pt x="12" y="213"/>
                  </a:lnTo>
                  <a:lnTo>
                    <a:pt x="11" y="212"/>
                  </a:lnTo>
                  <a:lnTo>
                    <a:pt x="8" y="210"/>
                  </a:lnTo>
                  <a:lnTo>
                    <a:pt x="9" y="210"/>
                  </a:lnTo>
                  <a:lnTo>
                    <a:pt x="12" y="208"/>
                  </a:lnTo>
                  <a:lnTo>
                    <a:pt x="13" y="207"/>
                  </a:lnTo>
                  <a:lnTo>
                    <a:pt x="18" y="204"/>
                  </a:lnTo>
                  <a:lnTo>
                    <a:pt x="20" y="203"/>
                  </a:lnTo>
                  <a:lnTo>
                    <a:pt x="23" y="201"/>
                  </a:lnTo>
                  <a:lnTo>
                    <a:pt x="25" y="199"/>
                  </a:lnTo>
                  <a:lnTo>
                    <a:pt x="28" y="198"/>
                  </a:lnTo>
                  <a:lnTo>
                    <a:pt x="31" y="197"/>
                  </a:lnTo>
                  <a:lnTo>
                    <a:pt x="39" y="194"/>
                  </a:lnTo>
                  <a:lnTo>
                    <a:pt x="42" y="193"/>
                  </a:lnTo>
                  <a:lnTo>
                    <a:pt x="45" y="192"/>
                  </a:lnTo>
                  <a:lnTo>
                    <a:pt x="51" y="189"/>
                  </a:lnTo>
                  <a:lnTo>
                    <a:pt x="55" y="188"/>
                  </a:lnTo>
                  <a:lnTo>
                    <a:pt x="57" y="187"/>
                  </a:lnTo>
                  <a:lnTo>
                    <a:pt x="61" y="187"/>
                  </a:lnTo>
                  <a:lnTo>
                    <a:pt x="69" y="187"/>
                  </a:lnTo>
                  <a:lnTo>
                    <a:pt x="72" y="187"/>
                  </a:lnTo>
                  <a:lnTo>
                    <a:pt x="74" y="188"/>
                  </a:lnTo>
                  <a:lnTo>
                    <a:pt x="77" y="188"/>
                  </a:lnTo>
                  <a:lnTo>
                    <a:pt x="79" y="189"/>
                  </a:lnTo>
                  <a:lnTo>
                    <a:pt x="80" y="190"/>
                  </a:lnTo>
                  <a:lnTo>
                    <a:pt x="86" y="192"/>
                  </a:lnTo>
                  <a:lnTo>
                    <a:pt x="88" y="193"/>
                  </a:lnTo>
                  <a:lnTo>
                    <a:pt x="89" y="193"/>
                  </a:lnTo>
                  <a:lnTo>
                    <a:pt x="90" y="193"/>
                  </a:lnTo>
                  <a:lnTo>
                    <a:pt x="91" y="193"/>
                  </a:lnTo>
                  <a:lnTo>
                    <a:pt x="92" y="193"/>
                  </a:lnTo>
                  <a:lnTo>
                    <a:pt x="94" y="193"/>
                  </a:lnTo>
                  <a:lnTo>
                    <a:pt x="96" y="192"/>
                  </a:lnTo>
                  <a:lnTo>
                    <a:pt x="98" y="191"/>
                  </a:lnTo>
                  <a:lnTo>
                    <a:pt x="100" y="191"/>
                  </a:lnTo>
                  <a:lnTo>
                    <a:pt x="103" y="189"/>
                  </a:lnTo>
                  <a:lnTo>
                    <a:pt x="110" y="183"/>
                  </a:lnTo>
                  <a:lnTo>
                    <a:pt x="113" y="181"/>
                  </a:lnTo>
                  <a:lnTo>
                    <a:pt x="114" y="180"/>
                  </a:lnTo>
                  <a:lnTo>
                    <a:pt x="116" y="177"/>
                  </a:lnTo>
                  <a:lnTo>
                    <a:pt x="118" y="174"/>
                  </a:lnTo>
                  <a:lnTo>
                    <a:pt x="120" y="172"/>
                  </a:lnTo>
                  <a:lnTo>
                    <a:pt x="121" y="170"/>
                  </a:lnTo>
                  <a:lnTo>
                    <a:pt x="122" y="168"/>
                  </a:lnTo>
                  <a:lnTo>
                    <a:pt x="123" y="165"/>
                  </a:lnTo>
                  <a:lnTo>
                    <a:pt x="124" y="163"/>
                  </a:lnTo>
                  <a:lnTo>
                    <a:pt x="125" y="161"/>
                  </a:lnTo>
                  <a:lnTo>
                    <a:pt x="125" y="159"/>
                  </a:lnTo>
                  <a:lnTo>
                    <a:pt x="125" y="156"/>
                  </a:lnTo>
                  <a:lnTo>
                    <a:pt x="125" y="154"/>
                  </a:lnTo>
                  <a:lnTo>
                    <a:pt x="123" y="146"/>
                  </a:lnTo>
                  <a:lnTo>
                    <a:pt x="123" y="143"/>
                  </a:lnTo>
                  <a:lnTo>
                    <a:pt x="123" y="139"/>
                  </a:lnTo>
                  <a:lnTo>
                    <a:pt x="124" y="135"/>
                  </a:lnTo>
                  <a:lnTo>
                    <a:pt x="125" y="132"/>
                  </a:lnTo>
                  <a:lnTo>
                    <a:pt x="127" y="126"/>
                  </a:lnTo>
                  <a:lnTo>
                    <a:pt x="129" y="123"/>
                  </a:lnTo>
                  <a:lnTo>
                    <a:pt x="131" y="121"/>
                  </a:lnTo>
                  <a:lnTo>
                    <a:pt x="133" y="118"/>
                  </a:lnTo>
                  <a:lnTo>
                    <a:pt x="138" y="111"/>
                  </a:lnTo>
                  <a:lnTo>
                    <a:pt x="141" y="107"/>
                  </a:lnTo>
                  <a:lnTo>
                    <a:pt x="143" y="104"/>
                  </a:lnTo>
                  <a:lnTo>
                    <a:pt x="145" y="101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7" y="92"/>
                  </a:lnTo>
                  <a:lnTo>
                    <a:pt x="148" y="89"/>
                  </a:lnTo>
                  <a:lnTo>
                    <a:pt x="148" y="88"/>
                  </a:lnTo>
                  <a:lnTo>
                    <a:pt x="150" y="85"/>
                  </a:lnTo>
                  <a:lnTo>
                    <a:pt x="151" y="84"/>
                  </a:lnTo>
                  <a:lnTo>
                    <a:pt x="151" y="82"/>
                  </a:lnTo>
                  <a:lnTo>
                    <a:pt x="152" y="80"/>
                  </a:lnTo>
                  <a:lnTo>
                    <a:pt x="153" y="78"/>
                  </a:lnTo>
                  <a:lnTo>
                    <a:pt x="153" y="71"/>
                  </a:lnTo>
                  <a:lnTo>
                    <a:pt x="154" y="67"/>
                  </a:lnTo>
                  <a:lnTo>
                    <a:pt x="155" y="64"/>
                  </a:lnTo>
                  <a:lnTo>
                    <a:pt x="155" y="61"/>
                  </a:lnTo>
                  <a:lnTo>
                    <a:pt x="157" y="58"/>
                  </a:lnTo>
                  <a:lnTo>
                    <a:pt x="159" y="52"/>
                  </a:lnTo>
                  <a:lnTo>
                    <a:pt x="161" y="47"/>
                  </a:lnTo>
                  <a:lnTo>
                    <a:pt x="165" y="40"/>
                  </a:lnTo>
                  <a:lnTo>
                    <a:pt x="166" y="38"/>
                  </a:lnTo>
                  <a:lnTo>
                    <a:pt x="167" y="35"/>
                  </a:lnTo>
                  <a:lnTo>
                    <a:pt x="168" y="31"/>
                  </a:lnTo>
                  <a:lnTo>
                    <a:pt x="169" y="28"/>
                  </a:lnTo>
                  <a:lnTo>
                    <a:pt x="170" y="26"/>
                  </a:lnTo>
                  <a:lnTo>
                    <a:pt x="171" y="24"/>
                  </a:lnTo>
                  <a:lnTo>
                    <a:pt x="171" y="22"/>
                  </a:lnTo>
                  <a:lnTo>
                    <a:pt x="173" y="21"/>
                  </a:lnTo>
                  <a:lnTo>
                    <a:pt x="174" y="21"/>
                  </a:lnTo>
                  <a:lnTo>
                    <a:pt x="176" y="21"/>
                  </a:lnTo>
                  <a:lnTo>
                    <a:pt x="178" y="21"/>
                  </a:lnTo>
                  <a:lnTo>
                    <a:pt x="181" y="21"/>
                  </a:lnTo>
                  <a:lnTo>
                    <a:pt x="183" y="21"/>
                  </a:lnTo>
                  <a:lnTo>
                    <a:pt x="186" y="21"/>
                  </a:lnTo>
                  <a:lnTo>
                    <a:pt x="190" y="22"/>
                  </a:lnTo>
                  <a:lnTo>
                    <a:pt x="193" y="22"/>
                  </a:lnTo>
                  <a:lnTo>
                    <a:pt x="194" y="23"/>
                  </a:lnTo>
                  <a:lnTo>
                    <a:pt x="196" y="24"/>
                  </a:lnTo>
                  <a:lnTo>
                    <a:pt x="197" y="25"/>
                  </a:lnTo>
                  <a:lnTo>
                    <a:pt x="199" y="26"/>
                  </a:lnTo>
                  <a:lnTo>
                    <a:pt x="205" y="30"/>
                  </a:lnTo>
                  <a:lnTo>
                    <a:pt x="206" y="31"/>
                  </a:lnTo>
                  <a:lnTo>
                    <a:pt x="208" y="32"/>
                  </a:lnTo>
                  <a:lnTo>
                    <a:pt x="209" y="33"/>
                  </a:lnTo>
                  <a:lnTo>
                    <a:pt x="211" y="33"/>
                  </a:lnTo>
                  <a:lnTo>
                    <a:pt x="212" y="33"/>
                  </a:lnTo>
                  <a:lnTo>
                    <a:pt x="213" y="32"/>
                  </a:lnTo>
                  <a:lnTo>
                    <a:pt x="215" y="31"/>
                  </a:lnTo>
                  <a:lnTo>
                    <a:pt x="216" y="30"/>
                  </a:lnTo>
                  <a:lnTo>
                    <a:pt x="217" y="29"/>
                  </a:lnTo>
                  <a:lnTo>
                    <a:pt x="218" y="28"/>
                  </a:lnTo>
                  <a:lnTo>
                    <a:pt x="219" y="27"/>
                  </a:lnTo>
                  <a:lnTo>
                    <a:pt x="221" y="24"/>
                  </a:lnTo>
                  <a:lnTo>
                    <a:pt x="222" y="22"/>
                  </a:lnTo>
                  <a:lnTo>
                    <a:pt x="228" y="12"/>
                  </a:lnTo>
                  <a:lnTo>
                    <a:pt x="230" y="8"/>
                  </a:lnTo>
                  <a:lnTo>
                    <a:pt x="232" y="6"/>
                  </a:lnTo>
                  <a:lnTo>
                    <a:pt x="234" y="3"/>
                  </a:lnTo>
                  <a:lnTo>
                    <a:pt x="236" y="1"/>
                  </a:lnTo>
                  <a:lnTo>
                    <a:pt x="236" y="0"/>
                  </a:lnTo>
                  <a:lnTo>
                    <a:pt x="23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4" name="Freeform 71">
              <a:extLst>
                <a:ext uri="{FF2B5EF4-FFF2-40B4-BE49-F238E27FC236}">
                  <a16:creationId xmlns:a16="http://schemas.microsoft.com/office/drawing/2014/main" id="{65D6C174-BFB0-4C91-927A-2932BFAF2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2" y="2595"/>
              <a:ext cx="408" cy="469"/>
            </a:xfrm>
            <a:custGeom>
              <a:avLst/>
              <a:gdLst>
                <a:gd name="T0" fmla="*/ 101 w 408"/>
                <a:gd name="T1" fmla="*/ 11 h 469"/>
                <a:gd name="T2" fmla="*/ 124 w 408"/>
                <a:gd name="T3" fmla="*/ 14 h 469"/>
                <a:gd name="T4" fmla="*/ 134 w 408"/>
                <a:gd name="T5" fmla="*/ 25 h 469"/>
                <a:gd name="T6" fmla="*/ 151 w 408"/>
                <a:gd name="T7" fmla="*/ 36 h 469"/>
                <a:gd name="T8" fmla="*/ 173 w 408"/>
                <a:gd name="T9" fmla="*/ 48 h 469"/>
                <a:gd name="T10" fmla="*/ 195 w 408"/>
                <a:gd name="T11" fmla="*/ 80 h 469"/>
                <a:gd name="T12" fmla="*/ 223 w 408"/>
                <a:gd name="T13" fmla="*/ 125 h 469"/>
                <a:gd name="T14" fmla="*/ 253 w 408"/>
                <a:gd name="T15" fmla="*/ 136 h 469"/>
                <a:gd name="T16" fmla="*/ 279 w 408"/>
                <a:gd name="T17" fmla="*/ 148 h 469"/>
                <a:gd name="T18" fmla="*/ 294 w 408"/>
                <a:gd name="T19" fmla="*/ 156 h 469"/>
                <a:gd name="T20" fmla="*/ 318 w 408"/>
                <a:gd name="T21" fmla="*/ 144 h 469"/>
                <a:gd name="T22" fmla="*/ 332 w 408"/>
                <a:gd name="T23" fmla="*/ 151 h 469"/>
                <a:gd name="T24" fmla="*/ 366 w 408"/>
                <a:gd name="T25" fmla="*/ 191 h 469"/>
                <a:gd name="T26" fmla="*/ 408 w 408"/>
                <a:gd name="T27" fmla="*/ 260 h 469"/>
                <a:gd name="T28" fmla="*/ 393 w 408"/>
                <a:gd name="T29" fmla="*/ 271 h 469"/>
                <a:gd name="T30" fmla="*/ 398 w 408"/>
                <a:gd name="T31" fmla="*/ 289 h 469"/>
                <a:gd name="T32" fmla="*/ 381 w 408"/>
                <a:gd name="T33" fmla="*/ 307 h 469"/>
                <a:gd name="T34" fmla="*/ 383 w 408"/>
                <a:gd name="T35" fmla="*/ 344 h 469"/>
                <a:gd name="T36" fmla="*/ 383 w 408"/>
                <a:gd name="T37" fmla="*/ 389 h 469"/>
                <a:gd name="T38" fmla="*/ 402 w 408"/>
                <a:gd name="T39" fmla="*/ 428 h 469"/>
                <a:gd name="T40" fmla="*/ 392 w 408"/>
                <a:gd name="T41" fmla="*/ 437 h 469"/>
                <a:gd name="T42" fmla="*/ 368 w 408"/>
                <a:gd name="T43" fmla="*/ 444 h 469"/>
                <a:gd name="T44" fmla="*/ 354 w 408"/>
                <a:gd name="T45" fmla="*/ 442 h 469"/>
                <a:gd name="T46" fmla="*/ 344 w 408"/>
                <a:gd name="T47" fmla="*/ 458 h 469"/>
                <a:gd name="T48" fmla="*/ 337 w 408"/>
                <a:gd name="T49" fmla="*/ 469 h 469"/>
                <a:gd name="T50" fmla="*/ 319 w 408"/>
                <a:gd name="T51" fmla="*/ 441 h 469"/>
                <a:gd name="T52" fmla="*/ 305 w 408"/>
                <a:gd name="T53" fmla="*/ 406 h 469"/>
                <a:gd name="T54" fmla="*/ 260 w 408"/>
                <a:gd name="T55" fmla="*/ 384 h 469"/>
                <a:gd name="T56" fmla="*/ 237 w 408"/>
                <a:gd name="T57" fmla="*/ 367 h 469"/>
                <a:gd name="T58" fmla="*/ 243 w 408"/>
                <a:gd name="T59" fmla="*/ 326 h 469"/>
                <a:gd name="T60" fmla="*/ 238 w 408"/>
                <a:gd name="T61" fmla="*/ 321 h 469"/>
                <a:gd name="T62" fmla="*/ 229 w 408"/>
                <a:gd name="T63" fmla="*/ 328 h 469"/>
                <a:gd name="T64" fmla="*/ 214 w 408"/>
                <a:gd name="T65" fmla="*/ 315 h 469"/>
                <a:gd name="T66" fmla="*/ 198 w 408"/>
                <a:gd name="T67" fmla="*/ 293 h 469"/>
                <a:gd name="T68" fmla="*/ 186 w 408"/>
                <a:gd name="T69" fmla="*/ 258 h 469"/>
                <a:gd name="T70" fmla="*/ 168 w 408"/>
                <a:gd name="T71" fmla="*/ 236 h 469"/>
                <a:gd name="T72" fmla="*/ 150 w 408"/>
                <a:gd name="T73" fmla="*/ 213 h 469"/>
                <a:gd name="T74" fmla="*/ 116 w 408"/>
                <a:gd name="T75" fmla="*/ 214 h 469"/>
                <a:gd name="T76" fmla="*/ 97 w 408"/>
                <a:gd name="T77" fmla="*/ 232 h 469"/>
                <a:gd name="T78" fmla="*/ 122 w 408"/>
                <a:gd name="T79" fmla="*/ 265 h 469"/>
                <a:gd name="T80" fmla="*/ 129 w 408"/>
                <a:gd name="T81" fmla="*/ 286 h 469"/>
                <a:gd name="T82" fmla="*/ 117 w 408"/>
                <a:gd name="T83" fmla="*/ 313 h 469"/>
                <a:gd name="T84" fmla="*/ 94 w 408"/>
                <a:gd name="T85" fmla="*/ 346 h 469"/>
                <a:gd name="T86" fmla="*/ 51 w 408"/>
                <a:gd name="T87" fmla="*/ 315 h 469"/>
                <a:gd name="T88" fmla="*/ 49 w 408"/>
                <a:gd name="T89" fmla="*/ 299 h 469"/>
                <a:gd name="T90" fmla="*/ 61 w 408"/>
                <a:gd name="T91" fmla="*/ 283 h 469"/>
                <a:gd name="T92" fmla="*/ 49 w 408"/>
                <a:gd name="T93" fmla="*/ 256 h 469"/>
                <a:gd name="T94" fmla="*/ 37 w 408"/>
                <a:gd name="T95" fmla="*/ 214 h 469"/>
                <a:gd name="T96" fmla="*/ 49 w 408"/>
                <a:gd name="T97" fmla="*/ 180 h 469"/>
                <a:gd name="T98" fmla="*/ 60 w 408"/>
                <a:gd name="T99" fmla="*/ 168 h 469"/>
                <a:gd name="T100" fmla="*/ 14 w 408"/>
                <a:gd name="T101" fmla="*/ 157 h 469"/>
                <a:gd name="T102" fmla="*/ 1 w 408"/>
                <a:gd name="T103" fmla="*/ 148 h 469"/>
                <a:gd name="T104" fmla="*/ 1 w 408"/>
                <a:gd name="T105" fmla="*/ 119 h 469"/>
                <a:gd name="T106" fmla="*/ 25 w 408"/>
                <a:gd name="T107" fmla="*/ 114 h 469"/>
                <a:gd name="T108" fmla="*/ 38 w 408"/>
                <a:gd name="T109" fmla="*/ 110 h 469"/>
                <a:gd name="T110" fmla="*/ 44 w 408"/>
                <a:gd name="T111" fmla="*/ 88 h 469"/>
                <a:gd name="T112" fmla="*/ 50 w 408"/>
                <a:gd name="T113" fmla="*/ 61 h 469"/>
                <a:gd name="T114" fmla="*/ 45 w 408"/>
                <a:gd name="T115" fmla="*/ 45 h 469"/>
                <a:gd name="T116" fmla="*/ 45 w 408"/>
                <a:gd name="T117" fmla="*/ 21 h 469"/>
                <a:gd name="T118" fmla="*/ 68 w 408"/>
                <a:gd name="T119" fmla="*/ 8 h 469"/>
                <a:gd name="T120" fmla="*/ 83 w 408"/>
                <a:gd name="T121" fmla="*/ 2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469">
                  <a:moveTo>
                    <a:pt x="87" y="0"/>
                  </a:moveTo>
                  <a:lnTo>
                    <a:pt x="88" y="0"/>
                  </a:lnTo>
                  <a:lnTo>
                    <a:pt x="88" y="1"/>
                  </a:lnTo>
                  <a:lnTo>
                    <a:pt x="89" y="1"/>
                  </a:lnTo>
                  <a:lnTo>
                    <a:pt x="90" y="3"/>
                  </a:lnTo>
                  <a:lnTo>
                    <a:pt x="92" y="5"/>
                  </a:lnTo>
                  <a:lnTo>
                    <a:pt x="95" y="7"/>
                  </a:lnTo>
                  <a:lnTo>
                    <a:pt x="98" y="9"/>
                  </a:lnTo>
                  <a:lnTo>
                    <a:pt x="101" y="11"/>
                  </a:lnTo>
                  <a:lnTo>
                    <a:pt x="108" y="14"/>
                  </a:lnTo>
                  <a:lnTo>
                    <a:pt x="113" y="17"/>
                  </a:lnTo>
                  <a:lnTo>
                    <a:pt x="115" y="18"/>
                  </a:lnTo>
                  <a:lnTo>
                    <a:pt x="116" y="18"/>
                  </a:lnTo>
                  <a:lnTo>
                    <a:pt x="118" y="18"/>
                  </a:lnTo>
                  <a:lnTo>
                    <a:pt x="118" y="17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4" y="14"/>
                  </a:lnTo>
                  <a:lnTo>
                    <a:pt x="125" y="14"/>
                  </a:lnTo>
                  <a:lnTo>
                    <a:pt x="126" y="14"/>
                  </a:lnTo>
                  <a:lnTo>
                    <a:pt x="127" y="14"/>
                  </a:lnTo>
                  <a:lnTo>
                    <a:pt x="128" y="15"/>
                  </a:lnTo>
                  <a:lnTo>
                    <a:pt x="129" y="16"/>
                  </a:lnTo>
                  <a:lnTo>
                    <a:pt x="129" y="17"/>
                  </a:lnTo>
                  <a:lnTo>
                    <a:pt x="130" y="18"/>
                  </a:lnTo>
                  <a:lnTo>
                    <a:pt x="131" y="19"/>
                  </a:lnTo>
                  <a:lnTo>
                    <a:pt x="134" y="25"/>
                  </a:lnTo>
                  <a:lnTo>
                    <a:pt x="135" y="27"/>
                  </a:lnTo>
                  <a:lnTo>
                    <a:pt x="136" y="28"/>
                  </a:lnTo>
                  <a:lnTo>
                    <a:pt x="138" y="31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43" y="34"/>
                  </a:lnTo>
                  <a:lnTo>
                    <a:pt x="144" y="34"/>
                  </a:lnTo>
                  <a:lnTo>
                    <a:pt x="146" y="35"/>
                  </a:lnTo>
                  <a:lnTo>
                    <a:pt x="151" y="36"/>
                  </a:lnTo>
                  <a:lnTo>
                    <a:pt x="158" y="37"/>
                  </a:lnTo>
                  <a:lnTo>
                    <a:pt x="161" y="38"/>
                  </a:lnTo>
                  <a:lnTo>
                    <a:pt x="163" y="39"/>
                  </a:lnTo>
                  <a:lnTo>
                    <a:pt x="164" y="40"/>
                  </a:lnTo>
                  <a:lnTo>
                    <a:pt x="167" y="42"/>
                  </a:lnTo>
                  <a:lnTo>
                    <a:pt x="169" y="44"/>
                  </a:lnTo>
                  <a:lnTo>
                    <a:pt x="171" y="45"/>
                  </a:lnTo>
                  <a:lnTo>
                    <a:pt x="172" y="47"/>
                  </a:lnTo>
                  <a:lnTo>
                    <a:pt x="173" y="48"/>
                  </a:lnTo>
                  <a:lnTo>
                    <a:pt x="175" y="51"/>
                  </a:lnTo>
                  <a:lnTo>
                    <a:pt x="176" y="56"/>
                  </a:lnTo>
                  <a:lnTo>
                    <a:pt x="178" y="61"/>
                  </a:lnTo>
                  <a:lnTo>
                    <a:pt x="180" y="64"/>
                  </a:lnTo>
                  <a:lnTo>
                    <a:pt x="182" y="67"/>
                  </a:lnTo>
                  <a:lnTo>
                    <a:pt x="184" y="69"/>
                  </a:lnTo>
                  <a:lnTo>
                    <a:pt x="186" y="73"/>
                  </a:lnTo>
                  <a:lnTo>
                    <a:pt x="188" y="75"/>
                  </a:lnTo>
                  <a:lnTo>
                    <a:pt x="195" y="80"/>
                  </a:lnTo>
                  <a:lnTo>
                    <a:pt x="197" y="81"/>
                  </a:lnTo>
                  <a:lnTo>
                    <a:pt x="198" y="83"/>
                  </a:lnTo>
                  <a:lnTo>
                    <a:pt x="199" y="85"/>
                  </a:lnTo>
                  <a:lnTo>
                    <a:pt x="200" y="88"/>
                  </a:lnTo>
                  <a:lnTo>
                    <a:pt x="212" y="109"/>
                  </a:lnTo>
                  <a:lnTo>
                    <a:pt x="214" y="112"/>
                  </a:lnTo>
                  <a:lnTo>
                    <a:pt x="219" y="120"/>
                  </a:lnTo>
                  <a:lnTo>
                    <a:pt x="221" y="123"/>
                  </a:lnTo>
                  <a:lnTo>
                    <a:pt x="223" y="125"/>
                  </a:lnTo>
                  <a:lnTo>
                    <a:pt x="227" y="128"/>
                  </a:lnTo>
                  <a:lnTo>
                    <a:pt x="229" y="130"/>
                  </a:lnTo>
                  <a:lnTo>
                    <a:pt x="232" y="132"/>
                  </a:lnTo>
                  <a:lnTo>
                    <a:pt x="235" y="133"/>
                  </a:lnTo>
                  <a:lnTo>
                    <a:pt x="238" y="134"/>
                  </a:lnTo>
                  <a:lnTo>
                    <a:pt x="241" y="135"/>
                  </a:lnTo>
                  <a:lnTo>
                    <a:pt x="243" y="135"/>
                  </a:lnTo>
                  <a:lnTo>
                    <a:pt x="244" y="136"/>
                  </a:lnTo>
                  <a:lnTo>
                    <a:pt x="253" y="136"/>
                  </a:lnTo>
                  <a:lnTo>
                    <a:pt x="256" y="136"/>
                  </a:lnTo>
                  <a:lnTo>
                    <a:pt x="259" y="136"/>
                  </a:lnTo>
                  <a:lnTo>
                    <a:pt x="262" y="137"/>
                  </a:lnTo>
                  <a:lnTo>
                    <a:pt x="265" y="138"/>
                  </a:lnTo>
                  <a:lnTo>
                    <a:pt x="267" y="139"/>
                  </a:lnTo>
                  <a:lnTo>
                    <a:pt x="270" y="141"/>
                  </a:lnTo>
                  <a:lnTo>
                    <a:pt x="272" y="142"/>
                  </a:lnTo>
                  <a:lnTo>
                    <a:pt x="274" y="144"/>
                  </a:lnTo>
                  <a:lnTo>
                    <a:pt x="279" y="148"/>
                  </a:lnTo>
                  <a:lnTo>
                    <a:pt x="283" y="151"/>
                  </a:lnTo>
                  <a:lnTo>
                    <a:pt x="285" y="153"/>
                  </a:lnTo>
                  <a:lnTo>
                    <a:pt x="287" y="154"/>
                  </a:lnTo>
                  <a:lnTo>
                    <a:pt x="288" y="155"/>
                  </a:lnTo>
                  <a:lnTo>
                    <a:pt x="289" y="155"/>
                  </a:lnTo>
                  <a:lnTo>
                    <a:pt x="290" y="156"/>
                  </a:lnTo>
                  <a:lnTo>
                    <a:pt x="291" y="156"/>
                  </a:lnTo>
                  <a:lnTo>
                    <a:pt x="292" y="156"/>
                  </a:lnTo>
                  <a:lnTo>
                    <a:pt x="294" y="156"/>
                  </a:lnTo>
                  <a:lnTo>
                    <a:pt x="295" y="155"/>
                  </a:lnTo>
                  <a:lnTo>
                    <a:pt x="297" y="154"/>
                  </a:lnTo>
                  <a:lnTo>
                    <a:pt x="302" y="150"/>
                  </a:lnTo>
                  <a:lnTo>
                    <a:pt x="306" y="148"/>
                  </a:lnTo>
                  <a:lnTo>
                    <a:pt x="308" y="147"/>
                  </a:lnTo>
                  <a:lnTo>
                    <a:pt x="311" y="146"/>
                  </a:lnTo>
                  <a:lnTo>
                    <a:pt x="313" y="145"/>
                  </a:lnTo>
                  <a:lnTo>
                    <a:pt x="316" y="144"/>
                  </a:lnTo>
                  <a:lnTo>
                    <a:pt x="318" y="144"/>
                  </a:lnTo>
                  <a:lnTo>
                    <a:pt x="319" y="144"/>
                  </a:lnTo>
                  <a:lnTo>
                    <a:pt x="321" y="144"/>
                  </a:lnTo>
                  <a:lnTo>
                    <a:pt x="322" y="144"/>
                  </a:lnTo>
                  <a:lnTo>
                    <a:pt x="323" y="145"/>
                  </a:lnTo>
                  <a:lnTo>
                    <a:pt x="325" y="146"/>
                  </a:lnTo>
                  <a:lnTo>
                    <a:pt x="326" y="146"/>
                  </a:lnTo>
                  <a:lnTo>
                    <a:pt x="328" y="147"/>
                  </a:lnTo>
                  <a:lnTo>
                    <a:pt x="330" y="148"/>
                  </a:lnTo>
                  <a:lnTo>
                    <a:pt x="332" y="151"/>
                  </a:lnTo>
                  <a:lnTo>
                    <a:pt x="339" y="160"/>
                  </a:lnTo>
                  <a:lnTo>
                    <a:pt x="342" y="164"/>
                  </a:lnTo>
                  <a:lnTo>
                    <a:pt x="345" y="167"/>
                  </a:lnTo>
                  <a:lnTo>
                    <a:pt x="350" y="171"/>
                  </a:lnTo>
                  <a:lnTo>
                    <a:pt x="353" y="173"/>
                  </a:lnTo>
                  <a:lnTo>
                    <a:pt x="359" y="181"/>
                  </a:lnTo>
                  <a:lnTo>
                    <a:pt x="362" y="185"/>
                  </a:lnTo>
                  <a:lnTo>
                    <a:pt x="364" y="188"/>
                  </a:lnTo>
                  <a:lnTo>
                    <a:pt x="366" y="191"/>
                  </a:lnTo>
                  <a:lnTo>
                    <a:pt x="376" y="209"/>
                  </a:lnTo>
                  <a:lnTo>
                    <a:pt x="381" y="219"/>
                  </a:lnTo>
                  <a:lnTo>
                    <a:pt x="389" y="232"/>
                  </a:lnTo>
                  <a:lnTo>
                    <a:pt x="393" y="241"/>
                  </a:lnTo>
                  <a:lnTo>
                    <a:pt x="395" y="245"/>
                  </a:lnTo>
                  <a:lnTo>
                    <a:pt x="398" y="249"/>
                  </a:lnTo>
                  <a:lnTo>
                    <a:pt x="402" y="253"/>
                  </a:lnTo>
                  <a:lnTo>
                    <a:pt x="404" y="257"/>
                  </a:lnTo>
                  <a:lnTo>
                    <a:pt x="408" y="260"/>
                  </a:lnTo>
                  <a:lnTo>
                    <a:pt x="407" y="261"/>
                  </a:lnTo>
                  <a:lnTo>
                    <a:pt x="401" y="264"/>
                  </a:lnTo>
                  <a:lnTo>
                    <a:pt x="397" y="265"/>
                  </a:lnTo>
                  <a:lnTo>
                    <a:pt x="396" y="266"/>
                  </a:lnTo>
                  <a:lnTo>
                    <a:pt x="395" y="267"/>
                  </a:lnTo>
                  <a:lnTo>
                    <a:pt x="394" y="268"/>
                  </a:lnTo>
                  <a:lnTo>
                    <a:pt x="393" y="269"/>
                  </a:lnTo>
                  <a:lnTo>
                    <a:pt x="393" y="270"/>
                  </a:lnTo>
                  <a:lnTo>
                    <a:pt x="393" y="271"/>
                  </a:lnTo>
                  <a:lnTo>
                    <a:pt x="393" y="272"/>
                  </a:lnTo>
                  <a:lnTo>
                    <a:pt x="393" y="273"/>
                  </a:lnTo>
                  <a:lnTo>
                    <a:pt x="394" y="276"/>
                  </a:lnTo>
                  <a:lnTo>
                    <a:pt x="397" y="282"/>
                  </a:lnTo>
                  <a:lnTo>
                    <a:pt x="397" y="283"/>
                  </a:lnTo>
                  <a:lnTo>
                    <a:pt x="398" y="285"/>
                  </a:lnTo>
                  <a:lnTo>
                    <a:pt x="398" y="286"/>
                  </a:lnTo>
                  <a:lnTo>
                    <a:pt x="398" y="288"/>
                  </a:lnTo>
                  <a:lnTo>
                    <a:pt x="398" y="289"/>
                  </a:lnTo>
                  <a:lnTo>
                    <a:pt x="397" y="292"/>
                  </a:lnTo>
                  <a:lnTo>
                    <a:pt x="396" y="294"/>
                  </a:lnTo>
                  <a:lnTo>
                    <a:pt x="394" y="297"/>
                  </a:lnTo>
                  <a:lnTo>
                    <a:pt x="393" y="299"/>
                  </a:lnTo>
                  <a:lnTo>
                    <a:pt x="392" y="300"/>
                  </a:lnTo>
                  <a:lnTo>
                    <a:pt x="391" y="301"/>
                  </a:lnTo>
                  <a:lnTo>
                    <a:pt x="389" y="303"/>
                  </a:lnTo>
                  <a:lnTo>
                    <a:pt x="383" y="306"/>
                  </a:lnTo>
                  <a:lnTo>
                    <a:pt x="381" y="307"/>
                  </a:lnTo>
                  <a:lnTo>
                    <a:pt x="380" y="308"/>
                  </a:lnTo>
                  <a:lnTo>
                    <a:pt x="380" y="309"/>
                  </a:lnTo>
                  <a:lnTo>
                    <a:pt x="380" y="311"/>
                  </a:lnTo>
                  <a:lnTo>
                    <a:pt x="379" y="313"/>
                  </a:lnTo>
                  <a:lnTo>
                    <a:pt x="379" y="315"/>
                  </a:lnTo>
                  <a:lnTo>
                    <a:pt x="379" y="317"/>
                  </a:lnTo>
                  <a:lnTo>
                    <a:pt x="380" y="333"/>
                  </a:lnTo>
                  <a:lnTo>
                    <a:pt x="381" y="336"/>
                  </a:lnTo>
                  <a:lnTo>
                    <a:pt x="383" y="344"/>
                  </a:lnTo>
                  <a:lnTo>
                    <a:pt x="385" y="353"/>
                  </a:lnTo>
                  <a:lnTo>
                    <a:pt x="385" y="356"/>
                  </a:lnTo>
                  <a:lnTo>
                    <a:pt x="385" y="359"/>
                  </a:lnTo>
                  <a:lnTo>
                    <a:pt x="385" y="362"/>
                  </a:lnTo>
                  <a:lnTo>
                    <a:pt x="384" y="370"/>
                  </a:lnTo>
                  <a:lnTo>
                    <a:pt x="383" y="374"/>
                  </a:lnTo>
                  <a:lnTo>
                    <a:pt x="383" y="385"/>
                  </a:lnTo>
                  <a:lnTo>
                    <a:pt x="383" y="387"/>
                  </a:lnTo>
                  <a:lnTo>
                    <a:pt x="383" y="389"/>
                  </a:lnTo>
                  <a:lnTo>
                    <a:pt x="384" y="391"/>
                  </a:lnTo>
                  <a:lnTo>
                    <a:pt x="385" y="393"/>
                  </a:lnTo>
                  <a:lnTo>
                    <a:pt x="388" y="398"/>
                  </a:lnTo>
                  <a:lnTo>
                    <a:pt x="391" y="406"/>
                  </a:lnTo>
                  <a:lnTo>
                    <a:pt x="392" y="408"/>
                  </a:lnTo>
                  <a:lnTo>
                    <a:pt x="397" y="416"/>
                  </a:lnTo>
                  <a:lnTo>
                    <a:pt x="399" y="420"/>
                  </a:lnTo>
                  <a:lnTo>
                    <a:pt x="401" y="424"/>
                  </a:lnTo>
                  <a:lnTo>
                    <a:pt x="402" y="428"/>
                  </a:lnTo>
                  <a:lnTo>
                    <a:pt x="402" y="429"/>
                  </a:lnTo>
                  <a:lnTo>
                    <a:pt x="402" y="430"/>
                  </a:lnTo>
                  <a:lnTo>
                    <a:pt x="402" y="430"/>
                  </a:lnTo>
                  <a:lnTo>
                    <a:pt x="402" y="431"/>
                  </a:lnTo>
                  <a:lnTo>
                    <a:pt x="401" y="432"/>
                  </a:lnTo>
                  <a:lnTo>
                    <a:pt x="400" y="433"/>
                  </a:lnTo>
                  <a:lnTo>
                    <a:pt x="397" y="435"/>
                  </a:lnTo>
                  <a:lnTo>
                    <a:pt x="394" y="436"/>
                  </a:lnTo>
                  <a:lnTo>
                    <a:pt x="392" y="437"/>
                  </a:lnTo>
                  <a:lnTo>
                    <a:pt x="391" y="438"/>
                  </a:lnTo>
                  <a:lnTo>
                    <a:pt x="388" y="438"/>
                  </a:lnTo>
                  <a:lnTo>
                    <a:pt x="383" y="439"/>
                  </a:lnTo>
                  <a:lnTo>
                    <a:pt x="380" y="439"/>
                  </a:lnTo>
                  <a:lnTo>
                    <a:pt x="379" y="440"/>
                  </a:lnTo>
                  <a:lnTo>
                    <a:pt x="373" y="442"/>
                  </a:lnTo>
                  <a:lnTo>
                    <a:pt x="369" y="443"/>
                  </a:lnTo>
                  <a:lnTo>
                    <a:pt x="368" y="444"/>
                  </a:lnTo>
                  <a:lnTo>
                    <a:pt x="368" y="444"/>
                  </a:lnTo>
                  <a:lnTo>
                    <a:pt x="367" y="444"/>
                  </a:lnTo>
                  <a:lnTo>
                    <a:pt x="365" y="444"/>
                  </a:lnTo>
                  <a:lnTo>
                    <a:pt x="363" y="443"/>
                  </a:lnTo>
                  <a:lnTo>
                    <a:pt x="359" y="442"/>
                  </a:lnTo>
                  <a:lnTo>
                    <a:pt x="358" y="442"/>
                  </a:lnTo>
                  <a:lnTo>
                    <a:pt x="357" y="442"/>
                  </a:lnTo>
                  <a:lnTo>
                    <a:pt x="356" y="442"/>
                  </a:lnTo>
                  <a:lnTo>
                    <a:pt x="355" y="442"/>
                  </a:lnTo>
                  <a:lnTo>
                    <a:pt x="354" y="442"/>
                  </a:lnTo>
                  <a:lnTo>
                    <a:pt x="352" y="445"/>
                  </a:lnTo>
                  <a:lnTo>
                    <a:pt x="351" y="446"/>
                  </a:lnTo>
                  <a:lnTo>
                    <a:pt x="348" y="449"/>
                  </a:lnTo>
                  <a:lnTo>
                    <a:pt x="347" y="450"/>
                  </a:lnTo>
                  <a:lnTo>
                    <a:pt x="346" y="451"/>
                  </a:lnTo>
                  <a:lnTo>
                    <a:pt x="345" y="453"/>
                  </a:lnTo>
                  <a:lnTo>
                    <a:pt x="345" y="453"/>
                  </a:lnTo>
                  <a:lnTo>
                    <a:pt x="344" y="456"/>
                  </a:lnTo>
                  <a:lnTo>
                    <a:pt x="344" y="458"/>
                  </a:lnTo>
                  <a:lnTo>
                    <a:pt x="344" y="462"/>
                  </a:lnTo>
                  <a:lnTo>
                    <a:pt x="343" y="464"/>
                  </a:lnTo>
                  <a:lnTo>
                    <a:pt x="343" y="465"/>
                  </a:lnTo>
                  <a:lnTo>
                    <a:pt x="342" y="466"/>
                  </a:lnTo>
                  <a:lnTo>
                    <a:pt x="341" y="468"/>
                  </a:lnTo>
                  <a:lnTo>
                    <a:pt x="340" y="468"/>
                  </a:lnTo>
                  <a:lnTo>
                    <a:pt x="340" y="469"/>
                  </a:lnTo>
                  <a:lnTo>
                    <a:pt x="338" y="469"/>
                  </a:lnTo>
                  <a:lnTo>
                    <a:pt x="337" y="469"/>
                  </a:lnTo>
                  <a:lnTo>
                    <a:pt x="335" y="469"/>
                  </a:lnTo>
                  <a:lnTo>
                    <a:pt x="333" y="468"/>
                  </a:lnTo>
                  <a:lnTo>
                    <a:pt x="332" y="467"/>
                  </a:lnTo>
                  <a:lnTo>
                    <a:pt x="330" y="466"/>
                  </a:lnTo>
                  <a:lnTo>
                    <a:pt x="329" y="465"/>
                  </a:lnTo>
                  <a:lnTo>
                    <a:pt x="329" y="464"/>
                  </a:lnTo>
                  <a:lnTo>
                    <a:pt x="327" y="462"/>
                  </a:lnTo>
                  <a:lnTo>
                    <a:pt x="323" y="450"/>
                  </a:lnTo>
                  <a:lnTo>
                    <a:pt x="319" y="441"/>
                  </a:lnTo>
                  <a:lnTo>
                    <a:pt x="318" y="437"/>
                  </a:lnTo>
                  <a:lnTo>
                    <a:pt x="316" y="430"/>
                  </a:lnTo>
                  <a:lnTo>
                    <a:pt x="311" y="418"/>
                  </a:lnTo>
                  <a:lnTo>
                    <a:pt x="311" y="415"/>
                  </a:lnTo>
                  <a:lnTo>
                    <a:pt x="310" y="411"/>
                  </a:lnTo>
                  <a:lnTo>
                    <a:pt x="309" y="410"/>
                  </a:lnTo>
                  <a:lnTo>
                    <a:pt x="308" y="408"/>
                  </a:lnTo>
                  <a:lnTo>
                    <a:pt x="307" y="408"/>
                  </a:lnTo>
                  <a:lnTo>
                    <a:pt x="305" y="406"/>
                  </a:lnTo>
                  <a:lnTo>
                    <a:pt x="299" y="400"/>
                  </a:lnTo>
                  <a:lnTo>
                    <a:pt x="294" y="397"/>
                  </a:lnTo>
                  <a:lnTo>
                    <a:pt x="290" y="395"/>
                  </a:lnTo>
                  <a:lnTo>
                    <a:pt x="287" y="393"/>
                  </a:lnTo>
                  <a:lnTo>
                    <a:pt x="281" y="390"/>
                  </a:lnTo>
                  <a:lnTo>
                    <a:pt x="277" y="389"/>
                  </a:lnTo>
                  <a:lnTo>
                    <a:pt x="270" y="387"/>
                  </a:lnTo>
                  <a:lnTo>
                    <a:pt x="265" y="385"/>
                  </a:lnTo>
                  <a:lnTo>
                    <a:pt x="260" y="384"/>
                  </a:lnTo>
                  <a:lnTo>
                    <a:pt x="256" y="382"/>
                  </a:lnTo>
                  <a:lnTo>
                    <a:pt x="252" y="379"/>
                  </a:lnTo>
                  <a:lnTo>
                    <a:pt x="244" y="374"/>
                  </a:lnTo>
                  <a:lnTo>
                    <a:pt x="241" y="373"/>
                  </a:lnTo>
                  <a:lnTo>
                    <a:pt x="240" y="372"/>
                  </a:lnTo>
                  <a:lnTo>
                    <a:pt x="239" y="371"/>
                  </a:lnTo>
                  <a:lnTo>
                    <a:pt x="238" y="370"/>
                  </a:lnTo>
                  <a:lnTo>
                    <a:pt x="237" y="368"/>
                  </a:lnTo>
                  <a:lnTo>
                    <a:pt x="237" y="367"/>
                  </a:lnTo>
                  <a:lnTo>
                    <a:pt x="237" y="366"/>
                  </a:lnTo>
                  <a:lnTo>
                    <a:pt x="238" y="360"/>
                  </a:lnTo>
                  <a:lnTo>
                    <a:pt x="240" y="353"/>
                  </a:lnTo>
                  <a:lnTo>
                    <a:pt x="242" y="344"/>
                  </a:lnTo>
                  <a:lnTo>
                    <a:pt x="243" y="341"/>
                  </a:lnTo>
                  <a:lnTo>
                    <a:pt x="243" y="337"/>
                  </a:lnTo>
                  <a:lnTo>
                    <a:pt x="243" y="332"/>
                  </a:lnTo>
                  <a:lnTo>
                    <a:pt x="243" y="328"/>
                  </a:lnTo>
                  <a:lnTo>
                    <a:pt x="243" y="326"/>
                  </a:lnTo>
                  <a:lnTo>
                    <a:pt x="243" y="323"/>
                  </a:lnTo>
                  <a:lnTo>
                    <a:pt x="242" y="321"/>
                  </a:lnTo>
                  <a:lnTo>
                    <a:pt x="242" y="320"/>
                  </a:lnTo>
                  <a:lnTo>
                    <a:pt x="241" y="320"/>
                  </a:lnTo>
                  <a:lnTo>
                    <a:pt x="241" y="319"/>
                  </a:lnTo>
                  <a:lnTo>
                    <a:pt x="240" y="319"/>
                  </a:lnTo>
                  <a:lnTo>
                    <a:pt x="239" y="319"/>
                  </a:lnTo>
                  <a:lnTo>
                    <a:pt x="239" y="320"/>
                  </a:lnTo>
                  <a:lnTo>
                    <a:pt x="238" y="321"/>
                  </a:lnTo>
                  <a:lnTo>
                    <a:pt x="237" y="322"/>
                  </a:lnTo>
                  <a:lnTo>
                    <a:pt x="235" y="326"/>
                  </a:lnTo>
                  <a:lnTo>
                    <a:pt x="234" y="327"/>
                  </a:lnTo>
                  <a:lnTo>
                    <a:pt x="233" y="328"/>
                  </a:lnTo>
                  <a:lnTo>
                    <a:pt x="232" y="328"/>
                  </a:lnTo>
                  <a:lnTo>
                    <a:pt x="232" y="328"/>
                  </a:lnTo>
                  <a:lnTo>
                    <a:pt x="231" y="328"/>
                  </a:lnTo>
                  <a:lnTo>
                    <a:pt x="230" y="328"/>
                  </a:lnTo>
                  <a:lnTo>
                    <a:pt x="229" y="328"/>
                  </a:lnTo>
                  <a:lnTo>
                    <a:pt x="228" y="328"/>
                  </a:lnTo>
                  <a:lnTo>
                    <a:pt x="227" y="328"/>
                  </a:lnTo>
                  <a:lnTo>
                    <a:pt x="226" y="328"/>
                  </a:lnTo>
                  <a:lnTo>
                    <a:pt x="224" y="327"/>
                  </a:lnTo>
                  <a:lnTo>
                    <a:pt x="221" y="324"/>
                  </a:lnTo>
                  <a:lnTo>
                    <a:pt x="220" y="322"/>
                  </a:lnTo>
                  <a:lnTo>
                    <a:pt x="218" y="318"/>
                  </a:lnTo>
                  <a:lnTo>
                    <a:pt x="215" y="316"/>
                  </a:lnTo>
                  <a:lnTo>
                    <a:pt x="214" y="315"/>
                  </a:lnTo>
                  <a:lnTo>
                    <a:pt x="213" y="312"/>
                  </a:lnTo>
                  <a:lnTo>
                    <a:pt x="209" y="306"/>
                  </a:lnTo>
                  <a:lnTo>
                    <a:pt x="209" y="304"/>
                  </a:lnTo>
                  <a:lnTo>
                    <a:pt x="208" y="303"/>
                  </a:lnTo>
                  <a:lnTo>
                    <a:pt x="207" y="301"/>
                  </a:lnTo>
                  <a:lnTo>
                    <a:pt x="205" y="299"/>
                  </a:lnTo>
                  <a:lnTo>
                    <a:pt x="201" y="296"/>
                  </a:lnTo>
                  <a:lnTo>
                    <a:pt x="199" y="294"/>
                  </a:lnTo>
                  <a:lnTo>
                    <a:pt x="198" y="293"/>
                  </a:lnTo>
                  <a:lnTo>
                    <a:pt x="197" y="291"/>
                  </a:lnTo>
                  <a:lnTo>
                    <a:pt x="196" y="289"/>
                  </a:lnTo>
                  <a:lnTo>
                    <a:pt x="195" y="286"/>
                  </a:lnTo>
                  <a:lnTo>
                    <a:pt x="193" y="278"/>
                  </a:lnTo>
                  <a:lnTo>
                    <a:pt x="190" y="270"/>
                  </a:lnTo>
                  <a:lnTo>
                    <a:pt x="188" y="264"/>
                  </a:lnTo>
                  <a:lnTo>
                    <a:pt x="187" y="261"/>
                  </a:lnTo>
                  <a:lnTo>
                    <a:pt x="186" y="260"/>
                  </a:lnTo>
                  <a:lnTo>
                    <a:pt x="186" y="258"/>
                  </a:lnTo>
                  <a:lnTo>
                    <a:pt x="185" y="257"/>
                  </a:lnTo>
                  <a:lnTo>
                    <a:pt x="182" y="252"/>
                  </a:lnTo>
                  <a:lnTo>
                    <a:pt x="180" y="250"/>
                  </a:lnTo>
                  <a:lnTo>
                    <a:pt x="179" y="249"/>
                  </a:lnTo>
                  <a:lnTo>
                    <a:pt x="177" y="246"/>
                  </a:lnTo>
                  <a:lnTo>
                    <a:pt x="176" y="244"/>
                  </a:lnTo>
                  <a:lnTo>
                    <a:pt x="175" y="242"/>
                  </a:lnTo>
                  <a:lnTo>
                    <a:pt x="171" y="238"/>
                  </a:lnTo>
                  <a:lnTo>
                    <a:pt x="168" y="236"/>
                  </a:lnTo>
                  <a:lnTo>
                    <a:pt x="166" y="232"/>
                  </a:lnTo>
                  <a:lnTo>
                    <a:pt x="164" y="226"/>
                  </a:lnTo>
                  <a:lnTo>
                    <a:pt x="162" y="223"/>
                  </a:lnTo>
                  <a:lnTo>
                    <a:pt x="160" y="221"/>
                  </a:lnTo>
                  <a:lnTo>
                    <a:pt x="158" y="218"/>
                  </a:lnTo>
                  <a:lnTo>
                    <a:pt x="155" y="216"/>
                  </a:lnTo>
                  <a:lnTo>
                    <a:pt x="154" y="215"/>
                  </a:lnTo>
                  <a:lnTo>
                    <a:pt x="152" y="214"/>
                  </a:lnTo>
                  <a:lnTo>
                    <a:pt x="150" y="213"/>
                  </a:lnTo>
                  <a:lnTo>
                    <a:pt x="143" y="210"/>
                  </a:lnTo>
                  <a:lnTo>
                    <a:pt x="140" y="209"/>
                  </a:lnTo>
                  <a:lnTo>
                    <a:pt x="136" y="206"/>
                  </a:lnTo>
                  <a:lnTo>
                    <a:pt x="135" y="205"/>
                  </a:lnTo>
                  <a:lnTo>
                    <a:pt x="134" y="204"/>
                  </a:lnTo>
                  <a:lnTo>
                    <a:pt x="133" y="205"/>
                  </a:lnTo>
                  <a:lnTo>
                    <a:pt x="130" y="206"/>
                  </a:lnTo>
                  <a:lnTo>
                    <a:pt x="124" y="209"/>
                  </a:lnTo>
                  <a:lnTo>
                    <a:pt x="116" y="214"/>
                  </a:lnTo>
                  <a:lnTo>
                    <a:pt x="110" y="216"/>
                  </a:lnTo>
                  <a:lnTo>
                    <a:pt x="108" y="218"/>
                  </a:lnTo>
                  <a:lnTo>
                    <a:pt x="107" y="219"/>
                  </a:lnTo>
                  <a:lnTo>
                    <a:pt x="102" y="224"/>
                  </a:lnTo>
                  <a:lnTo>
                    <a:pt x="97" y="227"/>
                  </a:lnTo>
                  <a:lnTo>
                    <a:pt x="97" y="228"/>
                  </a:lnTo>
                  <a:lnTo>
                    <a:pt x="96" y="229"/>
                  </a:lnTo>
                  <a:lnTo>
                    <a:pt x="96" y="230"/>
                  </a:lnTo>
                  <a:lnTo>
                    <a:pt x="97" y="232"/>
                  </a:lnTo>
                  <a:lnTo>
                    <a:pt x="99" y="237"/>
                  </a:lnTo>
                  <a:lnTo>
                    <a:pt x="101" y="239"/>
                  </a:lnTo>
                  <a:lnTo>
                    <a:pt x="103" y="241"/>
                  </a:lnTo>
                  <a:lnTo>
                    <a:pt x="116" y="253"/>
                  </a:lnTo>
                  <a:lnTo>
                    <a:pt x="118" y="255"/>
                  </a:lnTo>
                  <a:lnTo>
                    <a:pt x="118" y="257"/>
                  </a:lnTo>
                  <a:lnTo>
                    <a:pt x="119" y="259"/>
                  </a:lnTo>
                  <a:lnTo>
                    <a:pt x="120" y="260"/>
                  </a:lnTo>
                  <a:lnTo>
                    <a:pt x="122" y="265"/>
                  </a:lnTo>
                  <a:lnTo>
                    <a:pt x="122" y="267"/>
                  </a:lnTo>
                  <a:lnTo>
                    <a:pt x="123" y="269"/>
                  </a:lnTo>
                  <a:lnTo>
                    <a:pt x="127" y="273"/>
                  </a:lnTo>
                  <a:lnTo>
                    <a:pt x="128" y="275"/>
                  </a:lnTo>
                  <a:lnTo>
                    <a:pt x="128" y="277"/>
                  </a:lnTo>
                  <a:lnTo>
                    <a:pt x="129" y="279"/>
                  </a:lnTo>
                  <a:lnTo>
                    <a:pt x="129" y="283"/>
                  </a:lnTo>
                  <a:lnTo>
                    <a:pt x="129" y="284"/>
                  </a:lnTo>
                  <a:lnTo>
                    <a:pt x="129" y="286"/>
                  </a:lnTo>
                  <a:lnTo>
                    <a:pt x="129" y="287"/>
                  </a:lnTo>
                  <a:lnTo>
                    <a:pt x="129" y="289"/>
                  </a:lnTo>
                  <a:lnTo>
                    <a:pt x="129" y="291"/>
                  </a:lnTo>
                  <a:lnTo>
                    <a:pt x="128" y="293"/>
                  </a:lnTo>
                  <a:lnTo>
                    <a:pt x="125" y="296"/>
                  </a:lnTo>
                  <a:lnTo>
                    <a:pt x="122" y="300"/>
                  </a:lnTo>
                  <a:lnTo>
                    <a:pt x="120" y="305"/>
                  </a:lnTo>
                  <a:lnTo>
                    <a:pt x="118" y="310"/>
                  </a:lnTo>
                  <a:lnTo>
                    <a:pt x="117" y="313"/>
                  </a:lnTo>
                  <a:lnTo>
                    <a:pt x="115" y="317"/>
                  </a:lnTo>
                  <a:lnTo>
                    <a:pt x="113" y="319"/>
                  </a:lnTo>
                  <a:lnTo>
                    <a:pt x="112" y="322"/>
                  </a:lnTo>
                  <a:lnTo>
                    <a:pt x="109" y="326"/>
                  </a:lnTo>
                  <a:lnTo>
                    <a:pt x="101" y="335"/>
                  </a:lnTo>
                  <a:lnTo>
                    <a:pt x="96" y="340"/>
                  </a:lnTo>
                  <a:lnTo>
                    <a:pt x="95" y="344"/>
                  </a:lnTo>
                  <a:lnTo>
                    <a:pt x="94" y="345"/>
                  </a:lnTo>
                  <a:lnTo>
                    <a:pt x="94" y="346"/>
                  </a:lnTo>
                  <a:lnTo>
                    <a:pt x="93" y="345"/>
                  </a:lnTo>
                  <a:lnTo>
                    <a:pt x="92" y="344"/>
                  </a:lnTo>
                  <a:lnTo>
                    <a:pt x="79" y="336"/>
                  </a:lnTo>
                  <a:lnTo>
                    <a:pt x="61" y="323"/>
                  </a:lnTo>
                  <a:lnTo>
                    <a:pt x="58" y="320"/>
                  </a:lnTo>
                  <a:lnTo>
                    <a:pt x="56" y="318"/>
                  </a:lnTo>
                  <a:lnTo>
                    <a:pt x="54" y="317"/>
                  </a:lnTo>
                  <a:lnTo>
                    <a:pt x="53" y="316"/>
                  </a:lnTo>
                  <a:lnTo>
                    <a:pt x="51" y="315"/>
                  </a:lnTo>
                  <a:lnTo>
                    <a:pt x="50" y="312"/>
                  </a:lnTo>
                  <a:lnTo>
                    <a:pt x="49" y="310"/>
                  </a:lnTo>
                  <a:lnTo>
                    <a:pt x="49" y="309"/>
                  </a:lnTo>
                  <a:lnTo>
                    <a:pt x="48" y="308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5"/>
                  </a:lnTo>
                  <a:lnTo>
                    <a:pt x="48" y="302"/>
                  </a:lnTo>
                  <a:lnTo>
                    <a:pt x="49" y="299"/>
                  </a:lnTo>
                  <a:lnTo>
                    <a:pt x="50" y="296"/>
                  </a:lnTo>
                  <a:lnTo>
                    <a:pt x="50" y="294"/>
                  </a:lnTo>
                  <a:lnTo>
                    <a:pt x="52" y="293"/>
                  </a:lnTo>
                  <a:lnTo>
                    <a:pt x="54" y="292"/>
                  </a:lnTo>
                  <a:lnTo>
                    <a:pt x="59" y="287"/>
                  </a:lnTo>
                  <a:lnTo>
                    <a:pt x="60" y="286"/>
                  </a:lnTo>
                  <a:lnTo>
                    <a:pt x="61" y="285"/>
                  </a:lnTo>
                  <a:lnTo>
                    <a:pt x="61" y="284"/>
                  </a:lnTo>
                  <a:lnTo>
                    <a:pt x="61" y="283"/>
                  </a:lnTo>
                  <a:lnTo>
                    <a:pt x="62" y="282"/>
                  </a:lnTo>
                  <a:lnTo>
                    <a:pt x="62" y="280"/>
                  </a:lnTo>
                  <a:lnTo>
                    <a:pt x="61" y="278"/>
                  </a:lnTo>
                  <a:lnTo>
                    <a:pt x="61" y="274"/>
                  </a:lnTo>
                  <a:lnTo>
                    <a:pt x="60" y="272"/>
                  </a:lnTo>
                  <a:lnTo>
                    <a:pt x="58" y="269"/>
                  </a:lnTo>
                  <a:lnTo>
                    <a:pt x="55" y="265"/>
                  </a:lnTo>
                  <a:lnTo>
                    <a:pt x="50" y="259"/>
                  </a:lnTo>
                  <a:lnTo>
                    <a:pt x="49" y="256"/>
                  </a:lnTo>
                  <a:lnTo>
                    <a:pt x="47" y="254"/>
                  </a:lnTo>
                  <a:lnTo>
                    <a:pt x="46" y="252"/>
                  </a:lnTo>
                  <a:lnTo>
                    <a:pt x="44" y="248"/>
                  </a:lnTo>
                  <a:lnTo>
                    <a:pt x="43" y="242"/>
                  </a:lnTo>
                  <a:lnTo>
                    <a:pt x="39" y="232"/>
                  </a:lnTo>
                  <a:lnTo>
                    <a:pt x="39" y="226"/>
                  </a:lnTo>
                  <a:lnTo>
                    <a:pt x="38" y="223"/>
                  </a:lnTo>
                  <a:lnTo>
                    <a:pt x="37" y="219"/>
                  </a:lnTo>
                  <a:lnTo>
                    <a:pt x="37" y="214"/>
                  </a:lnTo>
                  <a:lnTo>
                    <a:pt x="37" y="211"/>
                  </a:lnTo>
                  <a:lnTo>
                    <a:pt x="37" y="208"/>
                  </a:lnTo>
                  <a:lnTo>
                    <a:pt x="37" y="204"/>
                  </a:lnTo>
                  <a:lnTo>
                    <a:pt x="38" y="201"/>
                  </a:lnTo>
                  <a:lnTo>
                    <a:pt x="39" y="198"/>
                  </a:lnTo>
                  <a:lnTo>
                    <a:pt x="40" y="195"/>
                  </a:lnTo>
                  <a:lnTo>
                    <a:pt x="45" y="188"/>
                  </a:lnTo>
                  <a:lnTo>
                    <a:pt x="46" y="185"/>
                  </a:lnTo>
                  <a:lnTo>
                    <a:pt x="49" y="180"/>
                  </a:lnTo>
                  <a:lnTo>
                    <a:pt x="50" y="177"/>
                  </a:lnTo>
                  <a:lnTo>
                    <a:pt x="52" y="175"/>
                  </a:lnTo>
                  <a:lnTo>
                    <a:pt x="54" y="174"/>
                  </a:lnTo>
                  <a:lnTo>
                    <a:pt x="55" y="172"/>
                  </a:lnTo>
                  <a:lnTo>
                    <a:pt x="59" y="170"/>
                  </a:lnTo>
                  <a:lnTo>
                    <a:pt x="59" y="170"/>
                  </a:lnTo>
                  <a:lnTo>
                    <a:pt x="60" y="170"/>
                  </a:lnTo>
                  <a:lnTo>
                    <a:pt x="60" y="169"/>
                  </a:lnTo>
                  <a:lnTo>
                    <a:pt x="60" y="168"/>
                  </a:lnTo>
                  <a:lnTo>
                    <a:pt x="59" y="168"/>
                  </a:lnTo>
                  <a:lnTo>
                    <a:pt x="57" y="167"/>
                  </a:lnTo>
                  <a:lnTo>
                    <a:pt x="56" y="167"/>
                  </a:lnTo>
                  <a:lnTo>
                    <a:pt x="51" y="166"/>
                  </a:lnTo>
                  <a:lnTo>
                    <a:pt x="43" y="164"/>
                  </a:lnTo>
                  <a:lnTo>
                    <a:pt x="38" y="163"/>
                  </a:lnTo>
                  <a:lnTo>
                    <a:pt x="32" y="162"/>
                  </a:lnTo>
                  <a:lnTo>
                    <a:pt x="22" y="159"/>
                  </a:lnTo>
                  <a:lnTo>
                    <a:pt x="14" y="157"/>
                  </a:lnTo>
                  <a:lnTo>
                    <a:pt x="8" y="156"/>
                  </a:lnTo>
                  <a:lnTo>
                    <a:pt x="6" y="155"/>
                  </a:lnTo>
                  <a:lnTo>
                    <a:pt x="5" y="154"/>
                  </a:lnTo>
                  <a:lnTo>
                    <a:pt x="4" y="153"/>
                  </a:lnTo>
                  <a:lnTo>
                    <a:pt x="3" y="153"/>
                  </a:lnTo>
                  <a:lnTo>
                    <a:pt x="2" y="152"/>
                  </a:lnTo>
                  <a:lnTo>
                    <a:pt x="2" y="151"/>
                  </a:lnTo>
                  <a:lnTo>
                    <a:pt x="1" y="150"/>
                  </a:lnTo>
                  <a:lnTo>
                    <a:pt x="1" y="148"/>
                  </a:lnTo>
                  <a:lnTo>
                    <a:pt x="1" y="147"/>
                  </a:lnTo>
                  <a:lnTo>
                    <a:pt x="1" y="145"/>
                  </a:lnTo>
                  <a:lnTo>
                    <a:pt x="1" y="137"/>
                  </a:lnTo>
                  <a:lnTo>
                    <a:pt x="1" y="135"/>
                  </a:lnTo>
                  <a:lnTo>
                    <a:pt x="1" y="133"/>
                  </a:lnTo>
                  <a:lnTo>
                    <a:pt x="0" y="126"/>
                  </a:lnTo>
                  <a:lnTo>
                    <a:pt x="0" y="124"/>
                  </a:lnTo>
                  <a:lnTo>
                    <a:pt x="0" y="122"/>
                  </a:lnTo>
                  <a:lnTo>
                    <a:pt x="1" y="119"/>
                  </a:lnTo>
                  <a:lnTo>
                    <a:pt x="1" y="116"/>
                  </a:lnTo>
                  <a:lnTo>
                    <a:pt x="2" y="114"/>
                  </a:lnTo>
                  <a:lnTo>
                    <a:pt x="3" y="113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5" y="112"/>
                  </a:lnTo>
                  <a:lnTo>
                    <a:pt x="6" y="112"/>
                  </a:lnTo>
                  <a:lnTo>
                    <a:pt x="16" y="113"/>
                  </a:lnTo>
                  <a:lnTo>
                    <a:pt x="25" y="114"/>
                  </a:lnTo>
                  <a:lnTo>
                    <a:pt x="27" y="115"/>
                  </a:lnTo>
                  <a:lnTo>
                    <a:pt x="29" y="115"/>
                  </a:lnTo>
                  <a:lnTo>
                    <a:pt x="31" y="115"/>
                  </a:lnTo>
                  <a:lnTo>
                    <a:pt x="32" y="114"/>
                  </a:lnTo>
                  <a:lnTo>
                    <a:pt x="34" y="114"/>
                  </a:lnTo>
                  <a:lnTo>
                    <a:pt x="35" y="113"/>
                  </a:lnTo>
                  <a:lnTo>
                    <a:pt x="36" y="113"/>
                  </a:lnTo>
                  <a:lnTo>
                    <a:pt x="37" y="111"/>
                  </a:lnTo>
                  <a:lnTo>
                    <a:pt x="38" y="110"/>
                  </a:lnTo>
                  <a:lnTo>
                    <a:pt x="38" y="109"/>
                  </a:lnTo>
                  <a:lnTo>
                    <a:pt x="39" y="107"/>
                  </a:lnTo>
                  <a:lnTo>
                    <a:pt x="39" y="100"/>
                  </a:lnTo>
                  <a:lnTo>
                    <a:pt x="40" y="97"/>
                  </a:lnTo>
                  <a:lnTo>
                    <a:pt x="41" y="94"/>
                  </a:lnTo>
                  <a:lnTo>
                    <a:pt x="42" y="92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44" y="88"/>
                  </a:lnTo>
                  <a:lnTo>
                    <a:pt x="44" y="86"/>
                  </a:lnTo>
                  <a:lnTo>
                    <a:pt x="45" y="80"/>
                  </a:lnTo>
                  <a:lnTo>
                    <a:pt x="45" y="75"/>
                  </a:lnTo>
                  <a:lnTo>
                    <a:pt x="45" y="72"/>
                  </a:lnTo>
                  <a:lnTo>
                    <a:pt x="46" y="70"/>
                  </a:lnTo>
                  <a:lnTo>
                    <a:pt x="46" y="68"/>
                  </a:lnTo>
                  <a:lnTo>
                    <a:pt x="47" y="66"/>
                  </a:lnTo>
                  <a:lnTo>
                    <a:pt x="48" y="64"/>
                  </a:lnTo>
                  <a:lnTo>
                    <a:pt x="50" y="61"/>
                  </a:lnTo>
                  <a:lnTo>
                    <a:pt x="50" y="60"/>
                  </a:lnTo>
                  <a:lnTo>
                    <a:pt x="50" y="59"/>
                  </a:lnTo>
                  <a:lnTo>
                    <a:pt x="51" y="59"/>
                  </a:lnTo>
                  <a:lnTo>
                    <a:pt x="54" y="58"/>
                  </a:lnTo>
                  <a:lnTo>
                    <a:pt x="53" y="56"/>
                  </a:lnTo>
                  <a:lnTo>
                    <a:pt x="52" y="55"/>
                  </a:lnTo>
                  <a:lnTo>
                    <a:pt x="50" y="52"/>
                  </a:lnTo>
                  <a:lnTo>
                    <a:pt x="47" y="47"/>
                  </a:lnTo>
                  <a:lnTo>
                    <a:pt x="45" y="45"/>
                  </a:lnTo>
                  <a:lnTo>
                    <a:pt x="44" y="43"/>
                  </a:lnTo>
                  <a:lnTo>
                    <a:pt x="43" y="41"/>
                  </a:lnTo>
                  <a:lnTo>
                    <a:pt x="43" y="39"/>
                  </a:lnTo>
                  <a:lnTo>
                    <a:pt x="43" y="35"/>
                  </a:lnTo>
                  <a:lnTo>
                    <a:pt x="43" y="29"/>
                  </a:lnTo>
                  <a:lnTo>
                    <a:pt x="43" y="27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5" y="21"/>
                  </a:lnTo>
                  <a:lnTo>
                    <a:pt x="47" y="19"/>
                  </a:lnTo>
                  <a:lnTo>
                    <a:pt x="48" y="17"/>
                  </a:lnTo>
                  <a:lnTo>
                    <a:pt x="50" y="14"/>
                  </a:lnTo>
                  <a:lnTo>
                    <a:pt x="53" y="12"/>
                  </a:lnTo>
                  <a:lnTo>
                    <a:pt x="55" y="11"/>
                  </a:lnTo>
                  <a:lnTo>
                    <a:pt x="58" y="10"/>
                  </a:lnTo>
                  <a:lnTo>
                    <a:pt x="61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1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6" y="5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3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5" name="Freeform 72">
              <a:extLst>
                <a:ext uri="{FF2B5EF4-FFF2-40B4-BE49-F238E27FC236}">
                  <a16:creationId xmlns:a16="http://schemas.microsoft.com/office/drawing/2014/main" id="{78429712-9DC6-468B-A865-C355F5BBE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" y="2566"/>
              <a:ext cx="524" cy="463"/>
            </a:xfrm>
            <a:custGeom>
              <a:avLst/>
              <a:gdLst>
                <a:gd name="T0" fmla="*/ 358 w 524"/>
                <a:gd name="T1" fmla="*/ 12 h 463"/>
                <a:gd name="T2" fmla="*/ 378 w 524"/>
                <a:gd name="T3" fmla="*/ 9 h 463"/>
                <a:gd name="T4" fmla="*/ 399 w 524"/>
                <a:gd name="T5" fmla="*/ 26 h 463"/>
                <a:gd name="T6" fmla="*/ 435 w 524"/>
                <a:gd name="T7" fmla="*/ 66 h 463"/>
                <a:gd name="T8" fmla="*/ 477 w 524"/>
                <a:gd name="T9" fmla="*/ 115 h 463"/>
                <a:gd name="T10" fmla="*/ 473 w 524"/>
                <a:gd name="T11" fmla="*/ 136 h 463"/>
                <a:gd name="T12" fmla="*/ 482 w 524"/>
                <a:gd name="T13" fmla="*/ 148 h 463"/>
                <a:gd name="T14" fmla="*/ 505 w 524"/>
                <a:gd name="T15" fmla="*/ 136 h 463"/>
                <a:gd name="T16" fmla="*/ 523 w 524"/>
                <a:gd name="T17" fmla="*/ 162 h 463"/>
                <a:gd name="T18" fmla="*/ 508 w 524"/>
                <a:gd name="T19" fmla="*/ 190 h 463"/>
                <a:gd name="T20" fmla="*/ 475 w 524"/>
                <a:gd name="T21" fmla="*/ 188 h 463"/>
                <a:gd name="T22" fmla="*/ 461 w 524"/>
                <a:gd name="T23" fmla="*/ 202 h 463"/>
                <a:gd name="T24" fmla="*/ 433 w 524"/>
                <a:gd name="T25" fmla="*/ 229 h 463"/>
                <a:gd name="T26" fmla="*/ 427 w 524"/>
                <a:gd name="T27" fmla="*/ 256 h 463"/>
                <a:gd name="T28" fmla="*/ 419 w 524"/>
                <a:gd name="T29" fmla="*/ 282 h 463"/>
                <a:gd name="T30" fmla="*/ 392 w 524"/>
                <a:gd name="T31" fmla="*/ 289 h 463"/>
                <a:gd name="T32" fmla="*/ 371 w 524"/>
                <a:gd name="T33" fmla="*/ 280 h 463"/>
                <a:gd name="T34" fmla="*/ 353 w 524"/>
                <a:gd name="T35" fmla="*/ 262 h 463"/>
                <a:gd name="T36" fmla="*/ 336 w 524"/>
                <a:gd name="T37" fmla="*/ 276 h 463"/>
                <a:gd name="T38" fmla="*/ 320 w 524"/>
                <a:gd name="T39" fmla="*/ 278 h 463"/>
                <a:gd name="T40" fmla="*/ 307 w 524"/>
                <a:gd name="T41" fmla="*/ 282 h 463"/>
                <a:gd name="T42" fmla="*/ 318 w 524"/>
                <a:gd name="T43" fmla="*/ 312 h 463"/>
                <a:gd name="T44" fmla="*/ 306 w 524"/>
                <a:gd name="T45" fmla="*/ 334 h 463"/>
                <a:gd name="T46" fmla="*/ 282 w 524"/>
                <a:gd name="T47" fmla="*/ 335 h 463"/>
                <a:gd name="T48" fmla="*/ 249 w 524"/>
                <a:gd name="T49" fmla="*/ 332 h 463"/>
                <a:gd name="T50" fmla="*/ 218 w 524"/>
                <a:gd name="T51" fmla="*/ 342 h 463"/>
                <a:gd name="T52" fmla="*/ 207 w 524"/>
                <a:gd name="T53" fmla="*/ 372 h 463"/>
                <a:gd name="T54" fmla="*/ 189 w 524"/>
                <a:gd name="T55" fmla="*/ 382 h 463"/>
                <a:gd name="T56" fmla="*/ 159 w 524"/>
                <a:gd name="T57" fmla="*/ 366 h 463"/>
                <a:gd name="T58" fmla="*/ 119 w 524"/>
                <a:gd name="T59" fmla="*/ 358 h 463"/>
                <a:gd name="T60" fmla="*/ 112 w 524"/>
                <a:gd name="T61" fmla="*/ 336 h 463"/>
                <a:gd name="T62" fmla="*/ 98 w 524"/>
                <a:gd name="T63" fmla="*/ 335 h 463"/>
                <a:gd name="T64" fmla="*/ 83 w 524"/>
                <a:gd name="T65" fmla="*/ 365 h 463"/>
                <a:gd name="T66" fmla="*/ 94 w 524"/>
                <a:gd name="T67" fmla="*/ 402 h 463"/>
                <a:gd name="T68" fmla="*/ 79 w 524"/>
                <a:gd name="T69" fmla="*/ 422 h 463"/>
                <a:gd name="T70" fmla="*/ 55 w 524"/>
                <a:gd name="T71" fmla="*/ 451 h 463"/>
                <a:gd name="T72" fmla="*/ 35 w 524"/>
                <a:gd name="T73" fmla="*/ 462 h 463"/>
                <a:gd name="T74" fmla="*/ 23 w 524"/>
                <a:gd name="T75" fmla="*/ 459 h 463"/>
                <a:gd name="T76" fmla="*/ 5 w 524"/>
                <a:gd name="T77" fmla="*/ 420 h 463"/>
                <a:gd name="T78" fmla="*/ 4 w 524"/>
                <a:gd name="T79" fmla="*/ 373 h 463"/>
                <a:gd name="T80" fmla="*/ 4 w 524"/>
                <a:gd name="T81" fmla="*/ 335 h 463"/>
                <a:gd name="T82" fmla="*/ 19 w 524"/>
                <a:gd name="T83" fmla="*/ 315 h 463"/>
                <a:gd name="T84" fmla="*/ 15 w 524"/>
                <a:gd name="T85" fmla="*/ 297 h 463"/>
                <a:gd name="T86" fmla="*/ 33 w 524"/>
                <a:gd name="T87" fmla="*/ 288 h 463"/>
                <a:gd name="T88" fmla="*/ 69 w 524"/>
                <a:gd name="T89" fmla="*/ 297 h 463"/>
                <a:gd name="T90" fmla="*/ 76 w 524"/>
                <a:gd name="T91" fmla="*/ 289 h 463"/>
                <a:gd name="T92" fmla="*/ 62 w 524"/>
                <a:gd name="T93" fmla="*/ 257 h 463"/>
                <a:gd name="T94" fmla="*/ 69 w 524"/>
                <a:gd name="T95" fmla="*/ 238 h 463"/>
                <a:gd name="T96" fmla="*/ 98 w 524"/>
                <a:gd name="T97" fmla="*/ 206 h 463"/>
                <a:gd name="T98" fmla="*/ 114 w 524"/>
                <a:gd name="T99" fmla="*/ 199 h 463"/>
                <a:gd name="T100" fmla="*/ 155 w 524"/>
                <a:gd name="T101" fmla="*/ 193 h 463"/>
                <a:gd name="T102" fmla="*/ 169 w 524"/>
                <a:gd name="T103" fmla="*/ 182 h 463"/>
                <a:gd name="T104" fmla="*/ 172 w 524"/>
                <a:gd name="T105" fmla="*/ 151 h 463"/>
                <a:gd name="T106" fmla="*/ 194 w 524"/>
                <a:gd name="T107" fmla="*/ 142 h 463"/>
                <a:gd name="T108" fmla="*/ 209 w 524"/>
                <a:gd name="T109" fmla="*/ 145 h 463"/>
                <a:gd name="T110" fmla="*/ 232 w 524"/>
                <a:gd name="T111" fmla="*/ 154 h 463"/>
                <a:gd name="T112" fmla="*/ 261 w 524"/>
                <a:gd name="T113" fmla="*/ 141 h 463"/>
                <a:gd name="T114" fmla="*/ 291 w 524"/>
                <a:gd name="T115" fmla="*/ 129 h 463"/>
                <a:gd name="T116" fmla="*/ 298 w 524"/>
                <a:gd name="T117" fmla="*/ 121 h 463"/>
                <a:gd name="T118" fmla="*/ 285 w 524"/>
                <a:gd name="T119" fmla="*/ 81 h 463"/>
                <a:gd name="T120" fmla="*/ 285 w 524"/>
                <a:gd name="T121" fmla="*/ 63 h 463"/>
                <a:gd name="T122" fmla="*/ 308 w 524"/>
                <a:gd name="T123" fmla="*/ 35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463">
                  <a:moveTo>
                    <a:pt x="337" y="0"/>
                  </a:moveTo>
                  <a:lnTo>
                    <a:pt x="339" y="0"/>
                  </a:lnTo>
                  <a:lnTo>
                    <a:pt x="340" y="0"/>
                  </a:lnTo>
                  <a:lnTo>
                    <a:pt x="340" y="1"/>
                  </a:lnTo>
                  <a:lnTo>
                    <a:pt x="340" y="2"/>
                  </a:lnTo>
                  <a:lnTo>
                    <a:pt x="342" y="4"/>
                  </a:lnTo>
                  <a:lnTo>
                    <a:pt x="346" y="6"/>
                  </a:lnTo>
                  <a:lnTo>
                    <a:pt x="350" y="7"/>
                  </a:lnTo>
                  <a:lnTo>
                    <a:pt x="353" y="10"/>
                  </a:lnTo>
                  <a:lnTo>
                    <a:pt x="358" y="12"/>
                  </a:lnTo>
                  <a:lnTo>
                    <a:pt x="362" y="13"/>
                  </a:lnTo>
                  <a:lnTo>
                    <a:pt x="364" y="14"/>
                  </a:lnTo>
                  <a:lnTo>
                    <a:pt x="366" y="14"/>
                  </a:lnTo>
                  <a:lnTo>
                    <a:pt x="368" y="15"/>
                  </a:lnTo>
                  <a:lnTo>
                    <a:pt x="370" y="14"/>
                  </a:lnTo>
                  <a:lnTo>
                    <a:pt x="372" y="14"/>
                  </a:lnTo>
                  <a:lnTo>
                    <a:pt x="374" y="13"/>
                  </a:lnTo>
                  <a:lnTo>
                    <a:pt x="375" y="13"/>
                  </a:lnTo>
                  <a:lnTo>
                    <a:pt x="377" y="10"/>
                  </a:lnTo>
                  <a:lnTo>
                    <a:pt x="378" y="9"/>
                  </a:lnTo>
                  <a:lnTo>
                    <a:pt x="380" y="9"/>
                  </a:lnTo>
                  <a:lnTo>
                    <a:pt x="381" y="9"/>
                  </a:lnTo>
                  <a:lnTo>
                    <a:pt x="383" y="9"/>
                  </a:lnTo>
                  <a:lnTo>
                    <a:pt x="384" y="9"/>
                  </a:lnTo>
                  <a:lnTo>
                    <a:pt x="386" y="10"/>
                  </a:lnTo>
                  <a:lnTo>
                    <a:pt x="388" y="12"/>
                  </a:lnTo>
                  <a:lnTo>
                    <a:pt x="390" y="14"/>
                  </a:lnTo>
                  <a:lnTo>
                    <a:pt x="392" y="17"/>
                  </a:lnTo>
                  <a:lnTo>
                    <a:pt x="395" y="20"/>
                  </a:lnTo>
                  <a:lnTo>
                    <a:pt x="399" y="26"/>
                  </a:lnTo>
                  <a:lnTo>
                    <a:pt x="400" y="29"/>
                  </a:lnTo>
                  <a:lnTo>
                    <a:pt x="402" y="31"/>
                  </a:lnTo>
                  <a:lnTo>
                    <a:pt x="406" y="38"/>
                  </a:lnTo>
                  <a:lnTo>
                    <a:pt x="407" y="40"/>
                  </a:lnTo>
                  <a:lnTo>
                    <a:pt x="410" y="45"/>
                  </a:lnTo>
                  <a:lnTo>
                    <a:pt x="411" y="47"/>
                  </a:lnTo>
                  <a:lnTo>
                    <a:pt x="413" y="49"/>
                  </a:lnTo>
                  <a:lnTo>
                    <a:pt x="415" y="51"/>
                  </a:lnTo>
                  <a:lnTo>
                    <a:pt x="417" y="52"/>
                  </a:lnTo>
                  <a:lnTo>
                    <a:pt x="435" y="66"/>
                  </a:lnTo>
                  <a:lnTo>
                    <a:pt x="440" y="69"/>
                  </a:lnTo>
                  <a:lnTo>
                    <a:pt x="443" y="72"/>
                  </a:lnTo>
                  <a:lnTo>
                    <a:pt x="452" y="81"/>
                  </a:lnTo>
                  <a:lnTo>
                    <a:pt x="457" y="86"/>
                  </a:lnTo>
                  <a:lnTo>
                    <a:pt x="459" y="89"/>
                  </a:lnTo>
                  <a:lnTo>
                    <a:pt x="464" y="94"/>
                  </a:lnTo>
                  <a:lnTo>
                    <a:pt x="467" y="99"/>
                  </a:lnTo>
                  <a:lnTo>
                    <a:pt x="472" y="107"/>
                  </a:lnTo>
                  <a:lnTo>
                    <a:pt x="475" y="113"/>
                  </a:lnTo>
                  <a:lnTo>
                    <a:pt x="477" y="115"/>
                  </a:lnTo>
                  <a:lnTo>
                    <a:pt x="478" y="118"/>
                  </a:lnTo>
                  <a:lnTo>
                    <a:pt x="478" y="119"/>
                  </a:lnTo>
                  <a:lnTo>
                    <a:pt x="478" y="120"/>
                  </a:lnTo>
                  <a:lnTo>
                    <a:pt x="478" y="122"/>
                  </a:lnTo>
                  <a:lnTo>
                    <a:pt x="478" y="123"/>
                  </a:lnTo>
                  <a:lnTo>
                    <a:pt x="477" y="126"/>
                  </a:lnTo>
                  <a:lnTo>
                    <a:pt x="475" y="130"/>
                  </a:lnTo>
                  <a:lnTo>
                    <a:pt x="474" y="131"/>
                  </a:lnTo>
                  <a:lnTo>
                    <a:pt x="473" y="134"/>
                  </a:lnTo>
                  <a:lnTo>
                    <a:pt x="473" y="136"/>
                  </a:lnTo>
                  <a:lnTo>
                    <a:pt x="473" y="137"/>
                  </a:lnTo>
                  <a:lnTo>
                    <a:pt x="473" y="138"/>
                  </a:lnTo>
                  <a:lnTo>
                    <a:pt x="474" y="141"/>
                  </a:lnTo>
                  <a:lnTo>
                    <a:pt x="475" y="144"/>
                  </a:lnTo>
                  <a:lnTo>
                    <a:pt x="476" y="145"/>
                  </a:lnTo>
                  <a:lnTo>
                    <a:pt x="477" y="146"/>
                  </a:lnTo>
                  <a:lnTo>
                    <a:pt x="478" y="147"/>
                  </a:lnTo>
                  <a:lnTo>
                    <a:pt x="479" y="148"/>
                  </a:lnTo>
                  <a:lnTo>
                    <a:pt x="480" y="148"/>
                  </a:lnTo>
                  <a:lnTo>
                    <a:pt x="482" y="148"/>
                  </a:lnTo>
                  <a:lnTo>
                    <a:pt x="483" y="148"/>
                  </a:lnTo>
                  <a:lnTo>
                    <a:pt x="485" y="146"/>
                  </a:lnTo>
                  <a:lnTo>
                    <a:pt x="490" y="142"/>
                  </a:lnTo>
                  <a:lnTo>
                    <a:pt x="493" y="140"/>
                  </a:lnTo>
                  <a:lnTo>
                    <a:pt x="495" y="138"/>
                  </a:lnTo>
                  <a:lnTo>
                    <a:pt x="497" y="137"/>
                  </a:lnTo>
                  <a:lnTo>
                    <a:pt x="499" y="136"/>
                  </a:lnTo>
                  <a:lnTo>
                    <a:pt x="501" y="136"/>
                  </a:lnTo>
                  <a:lnTo>
                    <a:pt x="503" y="136"/>
                  </a:lnTo>
                  <a:lnTo>
                    <a:pt x="505" y="136"/>
                  </a:lnTo>
                  <a:lnTo>
                    <a:pt x="506" y="136"/>
                  </a:lnTo>
                  <a:lnTo>
                    <a:pt x="507" y="136"/>
                  </a:lnTo>
                  <a:lnTo>
                    <a:pt x="508" y="136"/>
                  </a:lnTo>
                  <a:lnTo>
                    <a:pt x="509" y="137"/>
                  </a:lnTo>
                  <a:lnTo>
                    <a:pt x="510" y="138"/>
                  </a:lnTo>
                  <a:lnTo>
                    <a:pt x="512" y="141"/>
                  </a:lnTo>
                  <a:lnTo>
                    <a:pt x="514" y="144"/>
                  </a:lnTo>
                  <a:lnTo>
                    <a:pt x="516" y="148"/>
                  </a:lnTo>
                  <a:lnTo>
                    <a:pt x="520" y="156"/>
                  </a:lnTo>
                  <a:lnTo>
                    <a:pt x="523" y="162"/>
                  </a:lnTo>
                  <a:lnTo>
                    <a:pt x="524" y="164"/>
                  </a:lnTo>
                  <a:lnTo>
                    <a:pt x="524" y="165"/>
                  </a:lnTo>
                  <a:lnTo>
                    <a:pt x="523" y="166"/>
                  </a:lnTo>
                  <a:lnTo>
                    <a:pt x="522" y="170"/>
                  </a:lnTo>
                  <a:lnTo>
                    <a:pt x="520" y="174"/>
                  </a:lnTo>
                  <a:lnTo>
                    <a:pt x="518" y="178"/>
                  </a:lnTo>
                  <a:lnTo>
                    <a:pt x="514" y="183"/>
                  </a:lnTo>
                  <a:lnTo>
                    <a:pt x="512" y="187"/>
                  </a:lnTo>
                  <a:lnTo>
                    <a:pt x="510" y="188"/>
                  </a:lnTo>
                  <a:lnTo>
                    <a:pt x="508" y="190"/>
                  </a:lnTo>
                  <a:lnTo>
                    <a:pt x="505" y="192"/>
                  </a:lnTo>
                  <a:lnTo>
                    <a:pt x="502" y="193"/>
                  </a:lnTo>
                  <a:lnTo>
                    <a:pt x="501" y="193"/>
                  </a:lnTo>
                  <a:lnTo>
                    <a:pt x="500" y="194"/>
                  </a:lnTo>
                  <a:lnTo>
                    <a:pt x="498" y="194"/>
                  </a:lnTo>
                  <a:lnTo>
                    <a:pt x="494" y="193"/>
                  </a:lnTo>
                  <a:lnTo>
                    <a:pt x="490" y="192"/>
                  </a:lnTo>
                  <a:lnTo>
                    <a:pt x="487" y="191"/>
                  </a:lnTo>
                  <a:lnTo>
                    <a:pt x="480" y="189"/>
                  </a:lnTo>
                  <a:lnTo>
                    <a:pt x="475" y="188"/>
                  </a:lnTo>
                  <a:lnTo>
                    <a:pt x="473" y="187"/>
                  </a:lnTo>
                  <a:lnTo>
                    <a:pt x="472" y="187"/>
                  </a:lnTo>
                  <a:lnTo>
                    <a:pt x="470" y="187"/>
                  </a:lnTo>
                  <a:lnTo>
                    <a:pt x="469" y="188"/>
                  </a:lnTo>
                  <a:lnTo>
                    <a:pt x="468" y="189"/>
                  </a:lnTo>
                  <a:lnTo>
                    <a:pt x="467" y="190"/>
                  </a:lnTo>
                  <a:lnTo>
                    <a:pt x="467" y="192"/>
                  </a:lnTo>
                  <a:lnTo>
                    <a:pt x="464" y="197"/>
                  </a:lnTo>
                  <a:lnTo>
                    <a:pt x="463" y="199"/>
                  </a:lnTo>
                  <a:lnTo>
                    <a:pt x="461" y="202"/>
                  </a:lnTo>
                  <a:lnTo>
                    <a:pt x="460" y="204"/>
                  </a:lnTo>
                  <a:lnTo>
                    <a:pt x="458" y="205"/>
                  </a:lnTo>
                  <a:lnTo>
                    <a:pt x="456" y="207"/>
                  </a:lnTo>
                  <a:lnTo>
                    <a:pt x="449" y="211"/>
                  </a:lnTo>
                  <a:lnTo>
                    <a:pt x="447" y="213"/>
                  </a:lnTo>
                  <a:lnTo>
                    <a:pt x="445" y="215"/>
                  </a:lnTo>
                  <a:lnTo>
                    <a:pt x="440" y="221"/>
                  </a:lnTo>
                  <a:lnTo>
                    <a:pt x="434" y="226"/>
                  </a:lnTo>
                  <a:lnTo>
                    <a:pt x="433" y="227"/>
                  </a:lnTo>
                  <a:lnTo>
                    <a:pt x="433" y="229"/>
                  </a:lnTo>
                  <a:lnTo>
                    <a:pt x="433" y="230"/>
                  </a:lnTo>
                  <a:lnTo>
                    <a:pt x="432" y="231"/>
                  </a:lnTo>
                  <a:lnTo>
                    <a:pt x="432" y="233"/>
                  </a:lnTo>
                  <a:lnTo>
                    <a:pt x="432" y="234"/>
                  </a:lnTo>
                  <a:lnTo>
                    <a:pt x="432" y="244"/>
                  </a:lnTo>
                  <a:lnTo>
                    <a:pt x="431" y="245"/>
                  </a:lnTo>
                  <a:lnTo>
                    <a:pt x="431" y="246"/>
                  </a:lnTo>
                  <a:lnTo>
                    <a:pt x="430" y="249"/>
                  </a:lnTo>
                  <a:lnTo>
                    <a:pt x="429" y="252"/>
                  </a:lnTo>
                  <a:lnTo>
                    <a:pt x="427" y="256"/>
                  </a:lnTo>
                  <a:lnTo>
                    <a:pt x="424" y="264"/>
                  </a:lnTo>
                  <a:lnTo>
                    <a:pt x="423" y="267"/>
                  </a:lnTo>
                  <a:lnTo>
                    <a:pt x="422" y="270"/>
                  </a:lnTo>
                  <a:lnTo>
                    <a:pt x="421" y="275"/>
                  </a:lnTo>
                  <a:lnTo>
                    <a:pt x="421" y="278"/>
                  </a:lnTo>
                  <a:lnTo>
                    <a:pt x="421" y="278"/>
                  </a:lnTo>
                  <a:lnTo>
                    <a:pt x="421" y="279"/>
                  </a:lnTo>
                  <a:lnTo>
                    <a:pt x="421" y="280"/>
                  </a:lnTo>
                  <a:lnTo>
                    <a:pt x="420" y="281"/>
                  </a:lnTo>
                  <a:lnTo>
                    <a:pt x="419" y="282"/>
                  </a:lnTo>
                  <a:lnTo>
                    <a:pt x="418" y="283"/>
                  </a:lnTo>
                  <a:lnTo>
                    <a:pt x="416" y="284"/>
                  </a:lnTo>
                  <a:lnTo>
                    <a:pt x="413" y="284"/>
                  </a:lnTo>
                  <a:lnTo>
                    <a:pt x="411" y="285"/>
                  </a:lnTo>
                  <a:lnTo>
                    <a:pt x="408" y="285"/>
                  </a:lnTo>
                  <a:lnTo>
                    <a:pt x="404" y="286"/>
                  </a:lnTo>
                  <a:lnTo>
                    <a:pt x="402" y="287"/>
                  </a:lnTo>
                  <a:lnTo>
                    <a:pt x="397" y="289"/>
                  </a:lnTo>
                  <a:lnTo>
                    <a:pt x="394" y="289"/>
                  </a:lnTo>
                  <a:lnTo>
                    <a:pt x="392" y="289"/>
                  </a:lnTo>
                  <a:lnTo>
                    <a:pt x="390" y="290"/>
                  </a:lnTo>
                  <a:lnTo>
                    <a:pt x="389" y="290"/>
                  </a:lnTo>
                  <a:lnTo>
                    <a:pt x="387" y="289"/>
                  </a:lnTo>
                  <a:lnTo>
                    <a:pt x="386" y="289"/>
                  </a:lnTo>
                  <a:lnTo>
                    <a:pt x="383" y="289"/>
                  </a:lnTo>
                  <a:lnTo>
                    <a:pt x="377" y="287"/>
                  </a:lnTo>
                  <a:lnTo>
                    <a:pt x="376" y="286"/>
                  </a:lnTo>
                  <a:lnTo>
                    <a:pt x="374" y="284"/>
                  </a:lnTo>
                  <a:lnTo>
                    <a:pt x="372" y="282"/>
                  </a:lnTo>
                  <a:lnTo>
                    <a:pt x="371" y="280"/>
                  </a:lnTo>
                  <a:lnTo>
                    <a:pt x="370" y="279"/>
                  </a:lnTo>
                  <a:lnTo>
                    <a:pt x="369" y="277"/>
                  </a:lnTo>
                  <a:lnTo>
                    <a:pt x="368" y="276"/>
                  </a:lnTo>
                  <a:lnTo>
                    <a:pt x="367" y="274"/>
                  </a:lnTo>
                  <a:lnTo>
                    <a:pt x="366" y="273"/>
                  </a:lnTo>
                  <a:lnTo>
                    <a:pt x="364" y="270"/>
                  </a:lnTo>
                  <a:lnTo>
                    <a:pt x="363" y="269"/>
                  </a:lnTo>
                  <a:lnTo>
                    <a:pt x="357" y="265"/>
                  </a:lnTo>
                  <a:lnTo>
                    <a:pt x="354" y="263"/>
                  </a:lnTo>
                  <a:lnTo>
                    <a:pt x="353" y="262"/>
                  </a:lnTo>
                  <a:lnTo>
                    <a:pt x="352" y="261"/>
                  </a:lnTo>
                  <a:lnTo>
                    <a:pt x="350" y="261"/>
                  </a:lnTo>
                  <a:lnTo>
                    <a:pt x="347" y="261"/>
                  </a:lnTo>
                  <a:lnTo>
                    <a:pt x="346" y="261"/>
                  </a:lnTo>
                  <a:lnTo>
                    <a:pt x="345" y="261"/>
                  </a:lnTo>
                  <a:lnTo>
                    <a:pt x="344" y="262"/>
                  </a:lnTo>
                  <a:lnTo>
                    <a:pt x="343" y="263"/>
                  </a:lnTo>
                  <a:lnTo>
                    <a:pt x="342" y="266"/>
                  </a:lnTo>
                  <a:lnTo>
                    <a:pt x="338" y="273"/>
                  </a:lnTo>
                  <a:lnTo>
                    <a:pt x="336" y="276"/>
                  </a:lnTo>
                  <a:lnTo>
                    <a:pt x="336" y="277"/>
                  </a:lnTo>
                  <a:lnTo>
                    <a:pt x="334" y="278"/>
                  </a:lnTo>
                  <a:lnTo>
                    <a:pt x="333" y="278"/>
                  </a:lnTo>
                  <a:lnTo>
                    <a:pt x="332" y="279"/>
                  </a:lnTo>
                  <a:lnTo>
                    <a:pt x="330" y="280"/>
                  </a:lnTo>
                  <a:lnTo>
                    <a:pt x="330" y="280"/>
                  </a:lnTo>
                  <a:lnTo>
                    <a:pt x="329" y="280"/>
                  </a:lnTo>
                  <a:lnTo>
                    <a:pt x="327" y="280"/>
                  </a:lnTo>
                  <a:lnTo>
                    <a:pt x="325" y="280"/>
                  </a:lnTo>
                  <a:lnTo>
                    <a:pt x="320" y="278"/>
                  </a:lnTo>
                  <a:lnTo>
                    <a:pt x="319" y="278"/>
                  </a:lnTo>
                  <a:lnTo>
                    <a:pt x="317" y="278"/>
                  </a:lnTo>
                  <a:lnTo>
                    <a:pt x="314" y="278"/>
                  </a:lnTo>
                  <a:lnTo>
                    <a:pt x="312" y="278"/>
                  </a:lnTo>
                  <a:lnTo>
                    <a:pt x="310" y="279"/>
                  </a:lnTo>
                  <a:lnTo>
                    <a:pt x="308" y="279"/>
                  </a:lnTo>
                  <a:lnTo>
                    <a:pt x="308" y="280"/>
                  </a:lnTo>
                  <a:lnTo>
                    <a:pt x="308" y="281"/>
                  </a:lnTo>
                  <a:lnTo>
                    <a:pt x="307" y="281"/>
                  </a:lnTo>
                  <a:lnTo>
                    <a:pt x="307" y="282"/>
                  </a:lnTo>
                  <a:lnTo>
                    <a:pt x="307" y="284"/>
                  </a:lnTo>
                  <a:lnTo>
                    <a:pt x="307" y="286"/>
                  </a:lnTo>
                  <a:lnTo>
                    <a:pt x="308" y="288"/>
                  </a:lnTo>
                  <a:lnTo>
                    <a:pt x="308" y="290"/>
                  </a:lnTo>
                  <a:lnTo>
                    <a:pt x="314" y="301"/>
                  </a:lnTo>
                  <a:lnTo>
                    <a:pt x="315" y="304"/>
                  </a:lnTo>
                  <a:lnTo>
                    <a:pt x="316" y="306"/>
                  </a:lnTo>
                  <a:lnTo>
                    <a:pt x="317" y="308"/>
                  </a:lnTo>
                  <a:lnTo>
                    <a:pt x="317" y="310"/>
                  </a:lnTo>
                  <a:lnTo>
                    <a:pt x="318" y="312"/>
                  </a:lnTo>
                  <a:lnTo>
                    <a:pt x="318" y="314"/>
                  </a:lnTo>
                  <a:lnTo>
                    <a:pt x="318" y="316"/>
                  </a:lnTo>
                  <a:lnTo>
                    <a:pt x="317" y="319"/>
                  </a:lnTo>
                  <a:lnTo>
                    <a:pt x="316" y="321"/>
                  </a:lnTo>
                  <a:lnTo>
                    <a:pt x="315" y="323"/>
                  </a:lnTo>
                  <a:lnTo>
                    <a:pt x="313" y="325"/>
                  </a:lnTo>
                  <a:lnTo>
                    <a:pt x="311" y="328"/>
                  </a:lnTo>
                  <a:lnTo>
                    <a:pt x="309" y="330"/>
                  </a:lnTo>
                  <a:lnTo>
                    <a:pt x="308" y="332"/>
                  </a:lnTo>
                  <a:lnTo>
                    <a:pt x="306" y="334"/>
                  </a:lnTo>
                  <a:lnTo>
                    <a:pt x="304" y="335"/>
                  </a:lnTo>
                  <a:lnTo>
                    <a:pt x="302" y="335"/>
                  </a:lnTo>
                  <a:lnTo>
                    <a:pt x="300" y="335"/>
                  </a:lnTo>
                  <a:lnTo>
                    <a:pt x="298" y="336"/>
                  </a:lnTo>
                  <a:lnTo>
                    <a:pt x="296" y="336"/>
                  </a:lnTo>
                  <a:lnTo>
                    <a:pt x="293" y="337"/>
                  </a:lnTo>
                  <a:lnTo>
                    <a:pt x="291" y="337"/>
                  </a:lnTo>
                  <a:lnTo>
                    <a:pt x="288" y="337"/>
                  </a:lnTo>
                  <a:lnTo>
                    <a:pt x="286" y="336"/>
                  </a:lnTo>
                  <a:lnTo>
                    <a:pt x="282" y="335"/>
                  </a:lnTo>
                  <a:lnTo>
                    <a:pt x="280" y="335"/>
                  </a:lnTo>
                  <a:lnTo>
                    <a:pt x="275" y="334"/>
                  </a:lnTo>
                  <a:lnTo>
                    <a:pt x="273" y="333"/>
                  </a:lnTo>
                  <a:lnTo>
                    <a:pt x="272" y="332"/>
                  </a:lnTo>
                  <a:lnTo>
                    <a:pt x="269" y="332"/>
                  </a:lnTo>
                  <a:lnTo>
                    <a:pt x="266" y="331"/>
                  </a:lnTo>
                  <a:lnTo>
                    <a:pt x="262" y="331"/>
                  </a:lnTo>
                  <a:lnTo>
                    <a:pt x="260" y="331"/>
                  </a:lnTo>
                  <a:lnTo>
                    <a:pt x="256" y="331"/>
                  </a:lnTo>
                  <a:lnTo>
                    <a:pt x="249" y="332"/>
                  </a:lnTo>
                  <a:lnTo>
                    <a:pt x="245" y="333"/>
                  </a:lnTo>
                  <a:lnTo>
                    <a:pt x="242" y="333"/>
                  </a:lnTo>
                  <a:lnTo>
                    <a:pt x="238" y="335"/>
                  </a:lnTo>
                  <a:lnTo>
                    <a:pt x="231" y="336"/>
                  </a:lnTo>
                  <a:lnTo>
                    <a:pt x="225" y="337"/>
                  </a:lnTo>
                  <a:lnTo>
                    <a:pt x="222" y="338"/>
                  </a:lnTo>
                  <a:lnTo>
                    <a:pt x="221" y="339"/>
                  </a:lnTo>
                  <a:lnTo>
                    <a:pt x="220" y="340"/>
                  </a:lnTo>
                  <a:lnTo>
                    <a:pt x="219" y="341"/>
                  </a:lnTo>
                  <a:lnTo>
                    <a:pt x="218" y="342"/>
                  </a:lnTo>
                  <a:lnTo>
                    <a:pt x="218" y="344"/>
                  </a:lnTo>
                  <a:lnTo>
                    <a:pt x="217" y="346"/>
                  </a:lnTo>
                  <a:lnTo>
                    <a:pt x="217" y="353"/>
                  </a:lnTo>
                  <a:lnTo>
                    <a:pt x="216" y="357"/>
                  </a:lnTo>
                  <a:lnTo>
                    <a:pt x="216" y="358"/>
                  </a:lnTo>
                  <a:lnTo>
                    <a:pt x="214" y="361"/>
                  </a:lnTo>
                  <a:lnTo>
                    <a:pt x="213" y="363"/>
                  </a:lnTo>
                  <a:lnTo>
                    <a:pt x="211" y="366"/>
                  </a:lnTo>
                  <a:lnTo>
                    <a:pt x="209" y="369"/>
                  </a:lnTo>
                  <a:lnTo>
                    <a:pt x="207" y="372"/>
                  </a:lnTo>
                  <a:lnTo>
                    <a:pt x="205" y="375"/>
                  </a:lnTo>
                  <a:lnTo>
                    <a:pt x="203" y="377"/>
                  </a:lnTo>
                  <a:lnTo>
                    <a:pt x="201" y="379"/>
                  </a:lnTo>
                  <a:lnTo>
                    <a:pt x="199" y="380"/>
                  </a:lnTo>
                  <a:lnTo>
                    <a:pt x="196" y="382"/>
                  </a:lnTo>
                  <a:lnTo>
                    <a:pt x="194" y="382"/>
                  </a:lnTo>
                  <a:lnTo>
                    <a:pt x="193" y="383"/>
                  </a:lnTo>
                  <a:lnTo>
                    <a:pt x="192" y="383"/>
                  </a:lnTo>
                  <a:lnTo>
                    <a:pt x="190" y="382"/>
                  </a:lnTo>
                  <a:lnTo>
                    <a:pt x="189" y="382"/>
                  </a:lnTo>
                  <a:lnTo>
                    <a:pt x="186" y="380"/>
                  </a:lnTo>
                  <a:lnTo>
                    <a:pt x="179" y="375"/>
                  </a:lnTo>
                  <a:lnTo>
                    <a:pt x="176" y="372"/>
                  </a:lnTo>
                  <a:lnTo>
                    <a:pt x="173" y="370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67" y="368"/>
                  </a:lnTo>
                  <a:lnTo>
                    <a:pt x="164" y="367"/>
                  </a:lnTo>
                  <a:lnTo>
                    <a:pt x="161" y="367"/>
                  </a:lnTo>
                  <a:lnTo>
                    <a:pt x="159" y="366"/>
                  </a:lnTo>
                  <a:lnTo>
                    <a:pt x="154" y="366"/>
                  </a:lnTo>
                  <a:lnTo>
                    <a:pt x="148" y="365"/>
                  </a:lnTo>
                  <a:lnTo>
                    <a:pt x="145" y="364"/>
                  </a:lnTo>
                  <a:lnTo>
                    <a:pt x="138" y="361"/>
                  </a:lnTo>
                  <a:lnTo>
                    <a:pt x="135" y="360"/>
                  </a:lnTo>
                  <a:lnTo>
                    <a:pt x="132" y="360"/>
                  </a:lnTo>
                  <a:lnTo>
                    <a:pt x="128" y="359"/>
                  </a:lnTo>
                  <a:lnTo>
                    <a:pt x="122" y="359"/>
                  </a:lnTo>
                  <a:lnTo>
                    <a:pt x="120" y="358"/>
                  </a:lnTo>
                  <a:lnTo>
                    <a:pt x="119" y="358"/>
                  </a:lnTo>
                  <a:lnTo>
                    <a:pt x="118" y="357"/>
                  </a:lnTo>
                  <a:lnTo>
                    <a:pt x="117" y="357"/>
                  </a:lnTo>
                  <a:lnTo>
                    <a:pt x="116" y="356"/>
                  </a:lnTo>
                  <a:lnTo>
                    <a:pt x="115" y="354"/>
                  </a:lnTo>
                  <a:lnTo>
                    <a:pt x="114" y="352"/>
                  </a:lnTo>
                  <a:lnTo>
                    <a:pt x="114" y="349"/>
                  </a:lnTo>
                  <a:lnTo>
                    <a:pt x="113" y="342"/>
                  </a:lnTo>
                  <a:lnTo>
                    <a:pt x="113" y="339"/>
                  </a:lnTo>
                  <a:lnTo>
                    <a:pt x="113" y="338"/>
                  </a:lnTo>
                  <a:lnTo>
                    <a:pt x="112" y="336"/>
                  </a:lnTo>
                  <a:lnTo>
                    <a:pt x="110" y="335"/>
                  </a:lnTo>
                  <a:lnTo>
                    <a:pt x="109" y="334"/>
                  </a:lnTo>
                  <a:lnTo>
                    <a:pt x="108" y="333"/>
                  </a:lnTo>
                  <a:lnTo>
                    <a:pt x="107" y="332"/>
                  </a:lnTo>
                  <a:lnTo>
                    <a:pt x="105" y="332"/>
                  </a:lnTo>
                  <a:lnTo>
                    <a:pt x="103" y="332"/>
                  </a:lnTo>
                  <a:lnTo>
                    <a:pt x="103" y="332"/>
                  </a:lnTo>
                  <a:lnTo>
                    <a:pt x="101" y="333"/>
                  </a:lnTo>
                  <a:lnTo>
                    <a:pt x="99" y="334"/>
                  </a:lnTo>
                  <a:lnTo>
                    <a:pt x="98" y="335"/>
                  </a:lnTo>
                  <a:lnTo>
                    <a:pt x="97" y="335"/>
                  </a:lnTo>
                  <a:lnTo>
                    <a:pt x="96" y="336"/>
                  </a:lnTo>
                  <a:lnTo>
                    <a:pt x="95" y="337"/>
                  </a:lnTo>
                  <a:lnTo>
                    <a:pt x="92" y="340"/>
                  </a:lnTo>
                  <a:lnTo>
                    <a:pt x="87" y="350"/>
                  </a:lnTo>
                  <a:lnTo>
                    <a:pt x="85" y="354"/>
                  </a:lnTo>
                  <a:lnTo>
                    <a:pt x="84" y="356"/>
                  </a:lnTo>
                  <a:lnTo>
                    <a:pt x="83" y="359"/>
                  </a:lnTo>
                  <a:lnTo>
                    <a:pt x="83" y="362"/>
                  </a:lnTo>
                  <a:lnTo>
                    <a:pt x="83" y="365"/>
                  </a:lnTo>
                  <a:lnTo>
                    <a:pt x="83" y="369"/>
                  </a:lnTo>
                  <a:lnTo>
                    <a:pt x="84" y="371"/>
                  </a:lnTo>
                  <a:lnTo>
                    <a:pt x="85" y="375"/>
                  </a:lnTo>
                  <a:lnTo>
                    <a:pt x="86" y="379"/>
                  </a:lnTo>
                  <a:lnTo>
                    <a:pt x="87" y="382"/>
                  </a:lnTo>
                  <a:lnTo>
                    <a:pt x="90" y="388"/>
                  </a:lnTo>
                  <a:lnTo>
                    <a:pt x="92" y="394"/>
                  </a:lnTo>
                  <a:lnTo>
                    <a:pt x="93" y="396"/>
                  </a:lnTo>
                  <a:lnTo>
                    <a:pt x="93" y="398"/>
                  </a:lnTo>
                  <a:lnTo>
                    <a:pt x="94" y="402"/>
                  </a:lnTo>
                  <a:lnTo>
                    <a:pt x="94" y="403"/>
                  </a:lnTo>
                  <a:lnTo>
                    <a:pt x="94" y="404"/>
                  </a:lnTo>
                  <a:lnTo>
                    <a:pt x="94" y="405"/>
                  </a:lnTo>
                  <a:lnTo>
                    <a:pt x="93" y="406"/>
                  </a:lnTo>
                  <a:lnTo>
                    <a:pt x="92" y="408"/>
                  </a:lnTo>
                  <a:lnTo>
                    <a:pt x="92" y="410"/>
                  </a:lnTo>
                  <a:lnTo>
                    <a:pt x="91" y="412"/>
                  </a:lnTo>
                  <a:lnTo>
                    <a:pt x="85" y="417"/>
                  </a:lnTo>
                  <a:lnTo>
                    <a:pt x="82" y="419"/>
                  </a:lnTo>
                  <a:lnTo>
                    <a:pt x="79" y="422"/>
                  </a:lnTo>
                  <a:lnTo>
                    <a:pt x="75" y="425"/>
                  </a:lnTo>
                  <a:lnTo>
                    <a:pt x="73" y="426"/>
                  </a:lnTo>
                  <a:lnTo>
                    <a:pt x="72" y="428"/>
                  </a:lnTo>
                  <a:lnTo>
                    <a:pt x="70" y="430"/>
                  </a:lnTo>
                  <a:lnTo>
                    <a:pt x="69" y="431"/>
                  </a:lnTo>
                  <a:lnTo>
                    <a:pt x="65" y="438"/>
                  </a:lnTo>
                  <a:lnTo>
                    <a:pt x="63" y="441"/>
                  </a:lnTo>
                  <a:lnTo>
                    <a:pt x="59" y="446"/>
                  </a:lnTo>
                  <a:lnTo>
                    <a:pt x="57" y="449"/>
                  </a:lnTo>
                  <a:lnTo>
                    <a:pt x="55" y="451"/>
                  </a:lnTo>
                  <a:lnTo>
                    <a:pt x="53" y="454"/>
                  </a:lnTo>
                  <a:lnTo>
                    <a:pt x="50" y="456"/>
                  </a:lnTo>
                  <a:lnTo>
                    <a:pt x="48" y="458"/>
                  </a:lnTo>
                  <a:lnTo>
                    <a:pt x="46" y="459"/>
                  </a:lnTo>
                  <a:lnTo>
                    <a:pt x="46" y="459"/>
                  </a:lnTo>
                  <a:lnTo>
                    <a:pt x="44" y="460"/>
                  </a:lnTo>
                  <a:lnTo>
                    <a:pt x="42" y="461"/>
                  </a:lnTo>
                  <a:lnTo>
                    <a:pt x="39" y="462"/>
                  </a:lnTo>
                  <a:lnTo>
                    <a:pt x="37" y="462"/>
                  </a:lnTo>
                  <a:lnTo>
                    <a:pt x="35" y="462"/>
                  </a:lnTo>
                  <a:lnTo>
                    <a:pt x="34" y="463"/>
                  </a:lnTo>
                  <a:lnTo>
                    <a:pt x="32" y="463"/>
                  </a:lnTo>
                  <a:lnTo>
                    <a:pt x="31" y="463"/>
                  </a:lnTo>
                  <a:lnTo>
                    <a:pt x="29" y="462"/>
                  </a:lnTo>
                  <a:lnTo>
                    <a:pt x="27" y="462"/>
                  </a:lnTo>
                  <a:lnTo>
                    <a:pt x="25" y="461"/>
                  </a:lnTo>
                  <a:lnTo>
                    <a:pt x="23" y="460"/>
                  </a:lnTo>
                  <a:lnTo>
                    <a:pt x="23" y="460"/>
                  </a:lnTo>
                  <a:lnTo>
                    <a:pt x="23" y="459"/>
                  </a:lnTo>
                  <a:lnTo>
                    <a:pt x="23" y="459"/>
                  </a:lnTo>
                  <a:lnTo>
                    <a:pt x="23" y="458"/>
                  </a:lnTo>
                  <a:lnTo>
                    <a:pt x="23" y="457"/>
                  </a:lnTo>
                  <a:lnTo>
                    <a:pt x="22" y="453"/>
                  </a:lnTo>
                  <a:lnTo>
                    <a:pt x="20" y="449"/>
                  </a:lnTo>
                  <a:lnTo>
                    <a:pt x="18" y="445"/>
                  </a:lnTo>
                  <a:lnTo>
                    <a:pt x="13" y="437"/>
                  </a:lnTo>
                  <a:lnTo>
                    <a:pt x="12" y="435"/>
                  </a:lnTo>
                  <a:lnTo>
                    <a:pt x="9" y="427"/>
                  </a:lnTo>
                  <a:lnTo>
                    <a:pt x="6" y="422"/>
                  </a:lnTo>
                  <a:lnTo>
                    <a:pt x="5" y="420"/>
                  </a:lnTo>
                  <a:lnTo>
                    <a:pt x="4" y="418"/>
                  </a:lnTo>
                  <a:lnTo>
                    <a:pt x="4" y="416"/>
                  </a:lnTo>
                  <a:lnTo>
                    <a:pt x="4" y="414"/>
                  </a:lnTo>
                  <a:lnTo>
                    <a:pt x="4" y="403"/>
                  </a:lnTo>
                  <a:lnTo>
                    <a:pt x="5" y="399"/>
                  </a:lnTo>
                  <a:lnTo>
                    <a:pt x="6" y="391"/>
                  </a:lnTo>
                  <a:lnTo>
                    <a:pt x="6" y="388"/>
                  </a:lnTo>
                  <a:lnTo>
                    <a:pt x="6" y="385"/>
                  </a:lnTo>
                  <a:lnTo>
                    <a:pt x="6" y="382"/>
                  </a:lnTo>
                  <a:lnTo>
                    <a:pt x="4" y="373"/>
                  </a:lnTo>
                  <a:lnTo>
                    <a:pt x="2" y="365"/>
                  </a:lnTo>
                  <a:lnTo>
                    <a:pt x="1" y="362"/>
                  </a:lnTo>
                  <a:lnTo>
                    <a:pt x="0" y="346"/>
                  </a:lnTo>
                  <a:lnTo>
                    <a:pt x="0" y="344"/>
                  </a:lnTo>
                  <a:lnTo>
                    <a:pt x="0" y="342"/>
                  </a:lnTo>
                  <a:lnTo>
                    <a:pt x="1" y="340"/>
                  </a:lnTo>
                  <a:lnTo>
                    <a:pt x="1" y="338"/>
                  </a:lnTo>
                  <a:lnTo>
                    <a:pt x="1" y="337"/>
                  </a:lnTo>
                  <a:lnTo>
                    <a:pt x="2" y="336"/>
                  </a:lnTo>
                  <a:lnTo>
                    <a:pt x="4" y="335"/>
                  </a:lnTo>
                  <a:lnTo>
                    <a:pt x="10" y="332"/>
                  </a:lnTo>
                  <a:lnTo>
                    <a:pt x="12" y="330"/>
                  </a:lnTo>
                  <a:lnTo>
                    <a:pt x="13" y="329"/>
                  </a:lnTo>
                  <a:lnTo>
                    <a:pt x="14" y="328"/>
                  </a:lnTo>
                  <a:lnTo>
                    <a:pt x="15" y="326"/>
                  </a:lnTo>
                  <a:lnTo>
                    <a:pt x="17" y="323"/>
                  </a:lnTo>
                  <a:lnTo>
                    <a:pt x="18" y="321"/>
                  </a:lnTo>
                  <a:lnTo>
                    <a:pt x="19" y="318"/>
                  </a:lnTo>
                  <a:lnTo>
                    <a:pt x="19" y="317"/>
                  </a:lnTo>
                  <a:lnTo>
                    <a:pt x="19" y="315"/>
                  </a:lnTo>
                  <a:lnTo>
                    <a:pt x="19" y="314"/>
                  </a:lnTo>
                  <a:lnTo>
                    <a:pt x="18" y="312"/>
                  </a:lnTo>
                  <a:lnTo>
                    <a:pt x="18" y="311"/>
                  </a:lnTo>
                  <a:lnTo>
                    <a:pt x="15" y="305"/>
                  </a:lnTo>
                  <a:lnTo>
                    <a:pt x="14" y="302"/>
                  </a:lnTo>
                  <a:lnTo>
                    <a:pt x="14" y="301"/>
                  </a:lnTo>
                  <a:lnTo>
                    <a:pt x="14" y="300"/>
                  </a:lnTo>
                  <a:lnTo>
                    <a:pt x="14" y="299"/>
                  </a:lnTo>
                  <a:lnTo>
                    <a:pt x="14" y="298"/>
                  </a:lnTo>
                  <a:lnTo>
                    <a:pt x="15" y="297"/>
                  </a:lnTo>
                  <a:lnTo>
                    <a:pt x="16" y="296"/>
                  </a:lnTo>
                  <a:lnTo>
                    <a:pt x="17" y="295"/>
                  </a:lnTo>
                  <a:lnTo>
                    <a:pt x="18" y="294"/>
                  </a:lnTo>
                  <a:lnTo>
                    <a:pt x="22" y="293"/>
                  </a:lnTo>
                  <a:lnTo>
                    <a:pt x="28" y="290"/>
                  </a:lnTo>
                  <a:lnTo>
                    <a:pt x="29" y="289"/>
                  </a:lnTo>
                  <a:lnTo>
                    <a:pt x="30" y="289"/>
                  </a:lnTo>
                  <a:lnTo>
                    <a:pt x="30" y="289"/>
                  </a:lnTo>
                  <a:lnTo>
                    <a:pt x="31" y="289"/>
                  </a:lnTo>
                  <a:lnTo>
                    <a:pt x="33" y="288"/>
                  </a:lnTo>
                  <a:lnTo>
                    <a:pt x="35" y="288"/>
                  </a:lnTo>
                  <a:lnTo>
                    <a:pt x="36" y="288"/>
                  </a:lnTo>
                  <a:lnTo>
                    <a:pt x="38" y="287"/>
                  </a:lnTo>
                  <a:lnTo>
                    <a:pt x="41" y="288"/>
                  </a:lnTo>
                  <a:lnTo>
                    <a:pt x="43" y="288"/>
                  </a:lnTo>
                  <a:lnTo>
                    <a:pt x="46" y="289"/>
                  </a:lnTo>
                  <a:lnTo>
                    <a:pt x="48" y="289"/>
                  </a:lnTo>
                  <a:lnTo>
                    <a:pt x="58" y="293"/>
                  </a:lnTo>
                  <a:lnTo>
                    <a:pt x="64" y="295"/>
                  </a:lnTo>
                  <a:lnTo>
                    <a:pt x="69" y="297"/>
                  </a:lnTo>
                  <a:lnTo>
                    <a:pt x="69" y="298"/>
                  </a:lnTo>
                  <a:lnTo>
                    <a:pt x="70" y="298"/>
                  </a:lnTo>
                  <a:lnTo>
                    <a:pt x="71" y="297"/>
                  </a:lnTo>
                  <a:lnTo>
                    <a:pt x="72" y="296"/>
                  </a:lnTo>
                  <a:lnTo>
                    <a:pt x="73" y="295"/>
                  </a:lnTo>
                  <a:lnTo>
                    <a:pt x="74" y="294"/>
                  </a:lnTo>
                  <a:lnTo>
                    <a:pt x="75" y="292"/>
                  </a:lnTo>
                  <a:lnTo>
                    <a:pt x="75" y="291"/>
                  </a:lnTo>
                  <a:lnTo>
                    <a:pt x="76" y="289"/>
                  </a:lnTo>
                  <a:lnTo>
                    <a:pt x="76" y="289"/>
                  </a:lnTo>
                  <a:lnTo>
                    <a:pt x="76" y="287"/>
                  </a:lnTo>
                  <a:lnTo>
                    <a:pt x="76" y="285"/>
                  </a:lnTo>
                  <a:lnTo>
                    <a:pt x="75" y="283"/>
                  </a:lnTo>
                  <a:lnTo>
                    <a:pt x="74" y="280"/>
                  </a:lnTo>
                  <a:lnTo>
                    <a:pt x="73" y="278"/>
                  </a:lnTo>
                  <a:lnTo>
                    <a:pt x="72" y="276"/>
                  </a:lnTo>
                  <a:lnTo>
                    <a:pt x="69" y="270"/>
                  </a:lnTo>
                  <a:lnTo>
                    <a:pt x="64" y="262"/>
                  </a:lnTo>
                  <a:lnTo>
                    <a:pt x="63" y="260"/>
                  </a:lnTo>
                  <a:lnTo>
                    <a:pt x="62" y="257"/>
                  </a:lnTo>
                  <a:lnTo>
                    <a:pt x="62" y="255"/>
                  </a:lnTo>
                  <a:lnTo>
                    <a:pt x="61" y="253"/>
                  </a:lnTo>
                  <a:lnTo>
                    <a:pt x="61" y="251"/>
                  </a:lnTo>
                  <a:lnTo>
                    <a:pt x="62" y="249"/>
                  </a:lnTo>
                  <a:lnTo>
                    <a:pt x="62" y="247"/>
                  </a:lnTo>
                  <a:lnTo>
                    <a:pt x="63" y="246"/>
                  </a:lnTo>
                  <a:lnTo>
                    <a:pt x="64" y="244"/>
                  </a:lnTo>
                  <a:lnTo>
                    <a:pt x="65" y="244"/>
                  </a:lnTo>
                  <a:lnTo>
                    <a:pt x="66" y="242"/>
                  </a:lnTo>
                  <a:lnTo>
                    <a:pt x="69" y="238"/>
                  </a:lnTo>
                  <a:lnTo>
                    <a:pt x="73" y="235"/>
                  </a:lnTo>
                  <a:lnTo>
                    <a:pt x="80" y="231"/>
                  </a:lnTo>
                  <a:lnTo>
                    <a:pt x="84" y="228"/>
                  </a:lnTo>
                  <a:lnTo>
                    <a:pt x="88" y="225"/>
                  </a:lnTo>
                  <a:lnTo>
                    <a:pt x="90" y="222"/>
                  </a:lnTo>
                  <a:lnTo>
                    <a:pt x="92" y="221"/>
                  </a:lnTo>
                  <a:lnTo>
                    <a:pt x="93" y="218"/>
                  </a:lnTo>
                  <a:lnTo>
                    <a:pt x="94" y="215"/>
                  </a:lnTo>
                  <a:lnTo>
                    <a:pt x="97" y="208"/>
                  </a:lnTo>
                  <a:lnTo>
                    <a:pt x="98" y="206"/>
                  </a:lnTo>
                  <a:lnTo>
                    <a:pt x="99" y="205"/>
                  </a:lnTo>
                  <a:lnTo>
                    <a:pt x="99" y="204"/>
                  </a:lnTo>
                  <a:lnTo>
                    <a:pt x="100" y="203"/>
                  </a:lnTo>
                  <a:lnTo>
                    <a:pt x="101" y="203"/>
                  </a:lnTo>
                  <a:lnTo>
                    <a:pt x="103" y="202"/>
                  </a:lnTo>
                  <a:lnTo>
                    <a:pt x="104" y="201"/>
                  </a:lnTo>
                  <a:lnTo>
                    <a:pt x="106" y="201"/>
                  </a:lnTo>
                  <a:lnTo>
                    <a:pt x="111" y="200"/>
                  </a:lnTo>
                  <a:lnTo>
                    <a:pt x="113" y="200"/>
                  </a:lnTo>
                  <a:lnTo>
                    <a:pt x="114" y="199"/>
                  </a:lnTo>
                  <a:lnTo>
                    <a:pt x="118" y="199"/>
                  </a:lnTo>
                  <a:lnTo>
                    <a:pt x="126" y="196"/>
                  </a:lnTo>
                  <a:lnTo>
                    <a:pt x="128" y="195"/>
                  </a:lnTo>
                  <a:lnTo>
                    <a:pt x="133" y="194"/>
                  </a:lnTo>
                  <a:lnTo>
                    <a:pt x="137" y="193"/>
                  </a:lnTo>
                  <a:lnTo>
                    <a:pt x="140" y="192"/>
                  </a:lnTo>
                  <a:lnTo>
                    <a:pt x="145" y="192"/>
                  </a:lnTo>
                  <a:lnTo>
                    <a:pt x="148" y="192"/>
                  </a:lnTo>
                  <a:lnTo>
                    <a:pt x="154" y="193"/>
                  </a:lnTo>
                  <a:lnTo>
                    <a:pt x="155" y="193"/>
                  </a:lnTo>
                  <a:lnTo>
                    <a:pt x="157" y="193"/>
                  </a:lnTo>
                  <a:lnTo>
                    <a:pt x="159" y="193"/>
                  </a:lnTo>
                  <a:lnTo>
                    <a:pt x="160" y="192"/>
                  </a:lnTo>
                  <a:lnTo>
                    <a:pt x="161" y="192"/>
                  </a:lnTo>
                  <a:lnTo>
                    <a:pt x="163" y="191"/>
                  </a:lnTo>
                  <a:lnTo>
                    <a:pt x="165" y="189"/>
                  </a:lnTo>
                  <a:lnTo>
                    <a:pt x="166" y="187"/>
                  </a:lnTo>
                  <a:lnTo>
                    <a:pt x="167" y="187"/>
                  </a:lnTo>
                  <a:lnTo>
                    <a:pt x="168" y="184"/>
                  </a:lnTo>
                  <a:lnTo>
                    <a:pt x="169" y="182"/>
                  </a:lnTo>
                  <a:lnTo>
                    <a:pt x="169" y="179"/>
                  </a:lnTo>
                  <a:lnTo>
                    <a:pt x="169" y="176"/>
                  </a:lnTo>
                  <a:lnTo>
                    <a:pt x="168" y="165"/>
                  </a:lnTo>
                  <a:lnTo>
                    <a:pt x="168" y="164"/>
                  </a:lnTo>
                  <a:lnTo>
                    <a:pt x="168" y="161"/>
                  </a:lnTo>
                  <a:lnTo>
                    <a:pt x="169" y="158"/>
                  </a:lnTo>
                  <a:lnTo>
                    <a:pt x="170" y="156"/>
                  </a:lnTo>
                  <a:lnTo>
                    <a:pt x="171" y="153"/>
                  </a:lnTo>
                  <a:lnTo>
                    <a:pt x="171" y="152"/>
                  </a:lnTo>
                  <a:lnTo>
                    <a:pt x="172" y="151"/>
                  </a:lnTo>
                  <a:lnTo>
                    <a:pt x="173" y="149"/>
                  </a:lnTo>
                  <a:lnTo>
                    <a:pt x="175" y="148"/>
                  </a:lnTo>
                  <a:lnTo>
                    <a:pt x="176" y="146"/>
                  </a:lnTo>
                  <a:lnTo>
                    <a:pt x="177" y="146"/>
                  </a:lnTo>
                  <a:lnTo>
                    <a:pt x="179" y="145"/>
                  </a:lnTo>
                  <a:lnTo>
                    <a:pt x="180" y="144"/>
                  </a:lnTo>
                  <a:lnTo>
                    <a:pt x="183" y="143"/>
                  </a:lnTo>
                  <a:lnTo>
                    <a:pt x="186" y="143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202" y="139"/>
                  </a:lnTo>
                  <a:lnTo>
                    <a:pt x="203" y="138"/>
                  </a:lnTo>
                  <a:lnTo>
                    <a:pt x="204" y="138"/>
                  </a:lnTo>
                  <a:lnTo>
                    <a:pt x="205" y="138"/>
                  </a:lnTo>
                  <a:lnTo>
                    <a:pt x="205" y="139"/>
                  </a:lnTo>
                  <a:lnTo>
                    <a:pt x="206" y="142"/>
                  </a:lnTo>
                  <a:lnTo>
                    <a:pt x="206" y="143"/>
                  </a:lnTo>
                  <a:lnTo>
                    <a:pt x="208" y="144"/>
                  </a:lnTo>
                  <a:lnTo>
                    <a:pt x="209" y="145"/>
                  </a:lnTo>
                  <a:lnTo>
                    <a:pt x="211" y="147"/>
                  </a:lnTo>
                  <a:lnTo>
                    <a:pt x="213" y="148"/>
                  </a:lnTo>
                  <a:lnTo>
                    <a:pt x="215" y="149"/>
                  </a:lnTo>
                  <a:lnTo>
                    <a:pt x="217" y="151"/>
                  </a:lnTo>
                  <a:lnTo>
                    <a:pt x="219" y="152"/>
                  </a:lnTo>
                  <a:lnTo>
                    <a:pt x="224" y="153"/>
                  </a:lnTo>
                  <a:lnTo>
                    <a:pt x="227" y="154"/>
                  </a:lnTo>
                  <a:lnTo>
                    <a:pt x="228" y="154"/>
                  </a:lnTo>
                  <a:lnTo>
                    <a:pt x="230" y="154"/>
                  </a:lnTo>
                  <a:lnTo>
                    <a:pt x="232" y="154"/>
                  </a:lnTo>
                  <a:lnTo>
                    <a:pt x="234" y="154"/>
                  </a:lnTo>
                  <a:lnTo>
                    <a:pt x="236" y="153"/>
                  </a:lnTo>
                  <a:lnTo>
                    <a:pt x="238" y="153"/>
                  </a:lnTo>
                  <a:lnTo>
                    <a:pt x="239" y="153"/>
                  </a:lnTo>
                  <a:lnTo>
                    <a:pt x="240" y="152"/>
                  </a:lnTo>
                  <a:lnTo>
                    <a:pt x="244" y="151"/>
                  </a:lnTo>
                  <a:lnTo>
                    <a:pt x="251" y="146"/>
                  </a:lnTo>
                  <a:lnTo>
                    <a:pt x="254" y="144"/>
                  </a:lnTo>
                  <a:lnTo>
                    <a:pt x="258" y="142"/>
                  </a:lnTo>
                  <a:lnTo>
                    <a:pt x="261" y="141"/>
                  </a:lnTo>
                  <a:lnTo>
                    <a:pt x="265" y="139"/>
                  </a:lnTo>
                  <a:lnTo>
                    <a:pt x="272" y="138"/>
                  </a:lnTo>
                  <a:lnTo>
                    <a:pt x="276" y="136"/>
                  </a:lnTo>
                  <a:lnTo>
                    <a:pt x="278" y="135"/>
                  </a:lnTo>
                  <a:lnTo>
                    <a:pt x="285" y="133"/>
                  </a:lnTo>
                  <a:lnTo>
                    <a:pt x="287" y="132"/>
                  </a:lnTo>
                  <a:lnTo>
                    <a:pt x="288" y="132"/>
                  </a:lnTo>
                  <a:lnTo>
                    <a:pt x="290" y="131"/>
                  </a:lnTo>
                  <a:lnTo>
                    <a:pt x="291" y="130"/>
                  </a:lnTo>
                  <a:lnTo>
                    <a:pt x="291" y="129"/>
                  </a:lnTo>
                  <a:lnTo>
                    <a:pt x="293" y="125"/>
                  </a:lnTo>
                  <a:lnTo>
                    <a:pt x="293" y="124"/>
                  </a:lnTo>
                  <a:lnTo>
                    <a:pt x="294" y="124"/>
                  </a:lnTo>
                  <a:lnTo>
                    <a:pt x="295" y="125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7" y="126"/>
                  </a:lnTo>
                  <a:lnTo>
                    <a:pt x="297" y="125"/>
                  </a:lnTo>
                  <a:lnTo>
                    <a:pt x="297" y="124"/>
                  </a:lnTo>
                  <a:lnTo>
                    <a:pt x="298" y="121"/>
                  </a:lnTo>
                  <a:lnTo>
                    <a:pt x="298" y="119"/>
                  </a:lnTo>
                  <a:lnTo>
                    <a:pt x="298" y="118"/>
                  </a:lnTo>
                  <a:lnTo>
                    <a:pt x="298" y="116"/>
                  </a:lnTo>
                  <a:lnTo>
                    <a:pt x="298" y="114"/>
                  </a:lnTo>
                  <a:lnTo>
                    <a:pt x="298" y="112"/>
                  </a:lnTo>
                  <a:lnTo>
                    <a:pt x="297" y="109"/>
                  </a:lnTo>
                  <a:lnTo>
                    <a:pt x="295" y="104"/>
                  </a:lnTo>
                  <a:lnTo>
                    <a:pt x="290" y="91"/>
                  </a:lnTo>
                  <a:lnTo>
                    <a:pt x="287" y="83"/>
                  </a:lnTo>
                  <a:lnTo>
                    <a:pt x="285" y="81"/>
                  </a:lnTo>
                  <a:lnTo>
                    <a:pt x="284" y="76"/>
                  </a:lnTo>
                  <a:lnTo>
                    <a:pt x="283" y="74"/>
                  </a:lnTo>
                  <a:lnTo>
                    <a:pt x="282" y="73"/>
                  </a:lnTo>
                  <a:lnTo>
                    <a:pt x="282" y="72"/>
                  </a:lnTo>
                  <a:lnTo>
                    <a:pt x="282" y="70"/>
                  </a:lnTo>
                  <a:lnTo>
                    <a:pt x="283" y="68"/>
                  </a:lnTo>
                  <a:lnTo>
                    <a:pt x="283" y="67"/>
                  </a:lnTo>
                  <a:lnTo>
                    <a:pt x="284" y="66"/>
                  </a:lnTo>
                  <a:lnTo>
                    <a:pt x="285" y="64"/>
                  </a:lnTo>
                  <a:lnTo>
                    <a:pt x="285" y="63"/>
                  </a:lnTo>
                  <a:lnTo>
                    <a:pt x="287" y="63"/>
                  </a:lnTo>
                  <a:lnTo>
                    <a:pt x="291" y="61"/>
                  </a:lnTo>
                  <a:lnTo>
                    <a:pt x="292" y="60"/>
                  </a:lnTo>
                  <a:lnTo>
                    <a:pt x="294" y="58"/>
                  </a:lnTo>
                  <a:lnTo>
                    <a:pt x="295" y="57"/>
                  </a:lnTo>
                  <a:lnTo>
                    <a:pt x="296" y="55"/>
                  </a:lnTo>
                  <a:lnTo>
                    <a:pt x="299" y="48"/>
                  </a:lnTo>
                  <a:lnTo>
                    <a:pt x="302" y="44"/>
                  </a:lnTo>
                  <a:lnTo>
                    <a:pt x="304" y="40"/>
                  </a:lnTo>
                  <a:lnTo>
                    <a:pt x="308" y="35"/>
                  </a:lnTo>
                  <a:lnTo>
                    <a:pt x="312" y="29"/>
                  </a:lnTo>
                  <a:lnTo>
                    <a:pt x="319" y="20"/>
                  </a:lnTo>
                  <a:lnTo>
                    <a:pt x="327" y="12"/>
                  </a:lnTo>
                  <a:lnTo>
                    <a:pt x="330" y="9"/>
                  </a:lnTo>
                  <a:lnTo>
                    <a:pt x="334" y="2"/>
                  </a:lnTo>
                  <a:lnTo>
                    <a:pt x="336" y="1"/>
                  </a:lnTo>
                  <a:lnTo>
                    <a:pt x="336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6" name="Freeform 73">
              <a:extLst>
                <a:ext uri="{FF2B5EF4-FFF2-40B4-BE49-F238E27FC236}">
                  <a16:creationId xmlns:a16="http://schemas.microsoft.com/office/drawing/2014/main" id="{AD4B0207-641C-4AFF-AC49-61328B610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1920"/>
              <a:ext cx="385" cy="637"/>
            </a:xfrm>
            <a:custGeom>
              <a:avLst/>
              <a:gdLst>
                <a:gd name="T0" fmla="*/ 206 w 385"/>
                <a:gd name="T1" fmla="*/ 30 h 637"/>
                <a:gd name="T2" fmla="*/ 227 w 385"/>
                <a:gd name="T3" fmla="*/ 62 h 637"/>
                <a:gd name="T4" fmla="*/ 248 w 385"/>
                <a:gd name="T5" fmla="*/ 91 h 637"/>
                <a:gd name="T6" fmla="*/ 288 w 385"/>
                <a:gd name="T7" fmla="*/ 97 h 637"/>
                <a:gd name="T8" fmla="*/ 308 w 385"/>
                <a:gd name="T9" fmla="*/ 108 h 637"/>
                <a:gd name="T10" fmla="*/ 331 w 385"/>
                <a:gd name="T11" fmla="*/ 138 h 637"/>
                <a:gd name="T12" fmla="*/ 372 w 385"/>
                <a:gd name="T13" fmla="*/ 160 h 637"/>
                <a:gd name="T14" fmla="*/ 384 w 385"/>
                <a:gd name="T15" fmla="*/ 187 h 637"/>
                <a:gd name="T16" fmla="*/ 383 w 385"/>
                <a:gd name="T17" fmla="*/ 212 h 637"/>
                <a:gd name="T18" fmla="*/ 357 w 385"/>
                <a:gd name="T19" fmla="*/ 246 h 637"/>
                <a:gd name="T20" fmla="*/ 342 w 385"/>
                <a:gd name="T21" fmla="*/ 276 h 637"/>
                <a:gd name="T22" fmla="*/ 342 w 385"/>
                <a:gd name="T23" fmla="*/ 309 h 637"/>
                <a:gd name="T24" fmla="*/ 363 w 385"/>
                <a:gd name="T25" fmla="*/ 335 h 637"/>
                <a:gd name="T26" fmla="*/ 361 w 385"/>
                <a:gd name="T27" fmla="*/ 354 h 637"/>
                <a:gd name="T28" fmla="*/ 343 w 385"/>
                <a:gd name="T29" fmla="*/ 379 h 637"/>
                <a:gd name="T30" fmla="*/ 341 w 385"/>
                <a:gd name="T31" fmla="*/ 403 h 637"/>
                <a:gd name="T32" fmla="*/ 328 w 385"/>
                <a:gd name="T33" fmla="*/ 427 h 637"/>
                <a:gd name="T34" fmla="*/ 319 w 385"/>
                <a:gd name="T35" fmla="*/ 439 h 637"/>
                <a:gd name="T36" fmla="*/ 304 w 385"/>
                <a:gd name="T37" fmla="*/ 459 h 637"/>
                <a:gd name="T38" fmla="*/ 288 w 385"/>
                <a:gd name="T39" fmla="*/ 452 h 637"/>
                <a:gd name="T40" fmla="*/ 269 w 385"/>
                <a:gd name="T41" fmla="*/ 448 h 637"/>
                <a:gd name="T42" fmla="*/ 259 w 385"/>
                <a:gd name="T43" fmla="*/ 458 h 637"/>
                <a:gd name="T44" fmla="*/ 246 w 385"/>
                <a:gd name="T45" fmla="*/ 491 h 637"/>
                <a:gd name="T46" fmla="*/ 239 w 385"/>
                <a:gd name="T47" fmla="*/ 515 h 637"/>
                <a:gd name="T48" fmla="*/ 229 w 385"/>
                <a:gd name="T49" fmla="*/ 538 h 637"/>
                <a:gd name="T50" fmla="*/ 214 w 385"/>
                <a:gd name="T51" fmla="*/ 570 h 637"/>
                <a:gd name="T52" fmla="*/ 213 w 385"/>
                <a:gd name="T53" fmla="*/ 595 h 637"/>
                <a:gd name="T54" fmla="*/ 194 w 385"/>
                <a:gd name="T55" fmla="*/ 616 h 637"/>
                <a:gd name="T56" fmla="*/ 180 w 385"/>
                <a:gd name="T57" fmla="*/ 620 h 637"/>
                <a:gd name="T58" fmla="*/ 160 w 385"/>
                <a:gd name="T59" fmla="*/ 614 h 637"/>
                <a:gd name="T60" fmla="*/ 122 w 385"/>
                <a:gd name="T61" fmla="*/ 624 h 637"/>
                <a:gd name="T62" fmla="*/ 100 w 385"/>
                <a:gd name="T63" fmla="*/ 637 h 637"/>
                <a:gd name="T64" fmla="*/ 100 w 385"/>
                <a:gd name="T65" fmla="*/ 631 h 637"/>
                <a:gd name="T66" fmla="*/ 86 w 385"/>
                <a:gd name="T67" fmla="*/ 615 h 637"/>
                <a:gd name="T68" fmla="*/ 68 w 385"/>
                <a:gd name="T69" fmla="*/ 609 h 637"/>
                <a:gd name="T70" fmla="*/ 69 w 385"/>
                <a:gd name="T71" fmla="*/ 595 h 637"/>
                <a:gd name="T72" fmla="*/ 65 w 385"/>
                <a:gd name="T73" fmla="*/ 568 h 637"/>
                <a:gd name="T74" fmla="*/ 49 w 385"/>
                <a:gd name="T75" fmla="*/ 546 h 637"/>
                <a:gd name="T76" fmla="*/ 30 w 385"/>
                <a:gd name="T77" fmla="*/ 509 h 637"/>
                <a:gd name="T78" fmla="*/ 18 w 385"/>
                <a:gd name="T79" fmla="*/ 485 h 637"/>
                <a:gd name="T80" fmla="*/ 18 w 385"/>
                <a:gd name="T81" fmla="*/ 459 h 637"/>
                <a:gd name="T82" fmla="*/ 31 w 385"/>
                <a:gd name="T83" fmla="*/ 440 h 637"/>
                <a:gd name="T84" fmla="*/ 29 w 385"/>
                <a:gd name="T85" fmla="*/ 414 h 637"/>
                <a:gd name="T86" fmla="*/ 13 w 385"/>
                <a:gd name="T87" fmla="*/ 355 h 637"/>
                <a:gd name="T88" fmla="*/ 0 w 385"/>
                <a:gd name="T89" fmla="*/ 305 h 637"/>
                <a:gd name="T90" fmla="*/ 3 w 385"/>
                <a:gd name="T91" fmla="*/ 295 h 637"/>
                <a:gd name="T92" fmla="*/ 23 w 385"/>
                <a:gd name="T93" fmla="*/ 289 h 637"/>
                <a:gd name="T94" fmla="*/ 44 w 385"/>
                <a:gd name="T95" fmla="*/ 267 h 637"/>
                <a:gd name="T96" fmla="*/ 65 w 385"/>
                <a:gd name="T97" fmla="*/ 243 h 637"/>
                <a:gd name="T98" fmla="*/ 64 w 385"/>
                <a:gd name="T99" fmla="*/ 211 h 637"/>
                <a:gd name="T100" fmla="*/ 69 w 385"/>
                <a:gd name="T101" fmla="*/ 188 h 637"/>
                <a:gd name="T102" fmla="*/ 68 w 385"/>
                <a:gd name="T103" fmla="*/ 161 h 637"/>
                <a:gd name="T104" fmla="*/ 91 w 385"/>
                <a:gd name="T105" fmla="*/ 103 h 637"/>
                <a:gd name="T106" fmla="*/ 103 w 385"/>
                <a:gd name="T107" fmla="*/ 63 h 637"/>
                <a:gd name="T108" fmla="*/ 105 w 385"/>
                <a:gd name="T109" fmla="*/ 55 h 637"/>
                <a:gd name="T110" fmla="*/ 116 w 385"/>
                <a:gd name="T111" fmla="*/ 47 h 637"/>
                <a:gd name="T112" fmla="*/ 130 w 385"/>
                <a:gd name="T113" fmla="*/ 27 h 637"/>
                <a:gd name="T114" fmla="*/ 159 w 385"/>
                <a:gd name="T115" fmla="*/ 24 h 637"/>
                <a:gd name="T116" fmla="*/ 176 w 385"/>
                <a:gd name="T117" fmla="*/ 18 h 637"/>
                <a:gd name="T118" fmla="*/ 184 w 385"/>
                <a:gd name="T119" fmla="*/ 2 h 637"/>
                <a:gd name="T120" fmla="*/ 192 w 385"/>
                <a:gd name="T121" fmla="*/ 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5" h="637">
                  <a:moveTo>
                    <a:pt x="199" y="18"/>
                  </a:moveTo>
                  <a:lnTo>
                    <a:pt x="200" y="20"/>
                  </a:lnTo>
                  <a:lnTo>
                    <a:pt x="202" y="27"/>
                  </a:lnTo>
                  <a:lnTo>
                    <a:pt x="203" y="29"/>
                  </a:lnTo>
                  <a:lnTo>
                    <a:pt x="204" y="29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7" y="30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6" y="27"/>
                  </a:lnTo>
                  <a:lnTo>
                    <a:pt x="217" y="29"/>
                  </a:lnTo>
                  <a:lnTo>
                    <a:pt x="224" y="47"/>
                  </a:lnTo>
                  <a:lnTo>
                    <a:pt x="225" y="52"/>
                  </a:lnTo>
                  <a:lnTo>
                    <a:pt x="227" y="62"/>
                  </a:lnTo>
                  <a:lnTo>
                    <a:pt x="228" y="64"/>
                  </a:lnTo>
                  <a:lnTo>
                    <a:pt x="228" y="66"/>
                  </a:lnTo>
                  <a:lnTo>
                    <a:pt x="230" y="69"/>
                  </a:lnTo>
                  <a:lnTo>
                    <a:pt x="234" y="74"/>
                  </a:lnTo>
                  <a:lnTo>
                    <a:pt x="242" y="84"/>
                  </a:lnTo>
                  <a:lnTo>
                    <a:pt x="246" y="89"/>
                  </a:lnTo>
                  <a:lnTo>
                    <a:pt x="247" y="90"/>
                  </a:lnTo>
                  <a:lnTo>
                    <a:pt x="248" y="91"/>
                  </a:lnTo>
                  <a:lnTo>
                    <a:pt x="250" y="92"/>
                  </a:lnTo>
                  <a:lnTo>
                    <a:pt x="251" y="93"/>
                  </a:lnTo>
                  <a:lnTo>
                    <a:pt x="254" y="94"/>
                  </a:lnTo>
                  <a:lnTo>
                    <a:pt x="258" y="95"/>
                  </a:lnTo>
                  <a:lnTo>
                    <a:pt x="262" y="96"/>
                  </a:lnTo>
                  <a:lnTo>
                    <a:pt x="263" y="96"/>
                  </a:lnTo>
                  <a:lnTo>
                    <a:pt x="285" y="96"/>
                  </a:lnTo>
                  <a:lnTo>
                    <a:pt x="288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6" y="98"/>
                  </a:lnTo>
                  <a:lnTo>
                    <a:pt x="298" y="99"/>
                  </a:lnTo>
                  <a:lnTo>
                    <a:pt x="301" y="101"/>
                  </a:lnTo>
                  <a:lnTo>
                    <a:pt x="304" y="103"/>
                  </a:lnTo>
                  <a:lnTo>
                    <a:pt x="307" y="106"/>
                  </a:lnTo>
                  <a:lnTo>
                    <a:pt x="308" y="108"/>
                  </a:lnTo>
                  <a:lnTo>
                    <a:pt x="310" y="109"/>
                  </a:lnTo>
                  <a:lnTo>
                    <a:pt x="312" y="113"/>
                  </a:lnTo>
                  <a:lnTo>
                    <a:pt x="320" y="124"/>
                  </a:lnTo>
                  <a:lnTo>
                    <a:pt x="324" y="129"/>
                  </a:lnTo>
                  <a:lnTo>
                    <a:pt x="326" y="131"/>
                  </a:lnTo>
                  <a:lnTo>
                    <a:pt x="328" y="133"/>
                  </a:lnTo>
                  <a:lnTo>
                    <a:pt x="330" y="136"/>
                  </a:lnTo>
                  <a:lnTo>
                    <a:pt x="331" y="138"/>
                  </a:lnTo>
                  <a:lnTo>
                    <a:pt x="333" y="139"/>
                  </a:lnTo>
                  <a:lnTo>
                    <a:pt x="337" y="142"/>
                  </a:lnTo>
                  <a:lnTo>
                    <a:pt x="345" y="147"/>
                  </a:lnTo>
                  <a:lnTo>
                    <a:pt x="351" y="151"/>
                  </a:lnTo>
                  <a:lnTo>
                    <a:pt x="356" y="154"/>
                  </a:lnTo>
                  <a:lnTo>
                    <a:pt x="362" y="156"/>
                  </a:lnTo>
                  <a:lnTo>
                    <a:pt x="367" y="158"/>
                  </a:lnTo>
                  <a:lnTo>
                    <a:pt x="372" y="160"/>
                  </a:lnTo>
                  <a:lnTo>
                    <a:pt x="376" y="161"/>
                  </a:lnTo>
                  <a:lnTo>
                    <a:pt x="378" y="164"/>
                  </a:lnTo>
                  <a:lnTo>
                    <a:pt x="379" y="166"/>
                  </a:lnTo>
                  <a:lnTo>
                    <a:pt x="380" y="169"/>
                  </a:lnTo>
                  <a:lnTo>
                    <a:pt x="381" y="173"/>
                  </a:lnTo>
                  <a:lnTo>
                    <a:pt x="382" y="176"/>
                  </a:lnTo>
                  <a:lnTo>
                    <a:pt x="383" y="180"/>
                  </a:lnTo>
                  <a:lnTo>
                    <a:pt x="384" y="187"/>
                  </a:lnTo>
                  <a:lnTo>
                    <a:pt x="385" y="193"/>
                  </a:lnTo>
                  <a:lnTo>
                    <a:pt x="385" y="197"/>
                  </a:lnTo>
                  <a:lnTo>
                    <a:pt x="385" y="199"/>
                  </a:lnTo>
                  <a:lnTo>
                    <a:pt x="385" y="202"/>
                  </a:lnTo>
                  <a:lnTo>
                    <a:pt x="385" y="204"/>
                  </a:lnTo>
                  <a:lnTo>
                    <a:pt x="384" y="207"/>
                  </a:lnTo>
                  <a:lnTo>
                    <a:pt x="384" y="210"/>
                  </a:lnTo>
                  <a:lnTo>
                    <a:pt x="383" y="212"/>
                  </a:lnTo>
                  <a:lnTo>
                    <a:pt x="381" y="216"/>
                  </a:lnTo>
                  <a:lnTo>
                    <a:pt x="379" y="219"/>
                  </a:lnTo>
                  <a:lnTo>
                    <a:pt x="377" y="222"/>
                  </a:lnTo>
                  <a:lnTo>
                    <a:pt x="375" y="225"/>
                  </a:lnTo>
                  <a:lnTo>
                    <a:pt x="374" y="227"/>
                  </a:lnTo>
                  <a:lnTo>
                    <a:pt x="364" y="239"/>
                  </a:lnTo>
                  <a:lnTo>
                    <a:pt x="359" y="244"/>
                  </a:lnTo>
                  <a:lnTo>
                    <a:pt x="357" y="246"/>
                  </a:lnTo>
                  <a:lnTo>
                    <a:pt x="354" y="250"/>
                  </a:lnTo>
                  <a:lnTo>
                    <a:pt x="353" y="254"/>
                  </a:lnTo>
                  <a:lnTo>
                    <a:pt x="350" y="259"/>
                  </a:lnTo>
                  <a:lnTo>
                    <a:pt x="347" y="264"/>
                  </a:lnTo>
                  <a:lnTo>
                    <a:pt x="345" y="267"/>
                  </a:lnTo>
                  <a:lnTo>
                    <a:pt x="344" y="270"/>
                  </a:lnTo>
                  <a:lnTo>
                    <a:pt x="343" y="273"/>
                  </a:lnTo>
                  <a:lnTo>
                    <a:pt x="342" y="276"/>
                  </a:lnTo>
                  <a:lnTo>
                    <a:pt x="341" y="280"/>
                  </a:lnTo>
                  <a:lnTo>
                    <a:pt x="341" y="290"/>
                  </a:lnTo>
                  <a:lnTo>
                    <a:pt x="340" y="299"/>
                  </a:lnTo>
                  <a:lnTo>
                    <a:pt x="340" y="301"/>
                  </a:lnTo>
                  <a:lnTo>
                    <a:pt x="340" y="304"/>
                  </a:lnTo>
                  <a:lnTo>
                    <a:pt x="341" y="305"/>
                  </a:lnTo>
                  <a:lnTo>
                    <a:pt x="341" y="307"/>
                  </a:lnTo>
                  <a:lnTo>
                    <a:pt x="342" y="309"/>
                  </a:lnTo>
                  <a:lnTo>
                    <a:pt x="343" y="312"/>
                  </a:lnTo>
                  <a:lnTo>
                    <a:pt x="346" y="313"/>
                  </a:lnTo>
                  <a:lnTo>
                    <a:pt x="354" y="323"/>
                  </a:lnTo>
                  <a:lnTo>
                    <a:pt x="357" y="325"/>
                  </a:lnTo>
                  <a:lnTo>
                    <a:pt x="360" y="329"/>
                  </a:lnTo>
                  <a:lnTo>
                    <a:pt x="362" y="333"/>
                  </a:lnTo>
                  <a:lnTo>
                    <a:pt x="363" y="334"/>
                  </a:lnTo>
                  <a:lnTo>
                    <a:pt x="363" y="335"/>
                  </a:lnTo>
                  <a:lnTo>
                    <a:pt x="364" y="337"/>
                  </a:lnTo>
                  <a:lnTo>
                    <a:pt x="364" y="339"/>
                  </a:lnTo>
                  <a:lnTo>
                    <a:pt x="364" y="341"/>
                  </a:lnTo>
                  <a:lnTo>
                    <a:pt x="364" y="343"/>
                  </a:lnTo>
                  <a:lnTo>
                    <a:pt x="364" y="346"/>
                  </a:lnTo>
                  <a:lnTo>
                    <a:pt x="364" y="348"/>
                  </a:lnTo>
                  <a:lnTo>
                    <a:pt x="363" y="351"/>
                  </a:lnTo>
                  <a:lnTo>
                    <a:pt x="361" y="354"/>
                  </a:lnTo>
                  <a:lnTo>
                    <a:pt x="359" y="357"/>
                  </a:lnTo>
                  <a:lnTo>
                    <a:pt x="357" y="360"/>
                  </a:lnTo>
                  <a:lnTo>
                    <a:pt x="353" y="366"/>
                  </a:lnTo>
                  <a:lnTo>
                    <a:pt x="349" y="370"/>
                  </a:lnTo>
                  <a:lnTo>
                    <a:pt x="346" y="374"/>
                  </a:lnTo>
                  <a:lnTo>
                    <a:pt x="345" y="376"/>
                  </a:lnTo>
                  <a:lnTo>
                    <a:pt x="344" y="377"/>
                  </a:lnTo>
                  <a:lnTo>
                    <a:pt x="343" y="379"/>
                  </a:lnTo>
                  <a:lnTo>
                    <a:pt x="343" y="380"/>
                  </a:lnTo>
                  <a:lnTo>
                    <a:pt x="343" y="382"/>
                  </a:lnTo>
                  <a:lnTo>
                    <a:pt x="342" y="385"/>
                  </a:lnTo>
                  <a:lnTo>
                    <a:pt x="343" y="390"/>
                  </a:lnTo>
                  <a:lnTo>
                    <a:pt x="343" y="392"/>
                  </a:lnTo>
                  <a:lnTo>
                    <a:pt x="343" y="395"/>
                  </a:lnTo>
                  <a:lnTo>
                    <a:pt x="342" y="398"/>
                  </a:lnTo>
                  <a:lnTo>
                    <a:pt x="341" y="403"/>
                  </a:lnTo>
                  <a:lnTo>
                    <a:pt x="339" y="407"/>
                  </a:lnTo>
                  <a:lnTo>
                    <a:pt x="337" y="411"/>
                  </a:lnTo>
                  <a:lnTo>
                    <a:pt x="330" y="423"/>
                  </a:lnTo>
                  <a:lnTo>
                    <a:pt x="329" y="426"/>
                  </a:lnTo>
                  <a:lnTo>
                    <a:pt x="329" y="427"/>
                  </a:lnTo>
                  <a:lnTo>
                    <a:pt x="329" y="427"/>
                  </a:lnTo>
                  <a:lnTo>
                    <a:pt x="329" y="428"/>
                  </a:lnTo>
                  <a:lnTo>
                    <a:pt x="328" y="427"/>
                  </a:lnTo>
                  <a:lnTo>
                    <a:pt x="328" y="427"/>
                  </a:lnTo>
                  <a:lnTo>
                    <a:pt x="328" y="427"/>
                  </a:lnTo>
                  <a:lnTo>
                    <a:pt x="327" y="427"/>
                  </a:lnTo>
                  <a:lnTo>
                    <a:pt x="327" y="428"/>
                  </a:lnTo>
                  <a:lnTo>
                    <a:pt x="325" y="430"/>
                  </a:lnTo>
                  <a:lnTo>
                    <a:pt x="323" y="433"/>
                  </a:lnTo>
                  <a:lnTo>
                    <a:pt x="321" y="435"/>
                  </a:lnTo>
                  <a:lnTo>
                    <a:pt x="319" y="439"/>
                  </a:lnTo>
                  <a:lnTo>
                    <a:pt x="313" y="449"/>
                  </a:lnTo>
                  <a:lnTo>
                    <a:pt x="312" y="451"/>
                  </a:lnTo>
                  <a:lnTo>
                    <a:pt x="310" y="454"/>
                  </a:lnTo>
                  <a:lnTo>
                    <a:pt x="309" y="455"/>
                  </a:lnTo>
                  <a:lnTo>
                    <a:pt x="308" y="456"/>
                  </a:lnTo>
                  <a:lnTo>
                    <a:pt x="307" y="457"/>
                  </a:lnTo>
                  <a:lnTo>
                    <a:pt x="306" y="458"/>
                  </a:lnTo>
                  <a:lnTo>
                    <a:pt x="304" y="459"/>
                  </a:lnTo>
                  <a:lnTo>
                    <a:pt x="303" y="460"/>
                  </a:lnTo>
                  <a:lnTo>
                    <a:pt x="302" y="460"/>
                  </a:lnTo>
                  <a:lnTo>
                    <a:pt x="300" y="460"/>
                  </a:lnTo>
                  <a:lnTo>
                    <a:pt x="299" y="459"/>
                  </a:lnTo>
                  <a:lnTo>
                    <a:pt x="297" y="458"/>
                  </a:lnTo>
                  <a:lnTo>
                    <a:pt x="296" y="457"/>
                  </a:lnTo>
                  <a:lnTo>
                    <a:pt x="290" y="453"/>
                  </a:lnTo>
                  <a:lnTo>
                    <a:pt x="288" y="452"/>
                  </a:lnTo>
                  <a:lnTo>
                    <a:pt x="287" y="451"/>
                  </a:lnTo>
                  <a:lnTo>
                    <a:pt x="285" y="450"/>
                  </a:lnTo>
                  <a:lnTo>
                    <a:pt x="284" y="449"/>
                  </a:lnTo>
                  <a:lnTo>
                    <a:pt x="281" y="449"/>
                  </a:lnTo>
                  <a:lnTo>
                    <a:pt x="277" y="448"/>
                  </a:lnTo>
                  <a:lnTo>
                    <a:pt x="274" y="448"/>
                  </a:lnTo>
                  <a:lnTo>
                    <a:pt x="272" y="448"/>
                  </a:lnTo>
                  <a:lnTo>
                    <a:pt x="269" y="448"/>
                  </a:lnTo>
                  <a:lnTo>
                    <a:pt x="267" y="448"/>
                  </a:lnTo>
                  <a:lnTo>
                    <a:pt x="265" y="448"/>
                  </a:lnTo>
                  <a:lnTo>
                    <a:pt x="264" y="448"/>
                  </a:lnTo>
                  <a:lnTo>
                    <a:pt x="262" y="449"/>
                  </a:lnTo>
                  <a:lnTo>
                    <a:pt x="262" y="451"/>
                  </a:lnTo>
                  <a:lnTo>
                    <a:pt x="261" y="453"/>
                  </a:lnTo>
                  <a:lnTo>
                    <a:pt x="260" y="455"/>
                  </a:lnTo>
                  <a:lnTo>
                    <a:pt x="259" y="458"/>
                  </a:lnTo>
                  <a:lnTo>
                    <a:pt x="258" y="462"/>
                  </a:lnTo>
                  <a:lnTo>
                    <a:pt x="257" y="465"/>
                  </a:lnTo>
                  <a:lnTo>
                    <a:pt x="256" y="467"/>
                  </a:lnTo>
                  <a:lnTo>
                    <a:pt x="252" y="474"/>
                  </a:lnTo>
                  <a:lnTo>
                    <a:pt x="250" y="479"/>
                  </a:lnTo>
                  <a:lnTo>
                    <a:pt x="248" y="485"/>
                  </a:lnTo>
                  <a:lnTo>
                    <a:pt x="246" y="488"/>
                  </a:lnTo>
                  <a:lnTo>
                    <a:pt x="246" y="491"/>
                  </a:lnTo>
                  <a:lnTo>
                    <a:pt x="245" y="494"/>
                  </a:lnTo>
                  <a:lnTo>
                    <a:pt x="244" y="498"/>
                  </a:lnTo>
                  <a:lnTo>
                    <a:pt x="244" y="505"/>
                  </a:lnTo>
                  <a:lnTo>
                    <a:pt x="243" y="507"/>
                  </a:lnTo>
                  <a:lnTo>
                    <a:pt x="242" y="509"/>
                  </a:lnTo>
                  <a:lnTo>
                    <a:pt x="242" y="511"/>
                  </a:lnTo>
                  <a:lnTo>
                    <a:pt x="241" y="512"/>
                  </a:lnTo>
                  <a:lnTo>
                    <a:pt x="239" y="515"/>
                  </a:lnTo>
                  <a:lnTo>
                    <a:pt x="239" y="516"/>
                  </a:lnTo>
                  <a:lnTo>
                    <a:pt x="238" y="519"/>
                  </a:lnTo>
                  <a:lnTo>
                    <a:pt x="237" y="525"/>
                  </a:lnTo>
                  <a:lnTo>
                    <a:pt x="237" y="527"/>
                  </a:lnTo>
                  <a:lnTo>
                    <a:pt x="236" y="528"/>
                  </a:lnTo>
                  <a:lnTo>
                    <a:pt x="234" y="531"/>
                  </a:lnTo>
                  <a:lnTo>
                    <a:pt x="232" y="534"/>
                  </a:lnTo>
                  <a:lnTo>
                    <a:pt x="229" y="538"/>
                  </a:lnTo>
                  <a:lnTo>
                    <a:pt x="224" y="545"/>
                  </a:lnTo>
                  <a:lnTo>
                    <a:pt x="222" y="548"/>
                  </a:lnTo>
                  <a:lnTo>
                    <a:pt x="220" y="550"/>
                  </a:lnTo>
                  <a:lnTo>
                    <a:pt x="218" y="553"/>
                  </a:lnTo>
                  <a:lnTo>
                    <a:pt x="216" y="559"/>
                  </a:lnTo>
                  <a:lnTo>
                    <a:pt x="215" y="562"/>
                  </a:lnTo>
                  <a:lnTo>
                    <a:pt x="214" y="566"/>
                  </a:lnTo>
                  <a:lnTo>
                    <a:pt x="214" y="570"/>
                  </a:lnTo>
                  <a:lnTo>
                    <a:pt x="214" y="573"/>
                  </a:lnTo>
                  <a:lnTo>
                    <a:pt x="216" y="581"/>
                  </a:lnTo>
                  <a:lnTo>
                    <a:pt x="216" y="583"/>
                  </a:lnTo>
                  <a:lnTo>
                    <a:pt x="216" y="586"/>
                  </a:lnTo>
                  <a:lnTo>
                    <a:pt x="216" y="588"/>
                  </a:lnTo>
                  <a:lnTo>
                    <a:pt x="215" y="590"/>
                  </a:lnTo>
                  <a:lnTo>
                    <a:pt x="214" y="592"/>
                  </a:lnTo>
                  <a:lnTo>
                    <a:pt x="213" y="595"/>
                  </a:lnTo>
                  <a:lnTo>
                    <a:pt x="212" y="597"/>
                  </a:lnTo>
                  <a:lnTo>
                    <a:pt x="211" y="599"/>
                  </a:lnTo>
                  <a:lnTo>
                    <a:pt x="209" y="601"/>
                  </a:lnTo>
                  <a:lnTo>
                    <a:pt x="207" y="604"/>
                  </a:lnTo>
                  <a:lnTo>
                    <a:pt x="205" y="607"/>
                  </a:lnTo>
                  <a:lnTo>
                    <a:pt x="204" y="608"/>
                  </a:lnTo>
                  <a:lnTo>
                    <a:pt x="201" y="610"/>
                  </a:lnTo>
                  <a:lnTo>
                    <a:pt x="194" y="616"/>
                  </a:lnTo>
                  <a:lnTo>
                    <a:pt x="191" y="618"/>
                  </a:lnTo>
                  <a:lnTo>
                    <a:pt x="189" y="618"/>
                  </a:lnTo>
                  <a:lnTo>
                    <a:pt x="187" y="619"/>
                  </a:lnTo>
                  <a:lnTo>
                    <a:pt x="185" y="620"/>
                  </a:lnTo>
                  <a:lnTo>
                    <a:pt x="183" y="620"/>
                  </a:lnTo>
                  <a:lnTo>
                    <a:pt x="182" y="620"/>
                  </a:lnTo>
                  <a:lnTo>
                    <a:pt x="181" y="620"/>
                  </a:lnTo>
                  <a:lnTo>
                    <a:pt x="180" y="620"/>
                  </a:lnTo>
                  <a:lnTo>
                    <a:pt x="179" y="620"/>
                  </a:lnTo>
                  <a:lnTo>
                    <a:pt x="177" y="619"/>
                  </a:lnTo>
                  <a:lnTo>
                    <a:pt x="171" y="617"/>
                  </a:lnTo>
                  <a:lnTo>
                    <a:pt x="170" y="616"/>
                  </a:lnTo>
                  <a:lnTo>
                    <a:pt x="168" y="615"/>
                  </a:lnTo>
                  <a:lnTo>
                    <a:pt x="165" y="615"/>
                  </a:lnTo>
                  <a:lnTo>
                    <a:pt x="163" y="614"/>
                  </a:lnTo>
                  <a:lnTo>
                    <a:pt x="160" y="614"/>
                  </a:lnTo>
                  <a:lnTo>
                    <a:pt x="152" y="614"/>
                  </a:lnTo>
                  <a:lnTo>
                    <a:pt x="148" y="614"/>
                  </a:lnTo>
                  <a:lnTo>
                    <a:pt x="146" y="615"/>
                  </a:lnTo>
                  <a:lnTo>
                    <a:pt x="142" y="616"/>
                  </a:lnTo>
                  <a:lnTo>
                    <a:pt x="136" y="619"/>
                  </a:lnTo>
                  <a:lnTo>
                    <a:pt x="133" y="620"/>
                  </a:lnTo>
                  <a:lnTo>
                    <a:pt x="130" y="621"/>
                  </a:lnTo>
                  <a:lnTo>
                    <a:pt x="122" y="624"/>
                  </a:lnTo>
                  <a:lnTo>
                    <a:pt x="119" y="625"/>
                  </a:lnTo>
                  <a:lnTo>
                    <a:pt x="116" y="626"/>
                  </a:lnTo>
                  <a:lnTo>
                    <a:pt x="114" y="628"/>
                  </a:lnTo>
                  <a:lnTo>
                    <a:pt x="111" y="630"/>
                  </a:lnTo>
                  <a:lnTo>
                    <a:pt x="109" y="631"/>
                  </a:lnTo>
                  <a:lnTo>
                    <a:pt x="104" y="634"/>
                  </a:lnTo>
                  <a:lnTo>
                    <a:pt x="103" y="635"/>
                  </a:lnTo>
                  <a:lnTo>
                    <a:pt x="100" y="637"/>
                  </a:lnTo>
                  <a:lnTo>
                    <a:pt x="100" y="637"/>
                  </a:lnTo>
                  <a:lnTo>
                    <a:pt x="99" y="637"/>
                  </a:lnTo>
                  <a:lnTo>
                    <a:pt x="100" y="637"/>
                  </a:lnTo>
                  <a:lnTo>
                    <a:pt x="100" y="636"/>
                  </a:lnTo>
                  <a:lnTo>
                    <a:pt x="100" y="635"/>
                  </a:lnTo>
                  <a:lnTo>
                    <a:pt x="100" y="633"/>
                  </a:lnTo>
                  <a:lnTo>
                    <a:pt x="100" y="632"/>
                  </a:lnTo>
                  <a:lnTo>
                    <a:pt x="100" y="631"/>
                  </a:lnTo>
                  <a:lnTo>
                    <a:pt x="99" y="628"/>
                  </a:lnTo>
                  <a:lnTo>
                    <a:pt x="98" y="626"/>
                  </a:lnTo>
                  <a:lnTo>
                    <a:pt x="96" y="623"/>
                  </a:lnTo>
                  <a:lnTo>
                    <a:pt x="94" y="620"/>
                  </a:lnTo>
                  <a:lnTo>
                    <a:pt x="92" y="618"/>
                  </a:lnTo>
                  <a:lnTo>
                    <a:pt x="91" y="617"/>
                  </a:lnTo>
                  <a:lnTo>
                    <a:pt x="89" y="616"/>
                  </a:lnTo>
                  <a:lnTo>
                    <a:pt x="86" y="615"/>
                  </a:lnTo>
                  <a:lnTo>
                    <a:pt x="84" y="614"/>
                  </a:lnTo>
                  <a:lnTo>
                    <a:pt x="81" y="612"/>
                  </a:lnTo>
                  <a:lnTo>
                    <a:pt x="78" y="611"/>
                  </a:lnTo>
                  <a:lnTo>
                    <a:pt x="75" y="611"/>
                  </a:lnTo>
                  <a:lnTo>
                    <a:pt x="70" y="610"/>
                  </a:lnTo>
                  <a:lnTo>
                    <a:pt x="69" y="610"/>
                  </a:lnTo>
                  <a:lnTo>
                    <a:pt x="69" y="610"/>
                  </a:lnTo>
                  <a:lnTo>
                    <a:pt x="68" y="609"/>
                  </a:lnTo>
                  <a:lnTo>
                    <a:pt x="68" y="609"/>
                  </a:lnTo>
                  <a:lnTo>
                    <a:pt x="67" y="608"/>
                  </a:lnTo>
                  <a:lnTo>
                    <a:pt x="67" y="607"/>
                  </a:lnTo>
                  <a:lnTo>
                    <a:pt x="67" y="607"/>
                  </a:lnTo>
                  <a:lnTo>
                    <a:pt x="67" y="605"/>
                  </a:lnTo>
                  <a:lnTo>
                    <a:pt x="68" y="602"/>
                  </a:lnTo>
                  <a:lnTo>
                    <a:pt x="69" y="597"/>
                  </a:lnTo>
                  <a:lnTo>
                    <a:pt x="69" y="595"/>
                  </a:lnTo>
                  <a:lnTo>
                    <a:pt x="69" y="592"/>
                  </a:lnTo>
                  <a:lnTo>
                    <a:pt x="69" y="590"/>
                  </a:lnTo>
                  <a:lnTo>
                    <a:pt x="69" y="588"/>
                  </a:lnTo>
                  <a:lnTo>
                    <a:pt x="69" y="586"/>
                  </a:lnTo>
                  <a:lnTo>
                    <a:pt x="67" y="579"/>
                  </a:lnTo>
                  <a:lnTo>
                    <a:pt x="66" y="577"/>
                  </a:lnTo>
                  <a:lnTo>
                    <a:pt x="66" y="574"/>
                  </a:lnTo>
                  <a:lnTo>
                    <a:pt x="65" y="568"/>
                  </a:lnTo>
                  <a:lnTo>
                    <a:pt x="64" y="565"/>
                  </a:lnTo>
                  <a:lnTo>
                    <a:pt x="63" y="563"/>
                  </a:lnTo>
                  <a:lnTo>
                    <a:pt x="63" y="562"/>
                  </a:lnTo>
                  <a:lnTo>
                    <a:pt x="62" y="561"/>
                  </a:lnTo>
                  <a:lnTo>
                    <a:pt x="61" y="560"/>
                  </a:lnTo>
                  <a:lnTo>
                    <a:pt x="59" y="558"/>
                  </a:lnTo>
                  <a:lnTo>
                    <a:pt x="53" y="550"/>
                  </a:lnTo>
                  <a:lnTo>
                    <a:pt x="49" y="546"/>
                  </a:lnTo>
                  <a:lnTo>
                    <a:pt x="44" y="539"/>
                  </a:lnTo>
                  <a:lnTo>
                    <a:pt x="42" y="538"/>
                  </a:lnTo>
                  <a:lnTo>
                    <a:pt x="41" y="535"/>
                  </a:lnTo>
                  <a:lnTo>
                    <a:pt x="38" y="530"/>
                  </a:lnTo>
                  <a:lnTo>
                    <a:pt x="35" y="524"/>
                  </a:lnTo>
                  <a:lnTo>
                    <a:pt x="34" y="520"/>
                  </a:lnTo>
                  <a:lnTo>
                    <a:pt x="32" y="512"/>
                  </a:lnTo>
                  <a:lnTo>
                    <a:pt x="30" y="509"/>
                  </a:lnTo>
                  <a:lnTo>
                    <a:pt x="30" y="507"/>
                  </a:lnTo>
                  <a:lnTo>
                    <a:pt x="28" y="505"/>
                  </a:lnTo>
                  <a:lnTo>
                    <a:pt x="27" y="503"/>
                  </a:lnTo>
                  <a:lnTo>
                    <a:pt x="22" y="494"/>
                  </a:lnTo>
                  <a:lnTo>
                    <a:pt x="21" y="493"/>
                  </a:lnTo>
                  <a:lnTo>
                    <a:pt x="20" y="491"/>
                  </a:lnTo>
                  <a:lnTo>
                    <a:pt x="19" y="488"/>
                  </a:lnTo>
                  <a:lnTo>
                    <a:pt x="18" y="485"/>
                  </a:lnTo>
                  <a:lnTo>
                    <a:pt x="17" y="482"/>
                  </a:lnTo>
                  <a:lnTo>
                    <a:pt x="17" y="478"/>
                  </a:lnTo>
                  <a:lnTo>
                    <a:pt x="17" y="472"/>
                  </a:lnTo>
                  <a:lnTo>
                    <a:pt x="17" y="469"/>
                  </a:lnTo>
                  <a:lnTo>
                    <a:pt x="17" y="466"/>
                  </a:lnTo>
                  <a:lnTo>
                    <a:pt x="17" y="461"/>
                  </a:lnTo>
                  <a:lnTo>
                    <a:pt x="18" y="459"/>
                  </a:lnTo>
                  <a:lnTo>
                    <a:pt x="18" y="459"/>
                  </a:lnTo>
                  <a:lnTo>
                    <a:pt x="19" y="458"/>
                  </a:lnTo>
                  <a:lnTo>
                    <a:pt x="23" y="453"/>
                  </a:lnTo>
                  <a:lnTo>
                    <a:pt x="25" y="450"/>
                  </a:lnTo>
                  <a:lnTo>
                    <a:pt x="28" y="448"/>
                  </a:lnTo>
                  <a:lnTo>
                    <a:pt x="30" y="445"/>
                  </a:lnTo>
                  <a:lnTo>
                    <a:pt x="30" y="443"/>
                  </a:lnTo>
                  <a:lnTo>
                    <a:pt x="31" y="441"/>
                  </a:lnTo>
                  <a:lnTo>
                    <a:pt x="31" y="440"/>
                  </a:lnTo>
                  <a:lnTo>
                    <a:pt x="32" y="438"/>
                  </a:lnTo>
                  <a:lnTo>
                    <a:pt x="32" y="437"/>
                  </a:lnTo>
                  <a:lnTo>
                    <a:pt x="32" y="434"/>
                  </a:lnTo>
                  <a:lnTo>
                    <a:pt x="31" y="430"/>
                  </a:lnTo>
                  <a:lnTo>
                    <a:pt x="31" y="426"/>
                  </a:lnTo>
                  <a:lnTo>
                    <a:pt x="30" y="421"/>
                  </a:lnTo>
                  <a:lnTo>
                    <a:pt x="29" y="417"/>
                  </a:lnTo>
                  <a:lnTo>
                    <a:pt x="29" y="414"/>
                  </a:lnTo>
                  <a:lnTo>
                    <a:pt x="28" y="407"/>
                  </a:lnTo>
                  <a:lnTo>
                    <a:pt x="27" y="398"/>
                  </a:lnTo>
                  <a:lnTo>
                    <a:pt x="27" y="393"/>
                  </a:lnTo>
                  <a:lnTo>
                    <a:pt x="26" y="389"/>
                  </a:lnTo>
                  <a:lnTo>
                    <a:pt x="25" y="386"/>
                  </a:lnTo>
                  <a:lnTo>
                    <a:pt x="22" y="374"/>
                  </a:lnTo>
                  <a:lnTo>
                    <a:pt x="16" y="361"/>
                  </a:lnTo>
                  <a:lnTo>
                    <a:pt x="13" y="355"/>
                  </a:lnTo>
                  <a:lnTo>
                    <a:pt x="12" y="351"/>
                  </a:lnTo>
                  <a:lnTo>
                    <a:pt x="12" y="346"/>
                  </a:lnTo>
                  <a:lnTo>
                    <a:pt x="9" y="333"/>
                  </a:lnTo>
                  <a:lnTo>
                    <a:pt x="7" y="328"/>
                  </a:lnTo>
                  <a:lnTo>
                    <a:pt x="5" y="320"/>
                  </a:lnTo>
                  <a:lnTo>
                    <a:pt x="1" y="311"/>
                  </a:lnTo>
                  <a:lnTo>
                    <a:pt x="0" y="307"/>
                  </a:lnTo>
                  <a:lnTo>
                    <a:pt x="0" y="305"/>
                  </a:lnTo>
                  <a:lnTo>
                    <a:pt x="0" y="303"/>
                  </a:lnTo>
                  <a:lnTo>
                    <a:pt x="0" y="301"/>
                  </a:lnTo>
                  <a:lnTo>
                    <a:pt x="0" y="300"/>
                  </a:lnTo>
                  <a:lnTo>
                    <a:pt x="0" y="299"/>
                  </a:lnTo>
                  <a:lnTo>
                    <a:pt x="0" y="298"/>
                  </a:lnTo>
                  <a:lnTo>
                    <a:pt x="1" y="296"/>
                  </a:lnTo>
                  <a:lnTo>
                    <a:pt x="2" y="295"/>
                  </a:lnTo>
                  <a:lnTo>
                    <a:pt x="3" y="295"/>
                  </a:lnTo>
                  <a:lnTo>
                    <a:pt x="5" y="293"/>
                  </a:lnTo>
                  <a:lnTo>
                    <a:pt x="7" y="292"/>
                  </a:lnTo>
                  <a:lnTo>
                    <a:pt x="10" y="292"/>
                  </a:lnTo>
                  <a:lnTo>
                    <a:pt x="12" y="291"/>
                  </a:lnTo>
                  <a:lnTo>
                    <a:pt x="18" y="290"/>
                  </a:lnTo>
                  <a:lnTo>
                    <a:pt x="20" y="290"/>
                  </a:lnTo>
                  <a:lnTo>
                    <a:pt x="22" y="290"/>
                  </a:lnTo>
                  <a:lnTo>
                    <a:pt x="23" y="289"/>
                  </a:lnTo>
                  <a:lnTo>
                    <a:pt x="25" y="288"/>
                  </a:lnTo>
                  <a:lnTo>
                    <a:pt x="26" y="286"/>
                  </a:lnTo>
                  <a:lnTo>
                    <a:pt x="29" y="284"/>
                  </a:lnTo>
                  <a:lnTo>
                    <a:pt x="32" y="281"/>
                  </a:lnTo>
                  <a:lnTo>
                    <a:pt x="34" y="279"/>
                  </a:lnTo>
                  <a:lnTo>
                    <a:pt x="36" y="276"/>
                  </a:lnTo>
                  <a:lnTo>
                    <a:pt x="38" y="274"/>
                  </a:lnTo>
                  <a:lnTo>
                    <a:pt x="44" y="267"/>
                  </a:lnTo>
                  <a:lnTo>
                    <a:pt x="47" y="265"/>
                  </a:lnTo>
                  <a:lnTo>
                    <a:pt x="57" y="256"/>
                  </a:lnTo>
                  <a:lnTo>
                    <a:pt x="59" y="254"/>
                  </a:lnTo>
                  <a:lnTo>
                    <a:pt x="61" y="252"/>
                  </a:lnTo>
                  <a:lnTo>
                    <a:pt x="62" y="250"/>
                  </a:lnTo>
                  <a:lnTo>
                    <a:pt x="63" y="248"/>
                  </a:lnTo>
                  <a:lnTo>
                    <a:pt x="64" y="246"/>
                  </a:lnTo>
                  <a:lnTo>
                    <a:pt x="65" y="243"/>
                  </a:lnTo>
                  <a:lnTo>
                    <a:pt x="66" y="240"/>
                  </a:lnTo>
                  <a:lnTo>
                    <a:pt x="67" y="238"/>
                  </a:lnTo>
                  <a:lnTo>
                    <a:pt x="67" y="235"/>
                  </a:lnTo>
                  <a:lnTo>
                    <a:pt x="67" y="233"/>
                  </a:lnTo>
                  <a:lnTo>
                    <a:pt x="66" y="222"/>
                  </a:lnTo>
                  <a:lnTo>
                    <a:pt x="65" y="220"/>
                  </a:lnTo>
                  <a:lnTo>
                    <a:pt x="64" y="214"/>
                  </a:lnTo>
                  <a:lnTo>
                    <a:pt x="64" y="211"/>
                  </a:lnTo>
                  <a:lnTo>
                    <a:pt x="63" y="210"/>
                  </a:lnTo>
                  <a:lnTo>
                    <a:pt x="63" y="207"/>
                  </a:lnTo>
                  <a:lnTo>
                    <a:pt x="64" y="205"/>
                  </a:lnTo>
                  <a:lnTo>
                    <a:pt x="64" y="202"/>
                  </a:lnTo>
                  <a:lnTo>
                    <a:pt x="65" y="199"/>
                  </a:lnTo>
                  <a:lnTo>
                    <a:pt x="68" y="192"/>
                  </a:lnTo>
                  <a:lnTo>
                    <a:pt x="69" y="189"/>
                  </a:lnTo>
                  <a:lnTo>
                    <a:pt x="69" y="188"/>
                  </a:lnTo>
                  <a:lnTo>
                    <a:pt x="69" y="186"/>
                  </a:lnTo>
                  <a:lnTo>
                    <a:pt x="68" y="183"/>
                  </a:lnTo>
                  <a:lnTo>
                    <a:pt x="67" y="173"/>
                  </a:lnTo>
                  <a:lnTo>
                    <a:pt x="67" y="170"/>
                  </a:lnTo>
                  <a:lnTo>
                    <a:pt x="66" y="167"/>
                  </a:lnTo>
                  <a:lnTo>
                    <a:pt x="67" y="165"/>
                  </a:lnTo>
                  <a:lnTo>
                    <a:pt x="67" y="163"/>
                  </a:lnTo>
                  <a:lnTo>
                    <a:pt x="68" y="161"/>
                  </a:lnTo>
                  <a:lnTo>
                    <a:pt x="69" y="159"/>
                  </a:lnTo>
                  <a:lnTo>
                    <a:pt x="71" y="154"/>
                  </a:lnTo>
                  <a:lnTo>
                    <a:pt x="73" y="152"/>
                  </a:lnTo>
                  <a:lnTo>
                    <a:pt x="77" y="142"/>
                  </a:lnTo>
                  <a:lnTo>
                    <a:pt x="80" y="136"/>
                  </a:lnTo>
                  <a:lnTo>
                    <a:pt x="81" y="132"/>
                  </a:lnTo>
                  <a:lnTo>
                    <a:pt x="84" y="124"/>
                  </a:lnTo>
                  <a:lnTo>
                    <a:pt x="91" y="103"/>
                  </a:lnTo>
                  <a:lnTo>
                    <a:pt x="94" y="95"/>
                  </a:lnTo>
                  <a:lnTo>
                    <a:pt x="98" y="85"/>
                  </a:lnTo>
                  <a:lnTo>
                    <a:pt x="100" y="81"/>
                  </a:lnTo>
                  <a:lnTo>
                    <a:pt x="101" y="77"/>
                  </a:lnTo>
                  <a:lnTo>
                    <a:pt x="102" y="74"/>
                  </a:lnTo>
                  <a:lnTo>
                    <a:pt x="103" y="70"/>
                  </a:lnTo>
                  <a:lnTo>
                    <a:pt x="103" y="65"/>
                  </a:lnTo>
                  <a:lnTo>
                    <a:pt x="103" y="63"/>
                  </a:lnTo>
                  <a:lnTo>
                    <a:pt x="103" y="59"/>
                  </a:lnTo>
                  <a:lnTo>
                    <a:pt x="103" y="56"/>
                  </a:lnTo>
                  <a:lnTo>
                    <a:pt x="103" y="55"/>
                  </a:lnTo>
                  <a:lnTo>
                    <a:pt x="102" y="55"/>
                  </a:lnTo>
                  <a:lnTo>
                    <a:pt x="103" y="55"/>
                  </a:lnTo>
                  <a:lnTo>
                    <a:pt x="103" y="55"/>
                  </a:lnTo>
                  <a:lnTo>
                    <a:pt x="104" y="55"/>
                  </a:lnTo>
                  <a:lnTo>
                    <a:pt x="105" y="55"/>
                  </a:lnTo>
                  <a:lnTo>
                    <a:pt x="107" y="54"/>
                  </a:lnTo>
                  <a:lnTo>
                    <a:pt x="109" y="53"/>
                  </a:lnTo>
                  <a:lnTo>
                    <a:pt x="110" y="53"/>
                  </a:lnTo>
                  <a:lnTo>
                    <a:pt x="112" y="52"/>
                  </a:lnTo>
                  <a:lnTo>
                    <a:pt x="113" y="51"/>
                  </a:lnTo>
                  <a:lnTo>
                    <a:pt x="114" y="50"/>
                  </a:lnTo>
                  <a:lnTo>
                    <a:pt x="114" y="49"/>
                  </a:lnTo>
                  <a:lnTo>
                    <a:pt x="116" y="47"/>
                  </a:lnTo>
                  <a:lnTo>
                    <a:pt x="117" y="44"/>
                  </a:lnTo>
                  <a:lnTo>
                    <a:pt x="119" y="39"/>
                  </a:lnTo>
                  <a:lnTo>
                    <a:pt x="120" y="37"/>
                  </a:lnTo>
                  <a:lnTo>
                    <a:pt x="121" y="35"/>
                  </a:lnTo>
                  <a:lnTo>
                    <a:pt x="123" y="33"/>
                  </a:lnTo>
                  <a:lnTo>
                    <a:pt x="125" y="31"/>
                  </a:lnTo>
                  <a:lnTo>
                    <a:pt x="128" y="28"/>
                  </a:lnTo>
                  <a:lnTo>
                    <a:pt x="130" y="27"/>
                  </a:lnTo>
                  <a:lnTo>
                    <a:pt x="133" y="25"/>
                  </a:lnTo>
                  <a:lnTo>
                    <a:pt x="137" y="24"/>
                  </a:lnTo>
                  <a:lnTo>
                    <a:pt x="139" y="23"/>
                  </a:lnTo>
                  <a:lnTo>
                    <a:pt x="142" y="22"/>
                  </a:lnTo>
                  <a:lnTo>
                    <a:pt x="144" y="22"/>
                  </a:lnTo>
                  <a:lnTo>
                    <a:pt x="146" y="22"/>
                  </a:lnTo>
                  <a:lnTo>
                    <a:pt x="153" y="24"/>
                  </a:lnTo>
                  <a:lnTo>
                    <a:pt x="159" y="24"/>
                  </a:lnTo>
                  <a:lnTo>
                    <a:pt x="161" y="24"/>
                  </a:lnTo>
                  <a:lnTo>
                    <a:pt x="166" y="24"/>
                  </a:lnTo>
                  <a:lnTo>
                    <a:pt x="168" y="24"/>
                  </a:lnTo>
                  <a:lnTo>
                    <a:pt x="170" y="23"/>
                  </a:lnTo>
                  <a:lnTo>
                    <a:pt x="171" y="22"/>
                  </a:lnTo>
                  <a:lnTo>
                    <a:pt x="172" y="21"/>
                  </a:lnTo>
                  <a:lnTo>
                    <a:pt x="175" y="18"/>
                  </a:lnTo>
                  <a:lnTo>
                    <a:pt x="176" y="18"/>
                  </a:lnTo>
                  <a:lnTo>
                    <a:pt x="177" y="16"/>
                  </a:lnTo>
                  <a:lnTo>
                    <a:pt x="177" y="15"/>
                  </a:lnTo>
                  <a:lnTo>
                    <a:pt x="178" y="10"/>
                  </a:lnTo>
                  <a:lnTo>
                    <a:pt x="179" y="8"/>
                  </a:lnTo>
                  <a:lnTo>
                    <a:pt x="180" y="6"/>
                  </a:lnTo>
                  <a:lnTo>
                    <a:pt x="182" y="5"/>
                  </a:lnTo>
                  <a:lnTo>
                    <a:pt x="182" y="3"/>
                  </a:lnTo>
                  <a:lnTo>
                    <a:pt x="184" y="2"/>
                  </a:lnTo>
                  <a:lnTo>
                    <a:pt x="186" y="0"/>
                  </a:lnTo>
                  <a:lnTo>
                    <a:pt x="187" y="0"/>
                  </a:lnTo>
                  <a:lnTo>
                    <a:pt x="188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90" y="1"/>
                  </a:lnTo>
                  <a:lnTo>
                    <a:pt x="191" y="7"/>
                  </a:lnTo>
                  <a:lnTo>
                    <a:pt x="192" y="9"/>
                  </a:lnTo>
                  <a:lnTo>
                    <a:pt x="193" y="11"/>
                  </a:lnTo>
                  <a:lnTo>
                    <a:pt x="194" y="14"/>
                  </a:lnTo>
                  <a:lnTo>
                    <a:pt x="197" y="17"/>
                  </a:lnTo>
                  <a:lnTo>
                    <a:pt x="199" y="18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1" name="Freeform 74">
              <a:extLst>
                <a:ext uri="{FF2B5EF4-FFF2-40B4-BE49-F238E27FC236}">
                  <a16:creationId xmlns:a16="http://schemas.microsoft.com/office/drawing/2014/main" id="{5B64AF48-5698-4776-8617-739E8C7C8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2" y="2827"/>
              <a:ext cx="561" cy="470"/>
            </a:xfrm>
            <a:custGeom>
              <a:avLst/>
              <a:gdLst>
                <a:gd name="T0" fmla="*/ 446 w 561"/>
                <a:gd name="T1" fmla="*/ 13 h 470"/>
                <a:gd name="T2" fmla="*/ 466 w 561"/>
                <a:gd name="T3" fmla="*/ 28 h 470"/>
                <a:gd name="T4" fmla="*/ 495 w 561"/>
                <a:gd name="T5" fmla="*/ 23 h 470"/>
                <a:gd name="T6" fmla="*/ 513 w 561"/>
                <a:gd name="T7" fmla="*/ 29 h 470"/>
                <a:gd name="T8" fmla="*/ 529 w 561"/>
                <a:gd name="T9" fmla="*/ 46 h 470"/>
                <a:gd name="T10" fmla="*/ 555 w 561"/>
                <a:gd name="T11" fmla="*/ 51 h 470"/>
                <a:gd name="T12" fmla="*/ 557 w 561"/>
                <a:gd name="T13" fmla="*/ 85 h 470"/>
                <a:gd name="T14" fmla="*/ 526 w 561"/>
                <a:gd name="T15" fmla="*/ 128 h 470"/>
                <a:gd name="T16" fmla="*/ 502 w 561"/>
                <a:gd name="T17" fmla="*/ 128 h 470"/>
                <a:gd name="T18" fmla="*/ 475 w 561"/>
                <a:gd name="T19" fmla="*/ 133 h 470"/>
                <a:gd name="T20" fmla="*/ 423 w 561"/>
                <a:gd name="T21" fmla="*/ 148 h 470"/>
                <a:gd name="T22" fmla="*/ 391 w 561"/>
                <a:gd name="T23" fmla="*/ 156 h 470"/>
                <a:gd name="T24" fmla="*/ 396 w 561"/>
                <a:gd name="T25" fmla="*/ 168 h 470"/>
                <a:gd name="T26" fmla="*/ 379 w 561"/>
                <a:gd name="T27" fmla="*/ 214 h 470"/>
                <a:gd name="T28" fmla="*/ 360 w 561"/>
                <a:gd name="T29" fmla="*/ 232 h 470"/>
                <a:gd name="T30" fmla="*/ 333 w 561"/>
                <a:gd name="T31" fmla="*/ 237 h 470"/>
                <a:gd name="T32" fmla="*/ 296 w 561"/>
                <a:gd name="T33" fmla="*/ 232 h 470"/>
                <a:gd name="T34" fmla="*/ 283 w 561"/>
                <a:gd name="T35" fmla="*/ 243 h 470"/>
                <a:gd name="T36" fmla="*/ 288 w 561"/>
                <a:gd name="T37" fmla="*/ 268 h 470"/>
                <a:gd name="T38" fmla="*/ 277 w 561"/>
                <a:gd name="T39" fmla="*/ 288 h 470"/>
                <a:gd name="T40" fmla="*/ 264 w 561"/>
                <a:gd name="T41" fmla="*/ 308 h 470"/>
                <a:gd name="T42" fmla="*/ 222 w 561"/>
                <a:gd name="T43" fmla="*/ 327 h 470"/>
                <a:gd name="T44" fmla="*/ 180 w 561"/>
                <a:gd name="T45" fmla="*/ 339 h 470"/>
                <a:gd name="T46" fmla="*/ 133 w 561"/>
                <a:gd name="T47" fmla="*/ 366 h 470"/>
                <a:gd name="T48" fmla="*/ 96 w 561"/>
                <a:gd name="T49" fmla="*/ 406 h 470"/>
                <a:gd name="T50" fmla="*/ 94 w 561"/>
                <a:gd name="T51" fmla="*/ 436 h 470"/>
                <a:gd name="T52" fmla="*/ 77 w 561"/>
                <a:gd name="T53" fmla="*/ 448 h 470"/>
                <a:gd name="T54" fmla="*/ 13 w 561"/>
                <a:gd name="T55" fmla="*/ 470 h 470"/>
                <a:gd name="T56" fmla="*/ 0 w 561"/>
                <a:gd name="T57" fmla="*/ 458 h 470"/>
                <a:gd name="T58" fmla="*/ 6 w 561"/>
                <a:gd name="T59" fmla="*/ 439 h 470"/>
                <a:gd name="T60" fmla="*/ 23 w 561"/>
                <a:gd name="T61" fmla="*/ 414 h 470"/>
                <a:gd name="T62" fmla="*/ 52 w 561"/>
                <a:gd name="T63" fmla="*/ 389 h 470"/>
                <a:gd name="T64" fmla="*/ 61 w 561"/>
                <a:gd name="T65" fmla="*/ 355 h 470"/>
                <a:gd name="T66" fmla="*/ 43 w 561"/>
                <a:gd name="T67" fmla="*/ 350 h 470"/>
                <a:gd name="T68" fmla="*/ 30 w 561"/>
                <a:gd name="T69" fmla="*/ 337 h 470"/>
                <a:gd name="T70" fmla="*/ 16 w 561"/>
                <a:gd name="T71" fmla="*/ 287 h 470"/>
                <a:gd name="T72" fmla="*/ 29 w 561"/>
                <a:gd name="T73" fmla="*/ 233 h 470"/>
                <a:gd name="T74" fmla="*/ 43 w 561"/>
                <a:gd name="T75" fmla="*/ 233 h 470"/>
                <a:gd name="T76" fmla="*/ 52 w 561"/>
                <a:gd name="T77" fmla="*/ 213 h 470"/>
                <a:gd name="T78" fmla="*/ 68 w 561"/>
                <a:gd name="T79" fmla="*/ 212 h 470"/>
                <a:gd name="T80" fmla="*/ 100 w 561"/>
                <a:gd name="T81" fmla="*/ 201 h 470"/>
                <a:gd name="T82" fmla="*/ 113 w 561"/>
                <a:gd name="T83" fmla="*/ 202 h 470"/>
                <a:gd name="T84" fmla="*/ 134 w 561"/>
                <a:gd name="T85" fmla="*/ 190 h 470"/>
                <a:gd name="T86" fmla="*/ 161 w 561"/>
                <a:gd name="T87" fmla="*/ 158 h 470"/>
                <a:gd name="T88" fmla="*/ 172 w 561"/>
                <a:gd name="T89" fmla="*/ 135 h 470"/>
                <a:gd name="T90" fmla="*/ 163 w 561"/>
                <a:gd name="T91" fmla="*/ 95 h 470"/>
                <a:gd name="T92" fmla="*/ 182 w 561"/>
                <a:gd name="T93" fmla="*/ 71 h 470"/>
                <a:gd name="T94" fmla="*/ 193 w 561"/>
                <a:gd name="T95" fmla="*/ 91 h 470"/>
                <a:gd name="T96" fmla="*/ 217 w 561"/>
                <a:gd name="T97" fmla="*/ 100 h 470"/>
                <a:gd name="T98" fmla="*/ 255 w 561"/>
                <a:gd name="T99" fmla="*/ 111 h 470"/>
                <a:gd name="T100" fmla="*/ 282 w 561"/>
                <a:gd name="T101" fmla="*/ 116 h 470"/>
                <a:gd name="T102" fmla="*/ 297 w 561"/>
                <a:gd name="T103" fmla="*/ 83 h 470"/>
                <a:gd name="T104" fmla="*/ 328 w 561"/>
                <a:gd name="T105" fmla="*/ 71 h 470"/>
                <a:gd name="T106" fmla="*/ 365 w 561"/>
                <a:gd name="T107" fmla="*/ 75 h 470"/>
                <a:gd name="T108" fmla="*/ 388 w 561"/>
                <a:gd name="T109" fmla="*/ 69 h 470"/>
                <a:gd name="T110" fmla="*/ 395 w 561"/>
                <a:gd name="T111" fmla="*/ 45 h 470"/>
                <a:gd name="T112" fmla="*/ 387 w 561"/>
                <a:gd name="T113" fmla="*/ 18 h 470"/>
                <a:gd name="T114" fmla="*/ 409 w 561"/>
                <a:gd name="T115" fmla="*/ 19 h 470"/>
                <a:gd name="T116" fmla="*/ 425 w 561"/>
                <a:gd name="T11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1" h="470">
                  <a:moveTo>
                    <a:pt x="425" y="0"/>
                  </a:moveTo>
                  <a:lnTo>
                    <a:pt x="426" y="0"/>
                  </a:lnTo>
                  <a:lnTo>
                    <a:pt x="429" y="0"/>
                  </a:lnTo>
                  <a:lnTo>
                    <a:pt x="431" y="0"/>
                  </a:lnTo>
                  <a:lnTo>
                    <a:pt x="432" y="1"/>
                  </a:lnTo>
                  <a:lnTo>
                    <a:pt x="433" y="2"/>
                  </a:lnTo>
                  <a:lnTo>
                    <a:pt x="436" y="4"/>
                  </a:lnTo>
                  <a:lnTo>
                    <a:pt x="442" y="8"/>
                  </a:lnTo>
                  <a:lnTo>
                    <a:pt x="443" y="9"/>
                  </a:lnTo>
                  <a:lnTo>
                    <a:pt x="445" y="12"/>
                  </a:lnTo>
                  <a:lnTo>
                    <a:pt x="446" y="13"/>
                  </a:lnTo>
                  <a:lnTo>
                    <a:pt x="447" y="15"/>
                  </a:lnTo>
                  <a:lnTo>
                    <a:pt x="448" y="16"/>
                  </a:lnTo>
                  <a:lnTo>
                    <a:pt x="449" y="18"/>
                  </a:lnTo>
                  <a:lnTo>
                    <a:pt x="450" y="19"/>
                  </a:lnTo>
                  <a:lnTo>
                    <a:pt x="451" y="21"/>
                  </a:lnTo>
                  <a:lnTo>
                    <a:pt x="453" y="23"/>
                  </a:lnTo>
                  <a:lnTo>
                    <a:pt x="455" y="25"/>
                  </a:lnTo>
                  <a:lnTo>
                    <a:pt x="456" y="26"/>
                  </a:lnTo>
                  <a:lnTo>
                    <a:pt x="462" y="28"/>
                  </a:lnTo>
                  <a:lnTo>
                    <a:pt x="465" y="28"/>
                  </a:lnTo>
                  <a:lnTo>
                    <a:pt x="466" y="28"/>
                  </a:lnTo>
                  <a:lnTo>
                    <a:pt x="468" y="29"/>
                  </a:lnTo>
                  <a:lnTo>
                    <a:pt x="469" y="29"/>
                  </a:lnTo>
                  <a:lnTo>
                    <a:pt x="471" y="28"/>
                  </a:lnTo>
                  <a:lnTo>
                    <a:pt x="473" y="28"/>
                  </a:lnTo>
                  <a:lnTo>
                    <a:pt x="476" y="28"/>
                  </a:lnTo>
                  <a:lnTo>
                    <a:pt x="481" y="26"/>
                  </a:lnTo>
                  <a:lnTo>
                    <a:pt x="483" y="25"/>
                  </a:lnTo>
                  <a:lnTo>
                    <a:pt x="487" y="24"/>
                  </a:lnTo>
                  <a:lnTo>
                    <a:pt x="490" y="24"/>
                  </a:lnTo>
                  <a:lnTo>
                    <a:pt x="492" y="23"/>
                  </a:lnTo>
                  <a:lnTo>
                    <a:pt x="495" y="23"/>
                  </a:lnTo>
                  <a:lnTo>
                    <a:pt x="497" y="22"/>
                  </a:lnTo>
                  <a:lnTo>
                    <a:pt x="498" y="21"/>
                  </a:lnTo>
                  <a:lnTo>
                    <a:pt x="499" y="20"/>
                  </a:lnTo>
                  <a:lnTo>
                    <a:pt x="500" y="19"/>
                  </a:lnTo>
                  <a:lnTo>
                    <a:pt x="500" y="18"/>
                  </a:lnTo>
                  <a:lnTo>
                    <a:pt x="500" y="17"/>
                  </a:lnTo>
                  <a:lnTo>
                    <a:pt x="500" y="17"/>
                  </a:lnTo>
                  <a:lnTo>
                    <a:pt x="501" y="18"/>
                  </a:lnTo>
                  <a:lnTo>
                    <a:pt x="506" y="23"/>
                  </a:lnTo>
                  <a:lnTo>
                    <a:pt x="509" y="26"/>
                  </a:lnTo>
                  <a:lnTo>
                    <a:pt x="513" y="29"/>
                  </a:lnTo>
                  <a:lnTo>
                    <a:pt x="516" y="33"/>
                  </a:lnTo>
                  <a:lnTo>
                    <a:pt x="518" y="35"/>
                  </a:lnTo>
                  <a:lnTo>
                    <a:pt x="520" y="37"/>
                  </a:lnTo>
                  <a:lnTo>
                    <a:pt x="521" y="39"/>
                  </a:lnTo>
                  <a:lnTo>
                    <a:pt x="523" y="42"/>
                  </a:lnTo>
                  <a:lnTo>
                    <a:pt x="523" y="43"/>
                  </a:lnTo>
                  <a:lnTo>
                    <a:pt x="523" y="44"/>
                  </a:lnTo>
                  <a:lnTo>
                    <a:pt x="525" y="45"/>
                  </a:lnTo>
                  <a:lnTo>
                    <a:pt x="526" y="45"/>
                  </a:lnTo>
                  <a:lnTo>
                    <a:pt x="527" y="46"/>
                  </a:lnTo>
                  <a:lnTo>
                    <a:pt x="529" y="46"/>
                  </a:lnTo>
                  <a:lnTo>
                    <a:pt x="532" y="46"/>
                  </a:lnTo>
                  <a:lnTo>
                    <a:pt x="537" y="46"/>
                  </a:lnTo>
                  <a:lnTo>
                    <a:pt x="543" y="45"/>
                  </a:lnTo>
                  <a:lnTo>
                    <a:pt x="545" y="45"/>
                  </a:lnTo>
                  <a:lnTo>
                    <a:pt x="546" y="45"/>
                  </a:lnTo>
                  <a:lnTo>
                    <a:pt x="547" y="46"/>
                  </a:lnTo>
                  <a:lnTo>
                    <a:pt x="549" y="46"/>
                  </a:lnTo>
                  <a:lnTo>
                    <a:pt x="551" y="47"/>
                  </a:lnTo>
                  <a:lnTo>
                    <a:pt x="553" y="49"/>
                  </a:lnTo>
                  <a:lnTo>
                    <a:pt x="554" y="50"/>
                  </a:lnTo>
                  <a:lnTo>
                    <a:pt x="555" y="51"/>
                  </a:lnTo>
                  <a:lnTo>
                    <a:pt x="557" y="54"/>
                  </a:lnTo>
                  <a:lnTo>
                    <a:pt x="558" y="56"/>
                  </a:lnTo>
                  <a:lnTo>
                    <a:pt x="559" y="59"/>
                  </a:lnTo>
                  <a:lnTo>
                    <a:pt x="560" y="62"/>
                  </a:lnTo>
                  <a:lnTo>
                    <a:pt x="560" y="62"/>
                  </a:lnTo>
                  <a:lnTo>
                    <a:pt x="561" y="64"/>
                  </a:lnTo>
                  <a:lnTo>
                    <a:pt x="561" y="68"/>
                  </a:lnTo>
                  <a:lnTo>
                    <a:pt x="560" y="71"/>
                  </a:lnTo>
                  <a:lnTo>
                    <a:pt x="558" y="80"/>
                  </a:lnTo>
                  <a:lnTo>
                    <a:pt x="558" y="83"/>
                  </a:lnTo>
                  <a:lnTo>
                    <a:pt x="557" y="85"/>
                  </a:lnTo>
                  <a:lnTo>
                    <a:pt x="557" y="88"/>
                  </a:lnTo>
                  <a:lnTo>
                    <a:pt x="555" y="91"/>
                  </a:lnTo>
                  <a:lnTo>
                    <a:pt x="552" y="96"/>
                  </a:lnTo>
                  <a:lnTo>
                    <a:pt x="548" y="101"/>
                  </a:lnTo>
                  <a:lnTo>
                    <a:pt x="546" y="104"/>
                  </a:lnTo>
                  <a:lnTo>
                    <a:pt x="536" y="118"/>
                  </a:lnTo>
                  <a:lnTo>
                    <a:pt x="534" y="120"/>
                  </a:lnTo>
                  <a:lnTo>
                    <a:pt x="531" y="123"/>
                  </a:lnTo>
                  <a:lnTo>
                    <a:pt x="528" y="126"/>
                  </a:lnTo>
                  <a:lnTo>
                    <a:pt x="527" y="127"/>
                  </a:lnTo>
                  <a:lnTo>
                    <a:pt x="526" y="128"/>
                  </a:lnTo>
                  <a:lnTo>
                    <a:pt x="524" y="129"/>
                  </a:lnTo>
                  <a:lnTo>
                    <a:pt x="523" y="129"/>
                  </a:lnTo>
                  <a:lnTo>
                    <a:pt x="521" y="130"/>
                  </a:lnTo>
                  <a:lnTo>
                    <a:pt x="519" y="130"/>
                  </a:lnTo>
                  <a:lnTo>
                    <a:pt x="512" y="130"/>
                  </a:lnTo>
                  <a:lnTo>
                    <a:pt x="510" y="130"/>
                  </a:lnTo>
                  <a:lnTo>
                    <a:pt x="508" y="130"/>
                  </a:lnTo>
                  <a:lnTo>
                    <a:pt x="507" y="130"/>
                  </a:lnTo>
                  <a:lnTo>
                    <a:pt x="506" y="130"/>
                  </a:lnTo>
                  <a:lnTo>
                    <a:pt x="505" y="130"/>
                  </a:lnTo>
                  <a:lnTo>
                    <a:pt x="502" y="128"/>
                  </a:lnTo>
                  <a:lnTo>
                    <a:pt x="501" y="127"/>
                  </a:lnTo>
                  <a:lnTo>
                    <a:pt x="498" y="126"/>
                  </a:lnTo>
                  <a:lnTo>
                    <a:pt x="494" y="126"/>
                  </a:lnTo>
                  <a:lnTo>
                    <a:pt x="493" y="125"/>
                  </a:lnTo>
                  <a:lnTo>
                    <a:pt x="492" y="125"/>
                  </a:lnTo>
                  <a:lnTo>
                    <a:pt x="491" y="124"/>
                  </a:lnTo>
                  <a:lnTo>
                    <a:pt x="489" y="122"/>
                  </a:lnTo>
                  <a:lnTo>
                    <a:pt x="487" y="123"/>
                  </a:lnTo>
                  <a:lnTo>
                    <a:pt x="481" y="128"/>
                  </a:lnTo>
                  <a:lnTo>
                    <a:pt x="478" y="131"/>
                  </a:lnTo>
                  <a:lnTo>
                    <a:pt x="475" y="133"/>
                  </a:lnTo>
                  <a:lnTo>
                    <a:pt x="471" y="136"/>
                  </a:lnTo>
                  <a:lnTo>
                    <a:pt x="466" y="139"/>
                  </a:lnTo>
                  <a:lnTo>
                    <a:pt x="462" y="141"/>
                  </a:lnTo>
                  <a:lnTo>
                    <a:pt x="457" y="143"/>
                  </a:lnTo>
                  <a:lnTo>
                    <a:pt x="454" y="144"/>
                  </a:lnTo>
                  <a:lnTo>
                    <a:pt x="450" y="145"/>
                  </a:lnTo>
                  <a:lnTo>
                    <a:pt x="446" y="146"/>
                  </a:lnTo>
                  <a:lnTo>
                    <a:pt x="443" y="146"/>
                  </a:lnTo>
                  <a:lnTo>
                    <a:pt x="437" y="146"/>
                  </a:lnTo>
                  <a:lnTo>
                    <a:pt x="434" y="147"/>
                  </a:lnTo>
                  <a:lnTo>
                    <a:pt x="423" y="148"/>
                  </a:lnTo>
                  <a:lnTo>
                    <a:pt x="421" y="149"/>
                  </a:lnTo>
                  <a:lnTo>
                    <a:pt x="412" y="149"/>
                  </a:lnTo>
                  <a:lnTo>
                    <a:pt x="409" y="150"/>
                  </a:lnTo>
                  <a:lnTo>
                    <a:pt x="407" y="150"/>
                  </a:lnTo>
                  <a:lnTo>
                    <a:pt x="402" y="151"/>
                  </a:lnTo>
                  <a:lnTo>
                    <a:pt x="400" y="152"/>
                  </a:lnTo>
                  <a:lnTo>
                    <a:pt x="398" y="153"/>
                  </a:lnTo>
                  <a:lnTo>
                    <a:pt x="397" y="153"/>
                  </a:lnTo>
                  <a:lnTo>
                    <a:pt x="395" y="154"/>
                  </a:lnTo>
                  <a:lnTo>
                    <a:pt x="393" y="155"/>
                  </a:lnTo>
                  <a:lnTo>
                    <a:pt x="391" y="156"/>
                  </a:lnTo>
                  <a:lnTo>
                    <a:pt x="390" y="158"/>
                  </a:lnTo>
                  <a:lnTo>
                    <a:pt x="389" y="159"/>
                  </a:lnTo>
                  <a:lnTo>
                    <a:pt x="389" y="160"/>
                  </a:lnTo>
                  <a:lnTo>
                    <a:pt x="389" y="161"/>
                  </a:lnTo>
                  <a:lnTo>
                    <a:pt x="389" y="162"/>
                  </a:lnTo>
                  <a:lnTo>
                    <a:pt x="389" y="163"/>
                  </a:lnTo>
                  <a:lnTo>
                    <a:pt x="390" y="164"/>
                  </a:lnTo>
                  <a:lnTo>
                    <a:pt x="391" y="164"/>
                  </a:lnTo>
                  <a:lnTo>
                    <a:pt x="392" y="165"/>
                  </a:lnTo>
                  <a:lnTo>
                    <a:pt x="395" y="167"/>
                  </a:lnTo>
                  <a:lnTo>
                    <a:pt x="396" y="168"/>
                  </a:lnTo>
                  <a:lnTo>
                    <a:pt x="397" y="169"/>
                  </a:lnTo>
                  <a:lnTo>
                    <a:pt x="397" y="170"/>
                  </a:lnTo>
                  <a:lnTo>
                    <a:pt x="397" y="172"/>
                  </a:lnTo>
                  <a:lnTo>
                    <a:pt x="396" y="174"/>
                  </a:lnTo>
                  <a:lnTo>
                    <a:pt x="395" y="177"/>
                  </a:lnTo>
                  <a:lnTo>
                    <a:pt x="394" y="181"/>
                  </a:lnTo>
                  <a:lnTo>
                    <a:pt x="392" y="187"/>
                  </a:lnTo>
                  <a:lnTo>
                    <a:pt x="387" y="198"/>
                  </a:lnTo>
                  <a:lnTo>
                    <a:pt x="383" y="209"/>
                  </a:lnTo>
                  <a:lnTo>
                    <a:pt x="381" y="211"/>
                  </a:lnTo>
                  <a:lnTo>
                    <a:pt x="379" y="214"/>
                  </a:lnTo>
                  <a:lnTo>
                    <a:pt x="375" y="218"/>
                  </a:lnTo>
                  <a:lnTo>
                    <a:pt x="374" y="220"/>
                  </a:lnTo>
                  <a:lnTo>
                    <a:pt x="373" y="221"/>
                  </a:lnTo>
                  <a:lnTo>
                    <a:pt x="371" y="224"/>
                  </a:lnTo>
                  <a:lnTo>
                    <a:pt x="370" y="226"/>
                  </a:lnTo>
                  <a:lnTo>
                    <a:pt x="369" y="227"/>
                  </a:lnTo>
                  <a:lnTo>
                    <a:pt x="368" y="228"/>
                  </a:lnTo>
                  <a:lnTo>
                    <a:pt x="366" y="229"/>
                  </a:lnTo>
                  <a:lnTo>
                    <a:pt x="364" y="230"/>
                  </a:lnTo>
                  <a:lnTo>
                    <a:pt x="362" y="231"/>
                  </a:lnTo>
                  <a:lnTo>
                    <a:pt x="360" y="232"/>
                  </a:lnTo>
                  <a:lnTo>
                    <a:pt x="358" y="232"/>
                  </a:lnTo>
                  <a:lnTo>
                    <a:pt x="357" y="232"/>
                  </a:lnTo>
                  <a:lnTo>
                    <a:pt x="355" y="232"/>
                  </a:lnTo>
                  <a:lnTo>
                    <a:pt x="349" y="231"/>
                  </a:lnTo>
                  <a:lnTo>
                    <a:pt x="347" y="231"/>
                  </a:lnTo>
                  <a:lnTo>
                    <a:pt x="346" y="231"/>
                  </a:lnTo>
                  <a:lnTo>
                    <a:pt x="345" y="232"/>
                  </a:lnTo>
                  <a:lnTo>
                    <a:pt x="343" y="232"/>
                  </a:lnTo>
                  <a:lnTo>
                    <a:pt x="338" y="235"/>
                  </a:lnTo>
                  <a:lnTo>
                    <a:pt x="336" y="236"/>
                  </a:lnTo>
                  <a:lnTo>
                    <a:pt x="333" y="237"/>
                  </a:lnTo>
                  <a:lnTo>
                    <a:pt x="330" y="238"/>
                  </a:lnTo>
                  <a:lnTo>
                    <a:pt x="329" y="238"/>
                  </a:lnTo>
                  <a:lnTo>
                    <a:pt x="327" y="238"/>
                  </a:lnTo>
                  <a:lnTo>
                    <a:pt x="324" y="237"/>
                  </a:lnTo>
                  <a:lnTo>
                    <a:pt x="321" y="237"/>
                  </a:lnTo>
                  <a:lnTo>
                    <a:pt x="318" y="236"/>
                  </a:lnTo>
                  <a:lnTo>
                    <a:pt x="313" y="234"/>
                  </a:lnTo>
                  <a:lnTo>
                    <a:pt x="310" y="233"/>
                  </a:lnTo>
                  <a:lnTo>
                    <a:pt x="307" y="233"/>
                  </a:lnTo>
                  <a:lnTo>
                    <a:pt x="301" y="233"/>
                  </a:lnTo>
                  <a:lnTo>
                    <a:pt x="296" y="232"/>
                  </a:lnTo>
                  <a:lnTo>
                    <a:pt x="295" y="233"/>
                  </a:lnTo>
                  <a:lnTo>
                    <a:pt x="294" y="233"/>
                  </a:lnTo>
                  <a:lnTo>
                    <a:pt x="292" y="233"/>
                  </a:lnTo>
                  <a:lnTo>
                    <a:pt x="290" y="234"/>
                  </a:lnTo>
                  <a:lnTo>
                    <a:pt x="288" y="235"/>
                  </a:lnTo>
                  <a:lnTo>
                    <a:pt x="287" y="236"/>
                  </a:lnTo>
                  <a:lnTo>
                    <a:pt x="285" y="237"/>
                  </a:lnTo>
                  <a:lnTo>
                    <a:pt x="284" y="238"/>
                  </a:lnTo>
                  <a:lnTo>
                    <a:pt x="284" y="240"/>
                  </a:lnTo>
                  <a:lnTo>
                    <a:pt x="283" y="241"/>
                  </a:lnTo>
                  <a:lnTo>
                    <a:pt x="283" y="243"/>
                  </a:lnTo>
                  <a:lnTo>
                    <a:pt x="282" y="244"/>
                  </a:lnTo>
                  <a:lnTo>
                    <a:pt x="282" y="246"/>
                  </a:lnTo>
                  <a:lnTo>
                    <a:pt x="282" y="247"/>
                  </a:lnTo>
                  <a:lnTo>
                    <a:pt x="282" y="249"/>
                  </a:lnTo>
                  <a:lnTo>
                    <a:pt x="282" y="251"/>
                  </a:lnTo>
                  <a:lnTo>
                    <a:pt x="283" y="253"/>
                  </a:lnTo>
                  <a:lnTo>
                    <a:pt x="283" y="255"/>
                  </a:lnTo>
                  <a:lnTo>
                    <a:pt x="284" y="258"/>
                  </a:lnTo>
                  <a:lnTo>
                    <a:pt x="287" y="264"/>
                  </a:lnTo>
                  <a:lnTo>
                    <a:pt x="288" y="266"/>
                  </a:lnTo>
                  <a:lnTo>
                    <a:pt x="288" y="268"/>
                  </a:lnTo>
                  <a:lnTo>
                    <a:pt x="289" y="272"/>
                  </a:lnTo>
                  <a:lnTo>
                    <a:pt x="289" y="276"/>
                  </a:lnTo>
                  <a:lnTo>
                    <a:pt x="289" y="277"/>
                  </a:lnTo>
                  <a:lnTo>
                    <a:pt x="288" y="278"/>
                  </a:lnTo>
                  <a:lnTo>
                    <a:pt x="288" y="279"/>
                  </a:lnTo>
                  <a:lnTo>
                    <a:pt x="287" y="280"/>
                  </a:lnTo>
                  <a:lnTo>
                    <a:pt x="286" y="282"/>
                  </a:lnTo>
                  <a:lnTo>
                    <a:pt x="285" y="283"/>
                  </a:lnTo>
                  <a:lnTo>
                    <a:pt x="284" y="284"/>
                  </a:lnTo>
                  <a:lnTo>
                    <a:pt x="280" y="286"/>
                  </a:lnTo>
                  <a:lnTo>
                    <a:pt x="277" y="288"/>
                  </a:lnTo>
                  <a:lnTo>
                    <a:pt x="275" y="289"/>
                  </a:lnTo>
                  <a:lnTo>
                    <a:pt x="274" y="290"/>
                  </a:lnTo>
                  <a:lnTo>
                    <a:pt x="273" y="292"/>
                  </a:lnTo>
                  <a:lnTo>
                    <a:pt x="273" y="293"/>
                  </a:lnTo>
                  <a:lnTo>
                    <a:pt x="272" y="295"/>
                  </a:lnTo>
                  <a:lnTo>
                    <a:pt x="271" y="300"/>
                  </a:lnTo>
                  <a:lnTo>
                    <a:pt x="270" y="301"/>
                  </a:lnTo>
                  <a:lnTo>
                    <a:pt x="269" y="302"/>
                  </a:lnTo>
                  <a:lnTo>
                    <a:pt x="268" y="304"/>
                  </a:lnTo>
                  <a:lnTo>
                    <a:pt x="266" y="306"/>
                  </a:lnTo>
                  <a:lnTo>
                    <a:pt x="264" y="308"/>
                  </a:lnTo>
                  <a:lnTo>
                    <a:pt x="262" y="309"/>
                  </a:lnTo>
                  <a:lnTo>
                    <a:pt x="260" y="311"/>
                  </a:lnTo>
                  <a:lnTo>
                    <a:pt x="257" y="312"/>
                  </a:lnTo>
                  <a:lnTo>
                    <a:pt x="253" y="315"/>
                  </a:lnTo>
                  <a:lnTo>
                    <a:pt x="250" y="316"/>
                  </a:lnTo>
                  <a:lnTo>
                    <a:pt x="246" y="318"/>
                  </a:lnTo>
                  <a:lnTo>
                    <a:pt x="235" y="322"/>
                  </a:lnTo>
                  <a:lnTo>
                    <a:pt x="229" y="323"/>
                  </a:lnTo>
                  <a:lnTo>
                    <a:pt x="226" y="324"/>
                  </a:lnTo>
                  <a:lnTo>
                    <a:pt x="224" y="326"/>
                  </a:lnTo>
                  <a:lnTo>
                    <a:pt x="222" y="327"/>
                  </a:lnTo>
                  <a:lnTo>
                    <a:pt x="221" y="328"/>
                  </a:lnTo>
                  <a:lnTo>
                    <a:pt x="220" y="329"/>
                  </a:lnTo>
                  <a:lnTo>
                    <a:pt x="219" y="329"/>
                  </a:lnTo>
                  <a:lnTo>
                    <a:pt x="217" y="330"/>
                  </a:lnTo>
                  <a:lnTo>
                    <a:pt x="216" y="331"/>
                  </a:lnTo>
                  <a:lnTo>
                    <a:pt x="214" y="332"/>
                  </a:lnTo>
                  <a:lnTo>
                    <a:pt x="211" y="333"/>
                  </a:lnTo>
                  <a:lnTo>
                    <a:pt x="198" y="334"/>
                  </a:lnTo>
                  <a:lnTo>
                    <a:pt x="189" y="336"/>
                  </a:lnTo>
                  <a:lnTo>
                    <a:pt x="184" y="337"/>
                  </a:lnTo>
                  <a:lnTo>
                    <a:pt x="180" y="339"/>
                  </a:lnTo>
                  <a:lnTo>
                    <a:pt x="176" y="340"/>
                  </a:lnTo>
                  <a:lnTo>
                    <a:pt x="172" y="342"/>
                  </a:lnTo>
                  <a:lnTo>
                    <a:pt x="169" y="344"/>
                  </a:lnTo>
                  <a:lnTo>
                    <a:pt x="165" y="346"/>
                  </a:lnTo>
                  <a:lnTo>
                    <a:pt x="161" y="347"/>
                  </a:lnTo>
                  <a:lnTo>
                    <a:pt x="154" y="352"/>
                  </a:lnTo>
                  <a:lnTo>
                    <a:pt x="146" y="357"/>
                  </a:lnTo>
                  <a:lnTo>
                    <a:pt x="141" y="359"/>
                  </a:lnTo>
                  <a:lnTo>
                    <a:pt x="138" y="361"/>
                  </a:lnTo>
                  <a:lnTo>
                    <a:pt x="136" y="363"/>
                  </a:lnTo>
                  <a:lnTo>
                    <a:pt x="133" y="366"/>
                  </a:lnTo>
                  <a:lnTo>
                    <a:pt x="130" y="368"/>
                  </a:lnTo>
                  <a:lnTo>
                    <a:pt x="121" y="379"/>
                  </a:lnTo>
                  <a:lnTo>
                    <a:pt x="118" y="381"/>
                  </a:lnTo>
                  <a:lnTo>
                    <a:pt x="112" y="388"/>
                  </a:lnTo>
                  <a:lnTo>
                    <a:pt x="105" y="393"/>
                  </a:lnTo>
                  <a:lnTo>
                    <a:pt x="103" y="395"/>
                  </a:lnTo>
                  <a:lnTo>
                    <a:pt x="101" y="398"/>
                  </a:lnTo>
                  <a:lnTo>
                    <a:pt x="99" y="401"/>
                  </a:lnTo>
                  <a:lnTo>
                    <a:pt x="98" y="402"/>
                  </a:lnTo>
                  <a:lnTo>
                    <a:pt x="97" y="404"/>
                  </a:lnTo>
                  <a:lnTo>
                    <a:pt x="96" y="406"/>
                  </a:lnTo>
                  <a:lnTo>
                    <a:pt x="95" y="409"/>
                  </a:lnTo>
                  <a:lnTo>
                    <a:pt x="95" y="412"/>
                  </a:lnTo>
                  <a:lnTo>
                    <a:pt x="95" y="414"/>
                  </a:lnTo>
                  <a:lnTo>
                    <a:pt x="96" y="415"/>
                  </a:lnTo>
                  <a:lnTo>
                    <a:pt x="97" y="422"/>
                  </a:lnTo>
                  <a:lnTo>
                    <a:pt x="97" y="423"/>
                  </a:lnTo>
                  <a:lnTo>
                    <a:pt x="97" y="425"/>
                  </a:lnTo>
                  <a:lnTo>
                    <a:pt x="97" y="427"/>
                  </a:lnTo>
                  <a:lnTo>
                    <a:pt x="96" y="431"/>
                  </a:lnTo>
                  <a:lnTo>
                    <a:pt x="95" y="433"/>
                  </a:lnTo>
                  <a:lnTo>
                    <a:pt x="94" y="436"/>
                  </a:lnTo>
                  <a:lnTo>
                    <a:pt x="92" y="437"/>
                  </a:lnTo>
                  <a:lnTo>
                    <a:pt x="91" y="439"/>
                  </a:lnTo>
                  <a:lnTo>
                    <a:pt x="91" y="440"/>
                  </a:lnTo>
                  <a:lnTo>
                    <a:pt x="89" y="442"/>
                  </a:lnTo>
                  <a:lnTo>
                    <a:pt x="88" y="443"/>
                  </a:lnTo>
                  <a:lnTo>
                    <a:pt x="85" y="445"/>
                  </a:lnTo>
                  <a:lnTo>
                    <a:pt x="82" y="446"/>
                  </a:lnTo>
                  <a:lnTo>
                    <a:pt x="80" y="447"/>
                  </a:lnTo>
                  <a:lnTo>
                    <a:pt x="79" y="448"/>
                  </a:lnTo>
                  <a:lnTo>
                    <a:pt x="78" y="448"/>
                  </a:lnTo>
                  <a:lnTo>
                    <a:pt x="77" y="448"/>
                  </a:lnTo>
                  <a:lnTo>
                    <a:pt x="76" y="448"/>
                  </a:lnTo>
                  <a:lnTo>
                    <a:pt x="75" y="448"/>
                  </a:lnTo>
                  <a:lnTo>
                    <a:pt x="70" y="449"/>
                  </a:lnTo>
                  <a:lnTo>
                    <a:pt x="66" y="451"/>
                  </a:lnTo>
                  <a:lnTo>
                    <a:pt x="55" y="457"/>
                  </a:lnTo>
                  <a:lnTo>
                    <a:pt x="49" y="459"/>
                  </a:lnTo>
                  <a:lnTo>
                    <a:pt x="27" y="468"/>
                  </a:lnTo>
                  <a:lnTo>
                    <a:pt x="23" y="469"/>
                  </a:lnTo>
                  <a:lnTo>
                    <a:pt x="21" y="470"/>
                  </a:lnTo>
                  <a:lnTo>
                    <a:pt x="18" y="470"/>
                  </a:lnTo>
                  <a:lnTo>
                    <a:pt x="13" y="470"/>
                  </a:lnTo>
                  <a:lnTo>
                    <a:pt x="11" y="470"/>
                  </a:lnTo>
                  <a:lnTo>
                    <a:pt x="9" y="470"/>
                  </a:lnTo>
                  <a:lnTo>
                    <a:pt x="6" y="469"/>
                  </a:lnTo>
                  <a:lnTo>
                    <a:pt x="4" y="469"/>
                  </a:lnTo>
                  <a:lnTo>
                    <a:pt x="3" y="468"/>
                  </a:lnTo>
                  <a:lnTo>
                    <a:pt x="3" y="467"/>
                  </a:lnTo>
                  <a:lnTo>
                    <a:pt x="2" y="466"/>
                  </a:lnTo>
                  <a:lnTo>
                    <a:pt x="1" y="466"/>
                  </a:lnTo>
                  <a:lnTo>
                    <a:pt x="1" y="464"/>
                  </a:lnTo>
                  <a:lnTo>
                    <a:pt x="1" y="462"/>
                  </a:lnTo>
                  <a:lnTo>
                    <a:pt x="0" y="458"/>
                  </a:lnTo>
                  <a:lnTo>
                    <a:pt x="0" y="452"/>
                  </a:lnTo>
                  <a:lnTo>
                    <a:pt x="0" y="450"/>
                  </a:lnTo>
                  <a:lnTo>
                    <a:pt x="0" y="448"/>
                  </a:lnTo>
                  <a:lnTo>
                    <a:pt x="0" y="446"/>
                  </a:lnTo>
                  <a:lnTo>
                    <a:pt x="0" y="444"/>
                  </a:lnTo>
                  <a:lnTo>
                    <a:pt x="1" y="443"/>
                  </a:lnTo>
                  <a:lnTo>
                    <a:pt x="2" y="442"/>
                  </a:lnTo>
                  <a:lnTo>
                    <a:pt x="2" y="441"/>
                  </a:lnTo>
                  <a:lnTo>
                    <a:pt x="3" y="440"/>
                  </a:lnTo>
                  <a:lnTo>
                    <a:pt x="5" y="439"/>
                  </a:lnTo>
                  <a:lnTo>
                    <a:pt x="6" y="439"/>
                  </a:lnTo>
                  <a:lnTo>
                    <a:pt x="11" y="437"/>
                  </a:lnTo>
                  <a:lnTo>
                    <a:pt x="13" y="436"/>
                  </a:lnTo>
                  <a:lnTo>
                    <a:pt x="14" y="435"/>
                  </a:lnTo>
                  <a:lnTo>
                    <a:pt x="16" y="434"/>
                  </a:lnTo>
                  <a:lnTo>
                    <a:pt x="16" y="433"/>
                  </a:lnTo>
                  <a:lnTo>
                    <a:pt x="17" y="432"/>
                  </a:lnTo>
                  <a:lnTo>
                    <a:pt x="18" y="430"/>
                  </a:lnTo>
                  <a:lnTo>
                    <a:pt x="19" y="428"/>
                  </a:lnTo>
                  <a:lnTo>
                    <a:pt x="21" y="424"/>
                  </a:lnTo>
                  <a:lnTo>
                    <a:pt x="22" y="421"/>
                  </a:lnTo>
                  <a:lnTo>
                    <a:pt x="23" y="414"/>
                  </a:lnTo>
                  <a:lnTo>
                    <a:pt x="26" y="402"/>
                  </a:lnTo>
                  <a:lnTo>
                    <a:pt x="26" y="401"/>
                  </a:lnTo>
                  <a:lnTo>
                    <a:pt x="27" y="401"/>
                  </a:lnTo>
                  <a:lnTo>
                    <a:pt x="29" y="401"/>
                  </a:lnTo>
                  <a:lnTo>
                    <a:pt x="33" y="400"/>
                  </a:lnTo>
                  <a:lnTo>
                    <a:pt x="36" y="399"/>
                  </a:lnTo>
                  <a:lnTo>
                    <a:pt x="40" y="397"/>
                  </a:lnTo>
                  <a:lnTo>
                    <a:pt x="44" y="395"/>
                  </a:lnTo>
                  <a:lnTo>
                    <a:pt x="47" y="392"/>
                  </a:lnTo>
                  <a:lnTo>
                    <a:pt x="50" y="391"/>
                  </a:lnTo>
                  <a:lnTo>
                    <a:pt x="52" y="389"/>
                  </a:lnTo>
                  <a:lnTo>
                    <a:pt x="54" y="386"/>
                  </a:lnTo>
                  <a:lnTo>
                    <a:pt x="56" y="382"/>
                  </a:lnTo>
                  <a:lnTo>
                    <a:pt x="57" y="380"/>
                  </a:lnTo>
                  <a:lnTo>
                    <a:pt x="58" y="377"/>
                  </a:lnTo>
                  <a:lnTo>
                    <a:pt x="60" y="371"/>
                  </a:lnTo>
                  <a:lnTo>
                    <a:pt x="61" y="368"/>
                  </a:lnTo>
                  <a:lnTo>
                    <a:pt x="62" y="364"/>
                  </a:lnTo>
                  <a:lnTo>
                    <a:pt x="62" y="360"/>
                  </a:lnTo>
                  <a:lnTo>
                    <a:pt x="62" y="357"/>
                  </a:lnTo>
                  <a:lnTo>
                    <a:pt x="62" y="356"/>
                  </a:lnTo>
                  <a:lnTo>
                    <a:pt x="61" y="355"/>
                  </a:lnTo>
                  <a:lnTo>
                    <a:pt x="61" y="353"/>
                  </a:lnTo>
                  <a:lnTo>
                    <a:pt x="60" y="352"/>
                  </a:lnTo>
                  <a:lnTo>
                    <a:pt x="59" y="351"/>
                  </a:lnTo>
                  <a:lnTo>
                    <a:pt x="58" y="350"/>
                  </a:lnTo>
                  <a:lnTo>
                    <a:pt x="57" y="349"/>
                  </a:lnTo>
                  <a:lnTo>
                    <a:pt x="57" y="349"/>
                  </a:lnTo>
                  <a:lnTo>
                    <a:pt x="55" y="349"/>
                  </a:lnTo>
                  <a:lnTo>
                    <a:pt x="53" y="349"/>
                  </a:lnTo>
                  <a:lnTo>
                    <a:pt x="49" y="350"/>
                  </a:lnTo>
                  <a:lnTo>
                    <a:pt x="46" y="350"/>
                  </a:lnTo>
                  <a:lnTo>
                    <a:pt x="43" y="350"/>
                  </a:lnTo>
                  <a:lnTo>
                    <a:pt x="36" y="350"/>
                  </a:lnTo>
                  <a:lnTo>
                    <a:pt x="34" y="350"/>
                  </a:lnTo>
                  <a:lnTo>
                    <a:pt x="33" y="349"/>
                  </a:lnTo>
                  <a:lnTo>
                    <a:pt x="31" y="349"/>
                  </a:lnTo>
                  <a:lnTo>
                    <a:pt x="30" y="348"/>
                  </a:lnTo>
                  <a:lnTo>
                    <a:pt x="30" y="347"/>
                  </a:lnTo>
                  <a:lnTo>
                    <a:pt x="30" y="346"/>
                  </a:lnTo>
                  <a:lnTo>
                    <a:pt x="29" y="345"/>
                  </a:lnTo>
                  <a:lnTo>
                    <a:pt x="29" y="343"/>
                  </a:lnTo>
                  <a:lnTo>
                    <a:pt x="30" y="338"/>
                  </a:lnTo>
                  <a:lnTo>
                    <a:pt x="30" y="337"/>
                  </a:lnTo>
                  <a:lnTo>
                    <a:pt x="29" y="334"/>
                  </a:lnTo>
                  <a:lnTo>
                    <a:pt x="29" y="333"/>
                  </a:lnTo>
                  <a:lnTo>
                    <a:pt x="28" y="330"/>
                  </a:lnTo>
                  <a:lnTo>
                    <a:pt x="25" y="323"/>
                  </a:lnTo>
                  <a:lnTo>
                    <a:pt x="21" y="312"/>
                  </a:lnTo>
                  <a:lnTo>
                    <a:pt x="19" y="308"/>
                  </a:lnTo>
                  <a:lnTo>
                    <a:pt x="18" y="305"/>
                  </a:lnTo>
                  <a:lnTo>
                    <a:pt x="18" y="302"/>
                  </a:lnTo>
                  <a:lnTo>
                    <a:pt x="17" y="300"/>
                  </a:lnTo>
                  <a:lnTo>
                    <a:pt x="17" y="290"/>
                  </a:lnTo>
                  <a:lnTo>
                    <a:pt x="16" y="287"/>
                  </a:lnTo>
                  <a:lnTo>
                    <a:pt x="15" y="283"/>
                  </a:lnTo>
                  <a:lnTo>
                    <a:pt x="14" y="276"/>
                  </a:lnTo>
                  <a:lnTo>
                    <a:pt x="13" y="273"/>
                  </a:lnTo>
                  <a:lnTo>
                    <a:pt x="13" y="270"/>
                  </a:lnTo>
                  <a:lnTo>
                    <a:pt x="13" y="266"/>
                  </a:lnTo>
                  <a:lnTo>
                    <a:pt x="14" y="264"/>
                  </a:lnTo>
                  <a:lnTo>
                    <a:pt x="15" y="262"/>
                  </a:lnTo>
                  <a:lnTo>
                    <a:pt x="16" y="259"/>
                  </a:lnTo>
                  <a:lnTo>
                    <a:pt x="17" y="255"/>
                  </a:lnTo>
                  <a:lnTo>
                    <a:pt x="20" y="250"/>
                  </a:lnTo>
                  <a:lnTo>
                    <a:pt x="29" y="233"/>
                  </a:lnTo>
                  <a:lnTo>
                    <a:pt x="30" y="234"/>
                  </a:lnTo>
                  <a:lnTo>
                    <a:pt x="32" y="235"/>
                  </a:lnTo>
                  <a:lnTo>
                    <a:pt x="33" y="236"/>
                  </a:lnTo>
                  <a:lnTo>
                    <a:pt x="35" y="237"/>
                  </a:lnTo>
                  <a:lnTo>
                    <a:pt x="37" y="237"/>
                  </a:lnTo>
                  <a:lnTo>
                    <a:pt x="38" y="237"/>
                  </a:lnTo>
                  <a:lnTo>
                    <a:pt x="40" y="237"/>
                  </a:lnTo>
                  <a:lnTo>
                    <a:pt x="40" y="236"/>
                  </a:lnTo>
                  <a:lnTo>
                    <a:pt x="41" y="236"/>
                  </a:lnTo>
                  <a:lnTo>
                    <a:pt x="42" y="234"/>
                  </a:lnTo>
                  <a:lnTo>
                    <a:pt x="43" y="233"/>
                  </a:lnTo>
                  <a:lnTo>
                    <a:pt x="43" y="232"/>
                  </a:lnTo>
                  <a:lnTo>
                    <a:pt x="44" y="230"/>
                  </a:lnTo>
                  <a:lnTo>
                    <a:pt x="44" y="226"/>
                  </a:lnTo>
                  <a:lnTo>
                    <a:pt x="44" y="224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6" y="219"/>
                  </a:lnTo>
                  <a:lnTo>
                    <a:pt x="47" y="218"/>
                  </a:lnTo>
                  <a:lnTo>
                    <a:pt x="48" y="217"/>
                  </a:lnTo>
                  <a:lnTo>
                    <a:pt x="51" y="214"/>
                  </a:lnTo>
                  <a:lnTo>
                    <a:pt x="52" y="213"/>
                  </a:lnTo>
                  <a:lnTo>
                    <a:pt x="54" y="210"/>
                  </a:lnTo>
                  <a:lnTo>
                    <a:pt x="55" y="210"/>
                  </a:lnTo>
                  <a:lnTo>
                    <a:pt x="56" y="210"/>
                  </a:lnTo>
                  <a:lnTo>
                    <a:pt x="57" y="210"/>
                  </a:lnTo>
                  <a:lnTo>
                    <a:pt x="58" y="210"/>
                  </a:lnTo>
                  <a:lnTo>
                    <a:pt x="59" y="210"/>
                  </a:lnTo>
                  <a:lnTo>
                    <a:pt x="63" y="211"/>
                  </a:lnTo>
                  <a:lnTo>
                    <a:pt x="65" y="212"/>
                  </a:lnTo>
                  <a:lnTo>
                    <a:pt x="67" y="212"/>
                  </a:lnTo>
                  <a:lnTo>
                    <a:pt x="68" y="212"/>
                  </a:lnTo>
                  <a:lnTo>
                    <a:pt x="68" y="212"/>
                  </a:lnTo>
                  <a:lnTo>
                    <a:pt x="69" y="211"/>
                  </a:lnTo>
                  <a:lnTo>
                    <a:pt x="73" y="210"/>
                  </a:lnTo>
                  <a:lnTo>
                    <a:pt x="79" y="208"/>
                  </a:lnTo>
                  <a:lnTo>
                    <a:pt x="80" y="207"/>
                  </a:lnTo>
                  <a:lnTo>
                    <a:pt x="83" y="207"/>
                  </a:lnTo>
                  <a:lnTo>
                    <a:pt x="88" y="206"/>
                  </a:lnTo>
                  <a:lnTo>
                    <a:pt x="91" y="206"/>
                  </a:lnTo>
                  <a:lnTo>
                    <a:pt x="92" y="205"/>
                  </a:lnTo>
                  <a:lnTo>
                    <a:pt x="94" y="204"/>
                  </a:lnTo>
                  <a:lnTo>
                    <a:pt x="97" y="203"/>
                  </a:lnTo>
                  <a:lnTo>
                    <a:pt x="100" y="201"/>
                  </a:lnTo>
                  <a:lnTo>
                    <a:pt x="101" y="200"/>
                  </a:lnTo>
                  <a:lnTo>
                    <a:pt x="102" y="199"/>
                  </a:lnTo>
                  <a:lnTo>
                    <a:pt x="102" y="198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104" y="200"/>
                  </a:lnTo>
                  <a:lnTo>
                    <a:pt x="106" y="201"/>
                  </a:lnTo>
                  <a:lnTo>
                    <a:pt x="108" y="201"/>
                  </a:lnTo>
                  <a:lnTo>
                    <a:pt x="110" y="202"/>
                  </a:lnTo>
                  <a:lnTo>
                    <a:pt x="111" y="202"/>
                  </a:lnTo>
                  <a:lnTo>
                    <a:pt x="113" y="202"/>
                  </a:lnTo>
                  <a:lnTo>
                    <a:pt x="114" y="201"/>
                  </a:lnTo>
                  <a:lnTo>
                    <a:pt x="116" y="201"/>
                  </a:lnTo>
                  <a:lnTo>
                    <a:pt x="118" y="201"/>
                  </a:lnTo>
                  <a:lnTo>
                    <a:pt x="121" y="200"/>
                  </a:lnTo>
                  <a:lnTo>
                    <a:pt x="123" y="199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7" y="197"/>
                  </a:lnTo>
                  <a:lnTo>
                    <a:pt x="129" y="195"/>
                  </a:lnTo>
                  <a:lnTo>
                    <a:pt x="132" y="193"/>
                  </a:lnTo>
                  <a:lnTo>
                    <a:pt x="134" y="190"/>
                  </a:lnTo>
                  <a:lnTo>
                    <a:pt x="136" y="188"/>
                  </a:lnTo>
                  <a:lnTo>
                    <a:pt x="138" y="185"/>
                  </a:lnTo>
                  <a:lnTo>
                    <a:pt x="142" y="180"/>
                  </a:lnTo>
                  <a:lnTo>
                    <a:pt x="144" y="177"/>
                  </a:lnTo>
                  <a:lnTo>
                    <a:pt x="148" y="170"/>
                  </a:lnTo>
                  <a:lnTo>
                    <a:pt x="149" y="169"/>
                  </a:lnTo>
                  <a:lnTo>
                    <a:pt x="151" y="167"/>
                  </a:lnTo>
                  <a:lnTo>
                    <a:pt x="152" y="165"/>
                  </a:lnTo>
                  <a:lnTo>
                    <a:pt x="154" y="164"/>
                  </a:lnTo>
                  <a:lnTo>
                    <a:pt x="158" y="161"/>
                  </a:lnTo>
                  <a:lnTo>
                    <a:pt x="161" y="158"/>
                  </a:lnTo>
                  <a:lnTo>
                    <a:pt x="164" y="156"/>
                  </a:lnTo>
                  <a:lnTo>
                    <a:pt x="170" y="151"/>
                  </a:lnTo>
                  <a:lnTo>
                    <a:pt x="171" y="149"/>
                  </a:lnTo>
                  <a:lnTo>
                    <a:pt x="171" y="147"/>
                  </a:lnTo>
                  <a:lnTo>
                    <a:pt x="172" y="145"/>
                  </a:lnTo>
                  <a:lnTo>
                    <a:pt x="173" y="144"/>
                  </a:lnTo>
                  <a:lnTo>
                    <a:pt x="173" y="143"/>
                  </a:lnTo>
                  <a:lnTo>
                    <a:pt x="173" y="142"/>
                  </a:lnTo>
                  <a:lnTo>
                    <a:pt x="173" y="141"/>
                  </a:lnTo>
                  <a:lnTo>
                    <a:pt x="172" y="137"/>
                  </a:lnTo>
                  <a:lnTo>
                    <a:pt x="172" y="135"/>
                  </a:lnTo>
                  <a:lnTo>
                    <a:pt x="171" y="133"/>
                  </a:lnTo>
                  <a:lnTo>
                    <a:pt x="169" y="127"/>
                  </a:lnTo>
                  <a:lnTo>
                    <a:pt x="166" y="121"/>
                  </a:lnTo>
                  <a:lnTo>
                    <a:pt x="165" y="118"/>
                  </a:lnTo>
                  <a:lnTo>
                    <a:pt x="164" y="114"/>
                  </a:lnTo>
                  <a:lnTo>
                    <a:pt x="163" y="110"/>
                  </a:lnTo>
                  <a:lnTo>
                    <a:pt x="162" y="108"/>
                  </a:lnTo>
                  <a:lnTo>
                    <a:pt x="162" y="104"/>
                  </a:lnTo>
                  <a:lnTo>
                    <a:pt x="162" y="101"/>
                  </a:lnTo>
                  <a:lnTo>
                    <a:pt x="162" y="98"/>
                  </a:lnTo>
                  <a:lnTo>
                    <a:pt x="163" y="95"/>
                  </a:lnTo>
                  <a:lnTo>
                    <a:pt x="164" y="93"/>
                  </a:lnTo>
                  <a:lnTo>
                    <a:pt x="166" y="89"/>
                  </a:lnTo>
                  <a:lnTo>
                    <a:pt x="171" y="79"/>
                  </a:lnTo>
                  <a:lnTo>
                    <a:pt x="174" y="76"/>
                  </a:lnTo>
                  <a:lnTo>
                    <a:pt x="175" y="75"/>
                  </a:lnTo>
                  <a:lnTo>
                    <a:pt x="176" y="74"/>
                  </a:lnTo>
                  <a:lnTo>
                    <a:pt x="177" y="74"/>
                  </a:lnTo>
                  <a:lnTo>
                    <a:pt x="178" y="73"/>
                  </a:lnTo>
                  <a:lnTo>
                    <a:pt x="180" y="72"/>
                  </a:lnTo>
                  <a:lnTo>
                    <a:pt x="182" y="71"/>
                  </a:lnTo>
                  <a:lnTo>
                    <a:pt x="182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7" y="72"/>
                  </a:lnTo>
                  <a:lnTo>
                    <a:pt x="188" y="73"/>
                  </a:lnTo>
                  <a:lnTo>
                    <a:pt x="189" y="74"/>
                  </a:lnTo>
                  <a:lnTo>
                    <a:pt x="191" y="75"/>
                  </a:lnTo>
                  <a:lnTo>
                    <a:pt x="192" y="77"/>
                  </a:lnTo>
                  <a:lnTo>
                    <a:pt x="192" y="78"/>
                  </a:lnTo>
                  <a:lnTo>
                    <a:pt x="192" y="81"/>
                  </a:lnTo>
                  <a:lnTo>
                    <a:pt x="193" y="88"/>
                  </a:lnTo>
                  <a:lnTo>
                    <a:pt x="193" y="91"/>
                  </a:lnTo>
                  <a:lnTo>
                    <a:pt x="194" y="93"/>
                  </a:lnTo>
                  <a:lnTo>
                    <a:pt x="195" y="95"/>
                  </a:lnTo>
                  <a:lnTo>
                    <a:pt x="196" y="96"/>
                  </a:lnTo>
                  <a:lnTo>
                    <a:pt x="197" y="96"/>
                  </a:lnTo>
                  <a:lnTo>
                    <a:pt x="198" y="97"/>
                  </a:lnTo>
                  <a:lnTo>
                    <a:pt x="199" y="97"/>
                  </a:lnTo>
                  <a:lnTo>
                    <a:pt x="201" y="98"/>
                  </a:lnTo>
                  <a:lnTo>
                    <a:pt x="207" y="98"/>
                  </a:lnTo>
                  <a:lnTo>
                    <a:pt x="211" y="99"/>
                  </a:lnTo>
                  <a:lnTo>
                    <a:pt x="214" y="99"/>
                  </a:lnTo>
                  <a:lnTo>
                    <a:pt x="217" y="100"/>
                  </a:lnTo>
                  <a:lnTo>
                    <a:pt x="224" y="103"/>
                  </a:lnTo>
                  <a:lnTo>
                    <a:pt x="227" y="104"/>
                  </a:lnTo>
                  <a:lnTo>
                    <a:pt x="233" y="105"/>
                  </a:lnTo>
                  <a:lnTo>
                    <a:pt x="238" y="105"/>
                  </a:lnTo>
                  <a:lnTo>
                    <a:pt x="240" y="106"/>
                  </a:lnTo>
                  <a:lnTo>
                    <a:pt x="243" y="106"/>
                  </a:lnTo>
                  <a:lnTo>
                    <a:pt x="246" y="107"/>
                  </a:lnTo>
                  <a:lnTo>
                    <a:pt x="248" y="108"/>
                  </a:lnTo>
                  <a:lnTo>
                    <a:pt x="250" y="108"/>
                  </a:lnTo>
                  <a:lnTo>
                    <a:pt x="252" y="109"/>
                  </a:lnTo>
                  <a:lnTo>
                    <a:pt x="255" y="111"/>
                  </a:lnTo>
                  <a:lnTo>
                    <a:pt x="258" y="114"/>
                  </a:lnTo>
                  <a:lnTo>
                    <a:pt x="265" y="119"/>
                  </a:lnTo>
                  <a:lnTo>
                    <a:pt x="268" y="121"/>
                  </a:lnTo>
                  <a:lnTo>
                    <a:pt x="269" y="121"/>
                  </a:lnTo>
                  <a:lnTo>
                    <a:pt x="271" y="122"/>
                  </a:lnTo>
                  <a:lnTo>
                    <a:pt x="272" y="122"/>
                  </a:lnTo>
                  <a:lnTo>
                    <a:pt x="273" y="121"/>
                  </a:lnTo>
                  <a:lnTo>
                    <a:pt x="275" y="121"/>
                  </a:lnTo>
                  <a:lnTo>
                    <a:pt x="278" y="119"/>
                  </a:lnTo>
                  <a:lnTo>
                    <a:pt x="280" y="118"/>
                  </a:lnTo>
                  <a:lnTo>
                    <a:pt x="282" y="116"/>
                  </a:lnTo>
                  <a:lnTo>
                    <a:pt x="284" y="114"/>
                  </a:lnTo>
                  <a:lnTo>
                    <a:pt x="286" y="111"/>
                  </a:lnTo>
                  <a:lnTo>
                    <a:pt x="288" y="108"/>
                  </a:lnTo>
                  <a:lnTo>
                    <a:pt x="290" y="105"/>
                  </a:lnTo>
                  <a:lnTo>
                    <a:pt x="292" y="102"/>
                  </a:lnTo>
                  <a:lnTo>
                    <a:pt x="293" y="100"/>
                  </a:lnTo>
                  <a:lnTo>
                    <a:pt x="295" y="97"/>
                  </a:lnTo>
                  <a:lnTo>
                    <a:pt x="295" y="96"/>
                  </a:lnTo>
                  <a:lnTo>
                    <a:pt x="296" y="92"/>
                  </a:lnTo>
                  <a:lnTo>
                    <a:pt x="296" y="85"/>
                  </a:lnTo>
                  <a:lnTo>
                    <a:pt x="297" y="83"/>
                  </a:lnTo>
                  <a:lnTo>
                    <a:pt x="297" y="81"/>
                  </a:lnTo>
                  <a:lnTo>
                    <a:pt x="298" y="80"/>
                  </a:lnTo>
                  <a:lnTo>
                    <a:pt x="299" y="79"/>
                  </a:lnTo>
                  <a:lnTo>
                    <a:pt x="300" y="78"/>
                  </a:lnTo>
                  <a:lnTo>
                    <a:pt x="301" y="77"/>
                  </a:lnTo>
                  <a:lnTo>
                    <a:pt x="304" y="76"/>
                  </a:lnTo>
                  <a:lnTo>
                    <a:pt x="310" y="75"/>
                  </a:lnTo>
                  <a:lnTo>
                    <a:pt x="317" y="74"/>
                  </a:lnTo>
                  <a:lnTo>
                    <a:pt x="321" y="72"/>
                  </a:lnTo>
                  <a:lnTo>
                    <a:pt x="324" y="72"/>
                  </a:lnTo>
                  <a:lnTo>
                    <a:pt x="328" y="71"/>
                  </a:lnTo>
                  <a:lnTo>
                    <a:pt x="335" y="70"/>
                  </a:lnTo>
                  <a:lnTo>
                    <a:pt x="339" y="70"/>
                  </a:lnTo>
                  <a:lnTo>
                    <a:pt x="341" y="70"/>
                  </a:lnTo>
                  <a:lnTo>
                    <a:pt x="345" y="70"/>
                  </a:lnTo>
                  <a:lnTo>
                    <a:pt x="348" y="71"/>
                  </a:lnTo>
                  <a:lnTo>
                    <a:pt x="351" y="71"/>
                  </a:lnTo>
                  <a:lnTo>
                    <a:pt x="352" y="72"/>
                  </a:lnTo>
                  <a:lnTo>
                    <a:pt x="354" y="73"/>
                  </a:lnTo>
                  <a:lnTo>
                    <a:pt x="359" y="74"/>
                  </a:lnTo>
                  <a:lnTo>
                    <a:pt x="361" y="74"/>
                  </a:lnTo>
                  <a:lnTo>
                    <a:pt x="365" y="75"/>
                  </a:lnTo>
                  <a:lnTo>
                    <a:pt x="367" y="76"/>
                  </a:lnTo>
                  <a:lnTo>
                    <a:pt x="370" y="76"/>
                  </a:lnTo>
                  <a:lnTo>
                    <a:pt x="372" y="76"/>
                  </a:lnTo>
                  <a:lnTo>
                    <a:pt x="375" y="75"/>
                  </a:lnTo>
                  <a:lnTo>
                    <a:pt x="377" y="75"/>
                  </a:lnTo>
                  <a:lnTo>
                    <a:pt x="379" y="74"/>
                  </a:lnTo>
                  <a:lnTo>
                    <a:pt x="381" y="74"/>
                  </a:lnTo>
                  <a:lnTo>
                    <a:pt x="383" y="74"/>
                  </a:lnTo>
                  <a:lnTo>
                    <a:pt x="385" y="73"/>
                  </a:lnTo>
                  <a:lnTo>
                    <a:pt x="387" y="71"/>
                  </a:lnTo>
                  <a:lnTo>
                    <a:pt x="388" y="69"/>
                  </a:lnTo>
                  <a:lnTo>
                    <a:pt x="390" y="67"/>
                  </a:lnTo>
                  <a:lnTo>
                    <a:pt x="392" y="64"/>
                  </a:lnTo>
                  <a:lnTo>
                    <a:pt x="394" y="62"/>
                  </a:lnTo>
                  <a:lnTo>
                    <a:pt x="395" y="60"/>
                  </a:lnTo>
                  <a:lnTo>
                    <a:pt x="396" y="58"/>
                  </a:lnTo>
                  <a:lnTo>
                    <a:pt x="397" y="55"/>
                  </a:lnTo>
                  <a:lnTo>
                    <a:pt x="397" y="53"/>
                  </a:lnTo>
                  <a:lnTo>
                    <a:pt x="397" y="51"/>
                  </a:lnTo>
                  <a:lnTo>
                    <a:pt x="396" y="49"/>
                  </a:lnTo>
                  <a:lnTo>
                    <a:pt x="396" y="47"/>
                  </a:lnTo>
                  <a:lnTo>
                    <a:pt x="395" y="45"/>
                  </a:lnTo>
                  <a:lnTo>
                    <a:pt x="394" y="43"/>
                  </a:lnTo>
                  <a:lnTo>
                    <a:pt x="393" y="40"/>
                  </a:lnTo>
                  <a:lnTo>
                    <a:pt x="387" y="29"/>
                  </a:lnTo>
                  <a:lnTo>
                    <a:pt x="387" y="27"/>
                  </a:lnTo>
                  <a:lnTo>
                    <a:pt x="386" y="25"/>
                  </a:lnTo>
                  <a:lnTo>
                    <a:pt x="386" y="23"/>
                  </a:lnTo>
                  <a:lnTo>
                    <a:pt x="386" y="21"/>
                  </a:lnTo>
                  <a:lnTo>
                    <a:pt x="386" y="20"/>
                  </a:lnTo>
                  <a:lnTo>
                    <a:pt x="387" y="20"/>
                  </a:lnTo>
                  <a:lnTo>
                    <a:pt x="387" y="19"/>
                  </a:lnTo>
                  <a:lnTo>
                    <a:pt x="387" y="18"/>
                  </a:lnTo>
                  <a:lnTo>
                    <a:pt x="389" y="18"/>
                  </a:lnTo>
                  <a:lnTo>
                    <a:pt x="391" y="17"/>
                  </a:lnTo>
                  <a:lnTo>
                    <a:pt x="393" y="17"/>
                  </a:lnTo>
                  <a:lnTo>
                    <a:pt x="396" y="17"/>
                  </a:lnTo>
                  <a:lnTo>
                    <a:pt x="398" y="17"/>
                  </a:lnTo>
                  <a:lnTo>
                    <a:pt x="399" y="17"/>
                  </a:lnTo>
                  <a:lnTo>
                    <a:pt x="404" y="19"/>
                  </a:lnTo>
                  <a:lnTo>
                    <a:pt x="406" y="19"/>
                  </a:lnTo>
                  <a:lnTo>
                    <a:pt x="408" y="19"/>
                  </a:lnTo>
                  <a:lnTo>
                    <a:pt x="409" y="19"/>
                  </a:lnTo>
                  <a:lnTo>
                    <a:pt x="409" y="19"/>
                  </a:lnTo>
                  <a:lnTo>
                    <a:pt x="411" y="18"/>
                  </a:lnTo>
                  <a:lnTo>
                    <a:pt x="412" y="17"/>
                  </a:lnTo>
                  <a:lnTo>
                    <a:pt x="413" y="17"/>
                  </a:lnTo>
                  <a:lnTo>
                    <a:pt x="415" y="16"/>
                  </a:lnTo>
                  <a:lnTo>
                    <a:pt x="415" y="15"/>
                  </a:lnTo>
                  <a:lnTo>
                    <a:pt x="417" y="12"/>
                  </a:lnTo>
                  <a:lnTo>
                    <a:pt x="421" y="5"/>
                  </a:lnTo>
                  <a:lnTo>
                    <a:pt x="422" y="2"/>
                  </a:lnTo>
                  <a:lnTo>
                    <a:pt x="423" y="1"/>
                  </a:lnTo>
                  <a:lnTo>
                    <a:pt x="424" y="0"/>
                  </a:lnTo>
                  <a:lnTo>
                    <a:pt x="425" y="0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2" name="Freeform 75">
              <a:extLst>
                <a:ext uri="{FF2B5EF4-FFF2-40B4-BE49-F238E27FC236}">
                  <a16:creationId xmlns:a16="http://schemas.microsoft.com/office/drawing/2014/main" id="{2CFCB386-5992-4F61-A4E7-62399B4A2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9" y="3155"/>
              <a:ext cx="551" cy="391"/>
            </a:xfrm>
            <a:custGeom>
              <a:avLst/>
              <a:gdLst>
                <a:gd name="T0" fmla="*/ 176 w 551"/>
                <a:gd name="T1" fmla="*/ 32 h 391"/>
                <a:gd name="T2" fmla="*/ 204 w 551"/>
                <a:gd name="T3" fmla="*/ 61 h 391"/>
                <a:gd name="T4" fmla="*/ 221 w 551"/>
                <a:gd name="T5" fmla="*/ 73 h 391"/>
                <a:gd name="T6" fmla="*/ 241 w 551"/>
                <a:gd name="T7" fmla="*/ 65 h 391"/>
                <a:gd name="T8" fmla="*/ 265 w 551"/>
                <a:gd name="T9" fmla="*/ 52 h 391"/>
                <a:gd name="T10" fmla="*/ 312 w 551"/>
                <a:gd name="T11" fmla="*/ 41 h 391"/>
                <a:gd name="T12" fmla="*/ 325 w 551"/>
                <a:gd name="T13" fmla="*/ 43 h 391"/>
                <a:gd name="T14" fmla="*/ 335 w 551"/>
                <a:gd name="T15" fmla="*/ 53 h 391"/>
                <a:gd name="T16" fmla="*/ 330 w 551"/>
                <a:gd name="T17" fmla="*/ 78 h 391"/>
                <a:gd name="T18" fmla="*/ 332 w 551"/>
                <a:gd name="T19" fmla="*/ 98 h 391"/>
                <a:gd name="T20" fmla="*/ 352 w 551"/>
                <a:gd name="T21" fmla="*/ 120 h 391"/>
                <a:gd name="T22" fmla="*/ 368 w 551"/>
                <a:gd name="T23" fmla="*/ 140 h 391"/>
                <a:gd name="T24" fmla="*/ 379 w 551"/>
                <a:gd name="T25" fmla="*/ 146 h 391"/>
                <a:gd name="T26" fmla="*/ 395 w 551"/>
                <a:gd name="T27" fmla="*/ 140 h 391"/>
                <a:gd name="T28" fmla="*/ 422 w 551"/>
                <a:gd name="T29" fmla="*/ 125 h 391"/>
                <a:gd name="T30" fmla="*/ 435 w 551"/>
                <a:gd name="T31" fmla="*/ 118 h 391"/>
                <a:gd name="T32" fmla="*/ 454 w 551"/>
                <a:gd name="T33" fmla="*/ 124 h 391"/>
                <a:gd name="T34" fmla="*/ 472 w 551"/>
                <a:gd name="T35" fmla="*/ 138 h 391"/>
                <a:gd name="T36" fmla="*/ 501 w 551"/>
                <a:gd name="T37" fmla="*/ 146 h 391"/>
                <a:gd name="T38" fmla="*/ 521 w 551"/>
                <a:gd name="T39" fmla="*/ 148 h 391"/>
                <a:gd name="T40" fmla="*/ 532 w 551"/>
                <a:gd name="T41" fmla="*/ 168 h 391"/>
                <a:gd name="T42" fmla="*/ 551 w 551"/>
                <a:gd name="T43" fmla="*/ 193 h 391"/>
                <a:gd name="T44" fmla="*/ 544 w 551"/>
                <a:gd name="T45" fmla="*/ 226 h 391"/>
                <a:gd name="T46" fmla="*/ 535 w 551"/>
                <a:gd name="T47" fmla="*/ 274 h 391"/>
                <a:gd name="T48" fmla="*/ 524 w 551"/>
                <a:gd name="T49" fmla="*/ 294 h 391"/>
                <a:gd name="T50" fmla="*/ 508 w 551"/>
                <a:gd name="T51" fmla="*/ 300 h 391"/>
                <a:gd name="T52" fmla="*/ 458 w 551"/>
                <a:gd name="T53" fmla="*/ 305 h 391"/>
                <a:gd name="T54" fmla="*/ 435 w 551"/>
                <a:gd name="T55" fmla="*/ 324 h 391"/>
                <a:gd name="T56" fmla="*/ 412 w 551"/>
                <a:gd name="T57" fmla="*/ 356 h 391"/>
                <a:gd name="T58" fmla="*/ 383 w 551"/>
                <a:gd name="T59" fmla="*/ 380 h 391"/>
                <a:gd name="T60" fmla="*/ 345 w 551"/>
                <a:gd name="T61" fmla="*/ 390 h 391"/>
                <a:gd name="T62" fmla="*/ 328 w 551"/>
                <a:gd name="T63" fmla="*/ 358 h 391"/>
                <a:gd name="T64" fmla="*/ 302 w 551"/>
                <a:gd name="T65" fmla="*/ 328 h 391"/>
                <a:gd name="T66" fmla="*/ 268 w 551"/>
                <a:gd name="T67" fmla="*/ 312 h 391"/>
                <a:gd name="T68" fmla="*/ 264 w 551"/>
                <a:gd name="T69" fmla="*/ 296 h 391"/>
                <a:gd name="T70" fmla="*/ 258 w 551"/>
                <a:gd name="T71" fmla="*/ 284 h 391"/>
                <a:gd name="T72" fmla="*/ 230 w 551"/>
                <a:gd name="T73" fmla="*/ 269 h 391"/>
                <a:gd name="T74" fmla="*/ 197 w 551"/>
                <a:gd name="T75" fmla="*/ 272 h 391"/>
                <a:gd name="T76" fmla="*/ 172 w 551"/>
                <a:gd name="T77" fmla="*/ 274 h 391"/>
                <a:gd name="T78" fmla="*/ 145 w 551"/>
                <a:gd name="T79" fmla="*/ 256 h 391"/>
                <a:gd name="T80" fmla="*/ 125 w 551"/>
                <a:gd name="T81" fmla="*/ 251 h 391"/>
                <a:gd name="T82" fmla="*/ 116 w 551"/>
                <a:gd name="T83" fmla="*/ 244 h 391"/>
                <a:gd name="T84" fmla="*/ 113 w 551"/>
                <a:gd name="T85" fmla="*/ 223 h 391"/>
                <a:gd name="T86" fmla="*/ 101 w 551"/>
                <a:gd name="T87" fmla="*/ 214 h 391"/>
                <a:gd name="T88" fmla="*/ 58 w 551"/>
                <a:gd name="T89" fmla="*/ 206 h 391"/>
                <a:gd name="T90" fmla="*/ 41 w 551"/>
                <a:gd name="T91" fmla="*/ 193 h 391"/>
                <a:gd name="T92" fmla="*/ 21 w 551"/>
                <a:gd name="T93" fmla="*/ 185 h 391"/>
                <a:gd name="T94" fmla="*/ 10 w 551"/>
                <a:gd name="T95" fmla="*/ 177 h 391"/>
                <a:gd name="T96" fmla="*/ 10 w 551"/>
                <a:gd name="T97" fmla="*/ 153 h 391"/>
                <a:gd name="T98" fmla="*/ 0 w 551"/>
                <a:gd name="T99" fmla="*/ 120 h 391"/>
                <a:gd name="T100" fmla="*/ 12 w 551"/>
                <a:gd name="T101" fmla="*/ 114 h 391"/>
                <a:gd name="T102" fmla="*/ 20 w 551"/>
                <a:gd name="T103" fmla="*/ 99 h 391"/>
                <a:gd name="T104" fmla="*/ 18 w 551"/>
                <a:gd name="T105" fmla="*/ 81 h 391"/>
                <a:gd name="T106" fmla="*/ 28 w 551"/>
                <a:gd name="T107" fmla="*/ 65 h 391"/>
                <a:gd name="T108" fmla="*/ 61 w 551"/>
                <a:gd name="T109" fmla="*/ 33 h 391"/>
                <a:gd name="T110" fmla="*/ 95 w 551"/>
                <a:gd name="T111" fmla="*/ 14 h 391"/>
                <a:gd name="T112" fmla="*/ 137 w 551"/>
                <a:gd name="T113" fmla="*/ 4 h 391"/>
                <a:gd name="T114" fmla="*/ 143 w 551"/>
                <a:gd name="T115" fmla="*/ 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1" h="391">
                  <a:moveTo>
                    <a:pt x="147" y="4"/>
                  </a:moveTo>
                  <a:lnTo>
                    <a:pt x="150" y="7"/>
                  </a:lnTo>
                  <a:lnTo>
                    <a:pt x="163" y="20"/>
                  </a:lnTo>
                  <a:lnTo>
                    <a:pt x="168" y="25"/>
                  </a:lnTo>
                  <a:lnTo>
                    <a:pt x="171" y="28"/>
                  </a:lnTo>
                  <a:lnTo>
                    <a:pt x="173" y="29"/>
                  </a:lnTo>
                  <a:lnTo>
                    <a:pt x="176" y="32"/>
                  </a:lnTo>
                  <a:lnTo>
                    <a:pt x="181" y="35"/>
                  </a:lnTo>
                  <a:lnTo>
                    <a:pt x="183" y="37"/>
                  </a:lnTo>
                  <a:lnTo>
                    <a:pt x="184" y="38"/>
                  </a:lnTo>
                  <a:lnTo>
                    <a:pt x="186" y="40"/>
                  </a:lnTo>
                  <a:lnTo>
                    <a:pt x="193" y="49"/>
                  </a:lnTo>
                  <a:lnTo>
                    <a:pt x="199" y="55"/>
                  </a:lnTo>
                  <a:lnTo>
                    <a:pt x="204" y="61"/>
                  </a:lnTo>
                  <a:lnTo>
                    <a:pt x="207" y="63"/>
                  </a:lnTo>
                  <a:lnTo>
                    <a:pt x="207" y="64"/>
                  </a:lnTo>
                  <a:lnTo>
                    <a:pt x="208" y="65"/>
                  </a:lnTo>
                  <a:lnTo>
                    <a:pt x="216" y="71"/>
                  </a:lnTo>
                  <a:lnTo>
                    <a:pt x="219" y="72"/>
                  </a:lnTo>
                  <a:lnTo>
                    <a:pt x="220" y="73"/>
                  </a:lnTo>
                  <a:lnTo>
                    <a:pt x="221" y="73"/>
                  </a:lnTo>
                  <a:lnTo>
                    <a:pt x="222" y="73"/>
                  </a:lnTo>
                  <a:lnTo>
                    <a:pt x="224" y="73"/>
                  </a:lnTo>
                  <a:lnTo>
                    <a:pt x="226" y="72"/>
                  </a:lnTo>
                  <a:lnTo>
                    <a:pt x="229" y="71"/>
                  </a:lnTo>
                  <a:lnTo>
                    <a:pt x="235" y="68"/>
                  </a:lnTo>
                  <a:lnTo>
                    <a:pt x="238" y="67"/>
                  </a:lnTo>
                  <a:lnTo>
                    <a:pt x="241" y="65"/>
                  </a:lnTo>
                  <a:lnTo>
                    <a:pt x="249" y="60"/>
                  </a:lnTo>
                  <a:lnTo>
                    <a:pt x="253" y="57"/>
                  </a:lnTo>
                  <a:lnTo>
                    <a:pt x="254" y="56"/>
                  </a:lnTo>
                  <a:lnTo>
                    <a:pt x="256" y="55"/>
                  </a:lnTo>
                  <a:lnTo>
                    <a:pt x="259" y="54"/>
                  </a:lnTo>
                  <a:lnTo>
                    <a:pt x="261" y="54"/>
                  </a:lnTo>
                  <a:lnTo>
                    <a:pt x="265" y="52"/>
                  </a:lnTo>
                  <a:lnTo>
                    <a:pt x="275" y="52"/>
                  </a:lnTo>
                  <a:lnTo>
                    <a:pt x="284" y="49"/>
                  </a:lnTo>
                  <a:lnTo>
                    <a:pt x="298" y="46"/>
                  </a:lnTo>
                  <a:lnTo>
                    <a:pt x="301" y="45"/>
                  </a:lnTo>
                  <a:lnTo>
                    <a:pt x="309" y="42"/>
                  </a:lnTo>
                  <a:lnTo>
                    <a:pt x="310" y="41"/>
                  </a:lnTo>
                  <a:lnTo>
                    <a:pt x="312" y="41"/>
                  </a:lnTo>
                  <a:lnTo>
                    <a:pt x="313" y="41"/>
                  </a:lnTo>
                  <a:lnTo>
                    <a:pt x="315" y="41"/>
                  </a:lnTo>
                  <a:lnTo>
                    <a:pt x="317" y="41"/>
                  </a:lnTo>
                  <a:lnTo>
                    <a:pt x="319" y="41"/>
                  </a:lnTo>
                  <a:lnTo>
                    <a:pt x="321" y="42"/>
                  </a:lnTo>
                  <a:lnTo>
                    <a:pt x="323" y="42"/>
                  </a:lnTo>
                  <a:lnTo>
                    <a:pt x="325" y="43"/>
                  </a:lnTo>
                  <a:lnTo>
                    <a:pt x="327" y="44"/>
                  </a:lnTo>
                  <a:lnTo>
                    <a:pt x="329" y="45"/>
                  </a:lnTo>
                  <a:lnTo>
                    <a:pt x="331" y="46"/>
                  </a:lnTo>
                  <a:lnTo>
                    <a:pt x="332" y="48"/>
                  </a:lnTo>
                  <a:lnTo>
                    <a:pt x="333" y="49"/>
                  </a:lnTo>
                  <a:lnTo>
                    <a:pt x="334" y="51"/>
                  </a:lnTo>
                  <a:lnTo>
                    <a:pt x="335" y="53"/>
                  </a:lnTo>
                  <a:lnTo>
                    <a:pt x="335" y="55"/>
                  </a:lnTo>
                  <a:lnTo>
                    <a:pt x="336" y="57"/>
                  </a:lnTo>
                  <a:lnTo>
                    <a:pt x="336" y="60"/>
                  </a:lnTo>
                  <a:lnTo>
                    <a:pt x="335" y="62"/>
                  </a:lnTo>
                  <a:lnTo>
                    <a:pt x="334" y="63"/>
                  </a:lnTo>
                  <a:lnTo>
                    <a:pt x="332" y="69"/>
                  </a:lnTo>
                  <a:lnTo>
                    <a:pt x="330" y="78"/>
                  </a:lnTo>
                  <a:lnTo>
                    <a:pt x="329" y="80"/>
                  </a:lnTo>
                  <a:lnTo>
                    <a:pt x="328" y="83"/>
                  </a:lnTo>
                  <a:lnTo>
                    <a:pt x="328" y="86"/>
                  </a:lnTo>
                  <a:lnTo>
                    <a:pt x="328" y="88"/>
                  </a:lnTo>
                  <a:lnTo>
                    <a:pt x="328" y="91"/>
                  </a:lnTo>
                  <a:lnTo>
                    <a:pt x="329" y="94"/>
                  </a:lnTo>
                  <a:lnTo>
                    <a:pt x="332" y="98"/>
                  </a:lnTo>
                  <a:lnTo>
                    <a:pt x="334" y="104"/>
                  </a:lnTo>
                  <a:lnTo>
                    <a:pt x="336" y="107"/>
                  </a:lnTo>
                  <a:lnTo>
                    <a:pt x="339" y="110"/>
                  </a:lnTo>
                  <a:lnTo>
                    <a:pt x="341" y="112"/>
                  </a:lnTo>
                  <a:lnTo>
                    <a:pt x="344" y="115"/>
                  </a:lnTo>
                  <a:lnTo>
                    <a:pt x="346" y="116"/>
                  </a:lnTo>
                  <a:lnTo>
                    <a:pt x="352" y="120"/>
                  </a:lnTo>
                  <a:lnTo>
                    <a:pt x="355" y="121"/>
                  </a:lnTo>
                  <a:lnTo>
                    <a:pt x="357" y="123"/>
                  </a:lnTo>
                  <a:lnTo>
                    <a:pt x="360" y="125"/>
                  </a:lnTo>
                  <a:lnTo>
                    <a:pt x="362" y="128"/>
                  </a:lnTo>
                  <a:lnTo>
                    <a:pt x="364" y="131"/>
                  </a:lnTo>
                  <a:lnTo>
                    <a:pt x="366" y="134"/>
                  </a:lnTo>
                  <a:lnTo>
                    <a:pt x="368" y="140"/>
                  </a:lnTo>
                  <a:lnTo>
                    <a:pt x="369" y="142"/>
                  </a:lnTo>
                  <a:lnTo>
                    <a:pt x="371" y="143"/>
                  </a:lnTo>
                  <a:lnTo>
                    <a:pt x="372" y="144"/>
                  </a:lnTo>
                  <a:lnTo>
                    <a:pt x="374" y="145"/>
                  </a:lnTo>
                  <a:lnTo>
                    <a:pt x="376" y="146"/>
                  </a:lnTo>
                  <a:lnTo>
                    <a:pt x="378" y="146"/>
                  </a:lnTo>
                  <a:lnTo>
                    <a:pt x="379" y="146"/>
                  </a:lnTo>
                  <a:lnTo>
                    <a:pt x="381" y="146"/>
                  </a:lnTo>
                  <a:lnTo>
                    <a:pt x="383" y="146"/>
                  </a:lnTo>
                  <a:lnTo>
                    <a:pt x="385" y="145"/>
                  </a:lnTo>
                  <a:lnTo>
                    <a:pt x="388" y="144"/>
                  </a:lnTo>
                  <a:lnTo>
                    <a:pt x="389" y="143"/>
                  </a:lnTo>
                  <a:lnTo>
                    <a:pt x="391" y="142"/>
                  </a:lnTo>
                  <a:lnTo>
                    <a:pt x="395" y="140"/>
                  </a:lnTo>
                  <a:lnTo>
                    <a:pt x="400" y="136"/>
                  </a:lnTo>
                  <a:lnTo>
                    <a:pt x="403" y="134"/>
                  </a:lnTo>
                  <a:lnTo>
                    <a:pt x="405" y="133"/>
                  </a:lnTo>
                  <a:lnTo>
                    <a:pt x="408" y="131"/>
                  </a:lnTo>
                  <a:lnTo>
                    <a:pt x="415" y="129"/>
                  </a:lnTo>
                  <a:lnTo>
                    <a:pt x="420" y="127"/>
                  </a:lnTo>
                  <a:lnTo>
                    <a:pt x="422" y="125"/>
                  </a:lnTo>
                  <a:lnTo>
                    <a:pt x="423" y="124"/>
                  </a:lnTo>
                  <a:lnTo>
                    <a:pt x="429" y="120"/>
                  </a:lnTo>
                  <a:lnTo>
                    <a:pt x="430" y="119"/>
                  </a:lnTo>
                  <a:lnTo>
                    <a:pt x="432" y="118"/>
                  </a:lnTo>
                  <a:lnTo>
                    <a:pt x="433" y="118"/>
                  </a:lnTo>
                  <a:lnTo>
                    <a:pt x="435" y="118"/>
                  </a:lnTo>
                  <a:lnTo>
                    <a:pt x="435" y="118"/>
                  </a:lnTo>
                  <a:lnTo>
                    <a:pt x="441" y="120"/>
                  </a:lnTo>
                  <a:lnTo>
                    <a:pt x="443" y="120"/>
                  </a:lnTo>
                  <a:lnTo>
                    <a:pt x="446" y="120"/>
                  </a:lnTo>
                  <a:lnTo>
                    <a:pt x="446" y="121"/>
                  </a:lnTo>
                  <a:lnTo>
                    <a:pt x="449" y="121"/>
                  </a:lnTo>
                  <a:lnTo>
                    <a:pt x="451" y="123"/>
                  </a:lnTo>
                  <a:lnTo>
                    <a:pt x="454" y="124"/>
                  </a:lnTo>
                  <a:lnTo>
                    <a:pt x="456" y="125"/>
                  </a:lnTo>
                  <a:lnTo>
                    <a:pt x="458" y="127"/>
                  </a:lnTo>
                  <a:lnTo>
                    <a:pt x="462" y="131"/>
                  </a:lnTo>
                  <a:lnTo>
                    <a:pt x="464" y="132"/>
                  </a:lnTo>
                  <a:lnTo>
                    <a:pt x="467" y="134"/>
                  </a:lnTo>
                  <a:lnTo>
                    <a:pt x="469" y="136"/>
                  </a:lnTo>
                  <a:lnTo>
                    <a:pt x="472" y="138"/>
                  </a:lnTo>
                  <a:lnTo>
                    <a:pt x="485" y="143"/>
                  </a:lnTo>
                  <a:lnTo>
                    <a:pt x="487" y="144"/>
                  </a:lnTo>
                  <a:lnTo>
                    <a:pt x="490" y="145"/>
                  </a:lnTo>
                  <a:lnTo>
                    <a:pt x="491" y="145"/>
                  </a:lnTo>
                  <a:lnTo>
                    <a:pt x="494" y="146"/>
                  </a:lnTo>
                  <a:lnTo>
                    <a:pt x="497" y="146"/>
                  </a:lnTo>
                  <a:lnTo>
                    <a:pt x="501" y="146"/>
                  </a:lnTo>
                  <a:lnTo>
                    <a:pt x="508" y="145"/>
                  </a:lnTo>
                  <a:lnTo>
                    <a:pt x="512" y="145"/>
                  </a:lnTo>
                  <a:lnTo>
                    <a:pt x="514" y="145"/>
                  </a:lnTo>
                  <a:lnTo>
                    <a:pt x="516" y="146"/>
                  </a:lnTo>
                  <a:lnTo>
                    <a:pt x="518" y="146"/>
                  </a:lnTo>
                  <a:lnTo>
                    <a:pt x="520" y="147"/>
                  </a:lnTo>
                  <a:lnTo>
                    <a:pt x="521" y="148"/>
                  </a:lnTo>
                  <a:lnTo>
                    <a:pt x="522" y="149"/>
                  </a:lnTo>
                  <a:lnTo>
                    <a:pt x="524" y="150"/>
                  </a:lnTo>
                  <a:lnTo>
                    <a:pt x="525" y="151"/>
                  </a:lnTo>
                  <a:lnTo>
                    <a:pt x="526" y="153"/>
                  </a:lnTo>
                  <a:lnTo>
                    <a:pt x="526" y="155"/>
                  </a:lnTo>
                  <a:lnTo>
                    <a:pt x="530" y="165"/>
                  </a:lnTo>
                  <a:lnTo>
                    <a:pt x="532" y="168"/>
                  </a:lnTo>
                  <a:lnTo>
                    <a:pt x="534" y="172"/>
                  </a:lnTo>
                  <a:lnTo>
                    <a:pt x="536" y="176"/>
                  </a:lnTo>
                  <a:lnTo>
                    <a:pt x="537" y="178"/>
                  </a:lnTo>
                  <a:lnTo>
                    <a:pt x="540" y="181"/>
                  </a:lnTo>
                  <a:lnTo>
                    <a:pt x="544" y="186"/>
                  </a:lnTo>
                  <a:lnTo>
                    <a:pt x="549" y="192"/>
                  </a:lnTo>
                  <a:lnTo>
                    <a:pt x="551" y="193"/>
                  </a:lnTo>
                  <a:lnTo>
                    <a:pt x="551" y="193"/>
                  </a:lnTo>
                  <a:lnTo>
                    <a:pt x="551" y="193"/>
                  </a:lnTo>
                  <a:lnTo>
                    <a:pt x="551" y="194"/>
                  </a:lnTo>
                  <a:lnTo>
                    <a:pt x="551" y="194"/>
                  </a:lnTo>
                  <a:lnTo>
                    <a:pt x="550" y="198"/>
                  </a:lnTo>
                  <a:lnTo>
                    <a:pt x="548" y="212"/>
                  </a:lnTo>
                  <a:lnTo>
                    <a:pt x="544" y="226"/>
                  </a:lnTo>
                  <a:lnTo>
                    <a:pt x="543" y="232"/>
                  </a:lnTo>
                  <a:lnTo>
                    <a:pt x="541" y="242"/>
                  </a:lnTo>
                  <a:lnTo>
                    <a:pt x="539" y="256"/>
                  </a:lnTo>
                  <a:lnTo>
                    <a:pt x="538" y="261"/>
                  </a:lnTo>
                  <a:lnTo>
                    <a:pt x="537" y="265"/>
                  </a:lnTo>
                  <a:lnTo>
                    <a:pt x="537" y="269"/>
                  </a:lnTo>
                  <a:lnTo>
                    <a:pt x="535" y="274"/>
                  </a:lnTo>
                  <a:lnTo>
                    <a:pt x="533" y="279"/>
                  </a:lnTo>
                  <a:lnTo>
                    <a:pt x="531" y="283"/>
                  </a:lnTo>
                  <a:lnTo>
                    <a:pt x="529" y="287"/>
                  </a:lnTo>
                  <a:lnTo>
                    <a:pt x="527" y="289"/>
                  </a:lnTo>
                  <a:lnTo>
                    <a:pt x="526" y="291"/>
                  </a:lnTo>
                  <a:lnTo>
                    <a:pt x="525" y="293"/>
                  </a:lnTo>
                  <a:lnTo>
                    <a:pt x="524" y="294"/>
                  </a:lnTo>
                  <a:lnTo>
                    <a:pt x="522" y="295"/>
                  </a:lnTo>
                  <a:lnTo>
                    <a:pt x="521" y="296"/>
                  </a:lnTo>
                  <a:lnTo>
                    <a:pt x="519" y="297"/>
                  </a:lnTo>
                  <a:lnTo>
                    <a:pt x="516" y="298"/>
                  </a:lnTo>
                  <a:lnTo>
                    <a:pt x="513" y="299"/>
                  </a:lnTo>
                  <a:lnTo>
                    <a:pt x="510" y="300"/>
                  </a:lnTo>
                  <a:lnTo>
                    <a:pt x="508" y="300"/>
                  </a:lnTo>
                  <a:lnTo>
                    <a:pt x="485" y="301"/>
                  </a:lnTo>
                  <a:lnTo>
                    <a:pt x="480" y="301"/>
                  </a:lnTo>
                  <a:lnTo>
                    <a:pt x="476" y="301"/>
                  </a:lnTo>
                  <a:lnTo>
                    <a:pt x="469" y="302"/>
                  </a:lnTo>
                  <a:lnTo>
                    <a:pt x="463" y="304"/>
                  </a:lnTo>
                  <a:lnTo>
                    <a:pt x="460" y="304"/>
                  </a:lnTo>
                  <a:lnTo>
                    <a:pt x="458" y="305"/>
                  </a:lnTo>
                  <a:lnTo>
                    <a:pt x="457" y="306"/>
                  </a:lnTo>
                  <a:lnTo>
                    <a:pt x="455" y="307"/>
                  </a:lnTo>
                  <a:lnTo>
                    <a:pt x="453" y="308"/>
                  </a:lnTo>
                  <a:lnTo>
                    <a:pt x="452" y="309"/>
                  </a:lnTo>
                  <a:lnTo>
                    <a:pt x="449" y="311"/>
                  </a:lnTo>
                  <a:lnTo>
                    <a:pt x="440" y="319"/>
                  </a:lnTo>
                  <a:lnTo>
                    <a:pt x="435" y="324"/>
                  </a:lnTo>
                  <a:lnTo>
                    <a:pt x="432" y="329"/>
                  </a:lnTo>
                  <a:lnTo>
                    <a:pt x="428" y="334"/>
                  </a:lnTo>
                  <a:lnTo>
                    <a:pt x="426" y="336"/>
                  </a:lnTo>
                  <a:lnTo>
                    <a:pt x="422" y="344"/>
                  </a:lnTo>
                  <a:lnTo>
                    <a:pt x="417" y="350"/>
                  </a:lnTo>
                  <a:lnTo>
                    <a:pt x="414" y="353"/>
                  </a:lnTo>
                  <a:lnTo>
                    <a:pt x="412" y="356"/>
                  </a:lnTo>
                  <a:lnTo>
                    <a:pt x="408" y="360"/>
                  </a:lnTo>
                  <a:lnTo>
                    <a:pt x="401" y="368"/>
                  </a:lnTo>
                  <a:lnTo>
                    <a:pt x="398" y="371"/>
                  </a:lnTo>
                  <a:lnTo>
                    <a:pt x="394" y="374"/>
                  </a:lnTo>
                  <a:lnTo>
                    <a:pt x="390" y="377"/>
                  </a:lnTo>
                  <a:lnTo>
                    <a:pt x="387" y="379"/>
                  </a:lnTo>
                  <a:lnTo>
                    <a:pt x="383" y="380"/>
                  </a:lnTo>
                  <a:lnTo>
                    <a:pt x="377" y="382"/>
                  </a:lnTo>
                  <a:lnTo>
                    <a:pt x="366" y="386"/>
                  </a:lnTo>
                  <a:lnTo>
                    <a:pt x="358" y="389"/>
                  </a:lnTo>
                  <a:lnTo>
                    <a:pt x="353" y="390"/>
                  </a:lnTo>
                  <a:lnTo>
                    <a:pt x="346" y="391"/>
                  </a:lnTo>
                  <a:lnTo>
                    <a:pt x="346" y="391"/>
                  </a:lnTo>
                  <a:lnTo>
                    <a:pt x="345" y="390"/>
                  </a:lnTo>
                  <a:lnTo>
                    <a:pt x="344" y="387"/>
                  </a:lnTo>
                  <a:lnTo>
                    <a:pt x="343" y="382"/>
                  </a:lnTo>
                  <a:lnTo>
                    <a:pt x="339" y="374"/>
                  </a:lnTo>
                  <a:lnTo>
                    <a:pt x="338" y="371"/>
                  </a:lnTo>
                  <a:lnTo>
                    <a:pt x="336" y="369"/>
                  </a:lnTo>
                  <a:lnTo>
                    <a:pt x="334" y="366"/>
                  </a:lnTo>
                  <a:lnTo>
                    <a:pt x="328" y="358"/>
                  </a:lnTo>
                  <a:lnTo>
                    <a:pt x="320" y="346"/>
                  </a:lnTo>
                  <a:lnTo>
                    <a:pt x="317" y="342"/>
                  </a:lnTo>
                  <a:lnTo>
                    <a:pt x="315" y="338"/>
                  </a:lnTo>
                  <a:lnTo>
                    <a:pt x="311" y="335"/>
                  </a:lnTo>
                  <a:lnTo>
                    <a:pt x="309" y="332"/>
                  </a:lnTo>
                  <a:lnTo>
                    <a:pt x="306" y="330"/>
                  </a:lnTo>
                  <a:lnTo>
                    <a:pt x="302" y="328"/>
                  </a:lnTo>
                  <a:lnTo>
                    <a:pt x="299" y="326"/>
                  </a:lnTo>
                  <a:lnTo>
                    <a:pt x="283" y="318"/>
                  </a:lnTo>
                  <a:lnTo>
                    <a:pt x="278" y="316"/>
                  </a:lnTo>
                  <a:lnTo>
                    <a:pt x="274" y="314"/>
                  </a:lnTo>
                  <a:lnTo>
                    <a:pt x="272" y="313"/>
                  </a:lnTo>
                  <a:lnTo>
                    <a:pt x="270" y="312"/>
                  </a:lnTo>
                  <a:lnTo>
                    <a:pt x="268" y="312"/>
                  </a:lnTo>
                  <a:lnTo>
                    <a:pt x="267" y="311"/>
                  </a:lnTo>
                  <a:lnTo>
                    <a:pt x="266" y="309"/>
                  </a:lnTo>
                  <a:lnTo>
                    <a:pt x="265" y="308"/>
                  </a:lnTo>
                  <a:lnTo>
                    <a:pt x="265" y="306"/>
                  </a:lnTo>
                  <a:lnTo>
                    <a:pt x="264" y="304"/>
                  </a:lnTo>
                  <a:lnTo>
                    <a:pt x="264" y="302"/>
                  </a:lnTo>
                  <a:lnTo>
                    <a:pt x="264" y="296"/>
                  </a:lnTo>
                  <a:lnTo>
                    <a:pt x="263" y="293"/>
                  </a:lnTo>
                  <a:lnTo>
                    <a:pt x="263" y="291"/>
                  </a:lnTo>
                  <a:lnTo>
                    <a:pt x="262" y="289"/>
                  </a:lnTo>
                  <a:lnTo>
                    <a:pt x="261" y="288"/>
                  </a:lnTo>
                  <a:lnTo>
                    <a:pt x="260" y="286"/>
                  </a:lnTo>
                  <a:lnTo>
                    <a:pt x="259" y="285"/>
                  </a:lnTo>
                  <a:lnTo>
                    <a:pt x="258" y="284"/>
                  </a:lnTo>
                  <a:lnTo>
                    <a:pt x="255" y="281"/>
                  </a:lnTo>
                  <a:lnTo>
                    <a:pt x="253" y="279"/>
                  </a:lnTo>
                  <a:lnTo>
                    <a:pt x="249" y="278"/>
                  </a:lnTo>
                  <a:lnTo>
                    <a:pt x="245" y="276"/>
                  </a:lnTo>
                  <a:lnTo>
                    <a:pt x="238" y="273"/>
                  </a:lnTo>
                  <a:lnTo>
                    <a:pt x="232" y="270"/>
                  </a:lnTo>
                  <a:lnTo>
                    <a:pt x="230" y="269"/>
                  </a:lnTo>
                  <a:lnTo>
                    <a:pt x="228" y="269"/>
                  </a:lnTo>
                  <a:lnTo>
                    <a:pt x="226" y="269"/>
                  </a:lnTo>
                  <a:lnTo>
                    <a:pt x="223" y="269"/>
                  </a:lnTo>
                  <a:lnTo>
                    <a:pt x="213" y="270"/>
                  </a:lnTo>
                  <a:lnTo>
                    <a:pt x="206" y="271"/>
                  </a:lnTo>
                  <a:lnTo>
                    <a:pt x="202" y="271"/>
                  </a:lnTo>
                  <a:lnTo>
                    <a:pt x="197" y="272"/>
                  </a:lnTo>
                  <a:lnTo>
                    <a:pt x="187" y="275"/>
                  </a:lnTo>
                  <a:lnTo>
                    <a:pt x="185" y="275"/>
                  </a:lnTo>
                  <a:lnTo>
                    <a:pt x="183" y="276"/>
                  </a:lnTo>
                  <a:lnTo>
                    <a:pt x="180" y="276"/>
                  </a:lnTo>
                  <a:lnTo>
                    <a:pt x="177" y="276"/>
                  </a:lnTo>
                  <a:lnTo>
                    <a:pt x="174" y="275"/>
                  </a:lnTo>
                  <a:lnTo>
                    <a:pt x="172" y="274"/>
                  </a:lnTo>
                  <a:lnTo>
                    <a:pt x="170" y="273"/>
                  </a:lnTo>
                  <a:lnTo>
                    <a:pt x="168" y="272"/>
                  </a:lnTo>
                  <a:lnTo>
                    <a:pt x="165" y="270"/>
                  </a:lnTo>
                  <a:lnTo>
                    <a:pt x="163" y="269"/>
                  </a:lnTo>
                  <a:lnTo>
                    <a:pt x="160" y="267"/>
                  </a:lnTo>
                  <a:lnTo>
                    <a:pt x="148" y="257"/>
                  </a:lnTo>
                  <a:lnTo>
                    <a:pt x="145" y="256"/>
                  </a:lnTo>
                  <a:lnTo>
                    <a:pt x="143" y="255"/>
                  </a:lnTo>
                  <a:lnTo>
                    <a:pt x="140" y="254"/>
                  </a:lnTo>
                  <a:lnTo>
                    <a:pt x="138" y="253"/>
                  </a:lnTo>
                  <a:lnTo>
                    <a:pt x="135" y="252"/>
                  </a:lnTo>
                  <a:lnTo>
                    <a:pt x="129" y="252"/>
                  </a:lnTo>
                  <a:lnTo>
                    <a:pt x="128" y="252"/>
                  </a:lnTo>
                  <a:lnTo>
                    <a:pt x="125" y="251"/>
                  </a:lnTo>
                  <a:lnTo>
                    <a:pt x="123" y="250"/>
                  </a:lnTo>
                  <a:lnTo>
                    <a:pt x="122" y="250"/>
                  </a:lnTo>
                  <a:lnTo>
                    <a:pt x="120" y="249"/>
                  </a:lnTo>
                  <a:lnTo>
                    <a:pt x="119" y="248"/>
                  </a:lnTo>
                  <a:lnTo>
                    <a:pt x="118" y="247"/>
                  </a:lnTo>
                  <a:lnTo>
                    <a:pt x="117" y="246"/>
                  </a:lnTo>
                  <a:lnTo>
                    <a:pt x="116" y="244"/>
                  </a:lnTo>
                  <a:lnTo>
                    <a:pt x="116" y="243"/>
                  </a:lnTo>
                  <a:lnTo>
                    <a:pt x="116" y="241"/>
                  </a:lnTo>
                  <a:lnTo>
                    <a:pt x="115" y="233"/>
                  </a:lnTo>
                  <a:lnTo>
                    <a:pt x="115" y="230"/>
                  </a:lnTo>
                  <a:lnTo>
                    <a:pt x="114" y="226"/>
                  </a:lnTo>
                  <a:lnTo>
                    <a:pt x="113" y="225"/>
                  </a:lnTo>
                  <a:lnTo>
                    <a:pt x="113" y="223"/>
                  </a:lnTo>
                  <a:lnTo>
                    <a:pt x="112" y="222"/>
                  </a:lnTo>
                  <a:lnTo>
                    <a:pt x="111" y="222"/>
                  </a:lnTo>
                  <a:lnTo>
                    <a:pt x="110" y="221"/>
                  </a:lnTo>
                  <a:lnTo>
                    <a:pt x="109" y="220"/>
                  </a:lnTo>
                  <a:lnTo>
                    <a:pt x="106" y="217"/>
                  </a:lnTo>
                  <a:lnTo>
                    <a:pt x="103" y="215"/>
                  </a:lnTo>
                  <a:lnTo>
                    <a:pt x="101" y="214"/>
                  </a:lnTo>
                  <a:lnTo>
                    <a:pt x="98" y="212"/>
                  </a:lnTo>
                  <a:lnTo>
                    <a:pt x="96" y="212"/>
                  </a:lnTo>
                  <a:lnTo>
                    <a:pt x="94" y="211"/>
                  </a:lnTo>
                  <a:lnTo>
                    <a:pt x="82" y="210"/>
                  </a:lnTo>
                  <a:lnTo>
                    <a:pt x="75" y="209"/>
                  </a:lnTo>
                  <a:lnTo>
                    <a:pt x="60" y="207"/>
                  </a:lnTo>
                  <a:lnTo>
                    <a:pt x="58" y="206"/>
                  </a:lnTo>
                  <a:lnTo>
                    <a:pt x="56" y="206"/>
                  </a:lnTo>
                  <a:lnTo>
                    <a:pt x="54" y="205"/>
                  </a:lnTo>
                  <a:lnTo>
                    <a:pt x="52" y="203"/>
                  </a:lnTo>
                  <a:lnTo>
                    <a:pt x="51" y="202"/>
                  </a:lnTo>
                  <a:lnTo>
                    <a:pt x="48" y="199"/>
                  </a:lnTo>
                  <a:lnTo>
                    <a:pt x="44" y="195"/>
                  </a:lnTo>
                  <a:lnTo>
                    <a:pt x="41" y="193"/>
                  </a:lnTo>
                  <a:lnTo>
                    <a:pt x="39" y="192"/>
                  </a:lnTo>
                  <a:lnTo>
                    <a:pt x="37" y="191"/>
                  </a:lnTo>
                  <a:lnTo>
                    <a:pt x="33" y="189"/>
                  </a:lnTo>
                  <a:lnTo>
                    <a:pt x="28" y="188"/>
                  </a:lnTo>
                  <a:lnTo>
                    <a:pt x="26" y="187"/>
                  </a:lnTo>
                  <a:lnTo>
                    <a:pt x="24" y="186"/>
                  </a:lnTo>
                  <a:lnTo>
                    <a:pt x="21" y="185"/>
                  </a:lnTo>
                  <a:lnTo>
                    <a:pt x="14" y="184"/>
                  </a:lnTo>
                  <a:lnTo>
                    <a:pt x="14" y="183"/>
                  </a:lnTo>
                  <a:lnTo>
                    <a:pt x="13" y="183"/>
                  </a:lnTo>
                  <a:lnTo>
                    <a:pt x="12" y="182"/>
                  </a:lnTo>
                  <a:lnTo>
                    <a:pt x="11" y="180"/>
                  </a:lnTo>
                  <a:lnTo>
                    <a:pt x="10" y="179"/>
                  </a:lnTo>
                  <a:lnTo>
                    <a:pt x="10" y="177"/>
                  </a:lnTo>
                  <a:lnTo>
                    <a:pt x="10" y="176"/>
                  </a:lnTo>
                  <a:lnTo>
                    <a:pt x="10" y="173"/>
                  </a:lnTo>
                  <a:lnTo>
                    <a:pt x="11" y="165"/>
                  </a:lnTo>
                  <a:lnTo>
                    <a:pt x="11" y="162"/>
                  </a:lnTo>
                  <a:lnTo>
                    <a:pt x="11" y="158"/>
                  </a:lnTo>
                  <a:lnTo>
                    <a:pt x="10" y="155"/>
                  </a:lnTo>
                  <a:lnTo>
                    <a:pt x="10" y="153"/>
                  </a:lnTo>
                  <a:lnTo>
                    <a:pt x="10" y="150"/>
                  </a:lnTo>
                  <a:lnTo>
                    <a:pt x="8" y="144"/>
                  </a:lnTo>
                  <a:lnTo>
                    <a:pt x="7" y="140"/>
                  </a:lnTo>
                  <a:lnTo>
                    <a:pt x="5" y="136"/>
                  </a:lnTo>
                  <a:lnTo>
                    <a:pt x="2" y="125"/>
                  </a:lnTo>
                  <a:lnTo>
                    <a:pt x="1" y="122"/>
                  </a:lnTo>
                  <a:lnTo>
                    <a:pt x="0" y="120"/>
                  </a:lnTo>
                  <a:lnTo>
                    <a:pt x="1" y="120"/>
                  </a:lnTo>
                  <a:lnTo>
                    <a:pt x="2" y="120"/>
                  </a:lnTo>
                  <a:lnTo>
                    <a:pt x="3" y="119"/>
                  </a:lnTo>
                  <a:lnTo>
                    <a:pt x="5" y="118"/>
                  </a:lnTo>
                  <a:lnTo>
                    <a:pt x="8" y="117"/>
                  </a:lnTo>
                  <a:lnTo>
                    <a:pt x="11" y="115"/>
                  </a:lnTo>
                  <a:lnTo>
                    <a:pt x="12" y="114"/>
                  </a:lnTo>
                  <a:lnTo>
                    <a:pt x="14" y="112"/>
                  </a:lnTo>
                  <a:lnTo>
                    <a:pt x="14" y="111"/>
                  </a:lnTo>
                  <a:lnTo>
                    <a:pt x="15" y="109"/>
                  </a:lnTo>
                  <a:lnTo>
                    <a:pt x="17" y="108"/>
                  </a:lnTo>
                  <a:lnTo>
                    <a:pt x="18" y="105"/>
                  </a:lnTo>
                  <a:lnTo>
                    <a:pt x="19" y="103"/>
                  </a:lnTo>
                  <a:lnTo>
                    <a:pt x="20" y="99"/>
                  </a:lnTo>
                  <a:lnTo>
                    <a:pt x="20" y="97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19" y="87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8" y="81"/>
                  </a:lnTo>
                  <a:lnTo>
                    <a:pt x="19" y="78"/>
                  </a:lnTo>
                  <a:lnTo>
                    <a:pt x="20" y="76"/>
                  </a:lnTo>
                  <a:lnTo>
                    <a:pt x="21" y="74"/>
                  </a:lnTo>
                  <a:lnTo>
                    <a:pt x="22" y="73"/>
                  </a:lnTo>
                  <a:lnTo>
                    <a:pt x="24" y="70"/>
                  </a:lnTo>
                  <a:lnTo>
                    <a:pt x="26" y="67"/>
                  </a:lnTo>
                  <a:lnTo>
                    <a:pt x="28" y="65"/>
                  </a:lnTo>
                  <a:lnTo>
                    <a:pt x="35" y="60"/>
                  </a:lnTo>
                  <a:lnTo>
                    <a:pt x="41" y="53"/>
                  </a:lnTo>
                  <a:lnTo>
                    <a:pt x="44" y="51"/>
                  </a:lnTo>
                  <a:lnTo>
                    <a:pt x="53" y="40"/>
                  </a:lnTo>
                  <a:lnTo>
                    <a:pt x="56" y="38"/>
                  </a:lnTo>
                  <a:lnTo>
                    <a:pt x="59" y="35"/>
                  </a:lnTo>
                  <a:lnTo>
                    <a:pt x="61" y="33"/>
                  </a:lnTo>
                  <a:lnTo>
                    <a:pt x="64" y="31"/>
                  </a:lnTo>
                  <a:lnTo>
                    <a:pt x="69" y="29"/>
                  </a:lnTo>
                  <a:lnTo>
                    <a:pt x="77" y="24"/>
                  </a:lnTo>
                  <a:lnTo>
                    <a:pt x="84" y="19"/>
                  </a:lnTo>
                  <a:lnTo>
                    <a:pt x="88" y="18"/>
                  </a:lnTo>
                  <a:lnTo>
                    <a:pt x="92" y="16"/>
                  </a:lnTo>
                  <a:lnTo>
                    <a:pt x="95" y="14"/>
                  </a:lnTo>
                  <a:lnTo>
                    <a:pt x="99" y="12"/>
                  </a:lnTo>
                  <a:lnTo>
                    <a:pt x="103" y="11"/>
                  </a:lnTo>
                  <a:lnTo>
                    <a:pt x="107" y="9"/>
                  </a:lnTo>
                  <a:lnTo>
                    <a:pt x="112" y="8"/>
                  </a:lnTo>
                  <a:lnTo>
                    <a:pt x="121" y="6"/>
                  </a:lnTo>
                  <a:lnTo>
                    <a:pt x="134" y="5"/>
                  </a:lnTo>
                  <a:lnTo>
                    <a:pt x="137" y="4"/>
                  </a:lnTo>
                  <a:lnTo>
                    <a:pt x="139" y="3"/>
                  </a:lnTo>
                  <a:lnTo>
                    <a:pt x="140" y="2"/>
                  </a:lnTo>
                  <a:lnTo>
                    <a:pt x="142" y="1"/>
                  </a:lnTo>
                  <a:lnTo>
                    <a:pt x="142" y="1"/>
                  </a:lnTo>
                  <a:lnTo>
                    <a:pt x="142" y="1"/>
                  </a:lnTo>
                  <a:lnTo>
                    <a:pt x="142" y="1"/>
                  </a:lnTo>
                  <a:lnTo>
                    <a:pt x="143" y="1"/>
                  </a:lnTo>
                  <a:lnTo>
                    <a:pt x="144" y="0"/>
                  </a:lnTo>
                  <a:lnTo>
                    <a:pt x="147" y="4"/>
                  </a:lnTo>
                  <a:close/>
                </a:path>
              </a:pathLst>
            </a:custGeom>
            <a:solidFill>
              <a:srgbClr val="6BAFD6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3" name="Freeform 76">
              <a:extLst>
                <a:ext uri="{FF2B5EF4-FFF2-40B4-BE49-F238E27FC236}">
                  <a16:creationId xmlns:a16="http://schemas.microsoft.com/office/drawing/2014/main" id="{1B95232D-B989-4350-A806-94082D9F6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2" y="2728"/>
              <a:ext cx="490" cy="472"/>
            </a:xfrm>
            <a:custGeom>
              <a:avLst/>
              <a:gdLst>
                <a:gd name="T0" fmla="*/ 141 w 490"/>
                <a:gd name="T1" fmla="*/ 5 h 472"/>
                <a:gd name="T2" fmla="*/ 158 w 490"/>
                <a:gd name="T3" fmla="*/ 20 h 472"/>
                <a:gd name="T4" fmla="*/ 170 w 490"/>
                <a:gd name="T5" fmla="*/ 35 h 472"/>
                <a:gd name="T6" fmla="*/ 200 w 490"/>
                <a:gd name="T7" fmla="*/ 29 h 472"/>
                <a:gd name="T8" fmla="*/ 258 w 490"/>
                <a:gd name="T9" fmla="*/ 20 h 472"/>
                <a:gd name="T10" fmla="*/ 288 w 490"/>
                <a:gd name="T11" fmla="*/ 25 h 472"/>
                <a:gd name="T12" fmla="*/ 315 w 490"/>
                <a:gd name="T13" fmla="*/ 40 h 472"/>
                <a:gd name="T14" fmla="*/ 356 w 490"/>
                <a:gd name="T15" fmla="*/ 52 h 472"/>
                <a:gd name="T16" fmla="*/ 388 w 490"/>
                <a:gd name="T17" fmla="*/ 45 h 472"/>
                <a:gd name="T18" fmla="*/ 395 w 490"/>
                <a:gd name="T19" fmla="*/ 45 h 472"/>
                <a:gd name="T20" fmla="*/ 406 w 490"/>
                <a:gd name="T21" fmla="*/ 69 h 472"/>
                <a:gd name="T22" fmla="*/ 418 w 490"/>
                <a:gd name="T23" fmla="*/ 87 h 472"/>
                <a:gd name="T24" fmla="*/ 443 w 490"/>
                <a:gd name="T25" fmla="*/ 100 h 472"/>
                <a:gd name="T26" fmla="*/ 456 w 490"/>
                <a:gd name="T27" fmla="*/ 120 h 472"/>
                <a:gd name="T28" fmla="*/ 460 w 490"/>
                <a:gd name="T29" fmla="*/ 140 h 472"/>
                <a:gd name="T30" fmla="*/ 477 w 490"/>
                <a:gd name="T31" fmla="*/ 150 h 472"/>
                <a:gd name="T32" fmla="*/ 489 w 490"/>
                <a:gd name="T33" fmla="*/ 168 h 472"/>
                <a:gd name="T34" fmla="*/ 489 w 490"/>
                <a:gd name="T35" fmla="*/ 193 h 472"/>
                <a:gd name="T36" fmla="*/ 468 w 490"/>
                <a:gd name="T37" fmla="*/ 229 h 472"/>
                <a:gd name="T38" fmla="*/ 446 w 490"/>
                <a:gd name="T39" fmla="*/ 244 h 472"/>
                <a:gd name="T40" fmla="*/ 397 w 490"/>
                <a:gd name="T41" fmla="*/ 267 h 472"/>
                <a:gd name="T42" fmla="*/ 340 w 490"/>
                <a:gd name="T43" fmla="*/ 284 h 472"/>
                <a:gd name="T44" fmla="*/ 326 w 490"/>
                <a:gd name="T45" fmla="*/ 294 h 472"/>
                <a:gd name="T46" fmla="*/ 303 w 490"/>
                <a:gd name="T47" fmla="*/ 331 h 472"/>
                <a:gd name="T48" fmla="*/ 296 w 490"/>
                <a:gd name="T49" fmla="*/ 351 h 472"/>
                <a:gd name="T50" fmla="*/ 297 w 490"/>
                <a:gd name="T51" fmla="*/ 375 h 472"/>
                <a:gd name="T52" fmla="*/ 286 w 490"/>
                <a:gd name="T53" fmla="*/ 416 h 472"/>
                <a:gd name="T54" fmla="*/ 283 w 490"/>
                <a:gd name="T55" fmla="*/ 445 h 472"/>
                <a:gd name="T56" fmla="*/ 264 w 490"/>
                <a:gd name="T57" fmla="*/ 470 h 472"/>
                <a:gd name="T58" fmla="*/ 222 w 490"/>
                <a:gd name="T59" fmla="*/ 440 h 472"/>
                <a:gd name="T60" fmla="*/ 202 w 490"/>
                <a:gd name="T61" fmla="*/ 436 h 472"/>
                <a:gd name="T62" fmla="*/ 183 w 490"/>
                <a:gd name="T63" fmla="*/ 422 h 472"/>
                <a:gd name="T64" fmla="*/ 154 w 490"/>
                <a:gd name="T65" fmla="*/ 385 h 472"/>
                <a:gd name="T66" fmla="*/ 129 w 490"/>
                <a:gd name="T67" fmla="*/ 359 h 472"/>
                <a:gd name="T68" fmla="*/ 131 w 490"/>
                <a:gd name="T69" fmla="*/ 340 h 472"/>
                <a:gd name="T70" fmla="*/ 130 w 490"/>
                <a:gd name="T71" fmla="*/ 327 h 472"/>
                <a:gd name="T72" fmla="*/ 115 w 490"/>
                <a:gd name="T73" fmla="*/ 318 h 472"/>
                <a:gd name="T74" fmla="*/ 100 w 490"/>
                <a:gd name="T75" fmla="*/ 298 h 472"/>
                <a:gd name="T76" fmla="*/ 91 w 490"/>
                <a:gd name="T77" fmla="*/ 272 h 472"/>
                <a:gd name="T78" fmla="*/ 82 w 490"/>
                <a:gd name="T79" fmla="*/ 262 h 472"/>
                <a:gd name="T80" fmla="*/ 53 w 490"/>
                <a:gd name="T81" fmla="*/ 249 h 472"/>
                <a:gd name="T82" fmla="*/ 26 w 490"/>
                <a:gd name="T83" fmla="*/ 227 h 472"/>
                <a:gd name="T84" fmla="*/ 46 w 490"/>
                <a:gd name="T85" fmla="*/ 203 h 472"/>
                <a:gd name="T86" fmla="*/ 58 w 490"/>
                <a:gd name="T87" fmla="*/ 179 h 472"/>
                <a:gd name="T88" fmla="*/ 58 w 490"/>
                <a:gd name="T89" fmla="*/ 155 h 472"/>
                <a:gd name="T90" fmla="*/ 47 w 490"/>
                <a:gd name="T91" fmla="*/ 145 h 472"/>
                <a:gd name="T92" fmla="*/ 27 w 490"/>
                <a:gd name="T93" fmla="*/ 145 h 472"/>
                <a:gd name="T94" fmla="*/ 20 w 490"/>
                <a:gd name="T95" fmla="*/ 136 h 472"/>
                <a:gd name="T96" fmla="*/ 0 w 490"/>
                <a:gd name="T97" fmla="*/ 116 h 472"/>
                <a:gd name="T98" fmla="*/ 2 w 490"/>
                <a:gd name="T99" fmla="*/ 105 h 472"/>
                <a:gd name="T100" fmla="*/ 11 w 490"/>
                <a:gd name="T101" fmla="*/ 82 h 472"/>
                <a:gd name="T102" fmla="*/ 13 w 490"/>
                <a:gd name="T103" fmla="*/ 64 h 472"/>
                <a:gd name="T104" fmla="*/ 39 w 490"/>
                <a:gd name="T105" fmla="*/ 42 h 472"/>
                <a:gd name="T106" fmla="*/ 48 w 490"/>
                <a:gd name="T107" fmla="*/ 26 h 472"/>
                <a:gd name="T108" fmla="*/ 69 w 490"/>
                <a:gd name="T109" fmla="*/ 30 h 472"/>
                <a:gd name="T110" fmla="*/ 87 w 490"/>
                <a:gd name="T111" fmla="*/ 28 h 472"/>
                <a:gd name="T112" fmla="*/ 102 w 490"/>
                <a:gd name="T113" fmla="*/ 4 h 472"/>
                <a:gd name="T114" fmla="*/ 113 w 490"/>
                <a:gd name="T115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0" h="472">
                  <a:moveTo>
                    <a:pt x="117" y="0"/>
                  </a:moveTo>
                  <a:lnTo>
                    <a:pt x="121" y="0"/>
                  </a:lnTo>
                  <a:lnTo>
                    <a:pt x="125" y="0"/>
                  </a:lnTo>
                  <a:lnTo>
                    <a:pt x="129" y="1"/>
                  </a:lnTo>
                  <a:lnTo>
                    <a:pt x="134" y="3"/>
                  </a:lnTo>
                  <a:lnTo>
                    <a:pt x="137" y="3"/>
                  </a:lnTo>
                  <a:lnTo>
                    <a:pt x="141" y="5"/>
                  </a:lnTo>
                  <a:lnTo>
                    <a:pt x="144" y="7"/>
                  </a:lnTo>
                  <a:lnTo>
                    <a:pt x="147" y="9"/>
                  </a:lnTo>
                  <a:lnTo>
                    <a:pt x="149" y="11"/>
                  </a:lnTo>
                  <a:lnTo>
                    <a:pt x="152" y="14"/>
                  </a:lnTo>
                  <a:lnTo>
                    <a:pt x="155" y="16"/>
                  </a:lnTo>
                  <a:lnTo>
                    <a:pt x="156" y="17"/>
                  </a:lnTo>
                  <a:lnTo>
                    <a:pt x="158" y="20"/>
                  </a:lnTo>
                  <a:lnTo>
                    <a:pt x="161" y="26"/>
                  </a:lnTo>
                  <a:lnTo>
                    <a:pt x="162" y="28"/>
                  </a:lnTo>
                  <a:lnTo>
                    <a:pt x="164" y="30"/>
                  </a:lnTo>
                  <a:lnTo>
                    <a:pt x="165" y="32"/>
                  </a:lnTo>
                  <a:lnTo>
                    <a:pt x="166" y="33"/>
                  </a:lnTo>
                  <a:lnTo>
                    <a:pt x="168" y="34"/>
                  </a:lnTo>
                  <a:lnTo>
                    <a:pt x="170" y="35"/>
                  </a:lnTo>
                  <a:lnTo>
                    <a:pt x="171" y="35"/>
                  </a:lnTo>
                  <a:lnTo>
                    <a:pt x="174" y="35"/>
                  </a:lnTo>
                  <a:lnTo>
                    <a:pt x="177" y="35"/>
                  </a:lnTo>
                  <a:lnTo>
                    <a:pt x="179" y="35"/>
                  </a:lnTo>
                  <a:lnTo>
                    <a:pt x="183" y="34"/>
                  </a:lnTo>
                  <a:lnTo>
                    <a:pt x="187" y="33"/>
                  </a:lnTo>
                  <a:lnTo>
                    <a:pt x="200" y="29"/>
                  </a:lnTo>
                  <a:lnTo>
                    <a:pt x="213" y="25"/>
                  </a:lnTo>
                  <a:lnTo>
                    <a:pt x="220" y="24"/>
                  </a:lnTo>
                  <a:lnTo>
                    <a:pt x="230" y="22"/>
                  </a:lnTo>
                  <a:lnTo>
                    <a:pt x="237" y="21"/>
                  </a:lnTo>
                  <a:lnTo>
                    <a:pt x="244" y="20"/>
                  </a:lnTo>
                  <a:lnTo>
                    <a:pt x="251" y="20"/>
                  </a:lnTo>
                  <a:lnTo>
                    <a:pt x="258" y="20"/>
                  </a:lnTo>
                  <a:lnTo>
                    <a:pt x="262" y="20"/>
                  </a:lnTo>
                  <a:lnTo>
                    <a:pt x="264" y="21"/>
                  </a:lnTo>
                  <a:lnTo>
                    <a:pt x="273" y="23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5" y="25"/>
                  </a:lnTo>
                  <a:lnTo>
                    <a:pt x="288" y="25"/>
                  </a:lnTo>
                  <a:lnTo>
                    <a:pt x="291" y="25"/>
                  </a:lnTo>
                  <a:lnTo>
                    <a:pt x="294" y="25"/>
                  </a:lnTo>
                  <a:lnTo>
                    <a:pt x="296" y="27"/>
                  </a:lnTo>
                  <a:lnTo>
                    <a:pt x="299" y="29"/>
                  </a:lnTo>
                  <a:lnTo>
                    <a:pt x="302" y="31"/>
                  </a:lnTo>
                  <a:lnTo>
                    <a:pt x="311" y="37"/>
                  </a:lnTo>
                  <a:lnTo>
                    <a:pt x="315" y="40"/>
                  </a:lnTo>
                  <a:lnTo>
                    <a:pt x="319" y="42"/>
                  </a:lnTo>
                  <a:lnTo>
                    <a:pt x="322" y="44"/>
                  </a:lnTo>
                  <a:lnTo>
                    <a:pt x="325" y="46"/>
                  </a:lnTo>
                  <a:lnTo>
                    <a:pt x="329" y="47"/>
                  </a:lnTo>
                  <a:lnTo>
                    <a:pt x="346" y="50"/>
                  </a:lnTo>
                  <a:lnTo>
                    <a:pt x="352" y="51"/>
                  </a:lnTo>
                  <a:lnTo>
                    <a:pt x="356" y="52"/>
                  </a:lnTo>
                  <a:lnTo>
                    <a:pt x="361" y="52"/>
                  </a:lnTo>
                  <a:lnTo>
                    <a:pt x="364" y="51"/>
                  </a:lnTo>
                  <a:lnTo>
                    <a:pt x="368" y="51"/>
                  </a:lnTo>
                  <a:lnTo>
                    <a:pt x="373" y="50"/>
                  </a:lnTo>
                  <a:lnTo>
                    <a:pt x="376" y="48"/>
                  </a:lnTo>
                  <a:lnTo>
                    <a:pt x="384" y="47"/>
                  </a:lnTo>
                  <a:lnTo>
                    <a:pt x="388" y="45"/>
                  </a:lnTo>
                  <a:lnTo>
                    <a:pt x="392" y="45"/>
                  </a:lnTo>
                  <a:lnTo>
                    <a:pt x="393" y="45"/>
                  </a:lnTo>
                  <a:lnTo>
                    <a:pt x="393" y="45"/>
                  </a:lnTo>
                  <a:lnTo>
                    <a:pt x="393" y="45"/>
                  </a:lnTo>
                  <a:lnTo>
                    <a:pt x="394" y="45"/>
                  </a:lnTo>
                  <a:lnTo>
                    <a:pt x="395" y="45"/>
                  </a:lnTo>
                  <a:lnTo>
                    <a:pt x="395" y="45"/>
                  </a:lnTo>
                  <a:lnTo>
                    <a:pt x="396" y="47"/>
                  </a:lnTo>
                  <a:lnTo>
                    <a:pt x="398" y="48"/>
                  </a:lnTo>
                  <a:lnTo>
                    <a:pt x="398" y="48"/>
                  </a:lnTo>
                  <a:lnTo>
                    <a:pt x="399" y="50"/>
                  </a:lnTo>
                  <a:lnTo>
                    <a:pt x="400" y="52"/>
                  </a:lnTo>
                  <a:lnTo>
                    <a:pt x="401" y="56"/>
                  </a:lnTo>
                  <a:lnTo>
                    <a:pt x="406" y="69"/>
                  </a:lnTo>
                  <a:lnTo>
                    <a:pt x="408" y="73"/>
                  </a:lnTo>
                  <a:lnTo>
                    <a:pt x="409" y="75"/>
                  </a:lnTo>
                  <a:lnTo>
                    <a:pt x="410" y="77"/>
                  </a:lnTo>
                  <a:lnTo>
                    <a:pt x="412" y="80"/>
                  </a:lnTo>
                  <a:lnTo>
                    <a:pt x="414" y="82"/>
                  </a:lnTo>
                  <a:lnTo>
                    <a:pt x="417" y="85"/>
                  </a:lnTo>
                  <a:lnTo>
                    <a:pt x="418" y="87"/>
                  </a:lnTo>
                  <a:lnTo>
                    <a:pt x="420" y="88"/>
                  </a:lnTo>
                  <a:lnTo>
                    <a:pt x="421" y="89"/>
                  </a:lnTo>
                  <a:lnTo>
                    <a:pt x="423" y="91"/>
                  </a:lnTo>
                  <a:lnTo>
                    <a:pt x="431" y="93"/>
                  </a:lnTo>
                  <a:lnTo>
                    <a:pt x="438" y="98"/>
                  </a:lnTo>
                  <a:lnTo>
                    <a:pt x="440" y="99"/>
                  </a:lnTo>
                  <a:lnTo>
                    <a:pt x="443" y="100"/>
                  </a:lnTo>
                  <a:lnTo>
                    <a:pt x="444" y="102"/>
                  </a:lnTo>
                  <a:lnTo>
                    <a:pt x="446" y="105"/>
                  </a:lnTo>
                  <a:lnTo>
                    <a:pt x="450" y="110"/>
                  </a:lnTo>
                  <a:lnTo>
                    <a:pt x="453" y="114"/>
                  </a:lnTo>
                  <a:lnTo>
                    <a:pt x="455" y="116"/>
                  </a:lnTo>
                  <a:lnTo>
                    <a:pt x="455" y="117"/>
                  </a:lnTo>
                  <a:lnTo>
                    <a:pt x="456" y="120"/>
                  </a:lnTo>
                  <a:lnTo>
                    <a:pt x="457" y="123"/>
                  </a:lnTo>
                  <a:lnTo>
                    <a:pt x="457" y="125"/>
                  </a:lnTo>
                  <a:lnTo>
                    <a:pt x="458" y="127"/>
                  </a:lnTo>
                  <a:lnTo>
                    <a:pt x="458" y="135"/>
                  </a:lnTo>
                  <a:lnTo>
                    <a:pt x="458" y="138"/>
                  </a:lnTo>
                  <a:lnTo>
                    <a:pt x="459" y="139"/>
                  </a:lnTo>
                  <a:lnTo>
                    <a:pt x="460" y="140"/>
                  </a:lnTo>
                  <a:lnTo>
                    <a:pt x="460" y="141"/>
                  </a:lnTo>
                  <a:lnTo>
                    <a:pt x="462" y="143"/>
                  </a:lnTo>
                  <a:lnTo>
                    <a:pt x="464" y="144"/>
                  </a:lnTo>
                  <a:lnTo>
                    <a:pt x="466" y="146"/>
                  </a:lnTo>
                  <a:lnTo>
                    <a:pt x="468" y="147"/>
                  </a:lnTo>
                  <a:lnTo>
                    <a:pt x="472" y="149"/>
                  </a:lnTo>
                  <a:lnTo>
                    <a:pt x="477" y="150"/>
                  </a:lnTo>
                  <a:lnTo>
                    <a:pt x="479" y="151"/>
                  </a:lnTo>
                  <a:lnTo>
                    <a:pt x="484" y="152"/>
                  </a:lnTo>
                  <a:lnTo>
                    <a:pt x="485" y="153"/>
                  </a:lnTo>
                  <a:lnTo>
                    <a:pt x="485" y="154"/>
                  </a:lnTo>
                  <a:lnTo>
                    <a:pt x="487" y="157"/>
                  </a:lnTo>
                  <a:lnTo>
                    <a:pt x="488" y="162"/>
                  </a:lnTo>
                  <a:lnTo>
                    <a:pt x="489" y="168"/>
                  </a:lnTo>
                  <a:lnTo>
                    <a:pt x="489" y="171"/>
                  </a:lnTo>
                  <a:lnTo>
                    <a:pt x="490" y="174"/>
                  </a:lnTo>
                  <a:lnTo>
                    <a:pt x="490" y="180"/>
                  </a:lnTo>
                  <a:lnTo>
                    <a:pt x="490" y="184"/>
                  </a:lnTo>
                  <a:lnTo>
                    <a:pt x="490" y="186"/>
                  </a:lnTo>
                  <a:lnTo>
                    <a:pt x="490" y="189"/>
                  </a:lnTo>
                  <a:lnTo>
                    <a:pt x="489" y="193"/>
                  </a:lnTo>
                  <a:lnTo>
                    <a:pt x="489" y="197"/>
                  </a:lnTo>
                  <a:lnTo>
                    <a:pt x="487" y="202"/>
                  </a:lnTo>
                  <a:lnTo>
                    <a:pt x="484" y="207"/>
                  </a:lnTo>
                  <a:lnTo>
                    <a:pt x="482" y="210"/>
                  </a:lnTo>
                  <a:lnTo>
                    <a:pt x="478" y="217"/>
                  </a:lnTo>
                  <a:lnTo>
                    <a:pt x="472" y="224"/>
                  </a:lnTo>
                  <a:lnTo>
                    <a:pt x="468" y="229"/>
                  </a:lnTo>
                  <a:lnTo>
                    <a:pt x="466" y="230"/>
                  </a:lnTo>
                  <a:lnTo>
                    <a:pt x="465" y="232"/>
                  </a:lnTo>
                  <a:lnTo>
                    <a:pt x="462" y="234"/>
                  </a:lnTo>
                  <a:lnTo>
                    <a:pt x="459" y="237"/>
                  </a:lnTo>
                  <a:lnTo>
                    <a:pt x="455" y="239"/>
                  </a:lnTo>
                  <a:lnTo>
                    <a:pt x="453" y="241"/>
                  </a:lnTo>
                  <a:lnTo>
                    <a:pt x="446" y="244"/>
                  </a:lnTo>
                  <a:lnTo>
                    <a:pt x="434" y="249"/>
                  </a:lnTo>
                  <a:lnTo>
                    <a:pt x="431" y="252"/>
                  </a:lnTo>
                  <a:lnTo>
                    <a:pt x="417" y="258"/>
                  </a:lnTo>
                  <a:lnTo>
                    <a:pt x="409" y="263"/>
                  </a:lnTo>
                  <a:lnTo>
                    <a:pt x="405" y="263"/>
                  </a:lnTo>
                  <a:lnTo>
                    <a:pt x="401" y="265"/>
                  </a:lnTo>
                  <a:lnTo>
                    <a:pt x="397" y="267"/>
                  </a:lnTo>
                  <a:lnTo>
                    <a:pt x="383" y="273"/>
                  </a:lnTo>
                  <a:lnTo>
                    <a:pt x="375" y="275"/>
                  </a:lnTo>
                  <a:lnTo>
                    <a:pt x="370" y="276"/>
                  </a:lnTo>
                  <a:lnTo>
                    <a:pt x="367" y="277"/>
                  </a:lnTo>
                  <a:lnTo>
                    <a:pt x="350" y="281"/>
                  </a:lnTo>
                  <a:lnTo>
                    <a:pt x="344" y="283"/>
                  </a:lnTo>
                  <a:lnTo>
                    <a:pt x="340" y="284"/>
                  </a:lnTo>
                  <a:lnTo>
                    <a:pt x="337" y="285"/>
                  </a:lnTo>
                  <a:lnTo>
                    <a:pt x="335" y="286"/>
                  </a:lnTo>
                  <a:lnTo>
                    <a:pt x="332" y="287"/>
                  </a:lnTo>
                  <a:lnTo>
                    <a:pt x="330" y="289"/>
                  </a:lnTo>
                  <a:lnTo>
                    <a:pt x="329" y="290"/>
                  </a:lnTo>
                  <a:lnTo>
                    <a:pt x="327" y="292"/>
                  </a:lnTo>
                  <a:lnTo>
                    <a:pt x="326" y="294"/>
                  </a:lnTo>
                  <a:lnTo>
                    <a:pt x="324" y="295"/>
                  </a:lnTo>
                  <a:lnTo>
                    <a:pt x="322" y="298"/>
                  </a:lnTo>
                  <a:lnTo>
                    <a:pt x="319" y="307"/>
                  </a:lnTo>
                  <a:lnTo>
                    <a:pt x="316" y="309"/>
                  </a:lnTo>
                  <a:lnTo>
                    <a:pt x="313" y="314"/>
                  </a:lnTo>
                  <a:lnTo>
                    <a:pt x="307" y="323"/>
                  </a:lnTo>
                  <a:lnTo>
                    <a:pt x="303" y="331"/>
                  </a:lnTo>
                  <a:lnTo>
                    <a:pt x="300" y="334"/>
                  </a:lnTo>
                  <a:lnTo>
                    <a:pt x="299" y="337"/>
                  </a:lnTo>
                  <a:lnTo>
                    <a:pt x="298" y="339"/>
                  </a:lnTo>
                  <a:lnTo>
                    <a:pt x="297" y="342"/>
                  </a:lnTo>
                  <a:lnTo>
                    <a:pt x="297" y="345"/>
                  </a:lnTo>
                  <a:lnTo>
                    <a:pt x="296" y="348"/>
                  </a:lnTo>
                  <a:lnTo>
                    <a:pt x="296" y="351"/>
                  </a:lnTo>
                  <a:lnTo>
                    <a:pt x="296" y="354"/>
                  </a:lnTo>
                  <a:lnTo>
                    <a:pt x="296" y="355"/>
                  </a:lnTo>
                  <a:lnTo>
                    <a:pt x="297" y="362"/>
                  </a:lnTo>
                  <a:lnTo>
                    <a:pt x="298" y="365"/>
                  </a:lnTo>
                  <a:lnTo>
                    <a:pt x="298" y="370"/>
                  </a:lnTo>
                  <a:lnTo>
                    <a:pt x="298" y="373"/>
                  </a:lnTo>
                  <a:lnTo>
                    <a:pt x="297" y="375"/>
                  </a:lnTo>
                  <a:lnTo>
                    <a:pt x="296" y="383"/>
                  </a:lnTo>
                  <a:lnTo>
                    <a:pt x="295" y="388"/>
                  </a:lnTo>
                  <a:lnTo>
                    <a:pt x="293" y="395"/>
                  </a:lnTo>
                  <a:lnTo>
                    <a:pt x="289" y="406"/>
                  </a:lnTo>
                  <a:lnTo>
                    <a:pt x="288" y="409"/>
                  </a:lnTo>
                  <a:lnTo>
                    <a:pt x="287" y="412"/>
                  </a:lnTo>
                  <a:lnTo>
                    <a:pt x="286" y="416"/>
                  </a:lnTo>
                  <a:lnTo>
                    <a:pt x="286" y="420"/>
                  </a:lnTo>
                  <a:lnTo>
                    <a:pt x="285" y="423"/>
                  </a:lnTo>
                  <a:lnTo>
                    <a:pt x="285" y="433"/>
                  </a:lnTo>
                  <a:lnTo>
                    <a:pt x="285" y="436"/>
                  </a:lnTo>
                  <a:lnTo>
                    <a:pt x="285" y="439"/>
                  </a:lnTo>
                  <a:lnTo>
                    <a:pt x="284" y="442"/>
                  </a:lnTo>
                  <a:lnTo>
                    <a:pt x="283" y="445"/>
                  </a:lnTo>
                  <a:lnTo>
                    <a:pt x="282" y="447"/>
                  </a:lnTo>
                  <a:lnTo>
                    <a:pt x="280" y="450"/>
                  </a:lnTo>
                  <a:lnTo>
                    <a:pt x="273" y="467"/>
                  </a:lnTo>
                  <a:lnTo>
                    <a:pt x="269" y="472"/>
                  </a:lnTo>
                  <a:lnTo>
                    <a:pt x="269" y="472"/>
                  </a:lnTo>
                  <a:lnTo>
                    <a:pt x="267" y="472"/>
                  </a:lnTo>
                  <a:lnTo>
                    <a:pt x="264" y="470"/>
                  </a:lnTo>
                  <a:lnTo>
                    <a:pt x="253" y="463"/>
                  </a:lnTo>
                  <a:lnTo>
                    <a:pt x="242" y="455"/>
                  </a:lnTo>
                  <a:lnTo>
                    <a:pt x="239" y="452"/>
                  </a:lnTo>
                  <a:lnTo>
                    <a:pt x="233" y="447"/>
                  </a:lnTo>
                  <a:lnTo>
                    <a:pt x="230" y="445"/>
                  </a:lnTo>
                  <a:lnTo>
                    <a:pt x="227" y="443"/>
                  </a:lnTo>
                  <a:lnTo>
                    <a:pt x="222" y="440"/>
                  </a:lnTo>
                  <a:lnTo>
                    <a:pt x="220" y="439"/>
                  </a:lnTo>
                  <a:lnTo>
                    <a:pt x="219" y="438"/>
                  </a:lnTo>
                  <a:lnTo>
                    <a:pt x="217" y="438"/>
                  </a:lnTo>
                  <a:lnTo>
                    <a:pt x="216" y="437"/>
                  </a:lnTo>
                  <a:lnTo>
                    <a:pt x="212" y="437"/>
                  </a:lnTo>
                  <a:lnTo>
                    <a:pt x="204" y="436"/>
                  </a:lnTo>
                  <a:lnTo>
                    <a:pt x="202" y="436"/>
                  </a:lnTo>
                  <a:lnTo>
                    <a:pt x="199" y="435"/>
                  </a:lnTo>
                  <a:lnTo>
                    <a:pt x="197" y="434"/>
                  </a:lnTo>
                  <a:lnTo>
                    <a:pt x="194" y="433"/>
                  </a:lnTo>
                  <a:lnTo>
                    <a:pt x="193" y="432"/>
                  </a:lnTo>
                  <a:lnTo>
                    <a:pt x="191" y="430"/>
                  </a:lnTo>
                  <a:lnTo>
                    <a:pt x="186" y="424"/>
                  </a:lnTo>
                  <a:lnTo>
                    <a:pt x="183" y="422"/>
                  </a:lnTo>
                  <a:lnTo>
                    <a:pt x="177" y="411"/>
                  </a:lnTo>
                  <a:lnTo>
                    <a:pt x="169" y="399"/>
                  </a:lnTo>
                  <a:lnTo>
                    <a:pt x="164" y="395"/>
                  </a:lnTo>
                  <a:lnTo>
                    <a:pt x="161" y="390"/>
                  </a:lnTo>
                  <a:lnTo>
                    <a:pt x="159" y="388"/>
                  </a:lnTo>
                  <a:lnTo>
                    <a:pt x="157" y="387"/>
                  </a:lnTo>
                  <a:lnTo>
                    <a:pt x="154" y="385"/>
                  </a:lnTo>
                  <a:lnTo>
                    <a:pt x="148" y="381"/>
                  </a:lnTo>
                  <a:lnTo>
                    <a:pt x="145" y="378"/>
                  </a:lnTo>
                  <a:lnTo>
                    <a:pt x="137" y="370"/>
                  </a:lnTo>
                  <a:lnTo>
                    <a:pt x="134" y="366"/>
                  </a:lnTo>
                  <a:lnTo>
                    <a:pt x="132" y="365"/>
                  </a:lnTo>
                  <a:lnTo>
                    <a:pt x="131" y="362"/>
                  </a:lnTo>
                  <a:lnTo>
                    <a:pt x="129" y="359"/>
                  </a:lnTo>
                  <a:lnTo>
                    <a:pt x="129" y="356"/>
                  </a:lnTo>
                  <a:lnTo>
                    <a:pt x="128" y="353"/>
                  </a:lnTo>
                  <a:lnTo>
                    <a:pt x="128" y="352"/>
                  </a:lnTo>
                  <a:lnTo>
                    <a:pt x="129" y="350"/>
                  </a:lnTo>
                  <a:lnTo>
                    <a:pt x="130" y="344"/>
                  </a:lnTo>
                  <a:lnTo>
                    <a:pt x="131" y="341"/>
                  </a:lnTo>
                  <a:lnTo>
                    <a:pt x="131" y="340"/>
                  </a:lnTo>
                  <a:lnTo>
                    <a:pt x="132" y="337"/>
                  </a:lnTo>
                  <a:lnTo>
                    <a:pt x="132" y="335"/>
                  </a:lnTo>
                  <a:lnTo>
                    <a:pt x="132" y="334"/>
                  </a:lnTo>
                  <a:lnTo>
                    <a:pt x="132" y="332"/>
                  </a:lnTo>
                  <a:lnTo>
                    <a:pt x="131" y="330"/>
                  </a:lnTo>
                  <a:lnTo>
                    <a:pt x="131" y="328"/>
                  </a:lnTo>
                  <a:lnTo>
                    <a:pt x="130" y="327"/>
                  </a:lnTo>
                  <a:lnTo>
                    <a:pt x="129" y="325"/>
                  </a:lnTo>
                  <a:lnTo>
                    <a:pt x="128" y="324"/>
                  </a:lnTo>
                  <a:lnTo>
                    <a:pt x="127" y="323"/>
                  </a:lnTo>
                  <a:lnTo>
                    <a:pt x="125" y="322"/>
                  </a:lnTo>
                  <a:lnTo>
                    <a:pt x="125" y="321"/>
                  </a:lnTo>
                  <a:lnTo>
                    <a:pt x="117" y="319"/>
                  </a:lnTo>
                  <a:lnTo>
                    <a:pt x="115" y="318"/>
                  </a:lnTo>
                  <a:lnTo>
                    <a:pt x="114" y="317"/>
                  </a:lnTo>
                  <a:lnTo>
                    <a:pt x="112" y="315"/>
                  </a:lnTo>
                  <a:lnTo>
                    <a:pt x="110" y="313"/>
                  </a:lnTo>
                  <a:lnTo>
                    <a:pt x="108" y="310"/>
                  </a:lnTo>
                  <a:lnTo>
                    <a:pt x="106" y="309"/>
                  </a:lnTo>
                  <a:lnTo>
                    <a:pt x="103" y="305"/>
                  </a:lnTo>
                  <a:lnTo>
                    <a:pt x="100" y="298"/>
                  </a:lnTo>
                  <a:lnTo>
                    <a:pt x="97" y="292"/>
                  </a:lnTo>
                  <a:lnTo>
                    <a:pt x="95" y="287"/>
                  </a:lnTo>
                  <a:lnTo>
                    <a:pt x="94" y="285"/>
                  </a:lnTo>
                  <a:lnTo>
                    <a:pt x="93" y="282"/>
                  </a:lnTo>
                  <a:lnTo>
                    <a:pt x="92" y="279"/>
                  </a:lnTo>
                  <a:lnTo>
                    <a:pt x="91" y="275"/>
                  </a:lnTo>
                  <a:lnTo>
                    <a:pt x="91" y="272"/>
                  </a:lnTo>
                  <a:lnTo>
                    <a:pt x="91" y="270"/>
                  </a:lnTo>
                  <a:lnTo>
                    <a:pt x="90" y="269"/>
                  </a:lnTo>
                  <a:lnTo>
                    <a:pt x="90" y="268"/>
                  </a:lnTo>
                  <a:lnTo>
                    <a:pt x="89" y="267"/>
                  </a:lnTo>
                  <a:lnTo>
                    <a:pt x="87" y="265"/>
                  </a:lnTo>
                  <a:lnTo>
                    <a:pt x="84" y="263"/>
                  </a:lnTo>
                  <a:lnTo>
                    <a:pt x="82" y="262"/>
                  </a:lnTo>
                  <a:lnTo>
                    <a:pt x="74" y="258"/>
                  </a:lnTo>
                  <a:lnTo>
                    <a:pt x="72" y="257"/>
                  </a:lnTo>
                  <a:lnTo>
                    <a:pt x="70" y="256"/>
                  </a:lnTo>
                  <a:lnTo>
                    <a:pt x="63" y="254"/>
                  </a:lnTo>
                  <a:lnTo>
                    <a:pt x="60" y="252"/>
                  </a:lnTo>
                  <a:lnTo>
                    <a:pt x="57" y="252"/>
                  </a:lnTo>
                  <a:lnTo>
                    <a:pt x="53" y="249"/>
                  </a:lnTo>
                  <a:lnTo>
                    <a:pt x="42" y="241"/>
                  </a:lnTo>
                  <a:lnTo>
                    <a:pt x="39" y="240"/>
                  </a:lnTo>
                  <a:lnTo>
                    <a:pt x="36" y="237"/>
                  </a:lnTo>
                  <a:lnTo>
                    <a:pt x="33" y="234"/>
                  </a:lnTo>
                  <a:lnTo>
                    <a:pt x="28" y="229"/>
                  </a:lnTo>
                  <a:lnTo>
                    <a:pt x="26" y="228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27" y="226"/>
                  </a:lnTo>
                  <a:lnTo>
                    <a:pt x="28" y="225"/>
                  </a:lnTo>
                  <a:lnTo>
                    <a:pt x="31" y="222"/>
                  </a:lnTo>
                  <a:lnTo>
                    <a:pt x="34" y="219"/>
                  </a:lnTo>
                  <a:lnTo>
                    <a:pt x="36" y="217"/>
                  </a:lnTo>
                  <a:lnTo>
                    <a:pt x="46" y="203"/>
                  </a:lnTo>
                  <a:lnTo>
                    <a:pt x="48" y="200"/>
                  </a:lnTo>
                  <a:lnTo>
                    <a:pt x="52" y="195"/>
                  </a:lnTo>
                  <a:lnTo>
                    <a:pt x="55" y="190"/>
                  </a:lnTo>
                  <a:lnTo>
                    <a:pt x="57" y="187"/>
                  </a:lnTo>
                  <a:lnTo>
                    <a:pt x="57" y="184"/>
                  </a:lnTo>
                  <a:lnTo>
                    <a:pt x="58" y="182"/>
                  </a:lnTo>
                  <a:lnTo>
                    <a:pt x="58" y="179"/>
                  </a:lnTo>
                  <a:lnTo>
                    <a:pt x="60" y="170"/>
                  </a:lnTo>
                  <a:lnTo>
                    <a:pt x="61" y="167"/>
                  </a:lnTo>
                  <a:lnTo>
                    <a:pt x="61" y="163"/>
                  </a:lnTo>
                  <a:lnTo>
                    <a:pt x="60" y="161"/>
                  </a:lnTo>
                  <a:lnTo>
                    <a:pt x="60" y="161"/>
                  </a:lnTo>
                  <a:lnTo>
                    <a:pt x="59" y="158"/>
                  </a:lnTo>
                  <a:lnTo>
                    <a:pt x="58" y="155"/>
                  </a:lnTo>
                  <a:lnTo>
                    <a:pt x="57" y="153"/>
                  </a:lnTo>
                  <a:lnTo>
                    <a:pt x="55" y="150"/>
                  </a:lnTo>
                  <a:lnTo>
                    <a:pt x="54" y="149"/>
                  </a:lnTo>
                  <a:lnTo>
                    <a:pt x="53" y="148"/>
                  </a:lnTo>
                  <a:lnTo>
                    <a:pt x="51" y="146"/>
                  </a:lnTo>
                  <a:lnTo>
                    <a:pt x="49" y="145"/>
                  </a:lnTo>
                  <a:lnTo>
                    <a:pt x="47" y="145"/>
                  </a:lnTo>
                  <a:lnTo>
                    <a:pt x="46" y="144"/>
                  </a:lnTo>
                  <a:lnTo>
                    <a:pt x="45" y="144"/>
                  </a:lnTo>
                  <a:lnTo>
                    <a:pt x="43" y="144"/>
                  </a:lnTo>
                  <a:lnTo>
                    <a:pt x="37" y="145"/>
                  </a:lnTo>
                  <a:lnTo>
                    <a:pt x="32" y="145"/>
                  </a:lnTo>
                  <a:lnTo>
                    <a:pt x="29" y="145"/>
                  </a:lnTo>
                  <a:lnTo>
                    <a:pt x="27" y="145"/>
                  </a:lnTo>
                  <a:lnTo>
                    <a:pt x="26" y="144"/>
                  </a:lnTo>
                  <a:lnTo>
                    <a:pt x="25" y="144"/>
                  </a:lnTo>
                  <a:lnTo>
                    <a:pt x="23" y="143"/>
                  </a:lnTo>
                  <a:lnTo>
                    <a:pt x="23" y="142"/>
                  </a:lnTo>
                  <a:lnTo>
                    <a:pt x="23" y="141"/>
                  </a:lnTo>
                  <a:lnTo>
                    <a:pt x="21" y="138"/>
                  </a:lnTo>
                  <a:lnTo>
                    <a:pt x="20" y="136"/>
                  </a:lnTo>
                  <a:lnTo>
                    <a:pt x="18" y="134"/>
                  </a:lnTo>
                  <a:lnTo>
                    <a:pt x="16" y="132"/>
                  </a:lnTo>
                  <a:lnTo>
                    <a:pt x="13" y="128"/>
                  </a:lnTo>
                  <a:lnTo>
                    <a:pt x="9" y="125"/>
                  </a:lnTo>
                  <a:lnTo>
                    <a:pt x="6" y="122"/>
                  </a:lnTo>
                  <a:lnTo>
                    <a:pt x="1" y="117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2" y="105"/>
                  </a:lnTo>
                  <a:lnTo>
                    <a:pt x="3" y="102"/>
                  </a:lnTo>
                  <a:lnTo>
                    <a:pt x="6" y="94"/>
                  </a:lnTo>
                  <a:lnTo>
                    <a:pt x="8" y="90"/>
                  </a:lnTo>
                  <a:lnTo>
                    <a:pt x="9" y="87"/>
                  </a:lnTo>
                  <a:lnTo>
                    <a:pt x="10" y="84"/>
                  </a:lnTo>
                  <a:lnTo>
                    <a:pt x="10" y="83"/>
                  </a:lnTo>
                  <a:lnTo>
                    <a:pt x="11" y="82"/>
                  </a:lnTo>
                  <a:lnTo>
                    <a:pt x="11" y="72"/>
                  </a:lnTo>
                  <a:lnTo>
                    <a:pt x="11" y="71"/>
                  </a:lnTo>
                  <a:lnTo>
                    <a:pt x="11" y="69"/>
                  </a:lnTo>
                  <a:lnTo>
                    <a:pt x="12" y="68"/>
                  </a:lnTo>
                  <a:lnTo>
                    <a:pt x="12" y="67"/>
                  </a:lnTo>
                  <a:lnTo>
                    <a:pt x="12" y="65"/>
                  </a:lnTo>
                  <a:lnTo>
                    <a:pt x="13" y="64"/>
                  </a:lnTo>
                  <a:lnTo>
                    <a:pt x="19" y="59"/>
                  </a:lnTo>
                  <a:lnTo>
                    <a:pt x="24" y="53"/>
                  </a:lnTo>
                  <a:lnTo>
                    <a:pt x="26" y="51"/>
                  </a:lnTo>
                  <a:lnTo>
                    <a:pt x="28" y="49"/>
                  </a:lnTo>
                  <a:lnTo>
                    <a:pt x="35" y="45"/>
                  </a:lnTo>
                  <a:lnTo>
                    <a:pt x="37" y="43"/>
                  </a:lnTo>
                  <a:lnTo>
                    <a:pt x="39" y="42"/>
                  </a:lnTo>
                  <a:lnTo>
                    <a:pt x="40" y="40"/>
                  </a:lnTo>
                  <a:lnTo>
                    <a:pt x="42" y="37"/>
                  </a:lnTo>
                  <a:lnTo>
                    <a:pt x="43" y="35"/>
                  </a:lnTo>
                  <a:lnTo>
                    <a:pt x="46" y="30"/>
                  </a:lnTo>
                  <a:lnTo>
                    <a:pt x="46" y="28"/>
                  </a:lnTo>
                  <a:lnTo>
                    <a:pt x="47" y="27"/>
                  </a:lnTo>
                  <a:lnTo>
                    <a:pt x="48" y="26"/>
                  </a:lnTo>
                  <a:lnTo>
                    <a:pt x="49" y="25"/>
                  </a:lnTo>
                  <a:lnTo>
                    <a:pt x="51" y="25"/>
                  </a:lnTo>
                  <a:lnTo>
                    <a:pt x="52" y="25"/>
                  </a:lnTo>
                  <a:lnTo>
                    <a:pt x="54" y="26"/>
                  </a:lnTo>
                  <a:lnTo>
                    <a:pt x="59" y="27"/>
                  </a:lnTo>
                  <a:lnTo>
                    <a:pt x="66" y="29"/>
                  </a:lnTo>
                  <a:lnTo>
                    <a:pt x="69" y="30"/>
                  </a:lnTo>
                  <a:lnTo>
                    <a:pt x="73" y="31"/>
                  </a:lnTo>
                  <a:lnTo>
                    <a:pt x="77" y="32"/>
                  </a:lnTo>
                  <a:lnTo>
                    <a:pt x="79" y="32"/>
                  </a:lnTo>
                  <a:lnTo>
                    <a:pt x="80" y="31"/>
                  </a:lnTo>
                  <a:lnTo>
                    <a:pt x="81" y="31"/>
                  </a:lnTo>
                  <a:lnTo>
                    <a:pt x="84" y="30"/>
                  </a:lnTo>
                  <a:lnTo>
                    <a:pt x="87" y="28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3" y="21"/>
                  </a:lnTo>
                  <a:lnTo>
                    <a:pt x="97" y="16"/>
                  </a:lnTo>
                  <a:lnTo>
                    <a:pt x="99" y="12"/>
                  </a:lnTo>
                  <a:lnTo>
                    <a:pt x="101" y="8"/>
                  </a:lnTo>
                  <a:lnTo>
                    <a:pt x="102" y="4"/>
                  </a:lnTo>
                  <a:lnTo>
                    <a:pt x="103" y="3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5" y="2"/>
                  </a:lnTo>
                  <a:lnTo>
                    <a:pt x="109" y="2"/>
                  </a:lnTo>
                  <a:lnTo>
                    <a:pt x="111" y="1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4" name="Freeform 77">
              <a:extLst>
                <a:ext uri="{FF2B5EF4-FFF2-40B4-BE49-F238E27FC236}">
                  <a16:creationId xmlns:a16="http://schemas.microsoft.com/office/drawing/2014/main" id="{73ADD88F-E3D9-4628-BC83-3FACDBB3B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3" y="2949"/>
              <a:ext cx="554" cy="399"/>
            </a:xfrm>
            <a:custGeom>
              <a:avLst/>
              <a:gdLst>
                <a:gd name="T0" fmla="*/ 281 w 554"/>
                <a:gd name="T1" fmla="*/ 6 h 399"/>
                <a:gd name="T2" fmla="*/ 300 w 554"/>
                <a:gd name="T3" fmla="*/ 8 h 399"/>
                <a:gd name="T4" fmla="*/ 315 w 554"/>
                <a:gd name="T5" fmla="*/ 16 h 399"/>
                <a:gd name="T6" fmla="*/ 351 w 554"/>
                <a:gd name="T7" fmla="*/ 36 h 399"/>
                <a:gd name="T8" fmla="*/ 370 w 554"/>
                <a:gd name="T9" fmla="*/ 49 h 399"/>
                <a:gd name="T10" fmla="*/ 379 w 554"/>
                <a:gd name="T11" fmla="*/ 77 h 399"/>
                <a:gd name="T12" fmla="*/ 396 w 554"/>
                <a:gd name="T13" fmla="*/ 98 h 399"/>
                <a:gd name="T14" fmla="*/ 410 w 554"/>
                <a:gd name="T15" fmla="*/ 109 h 399"/>
                <a:gd name="T16" fmla="*/ 408 w 554"/>
                <a:gd name="T17" fmla="*/ 129 h 399"/>
                <a:gd name="T18" fmla="*/ 416 w 554"/>
                <a:gd name="T19" fmla="*/ 149 h 399"/>
                <a:gd name="T20" fmla="*/ 448 w 554"/>
                <a:gd name="T21" fmla="*/ 178 h 399"/>
                <a:gd name="T22" fmla="*/ 478 w 554"/>
                <a:gd name="T23" fmla="*/ 214 h 399"/>
                <a:gd name="T24" fmla="*/ 501 w 554"/>
                <a:gd name="T25" fmla="*/ 219 h 399"/>
                <a:gd name="T26" fmla="*/ 546 w 554"/>
                <a:gd name="T27" fmla="*/ 251 h 399"/>
                <a:gd name="T28" fmla="*/ 553 w 554"/>
                <a:gd name="T29" fmla="*/ 267 h 399"/>
                <a:gd name="T30" fmla="*/ 552 w 554"/>
                <a:gd name="T31" fmla="*/ 307 h 399"/>
                <a:gd name="T32" fmla="*/ 532 w 554"/>
                <a:gd name="T33" fmla="*/ 355 h 399"/>
                <a:gd name="T34" fmla="*/ 513 w 554"/>
                <a:gd name="T35" fmla="*/ 375 h 399"/>
                <a:gd name="T36" fmla="*/ 483 w 554"/>
                <a:gd name="T37" fmla="*/ 386 h 399"/>
                <a:gd name="T38" fmla="*/ 429 w 554"/>
                <a:gd name="T39" fmla="*/ 390 h 399"/>
                <a:gd name="T40" fmla="*/ 407 w 554"/>
                <a:gd name="T41" fmla="*/ 399 h 399"/>
                <a:gd name="T42" fmla="*/ 392 w 554"/>
                <a:gd name="T43" fmla="*/ 382 h 399"/>
                <a:gd name="T44" fmla="*/ 378 w 554"/>
                <a:gd name="T45" fmla="*/ 355 h 399"/>
                <a:gd name="T46" fmla="*/ 357 w 554"/>
                <a:gd name="T47" fmla="*/ 352 h 399"/>
                <a:gd name="T48" fmla="*/ 325 w 554"/>
                <a:gd name="T49" fmla="*/ 342 h 399"/>
                <a:gd name="T50" fmla="*/ 305 w 554"/>
                <a:gd name="T51" fmla="*/ 327 h 399"/>
                <a:gd name="T52" fmla="*/ 288 w 554"/>
                <a:gd name="T53" fmla="*/ 324 h 399"/>
                <a:gd name="T54" fmla="*/ 261 w 554"/>
                <a:gd name="T55" fmla="*/ 339 h 399"/>
                <a:gd name="T56" fmla="*/ 239 w 554"/>
                <a:gd name="T57" fmla="*/ 352 h 399"/>
                <a:gd name="T58" fmla="*/ 225 w 554"/>
                <a:gd name="T59" fmla="*/ 348 h 399"/>
                <a:gd name="T60" fmla="*/ 208 w 554"/>
                <a:gd name="T61" fmla="*/ 326 h 399"/>
                <a:gd name="T62" fmla="*/ 185 w 554"/>
                <a:gd name="T63" fmla="*/ 300 h 399"/>
                <a:gd name="T64" fmla="*/ 190 w 554"/>
                <a:gd name="T65" fmla="*/ 269 h 399"/>
                <a:gd name="T66" fmla="*/ 188 w 554"/>
                <a:gd name="T67" fmla="*/ 254 h 399"/>
                <a:gd name="T68" fmla="*/ 173 w 554"/>
                <a:gd name="T69" fmla="*/ 247 h 399"/>
                <a:gd name="T70" fmla="*/ 140 w 554"/>
                <a:gd name="T71" fmla="*/ 255 h 399"/>
                <a:gd name="T72" fmla="*/ 105 w 554"/>
                <a:gd name="T73" fmla="*/ 266 h 399"/>
                <a:gd name="T74" fmla="*/ 77 w 554"/>
                <a:gd name="T75" fmla="*/ 279 h 399"/>
                <a:gd name="T76" fmla="*/ 55 w 554"/>
                <a:gd name="T77" fmla="*/ 261 h 399"/>
                <a:gd name="T78" fmla="*/ 27 w 554"/>
                <a:gd name="T79" fmla="*/ 234 h 399"/>
                <a:gd name="T80" fmla="*/ 1 w 554"/>
                <a:gd name="T81" fmla="*/ 205 h 399"/>
                <a:gd name="T82" fmla="*/ 36 w 554"/>
                <a:gd name="T83" fmla="*/ 190 h 399"/>
                <a:gd name="T84" fmla="*/ 50 w 554"/>
                <a:gd name="T85" fmla="*/ 178 h 399"/>
                <a:gd name="T86" fmla="*/ 63 w 554"/>
                <a:gd name="T87" fmla="*/ 162 h 399"/>
                <a:gd name="T88" fmla="*/ 68 w 554"/>
                <a:gd name="T89" fmla="*/ 150 h 399"/>
                <a:gd name="T90" fmla="*/ 61 w 554"/>
                <a:gd name="T91" fmla="*/ 127 h 399"/>
                <a:gd name="T92" fmla="*/ 64 w 554"/>
                <a:gd name="T93" fmla="*/ 115 h 399"/>
                <a:gd name="T94" fmla="*/ 80 w 554"/>
                <a:gd name="T95" fmla="*/ 111 h 399"/>
                <a:gd name="T96" fmla="*/ 108 w 554"/>
                <a:gd name="T97" fmla="*/ 116 h 399"/>
                <a:gd name="T98" fmla="*/ 126 w 554"/>
                <a:gd name="T99" fmla="*/ 109 h 399"/>
                <a:gd name="T100" fmla="*/ 145 w 554"/>
                <a:gd name="T101" fmla="*/ 107 h 399"/>
                <a:gd name="T102" fmla="*/ 158 w 554"/>
                <a:gd name="T103" fmla="*/ 92 h 399"/>
                <a:gd name="T104" fmla="*/ 176 w 554"/>
                <a:gd name="T105" fmla="*/ 50 h 399"/>
                <a:gd name="T106" fmla="*/ 168 w 554"/>
                <a:gd name="T107" fmla="*/ 41 h 399"/>
                <a:gd name="T108" fmla="*/ 172 w 554"/>
                <a:gd name="T109" fmla="*/ 33 h 399"/>
                <a:gd name="T110" fmla="*/ 191 w 554"/>
                <a:gd name="T111" fmla="*/ 27 h 399"/>
                <a:gd name="T112" fmla="*/ 233 w 554"/>
                <a:gd name="T113" fmla="*/ 22 h 399"/>
                <a:gd name="T114" fmla="*/ 266 w 554"/>
                <a:gd name="T115" fmla="*/ 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4" h="399">
                  <a:moveTo>
                    <a:pt x="268" y="0"/>
                  </a:moveTo>
                  <a:lnTo>
                    <a:pt x="270" y="2"/>
                  </a:lnTo>
                  <a:lnTo>
                    <a:pt x="271" y="3"/>
                  </a:lnTo>
                  <a:lnTo>
                    <a:pt x="272" y="3"/>
                  </a:lnTo>
                  <a:lnTo>
                    <a:pt x="273" y="4"/>
                  </a:lnTo>
                  <a:lnTo>
                    <a:pt x="277" y="4"/>
                  </a:lnTo>
                  <a:lnTo>
                    <a:pt x="280" y="5"/>
                  </a:lnTo>
                  <a:lnTo>
                    <a:pt x="281" y="6"/>
                  </a:lnTo>
                  <a:lnTo>
                    <a:pt x="284" y="8"/>
                  </a:lnTo>
                  <a:lnTo>
                    <a:pt x="285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9" y="8"/>
                  </a:lnTo>
                  <a:lnTo>
                    <a:pt x="291" y="8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2" y="7"/>
                  </a:lnTo>
                  <a:lnTo>
                    <a:pt x="303" y="7"/>
                  </a:lnTo>
                  <a:lnTo>
                    <a:pt x="305" y="6"/>
                  </a:lnTo>
                  <a:lnTo>
                    <a:pt x="305" y="6"/>
                  </a:lnTo>
                  <a:lnTo>
                    <a:pt x="305" y="7"/>
                  </a:lnTo>
                  <a:lnTo>
                    <a:pt x="307" y="8"/>
                  </a:lnTo>
                  <a:lnTo>
                    <a:pt x="312" y="13"/>
                  </a:lnTo>
                  <a:lnTo>
                    <a:pt x="315" y="16"/>
                  </a:lnTo>
                  <a:lnTo>
                    <a:pt x="318" y="19"/>
                  </a:lnTo>
                  <a:lnTo>
                    <a:pt x="321" y="20"/>
                  </a:lnTo>
                  <a:lnTo>
                    <a:pt x="332" y="28"/>
                  </a:lnTo>
                  <a:lnTo>
                    <a:pt x="336" y="31"/>
                  </a:lnTo>
                  <a:lnTo>
                    <a:pt x="339" y="31"/>
                  </a:lnTo>
                  <a:lnTo>
                    <a:pt x="342" y="33"/>
                  </a:lnTo>
                  <a:lnTo>
                    <a:pt x="349" y="35"/>
                  </a:lnTo>
                  <a:lnTo>
                    <a:pt x="351" y="36"/>
                  </a:lnTo>
                  <a:lnTo>
                    <a:pt x="353" y="37"/>
                  </a:lnTo>
                  <a:lnTo>
                    <a:pt x="361" y="41"/>
                  </a:lnTo>
                  <a:lnTo>
                    <a:pt x="363" y="42"/>
                  </a:lnTo>
                  <a:lnTo>
                    <a:pt x="366" y="44"/>
                  </a:lnTo>
                  <a:lnTo>
                    <a:pt x="368" y="46"/>
                  </a:lnTo>
                  <a:lnTo>
                    <a:pt x="369" y="47"/>
                  </a:lnTo>
                  <a:lnTo>
                    <a:pt x="369" y="48"/>
                  </a:lnTo>
                  <a:lnTo>
                    <a:pt x="370" y="49"/>
                  </a:lnTo>
                  <a:lnTo>
                    <a:pt x="370" y="51"/>
                  </a:lnTo>
                  <a:lnTo>
                    <a:pt x="370" y="54"/>
                  </a:lnTo>
                  <a:lnTo>
                    <a:pt x="371" y="58"/>
                  </a:lnTo>
                  <a:lnTo>
                    <a:pt x="372" y="61"/>
                  </a:lnTo>
                  <a:lnTo>
                    <a:pt x="373" y="64"/>
                  </a:lnTo>
                  <a:lnTo>
                    <a:pt x="374" y="66"/>
                  </a:lnTo>
                  <a:lnTo>
                    <a:pt x="376" y="71"/>
                  </a:lnTo>
                  <a:lnTo>
                    <a:pt x="379" y="77"/>
                  </a:lnTo>
                  <a:lnTo>
                    <a:pt x="382" y="84"/>
                  </a:lnTo>
                  <a:lnTo>
                    <a:pt x="385" y="88"/>
                  </a:lnTo>
                  <a:lnTo>
                    <a:pt x="387" y="89"/>
                  </a:lnTo>
                  <a:lnTo>
                    <a:pt x="389" y="92"/>
                  </a:lnTo>
                  <a:lnTo>
                    <a:pt x="391" y="94"/>
                  </a:lnTo>
                  <a:lnTo>
                    <a:pt x="393" y="96"/>
                  </a:lnTo>
                  <a:lnTo>
                    <a:pt x="394" y="97"/>
                  </a:lnTo>
                  <a:lnTo>
                    <a:pt x="396" y="98"/>
                  </a:lnTo>
                  <a:lnTo>
                    <a:pt x="404" y="100"/>
                  </a:lnTo>
                  <a:lnTo>
                    <a:pt x="404" y="101"/>
                  </a:lnTo>
                  <a:lnTo>
                    <a:pt x="406" y="102"/>
                  </a:lnTo>
                  <a:lnTo>
                    <a:pt x="407" y="103"/>
                  </a:lnTo>
                  <a:lnTo>
                    <a:pt x="408" y="104"/>
                  </a:lnTo>
                  <a:lnTo>
                    <a:pt x="409" y="106"/>
                  </a:lnTo>
                  <a:lnTo>
                    <a:pt x="410" y="107"/>
                  </a:lnTo>
                  <a:lnTo>
                    <a:pt x="410" y="109"/>
                  </a:lnTo>
                  <a:lnTo>
                    <a:pt x="411" y="111"/>
                  </a:lnTo>
                  <a:lnTo>
                    <a:pt x="411" y="113"/>
                  </a:lnTo>
                  <a:lnTo>
                    <a:pt x="411" y="114"/>
                  </a:lnTo>
                  <a:lnTo>
                    <a:pt x="411" y="116"/>
                  </a:lnTo>
                  <a:lnTo>
                    <a:pt x="410" y="119"/>
                  </a:lnTo>
                  <a:lnTo>
                    <a:pt x="410" y="120"/>
                  </a:lnTo>
                  <a:lnTo>
                    <a:pt x="409" y="123"/>
                  </a:lnTo>
                  <a:lnTo>
                    <a:pt x="408" y="129"/>
                  </a:lnTo>
                  <a:lnTo>
                    <a:pt x="407" y="131"/>
                  </a:lnTo>
                  <a:lnTo>
                    <a:pt x="407" y="132"/>
                  </a:lnTo>
                  <a:lnTo>
                    <a:pt x="408" y="135"/>
                  </a:lnTo>
                  <a:lnTo>
                    <a:pt x="408" y="138"/>
                  </a:lnTo>
                  <a:lnTo>
                    <a:pt x="410" y="141"/>
                  </a:lnTo>
                  <a:lnTo>
                    <a:pt x="411" y="144"/>
                  </a:lnTo>
                  <a:lnTo>
                    <a:pt x="413" y="145"/>
                  </a:lnTo>
                  <a:lnTo>
                    <a:pt x="416" y="149"/>
                  </a:lnTo>
                  <a:lnTo>
                    <a:pt x="424" y="157"/>
                  </a:lnTo>
                  <a:lnTo>
                    <a:pt x="427" y="160"/>
                  </a:lnTo>
                  <a:lnTo>
                    <a:pt x="433" y="164"/>
                  </a:lnTo>
                  <a:lnTo>
                    <a:pt x="436" y="166"/>
                  </a:lnTo>
                  <a:lnTo>
                    <a:pt x="438" y="167"/>
                  </a:lnTo>
                  <a:lnTo>
                    <a:pt x="440" y="169"/>
                  </a:lnTo>
                  <a:lnTo>
                    <a:pt x="443" y="174"/>
                  </a:lnTo>
                  <a:lnTo>
                    <a:pt x="448" y="178"/>
                  </a:lnTo>
                  <a:lnTo>
                    <a:pt x="456" y="190"/>
                  </a:lnTo>
                  <a:lnTo>
                    <a:pt x="462" y="201"/>
                  </a:lnTo>
                  <a:lnTo>
                    <a:pt x="465" y="203"/>
                  </a:lnTo>
                  <a:lnTo>
                    <a:pt x="470" y="209"/>
                  </a:lnTo>
                  <a:lnTo>
                    <a:pt x="472" y="211"/>
                  </a:lnTo>
                  <a:lnTo>
                    <a:pt x="473" y="212"/>
                  </a:lnTo>
                  <a:lnTo>
                    <a:pt x="476" y="213"/>
                  </a:lnTo>
                  <a:lnTo>
                    <a:pt x="478" y="214"/>
                  </a:lnTo>
                  <a:lnTo>
                    <a:pt x="481" y="215"/>
                  </a:lnTo>
                  <a:lnTo>
                    <a:pt x="483" y="215"/>
                  </a:lnTo>
                  <a:lnTo>
                    <a:pt x="491" y="216"/>
                  </a:lnTo>
                  <a:lnTo>
                    <a:pt x="495" y="216"/>
                  </a:lnTo>
                  <a:lnTo>
                    <a:pt x="496" y="217"/>
                  </a:lnTo>
                  <a:lnTo>
                    <a:pt x="498" y="217"/>
                  </a:lnTo>
                  <a:lnTo>
                    <a:pt x="499" y="218"/>
                  </a:lnTo>
                  <a:lnTo>
                    <a:pt x="501" y="219"/>
                  </a:lnTo>
                  <a:lnTo>
                    <a:pt x="506" y="222"/>
                  </a:lnTo>
                  <a:lnTo>
                    <a:pt x="509" y="224"/>
                  </a:lnTo>
                  <a:lnTo>
                    <a:pt x="512" y="226"/>
                  </a:lnTo>
                  <a:lnTo>
                    <a:pt x="518" y="231"/>
                  </a:lnTo>
                  <a:lnTo>
                    <a:pt x="521" y="234"/>
                  </a:lnTo>
                  <a:lnTo>
                    <a:pt x="532" y="242"/>
                  </a:lnTo>
                  <a:lnTo>
                    <a:pt x="543" y="249"/>
                  </a:lnTo>
                  <a:lnTo>
                    <a:pt x="546" y="251"/>
                  </a:lnTo>
                  <a:lnTo>
                    <a:pt x="548" y="251"/>
                  </a:lnTo>
                  <a:lnTo>
                    <a:pt x="548" y="251"/>
                  </a:lnTo>
                  <a:lnTo>
                    <a:pt x="551" y="256"/>
                  </a:lnTo>
                  <a:lnTo>
                    <a:pt x="552" y="259"/>
                  </a:lnTo>
                  <a:lnTo>
                    <a:pt x="552" y="261"/>
                  </a:lnTo>
                  <a:lnTo>
                    <a:pt x="553" y="263"/>
                  </a:lnTo>
                  <a:lnTo>
                    <a:pt x="553" y="265"/>
                  </a:lnTo>
                  <a:lnTo>
                    <a:pt x="553" y="267"/>
                  </a:lnTo>
                  <a:lnTo>
                    <a:pt x="554" y="273"/>
                  </a:lnTo>
                  <a:lnTo>
                    <a:pt x="554" y="286"/>
                  </a:lnTo>
                  <a:lnTo>
                    <a:pt x="554" y="292"/>
                  </a:lnTo>
                  <a:lnTo>
                    <a:pt x="554" y="296"/>
                  </a:lnTo>
                  <a:lnTo>
                    <a:pt x="553" y="299"/>
                  </a:lnTo>
                  <a:lnTo>
                    <a:pt x="553" y="302"/>
                  </a:lnTo>
                  <a:lnTo>
                    <a:pt x="552" y="304"/>
                  </a:lnTo>
                  <a:lnTo>
                    <a:pt x="552" y="307"/>
                  </a:lnTo>
                  <a:lnTo>
                    <a:pt x="552" y="311"/>
                  </a:lnTo>
                  <a:lnTo>
                    <a:pt x="549" y="318"/>
                  </a:lnTo>
                  <a:lnTo>
                    <a:pt x="546" y="326"/>
                  </a:lnTo>
                  <a:lnTo>
                    <a:pt x="542" y="334"/>
                  </a:lnTo>
                  <a:lnTo>
                    <a:pt x="539" y="341"/>
                  </a:lnTo>
                  <a:lnTo>
                    <a:pt x="538" y="345"/>
                  </a:lnTo>
                  <a:lnTo>
                    <a:pt x="535" y="350"/>
                  </a:lnTo>
                  <a:lnTo>
                    <a:pt x="532" y="355"/>
                  </a:lnTo>
                  <a:lnTo>
                    <a:pt x="530" y="357"/>
                  </a:lnTo>
                  <a:lnTo>
                    <a:pt x="529" y="360"/>
                  </a:lnTo>
                  <a:lnTo>
                    <a:pt x="528" y="361"/>
                  </a:lnTo>
                  <a:lnTo>
                    <a:pt x="525" y="364"/>
                  </a:lnTo>
                  <a:lnTo>
                    <a:pt x="523" y="367"/>
                  </a:lnTo>
                  <a:lnTo>
                    <a:pt x="520" y="370"/>
                  </a:lnTo>
                  <a:lnTo>
                    <a:pt x="517" y="372"/>
                  </a:lnTo>
                  <a:lnTo>
                    <a:pt x="513" y="375"/>
                  </a:lnTo>
                  <a:lnTo>
                    <a:pt x="510" y="376"/>
                  </a:lnTo>
                  <a:lnTo>
                    <a:pt x="507" y="379"/>
                  </a:lnTo>
                  <a:lnTo>
                    <a:pt x="501" y="381"/>
                  </a:lnTo>
                  <a:lnTo>
                    <a:pt x="496" y="382"/>
                  </a:lnTo>
                  <a:lnTo>
                    <a:pt x="490" y="384"/>
                  </a:lnTo>
                  <a:lnTo>
                    <a:pt x="487" y="385"/>
                  </a:lnTo>
                  <a:lnTo>
                    <a:pt x="485" y="385"/>
                  </a:lnTo>
                  <a:lnTo>
                    <a:pt x="483" y="386"/>
                  </a:lnTo>
                  <a:lnTo>
                    <a:pt x="479" y="386"/>
                  </a:lnTo>
                  <a:lnTo>
                    <a:pt x="474" y="386"/>
                  </a:lnTo>
                  <a:lnTo>
                    <a:pt x="464" y="386"/>
                  </a:lnTo>
                  <a:lnTo>
                    <a:pt x="461" y="386"/>
                  </a:lnTo>
                  <a:lnTo>
                    <a:pt x="459" y="386"/>
                  </a:lnTo>
                  <a:lnTo>
                    <a:pt x="443" y="388"/>
                  </a:lnTo>
                  <a:lnTo>
                    <a:pt x="435" y="389"/>
                  </a:lnTo>
                  <a:lnTo>
                    <a:pt x="429" y="390"/>
                  </a:lnTo>
                  <a:lnTo>
                    <a:pt x="426" y="391"/>
                  </a:lnTo>
                  <a:lnTo>
                    <a:pt x="421" y="393"/>
                  </a:lnTo>
                  <a:lnTo>
                    <a:pt x="416" y="394"/>
                  </a:lnTo>
                  <a:lnTo>
                    <a:pt x="413" y="395"/>
                  </a:lnTo>
                  <a:lnTo>
                    <a:pt x="410" y="397"/>
                  </a:lnTo>
                  <a:lnTo>
                    <a:pt x="409" y="398"/>
                  </a:lnTo>
                  <a:lnTo>
                    <a:pt x="408" y="398"/>
                  </a:lnTo>
                  <a:lnTo>
                    <a:pt x="407" y="399"/>
                  </a:lnTo>
                  <a:lnTo>
                    <a:pt x="407" y="399"/>
                  </a:lnTo>
                  <a:lnTo>
                    <a:pt x="407" y="399"/>
                  </a:lnTo>
                  <a:lnTo>
                    <a:pt x="407" y="399"/>
                  </a:lnTo>
                  <a:lnTo>
                    <a:pt x="405" y="398"/>
                  </a:lnTo>
                  <a:lnTo>
                    <a:pt x="400" y="392"/>
                  </a:lnTo>
                  <a:lnTo>
                    <a:pt x="396" y="387"/>
                  </a:lnTo>
                  <a:lnTo>
                    <a:pt x="393" y="384"/>
                  </a:lnTo>
                  <a:lnTo>
                    <a:pt x="392" y="382"/>
                  </a:lnTo>
                  <a:lnTo>
                    <a:pt x="390" y="378"/>
                  </a:lnTo>
                  <a:lnTo>
                    <a:pt x="388" y="374"/>
                  </a:lnTo>
                  <a:lnTo>
                    <a:pt x="386" y="371"/>
                  </a:lnTo>
                  <a:lnTo>
                    <a:pt x="382" y="361"/>
                  </a:lnTo>
                  <a:lnTo>
                    <a:pt x="382" y="359"/>
                  </a:lnTo>
                  <a:lnTo>
                    <a:pt x="381" y="357"/>
                  </a:lnTo>
                  <a:lnTo>
                    <a:pt x="380" y="356"/>
                  </a:lnTo>
                  <a:lnTo>
                    <a:pt x="378" y="355"/>
                  </a:lnTo>
                  <a:lnTo>
                    <a:pt x="377" y="354"/>
                  </a:lnTo>
                  <a:lnTo>
                    <a:pt x="376" y="353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0" y="351"/>
                  </a:lnTo>
                  <a:lnTo>
                    <a:pt x="368" y="351"/>
                  </a:lnTo>
                  <a:lnTo>
                    <a:pt x="364" y="351"/>
                  </a:lnTo>
                  <a:lnTo>
                    <a:pt x="357" y="352"/>
                  </a:lnTo>
                  <a:lnTo>
                    <a:pt x="353" y="352"/>
                  </a:lnTo>
                  <a:lnTo>
                    <a:pt x="350" y="352"/>
                  </a:lnTo>
                  <a:lnTo>
                    <a:pt x="347" y="351"/>
                  </a:lnTo>
                  <a:lnTo>
                    <a:pt x="346" y="351"/>
                  </a:lnTo>
                  <a:lnTo>
                    <a:pt x="343" y="350"/>
                  </a:lnTo>
                  <a:lnTo>
                    <a:pt x="341" y="349"/>
                  </a:lnTo>
                  <a:lnTo>
                    <a:pt x="328" y="344"/>
                  </a:lnTo>
                  <a:lnTo>
                    <a:pt x="325" y="342"/>
                  </a:lnTo>
                  <a:lnTo>
                    <a:pt x="323" y="340"/>
                  </a:lnTo>
                  <a:lnTo>
                    <a:pt x="320" y="338"/>
                  </a:lnTo>
                  <a:lnTo>
                    <a:pt x="318" y="337"/>
                  </a:lnTo>
                  <a:lnTo>
                    <a:pt x="314" y="333"/>
                  </a:lnTo>
                  <a:lnTo>
                    <a:pt x="312" y="331"/>
                  </a:lnTo>
                  <a:lnTo>
                    <a:pt x="310" y="330"/>
                  </a:lnTo>
                  <a:lnTo>
                    <a:pt x="307" y="329"/>
                  </a:lnTo>
                  <a:lnTo>
                    <a:pt x="305" y="327"/>
                  </a:lnTo>
                  <a:lnTo>
                    <a:pt x="302" y="327"/>
                  </a:lnTo>
                  <a:lnTo>
                    <a:pt x="302" y="326"/>
                  </a:lnTo>
                  <a:lnTo>
                    <a:pt x="299" y="326"/>
                  </a:lnTo>
                  <a:lnTo>
                    <a:pt x="297" y="326"/>
                  </a:lnTo>
                  <a:lnTo>
                    <a:pt x="291" y="324"/>
                  </a:lnTo>
                  <a:lnTo>
                    <a:pt x="291" y="324"/>
                  </a:lnTo>
                  <a:lnTo>
                    <a:pt x="289" y="324"/>
                  </a:lnTo>
                  <a:lnTo>
                    <a:pt x="288" y="324"/>
                  </a:lnTo>
                  <a:lnTo>
                    <a:pt x="286" y="325"/>
                  </a:lnTo>
                  <a:lnTo>
                    <a:pt x="285" y="326"/>
                  </a:lnTo>
                  <a:lnTo>
                    <a:pt x="279" y="330"/>
                  </a:lnTo>
                  <a:lnTo>
                    <a:pt x="278" y="331"/>
                  </a:lnTo>
                  <a:lnTo>
                    <a:pt x="276" y="333"/>
                  </a:lnTo>
                  <a:lnTo>
                    <a:pt x="271" y="335"/>
                  </a:lnTo>
                  <a:lnTo>
                    <a:pt x="264" y="337"/>
                  </a:lnTo>
                  <a:lnTo>
                    <a:pt x="261" y="339"/>
                  </a:lnTo>
                  <a:lnTo>
                    <a:pt x="259" y="340"/>
                  </a:lnTo>
                  <a:lnTo>
                    <a:pt x="256" y="342"/>
                  </a:lnTo>
                  <a:lnTo>
                    <a:pt x="251" y="346"/>
                  </a:lnTo>
                  <a:lnTo>
                    <a:pt x="247" y="348"/>
                  </a:lnTo>
                  <a:lnTo>
                    <a:pt x="245" y="349"/>
                  </a:lnTo>
                  <a:lnTo>
                    <a:pt x="244" y="350"/>
                  </a:lnTo>
                  <a:lnTo>
                    <a:pt x="241" y="351"/>
                  </a:lnTo>
                  <a:lnTo>
                    <a:pt x="239" y="352"/>
                  </a:lnTo>
                  <a:lnTo>
                    <a:pt x="237" y="352"/>
                  </a:lnTo>
                  <a:lnTo>
                    <a:pt x="235" y="352"/>
                  </a:lnTo>
                  <a:lnTo>
                    <a:pt x="234" y="352"/>
                  </a:lnTo>
                  <a:lnTo>
                    <a:pt x="232" y="352"/>
                  </a:lnTo>
                  <a:lnTo>
                    <a:pt x="230" y="351"/>
                  </a:lnTo>
                  <a:lnTo>
                    <a:pt x="228" y="350"/>
                  </a:lnTo>
                  <a:lnTo>
                    <a:pt x="227" y="349"/>
                  </a:lnTo>
                  <a:lnTo>
                    <a:pt x="225" y="348"/>
                  </a:lnTo>
                  <a:lnTo>
                    <a:pt x="224" y="346"/>
                  </a:lnTo>
                  <a:lnTo>
                    <a:pt x="222" y="340"/>
                  </a:lnTo>
                  <a:lnTo>
                    <a:pt x="220" y="337"/>
                  </a:lnTo>
                  <a:lnTo>
                    <a:pt x="218" y="334"/>
                  </a:lnTo>
                  <a:lnTo>
                    <a:pt x="216" y="331"/>
                  </a:lnTo>
                  <a:lnTo>
                    <a:pt x="213" y="329"/>
                  </a:lnTo>
                  <a:lnTo>
                    <a:pt x="211" y="327"/>
                  </a:lnTo>
                  <a:lnTo>
                    <a:pt x="208" y="326"/>
                  </a:lnTo>
                  <a:lnTo>
                    <a:pt x="202" y="322"/>
                  </a:lnTo>
                  <a:lnTo>
                    <a:pt x="200" y="321"/>
                  </a:lnTo>
                  <a:lnTo>
                    <a:pt x="197" y="318"/>
                  </a:lnTo>
                  <a:lnTo>
                    <a:pt x="195" y="316"/>
                  </a:lnTo>
                  <a:lnTo>
                    <a:pt x="192" y="313"/>
                  </a:lnTo>
                  <a:lnTo>
                    <a:pt x="190" y="310"/>
                  </a:lnTo>
                  <a:lnTo>
                    <a:pt x="188" y="304"/>
                  </a:lnTo>
                  <a:lnTo>
                    <a:pt x="185" y="300"/>
                  </a:lnTo>
                  <a:lnTo>
                    <a:pt x="184" y="297"/>
                  </a:lnTo>
                  <a:lnTo>
                    <a:pt x="184" y="294"/>
                  </a:lnTo>
                  <a:lnTo>
                    <a:pt x="184" y="292"/>
                  </a:lnTo>
                  <a:lnTo>
                    <a:pt x="184" y="289"/>
                  </a:lnTo>
                  <a:lnTo>
                    <a:pt x="185" y="286"/>
                  </a:lnTo>
                  <a:lnTo>
                    <a:pt x="186" y="284"/>
                  </a:lnTo>
                  <a:lnTo>
                    <a:pt x="188" y="275"/>
                  </a:lnTo>
                  <a:lnTo>
                    <a:pt x="190" y="269"/>
                  </a:lnTo>
                  <a:lnTo>
                    <a:pt x="191" y="268"/>
                  </a:lnTo>
                  <a:lnTo>
                    <a:pt x="192" y="266"/>
                  </a:lnTo>
                  <a:lnTo>
                    <a:pt x="192" y="263"/>
                  </a:lnTo>
                  <a:lnTo>
                    <a:pt x="191" y="261"/>
                  </a:lnTo>
                  <a:lnTo>
                    <a:pt x="191" y="259"/>
                  </a:lnTo>
                  <a:lnTo>
                    <a:pt x="190" y="257"/>
                  </a:lnTo>
                  <a:lnTo>
                    <a:pt x="189" y="255"/>
                  </a:lnTo>
                  <a:lnTo>
                    <a:pt x="188" y="254"/>
                  </a:lnTo>
                  <a:lnTo>
                    <a:pt x="187" y="252"/>
                  </a:lnTo>
                  <a:lnTo>
                    <a:pt x="185" y="251"/>
                  </a:lnTo>
                  <a:lnTo>
                    <a:pt x="183" y="250"/>
                  </a:lnTo>
                  <a:lnTo>
                    <a:pt x="181" y="249"/>
                  </a:lnTo>
                  <a:lnTo>
                    <a:pt x="179" y="248"/>
                  </a:lnTo>
                  <a:lnTo>
                    <a:pt x="177" y="248"/>
                  </a:lnTo>
                  <a:lnTo>
                    <a:pt x="175" y="247"/>
                  </a:lnTo>
                  <a:lnTo>
                    <a:pt x="173" y="247"/>
                  </a:lnTo>
                  <a:lnTo>
                    <a:pt x="171" y="247"/>
                  </a:lnTo>
                  <a:lnTo>
                    <a:pt x="169" y="247"/>
                  </a:lnTo>
                  <a:lnTo>
                    <a:pt x="168" y="247"/>
                  </a:lnTo>
                  <a:lnTo>
                    <a:pt x="166" y="247"/>
                  </a:lnTo>
                  <a:lnTo>
                    <a:pt x="165" y="248"/>
                  </a:lnTo>
                  <a:lnTo>
                    <a:pt x="157" y="251"/>
                  </a:lnTo>
                  <a:lnTo>
                    <a:pt x="154" y="252"/>
                  </a:lnTo>
                  <a:lnTo>
                    <a:pt x="140" y="255"/>
                  </a:lnTo>
                  <a:lnTo>
                    <a:pt x="131" y="258"/>
                  </a:lnTo>
                  <a:lnTo>
                    <a:pt x="121" y="258"/>
                  </a:lnTo>
                  <a:lnTo>
                    <a:pt x="117" y="260"/>
                  </a:lnTo>
                  <a:lnTo>
                    <a:pt x="115" y="260"/>
                  </a:lnTo>
                  <a:lnTo>
                    <a:pt x="112" y="261"/>
                  </a:lnTo>
                  <a:lnTo>
                    <a:pt x="110" y="262"/>
                  </a:lnTo>
                  <a:lnTo>
                    <a:pt x="109" y="263"/>
                  </a:lnTo>
                  <a:lnTo>
                    <a:pt x="105" y="266"/>
                  </a:lnTo>
                  <a:lnTo>
                    <a:pt x="97" y="271"/>
                  </a:lnTo>
                  <a:lnTo>
                    <a:pt x="94" y="273"/>
                  </a:lnTo>
                  <a:lnTo>
                    <a:pt x="91" y="274"/>
                  </a:lnTo>
                  <a:lnTo>
                    <a:pt x="85" y="277"/>
                  </a:lnTo>
                  <a:lnTo>
                    <a:pt x="82" y="278"/>
                  </a:lnTo>
                  <a:lnTo>
                    <a:pt x="80" y="279"/>
                  </a:lnTo>
                  <a:lnTo>
                    <a:pt x="78" y="279"/>
                  </a:lnTo>
                  <a:lnTo>
                    <a:pt x="77" y="279"/>
                  </a:lnTo>
                  <a:lnTo>
                    <a:pt x="76" y="279"/>
                  </a:lnTo>
                  <a:lnTo>
                    <a:pt x="75" y="278"/>
                  </a:lnTo>
                  <a:lnTo>
                    <a:pt x="72" y="277"/>
                  </a:lnTo>
                  <a:lnTo>
                    <a:pt x="64" y="271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0" y="267"/>
                  </a:lnTo>
                  <a:lnTo>
                    <a:pt x="55" y="261"/>
                  </a:lnTo>
                  <a:lnTo>
                    <a:pt x="49" y="255"/>
                  </a:lnTo>
                  <a:lnTo>
                    <a:pt x="42" y="246"/>
                  </a:lnTo>
                  <a:lnTo>
                    <a:pt x="40" y="244"/>
                  </a:lnTo>
                  <a:lnTo>
                    <a:pt x="39" y="243"/>
                  </a:lnTo>
                  <a:lnTo>
                    <a:pt x="37" y="241"/>
                  </a:lnTo>
                  <a:lnTo>
                    <a:pt x="32" y="238"/>
                  </a:lnTo>
                  <a:lnTo>
                    <a:pt x="29" y="235"/>
                  </a:lnTo>
                  <a:lnTo>
                    <a:pt x="27" y="234"/>
                  </a:lnTo>
                  <a:lnTo>
                    <a:pt x="24" y="231"/>
                  </a:lnTo>
                  <a:lnTo>
                    <a:pt x="19" y="226"/>
                  </a:lnTo>
                  <a:lnTo>
                    <a:pt x="6" y="213"/>
                  </a:lnTo>
                  <a:lnTo>
                    <a:pt x="3" y="210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1" y="205"/>
                  </a:lnTo>
                  <a:lnTo>
                    <a:pt x="3" y="204"/>
                  </a:lnTo>
                  <a:lnTo>
                    <a:pt x="5" y="202"/>
                  </a:lnTo>
                  <a:lnTo>
                    <a:pt x="8" y="201"/>
                  </a:lnTo>
                  <a:lnTo>
                    <a:pt x="14" y="200"/>
                  </a:lnTo>
                  <a:lnTo>
                    <a:pt x="25" y="196"/>
                  </a:lnTo>
                  <a:lnTo>
                    <a:pt x="29" y="194"/>
                  </a:lnTo>
                  <a:lnTo>
                    <a:pt x="32" y="193"/>
                  </a:lnTo>
                  <a:lnTo>
                    <a:pt x="36" y="190"/>
                  </a:lnTo>
                  <a:lnTo>
                    <a:pt x="39" y="189"/>
                  </a:lnTo>
                  <a:lnTo>
                    <a:pt x="41" y="187"/>
                  </a:lnTo>
                  <a:lnTo>
                    <a:pt x="43" y="186"/>
                  </a:lnTo>
                  <a:lnTo>
                    <a:pt x="45" y="184"/>
                  </a:lnTo>
                  <a:lnTo>
                    <a:pt x="47" y="182"/>
                  </a:lnTo>
                  <a:lnTo>
                    <a:pt x="48" y="180"/>
                  </a:lnTo>
                  <a:lnTo>
                    <a:pt x="49" y="179"/>
                  </a:lnTo>
                  <a:lnTo>
                    <a:pt x="50" y="178"/>
                  </a:lnTo>
                  <a:lnTo>
                    <a:pt x="51" y="173"/>
                  </a:lnTo>
                  <a:lnTo>
                    <a:pt x="52" y="171"/>
                  </a:lnTo>
                  <a:lnTo>
                    <a:pt x="52" y="170"/>
                  </a:lnTo>
                  <a:lnTo>
                    <a:pt x="53" y="168"/>
                  </a:lnTo>
                  <a:lnTo>
                    <a:pt x="54" y="167"/>
                  </a:lnTo>
                  <a:lnTo>
                    <a:pt x="56" y="166"/>
                  </a:lnTo>
                  <a:lnTo>
                    <a:pt x="59" y="164"/>
                  </a:lnTo>
                  <a:lnTo>
                    <a:pt x="63" y="162"/>
                  </a:lnTo>
                  <a:lnTo>
                    <a:pt x="64" y="161"/>
                  </a:lnTo>
                  <a:lnTo>
                    <a:pt x="65" y="160"/>
                  </a:lnTo>
                  <a:lnTo>
                    <a:pt x="66" y="158"/>
                  </a:lnTo>
                  <a:lnTo>
                    <a:pt x="67" y="157"/>
                  </a:lnTo>
                  <a:lnTo>
                    <a:pt x="67" y="156"/>
                  </a:lnTo>
                  <a:lnTo>
                    <a:pt x="68" y="155"/>
                  </a:lnTo>
                  <a:lnTo>
                    <a:pt x="68" y="154"/>
                  </a:lnTo>
                  <a:lnTo>
                    <a:pt x="68" y="150"/>
                  </a:lnTo>
                  <a:lnTo>
                    <a:pt x="67" y="146"/>
                  </a:lnTo>
                  <a:lnTo>
                    <a:pt x="67" y="144"/>
                  </a:lnTo>
                  <a:lnTo>
                    <a:pt x="66" y="142"/>
                  </a:lnTo>
                  <a:lnTo>
                    <a:pt x="63" y="136"/>
                  </a:lnTo>
                  <a:lnTo>
                    <a:pt x="62" y="133"/>
                  </a:lnTo>
                  <a:lnTo>
                    <a:pt x="62" y="131"/>
                  </a:lnTo>
                  <a:lnTo>
                    <a:pt x="61" y="129"/>
                  </a:lnTo>
                  <a:lnTo>
                    <a:pt x="61" y="127"/>
                  </a:lnTo>
                  <a:lnTo>
                    <a:pt x="61" y="125"/>
                  </a:lnTo>
                  <a:lnTo>
                    <a:pt x="61" y="124"/>
                  </a:lnTo>
                  <a:lnTo>
                    <a:pt x="61" y="122"/>
                  </a:lnTo>
                  <a:lnTo>
                    <a:pt x="62" y="121"/>
                  </a:lnTo>
                  <a:lnTo>
                    <a:pt x="62" y="119"/>
                  </a:lnTo>
                  <a:lnTo>
                    <a:pt x="63" y="118"/>
                  </a:lnTo>
                  <a:lnTo>
                    <a:pt x="63" y="116"/>
                  </a:lnTo>
                  <a:lnTo>
                    <a:pt x="64" y="115"/>
                  </a:lnTo>
                  <a:lnTo>
                    <a:pt x="66" y="114"/>
                  </a:lnTo>
                  <a:lnTo>
                    <a:pt x="67" y="113"/>
                  </a:lnTo>
                  <a:lnTo>
                    <a:pt x="69" y="112"/>
                  </a:lnTo>
                  <a:lnTo>
                    <a:pt x="71" y="111"/>
                  </a:lnTo>
                  <a:lnTo>
                    <a:pt x="73" y="111"/>
                  </a:lnTo>
                  <a:lnTo>
                    <a:pt x="74" y="111"/>
                  </a:lnTo>
                  <a:lnTo>
                    <a:pt x="75" y="110"/>
                  </a:lnTo>
                  <a:lnTo>
                    <a:pt x="80" y="111"/>
                  </a:lnTo>
                  <a:lnTo>
                    <a:pt x="86" y="111"/>
                  </a:lnTo>
                  <a:lnTo>
                    <a:pt x="89" y="111"/>
                  </a:lnTo>
                  <a:lnTo>
                    <a:pt x="92" y="112"/>
                  </a:lnTo>
                  <a:lnTo>
                    <a:pt x="97" y="114"/>
                  </a:lnTo>
                  <a:lnTo>
                    <a:pt x="100" y="115"/>
                  </a:lnTo>
                  <a:lnTo>
                    <a:pt x="103" y="115"/>
                  </a:lnTo>
                  <a:lnTo>
                    <a:pt x="106" y="116"/>
                  </a:lnTo>
                  <a:lnTo>
                    <a:pt x="108" y="116"/>
                  </a:lnTo>
                  <a:lnTo>
                    <a:pt x="109" y="116"/>
                  </a:lnTo>
                  <a:lnTo>
                    <a:pt x="112" y="115"/>
                  </a:lnTo>
                  <a:lnTo>
                    <a:pt x="115" y="114"/>
                  </a:lnTo>
                  <a:lnTo>
                    <a:pt x="117" y="113"/>
                  </a:lnTo>
                  <a:lnTo>
                    <a:pt x="122" y="110"/>
                  </a:lnTo>
                  <a:lnTo>
                    <a:pt x="124" y="110"/>
                  </a:lnTo>
                  <a:lnTo>
                    <a:pt x="125" y="109"/>
                  </a:lnTo>
                  <a:lnTo>
                    <a:pt x="126" y="109"/>
                  </a:lnTo>
                  <a:lnTo>
                    <a:pt x="128" y="109"/>
                  </a:lnTo>
                  <a:lnTo>
                    <a:pt x="134" y="110"/>
                  </a:lnTo>
                  <a:lnTo>
                    <a:pt x="136" y="110"/>
                  </a:lnTo>
                  <a:lnTo>
                    <a:pt x="137" y="110"/>
                  </a:lnTo>
                  <a:lnTo>
                    <a:pt x="139" y="110"/>
                  </a:lnTo>
                  <a:lnTo>
                    <a:pt x="141" y="109"/>
                  </a:lnTo>
                  <a:lnTo>
                    <a:pt x="143" y="108"/>
                  </a:lnTo>
                  <a:lnTo>
                    <a:pt x="145" y="107"/>
                  </a:lnTo>
                  <a:lnTo>
                    <a:pt x="147" y="106"/>
                  </a:lnTo>
                  <a:lnTo>
                    <a:pt x="148" y="105"/>
                  </a:lnTo>
                  <a:lnTo>
                    <a:pt x="149" y="104"/>
                  </a:lnTo>
                  <a:lnTo>
                    <a:pt x="150" y="102"/>
                  </a:lnTo>
                  <a:lnTo>
                    <a:pt x="152" y="99"/>
                  </a:lnTo>
                  <a:lnTo>
                    <a:pt x="153" y="98"/>
                  </a:lnTo>
                  <a:lnTo>
                    <a:pt x="154" y="96"/>
                  </a:lnTo>
                  <a:lnTo>
                    <a:pt x="158" y="92"/>
                  </a:lnTo>
                  <a:lnTo>
                    <a:pt x="160" y="89"/>
                  </a:lnTo>
                  <a:lnTo>
                    <a:pt x="162" y="87"/>
                  </a:lnTo>
                  <a:lnTo>
                    <a:pt x="166" y="76"/>
                  </a:lnTo>
                  <a:lnTo>
                    <a:pt x="171" y="65"/>
                  </a:lnTo>
                  <a:lnTo>
                    <a:pt x="173" y="59"/>
                  </a:lnTo>
                  <a:lnTo>
                    <a:pt x="174" y="55"/>
                  </a:lnTo>
                  <a:lnTo>
                    <a:pt x="175" y="52"/>
                  </a:lnTo>
                  <a:lnTo>
                    <a:pt x="176" y="50"/>
                  </a:lnTo>
                  <a:lnTo>
                    <a:pt x="176" y="48"/>
                  </a:lnTo>
                  <a:lnTo>
                    <a:pt x="176" y="47"/>
                  </a:lnTo>
                  <a:lnTo>
                    <a:pt x="175" y="46"/>
                  </a:lnTo>
                  <a:lnTo>
                    <a:pt x="174" y="45"/>
                  </a:lnTo>
                  <a:lnTo>
                    <a:pt x="171" y="43"/>
                  </a:lnTo>
                  <a:lnTo>
                    <a:pt x="170" y="42"/>
                  </a:lnTo>
                  <a:lnTo>
                    <a:pt x="169" y="42"/>
                  </a:lnTo>
                  <a:lnTo>
                    <a:pt x="168" y="41"/>
                  </a:lnTo>
                  <a:lnTo>
                    <a:pt x="168" y="40"/>
                  </a:lnTo>
                  <a:lnTo>
                    <a:pt x="168" y="39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7"/>
                  </a:lnTo>
                  <a:lnTo>
                    <a:pt x="169" y="36"/>
                  </a:lnTo>
                  <a:lnTo>
                    <a:pt x="170" y="34"/>
                  </a:lnTo>
                  <a:lnTo>
                    <a:pt x="172" y="33"/>
                  </a:lnTo>
                  <a:lnTo>
                    <a:pt x="174" y="32"/>
                  </a:lnTo>
                  <a:lnTo>
                    <a:pt x="176" y="31"/>
                  </a:lnTo>
                  <a:lnTo>
                    <a:pt x="177" y="31"/>
                  </a:lnTo>
                  <a:lnTo>
                    <a:pt x="179" y="30"/>
                  </a:lnTo>
                  <a:lnTo>
                    <a:pt x="181" y="29"/>
                  </a:lnTo>
                  <a:lnTo>
                    <a:pt x="186" y="28"/>
                  </a:lnTo>
                  <a:lnTo>
                    <a:pt x="188" y="28"/>
                  </a:lnTo>
                  <a:lnTo>
                    <a:pt x="191" y="27"/>
                  </a:lnTo>
                  <a:lnTo>
                    <a:pt x="200" y="27"/>
                  </a:lnTo>
                  <a:lnTo>
                    <a:pt x="202" y="26"/>
                  </a:lnTo>
                  <a:lnTo>
                    <a:pt x="213" y="25"/>
                  </a:lnTo>
                  <a:lnTo>
                    <a:pt x="216" y="24"/>
                  </a:lnTo>
                  <a:lnTo>
                    <a:pt x="222" y="24"/>
                  </a:lnTo>
                  <a:lnTo>
                    <a:pt x="225" y="24"/>
                  </a:lnTo>
                  <a:lnTo>
                    <a:pt x="229" y="23"/>
                  </a:lnTo>
                  <a:lnTo>
                    <a:pt x="233" y="22"/>
                  </a:lnTo>
                  <a:lnTo>
                    <a:pt x="236" y="21"/>
                  </a:lnTo>
                  <a:lnTo>
                    <a:pt x="241" y="19"/>
                  </a:lnTo>
                  <a:lnTo>
                    <a:pt x="245" y="17"/>
                  </a:lnTo>
                  <a:lnTo>
                    <a:pt x="250" y="14"/>
                  </a:lnTo>
                  <a:lnTo>
                    <a:pt x="254" y="11"/>
                  </a:lnTo>
                  <a:lnTo>
                    <a:pt x="257" y="9"/>
                  </a:lnTo>
                  <a:lnTo>
                    <a:pt x="260" y="6"/>
                  </a:lnTo>
                  <a:lnTo>
                    <a:pt x="266" y="1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68" y="0"/>
                  </a:lnTo>
                  <a:close/>
                </a:path>
              </a:pathLst>
            </a:custGeom>
            <a:solidFill>
              <a:srgbClr val="6BAFD6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5" name="Freeform 78">
              <a:extLst>
                <a:ext uri="{FF2B5EF4-FFF2-40B4-BE49-F238E27FC236}">
                  <a16:creationId xmlns:a16="http://schemas.microsoft.com/office/drawing/2014/main" id="{E58FDF2C-AA94-4633-8564-1B121A88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" y="1811"/>
              <a:ext cx="471" cy="631"/>
            </a:xfrm>
            <a:custGeom>
              <a:avLst/>
              <a:gdLst>
                <a:gd name="T0" fmla="*/ 422 w 471"/>
                <a:gd name="T1" fmla="*/ 11 h 631"/>
                <a:gd name="T2" fmla="*/ 437 w 471"/>
                <a:gd name="T3" fmla="*/ 25 h 631"/>
                <a:gd name="T4" fmla="*/ 429 w 471"/>
                <a:gd name="T5" fmla="*/ 59 h 631"/>
                <a:gd name="T6" fmla="*/ 447 w 471"/>
                <a:gd name="T7" fmla="*/ 96 h 631"/>
                <a:gd name="T8" fmla="*/ 449 w 471"/>
                <a:gd name="T9" fmla="*/ 126 h 631"/>
                <a:gd name="T10" fmla="*/ 425 w 471"/>
                <a:gd name="T11" fmla="*/ 139 h 631"/>
                <a:gd name="T12" fmla="*/ 405 w 471"/>
                <a:gd name="T13" fmla="*/ 160 h 631"/>
                <a:gd name="T14" fmla="*/ 339 w 471"/>
                <a:gd name="T15" fmla="*/ 185 h 631"/>
                <a:gd name="T16" fmla="*/ 340 w 471"/>
                <a:gd name="T17" fmla="*/ 206 h 631"/>
                <a:gd name="T18" fmla="*/ 376 w 471"/>
                <a:gd name="T19" fmla="*/ 243 h 631"/>
                <a:gd name="T20" fmla="*/ 405 w 471"/>
                <a:gd name="T21" fmla="*/ 247 h 631"/>
                <a:gd name="T22" fmla="*/ 427 w 471"/>
                <a:gd name="T23" fmla="*/ 257 h 631"/>
                <a:gd name="T24" fmla="*/ 456 w 471"/>
                <a:gd name="T25" fmla="*/ 297 h 631"/>
                <a:gd name="T26" fmla="*/ 453 w 471"/>
                <a:gd name="T27" fmla="*/ 333 h 631"/>
                <a:gd name="T28" fmla="*/ 403 w 471"/>
                <a:gd name="T29" fmla="*/ 346 h 631"/>
                <a:gd name="T30" fmla="*/ 363 w 471"/>
                <a:gd name="T31" fmla="*/ 394 h 631"/>
                <a:gd name="T32" fmla="*/ 371 w 471"/>
                <a:gd name="T33" fmla="*/ 405 h 631"/>
                <a:gd name="T34" fmla="*/ 398 w 471"/>
                <a:gd name="T35" fmla="*/ 421 h 631"/>
                <a:gd name="T36" fmla="*/ 426 w 471"/>
                <a:gd name="T37" fmla="*/ 441 h 631"/>
                <a:gd name="T38" fmla="*/ 404 w 471"/>
                <a:gd name="T39" fmla="*/ 458 h 631"/>
                <a:gd name="T40" fmla="*/ 352 w 471"/>
                <a:gd name="T41" fmla="*/ 492 h 631"/>
                <a:gd name="T42" fmla="*/ 346 w 471"/>
                <a:gd name="T43" fmla="*/ 518 h 631"/>
                <a:gd name="T44" fmla="*/ 336 w 471"/>
                <a:gd name="T45" fmla="*/ 557 h 631"/>
                <a:gd name="T46" fmla="*/ 323 w 471"/>
                <a:gd name="T47" fmla="*/ 593 h 631"/>
                <a:gd name="T48" fmla="*/ 291 w 471"/>
                <a:gd name="T49" fmla="*/ 631 h 631"/>
                <a:gd name="T50" fmla="*/ 274 w 471"/>
                <a:gd name="T51" fmla="*/ 613 h 631"/>
                <a:gd name="T52" fmla="*/ 260 w 471"/>
                <a:gd name="T53" fmla="*/ 577 h 631"/>
                <a:gd name="T54" fmla="*/ 246 w 471"/>
                <a:gd name="T55" fmla="*/ 541 h 631"/>
                <a:gd name="T56" fmla="*/ 233 w 471"/>
                <a:gd name="T57" fmla="*/ 545 h 631"/>
                <a:gd name="T58" fmla="*/ 233 w 471"/>
                <a:gd name="T59" fmla="*/ 585 h 631"/>
                <a:gd name="T60" fmla="*/ 218 w 471"/>
                <a:gd name="T61" fmla="*/ 587 h 631"/>
                <a:gd name="T62" fmla="*/ 202 w 471"/>
                <a:gd name="T63" fmla="*/ 604 h 631"/>
                <a:gd name="T64" fmla="*/ 183 w 471"/>
                <a:gd name="T65" fmla="*/ 625 h 631"/>
                <a:gd name="T66" fmla="*/ 168 w 471"/>
                <a:gd name="T67" fmla="*/ 602 h 631"/>
                <a:gd name="T68" fmla="*/ 170 w 471"/>
                <a:gd name="T69" fmla="*/ 561 h 631"/>
                <a:gd name="T70" fmla="*/ 143 w 471"/>
                <a:gd name="T71" fmla="*/ 557 h 631"/>
                <a:gd name="T72" fmla="*/ 101 w 471"/>
                <a:gd name="T73" fmla="*/ 583 h 631"/>
                <a:gd name="T74" fmla="*/ 72 w 471"/>
                <a:gd name="T75" fmla="*/ 600 h 631"/>
                <a:gd name="T76" fmla="*/ 54 w 471"/>
                <a:gd name="T77" fmla="*/ 591 h 631"/>
                <a:gd name="T78" fmla="*/ 53 w 471"/>
                <a:gd name="T79" fmla="*/ 565 h 631"/>
                <a:gd name="T80" fmla="*/ 27 w 471"/>
                <a:gd name="T81" fmla="*/ 567 h 631"/>
                <a:gd name="T82" fmla="*/ 1 w 471"/>
                <a:gd name="T83" fmla="*/ 532 h 631"/>
                <a:gd name="T84" fmla="*/ 14 w 471"/>
                <a:gd name="T85" fmla="*/ 488 h 631"/>
                <a:gd name="T86" fmla="*/ 35 w 471"/>
                <a:gd name="T87" fmla="*/ 455 h 631"/>
                <a:gd name="T88" fmla="*/ 17 w 471"/>
                <a:gd name="T89" fmla="*/ 422 h 631"/>
                <a:gd name="T90" fmla="*/ 14 w 471"/>
                <a:gd name="T91" fmla="*/ 382 h 631"/>
                <a:gd name="T92" fmla="*/ 46 w 471"/>
                <a:gd name="T93" fmla="*/ 334 h 631"/>
                <a:gd name="T94" fmla="*/ 56 w 471"/>
                <a:gd name="T95" fmla="*/ 302 h 631"/>
                <a:gd name="T96" fmla="*/ 52 w 471"/>
                <a:gd name="T97" fmla="*/ 266 h 631"/>
                <a:gd name="T98" fmla="*/ 66 w 471"/>
                <a:gd name="T99" fmla="*/ 226 h 631"/>
                <a:gd name="T100" fmla="*/ 112 w 471"/>
                <a:gd name="T101" fmla="*/ 174 h 631"/>
                <a:gd name="T102" fmla="*/ 143 w 471"/>
                <a:gd name="T103" fmla="*/ 155 h 631"/>
                <a:gd name="T104" fmla="*/ 180 w 471"/>
                <a:gd name="T105" fmla="*/ 135 h 631"/>
                <a:gd name="T106" fmla="*/ 197 w 471"/>
                <a:gd name="T107" fmla="*/ 127 h 631"/>
                <a:gd name="T108" fmla="*/ 207 w 471"/>
                <a:gd name="T109" fmla="*/ 83 h 631"/>
                <a:gd name="T110" fmla="*/ 252 w 471"/>
                <a:gd name="T111" fmla="*/ 61 h 631"/>
                <a:gd name="T112" fmla="*/ 312 w 471"/>
                <a:gd name="T113" fmla="*/ 57 h 631"/>
                <a:gd name="T114" fmla="*/ 344 w 471"/>
                <a:gd name="T115" fmla="*/ 61 h 631"/>
                <a:gd name="T116" fmla="*/ 387 w 471"/>
                <a:gd name="T117" fmla="*/ 30 h 631"/>
                <a:gd name="T118" fmla="*/ 401 w 471"/>
                <a:gd name="T119" fmla="*/ 0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1" h="631">
                  <a:moveTo>
                    <a:pt x="405" y="0"/>
                  </a:moveTo>
                  <a:lnTo>
                    <a:pt x="406" y="0"/>
                  </a:lnTo>
                  <a:lnTo>
                    <a:pt x="408" y="1"/>
                  </a:lnTo>
                  <a:lnTo>
                    <a:pt x="410" y="1"/>
                  </a:lnTo>
                  <a:lnTo>
                    <a:pt x="411" y="2"/>
                  </a:lnTo>
                  <a:lnTo>
                    <a:pt x="412" y="2"/>
                  </a:lnTo>
                  <a:lnTo>
                    <a:pt x="415" y="4"/>
                  </a:lnTo>
                  <a:lnTo>
                    <a:pt x="417" y="5"/>
                  </a:lnTo>
                  <a:lnTo>
                    <a:pt x="419" y="7"/>
                  </a:lnTo>
                  <a:lnTo>
                    <a:pt x="421" y="10"/>
                  </a:lnTo>
                  <a:lnTo>
                    <a:pt x="422" y="11"/>
                  </a:lnTo>
                  <a:lnTo>
                    <a:pt x="423" y="13"/>
                  </a:lnTo>
                  <a:lnTo>
                    <a:pt x="424" y="15"/>
                  </a:lnTo>
                  <a:lnTo>
                    <a:pt x="425" y="17"/>
                  </a:lnTo>
                  <a:lnTo>
                    <a:pt x="425" y="18"/>
                  </a:lnTo>
                  <a:lnTo>
                    <a:pt x="428" y="19"/>
                  </a:lnTo>
                  <a:lnTo>
                    <a:pt x="431" y="20"/>
                  </a:lnTo>
                  <a:lnTo>
                    <a:pt x="433" y="20"/>
                  </a:lnTo>
                  <a:lnTo>
                    <a:pt x="434" y="21"/>
                  </a:lnTo>
                  <a:lnTo>
                    <a:pt x="435" y="22"/>
                  </a:lnTo>
                  <a:lnTo>
                    <a:pt x="436" y="23"/>
                  </a:lnTo>
                  <a:lnTo>
                    <a:pt x="437" y="25"/>
                  </a:lnTo>
                  <a:lnTo>
                    <a:pt x="437" y="25"/>
                  </a:lnTo>
                  <a:lnTo>
                    <a:pt x="438" y="27"/>
                  </a:lnTo>
                  <a:lnTo>
                    <a:pt x="438" y="29"/>
                  </a:lnTo>
                  <a:lnTo>
                    <a:pt x="437" y="31"/>
                  </a:lnTo>
                  <a:lnTo>
                    <a:pt x="437" y="33"/>
                  </a:lnTo>
                  <a:lnTo>
                    <a:pt x="436" y="36"/>
                  </a:lnTo>
                  <a:lnTo>
                    <a:pt x="432" y="46"/>
                  </a:lnTo>
                  <a:lnTo>
                    <a:pt x="431" y="51"/>
                  </a:lnTo>
                  <a:lnTo>
                    <a:pt x="430" y="54"/>
                  </a:lnTo>
                  <a:lnTo>
                    <a:pt x="429" y="57"/>
                  </a:lnTo>
                  <a:lnTo>
                    <a:pt x="429" y="59"/>
                  </a:lnTo>
                  <a:lnTo>
                    <a:pt x="429" y="62"/>
                  </a:lnTo>
                  <a:lnTo>
                    <a:pt x="429" y="65"/>
                  </a:lnTo>
                  <a:lnTo>
                    <a:pt x="430" y="68"/>
                  </a:lnTo>
                  <a:lnTo>
                    <a:pt x="431" y="70"/>
                  </a:lnTo>
                  <a:lnTo>
                    <a:pt x="432" y="73"/>
                  </a:lnTo>
                  <a:lnTo>
                    <a:pt x="433" y="76"/>
                  </a:lnTo>
                  <a:lnTo>
                    <a:pt x="434" y="79"/>
                  </a:lnTo>
                  <a:lnTo>
                    <a:pt x="436" y="81"/>
                  </a:lnTo>
                  <a:lnTo>
                    <a:pt x="444" y="90"/>
                  </a:lnTo>
                  <a:lnTo>
                    <a:pt x="446" y="93"/>
                  </a:lnTo>
                  <a:lnTo>
                    <a:pt x="447" y="96"/>
                  </a:lnTo>
                  <a:lnTo>
                    <a:pt x="449" y="98"/>
                  </a:lnTo>
                  <a:lnTo>
                    <a:pt x="449" y="99"/>
                  </a:lnTo>
                  <a:lnTo>
                    <a:pt x="450" y="101"/>
                  </a:lnTo>
                  <a:lnTo>
                    <a:pt x="451" y="104"/>
                  </a:lnTo>
                  <a:lnTo>
                    <a:pt x="451" y="107"/>
                  </a:lnTo>
                  <a:lnTo>
                    <a:pt x="451" y="111"/>
                  </a:lnTo>
                  <a:lnTo>
                    <a:pt x="451" y="115"/>
                  </a:lnTo>
                  <a:lnTo>
                    <a:pt x="451" y="118"/>
                  </a:lnTo>
                  <a:lnTo>
                    <a:pt x="450" y="121"/>
                  </a:lnTo>
                  <a:lnTo>
                    <a:pt x="450" y="124"/>
                  </a:lnTo>
                  <a:lnTo>
                    <a:pt x="449" y="126"/>
                  </a:lnTo>
                  <a:lnTo>
                    <a:pt x="447" y="127"/>
                  </a:lnTo>
                  <a:lnTo>
                    <a:pt x="447" y="128"/>
                  </a:lnTo>
                  <a:lnTo>
                    <a:pt x="446" y="130"/>
                  </a:lnTo>
                  <a:lnTo>
                    <a:pt x="444" y="132"/>
                  </a:lnTo>
                  <a:lnTo>
                    <a:pt x="442" y="133"/>
                  </a:lnTo>
                  <a:lnTo>
                    <a:pt x="440" y="134"/>
                  </a:lnTo>
                  <a:lnTo>
                    <a:pt x="437" y="136"/>
                  </a:lnTo>
                  <a:lnTo>
                    <a:pt x="435" y="136"/>
                  </a:lnTo>
                  <a:lnTo>
                    <a:pt x="430" y="138"/>
                  </a:lnTo>
                  <a:lnTo>
                    <a:pt x="428" y="138"/>
                  </a:lnTo>
                  <a:lnTo>
                    <a:pt x="425" y="139"/>
                  </a:lnTo>
                  <a:lnTo>
                    <a:pt x="422" y="141"/>
                  </a:lnTo>
                  <a:lnTo>
                    <a:pt x="421" y="143"/>
                  </a:lnTo>
                  <a:lnTo>
                    <a:pt x="420" y="145"/>
                  </a:lnTo>
                  <a:lnTo>
                    <a:pt x="419" y="146"/>
                  </a:lnTo>
                  <a:lnTo>
                    <a:pt x="415" y="151"/>
                  </a:lnTo>
                  <a:lnTo>
                    <a:pt x="413" y="153"/>
                  </a:lnTo>
                  <a:lnTo>
                    <a:pt x="411" y="155"/>
                  </a:lnTo>
                  <a:lnTo>
                    <a:pt x="410" y="157"/>
                  </a:lnTo>
                  <a:lnTo>
                    <a:pt x="409" y="158"/>
                  </a:lnTo>
                  <a:lnTo>
                    <a:pt x="407" y="159"/>
                  </a:lnTo>
                  <a:lnTo>
                    <a:pt x="405" y="160"/>
                  </a:lnTo>
                  <a:lnTo>
                    <a:pt x="403" y="161"/>
                  </a:lnTo>
                  <a:lnTo>
                    <a:pt x="401" y="162"/>
                  </a:lnTo>
                  <a:lnTo>
                    <a:pt x="396" y="164"/>
                  </a:lnTo>
                  <a:lnTo>
                    <a:pt x="383" y="168"/>
                  </a:lnTo>
                  <a:lnTo>
                    <a:pt x="367" y="172"/>
                  </a:lnTo>
                  <a:lnTo>
                    <a:pt x="359" y="175"/>
                  </a:lnTo>
                  <a:lnTo>
                    <a:pt x="346" y="180"/>
                  </a:lnTo>
                  <a:lnTo>
                    <a:pt x="344" y="181"/>
                  </a:lnTo>
                  <a:lnTo>
                    <a:pt x="342" y="183"/>
                  </a:lnTo>
                  <a:lnTo>
                    <a:pt x="341" y="183"/>
                  </a:lnTo>
                  <a:lnTo>
                    <a:pt x="339" y="185"/>
                  </a:lnTo>
                  <a:lnTo>
                    <a:pt x="338" y="186"/>
                  </a:lnTo>
                  <a:lnTo>
                    <a:pt x="337" y="188"/>
                  </a:lnTo>
                  <a:lnTo>
                    <a:pt x="336" y="190"/>
                  </a:lnTo>
                  <a:lnTo>
                    <a:pt x="335" y="192"/>
                  </a:lnTo>
                  <a:lnTo>
                    <a:pt x="335" y="194"/>
                  </a:lnTo>
                  <a:lnTo>
                    <a:pt x="335" y="195"/>
                  </a:lnTo>
                  <a:lnTo>
                    <a:pt x="336" y="197"/>
                  </a:lnTo>
                  <a:lnTo>
                    <a:pt x="336" y="199"/>
                  </a:lnTo>
                  <a:lnTo>
                    <a:pt x="337" y="201"/>
                  </a:lnTo>
                  <a:lnTo>
                    <a:pt x="339" y="204"/>
                  </a:lnTo>
                  <a:lnTo>
                    <a:pt x="340" y="206"/>
                  </a:lnTo>
                  <a:lnTo>
                    <a:pt x="342" y="208"/>
                  </a:lnTo>
                  <a:lnTo>
                    <a:pt x="342" y="210"/>
                  </a:lnTo>
                  <a:lnTo>
                    <a:pt x="344" y="212"/>
                  </a:lnTo>
                  <a:lnTo>
                    <a:pt x="346" y="215"/>
                  </a:lnTo>
                  <a:lnTo>
                    <a:pt x="350" y="217"/>
                  </a:lnTo>
                  <a:lnTo>
                    <a:pt x="359" y="226"/>
                  </a:lnTo>
                  <a:lnTo>
                    <a:pt x="362" y="229"/>
                  </a:lnTo>
                  <a:lnTo>
                    <a:pt x="365" y="232"/>
                  </a:lnTo>
                  <a:lnTo>
                    <a:pt x="371" y="239"/>
                  </a:lnTo>
                  <a:lnTo>
                    <a:pt x="373" y="241"/>
                  </a:lnTo>
                  <a:lnTo>
                    <a:pt x="376" y="243"/>
                  </a:lnTo>
                  <a:lnTo>
                    <a:pt x="378" y="245"/>
                  </a:lnTo>
                  <a:lnTo>
                    <a:pt x="381" y="247"/>
                  </a:lnTo>
                  <a:lnTo>
                    <a:pt x="384" y="249"/>
                  </a:lnTo>
                  <a:lnTo>
                    <a:pt x="388" y="250"/>
                  </a:lnTo>
                  <a:lnTo>
                    <a:pt x="390" y="250"/>
                  </a:lnTo>
                  <a:lnTo>
                    <a:pt x="392" y="250"/>
                  </a:lnTo>
                  <a:lnTo>
                    <a:pt x="394" y="250"/>
                  </a:lnTo>
                  <a:lnTo>
                    <a:pt x="396" y="249"/>
                  </a:lnTo>
                  <a:lnTo>
                    <a:pt x="400" y="247"/>
                  </a:lnTo>
                  <a:lnTo>
                    <a:pt x="404" y="247"/>
                  </a:lnTo>
                  <a:lnTo>
                    <a:pt x="405" y="247"/>
                  </a:lnTo>
                  <a:lnTo>
                    <a:pt x="408" y="247"/>
                  </a:lnTo>
                  <a:lnTo>
                    <a:pt x="410" y="247"/>
                  </a:lnTo>
                  <a:lnTo>
                    <a:pt x="411" y="247"/>
                  </a:lnTo>
                  <a:lnTo>
                    <a:pt x="413" y="248"/>
                  </a:lnTo>
                  <a:lnTo>
                    <a:pt x="415" y="249"/>
                  </a:lnTo>
                  <a:lnTo>
                    <a:pt x="417" y="250"/>
                  </a:lnTo>
                  <a:lnTo>
                    <a:pt x="419" y="251"/>
                  </a:lnTo>
                  <a:lnTo>
                    <a:pt x="422" y="251"/>
                  </a:lnTo>
                  <a:lnTo>
                    <a:pt x="422" y="253"/>
                  </a:lnTo>
                  <a:lnTo>
                    <a:pt x="425" y="255"/>
                  </a:lnTo>
                  <a:lnTo>
                    <a:pt x="427" y="257"/>
                  </a:lnTo>
                  <a:lnTo>
                    <a:pt x="431" y="260"/>
                  </a:lnTo>
                  <a:lnTo>
                    <a:pt x="433" y="263"/>
                  </a:lnTo>
                  <a:lnTo>
                    <a:pt x="434" y="265"/>
                  </a:lnTo>
                  <a:lnTo>
                    <a:pt x="438" y="271"/>
                  </a:lnTo>
                  <a:lnTo>
                    <a:pt x="440" y="274"/>
                  </a:lnTo>
                  <a:lnTo>
                    <a:pt x="443" y="277"/>
                  </a:lnTo>
                  <a:lnTo>
                    <a:pt x="449" y="285"/>
                  </a:lnTo>
                  <a:lnTo>
                    <a:pt x="451" y="287"/>
                  </a:lnTo>
                  <a:lnTo>
                    <a:pt x="452" y="290"/>
                  </a:lnTo>
                  <a:lnTo>
                    <a:pt x="456" y="295"/>
                  </a:lnTo>
                  <a:lnTo>
                    <a:pt x="456" y="297"/>
                  </a:lnTo>
                  <a:lnTo>
                    <a:pt x="458" y="300"/>
                  </a:lnTo>
                  <a:lnTo>
                    <a:pt x="460" y="307"/>
                  </a:lnTo>
                  <a:lnTo>
                    <a:pt x="462" y="309"/>
                  </a:lnTo>
                  <a:lnTo>
                    <a:pt x="467" y="318"/>
                  </a:lnTo>
                  <a:lnTo>
                    <a:pt x="469" y="324"/>
                  </a:lnTo>
                  <a:lnTo>
                    <a:pt x="471" y="327"/>
                  </a:lnTo>
                  <a:lnTo>
                    <a:pt x="470" y="327"/>
                  </a:lnTo>
                  <a:lnTo>
                    <a:pt x="469" y="327"/>
                  </a:lnTo>
                  <a:lnTo>
                    <a:pt x="462" y="331"/>
                  </a:lnTo>
                  <a:lnTo>
                    <a:pt x="458" y="331"/>
                  </a:lnTo>
                  <a:lnTo>
                    <a:pt x="453" y="333"/>
                  </a:lnTo>
                  <a:lnTo>
                    <a:pt x="445" y="336"/>
                  </a:lnTo>
                  <a:lnTo>
                    <a:pt x="441" y="337"/>
                  </a:lnTo>
                  <a:lnTo>
                    <a:pt x="435" y="338"/>
                  </a:lnTo>
                  <a:lnTo>
                    <a:pt x="432" y="339"/>
                  </a:lnTo>
                  <a:lnTo>
                    <a:pt x="423" y="340"/>
                  </a:lnTo>
                  <a:lnTo>
                    <a:pt x="421" y="340"/>
                  </a:lnTo>
                  <a:lnTo>
                    <a:pt x="417" y="341"/>
                  </a:lnTo>
                  <a:lnTo>
                    <a:pt x="413" y="342"/>
                  </a:lnTo>
                  <a:lnTo>
                    <a:pt x="410" y="342"/>
                  </a:lnTo>
                  <a:lnTo>
                    <a:pt x="406" y="344"/>
                  </a:lnTo>
                  <a:lnTo>
                    <a:pt x="403" y="346"/>
                  </a:lnTo>
                  <a:lnTo>
                    <a:pt x="400" y="348"/>
                  </a:lnTo>
                  <a:lnTo>
                    <a:pt x="398" y="350"/>
                  </a:lnTo>
                  <a:lnTo>
                    <a:pt x="395" y="353"/>
                  </a:lnTo>
                  <a:lnTo>
                    <a:pt x="392" y="356"/>
                  </a:lnTo>
                  <a:lnTo>
                    <a:pt x="385" y="365"/>
                  </a:lnTo>
                  <a:lnTo>
                    <a:pt x="379" y="371"/>
                  </a:lnTo>
                  <a:lnTo>
                    <a:pt x="372" y="380"/>
                  </a:lnTo>
                  <a:lnTo>
                    <a:pt x="368" y="386"/>
                  </a:lnTo>
                  <a:lnTo>
                    <a:pt x="365" y="390"/>
                  </a:lnTo>
                  <a:lnTo>
                    <a:pt x="364" y="392"/>
                  </a:lnTo>
                  <a:lnTo>
                    <a:pt x="363" y="394"/>
                  </a:lnTo>
                  <a:lnTo>
                    <a:pt x="363" y="396"/>
                  </a:lnTo>
                  <a:lnTo>
                    <a:pt x="363" y="398"/>
                  </a:lnTo>
                  <a:lnTo>
                    <a:pt x="363" y="399"/>
                  </a:lnTo>
                  <a:lnTo>
                    <a:pt x="363" y="399"/>
                  </a:lnTo>
                  <a:lnTo>
                    <a:pt x="364" y="401"/>
                  </a:lnTo>
                  <a:lnTo>
                    <a:pt x="365" y="402"/>
                  </a:lnTo>
                  <a:lnTo>
                    <a:pt x="366" y="403"/>
                  </a:lnTo>
                  <a:lnTo>
                    <a:pt x="367" y="404"/>
                  </a:lnTo>
                  <a:lnTo>
                    <a:pt x="368" y="404"/>
                  </a:lnTo>
                  <a:lnTo>
                    <a:pt x="370" y="404"/>
                  </a:lnTo>
                  <a:lnTo>
                    <a:pt x="371" y="405"/>
                  </a:lnTo>
                  <a:lnTo>
                    <a:pt x="373" y="405"/>
                  </a:lnTo>
                  <a:lnTo>
                    <a:pt x="377" y="404"/>
                  </a:lnTo>
                  <a:lnTo>
                    <a:pt x="380" y="404"/>
                  </a:lnTo>
                  <a:lnTo>
                    <a:pt x="381" y="404"/>
                  </a:lnTo>
                  <a:lnTo>
                    <a:pt x="382" y="405"/>
                  </a:lnTo>
                  <a:lnTo>
                    <a:pt x="383" y="405"/>
                  </a:lnTo>
                  <a:lnTo>
                    <a:pt x="384" y="406"/>
                  </a:lnTo>
                  <a:lnTo>
                    <a:pt x="386" y="407"/>
                  </a:lnTo>
                  <a:lnTo>
                    <a:pt x="388" y="409"/>
                  </a:lnTo>
                  <a:lnTo>
                    <a:pt x="393" y="416"/>
                  </a:lnTo>
                  <a:lnTo>
                    <a:pt x="398" y="421"/>
                  </a:lnTo>
                  <a:lnTo>
                    <a:pt x="400" y="423"/>
                  </a:lnTo>
                  <a:lnTo>
                    <a:pt x="402" y="425"/>
                  </a:lnTo>
                  <a:lnTo>
                    <a:pt x="405" y="427"/>
                  </a:lnTo>
                  <a:lnTo>
                    <a:pt x="409" y="429"/>
                  </a:lnTo>
                  <a:lnTo>
                    <a:pt x="415" y="432"/>
                  </a:lnTo>
                  <a:lnTo>
                    <a:pt x="417" y="433"/>
                  </a:lnTo>
                  <a:lnTo>
                    <a:pt x="421" y="435"/>
                  </a:lnTo>
                  <a:lnTo>
                    <a:pt x="424" y="438"/>
                  </a:lnTo>
                  <a:lnTo>
                    <a:pt x="425" y="439"/>
                  </a:lnTo>
                  <a:lnTo>
                    <a:pt x="426" y="440"/>
                  </a:lnTo>
                  <a:lnTo>
                    <a:pt x="426" y="441"/>
                  </a:lnTo>
                  <a:lnTo>
                    <a:pt x="426" y="442"/>
                  </a:lnTo>
                  <a:lnTo>
                    <a:pt x="425" y="443"/>
                  </a:lnTo>
                  <a:lnTo>
                    <a:pt x="425" y="444"/>
                  </a:lnTo>
                  <a:lnTo>
                    <a:pt x="424" y="444"/>
                  </a:lnTo>
                  <a:lnTo>
                    <a:pt x="423" y="445"/>
                  </a:lnTo>
                  <a:lnTo>
                    <a:pt x="422" y="446"/>
                  </a:lnTo>
                  <a:lnTo>
                    <a:pt x="414" y="450"/>
                  </a:lnTo>
                  <a:lnTo>
                    <a:pt x="412" y="451"/>
                  </a:lnTo>
                  <a:lnTo>
                    <a:pt x="410" y="452"/>
                  </a:lnTo>
                  <a:lnTo>
                    <a:pt x="409" y="454"/>
                  </a:lnTo>
                  <a:lnTo>
                    <a:pt x="404" y="458"/>
                  </a:lnTo>
                  <a:lnTo>
                    <a:pt x="402" y="459"/>
                  </a:lnTo>
                  <a:lnTo>
                    <a:pt x="396" y="464"/>
                  </a:lnTo>
                  <a:lnTo>
                    <a:pt x="388" y="469"/>
                  </a:lnTo>
                  <a:lnTo>
                    <a:pt x="386" y="471"/>
                  </a:lnTo>
                  <a:lnTo>
                    <a:pt x="383" y="473"/>
                  </a:lnTo>
                  <a:lnTo>
                    <a:pt x="373" y="478"/>
                  </a:lnTo>
                  <a:lnTo>
                    <a:pt x="370" y="479"/>
                  </a:lnTo>
                  <a:lnTo>
                    <a:pt x="366" y="482"/>
                  </a:lnTo>
                  <a:lnTo>
                    <a:pt x="355" y="489"/>
                  </a:lnTo>
                  <a:lnTo>
                    <a:pt x="353" y="491"/>
                  </a:lnTo>
                  <a:lnTo>
                    <a:pt x="352" y="492"/>
                  </a:lnTo>
                  <a:lnTo>
                    <a:pt x="350" y="494"/>
                  </a:lnTo>
                  <a:lnTo>
                    <a:pt x="348" y="497"/>
                  </a:lnTo>
                  <a:lnTo>
                    <a:pt x="346" y="500"/>
                  </a:lnTo>
                  <a:lnTo>
                    <a:pt x="344" y="502"/>
                  </a:lnTo>
                  <a:lnTo>
                    <a:pt x="343" y="505"/>
                  </a:lnTo>
                  <a:lnTo>
                    <a:pt x="343" y="508"/>
                  </a:lnTo>
                  <a:lnTo>
                    <a:pt x="343" y="510"/>
                  </a:lnTo>
                  <a:lnTo>
                    <a:pt x="343" y="511"/>
                  </a:lnTo>
                  <a:lnTo>
                    <a:pt x="343" y="512"/>
                  </a:lnTo>
                  <a:lnTo>
                    <a:pt x="345" y="516"/>
                  </a:lnTo>
                  <a:lnTo>
                    <a:pt x="346" y="518"/>
                  </a:lnTo>
                  <a:lnTo>
                    <a:pt x="346" y="520"/>
                  </a:lnTo>
                  <a:lnTo>
                    <a:pt x="346" y="523"/>
                  </a:lnTo>
                  <a:lnTo>
                    <a:pt x="345" y="533"/>
                  </a:lnTo>
                  <a:lnTo>
                    <a:pt x="345" y="535"/>
                  </a:lnTo>
                  <a:lnTo>
                    <a:pt x="345" y="536"/>
                  </a:lnTo>
                  <a:lnTo>
                    <a:pt x="343" y="541"/>
                  </a:lnTo>
                  <a:lnTo>
                    <a:pt x="342" y="546"/>
                  </a:lnTo>
                  <a:lnTo>
                    <a:pt x="342" y="548"/>
                  </a:lnTo>
                  <a:lnTo>
                    <a:pt x="341" y="550"/>
                  </a:lnTo>
                  <a:lnTo>
                    <a:pt x="340" y="552"/>
                  </a:lnTo>
                  <a:lnTo>
                    <a:pt x="336" y="557"/>
                  </a:lnTo>
                  <a:lnTo>
                    <a:pt x="335" y="558"/>
                  </a:lnTo>
                  <a:lnTo>
                    <a:pt x="334" y="560"/>
                  </a:lnTo>
                  <a:lnTo>
                    <a:pt x="333" y="563"/>
                  </a:lnTo>
                  <a:lnTo>
                    <a:pt x="332" y="566"/>
                  </a:lnTo>
                  <a:lnTo>
                    <a:pt x="331" y="568"/>
                  </a:lnTo>
                  <a:lnTo>
                    <a:pt x="331" y="570"/>
                  </a:lnTo>
                  <a:lnTo>
                    <a:pt x="331" y="575"/>
                  </a:lnTo>
                  <a:lnTo>
                    <a:pt x="330" y="577"/>
                  </a:lnTo>
                  <a:lnTo>
                    <a:pt x="328" y="583"/>
                  </a:lnTo>
                  <a:lnTo>
                    <a:pt x="326" y="588"/>
                  </a:lnTo>
                  <a:lnTo>
                    <a:pt x="323" y="593"/>
                  </a:lnTo>
                  <a:lnTo>
                    <a:pt x="321" y="598"/>
                  </a:lnTo>
                  <a:lnTo>
                    <a:pt x="319" y="601"/>
                  </a:lnTo>
                  <a:lnTo>
                    <a:pt x="317" y="605"/>
                  </a:lnTo>
                  <a:lnTo>
                    <a:pt x="314" y="608"/>
                  </a:lnTo>
                  <a:lnTo>
                    <a:pt x="308" y="615"/>
                  </a:lnTo>
                  <a:lnTo>
                    <a:pt x="300" y="624"/>
                  </a:lnTo>
                  <a:lnTo>
                    <a:pt x="297" y="627"/>
                  </a:lnTo>
                  <a:lnTo>
                    <a:pt x="296" y="629"/>
                  </a:lnTo>
                  <a:lnTo>
                    <a:pt x="293" y="631"/>
                  </a:lnTo>
                  <a:lnTo>
                    <a:pt x="292" y="631"/>
                  </a:lnTo>
                  <a:lnTo>
                    <a:pt x="291" y="631"/>
                  </a:lnTo>
                  <a:lnTo>
                    <a:pt x="290" y="631"/>
                  </a:lnTo>
                  <a:lnTo>
                    <a:pt x="287" y="629"/>
                  </a:lnTo>
                  <a:lnTo>
                    <a:pt x="285" y="628"/>
                  </a:lnTo>
                  <a:lnTo>
                    <a:pt x="282" y="626"/>
                  </a:lnTo>
                  <a:lnTo>
                    <a:pt x="280" y="625"/>
                  </a:lnTo>
                  <a:lnTo>
                    <a:pt x="278" y="623"/>
                  </a:lnTo>
                  <a:lnTo>
                    <a:pt x="277" y="622"/>
                  </a:lnTo>
                  <a:lnTo>
                    <a:pt x="276" y="620"/>
                  </a:lnTo>
                  <a:lnTo>
                    <a:pt x="275" y="617"/>
                  </a:lnTo>
                  <a:lnTo>
                    <a:pt x="274" y="615"/>
                  </a:lnTo>
                  <a:lnTo>
                    <a:pt x="274" y="613"/>
                  </a:lnTo>
                  <a:lnTo>
                    <a:pt x="273" y="608"/>
                  </a:lnTo>
                  <a:lnTo>
                    <a:pt x="272" y="605"/>
                  </a:lnTo>
                  <a:lnTo>
                    <a:pt x="271" y="603"/>
                  </a:lnTo>
                  <a:lnTo>
                    <a:pt x="268" y="600"/>
                  </a:lnTo>
                  <a:lnTo>
                    <a:pt x="266" y="598"/>
                  </a:lnTo>
                  <a:lnTo>
                    <a:pt x="263" y="591"/>
                  </a:lnTo>
                  <a:lnTo>
                    <a:pt x="262" y="589"/>
                  </a:lnTo>
                  <a:lnTo>
                    <a:pt x="261" y="586"/>
                  </a:lnTo>
                  <a:lnTo>
                    <a:pt x="260" y="583"/>
                  </a:lnTo>
                  <a:lnTo>
                    <a:pt x="260" y="580"/>
                  </a:lnTo>
                  <a:lnTo>
                    <a:pt x="260" y="577"/>
                  </a:lnTo>
                  <a:lnTo>
                    <a:pt x="260" y="571"/>
                  </a:lnTo>
                  <a:lnTo>
                    <a:pt x="259" y="568"/>
                  </a:lnTo>
                  <a:lnTo>
                    <a:pt x="259" y="565"/>
                  </a:lnTo>
                  <a:lnTo>
                    <a:pt x="258" y="564"/>
                  </a:lnTo>
                  <a:lnTo>
                    <a:pt x="257" y="559"/>
                  </a:lnTo>
                  <a:lnTo>
                    <a:pt x="255" y="557"/>
                  </a:lnTo>
                  <a:lnTo>
                    <a:pt x="252" y="551"/>
                  </a:lnTo>
                  <a:lnTo>
                    <a:pt x="250" y="546"/>
                  </a:lnTo>
                  <a:lnTo>
                    <a:pt x="248" y="543"/>
                  </a:lnTo>
                  <a:lnTo>
                    <a:pt x="247" y="542"/>
                  </a:lnTo>
                  <a:lnTo>
                    <a:pt x="246" y="541"/>
                  </a:lnTo>
                  <a:lnTo>
                    <a:pt x="245" y="540"/>
                  </a:lnTo>
                  <a:lnTo>
                    <a:pt x="243" y="539"/>
                  </a:lnTo>
                  <a:lnTo>
                    <a:pt x="241" y="539"/>
                  </a:lnTo>
                  <a:lnTo>
                    <a:pt x="240" y="538"/>
                  </a:lnTo>
                  <a:lnTo>
                    <a:pt x="238" y="539"/>
                  </a:lnTo>
                  <a:lnTo>
                    <a:pt x="237" y="539"/>
                  </a:lnTo>
                  <a:lnTo>
                    <a:pt x="235" y="540"/>
                  </a:lnTo>
                  <a:lnTo>
                    <a:pt x="234" y="541"/>
                  </a:lnTo>
                  <a:lnTo>
                    <a:pt x="233" y="543"/>
                  </a:lnTo>
                  <a:lnTo>
                    <a:pt x="233" y="544"/>
                  </a:lnTo>
                  <a:lnTo>
                    <a:pt x="233" y="545"/>
                  </a:lnTo>
                  <a:lnTo>
                    <a:pt x="233" y="546"/>
                  </a:lnTo>
                  <a:lnTo>
                    <a:pt x="233" y="550"/>
                  </a:lnTo>
                  <a:lnTo>
                    <a:pt x="238" y="568"/>
                  </a:lnTo>
                  <a:lnTo>
                    <a:pt x="239" y="570"/>
                  </a:lnTo>
                  <a:lnTo>
                    <a:pt x="239" y="571"/>
                  </a:lnTo>
                  <a:lnTo>
                    <a:pt x="239" y="574"/>
                  </a:lnTo>
                  <a:lnTo>
                    <a:pt x="239" y="577"/>
                  </a:lnTo>
                  <a:lnTo>
                    <a:pt x="238" y="579"/>
                  </a:lnTo>
                  <a:lnTo>
                    <a:pt x="237" y="580"/>
                  </a:lnTo>
                  <a:lnTo>
                    <a:pt x="235" y="583"/>
                  </a:lnTo>
                  <a:lnTo>
                    <a:pt x="233" y="585"/>
                  </a:lnTo>
                  <a:lnTo>
                    <a:pt x="231" y="586"/>
                  </a:lnTo>
                  <a:lnTo>
                    <a:pt x="229" y="588"/>
                  </a:lnTo>
                  <a:lnTo>
                    <a:pt x="228" y="588"/>
                  </a:lnTo>
                  <a:lnTo>
                    <a:pt x="227" y="588"/>
                  </a:lnTo>
                  <a:lnTo>
                    <a:pt x="226" y="589"/>
                  </a:lnTo>
                  <a:lnTo>
                    <a:pt x="225" y="588"/>
                  </a:lnTo>
                  <a:lnTo>
                    <a:pt x="222" y="587"/>
                  </a:lnTo>
                  <a:lnTo>
                    <a:pt x="221" y="587"/>
                  </a:lnTo>
                  <a:lnTo>
                    <a:pt x="220" y="587"/>
                  </a:lnTo>
                  <a:lnTo>
                    <a:pt x="219" y="587"/>
                  </a:lnTo>
                  <a:lnTo>
                    <a:pt x="218" y="587"/>
                  </a:lnTo>
                  <a:lnTo>
                    <a:pt x="217" y="588"/>
                  </a:lnTo>
                  <a:lnTo>
                    <a:pt x="216" y="590"/>
                  </a:lnTo>
                  <a:lnTo>
                    <a:pt x="215" y="591"/>
                  </a:lnTo>
                  <a:lnTo>
                    <a:pt x="210" y="592"/>
                  </a:lnTo>
                  <a:lnTo>
                    <a:pt x="208" y="593"/>
                  </a:lnTo>
                  <a:lnTo>
                    <a:pt x="207" y="594"/>
                  </a:lnTo>
                  <a:lnTo>
                    <a:pt x="206" y="596"/>
                  </a:lnTo>
                  <a:lnTo>
                    <a:pt x="205" y="597"/>
                  </a:lnTo>
                  <a:lnTo>
                    <a:pt x="204" y="599"/>
                  </a:lnTo>
                  <a:lnTo>
                    <a:pt x="203" y="603"/>
                  </a:lnTo>
                  <a:lnTo>
                    <a:pt x="202" y="604"/>
                  </a:lnTo>
                  <a:lnTo>
                    <a:pt x="201" y="605"/>
                  </a:lnTo>
                  <a:lnTo>
                    <a:pt x="199" y="607"/>
                  </a:lnTo>
                  <a:lnTo>
                    <a:pt x="194" y="613"/>
                  </a:lnTo>
                  <a:lnTo>
                    <a:pt x="193" y="614"/>
                  </a:lnTo>
                  <a:lnTo>
                    <a:pt x="192" y="616"/>
                  </a:lnTo>
                  <a:lnTo>
                    <a:pt x="188" y="621"/>
                  </a:lnTo>
                  <a:lnTo>
                    <a:pt x="186" y="623"/>
                  </a:lnTo>
                  <a:lnTo>
                    <a:pt x="185" y="624"/>
                  </a:lnTo>
                  <a:lnTo>
                    <a:pt x="184" y="625"/>
                  </a:lnTo>
                  <a:lnTo>
                    <a:pt x="183" y="625"/>
                  </a:lnTo>
                  <a:lnTo>
                    <a:pt x="183" y="625"/>
                  </a:lnTo>
                  <a:lnTo>
                    <a:pt x="181" y="625"/>
                  </a:lnTo>
                  <a:lnTo>
                    <a:pt x="179" y="624"/>
                  </a:lnTo>
                  <a:lnTo>
                    <a:pt x="177" y="623"/>
                  </a:lnTo>
                  <a:lnTo>
                    <a:pt x="175" y="621"/>
                  </a:lnTo>
                  <a:lnTo>
                    <a:pt x="173" y="618"/>
                  </a:lnTo>
                  <a:lnTo>
                    <a:pt x="172" y="615"/>
                  </a:lnTo>
                  <a:lnTo>
                    <a:pt x="170" y="612"/>
                  </a:lnTo>
                  <a:lnTo>
                    <a:pt x="169" y="609"/>
                  </a:lnTo>
                  <a:lnTo>
                    <a:pt x="169" y="607"/>
                  </a:lnTo>
                  <a:lnTo>
                    <a:pt x="168" y="604"/>
                  </a:lnTo>
                  <a:lnTo>
                    <a:pt x="168" y="602"/>
                  </a:lnTo>
                  <a:lnTo>
                    <a:pt x="169" y="599"/>
                  </a:lnTo>
                  <a:lnTo>
                    <a:pt x="169" y="593"/>
                  </a:lnTo>
                  <a:lnTo>
                    <a:pt x="172" y="583"/>
                  </a:lnTo>
                  <a:lnTo>
                    <a:pt x="172" y="578"/>
                  </a:lnTo>
                  <a:lnTo>
                    <a:pt x="173" y="572"/>
                  </a:lnTo>
                  <a:lnTo>
                    <a:pt x="173" y="570"/>
                  </a:lnTo>
                  <a:lnTo>
                    <a:pt x="173" y="569"/>
                  </a:lnTo>
                  <a:lnTo>
                    <a:pt x="172" y="568"/>
                  </a:lnTo>
                  <a:lnTo>
                    <a:pt x="172" y="566"/>
                  </a:lnTo>
                  <a:lnTo>
                    <a:pt x="171" y="563"/>
                  </a:lnTo>
                  <a:lnTo>
                    <a:pt x="170" y="561"/>
                  </a:lnTo>
                  <a:lnTo>
                    <a:pt x="169" y="560"/>
                  </a:lnTo>
                  <a:lnTo>
                    <a:pt x="167" y="558"/>
                  </a:lnTo>
                  <a:lnTo>
                    <a:pt x="164" y="557"/>
                  </a:lnTo>
                  <a:lnTo>
                    <a:pt x="162" y="556"/>
                  </a:lnTo>
                  <a:lnTo>
                    <a:pt x="161" y="556"/>
                  </a:lnTo>
                  <a:lnTo>
                    <a:pt x="160" y="555"/>
                  </a:lnTo>
                  <a:lnTo>
                    <a:pt x="158" y="555"/>
                  </a:lnTo>
                  <a:lnTo>
                    <a:pt x="156" y="555"/>
                  </a:lnTo>
                  <a:lnTo>
                    <a:pt x="153" y="555"/>
                  </a:lnTo>
                  <a:lnTo>
                    <a:pt x="148" y="556"/>
                  </a:lnTo>
                  <a:lnTo>
                    <a:pt x="143" y="557"/>
                  </a:lnTo>
                  <a:lnTo>
                    <a:pt x="142" y="557"/>
                  </a:lnTo>
                  <a:lnTo>
                    <a:pt x="140" y="557"/>
                  </a:lnTo>
                  <a:lnTo>
                    <a:pt x="136" y="559"/>
                  </a:lnTo>
                  <a:lnTo>
                    <a:pt x="132" y="561"/>
                  </a:lnTo>
                  <a:lnTo>
                    <a:pt x="129" y="562"/>
                  </a:lnTo>
                  <a:lnTo>
                    <a:pt x="127" y="563"/>
                  </a:lnTo>
                  <a:lnTo>
                    <a:pt x="125" y="565"/>
                  </a:lnTo>
                  <a:lnTo>
                    <a:pt x="120" y="569"/>
                  </a:lnTo>
                  <a:lnTo>
                    <a:pt x="116" y="571"/>
                  </a:lnTo>
                  <a:lnTo>
                    <a:pt x="108" y="578"/>
                  </a:lnTo>
                  <a:lnTo>
                    <a:pt x="101" y="583"/>
                  </a:lnTo>
                  <a:lnTo>
                    <a:pt x="98" y="585"/>
                  </a:lnTo>
                  <a:lnTo>
                    <a:pt x="95" y="588"/>
                  </a:lnTo>
                  <a:lnTo>
                    <a:pt x="93" y="590"/>
                  </a:lnTo>
                  <a:lnTo>
                    <a:pt x="92" y="591"/>
                  </a:lnTo>
                  <a:lnTo>
                    <a:pt x="90" y="595"/>
                  </a:lnTo>
                  <a:lnTo>
                    <a:pt x="89" y="597"/>
                  </a:lnTo>
                  <a:lnTo>
                    <a:pt x="87" y="598"/>
                  </a:lnTo>
                  <a:lnTo>
                    <a:pt x="86" y="599"/>
                  </a:lnTo>
                  <a:lnTo>
                    <a:pt x="83" y="599"/>
                  </a:lnTo>
                  <a:lnTo>
                    <a:pt x="81" y="600"/>
                  </a:lnTo>
                  <a:lnTo>
                    <a:pt x="72" y="600"/>
                  </a:lnTo>
                  <a:lnTo>
                    <a:pt x="64" y="600"/>
                  </a:lnTo>
                  <a:lnTo>
                    <a:pt x="61" y="600"/>
                  </a:lnTo>
                  <a:lnTo>
                    <a:pt x="59" y="600"/>
                  </a:lnTo>
                  <a:lnTo>
                    <a:pt x="58" y="599"/>
                  </a:lnTo>
                  <a:lnTo>
                    <a:pt x="58" y="599"/>
                  </a:lnTo>
                  <a:lnTo>
                    <a:pt x="57" y="598"/>
                  </a:lnTo>
                  <a:lnTo>
                    <a:pt x="56" y="597"/>
                  </a:lnTo>
                  <a:lnTo>
                    <a:pt x="55" y="595"/>
                  </a:lnTo>
                  <a:lnTo>
                    <a:pt x="55" y="594"/>
                  </a:lnTo>
                  <a:lnTo>
                    <a:pt x="54" y="592"/>
                  </a:lnTo>
                  <a:lnTo>
                    <a:pt x="54" y="591"/>
                  </a:lnTo>
                  <a:lnTo>
                    <a:pt x="54" y="587"/>
                  </a:lnTo>
                  <a:lnTo>
                    <a:pt x="54" y="584"/>
                  </a:lnTo>
                  <a:lnTo>
                    <a:pt x="56" y="576"/>
                  </a:lnTo>
                  <a:lnTo>
                    <a:pt x="56" y="574"/>
                  </a:lnTo>
                  <a:lnTo>
                    <a:pt x="56" y="571"/>
                  </a:lnTo>
                  <a:lnTo>
                    <a:pt x="56" y="569"/>
                  </a:lnTo>
                  <a:lnTo>
                    <a:pt x="56" y="568"/>
                  </a:lnTo>
                  <a:lnTo>
                    <a:pt x="56" y="567"/>
                  </a:lnTo>
                  <a:lnTo>
                    <a:pt x="55" y="566"/>
                  </a:lnTo>
                  <a:lnTo>
                    <a:pt x="54" y="565"/>
                  </a:lnTo>
                  <a:lnTo>
                    <a:pt x="53" y="565"/>
                  </a:lnTo>
                  <a:lnTo>
                    <a:pt x="51" y="565"/>
                  </a:lnTo>
                  <a:lnTo>
                    <a:pt x="49" y="566"/>
                  </a:lnTo>
                  <a:lnTo>
                    <a:pt x="46" y="567"/>
                  </a:lnTo>
                  <a:lnTo>
                    <a:pt x="44" y="568"/>
                  </a:lnTo>
                  <a:lnTo>
                    <a:pt x="37" y="569"/>
                  </a:lnTo>
                  <a:lnTo>
                    <a:pt x="35" y="569"/>
                  </a:lnTo>
                  <a:lnTo>
                    <a:pt x="34" y="569"/>
                  </a:lnTo>
                  <a:lnTo>
                    <a:pt x="32" y="569"/>
                  </a:lnTo>
                  <a:lnTo>
                    <a:pt x="30" y="569"/>
                  </a:lnTo>
                  <a:lnTo>
                    <a:pt x="28" y="568"/>
                  </a:lnTo>
                  <a:lnTo>
                    <a:pt x="27" y="567"/>
                  </a:lnTo>
                  <a:lnTo>
                    <a:pt x="25" y="566"/>
                  </a:lnTo>
                  <a:lnTo>
                    <a:pt x="24" y="564"/>
                  </a:lnTo>
                  <a:lnTo>
                    <a:pt x="23" y="563"/>
                  </a:lnTo>
                  <a:lnTo>
                    <a:pt x="20" y="560"/>
                  </a:lnTo>
                  <a:lnTo>
                    <a:pt x="14" y="553"/>
                  </a:lnTo>
                  <a:lnTo>
                    <a:pt x="8" y="546"/>
                  </a:lnTo>
                  <a:lnTo>
                    <a:pt x="2" y="539"/>
                  </a:lnTo>
                  <a:lnTo>
                    <a:pt x="1" y="537"/>
                  </a:lnTo>
                  <a:lnTo>
                    <a:pt x="0" y="536"/>
                  </a:lnTo>
                  <a:lnTo>
                    <a:pt x="0" y="535"/>
                  </a:lnTo>
                  <a:lnTo>
                    <a:pt x="1" y="532"/>
                  </a:lnTo>
                  <a:lnTo>
                    <a:pt x="8" y="520"/>
                  </a:lnTo>
                  <a:lnTo>
                    <a:pt x="10" y="516"/>
                  </a:lnTo>
                  <a:lnTo>
                    <a:pt x="12" y="512"/>
                  </a:lnTo>
                  <a:lnTo>
                    <a:pt x="13" y="507"/>
                  </a:lnTo>
                  <a:lnTo>
                    <a:pt x="14" y="504"/>
                  </a:lnTo>
                  <a:lnTo>
                    <a:pt x="14" y="501"/>
                  </a:lnTo>
                  <a:lnTo>
                    <a:pt x="14" y="499"/>
                  </a:lnTo>
                  <a:lnTo>
                    <a:pt x="13" y="494"/>
                  </a:lnTo>
                  <a:lnTo>
                    <a:pt x="14" y="491"/>
                  </a:lnTo>
                  <a:lnTo>
                    <a:pt x="14" y="489"/>
                  </a:lnTo>
                  <a:lnTo>
                    <a:pt x="14" y="488"/>
                  </a:lnTo>
                  <a:lnTo>
                    <a:pt x="15" y="486"/>
                  </a:lnTo>
                  <a:lnTo>
                    <a:pt x="16" y="485"/>
                  </a:lnTo>
                  <a:lnTo>
                    <a:pt x="17" y="483"/>
                  </a:lnTo>
                  <a:lnTo>
                    <a:pt x="20" y="479"/>
                  </a:lnTo>
                  <a:lnTo>
                    <a:pt x="24" y="475"/>
                  </a:lnTo>
                  <a:lnTo>
                    <a:pt x="28" y="469"/>
                  </a:lnTo>
                  <a:lnTo>
                    <a:pt x="30" y="466"/>
                  </a:lnTo>
                  <a:lnTo>
                    <a:pt x="32" y="463"/>
                  </a:lnTo>
                  <a:lnTo>
                    <a:pt x="34" y="460"/>
                  </a:lnTo>
                  <a:lnTo>
                    <a:pt x="35" y="457"/>
                  </a:lnTo>
                  <a:lnTo>
                    <a:pt x="35" y="455"/>
                  </a:lnTo>
                  <a:lnTo>
                    <a:pt x="35" y="452"/>
                  </a:lnTo>
                  <a:lnTo>
                    <a:pt x="35" y="450"/>
                  </a:lnTo>
                  <a:lnTo>
                    <a:pt x="35" y="448"/>
                  </a:lnTo>
                  <a:lnTo>
                    <a:pt x="35" y="446"/>
                  </a:lnTo>
                  <a:lnTo>
                    <a:pt x="34" y="444"/>
                  </a:lnTo>
                  <a:lnTo>
                    <a:pt x="34" y="443"/>
                  </a:lnTo>
                  <a:lnTo>
                    <a:pt x="33" y="442"/>
                  </a:lnTo>
                  <a:lnTo>
                    <a:pt x="31" y="438"/>
                  </a:lnTo>
                  <a:lnTo>
                    <a:pt x="28" y="434"/>
                  </a:lnTo>
                  <a:lnTo>
                    <a:pt x="25" y="432"/>
                  </a:lnTo>
                  <a:lnTo>
                    <a:pt x="17" y="422"/>
                  </a:lnTo>
                  <a:lnTo>
                    <a:pt x="14" y="421"/>
                  </a:lnTo>
                  <a:lnTo>
                    <a:pt x="13" y="418"/>
                  </a:lnTo>
                  <a:lnTo>
                    <a:pt x="12" y="416"/>
                  </a:lnTo>
                  <a:lnTo>
                    <a:pt x="12" y="414"/>
                  </a:lnTo>
                  <a:lnTo>
                    <a:pt x="11" y="413"/>
                  </a:lnTo>
                  <a:lnTo>
                    <a:pt x="11" y="410"/>
                  </a:lnTo>
                  <a:lnTo>
                    <a:pt x="11" y="408"/>
                  </a:lnTo>
                  <a:lnTo>
                    <a:pt x="12" y="399"/>
                  </a:lnTo>
                  <a:lnTo>
                    <a:pt x="12" y="389"/>
                  </a:lnTo>
                  <a:lnTo>
                    <a:pt x="13" y="385"/>
                  </a:lnTo>
                  <a:lnTo>
                    <a:pt x="14" y="382"/>
                  </a:lnTo>
                  <a:lnTo>
                    <a:pt x="15" y="379"/>
                  </a:lnTo>
                  <a:lnTo>
                    <a:pt x="16" y="376"/>
                  </a:lnTo>
                  <a:lnTo>
                    <a:pt x="18" y="373"/>
                  </a:lnTo>
                  <a:lnTo>
                    <a:pt x="21" y="368"/>
                  </a:lnTo>
                  <a:lnTo>
                    <a:pt x="24" y="363"/>
                  </a:lnTo>
                  <a:lnTo>
                    <a:pt x="25" y="359"/>
                  </a:lnTo>
                  <a:lnTo>
                    <a:pt x="28" y="355"/>
                  </a:lnTo>
                  <a:lnTo>
                    <a:pt x="30" y="353"/>
                  </a:lnTo>
                  <a:lnTo>
                    <a:pt x="35" y="348"/>
                  </a:lnTo>
                  <a:lnTo>
                    <a:pt x="45" y="336"/>
                  </a:lnTo>
                  <a:lnTo>
                    <a:pt x="46" y="334"/>
                  </a:lnTo>
                  <a:lnTo>
                    <a:pt x="48" y="331"/>
                  </a:lnTo>
                  <a:lnTo>
                    <a:pt x="50" y="328"/>
                  </a:lnTo>
                  <a:lnTo>
                    <a:pt x="52" y="325"/>
                  </a:lnTo>
                  <a:lnTo>
                    <a:pt x="54" y="321"/>
                  </a:lnTo>
                  <a:lnTo>
                    <a:pt x="55" y="319"/>
                  </a:lnTo>
                  <a:lnTo>
                    <a:pt x="55" y="316"/>
                  </a:lnTo>
                  <a:lnTo>
                    <a:pt x="56" y="313"/>
                  </a:lnTo>
                  <a:lnTo>
                    <a:pt x="56" y="311"/>
                  </a:lnTo>
                  <a:lnTo>
                    <a:pt x="56" y="308"/>
                  </a:lnTo>
                  <a:lnTo>
                    <a:pt x="56" y="306"/>
                  </a:lnTo>
                  <a:lnTo>
                    <a:pt x="56" y="302"/>
                  </a:lnTo>
                  <a:lnTo>
                    <a:pt x="55" y="296"/>
                  </a:lnTo>
                  <a:lnTo>
                    <a:pt x="54" y="289"/>
                  </a:lnTo>
                  <a:lnTo>
                    <a:pt x="53" y="285"/>
                  </a:lnTo>
                  <a:lnTo>
                    <a:pt x="52" y="282"/>
                  </a:lnTo>
                  <a:lnTo>
                    <a:pt x="51" y="278"/>
                  </a:lnTo>
                  <a:lnTo>
                    <a:pt x="50" y="275"/>
                  </a:lnTo>
                  <a:lnTo>
                    <a:pt x="49" y="273"/>
                  </a:lnTo>
                  <a:lnTo>
                    <a:pt x="47" y="270"/>
                  </a:lnTo>
                  <a:lnTo>
                    <a:pt x="48" y="270"/>
                  </a:lnTo>
                  <a:lnTo>
                    <a:pt x="50" y="268"/>
                  </a:lnTo>
                  <a:lnTo>
                    <a:pt x="52" y="266"/>
                  </a:lnTo>
                  <a:lnTo>
                    <a:pt x="54" y="263"/>
                  </a:lnTo>
                  <a:lnTo>
                    <a:pt x="56" y="261"/>
                  </a:lnTo>
                  <a:lnTo>
                    <a:pt x="57" y="259"/>
                  </a:lnTo>
                  <a:lnTo>
                    <a:pt x="58" y="257"/>
                  </a:lnTo>
                  <a:lnTo>
                    <a:pt x="59" y="254"/>
                  </a:lnTo>
                  <a:lnTo>
                    <a:pt x="60" y="251"/>
                  </a:lnTo>
                  <a:lnTo>
                    <a:pt x="61" y="247"/>
                  </a:lnTo>
                  <a:lnTo>
                    <a:pt x="62" y="241"/>
                  </a:lnTo>
                  <a:lnTo>
                    <a:pt x="64" y="232"/>
                  </a:lnTo>
                  <a:lnTo>
                    <a:pt x="65" y="229"/>
                  </a:lnTo>
                  <a:lnTo>
                    <a:pt x="66" y="226"/>
                  </a:lnTo>
                  <a:lnTo>
                    <a:pt x="68" y="223"/>
                  </a:lnTo>
                  <a:lnTo>
                    <a:pt x="69" y="219"/>
                  </a:lnTo>
                  <a:lnTo>
                    <a:pt x="73" y="215"/>
                  </a:lnTo>
                  <a:lnTo>
                    <a:pt x="87" y="198"/>
                  </a:lnTo>
                  <a:lnTo>
                    <a:pt x="92" y="193"/>
                  </a:lnTo>
                  <a:lnTo>
                    <a:pt x="94" y="190"/>
                  </a:lnTo>
                  <a:lnTo>
                    <a:pt x="97" y="188"/>
                  </a:lnTo>
                  <a:lnTo>
                    <a:pt x="102" y="184"/>
                  </a:lnTo>
                  <a:lnTo>
                    <a:pt x="103" y="183"/>
                  </a:lnTo>
                  <a:lnTo>
                    <a:pt x="106" y="181"/>
                  </a:lnTo>
                  <a:lnTo>
                    <a:pt x="112" y="174"/>
                  </a:lnTo>
                  <a:lnTo>
                    <a:pt x="114" y="172"/>
                  </a:lnTo>
                  <a:lnTo>
                    <a:pt x="116" y="171"/>
                  </a:lnTo>
                  <a:lnTo>
                    <a:pt x="119" y="170"/>
                  </a:lnTo>
                  <a:lnTo>
                    <a:pt x="122" y="168"/>
                  </a:lnTo>
                  <a:lnTo>
                    <a:pt x="124" y="167"/>
                  </a:lnTo>
                  <a:lnTo>
                    <a:pt x="130" y="164"/>
                  </a:lnTo>
                  <a:lnTo>
                    <a:pt x="133" y="163"/>
                  </a:lnTo>
                  <a:lnTo>
                    <a:pt x="136" y="161"/>
                  </a:lnTo>
                  <a:lnTo>
                    <a:pt x="138" y="160"/>
                  </a:lnTo>
                  <a:lnTo>
                    <a:pt x="140" y="158"/>
                  </a:lnTo>
                  <a:lnTo>
                    <a:pt x="143" y="155"/>
                  </a:lnTo>
                  <a:lnTo>
                    <a:pt x="151" y="145"/>
                  </a:lnTo>
                  <a:lnTo>
                    <a:pt x="157" y="139"/>
                  </a:lnTo>
                  <a:lnTo>
                    <a:pt x="160" y="137"/>
                  </a:lnTo>
                  <a:lnTo>
                    <a:pt x="161" y="135"/>
                  </a:lnTo>
                  <a:lnTo>
                    <a:pt x="163" y="134"/>
                  </a:lnTo>
                  <a:lnTo>
                    <a:pt x="165" y="133"/>
                  </a:lnTo>
                  <a:lnTo>
                    <a:pt x="167" y="133"/>
                  </a:lnTo>
                  <a:lnTo>
                    <a:pt x="169" y="133"/>
                  </a:lnTo>
                  <a:lnTo>
                    <a:pt x="172" y="134"/>
                  </a:lnTo>
                  <a:lnTo>
                    <a:pt x="177" y="135"/>
                  </a:lnTo>
                  <a:lnTo>
                    <a:pt x="180" y="135"/>
                  </a:lnTo>
                  <a:lnTo>
                    <a:pt x="183" y="136"/>
                  </a:lnTo>
                  <a:lnTo>
                    <a:pt x="186" y="136"/>
                  </a:lnTo>
                  <a:lnTo>
                    <a:pt x="189" y="135"/>
                  </a:lnTo>
                  <a:lnTo>
                    <a:pt x="191" y="135"/>
                  </a:lnTo>
                  <a:lnTo>
                    <a:pt x="192" y="134"/>
                  </a:lnTo>
                  <a:lnTo>
                    <a:pt x="193" y="133"/>
                  </a:lnTo>
                  <a:lnTo>
                    <a:pt x="194" y="133"/>
                  </a:lnTo>
                  <a:lnTo>
                    <a:pt x="194" y="132"/>
                  </a:lnTo>
                  <a:lnTo>
                    <a:pt x="194" y="131"/>
                  </a:lnTo>
                  <a:lnTo>
                    <a:pt x="195" y="129"/>
                  </a:lnTo>
                  <a:lnTo>
                    <a:pt x="197" y="127"/>
                  </a:lnTo>
                  <a:lnTo>
                    <a:pt x="198" y="122"/>
                  </a:lnTo>
                  <a:lnTo>
                    <a:pt x="199" y="117"/>
                  </a:lnTo>
                  <a:lnTo>
                    <a:pt x="199" y="113"/>
                  </a:lnTo>
                  <a:lnTo>
                    <a:pt x="200" y="107"/>
                  </a:lnTo>
                  <a:lnTo>
                    <a:pt x="201" y="85"/>
                  </a:lnTo>
                  <a:lnTo>
                    <a:pt x="202" y="85"/>
                  </a:lnTo>
                  <a:lnTo>
                    <a:pt x="202" y="86"/>
                  </a:lnTo>
                  <a:lnTo>
                    <a:pt x="203" y="86"/>
                  </a:lnTo>
                  <a:lnTo>
                    <a:pt x="204" y="85"/>
                  </a:lnTo>
                  <a:lnTo>
                    <a:pt x="206" y="85"/>
                  </a:lnTo>
                  <a:lnTo>
                    <a:pt x="207" y="83"/>
                  </a:lnTo>
                  <a:lnTo>
                    <a:pt x="209" y="82"/>
                  </a:lnTo>
                  <a:lnTo>
                    <a:pt x="212" y="81"/>
                  </a:lnTo>
                  <a:lnTo>
                    <a:pt x="218" y="75"/>
                  </a:lnTo>
                  <a:lnTo>
                    <a:pt x="221" y="72"/>
                  </a:lnTo>
                  <a:lnTo>
                    <a:pt x="224" y="70"/>
                  </a:lnTo>
                  <a:lnTo>
                    <a:pt x="228" y="69"/>
                  </a:lnTo>
                  <a:lnTo>
                    <a:pt x="233" y="66"/>
                  </a:lnTo>
                  <a:lnTo>
                    <a:pt x="238" y="64"/>
                  </a:lnTo>
                  <a:lnTo>
                    <a:pt x="243" y="63"/>
                  </a:lnTo>
                  <a:lnTo>
                    <a:pt x="249" y="61"/>
                  </a:lnTo>
                  <a:lnTo>
                    <a:pt x="252" y="61"/>
                  </a:lnTo>
                  <a:lnTo>
                    <a:pt x="256" y="60"/>
                  </a:lnTo>
                  <a:lnTo>
                    <a:pt x="260" y="60"/>
                  </a:lnTo>
                  <a:lnTo>
                    <a:pt x="264" y="60"/>
                  </a:lnTo>
                  <a:lnTo>
                    <a:pt x="271" y="60"/>
                  </a:lnTo>
                  <a:lnTo>
                    <a:pt x="285" y="61"/>
                  </a:lnTo>
                  <a:lnTo>
                    <a:pt x="289" y="61"/>
                  </a:lnTo>
                  <a:lnTo>
                    <a:pt x="293" y="60"/>
                  </a:lnTo>
                  <a:lnTo>
                    <a:pt x="297" y="60"/>
                  </a:lnTo>
                  <a:lnTo>
                    <a:pt x="300" y="60"/>
                  </a:lnTo>
                  <a:lnTo>
                    <a:pt x="303" y="59"/>
                  </a:lnTo>
                  <a:lnTo>
                    <a:pt x="312" y="57"/>
                  </a:lnTo>
                  <a:lnTo>
                    <a:pt x="315" y="57"/>
                  </a:lnTo>
                  <a:lnTo>
                    <a:pt x="318" y="57"/>
                  </a:lnTo>
                  <a:lnTo>
                    <a:pt x="320" y="57"/>
                  </a:lnTo>
                  <a:lnTo>
                    <a:pt x="323" y="57"/>
                  </a:lnTo>
                  <a:lnTo>
                    <a:pt x="326" y="58"/>
                  </a:lnTo>
                  <a:lnTo>
                    <a:pt x="331" y="59"/>
                  </a:lnTo>
                  <a:lnTo>
                    <a:pt x="332" y="60"/>
                  </a:lnTo>
                  <a:lnTo>
                    <a:pt x="335" y="61"/>
                  </a:lnTo>
                  <a:lnTo>
                    <a:pt x="338" y="61"/>
                  </a:lnTo>
                  <a:lnTo>
                    <a:pt x="342" y="61"/>
                  </a:lnTo>
                  <a:lnTo>
                    <a:pt x="344" y="61"/>
                  </a:lnTo>
                  <a:lnTo>
                    <a:pt x="348" y="60"/>
                  </a:lnTo>
                  <a:lnTo>
                    <a:pt x="352" y="59"/>
                  </a:lnTo>
                  <a:lnTo>
                    <a:pt x="356" y="57"/>
                  </a:lnTo>
                  <a:lnTo>
                    <a:pt x="360" y="55"/>
                  </a:lnTo>
                  <a:lnTo>
                    <a:pt x="364" y="52"/>
                  </a:lnTo>
                  <a:lnTo>
                    <a:pt x="367" y="49"/>
                  </a:lnTo>
                  <a:lnTo>
                    <a:pt x="372" y="46"/>
                  </a:lnTo>
                  <a:lnTo>
                    <a:pt x="376" y="41"/>
                  </a:lnTo>
                  <a:lnTo>
                    <a:pt x="380" y="37"/>
                  </a:lnTo>
                  <a:lnTo>
                    <a:pt x="384" y="33"/>
                  </a:lnTo>
                  <a:lnTo>
                    <a:pt x="387" y="30"/>
                  </a:lnTo>
                  <a:lnTo>
                    <a:pt x="388" y="27"/>
                  </a:lnTo>
                  <a:lnTo>
                    <a:pt x="390" y="25"/>
                  </a:lnTo>
                  <a:lnTo>
                    <a:pt x="391" y="22"/>
                  </a:lnTo>
                  <a:lnTo>
                    <a:pt x="392" y="20"/>
                  </a:lnTo>
                  <a:lnTo>
                    <a:pt x="393" y="17"/>
                  </a:lnTo>
                  <a:lnTo>
                    <a:pt x="397" y="6"/>
                  </a:lnTo>
                  <a:lnTo>
                    <a:pt x="398" y="3"/>
                  </a:lnTo>
                  <a:lnTo>
                    <a:pt x="398" y="2"/>
                  </a:lnTo>
                  <a:lnTo>
                    <a:pt x="399" y="1"/>
                  </a:lnTo>
                  <a:lnTo>
                    <a:pt x="400" y="1"/>
                  </a:lnTo>
                  <a:lnTo>
                    <a:pt x="401" y="0"/>
                  </a:lnTo>
                  <a:lnTo>
                    <a:pt x="403" y="0"/>
                  </a:lnTo>
                  <a:lnTo>
                    <a:pt x="405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6" name="Freeform 79">
              <a:extLst>
                <a:ext uri="{FF2B5EF4-FFF2-40B4-BE49-F238E27FC236}">
                  <a16:creationId xmlns:a16="http://schemas.microsoft.com/office/drawing/2014/main" id="{F595CBB4-C145-47DE-9E32-1133C3584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9" y="2454"/>
              <a:ext cx="516" cy="428"/>
            </a:xfrm>
            <a:custGeom>
              <a:avLst/>
              <a:gdLst>
                <a:gd name="T0" fmla="*/ 117 w 516"/>
                <a:gd name="T1" fmla="*/ 18 h 428"/>
                <a:gd name="T2" fmla="*/ 134 w 516"/>
                <a:gd name="T3" fmla="*/ 18 h 428"/>
                <a:gd name="T4" fmla="*/ 153 w 516"/>
                <a:gd name="T5" fmla="*/ 3 h 428"/>
                <a:gd name="T6" fmla="*/ 158 w 516"/>
                <a:gd name="T7" fmla="*/ 10 h 428"/>
                <a:gd name="T8" fmla="*/ 170 w 516"/>
                <a:gd name="T9" fmla="*/ 20 h 428"/>
                <a:gd name="T10" fmla="*/ 201 w 516"/>
                <a:gd name="T11" fmla="*/ 18 h 428"/>
                <a:gd name="T12" fmla="*/ 238 w 516"/>
                <a:gd name="T13" fmla="*/ 35 h 428"/>
                <a:gd name="T14" fmla="*/ 265 w 516"/>
                <a:gd name="T15" fmla="*/ 41 h 428"/>
                <a:gd name="T16" fmla="*/ 283 w 516"/>
                <a:gd name="T17" fmla="*/ 51 h 428"/>
                <a:gd name="T18" fmla="*/ 323 w 516"/>
                <a:gd name="T19" fmla="*/ 43 h 428"/>
                <a:gd name="T20" fmla="*/ 337 w 516"/>
                <a:gd name="T21" fmla="*/ 39 h 428"/>
                <a:gd name="T22" fmla="*/ 374 w 516"/>
                <a:gd name="T23" fmla="*/ 51 h 428"/>
                <a:gd name="T24" fmla="*/ 398 w 516"/>
                <a:gd name="T25" fmla="*/ 63 h 428"/>
                <a:gd name="T26" fmla="*/ 419 w 516"/>
                <a:gd name="T27" fmla="*/ 77 h 428"/>
                <a:gd name="T28" fmla="*/ 444 w 516"/>
                <a:gd name="T29" fmla="*/ 76 h 428"/>
                <a:gd name="T30" fmla="*/ 462 w 516"/>
                <a:gd name="T31" fmla="*/ 80 h 428"/>
                <a:gd name="T32" fmla="*/ 473 w 516"/>
                <a:gd name="T33" fmla="*/ 96 h 428"/>
                <a:gd name="T34" fmla="*/ 491 w 516"/>
                <a:gd name="T35" fmla="*/ 166 h 428"/>
                <a:gd name="T36" fmla="*/ 504 w 516"/>
                <a:gd name="T37" fmla="*/ 208 h 428"/>
                <a:gd name="T38" fmla="*/ 516 w 516"/>
                <a:gd name="T39" fmla="*/ 237 h 428"/>
                <a:gd name="T40" fmla="*/ 509 w 516"/>
                <a:gd name="T41" fmla="*/ 265 h 428"/>
                <a:gd name="T42" fmla="*/ 486 w 516"/>
                <a:gd name="T43" fmla="*/ 276 h 428"/>
                <a:gd name="T44" fmla="*/ 443 w 516"/>
                <a:gd name="T45" fmla="*/ 299 h 428"/>
                <a:gd name="T46" fmla="*/ 414 w 516"/>
                <a:gd name="T47" fmla="*/ 296 h 428"/>
                <a:gd name="T48" fmla="*/ 375 w 516"/>
                <a:gd name="T49" fmla="*/ 292 h 428"/>
                <a:gd name="T50" fmla="*/ 331 w 516"/>
                <a:gd name="T51" fmla="*/ 297 h 428"/>
                <a:gd name="T52" fmla="*/ 309 w 516"/>
                <a:gd name="T53" fmla="*/ 291 h 428"/>
                <a:gd name="T54" fmla="*/ 290 w 516"/>
                <a:gd name="T55" fmla="*/ 298 h 428"/>
                <a:gd name="T56" fmla="*/ 279 w 516"/>
                <a:gd name="T57" fmla="*/ 313 h 428"/>
                <a:gd name="T58" fmla="*/ 278 w 516"/>
                <a:gd name="T59" fmla="*/ 337 h 428"/>
                <a:gd name="T60" fmla="*/ 248 w 516"/>
                <a:gd name="T61" fmla="*/ 380 h 428"/>
                <a:gd name="T62" fmla="*/ 222 w 516"/>
                <a:gd name="T63" fmla="*/ 415 h 428"/>
                <a:gd name="T64" fmla="*/ 200 w 516"/>
                <a:gd name="T65" fmla="*/ 427 h 428"/>
                <a:gd name="T66" fmla="*/ 178 w 516"/>
                <a:gd name="T67" fmla="*/ 427 h 428"/>
                <a:gd name="T68" fmla="*/ 155 w 516"/>
                <a:gd name="T69" fmla="*/ 417 h 428"/>
                <a:gd name="T70" fmla="*/ 150 w 516"/>
                <a:gd name="T71" fmla="*/ 397 h 428"/>
                <a:gd name="T72" fmla="*/ 136 w 516"/>
                <a:gd name="T73" fmla="*/ 374 h 428"/>
                <a:gd name="T74" fmla="*/ 110 w 516"/>
                <a:gd name="T75" fmla="*/ 359 h 428"/>
                <a:gd name="T76" fmla="*/ 93 w 516"/>
                <a:gd name="T77" fmla="*/ 326 h 428"/>
                <a:gd name="T78" fmla="*/ 86 w 516"/>
                <a:gd name="T79" fmla="*/ 319 h 428"/>
                <a:gd name="T80" fmla="*/ 79 w 516"/>
                <a:gd name="T81" fmla="*/ 291 h 428"/>
                <a:gd name="T82" fmla="*/ 57 w 516"/>
                <a:gd name="T83" fmla="*/ 268 h 428"/>
                <a:gd name="T84" fmla="*/ 48 w 516"/>
                <a:gd name="T85" fmla="*/ 255 h 428"/>
                <a:gd name="T86" fmla="*/ 46 w 516"/>
                <a:gd name="T87" fmla="*/ 229 h 428"/>
                <a:gd name="T88" fmla="*/ 20 w 516"/>
                <a:gd name="T89" fmla="*/ 187 h 428"/>
                <a:gd name="T90" fmla="*/ 4 w 516"/>
                <a:gd name="T91" fmla="*/ 152 h 428"/>
                <a:gd name="T92" fmla="*/ 3 w 516"/>
                <a:gd name="T93" fmla="*/ 97 h 428"/>
                <a:gd name="T94" fmla="*/ 5 w 516"/>
                <a:gd name="T95" fmla="*/ 76 h 428"/>
                <a:gd name="T96" fmla="*/ 23 w 516"/>
                <a:gd name="T97" fmla="*/ 50 h 428"/>
                <a:gd name="T98" fmla="*/ 20 w 516"/>
                <a:gd name="T99" fmla="*/ 33 h 428"/>
                <a:gd name="T100" fmla="*/ 26 w 516"/>
                <a:gd name="T101" fmla="*/ 29 h 428"/>
                <a:gd name="T102" fmla="*/ 46 w 516"/>
                <a:gd name="T103" fmla="*/ 36 h 428"/>
                <a:gd name="T104" fmla="*/ 57 w 516"/>
                <a:gd name="T105" fmla="*/ 26 h 428"/>
                <a:gd name="T106" fmla="*/ 73 w 516"/>
                <a:gd name="T107" fmla="*/ 15 h 428"/>
                <a:gd name="T108" fmla="*/ 98 w 516"/>
                <a:gd name="T109" fmla="*/ 14 h 428"/>
                <a:gd name="T110" fmla="*/ 109 w 516"/>
                <a:gd name="T111" fmla="*/ 3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6" h="428">
                  <a:moveTo>
                    <a:pt x="111" y="2"/>
                  </a:moveTo>
                  <a:lnTo>
                    <a:pt x="112" y="3"/>
                  </a:lnTo>
                  <a:lnTo>
                    <a:pt x="114" y="5"/>
                  </a:lnTo>
                  <a:lnTo>
                    <a:pt x="114" y="6"/>
                  </a:lnTo>
                  <a:lnTo>
                    <a:pt x="115" y="9"/>
                  </a:lnTo>
                  <a:lnTo>
                    <a:pt x="115" y="11"/>
                  </a:lnTo>
                  <a:lnTo>
                    <a:pt x="116" y="17"/>
                  </a:lnTo>
                  <a:lnTo>
                    <a:pt x="117" y="18"/>
                  </a:lnTo>
                  <a:lnTo>
                    <a:pt x="117" y="19"/>
                  </a:lnTo>
                  <a:lnTo>
                    <a:pt x="118" y="20"/>
                  </a:lnTo>
                  <a:lnTo>
                    <a:pt x="120" y="21"/>
                  </a:lnTo>
                  <a:lnTo>
                    <a:pt x="121" y="21"/>
                  </a:lnTo>
                  <a:lnTo>
                    <a:pt x="124" y="22"/>
                  </a:lnTo>
                  <a:lnTo>
                    <a:pt x="126" y="21"/>
                  </a:lnTo>
                  <a:lnTo>
                    <a:pt x="129" y="21"/>
                  </a:lnTo>
                  <a:lnTo>
                    <a:pt x="134" y="18"/>
                  </a:lnTo>
                  <a:lnTo>
                    <a:pt x="143" y="16"/>
                  </a:lnTo>
                  <a:lnTo>
                    <a:pt x="145" y="15"/>
                  </a:lnTo>
                  <a:lnTo>
                    <a:pt x="146" y="14"/>
                  </a:lnTo>
                  <a:lnTo>
                    <a:pt x="147" y="14"/>
                  </a:lnTo>
                  <a:lnTo>
                    <a:pt x="148" y="13"/>
                  </a:lnTo>
                  <a:lnTo>
                    <a:pt x="148" y="11"/>
                  </a:lnTo>
                  <a:lnTo>
                    <a:pt x="150" y="8"/>
                  </a:lnTo>
                  <a:lnTo>
                    <a:pt x="153" y="3"/>
                  </a:lnTo>
                  <a:lnTo>
                    <a:pt x="155" y="1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7" y="3"/>
                  </a:lnTo>
                  <a:lnTo>
                    <a:pt x="158" y="7"/>
                  </a:lnTo>
                  <a:lnTo>
                    <a:pt x="158" y="10"/>
                  </a:lnTo>
                  <a:lnTo>
                    <a:pt x="159" y="12"/>
                  </a:lnTo>
                  <a:lnTo>
                    <a:pt x="160" y="15"/>
                  </a:lnTo>
                  <a:lnTo>
                    <a:pt x="161" y="16"/>
                  </a:lnTo>
                  <a:lnTo>
                    <a:pt x="163" y="17"/>
                  </a:lnTo>
                  <a:lnTo>
                    <a:pt x="165" y="19"/>
                  </a:lnTo>
                  <a:lnTo>
                    <a:pt x="167" y="20"/>
                  </a:lnTo>
                  <a:lnTo>
                    <a:pt x="169" y="20"/>
                  </a:lnTo>
                  <a:lnTo>
                    <a:pt x="170" y="20"/>
                  </a:lnTo>
                  <a:lnTo>
                    <a:pt x="171" y="21"/>
                  </a:lnTo>
                  <a:lnTo>
                    <a:pt x="173" y="20"/>
                  </a:lnTo>
                  <a:lnTo>
                    <a:pt x="177" y="20"/>
                  </a:lnTo>
                  <a:lnTo>
                    <a:pt x="188" y="18"/>
                  </a:lnTo>
                  <a:lnTo>
                    <a:pt x="192" y="18"/>
                  </a:lnTo>
                  <a:lnTo>
                    <a:pt x="195" y="18"/>
                  </a:lnTo>
                  <a:lnTo>
                    <a:pt x="198" y="18"/>
                  </a:lnTo>
                  <a:lnTo>
                    <a:pt x="201" y="18"/>
                  </a:lnTo>
                  <a:lnTo>
                    <a:pt x="204" y="19"/>
                  </a:lnTo>
                  <a:lnTo>
                    <a:pt x="206" y="20"/>
                  </a:lnTo>
                  <a:lnTo>
                    <a:pt x="210" y="21"/>
                  </a:lnTo>
                  <a:lnTo>
                    <a:pt x="213" y="22"/>
                  </a:lnTo>
                  <a:lnTo>
                    <a:pt x="216" y="24"/>
                  </a:lnTo>
                  <a:lnTo>
                    <a:pt x="225" y="28"/>
                  </a:lnTo>
                  <a:lnTo>
                    <a:pt x="231" y="32"/>
                  </a:lnTo>
                  <a:lnTo>
                    <a:pt x="238" y="35"/>
                  </a:lnTo>
                  <a:lnTo>
                    <a:pt x="241" y="37"/>
                  </a:lnTo>
                  <a:lnTo>
                    <a:pt x="243" y="38"/>
                  </a:lnTo>
                  <a:lnTo>
                    <a:pt x="246" y="38"/>
                  </a:lnTo>
                  <a:lnTo>
                    <a:pt x="255" y="39"/>
                  </a:lnTo>
                  <a:lnTo>
                    <a:pt x="259" y="39"/>
                  </a:lnTo>
                  <a:lnTo>
                    <a:pt x="261" y="39"/>
                  </a:lnTo>
                  <a:lnTo>
                    <a:pt x="263" y="40"/>
                  </a:lnTo>
                  <a:lnTo>
                    <a:pt x="265" y="41"/>
                  </a:lnTo>
                  <a:lnTo>
                    <a:pt x="268" y="43"/>
                  </a:lnTo>
                  <a:lnTo>
                    <a:pt x="270" y="44"/>
                  </a:lnTo>
                  <a:lnTo>
                    <a:pt x="273" y="48"/>
                  </a:lnTo>
                  <a:lnTo>
                    <a:pt x="275" y="50"/>
                  </a:lnTo>
                  <a:lnTo>
                    <a:pt x="276" y="50"/>
                  </a:lnTo>
                  <a:lnTo>
                    <a:pt x="277" y="50"/>
                  </a:lnTo>
                  <a:lnTo>
                    <a:pt x="280" y="51"/>
                  </a:lnTo>
                  <a:lnTo>
                    <a:pt x="283" y="51"/>
                  </a:lnTo>
                  <a:lnTo>
                    <a:pt x="295" y="53"/>
                  </a:lnTo>
                  <a:lnTo>
                    <a:pt x="297" y="53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303" y="52"/>
                  </a:lnTo>
                  <a:lnTo>
                    <a:pt x="308" y="50"/>
                  </a:lnTo>
                  <a:lnTo>
                    <a:pt x="318" y="45"/>
                  </a:lnTo>
                  <a:lnTo>
                    <a:pt x="323" y="43"/>
                  </a:lnTo>
                  <a:lnTo>
                    <a:pt x="325" y="42"/>
                  </a:lnTo>
                  <a:lnTo>
                    <a:pt x="328" y="41"/>
                  </a:lnTo>
                  <a:lnTo>
                    <a:pt x="335" y="39"/>
                  </a:lnTo>
                  <a:lnTo>
                    <a:pt x="336" y="39"/>
                  </a:lnTo>
                  <a:lnTo>
                    <a:pt x="336" y="39"/>
                  </a:lnTo>
                  <a:lnTo>
                    <a:pt x="336" y="39"/>
                  </a:lnTo>
                  <a:lnTo>
                    <a:pt x="336" y="39"/>
                  </a:lnTo>
                  <a:lnTo>
                    <a:pt x="337" y="39"/>
                  </a:lnTo>
                  <a:lnTo>
                    <a:pt x="339" y="40"/>
                  </a:lnTo>
                  <a:lnTo>
                    <a:pt x="341" y="42"/>
                  </a:lnTo>
                  <a:lnTo>
                    <a:pt x="345" y="43"/>
                  </a:lnTo>
                  <a:lnTo>
                    <a:pt x="349" y="45"/>
                  </a:lnTo>
                  <a:lnTo>
                    <a:pt x="364" y="50"/>
                  </a:lnTo>
                  <a:lnTo>
                    <a:pt x="366" y="50"/>
                  </a:lnTo>
                  <a:lnTo>
                    <a:pt x="369" y="50"/>
                  </a:lnTo>
                  <a:lnTo>
                    <a:pt x="374" y="51"/>
                  </a:lnTo>
                  <a:lnTo>
                    <a:pt x="380" y="52"/>
                  </a:lnTo>
                  <a:lnTo>
                    <a:pt x="382" y="53"/>
                  </a:lnTo>
                  <a:lnTo>
                    <a:pt x="386" y="54"/>
                  </a:lnTo>
                  <a:lnTo>
                    <a:pt x="388" y="55"/>
                  </a:lnTo>
                  <a:lnTo>
                    <a:pt x="390" y="56"/>
                  </a:lnTo>
                  <a:lnTo>
                    <a:pt x="391" y="57"/>
                  </a:lnTo>
                  <a:lnTo>
                    <a:pt x="394" y="59"/>
                  </a:lnTo>
                  <a:lnTo>
                    <a:pt x="398" y="63"/>
                  </a:lnTo>
                  <a:lnTo>
                    <a:pt x="404" y="69"/>
                  </a:lnTo>
                  <a:lnTo>
                    <a:pt x="405" y="71"/>
                  </a:lnTo>
                  <a:lnTo>
                    <a:pt x="407" y="72"/>
                  </a:lnTo>
                  <a:lnTo>
                    <a:pt x="409" y="73"/>
                  </a:lnTo>
                  <a:lnTo>
                    <a:pt x="410" y="73"/>
                  </a:lnTo>
                  <a:lnTo>
                    <a:pt x="412" y="74"/>
                  </a:lnTo>
                  <a:lnTo>
                    <a:pt x="416" y="76"/>
                  </a:lnTo>
                  <a:lnTo>
                    <a:pt x="419" y="77"/>
                  </a:lnTo>
                  <a:lnTo>
                    <a:pt x="421" y="78"/>
                  </a:lnTo>
                  <a:lnTo>
                    <a:pt x="423" y="78"/>
                  </a:lnTo>
                  <a:lnTo>
                    <a:pt x="425" y="78"/>
                  </a:lnTo>
                  <a:lnTo>
                    <a:pt x="428" y="78"/>
                  </a:lnTo>
                  <a:lnTo>
                    <a:pt x="430" y="78"/>
                  </a:lnTo>
                  <a:lnTo>
                    <a:pt x="432" y="78"/>
                  </a:lnTo>
                  <a:lnTo>
                    <a:pt x="439" y="77"/>
                  </a:lnTo>
                  <a:lnTo>
                    <a:pt x="444" y="76"/>
                  </a:lnTo>
                  <a:lnTo>
                    <a:pt x="446" y="76"/>
                  </a:lnTo>
                  <a:lnTo>
                    <a:pt x="449" y="76"/>
                  </a:lnTo>
                  <a:lnTo>
                    <a:pt x="451" y="76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7" y="78"/>
                  </a:lnTo>
                  <a:lnTo>
                    <a:pt x="459" y="79"/>
                  </a:lnTo>
                  <a:lnTo>
                    <a:pt x="462" y="80"/>
                  </a:lnTo>
                  <a:lnTo>
                    <a:pt x="464" y="82"/>
                  </a:lnTo>
                  <a:lnTo>
                    <a:pt x="466" y="83"/>
                  </a:lnTo>
                  <a:lnTo>
                    <a:pt x="466" y="84"/>
                  </a:lnTo>
                  <a:lnTo>
                    <a:pt x="468" y="85"/>
                  </a:lnTo>
                  <a:lnTo>
                    <a:pt x="469" y="87"/>
                  </a:lnTo>
                  <a:lnTo>
                    <a:pt x="471" y="90"/>
                  </a:lnTo>
                  <a:lnTo>
                    <a:pt x="472" y="93"/>
                  </a:lnTo>
                  <a:lnTo>
                    <a:pt x="473" y="96"/>
                  </a:lnTo>
                  <a:lnTo>
                    <a:pt x="475" y="101"/>
                  </a:lnTo>
                  <a:lnTo>
                    <a:pt x="477" y="111"/>
                  </a:lnTo>
                  <a:lnTo>
                    <a:pt x="478" y="121"/>
                  </a:lnTo>
                  <a:lnTo>
                    <a:pt x="481" y="129"/>
                  </a:lnTo>
                  <a:lnTo>
                    <a:pt x="484" y="140"/>
                  </a:lnTo>
                  <a:lnTo>
                    <a:pt x="487" y="150"/>
                  </a:lnTo>
                  <a:lnTo>
                    <a:pt x="490" y="163"/>
                  </a:lnTo>
                  <a:lnTo>
                    <a:pt x="491" y="166"/>
                  </a:lnTo>
                  <a:lnTo>
                    <a:pt x="493" y="171"/>
                  </a:lnTo>
                  <a:lnTo>
                    <a:pt x="496" y="178"/>
                  </a:lnTo>
                  <a:lnTo>
                    <a:pt x="498" y="181"/>
                  </a:lnTo>
                  <a:lnTo>
                    <a:pt x="498" y="185"/>
                  </a:lnTo>
                  <a:lnTo>
                    <a:pt x="500" y="194"/>
                  </a:lnTo>
                  <a:lnTo>
                    <a:pt x="501" y="199"/>
                  </a:lnTo>
                  <a:lnTo>
                    <a:pt x="502" y="202"/>
                  </a:lnTo>
                  <a:lnTo>
                    <a:pt x="504" y="208"/>
                  </a:lnTo>
                  <a:lnTo>
                    <a:pt x="505" y="211"/>
                  </a:lnTo>
                  <a:lnTo>
                    <a:pt x="507" y="214"/>
                  </a:lnTo>
                  <a:lnTo>
                    <a:pt x="511" y="220"/>
                  </a:lnTo>
                  <a:lnTo>
                    <a:pt x="512" y="225"/>
                  </a:lnTo>
                  <a:lnTo>
                    <a:pt x="514" y="229"/>
                  </a:lnTo>
                  <a:lnTo>
                    <a:pt x="515" y="232"/>
                  </a:lnTo>
                  <a:lnTo>
                    <a:pt x="516" y="234"/>
                  </a:lnTo>
                  <a:lnTo>
                    <a:pt x="516" y="237"/>
                  </a:lnTo>
                  <a:lnTo>
                    <a:pt x="516" y="240"/>
                  </a:lnTo>
                  <a:lnTo>
                    <a:pt x="515" y="243"/>
                  </a:lnTo>
                  <a:lnTo>
                    <a:pt x="515" y="245"/>
                  </a:lnTo>
                  <a:lnTo>
                    <a:pt x="512" y="251"/>
                  </a:lnTo>
                  <a:lnTo>
                    <a:pt x="511" y="257"/>
                  </a:lnTo>
                  <a:lnTo>
                    <a:pt x="510" y="263"/>
                  </a:lnTo>
                  <a:lnTo>
                    <a:pt x="509" y="265"/>
                  </a:lnTo>
                  <a:lnTo>
                    <a:pt x="509" y="265"/>
                  </a:lnTo>
                  <a:lnTo>
                    <a:pt x="508" y="266"/>
                  </a:lnTo>
                  <a:lnTo>
                    <a:pt x="506" y="267"/>
                  </a:lnTo>
                  <a:lnTo>
                    <a:pt x="504" y="268"/>
                  </a:lnTo>
                  <a:lnTo>
                    <a:pt x="502" y="269"/>
                  </a:lnTo>
                  <a:lnTo>
                    <a:pt x="501" y="270"/>
                  </a:lnTo>
                  <a:lnTo>
                    <a:pt x="492" y="273"/>
                  </a:lnTo>
                  <a:lnTo>
                    <a:pt x="489" y="274"/>
                  </a:lnTo>
                  <a:lnTo>
                    <a:pt x="486" y="276"/>
                  </a:lnTo>
                  <a:lnTo>
                    <a:pt x="482" y="277"/>
                  </a:lnTo>
                  <a:lnTo>
                    <a:pt x="473" y="282"/>
                  </a:lnTo>
                  <a:lnTo>
                    <a:pt x="467" y="285"/>
                  </a:lnTo>
                  <a:lnTo>
                    <a:pt x="462" y="288"/>
                  </a:lnTo>
                  <a:lnTo>
                    <a:pt x="453" y="295"/>
                  </a:lnTo>
                  <a:lnTo>
                    <a:pt x="449" y="297"/>
                  </a:lnTo>
                  <a:lnTo>
                    <a:pt x="445" y="299"/>
                  </a:lnTo>
                  <a:lnTo>
                    <a:pt x="443" y="299"/>
                  </a:lnTo>
                  <a:lnTo>
                    <a:pt x="441" y="300"/>
                  </a:lnTo>
                  <a:lnTo>
                    <a:pt x="438" y="300"/>
                  </a:lnTo>
                  <a:lnTo>
                    <a:pt x="435" y="300"/>
                  </a:lnTo>
                  <a:lnTo>
                    <a:pt x="433" y="300"/>
                  </a:lnTo>
                  <a:lnTo>
                    <a:pt x="432" y="300"/>
                  </a:lnTo>
                  <a:lnTo>
                    <a:pt x="429" y="300"/>
                  </a:lnTo>
                  <a:lnTo>
                    <a:pt x="425" y="299"/>
                  </a:lnTo>
                  <a:lnTo>
                    <a:pt x="414" y="296"/>
                  </a:lnTo>
                  <a:lnTo>
                    <a:pt x="410" y="295"/>
                  </a:lnTo>
                  <a:lnTo>
                    <a:pt x="408" y="295"/>
                  </a:lnTo>
                  <a:lnTo>
                    <a:pt x="404" y="294"/>
                  </a:lnTo>
                  <a:lnTo>
                    <a:pt x="396" y="293"/>
                  </a:lnTo>
                  <a:lnTo>
                    <a:pt x="387" y="291"/>
                  </a:lnTo>
                  <a:lnTo>
                    <a:pt x="384" y="291"/>
                  </a:lnTo>
                  <a:lnTo>
                    <a:pt x="380" y="291"/>
                  </a:lnTo>
                  <a:lnTo>
                    <a:pt x="375" y="292"/>
                  </a:lnTo>
                  <a:lnTo>
                    <a:pt x="367" y="294"/>
                  </a:lnTo>
                  <a:lnTo>
                    <a:pt x="353" y="297"/>
                  </a:lnTo>
                  <a:lnTo>
                    <a:pt x="347" y="298"/>
                  </a:lnTo>
                  <a:lnTo>
                    <a:pt x="341" y="298"/>
                  </a:lnTo>
                  <a:lnTo>
                    <a:pt x="340" y="298"/>
                  </a:lnTo>
                  <a:lnTo>
                    <a:pt x="337" y="298"/>
                  </a:lnTo>
                  <a:lnTo>
                    <a:pt x="334" y="298"/>
                  </a:lnTo>
                  <a:lnTo>
                    <a:pt x="331" y="297"/>
                  </a:lnTo>
                  <a:lnTo>
                    <a:pt x="330" y="297"/>
                  </a:lnTo>
                  <a:lnTo>
                    <a:pt x="328" y="296"/>
                  </a:lnTo>
                  <a:lnTo>
                    <a:pt x="322" y="293"/>
                  </a:lnTo>
                  <a:lnTo>
                    <a:pt x="320" y="292"/>
                  </a:lnTo>
                  <a:lnTo>
                    <a:pt x="318" y="291"/>
                  </a:lnTo>
                  <a:lnTo>
                    <a:pt x="314" y="291"/>
                  </a:lnTo>
                  <a:lnTo>
                    <a:pt x="312" y="291"/>
                  </a:lnTo>
                  <a:lnTo>
                    <a:pt x="309" y="291"/>
                  </a:lnTo>
                  <a:lnTo>
                    <a:pt x="307" y="291"/>
                  </a:lnTo>
                  <a:lnTo>
                    <a:pt x="304" y="292"/>
                  </a:lnTo>
                  <a:lnTo>
                    <a:pt x="301" y="292"/>
                  </a:lnTo>
                  <a:lnTo>
                    <a:pt x="299" y="293"/>
                  </a:lnTo>
                  <a:lnTo>
                    <a:pt x="296" y="294"/>
                  </a:lnTo>
                  <a:lnTo>
                    <a:pt x="295" y="295"/>
                  </a:lnTo>
                  <a:lnTo>
                    <a:pt x="292" y="297"/>
                  </a:lnTo>
                  <a:lnTo>
                    <a:pt x="290" y="298"/>
                  </a:lnTo>
                  <a:lnTo>
                    <a:pt x="288" y="299"/>
                  </a:lnTo>
                  <a:lnTo>
                    <a:pt x="285" y="301"/>
                  </a:lnTo>
                  <a:lnTo>
                    <a:pt x="285" y="303"/>
                  </a:lnTo>
                  <a:lnTo>
                    <a:pt x="283" y="305"/>
                  </a:lnTo>
                  <a:lnTo>
                    <a:pt x="282" y="308"/>
                  </a:lnTo>
                  <a:lnTo>
                    <a:pt x="280" y="311"/>
                  </a:lnTo>
                  <a:lnTo>
                    <a:pt x="280" y="312"/>
                  </a:lnTo>
                  <a:lnTo>
                    <a:pt x="279" y="313"/>
                  </a:lnTo>
                  <a:lnTo>
                    <a:pt x="279" y="316"/>
                  </a:lnTo>
                  <a:lnTo>
                    <a:pt x="278" y="318"/>
                  </a:lnTo>
                  <a:lnTo>
                    <a:pt x="278" y="321"/>
                  </a:lnTo>
                  <a:lnTo>
                    <a:pt x="279" y="327"/>
                  </a:lnTo>
                  <a:lnTo>
                    <a:pt x="279" y="330"/>
                  </a:lnTo>
                  <a:lnTo>
                    <a:pt x="279" y="333"/>
                  </a:lnTo>
                  <a:lnTo>
                    <a:pt x="278" y="335"/>
                  </a:lnTo>
                  <a:lnTo>
                    <a:pt x="278" y="337"/>
                  </a:lnTo>
                  <a:lnTo>
                    <a:pt x="277" y="340"/>
                  </a:lnTo>
                  <a:lnTo>
                    <a:pt x="275" y="343"/>
                  </a:lnTo>
                  <a:lnTo>
                    <a:pt x="273" y="346"/>
                  </a:lnTo>
                  <a:lnTo>
                    <a:pt x="271" y="351"/>
                  </a:lnTo>
                  <a:lnTo>
                    <a:pt x="264" y="359"/>
                  </a:lnTo>
                  <a:lnTo>
                    <a:pt x="262" y="362"/>
                  </a:lnTo>
                  <a:lnTo>
                    <a:pt x="255" y="371"/>
                  </a:lnTo>
                  <a:lnTo>
                    <a:pt x="248" y="380"/>
                  </a:lnTo>
                  <a:lnTo>
                    <a:pt x="246" y="382"/>
                  </a:lnTo>
                  <a:lnTo>
                    <a:pt x="243" y="387"/>
                  </a:lnTo>
                  <a:lnTo>
                    <a:pt x="239" y="394"/>
                  </a:lnTo>
                  <a:lnTo>
                    <a:pt x="231" y="405"/>
                  </a:lnTo>
                  <a:lnTo>
                    <a:pt x="229" y="408"/>
                  </a:lnTo>
                  <a:lnTo>
                    <a:pt x="228" y="411"/>
                  </a:lnTo>
                  <a:lnTo>
                    <a:pt x="225" y="413"/>
                  </a:lnTo>
                  <a:lnTo>
                    <a:pt x="222" y="415"/>
                  </a:lnTo>
                  <a:lnTo>
                    <a:pt x="220" y="417"/>
                  </a:lnTo>
                  <a:lnTo>
                    <a:pt x="217" y="420"/>
                  </a:lnTo>
                  <a:lnTo>
                    <a:pt x="215" y="422"/>
                  </a:lnTo>
                  <a:lnTo>
                    <a:pt x="211" y="424"/>
                  </a:lnTo>
                  <a:lnTo>
                    <a:pt x="208" y="424"/>
                  </a:lnTo>
                  <a:lnTo>
                    <a:pt x="205" y="425"/>
                  </a:lnTo>
                  <a:lnTo>
                    <a:pt x="203" y="426"/>
                  </a:lnTo>
                  <a:lnTo>
                    <a:pt x="200" y="427"/>
                  </a:lnTo>
                  <a:lnTo>
                    <a:pt x="197" y="427"/>
                  </a:lnTo>
                  <a:lnTo>
                    <a:pt x="194" y="427"/>
                  </a:lnTo>
                  <a:lnTo>
                    <a:pt x="192" y="428"/>
                  </a:lnTo>
                  <a:lnTo>
                    <a:pt x="189" y="427"/>
                  </a:lnTo>
                  <a:lnTo>
                    <a:pt x="179" y="427"/>
                  </a:lnTo>
                  <a:lnTo>
                    <a:pt x="178" y="427"/>
                  </a:lnTo>
                  <a:lnTo>
                    <a:pt x="178" y="427"/>
                  </a:lnTo>
                  <a:lnTo>
                    <a:pt x="178" y="427"/>
                  </a:lnTo>
                  <a:lnTo>
                    <a:pt x="177" y="426"/>
                  </a:lnTo>
                  <a:lnTo>
                    <a:pt x="172" y="425"/>
                  </a:lnTo>
                  <a:lnTo>
                    <a:pt x="170" y="424"/>
                  </a:lnTo>
                  <a:lnTo>
                    <a:pt x="165" y="423"/>
                  </a:lnTo>
                  <a:lnTo>
                    <a:pt x="161" y="421"/>
                  </a:lnTo>
                  <a:lnTo>
                    <a:pt x="159" y="420"/>
                  </a:lnTo>
                  <a:lnTo>
                    <a:pt x="157" y="418"/>
                  </a:lnTo>
                  <a:lnTo>
                    <a:pt x="155" y="417"/>
                  </a:lnTo>
                  <a:lnTo>
                    <a:pt x="153" y="415"/>
                  </a:lnTo>
                  <a:lnTo>
                    <a:pt x="153" y="414"/>
                  </a:lnTo>
                  <a:lnTo>
                    <a:pt x="152" y="413"/>
                  </a:lnTo>
                  <a:lnTo>
                    <a:pt x="151" y="412"/>
                  </a:lnTo>
                  <a:lnTo>
                    <a:pt x="151" y="409"/>
                  </a:lnTo>
                  <a:lnTo>
                    <a:pt x="151" y="401"/>
                  </a:lnTo>
                  <a:lnTo>
                    <a:pt x="150" y="399"/>
                  </a:lnTo>
                  <a:lnTo>
                    <a:pt x="150" y="397"/>
                  </a:lnTo>
                  <a:lnTo>
                    <a:pt x="149" y="394"/>
                  </a:lnTo>
                  <a:lnTo>
                    <a:pt x="148" y="391"/>
                  </a:lnTo>
                  <a:lnTo>
                    <a:pt x="148" y="390"/>
                  </a:lnTo>
                  <a:lnTo>
                    <a:pt x="146" y="388"/>
                  </a:lnTo>
                  <a:lnTo>
                    <a:pt x="143" y="384"/>
                  </a:lnTo>
                  <a:lnTo>
                    <a:pt x="139" y="379"/>
                  </a:lnTo>
                  <a:lnTo>
                    <a:pt x="137" y="376"/>
                  </a:lnTo>
                  <a:lnTo>
                    <a:pt x="136" y="374"/>
                  </a:lnTo>
                  <a:lnTo>
                    <a:pt x="133" y="373"/>
                  </a:lnTo>
                  <a:lnTo>
                    <a:pt x="131" y="372"/>
                  </a:lnTo>
                  <a:lnTo>
                    <a:pt x="124" y="367"/>
                  </a:lnTo>
                  <a:lnTo>
                    <a:pt x="116" y="365"/>
                  </a:lnTo>
                  <a:lnTo>
                    <a:pt x="114" y="363"/>
                  </a:lnTo>
                  <a:lnTo>
                    <a:pt x="113" y="362"/>
                  </a:lnTo>
                  <a:lnTo>
                    <a:pt x="111" y="361"/>
                  </a:lnTo>
                  <a:lnTo>
                    <a:pt x="110" y="359"/>
                  </a:lnTo>
                  <a:lnTo>
                    <a:pt x="107" y="356"/>
                  </a:lnTo>
                  <a:lnTo>
                    <a:pt x="105" y="354"/>
                  </a:lnTo>
                  <a:lnTo>
                    <a:pt x="103" y="351"/>
                  </a:lnTo>
                  <a:lnTo>
                    <a:pt x="102" y="349"/>
                  </a:lnTo>
                  <a:lnTo>
                    <a:pt x="101" y="347"/>
                  </a:lnTo>
                  <a:lnTo>
                    <a:pt x="99" y="343"/>
                  </a:lnTo>
                  <a:lnTo>
                    <a:pt x="94" y="330"/>
                  </a:lnTo>
                  <a:lnTo>
                    <a:pt x="93" y="326"/>
                  </a:lnTo>
                  <a:lnTo>
                    <a:pt x="92" y="324"/>
                  </a:lnTo>
                  <a:lnTo>
                    <a:pt x="91" y="322"/>
                  </a:lnTo>
                  <a:lnTo>
                    <a:pt x="91" y="322"/>
                  </a:lnTo>
                  <a:lnTo>
                    <a:pt x="89" y="321"/>
                  </a:lnTo>
                  <a:lnTo>
                    <a:pt x="88" y="319"/>
                  </a:lnTo>
                  <a:lnTo>
                    <a:pt x="88" y="319"/>
                  </a:lnTo>
                  <a:lnTo>
                    <a:pt x="87" y="319"/>
                  </a:lnTo>
                  <a:lnTo>
                    <a:pt x="86" y="319"/>
                  </a:lnTo>
                  <a:lnTo>
                    <a:pt x="86" y="318"/>
                  </a:lnTo>
                  <a:lnTo>
                    <a:pt x="86" y="316"/>
                  </a:lnTo>
                  <a:lnTo>
                    <a:pt x="85" y="312"/>
                  </a:lnTo>
                  <a:lnTo>
                    <a:pt x="84" y="307"/>
                  </a:lnTo>
                  <a:lnTo>
                    <a:pt x="82" y="301"/>
                  </a:lnTo>
                  <a:lnTo>
                    <a:pt x="80" y="297"/>
                  </a:lnTo>
                  <a:lnTo>
                    <a:pt x="80" y="294"/>
                  </a:lnTo>
                  <a:lnTo>
                    <a:pt x="79" y="291"/>
                  </a:lnTo>
                  <a:lnTo>
                    <a:pt x="77" y="289"/>
                  </a:lnTo>
                  <a:lnTo>
                    <a:pt x="76" y="288"/>
                  </a:lnTo>
                  <a:lnTo>
                    <a:pt x="74" y="286"/>
                  </a:lnTo>
                  <a:lnTo>
                    <a:pt x="72" y="284"/>
                  </a:lnTo>
                  <a:lnTo>
                    <a:pt x="70" y="281"/>
                  </a:lnTo>
                  <a:lnTo>
                    <a:pt x="68" y="279"/>
                  </a:lnTo>
                  <a:lnTo>
                    <a:pt x="59" y="271"/>
                  </a:lnTo>
                  <a:lnTo>
                    <a:pt x="57" y="268"/>
                  </a:lnTo>
                  <a:lnTo>
                    <a:pt x="55" y="267"/>
                  </a:lnTo>
                  <a:lnTo>
                    <a:pt x="53" y="265"/>
                  </a:lnTo>
                  <a:lnTo>
                    <a:pt x="52" y="264"/>
                  </a:lnTo>
                  <a:lnTo>
                    <a:pt x="51" y="262"/>
                  </a:lnTo>
                  <a:lnTo>
                    <a:pt x="50" y="261"/>
                  </a:lnTo>
                  <a:lnTo>
                    <a:pt x="49" y="258"/>
                  </a:lnTo>
                  <a:lnTo>
                    <a:pt x="48" y="256"/>
                  </a:lnTo>
                  <a:lnTo>
                    <a:pt x="48" y="255"/>
                  </a:lnTo>
                  <a:lnTo>
                    <a:pt x="47" y="253"/>
                  </a:lnTo>
                  <a:lnTo>
                    <a:pt x="47" y="250"/>
                  </a:lnTo>
                  <a:lnTo>
                    <a:pt x="47" y="247"/>
                  </a:lnTo>
                  <a:lnTo>
                    <a:pt x="47" y="237"/>
                  </a:lnTo>
                  <a:lnTo>
                    <a:pt x="47" y="233"/>
                  </a:lnTo>
                  <a:lnTo>
                    <a:pt x="47" y="231"/>
                  </a:lnTo>
                  <a:lnTo>
                    <a:pt x="47" y="230"/>
                  </a:lnTo>
                  <a:lnTo>
                    <a:pt x="46" y="229"/>
                  </a:lnTo>
                  <a:lnTo>
                    <a:pt x="46" y="227"/>
                  </a:lnTo>
                  <a:lnTo>
                    <a:pt x="45" y="224"/>
                  </a:lnTo>
                  <a:lnTo>
                    <a:pt x="43" y="221"/>
                  </a:lnTo>
                  <a:lnTo>
                    <a:pt x="41" y="218"/>
                  </a:lnTo>
                  <a:lnTo>
                    <a:pt x="34" y="209"/>
                  </a:lnTo>
                  <a:lnTo>
                    <a:pt x="25" y="197"/>
                  </a:lnTo>
                  <a:lnTo>
                    <a:pt x="21" y="190"/>
                  </a:lnTo>
                  <a:lnTo>
                    <a:pt x="20" y="187"/>
                  </a:lnTo>
                  <a:lnTo>
                    <a:pt x="18" y="185"/>
                  </a:lnTo>
                  <a:lnTo>
                    <a:pt x="15" y="178"/>
                  </a:lnTo>
                  <a:lnTo>
                    <a:pt x="11" y="169"/>
                  </a:lnTo>
                  <a:lnTo>
                    <a:pt x="9" y="166"/>
                  </a:lnTo>
                  <a:lnTo>
                    <a:pt x="8" y="163"/>
                  </a:lnTo>
                  <a:lnTo>
                    <a:pt x="7" y="161"/>
                  </a:lnTo>
                  <a:lnTo>
                    <a:pt x="5" y="154"/>
                  </a:lnTo>
                  <a:lnTo>
                    <a:pt x="4" y="152"/>
                  </a:lnTo>
                  <a:lnTo>
                    <a:pt x="0" y="139"/>
                  </a:lnTo>
                  <a:lnTo>
                    <a:pt x="0" y="137"/>
                  </a:lnTo>
                  <a:lnTo>
                    <a:pt x="0" y="134"/>
                  </a:lnTo>
                  <a:lnTo>
                    <a:pt x="0" y="131"/>
                  </a:lnTo>
                  <a:lnTo>
                    <a:pt x="0" y="128"/>
                  </a:lnTo>
                  <a:lnTo>
                    <a:pt x="2" y="109"/>
                  </a:lnTo>
                  <a:lnTo>
                    <a:pt x="3" y="103"/>
                  </a:lnTo>
                  <a:lnTo>
                    <a:pt x="3" y="97"/>
                  </a:lnTo>
                  <a:lnTo>
                    <a:pt x="4" y="90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5" y="76"/>
                  </a:lnTo>
                  <a:lnTo>
                    <a:pt x="8" y="73"/>
                  </a:lnTo>
                  <a:lnTo>
                    <a:pt x="11" y="69"/>
                  </a:lnTo>
                  <a:lnTo>
                    <a:pt x="17" y="62"/>
                  </a:lnTo>
                  <a:lnTo>
                    <a:pt x="20" y="58"/>
                  </a:lnTo>
                  <a:lnTo>
                    <a:pt x="21" y="56"/>
                  </a:lnTo>
                  <a:lnTo>
                    <a:pt x="22" y="54"/>
                  </a:lnTo>
                  <a:lnTo>
                    <a:pt x="23" y="51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3" y="47"/>
                  </a:lnTo>
                  <a:lnTo>
                    <a:pt x="23" y="45"/>
                  </a:lnTo>
                  <a:lnTo>
                    <a:pt x="23" y="44"/>
                  </a:lnTo>
                  <a:lnTo>
                    <a:pt x="23" y="42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6" y="29"/>
                  </a:lnTo>
                  <a:lnTo>
                    <a:pt x="29" y="29"/>
                  </a:lnTo>
                  <a:lnTo>
                    <a:pt x="32" y="30"/>
                  </a:lnTo>
                  <a:lnTo>
                    <a:pt x="34" y="31"/>
                  </a:lnTo>
                  <a:lnTo>
                    <a:pt x="36" y="32"/>
                  </a:lnTo>
                  <a:lnTo>
                    <a:pt x="42" y="35"/>
                  </a:lnTo>
                  <a:lnTo>
                    <a:pt x="44" y="36"/>
                  </a:lnTo>
                  <a:lnTo>
                    <a:pt x="45" y="36"/>
                  </a:lnTo>
                  <a:lnTo>
                    <a:pt x="46" y="36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6"/>
                  </a:lnTo>
                  <a:lnTo>
                    <a:pt x="51" y="35"/>
                  </a:lnTo>
                  <a:lnTo>
                    <a:pt x="52" y="34"/>
                  </a:lnTo>
                  <a:lnTo>
                    <a:pt x="53" y="33"/>
                  </a:lnTo>
                  <a:lnTo>
                    <a:pt x="54" y="31"/>
                  </a:lnTo>
                  <a:lnTo>
                    <a:pt x="57" y="26"/>
                  </a:lnTo>
                  <a:lnTo>
                    <a:pt x="59" y="23"/>
                  </a:lnTo>
                  <a:lnTo>
                    <a:pt x="61" y="21"/>
                  </a:lnTo>
                  <a:lnTo>
                    <a:pt x="62" y="20"/>
                  </a:lnTo>
                  <a:lnTo>
                    <a:pt x="64" y="18"/>
                  </a:lnTo>
                  <a:lnTo>
                    <a:pt x="66" y="17"/>
                  </a:lnTo>
                  <a:lnTo>
                    <a:pt x="68" y="16"/>
                  </a:lnTo>
                  <a:lnTo>
                    <a:pt x="71" y="16"/>
                  </a:lnTo>
                  <a:lnTo>
                    <a:pt x="73" y="15"/>
                  </a:lnTo>
                  <a:lnTo>
                    <a:pt x="76" y="14"/>
                  </a:lnTo>
                  <a:lnTo>
                    <a:pt x="79" y="14"/>
                  </a:lnTo>
                  <a:lnTo>
                    <a:pt x="80" y="14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4" y="15"/>
                  </a:lnTo>
                  <a:lnTo>
                    <a:pt x="96" y="14"/>
                  </a:lnTo>
                  <a:lnTo>
                    <a:pt x="98" y="14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3" y="11"/>
                  </a:lnTo>
                  <a:lnTo>
                    <a:pt x="105" y="10"/>
                  </a:lnTo>
                  <a:lnTo>
                    <a:pt x="106" y="9"/>
                  </a:lnTo>
                  <a:lnTo>
                    <a:pt x="107" y="7"/>
                  </a:lnTo>
                  <a:lnTo>
                    <a:pt x="108" y="5"/>
                  </a:lnTo>
                  <a:lnTo>
                    <a:pt x="109" y="3"/>
                  </a:lnTo>
                  <a:lnTo>
                    <a:pt x="109" y="1"/>
                  </a:lnTo>
                  <a:lnTo>
                    <a:pt x="111" y="2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7" name="Freeform 80">
              <a:extLst>
                <a:ext uri="{FF2B5EF4-FFF2-40B4-BE49-F238E27FC236}">
                  <a16:creationId xmlns:a16="http://schemas.microsoft.com/office/drawing/2014/main" id="{39A080AF-46C5-4A63-8A85-D0E70728B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9" y="2233"/>
              <a:ext cx="256" cy="274"/>
            </a:xfrm>
            <a:custGeom>
              <a:avLst/>
              <a:gdLst>
                <a:gd name="T0" fmla="*/ 114 w 256"/>
                <a:gd name="T1" fmla="*/ 28 h 274"/>
                <a:gd name="T2" fmla="*/ 138 w 256"/>
                <a:gd name="T3" fmla="*/ 44 h 274"/>
                <a:gd name="T4" fmla="*/ 157 w 256"/>
                <a:gd name="T5" fmla="*/ 47 h 274"/>
                <a:gd name="T6" fmla="*/ 167 w 256"/>
                <a:gd name="T7" fmla="*/ 45 h 274"/>
                <a:gd name="T8" fmla="*/ 173 w 256"/>
                <a:gd name="T9" fmla="*/ 39 h 274"/>
                <a:gd name="T10" fmla="*/ 179 w 256"/>
                <a:gd name="T11" fmla="*/ 26 h 274"/>
                <a:gd name="T12" fmla="*/ 184 w 256"/>
                <a:gd name="T13" fmla="*/ 23 h 274"/>
                <a:gd name="T14" fmla="*/ 195 w 256"/>
                <a:gd name="T15" fmla="*/ 27 h 274"/>
                <a:gd name="T16" fmla="*/ 200 w 256"/>
                <a:gd name="T17" fmla="*/ 37 h 274"/>
                <a:gd name="T18" fmla="*/ 201 w 256"/>
                <a:gd name="T19" fmla="*/ 56 h 274"/>
                <a:gd name="T20" fmla="*/ 202 w 256"/>
                <a:gd name="T21" fmla="*/ 69 h 274"/>
                <a:gd name="T22" fmla="*/ 206 w 256"/>
                <a:gd name="T23" fmla="*/ 79 h 274"/>
                <a:gd name="T24" fmla="*/ 217 w 256"/>
                <a:gd name="T25" fmla="*/ 90 h 274"/>
                <a:gd name="T26" fmla="*/ 218 w 256"/>
                <a:gd name="T27" fmla="*/ 95 h 274"/>
                <a:gd name="T28" fmla="*/ 209 w 256"/>
                <a:gd name="T29" fmla="*/ 120 h 274"/>
                <a:gd name="T30" fmla="*/ 208 w 256"/>
                <a:gd name="T31" fmla="*/ 136 h 274"/>
                <a:gd name="T32" fmla="*/ 216 w 256"/>
                <a:gd name="T33" fmla="*/ 158 h 274"/>
                <a:gd name="T34" fmla="*/ 241 w 256"/>
                <a:gd name="T35" fmla="*/ 214 h 274"/>
                <a:gd name="T36" fmla="*/ 251 w 256"/>
                <a:gd name="T37" fmla="*/ 243 h 274"/>
                <a:gd name="T38" fmla="*/ 256 w 256"/>
                <a:gd name="T39" fmla="*/ 260 h 274"/>
                <a:gd name="T40" fmla="*/ 243 w 256"/>
                <a:gd name="T41" fmla="*/ 264 h 274"/>
                <a:gd name="T42" fmla="*/ 219 w 256"/>
                <a:gd name="T43" fmla="*/ 274 h 274"/>
                <a:gd name="T44" fmla="*/ 197 w 256"/>
                <a:gd name="T45" fmla="*/ 271 h 274"/>
                <a:gd name="T46" fmla="*/ 188 w 256"/>
                <a:gd name="T47" fmla="*/ 264 h 274"/>
                <a:gd name="T48" fmla="*/ 175 w 256"/>
                <a:gd name="T49" fmla="*/ 260 h 274"/>
                <a:gd name="T50" fmla="*/ 151 w 256"/>
                <a:gd name="T51" fmla="*/ 253 h 274"/>
                <a:gd name="T52" fmla="*/ 126 w 256"/>
                <a:gd name="T53" fmla="*/ 241 h 274"/>
                <a:gd name="T54" fmla="*/ 112 w 256"/>
                <a:gd name="T55" fmla="*/ 239 h 274"/>
                <a:gd name="T56" fmla="*/ 90 w 256"/>
                <a:gd name="T57" fmla="*/ 241 h 274"/>
                <a:gd name="T58" fmla="*/ 81 w 256"/>
                <a:gd name="T59" fmla="*/ 237 h 274"/>
                <a:gd name="T60" fmla="*/ 77 w 256"/>
                <a:gd name="T61" fmla="*/ 224 h 274"/>
                <a:gd name="T62" fmla="*/ 75 w 256"/>
                <a:gd name="T63" fmla="*/ 222 h 274"/>
                <a:gd name="T64" fmla="*/ 80 w 256"/>
                <a:gd name="T65" fmla="*/ 202 h 274"/>
                <a:gd name="T66" fmla="*/ 80 w 256"/>
                <a:gd name="T67" fmla="*/ 191 h 274"/>
                <a:gd name="T68" fmla="*/ 76 w 256"/>
                <a:gd name="T69" fmla="*/ 181 h 274"/>
                <a:gd name="T70" fmla="*/ 74 w 256"/>
                <a:gd name="T71" fmla="*/ 169 h 274"/>
                <a:gd name="T72" fmla="*/ 68 w 256"/>
                <a:gd name="T73" fmla="*/ 159 h 274"/>
                <a:gd name="T74" fmla="*/ 56 w 256"/>
                <a:gd name="T75" fmla="*/ 157 h 274"/>
                <a:gd name="T76" fmla="*/ 50 w 256"/>
                <a:gd name="T77" fmla="*/ 153 h 274"/>
                <a:gd name="T78" fmla="*/ 43 w 256"/>
                <a:gd name="T79" fmla="*/ 134 h 274"/>
                <a:gd name="T80" fmla="*/ 34 w 256"/>
                <a:gd name="T81" fmla="*/ 114 h 274"/>
                <a:gd name="T82" fmla="*/ 27 w 256"/>
                <a:gd name="T83" fmla="*/ 91 h 274"/>
                <a:gd name="T84" fmla="*/ 21 w 256"/>
                <a:gd name="T85" fmla="*/ 83 h 274"/>
                <a:gd name="T86" fmla="*/ 8 w 256"/>
                <a:gd name="T87" fmla="*/ 83 h 274"/>
                <a:gd name="T88" fmla="*/ 2 w 256"/>
                <a:gd name="T89" fmla="*/ 79 h 274"/>
                <a:gd name="T90" fmla="*/ 1 w 256"/>
                <a:gd name="T91" fmla="*/ 68 h 274"/>
                <a:gd name="T92" fmla="*/ 10 w 256"/>
                <a:gd name="T93" fmla="*/ 48 h 274"/>
                <a:gd name="T94" fmla="*/ 6 w 256"/>
                <a:gd name="T95" fmla="*/ 43 h 274"/>
                <a:gd name="T96" fmla="*/ 7 w 256"/>
                <a:gd name="T97" fmla="*/ 39 h 274"/>
                <a:gd name="T98" fmla="*/ 9 w 256"/>
                <a:gd name="T99" fmla="*/ 34 h 274"/>
                <a:gd name="T100" fmla="*/ 15 w 256"/>
                <a:gd name="T101" fmla="*/ 22 h 274"/>
                <a:gd name="T102" fmla="*/ 23 w 256"/>
                <a:gd name="T103" fmla="*/ 22 h 274"/>
                <a:gd name="T104" fmla="*/ 24 w 256"/>
                <a:gd name="T105" fmla="*/ 17 h 274"/>
                <a:gd name="T106" fmla="*/ 26 w 256"/>
                <a:gd name="T107" fmla="*/ 12 h 274"/>
                <a:gd name="T108" fmla="*/ 21 w 256"/>
                <a:gd name="T109" fmla="*/ 8 h 274"/>
                <a:gd name="T110" fmla="*/ 16 w 256"/>
                <a:gd name="T111" fmla="*/ 3 h 274"/>
                <a:gd name="T112" fmla="*/ 17 w 256"/>
                <a:gd name="T113" fmla="*/ 0 h 274"/>
                <a:gd name="T114" fmla="*/ 33 w 256"/>
                <a:gd name="T115" fmla="*/ 4 h 274"/>
                <a:gd name="T116" fmla="*/ 35 w 256"/>
                <a:gd name="T117" fmla="*/ 7 h 274"/>
                <a:gd name="T118" fmla="*/ 56 w 256"/>
                <a:gd name="T119" fmla="*/ 10 h 274"/>
                <a:gd name="T120" fmla="*/ 85 w 256"/>
                <a:gd name="T121" fmla="*/ 1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274">
                  <a:moveTo>
                    <a:pt x="87" y="12"/>
                  </a:moveTo>
                  <a:lnTo>
                    <a:pt x="89" y="13"/>
                  </a:lnTo>
                  <a:lnTo>
                    <a:pt x="102" y="22"/>
                  </a:lnTo>
                  <a:lnTo>
                    <a:pt x="110" y="26"/>
                  </a:lnTo>
                  <a:lnTo>
                    <a:pt x="114" y="28"/>
                  </a:lnTo>
                  <a:lnTo>
                    <a:pt x="115" y="29"/>
                  </a:lnTo>
                  <a:lnTo>
                    <a:pt x="122" y="33"/>
                  </a:lnTo>
                  <a:lnTo>
                    <a:pt x="131" y="40"/>
                  </a:lnTo>
                  <a:lnTo>
                    <a:pt x="135" y="42"/>
                  </a:lnTo>
                  <a:lnTo>
                    <a:pt x="138" y="44"/>
                  </a:lnTo>
                  <a:lnTo>
                    <a:pt x="143" y="45"/>
                  </a:lnTo>
                  <a:lnTo>
                    <a:pt x="147" y="45"/>
                  </a:lnTo>
                  <a:lnTo>
                    <a:pt x="150" y="46"/>
                  </a:lnTo>
                  <a:lnTo>
                    <a:pt x="153" y="47"/>
                  </a:lnTo>
                  <a:lnTo>
                    <a:pt x="157" y="47"/>
                  </a:lnTo>
                  <a:lnTo>
                    <a:pt x="159" y="47"/>
                  </a:lnTo>
                  <a:lnTo>
                    <a:pt x="161" y="47"/>
                  </a:lnTo>
                  <a:lnTo>
                    <a:pt x="163" y="46"/>
                  </a:lnTo>
                  <a:lnTo>
                    <a:pt x="165" y="46"/>
                  </a:lnTo>
                  <a:lnTo>
                    <a:pt x="167" y="45"/>
                  </a:lnTo>
                  <a:lnTo>
                    <a:pt x="169" y="45"/>
                  </a:lnTo>
                  <a:lnTo>
                    <a:pt x="170" y="44"/>
                  </a:lnTo>
                  <a:lnTo>
                    <a:pt x="170" y="42"/>
                  </a:lnTo>
                  <a:lnTo>
                    <a:pt x="172" y="41"/>
                  </a:lnTo>
                  <a:lnTo>
                    <a:pt x="173" y="39"/>
                  </a:lnTo>
                  <a:lnTo>
                    <a:pt x="174" y="38"/>
                  </a:lnTo>
                  <a:lnTo>
                    <a:pt x="174" y="36"/>
                  </a:lnTo>
                  <a:lnTo>
                    <a:pt x="176" y="31"/>
                  </a:lnTo>
                  <a:lnTo>
                    <a:pt x="178" y="27"/>
                  </a:lnTo>
                  <a:lnTo>
                    <a:pt x="179" y="26"/>
                  </a:lnTo>
                  <a:lnTo>
                    <a:pt x="179" y="25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2" y="23"/>
                  </a:lnTo>
                  <a:lnTo>
                    <a:pt x="184" y="23"/>
                  </a:lnTo>
                  <a:lnTo>
                    <a:pt x="187" y="24"/>
                  </a:lnTo>
                  <a:lnTo>
                    <a:pt x="190" y="25"/>
                  </a:lnTo>
                  <a:lnTo>
                    <a:pt x="192" y="25"/>
                  </a:lnTo>
                  <a:lnTo>
                    <a:pt x="193" y="26"/>
                  </a:lnTo>
                  <a:lnTo>
                    <a:pt x="195" y="27"/>
                  </a:lnTo>
                  <a:lnTo>
                    <a:pt x="196" y="29"/>
                  </a:lnTo>
                  <a:lnTo>
                    <a:pt x="197" y="30"/>
                  </a:lnTo>
                  <a:lnTo>
                    <a:pt x="197" y="31"/>
                  </a:lnTo>
                  <a:lnTo>
                    <a:pt x="199" y="33"/>
                  </a:lnTo>
                  <a:lnTo>
                    <a:pt x="200" y="37"/>
                  </a:lnTo>
                  <a:lnTo>
                    <a:pt x="201" y="39"/>
                  </a:lnTo>
                  <a:lnTo>
                    <a:pt x="201" y="41"/>
                  </a:lnTo>
                  <a:lnTo>
                    <a:pt x="201" y="44"/>
                  </a:lnTo>
                  <a:lnTo>
                    <a:pt x="201" y="46"/>
                  </a:lnTo>
                  <a:lnTo>
                    <a:pt x="201" y="56"/>
                  </a:lnTo>
                  <a:lnTo>
                    <a:pt x="201" y="62"/>
                  </a:lnTo>
                  <a:lnTo>
                    <a:pt x="201" y="65"/>
                  </a:lnTo>
                  <a:lnTo>
                    <a:pt x="201" y="67"/>
                  </a:lnTo>
                  <a:lnTo>
                    <a:pt x="202" y="68"/>
                  </a:lnTo>
                  <a:lnTo>
                    <a:pt x="202" y="69"/>
                  </a:lnTo>
                  <a:lnTo>
                    <a:pt x="203" y="72"/>
                  </a:lnTo>
                  <a:lnTo>
                    <a:pt x="204" y="74"/>
                  </a:lnTo>
                  <a:lnTo>
                    <a:pt x="204" y="76"/>
                  </a:lnTo>
                  <a:lnTo>
                    <a:pt x="205" y="77"/>
                  </a:lnTo>
                  <a:lnTo>
                    <a:pt x="206" y="79"/>
                  </a:lnTo>
                  <a:lnTo>
                    <a:pt x="207" y="80"/>
                  </a:lnTo>
                  <a:lnTo>
                    <a:pt x="209" y="82"/>
                  </a:lnTo>
                  <a:lnTo>
                    <a:pt x="215" y="87"/>
                  </a:lnTo>
                  <a:lnTo>
                    <a:pt x="216" y="89"/>
                  </a:lnTo>
                  <a:lnTo>
                    <a:pt x="217" y="90"/>
                  </a:lnTo>
                  <a:lnTo>
                    <a:pt x="218" y="90"/>
                  </a:lnTo>
                  <a:lnTo>
                    <a:pt x="218" y="91"/>
                  </a:lnTo>
                  <a:lnTo>
                    <a:pt x="218" y="93"/>
                  </a:lnTo>
                  <a:lnTo>
                    <a:pt x="218" y="94"/>
                  </a:lnTo>
                  <a:lnTo>
                    <a:pt x="218" y="95"/>
                  </a:lnTo>
                  <a:lnTo>
                    <a:pt x="218" y="97"/>
                  </a:lnTo>
                  <a:lnTo>
                    <a:pt x="217" y="99"/>
                  </a:lnTo>
                  <a:lnTo>
                    <a:pt x="215" y="105"/>
                  </a:lnTo>
                  <a:lnTo>
                    <a:pt x="212" y="112"/>
                  </a:lnTo>
                  <a:lnTo>
                    <a:pt x="209" y="120"/>
                  </a:lnTo>
                  <a:lnTo>
                    <a:pt x="207" y="124"/>
                  </a:lnTo>
                  <a:lnTo>
                    <a:pt x="207" y="126"/>
                  </a:lnTo>
                  <a:lnTo>
                    <a:pt x="207" y="130"/>
                  </a:lnTo>
                  <a:lnTo>
                    <a:pt x="207" y="133"/>
                  </a:lnTo>
                  <a:lnTo>
                    <a:pt x="208" y="136"/>
                  </a:lnTo>
                  <a:lnTo>
                    <a:pt x="209" y="139"/>
                  </a:lnTo>
                  <a:lnTo>
                    <a:pt x="210" y="143"/>
                  </a:lnTo>
                  <a:lnTo>
                    <a:pt x="213" y="149"/>
                  </a:lnTo>
                  <a:lnTo>
                    <a:pt x="215" y="154"/>
                  </a:lnTo>
                  <a:lnTo>
                    <a:pt x="216" y="158"/>
                  </a:lnTo>
                  <a:lnTo>
                    <a:pt x="219" y="165"/>
                  </a:lnTo>
                  <a:lnTo>
                    <a:pt x="222" y="171"/>
                  </a:lnTo>
                  <a:lnTo>
                    <a:pt x="227" y="184"/>
                  </a:lnTo>
                  <a:lnTo>
                    <a:pt x="235" y="200"/>
                  </a:lnTo>
                  <a:lnTo>
                    <a:pt x="241" y="214"/>
                  </a:lnTo>
                  <a:lnTo>
                    <a:pt x="246" y="224"/>
                  </a:lnTo>
                  <a:lnTo>
                    <a:pt x="248" y="228"/>
                  </a:lnTo>
                  <a:lnTo>
                    <a:pt x="250" y="233"/>
                  </a:lnTo>
                  <a:lnTo>
                    <a:pt x="250" y="237"/>
                  </a:lnTo>
                  <a:lnTo>
                    <a:pt x="251" y="243"/>
                  </a:lnTo>
                  <a:lnTo>
                    <a:pt x="254" y="257"/>
                  </a:lnTo>
                  <a:lnTo>
                    <a:pt x="255" y="259"/>
                  </a:lnTo>
                  <a:lnTo>
                    <a:pt x="255" y="260"/>
                  </a:lnTo>
                  <a:lnTo>
                    <a:pt x="256" y="260"/>
                  </a:lnTo>
                  <a:lnTo>
                    <a:pt x="256" y="260"/>
                  </a:lnTo>
                  <a:lnTo>
                    <a:pt x="256" y="260"/>
                  </a:lnTo>
                  <a:lnTo>
                    <a:pt x="255" y="260"/>
                  </a:lnTo>
                  <a:lnTo>
                    <a:pt x="248" y="262"/>
                  </a:lnTo>
                  <a:lnTo>
                    <a:pt x="245" y="263"/>
                  </a:lnTo>
                  <a:lnTo>
                    <a:pt x="243" y="264"/>
                  </a:lnTo>
                  <a:lnTo>
                    <a:pt x="238" y="266"/>
                  </a:lnTo>
                  <a:lnTo>
                    <a:pt x="228" y="271"/>
                  </a:lnTo>
                  <a:lnTo>
                    <a:pt x="223" y="273"/>
                  </a:lnTo>
                  <a:lnTo>
                    <a:pt x="220" y="274"/>
                  </a:lnTo>
                  <a:lnTo>
                    <a:pt x="219" y="274"/>
                  </a:lnTo>
                  <a:lnTo>
                    <a:pt x="217" y="274"/>
                  </a:lnTo>
                  <a:lnTo>
                    <a:pt x="215" y="274"/>
                  </a:lnTo>
                  <a:lnTo>
                    <a:pt x="203" y="272"/>
                  </a:lnTo>
                  <a:lnTo>
                    <a:pt x="200" y="272"/>
                  </a:lnTo>
                  <a:lnTo>
                    <a:pt x="197" y="271"/>
                  </a:lnTo>
                  <a:lnTo>
                    <a:pt x="196" y="271"/>
                  </a:lnTo>
                  <a:lnTo>
                    <a:pt x="195" y="271"/>
                  </a:lnTo>
                  <a:lnTo>
                    <a:pt x="193" y="269"/>
                  </a:lnTo>
                  <a:lnTo>
                    <a:pt x="190" y="265"/>
                  </a:lnTo>
                  <a:lnTo>
                    <a:pt x="188" y="264"/>
                  </a:lnTo>
                  <a:lnTo>
                    <a:pt x="185" y="262"/>
                  </a:lnTo>
                  <a:lnTo>
                    <a:pt x="183" y="261"/>
                  </a:lnTo>
                  <a:lnTo>
                    <a:pt x="181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66" y="259"/>
                  </a:lnTo>
                  <a:lnTo>
                    <a:pt x="163" y="259"/>
                  </a:lnTo>
                  <a:lnTo>
                    <a:pt x="161" y="258"/>
                  </a:lnTo>
                  <a:lnTo>
                    <a:pt x="158" y="256"/>
                  </a:lnTo>
                  <a:lnTo>
                    <a:pt x="151" y="253"/>
                  </a:lnTo>
                  <a:lnTo>
                    <a:pt x="145" y="249"/>
                  </a:lnTo>
                  <a:lnTo>
                    <a:pt x="136" y="245"/>
                  </a:lnTo>
                  <a:lnTo>
                    <a:pt x="133" y="243"/>
                  </a:lnTo>
                  <a:lnTo>
                    <a:pt x="130" y="242"/>
                  </a:lnTo>
                  <a:lnTo>
                    <a:pt x="126" y="241"/>
                  </a:lnTo>
                  <a:lnTo>
                    <a:pt x="124" y="240"/>
                  </a:lnTo>
                  <a:lnTo>
                    <a:pt x="121" y="239"/>
                  </a:lnTo>
                  <a:lnTo>
                    <a:pt x="118" y="239"/>
                  </a:lnTo>
                  <a:lnTo>
                    <a:pt x="115" y="239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97" y="241"/>
                  </a:lnTo>
                  <a:lnTo>
                    <a:pt x="93" y="241"/>
                  </a:lnTo>
                  <a:lnTo>
                    <a:pt x="91" y="242"/>
                  </a:lnTo>
                  <a:lnTo>
                    <a:pt x="90" y="241"/>
                  </a:lnTo>
                  <a:lnTo>
                    <a:pt x="89" y="241"/>
                  </a:lnTo>
                  <a:lnTo>
                    <a:pt x="87" y="241"/>
                  </a:lnTo>
                  <a:lnTo>
                    <a:pt x="85" y="240"/>
                  </a:lnTo>
                  <a:lnTo>
                    <a:pt x="83" y="238"/>
                  </a:lnTo>
                  <a:lnTo>
                    <a:pt x="81" y="237"/>
                  </a:lnTo>
                  <a:lnTo>
                    <a:pt x="80" y="236"/>
                  </a:lnTo>
                  <a:lnTo>
                    <a:pt x="79" y="233"/>
                  </a:lnTo>
                  <a:lnTo>
                    <a:pt x="78" y="231"/>
                  </a:lnTo>
                  <a:lnTo>
                    <a:pt x="78" y="228"/>
                  </a:lnTo>
                  <a:lnTo>
                    <a:pt x="77" y="224"/>
                  </a:lnTo>
                  <a:lnTo>
                    <a:pt x="76" y="222"/>
                  </a:lnTo>
                  <a:lnTo>
                    <a:pt x="76" y="222"/>
                  </a:lnTo>
                  <a:lnTo>
                    <a:pt x="75" y="221"/>
                  </a:lnTo>
                  <a:lnTo>
                    <a:pt x="75" y="221"/>
                  </a:lnTo>
                  <a:lnTo>
                    <a:pt x="75" y="222"/>
                  </a:lnTo>
                  <a:lnTo>
                    <a:pt x="75" y="221"/>
                  </a:lnTo>
                  <a:lnTo>
                    <a:pt x="76" y="220"/>
                  </a:lnTo>
                  <a:lnTo>
                    <a:pt x="78" y="210"/>
                  </a:lnTo>
                  <a:lnTo>
                    <a:pt x="79" y="203"/>
                  </a:lnTo>
                  <a:lnTo>
                    <a:pt x="80" y="202"/>
                  </a:lnTo>
                  <a:lnTo>
                    <a:pt x="81" y="197"/>
                  </a:lnTo>
                  <a:lnTo>
                    <a:pt x="81" y="195"/>
                  </a:lnTo>
                  <a:lnTo>
                    <a:pt x="81" y="194"/>
                  </a:lnTo>
                  <a:lnTo>
                    <a:pt x="81" y="192"/>
                  </a:lnTo>
                  <a:lnTo>
                    <a:pt x="80" y="191"/>
                  </a:lnTo>
                  <a:lnTo>
                    <a:pt x="79" y="190"/>
                  </a:lnTo>
                  <a:lnTo>
                    <a:pt x="78" y="186"/>
                  </a:lnTo>
                  <a:lnTo>
                    <a:pt x="77" y="185"/>
                  </a:lnTo>
                  <a:lnTo>
                    <a:pt x="76" y="183"/>
                  </a:lnTo>
                  <a:lnTo>
                    <a:pt x="76" y="181"/>
                  </a:lnTo>
                  <a:lnTo>
                    <a:pt x="75" y="178"/>
                  </a:lnTo>
                  <a:lnTo>
                    <a:pt x="74" y="176"/>
                  </a:lnTo>
                  <a:lnTo>
                    <a:pt x="74" y="174"/>
                  </a:lnTo>
                  <a:lnTo>
                    <a:pt x="74" y="170"/>
                  </a:lnTo>
                  <a:lnTo>
                    <a:pt x="74" y="169"/>
                  </a:lnTo>
                  <a:lnTo>
                    <a:pt x="73" y="167"/>
                  </a:lnTo>
                  <a:lnTo>
                    <a:pt x="72" y="165"/>
                  </a:lnTo>
                  <a:lnTo>
                    <a:pt x="71" y="163"/>
                  </a:lnTo>
                  <a:lnTo>
                    <a:pt x="69" y="161"/>
                  </a:lnTo>
                  <a:lnTo>
                    <a:pt x="68" y="159"/>
                  </a:lnTo>
                  <a:lnTo>
                    <a:pt x="66" y="158"/>
                  </a:lnTo>
                  <a:lnTo>
                    <a:pt x="64" y="158"/>
                  </a:lnTo>
                  <a:lnTo>
                    <a:pt x="62" y="157"/>
                  </a:lnTo>
                  <a:lnTo>
                    <a:pt x="60" y="157"/>
                  </a:lnTo>
                  <a:lnTo>
                    <a:pt x="56" y="157"/>
                  </a:lnTo>
                  <a:lnTo>
                    <a:pt x="55" y="157"/>
                  </a:lnTo>
                  <a:lnTo>
                    <a:pt x="54" y="157"/>
                  </a:lnTo>
                  <a:lnTo>
                    <a:pt x="52" y="156"/>
                  </a:lnTo>
                  <a:lnTo>
                    <a:pt x="51" y="155"/>
                  </a:lnTo>
                  <a:lnTo>
                    <a:pt x="50" y="153"/>
                  </a:lnTo>
                  <a:lnTo>
                    <a:pt x="48" y="151"/>
                  </a:lnTo>
                  <a:lnTo>
                    <a:pt x="46" y="148"/>
                  </a:lnTo>
                  <a:lnTo>
                    <a:pt x="45" y="146"/>
                  </a:lnTo>
                  <a:lnTo>
                    <a:pt x="45" y="143"/>
                  </a:lnTo>
                  <a:lnTo>
                    <a:pt x="43" y="134"/>
                  </a:lnTo>
                  <a:lnTo>
                    <a:pt x="42" y="131"/>
                  </a:lnTo>
                  <a:lnTo>
                    <a:pt x="41" y="128"/>
                  </a:lnTo>
                  <a:lnTo>
                    <a:pt x="39" y="124"/>
                  </a:lnTo>
                  <a:lnTo>
                    <a:pt x="34" y="116"/>
                  </a:lnTo>
                  <a:lnTo>
                    <a:pt x="34" y="114"/>
                  </a:lnTo>
                  <a:lnTo>
                    <a:pt x="33" y="113"/>
                  </a:lnTo>
                  <a:lnTo>
                    <a:pt x="32" y="109"/>
                  </a:lnTo>
                  <a:lnTo>
                    <a:pt x="29" y="99"/>
                  </a:lnTo>
                  <a:lnTo>
                    <a:pt x="28" y="94"/>
                  </a:lnTo>
                  <a:lnTo>
                    <a:pt x="27" y="91"/>
                  </a:lnTo>
                  <a:lnTo>
                    <a:pt x="26" y="90"/>
                  </a:lnTo>
                  <a:lnTo>
                    <a:pt x="24" y="88"/>
                  </a:lnTo>
                  <a:lnTo>
                    <a:pt x="23" y="86"/>
                  </a:lnTo>
                  <a:lnTo>
                    <a:pt x="22" y="84"/>
                  </a:lnTo>
                  <a:lnTo>
                    <a:pt x="21" y="83"/>
                  </a:lnTo>
                  <a:lnTo>
                    <a:pt x="19" y="82"/>
                  </a:lnTo>
                  <a:lnTo>
                    <a:pt x="18" y="82"/>
                  </a:lnTo>
                  <a:lnTo>
                    <a:pt x="15" y="82"/>
                  </a:lnTo>
                  <a:lnTo>
                    <a:pt x="14" y="82"/>
                  </a:lnTo>
                  <a:lnTo>
                    <a:pt x="8" y="83"/>
                  </a:lnTo>
                  <a:lnTo>
                    <a:pt x="6" y="83"/>
                  </a:lnTo>
                  <a:lnTo>
                    <a:pt x="5" y="82"/>
                  </a:lnTo>
                  <a:lnTo>
                    <a:pt x="4" y="82"/>
                  </a:lnTo>
                  <a:lnTo>
                    <a:pt x="3" y="81"/>
                  </a:lnTo>
                  <a:lnTo>
                    <a:pt x="2" y="79"/>
                  </a:lnTo>
                  <a:lnTo>
                    <a:pt x="1" y="79"/>
                  </a:lnTo>
                  <a:lnTo>
                    <a:pt x="0" y="77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1" y="68"/>
                  </a:lnTo>
                  <a:lnTo>
                    <a:pt x="2" y="66"/>
                  </a:lnTo>
                  <a:lnTo>
                    <a:pt x="3" y="63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9" y="46"/>
                  </a:lnTo>
                  <a:lnTo>
                    <a:pt x="8" y="45"/>
                  </a:lnTo>
                  <a:lnTo>
                    <a:pt x="7" y="44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7" y="39"/>
                  </a:lnTo>
                  <a:lnTo>
                    <a:pt x="7" y="37"/>
                  </a:lnTo>
                  <a:lnTo>
                    <a:pt x="8" y="37"/>
                  </a:lnTo>
                  <a:lnTo>
                    <a:pt x="7" y="37"/>
                  </a:lnTo>
                  <a:lnTo>
                    <a:pt x="8" y="36"/>
                  </a:lnTo>
                  <a:lnTo>
                    <a:pt x="9" y="34"/>
                  </a:lnTo>
                  <a:lnTo>
                    <a:pt x="11" y="31"/>
                  </a:lnTo>
                  <a:lnTo>
                    <a:pt x="13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9" y="22"/>
                  </a:lnTo>
                  <a:lnTo>
                    <a:pt x="21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4" y="20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5" y="14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1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19" y="7"/>
                  </a:lnTo>
                  <a:lnTo>
                    <a:pt x="18" y="6"/>
                  </a:lnTo>
                  <a:lnTo>
                    <a:pt x="17" y="5"/>
                  </a:lnTo>
                  <a:lnTo>
                    <a:pt x="16" y="3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3" y="1"/>
                  </a:lnTo>
                  <a:lnTo>
                    <a:pt x="27" y="2"/>
                  </a:lnTo>
                  <a:lnTo>
                    <a:pt x="30" y="3"/>
                  </a:lnTo>
                  <a:lnTo>
                    <a:pt x="33" y="4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5" y="7"/>
                  </a:lnTo>
                  <a:lnTo>
                    <a:pt x="38" y="7"/>
                  </a:lnTo>
                  <a:lnTo>
                    <a:pt x="42" y="8"/>
                  </a:lnTo>
                  <a:lnTo>
                    <a:pt x="45" y="9"/>
                  </a:lnTo>
                  <a:lnTo>
                    <a:pt x="50" y="9"/>
                  </a:lnTo>
                  <a:lnTo>
                    <a:pt x="56" y="10"/>
                  </a:lnTo>
                  <a:lnTo>
                    <a:pt x="70" y="10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3" y="11"/>
                  </a:lnTo>
                  <a:lnTo>
                    <a:pt x="85" y="12"/>
                  </a:lnTo>
                  <a:lnTo>
                    <a:pt x="87" y="12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8" name="Freeform 81">
              <a:extLst>
                <a:ext uri="{FF2B5EF4-FFF2-40B4-BE49-F238E27FC236}">
                  <a16:creationId xmlns:a16="http://schemas.microsoft.com/office/drawing/2014/main" id="{D63CFC47-4458-4E14-9FC4-C8160C72D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7" y="2390"/>
              <a:ext cx="478" cy="390"/>
            </a:xfrm>
            <a:custGeom>
              <a:avLst/>
              <a:gdLst>
                <a:gd name="T0" fmla="*/ 234 w 478"/>
                <a:gd name="T1" fmla="*/ 15 h 390"/>
                <a:gd name="T2" fmla="*/ 248 w 478"/>
                <a:gd name="T3" fmla="*/ 24 h 390"/>
                <a:gd name="T4" fmla="*/ 267 w 478"/>
                <a:gd name="T5" fmla="*/ 23 h 390"/>
                <a:gd name="T6" fmla="*/ 279 w 478"/>
                <a:gd name="T7" fmla="*/ 11 h 390"/>
                <a:gd name="T8" fmla="*/ 291 w 478"/>
                <a:gd name="T9" fmla="*/ 35 h 390"/>
                <a:gd name="T10" fmla="*/ 301 w 478"/>
                <a:gd name="T11" fmla="*/ 52 h 390"/>
                <a:gd name="T12" fmla="*/ 326 w 478"/>
                <a:gd name="T13" fmla="*/ 60 h 390"/>
                <a:gd name="T14" fmla="*/ 359 w 478"/>
                <a:gd name="T15" fmla="*/ 69 h 390"/>
                <a:gd name="T16" fmla="*/ 370 w 478"/>
                <a:gd name="T17" fmla="*/ 77 h 390"/>
                <a:gd name="T18" fmla="*/ 367 w 478"/>
                <a:gd name="T19" fmla="*/ 90 h 390"/>
                <a:gd name="T20" fmla="*/ 358 w 478"/>
                <a:gd name="T21" fmla="*/ 107 h 390"/>
                <a:gd name="T22" fmla="*/ 369 w 478"/>
                <a:gd name="T23" fmla="*/ 116 h 390"/>
                <a:gd name="T24" fmla="*/ 392 w 478"/>
                <a:gd name="T25" fmla="*/ 141 h 390"/>
                <a:gd name="T26" fmla="*/ 396 w 478"/>
                <a:gd name="T27" fmla="*/ 142 h 390"/>
                <a:gd name="T28" fmla="*/ 392 w 478"/>
                <a:gd name="T29" fmla="*/ 192 h 390"/>
                <a:gd name="T30" fmla="*/ 399 w 478"/>
                <a:gd name="T31" fmla="*/ 225 h 390"/>
                <a:gd name="T32" fmla="*/ 413 w 478"/>
                <a:gd name="T33" fmla="*/ 254 h 390"/>
                <a:gd name="T34" fmla="*/ 438 w 478"/>
                <a:gd name="T35" fmla="*/ 293 h 390"/>
                <a:gd name="T36" fmla="*/ 439 w 478"/>
                <a:gd name="T37" fmla="*/ 317 h 390"/>
                <a:gd name="T38" fmla="*/ 445 w 478"/>
                <a:gd name="T39" fmla="*/ 329 h 390"/>
                <a:gd name="T40" fmla="*/ 466 w 478"/>
                <a:gd name="T41" fmla="*/ 350 h 390"/>
                <a:gd name="T42" fmla="*/ 476 w 478"/>
                <a:gd name="T43" fmla="*/ 371 h 390"/>
                <a:gd name="T44" fmla="*/ 477 w 478"/>
                <a:gd name="T45" fmla="*/ 383 h 390"/>
                <a:gd name="T46" fmla="*/ 446 w 478"/>
                <a:gd name="T47" fmla="*/ 390 h 390"/>
                <a:gd name="T48" fmla="*/ 404 w 478"/>
                <a:gd name="T49" fmla="*/ 380 h 390"/>
                <a:gd name="T50" fmla="*/ 376 w 478"/>
                <a:gd name="T51" fmla="*/ 363 h 390"/>
                <a:gd name="T52" fmla="*/ 347 w 478"/>
                <a:gd name="T53" fmla="*/ 358 h 390"/>
                <a:gd name="T54" fmla="*/ 298 w 478"/>
                <a:gd name="T55" fmla="*/ 363 h 390"/>
                <a:gd name="T56" fmla="*/ 256 w 478"/>
                <a:gd name="T57" fmla="*/ 373 h 390"/>
                <a:gd name="T58" fmla="*/ 246 w 478"/>
                <a:gd name="T59" fmla="*/ 364 h 390"/>
                <a:gd name="T60" fmla="*/ 229 w 478"/>
                <a:gd name="T61" fmla="*/ 345 h 390"/>
                <a:gd name="T62" fmla="*/ 202 w 478"/>
                <a:gd name="T63" fmla="*/ 338 h 390"/>
                <a:gd name="T64" fmla="*/ 190 w 478"/>
                <a:gd name="T65" fmla="*/ 340 h 390"/>
                <a:gd name="T66" fmla="*/ 176 w 478"/>
                <a:gd name="T67" fmla="*/ 317 h 390"/>
                <a:gd name="T68" fmla="*/ 167 w 478"/>
                <a:gd name="T69" fmla="*/ 312 h 390"/>
                <a:gd name="T70" fmla="*/ 149 w 478"/>
                <a:gd name="T71" fmla="*/ 322 h 390"/>
                <a:gd name="T72" fmla="*/ 140 w 478"/>
                <a:gd name="T73" fmla="*/ 321 h 390"/>
                <a:gd name="T74" fmla="*/ 138 w 478"/>
                <a:gd name="T75" fmla="*/ 307 h 390"/>
                <a:gd name="T76" fmla="*/ 142 w 478"/>
                <a:gd name="T77" fmla="*/ 294 h 390"/>
                <a:gd name="T78" fmla="*/ 121 w 478"/>
                <a:gd name="T79" fmla="*/ 262 h 390"/>
                <a:gd name="T80" fmla="*/ 77 w 478"/>
                <a:gd name="T81" fmla="*/ 225 h 390"/>
                <a:gd name="T82" fmla="*/ 63 w 478"/>
                <a:gd name="T83" fmla="*/ 202 h 390"/>
                <a:gd name="T84" fmla="*/ 47 w 478"/>
                <a:gd name="T85" fmla="*/ 185 h 390"/>
                <a:gd name="T86" fmla="*/ 36 w 478"/>
                <a:gd name="T87" fmla="*/ 190 h 390"/>
                <a:gd name="T88" fmla="*/ 17 w 478"/>
                <a:gd name="T89" fmla="*/ 186 h 390"/>
                <a:gd name="T90" fmla="*/ 4 w 478"/>
                <a:gd name="T91" fmla="*/ 176 h 390"/>
                <a:gd name="T92" fmla="*/ 0 w 478"/>
                <a:gd name="T93" fmla="*/ 149 h 390"/>
                <a:gd name="T94" fmla="*/ 6 w 478"/>
                <a:gd name="T95" fmla="*/ 132 h 390"/>
                <a:gd name="T96" fmla="*/ 24 w 478"/>
                <a:gd name="T97" fmla="*/ 125 h 390"/>
                <a:gd name="T98" fmla="*/ 57 w 478"/>
                <a:gd name="T99" fmla="*/ 111 h 390"/>
                <a:gd name="T100" fmla="*/ 70 w 478"/>
                <a:gd name="T101" fmla="*/ 93 h 390"/>
                <a:gd name="T102" fmla="*/ 80 w 478"/>
                <a:gd name="T103" fmla="*/ 88 h 390"/>
                <a:gd name="T104" fmla="*/ 100 w 478"/>
                <a:gd name="T105" fmla="*/ 83 h 390"/>
                <a:gd name="T106" fmla="*/ 128 w 478"/>
                <a:gd name="T107" fmla="*/ 80 h 390"/>
                <a:gd name="T108" fmla="*/ 151 w 478"/>
                <a:gd name="T109" fmla="*/ 70 h 390"/>
                <a:gd name="T110" fmla="*/ 187 w 478"/>
                <a:gd name="T111" fmla="*/ 47 h 390"/>
                <a:gd name="T112" fmla="*/ 204 w 478"/>
                <a:gd name="T113" fmla="*/ 34 h 390"/>
                <a:gd name="T114" fmla="*/ 219 w 478"/>
                <a:gd name="T115" fmla="*/ 2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8" h="390">
                  <a:moveTo>
                    <a:pt x="221" y="0"/>
                  </a:moveTo>
                  <a:lnTo>
                    <a:pt x="222" y="1"/>
                  </a:lnTo>
                  <a:lnTo>
                    <a:pt x="223" y="1"/>
                  </a:lnTo>
                  <a:lnTo>
                    <a:pt x="225" y="2"/>
                  </a:lnTo>
                  <a:lnTo>
                    <a:pt x="226" y="4"/>
                  </a:lnTo>
                  <a:lnTo>
                    <a:pt x="230" y="10"/>
                  </a:lnTo>
                  <a:lnTo>
                    <a:pt x="234" y="15"/>
                  </a:lnTo>
                  <a:lnTo>
                    <a:pt x="235" y="17"/>
                  </a:lnTo>
                  <a:lnTo>
                    <a:pt x="236" y="18"/>
                  </a:lnTo>
                  <a:lnTo>
                    <a:pt x="239" y="20"/>
                  </a:lnTo>
                  <a:lnTo>
                    <a:pt x="242" y="22"/>
                  </a:lnTo>
                  <a:lnTo>
                    <a:pt x="244" y="23"/>
                  </a:lnTo>
                  <a:lnTo>
                    <a:pt x="246" y="23"/>
                  </a:lnTo>
                  <a:lnTo>
                    <a:pt x="248" y="24"/>
                  </a:lnTo>
                  <a:lnTo>
                    <a:pt x="250" y="24"/>
                  </a:lnTo>
                  <a:lnTo>
                    <a:pt x="256" y="22"/>
                  </a:lnTo>
                  <a:lnTo>
                    <a:pt x="257" y="22"/>
                  </a:lnTo>
                  <a:lnTo>
                    <a:pt x="260" y="22"/>
                  </a:lnTo>
                  <a:lnTo>
                    <a:pt x="262" y="22"/>
                  </a:lnTo>
                  <a:lnTo>
                    <a:pt x="267" y="23"/>
                  </a:lnTo>
                  <a:lnTo>
                    <a:pt x="267" y="23"/>
                  </a:lnTo>
                  <a:lnTo>
                    <a:pt x="267" y="23"/>
                  </a:lnTo>
                  <a:lnTo>
                    <a:pt x="268" y="22"/>
                  </a:lnTo>
                  <a:lnTo>
                    <a:pt x="270" y="21"/>
                  </a:lnTo>
                  <a:lnTo>
                    <a:pt x="274" y="16"/>
                  </a:lnTo>
                  <a:lnTo>
                    <a:pt x="279" y="12"/>
                  </a:lnTo>
                  <a:lnTo>
                    <a:pt x="279" y="11"/>
                  </a:lnTo>
                  <a:lnTo>
                    <a:pt x="279" y="11"/>
                  </a:lnTo>
                  <a:lnTo>
                    <a:pt x="280" y="12"/>
                  </a:lnTo>
                  <a:lnTo>
                    <a:pt x="282" y="13"/>
                  </a:lnTo>
                  <a:lnTo>
                    <a:pt x="284" y="17"/>
                  </a:lnTo>
                  <a:lnTo>
                    <a:pt x="286" y="23"/>
                  </a:lnTo>
                  <a:lnTo>
                    <a:pt x="289" y="27"/>
                  </a:lnTo>
                  <a:lnTo>
                    <a:pt x="290" y="31"/>
                  </a:lnTo>
                  <a:lnTo>
                    <a:pt x="291" y="35"/>
                  </a:lnTo>
                  <a:lnTo>
                    <a:pt x="293" y="43"/>
                  </a:lnTo>
                  <a:lnTo>
                    <a:pt x="295" y="46"/>
                  </a:lnTo>
                  <a:lnTo>
                    <a:pt x="295" y="47"/>
                  </a:lnTo>
                  <a:lnTo>
                    <a:pt x="296" y="48"/>
                  </a:lnTo>
                  <a:lnTo>
                    <a:pt x="298" y="50"/>
                  </a:lnTo>
                  <a:lnTo>
                    <a:pt x="299" y="51"/>
                  </a:lnTo>
                  <a:lnTo>
                    <a:pt x="301" y="52"/>
                  </a:lnTo>
                  <a:lnTo>
                    <a:pt x="302" y="53"/>
                  </a:lnTo>
                  <a:lnTo>
                    <a:pt x="306" y="53"/>
                  </a:lnTo>
                  <a:lnTo>
                    <a:pt x="312" y="54"/>
                  </a:lnTo>
                  <a:lnTo>
                    <a:pt x="315" y="55"/>
                  </a:lnTo>
                  <a:lnTo>
                    <a:pt x="318" y="56"/>
                  </a:lnTo>
                  <a:lnTo>
                    <a:pt x="324" y="58"/>
                  </a:lnTo>
                  <a:lnTo>
                    <a:pt x="326" y="60"/>
                  </a:lnTo>
                  <a:lnTo>
                    <a:pt x="330" y="61"/>
                  </a:lnTo>
                  <a:lnTo>
                    <a:pt x="334" y="62"/>
                  </a:lnTo>
                  <a:lnTo>
                    <a:pt x="337" y="63"/>
                  </a:lnTo>
                  <a:lnTo>
                    <a:pt x="340" y="64"/>
                  </a:lnTo>
                  <a:lnTo>
                    <a:pt x="352" y="66"/>
                  </a:lnTo>
                  <a:lnTo>
                    <a:pt x="356" y="67"/>
                  </a:lnTo>
                  <a:lnTo>
                    <a:pt x="359" y="69"/>
                  </a:lnTo>
                  <a:lnTo>
                    <a:pt x="364" y="70"/>
                  </a:lnTo>
                  <a:lnTo>
                    <a:pt x="366" y="71"/>
                  </a:lnTo>
                  <a:lnTo>
                    <a:pt x="367" y="72"/>
                  </a:lnTo>
                  <a:lnTo>
                    <a:pt x="369" y="74"/>
                  </a:lnTo>
                  <a:lnTo>
                    <a:pt x="370" y="75"/>
                  </a:lnTo>
                  <a:lnTo>
                    <a:pt x="370" y="76"/>
                  </a:lnTo>
                  <a:lnTo>
                    <a:pt x="370" y="77"/>
                  </a:lnTo>
                  <a:lnTo>
                    <a:pt x="370" y="78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70" y="81"/>
                  </a:lnTo>
                  <a:lnTo>
                    <a:pt x="370" y="83"/>
                  </a:lnTo>
                  <a:lnTo>
                    <a:pt x="369" y="86"/>
                  </a:lnTo>
                  <a:lnTo>
                    <a:pt x="367" y="90"/>
                  </a:lnTo>
                  <a:lnTo>
                    <a:pt x="364" y="94"/>
                  </a:lnTo>
                  <a:lnTo>
                    <a:pt x="359" y="100"/>
                  </a:lnTo>
                  <a:lnTo>
                    <a:pt x="358" y="102"/>
                  </a:lnTo>
                  <a:lnTo>
                    <a:pt x="358" y="103"/>
                  </a:lnTo>
                  <a:lnTo>
                    <a:pt x="358" y="104"/>
                  </a:lnTo>
                  <a:lnTo>
                    <a:pt x="358" y="106"/>
                  </a:lnTo>
                  <a:lnTo>
                    <a:pt x="358" y="107"/>
                  </a:lnTo>
                  <a:lnTo>
                    <a:pt x="358" y="108"/>
                  </a:lnTo>
                  <a:lnTo>
                    <a:pt x="359" y="109"/>
                  </a:lnTo>
                  <a:lnTo>
                    <a:pt x="360" y="110"/>
                  </a:lnTo>
                  <a:lnTo>
                    <a:pt x="362" y="111"/>
                  </a:lnTo>
                  <a:lnTo>
                    <a:pt x="367" y="114"/>
                  </a:lnTo>
                  <a:lnTo>
                    <a:pt x="368" y="115"/>
                  </a:lnTo>
                  <a:lnTo>
                    <a:pt x="369" y="116"/>
                  </a:lnTo>
                  <a:lnTo>
                    <a:pt x="370" y="118"/>
                  </a:lnTo>
                  <a:lnTo>
                    <a:pt x="375" y="124"/>
                  </a:lnTo>
                  <a:lnTo>
                    <a:pt x="378" y="127"/>
                  </a:lnTo>
                  <a:lnTo>
                    <a:pt x="380" y="130"/>
                  </a:lnTo>
                  <a:lnTo>
                    <a:pt x="383" y="133"/>
                  </a:lnTo>
                  <a:lnTo>
                    <a:pt x="389" y="138"/>
                  </a:lnTo>
                  <a:lnTo>
                    <a:pt x="392" y="141"/>
                  </a:lnTo>
                  <a:lnTo>
                    <a:pt x="393" y="142"/>
                  </a:lnTo>
                  <a:lnTo>
                    <a:pt x="394" y="142"/>
                  </a:lnTo>
                  <a:lnTo>
                    <a:pt x="395" y="143"/>
                  </a:lnTo>
                  <a:lnTo>
                    <a:pt x="396" y="142"/>
                  </a:lnTo>
                  <a:lnTo>
                    <a:pt x="396" y="142"/>
                  </a:lnTo>
                  <a:lnTo>
                    <a:pt x="396" y="142"/>
                  </a:lnTo>
                  <a:lnTo>
                    <a:pt x="396" y="142"/>
                  </a:lnTo>
                  <a:lnTo>
                    <a:pt x="396" y="143"/>
                  </a:lnTo>
                  <a:lnTo>
                    <a:pt x="396" y="147"/>
                  </a:lnTo>
                  <a:lnTo>
                    <a:pt x="396" y="154"/>
                  </a:lnTo>
                  <a:lnTo>
                    <a:pt x="395" y="161"/>
                  </a:lnTo>
                  <a:lnTo>
                    <a:pt x="395" y="167"/>
                  </a:lnTo>
                  <a:lnTo>
                    <a:pt x="394" y="173"/>
                  </a:lnTo>
                  <a:lnTo>
                    <a:pt x="392" y="192"/>
                  </a:lnTo>
                  <a:lnTo>
                    <a:pt x="392" y="195"/>
                  </a:lnTo>
                  <a:lnTo>
                    <a:pt x="392" y="198"/>
                  </a:lnTo>
                  <a:lnTo>
                    <a:pt x="392" y="201"/>
                  </a:lnTo>
                  <a:lnTo>
                    <a:pt x="392" y="203"/>
                  </a:lnTo>
                  <a:lnTo>
                    <a:pt x="396" y="216"/>
                  </a:lnTo>
                  <a:lnTo>
                    <a:pt x="397" y="218"/>
                  </a:lnTo>
                  <a:lnTo>
                    <a:pt x="399" y="225"/>
                  </a:lnTo>
                  <a:lnTo>
                    <a:pt x="400" y="227"/>
                  </a:lnTo>
                  <a:lnTo>
                    <a:pt x="401" y="230"/>
                  </a:lnTo>
                  <a:lnTo>
                    <a:pt x="403" y="233"/>
                  </a:lnTo>
                  <a:lnTo>
                    <a:pt x="407" y="242"/>
                  </a:lnTo>
                  <a:lnTo>
                    <a:pt x="410" y="249"/>
                  </a:lnTo>
                  <a:lnTo>
                    <a:pt x="412" y="251"/>
                  </a:lnTo>
                  <a:lnTo>
                    <a:pt x="413" y="254"/>
                  </a:lnTo>
                  <a:lnTo>
                    <a:pt x="417" y="261"/>
                  </a:lnTo>
                  <a:lnTo>
                    <a:pt x="426" y="273"/>
                  </a:lnTo>
                  <a:lnTo>
                    <a:pt x="433" y="282"/>
                  </a:lnTo>
                  <a:lnTo>
                    <a:pt x="435" y="285"/>
                  </a:lnTo>
                  <a:lnTo>
                    <a:pt x="437" y="288"/>
                  </a:lnTo>
                  <a:lnTo>
                    <a:pt x="438" y="291"/>
                  </a:lnTo>
                  <a:lnTo>
                    <a:pt x="438" y="293"/>
                  </a:lnTo>
                  <a:lnTo>
                    <a:pt x="439" y="294"/>
                  </a:lnTo>
                  <a:lnTo>
                    <a:pt x="439" y="295"/>
                  </a:lnTo>
                  <a:lnTo>
                    <a:pt x="439" y="297"/>
                  </a:lnTo>
                  <a:lnTo>
                    <a:pt x="439" y="301"/>
                  </a:lnTo>
                  <a:lnTo>
                    <a:pt x="439" y="311"/>
                  </a:lnTo>
                  <a:lnTo>
                    <a:pt x="439" y="314"/>
                  </a:lnTo>
                  <a:lnTo>
                    <a:pt x="439" y="317"/>
                  </a:lnTo>
                  <a:lnTo>
                    <a:pt x="440" y="319"/>
                  </a:lnTo>
                  <a:lnTo>
                    <a:pt x="440" y="320"/>
                  </a:lnTo>
                  <a:lnTo>
                    <a:pt x="441" y="322"/>
                  </a:lnTo>
                  <a:lnTo>
                    <a:pt x="442" y="325"/>
                  </a:lnTo>
                  <a:lnTo>
                    <a:pt x="443" y="326"/>
                  </a:lnTo>
                  <a:lnTo>
                    <a:pt x="444" y="328"/>
                  </a:lnTo>
                  <a:lnTo>
                    <a:pt x="445" y="329"/>
                  </a:lnTo>
                  <a:lnTo>
                    <a:pt x="447" y="331"/>
                  </a:lnTo>
                  <a:lnTo>
                    <a:pt x="449" y="332"/>
                  </a:lnTo>
                  <a:lnTo>
                    <a:pt x="451" y="335"/>
                  </a:lnTo>
                  <a:lnTo>
                    <a:pt x="460" y="343"/>
                  </a:lnTo>
                  <a:lnTo>
                    <a:pt x="462" y="345"/>
                  </a:lnTo>
                  <a:lnTo>
                    <a:pt x="464" y="348"/>
                  </a:lnTo>
                  <a:lnTo>
                    <a:pt x="466" y="350"/>
                  </a:lnTo>
                  <a:lnTo>
                    <a:pt x="468" y="352"/>
                  </a:lnTo>
                  <a:lnTo>
                    <a:pt x="469" y="353"/>
                  </a:lnTo>
                  <a:lnTo>
                    <a:pt x="471" y="355"/>
                  </a:lnTo>
                  <a:lnTo>
                    <a:pt x="472" y="358"/>
                  </a:lnTo>
                  <a:lnTo>
                    <a:pt x="472" y="361"/>
                  </a:lnTo>
                  <a:lnTo>
                    <a:pt x="474" y="365"/>
                  </a:lnTo>
                  <a:lnTo>
                    <a:pt x="476" y="371"/>
                  </a:lnTo>
                  <a:lnTo>
                    <a:pt x="477" y="376"/>
                  </a:lnTo>
                  <a:lnTo>
                    <a:pt x="478" y="380"/>
                  </a:lnTo>
                  <a:lnTo>
                    <a:pt x="478" y="382"/>
                  </a:lnTo>
                  <a:lnTo>
                    <a:pt x="478" y="383"/>
                  </a:lnTo>
                  <a:lnTo>
                    <a:pt x="478" y="383"/>
                  </a:lnTo>
                  <a:lnTo>
                    <a:pt x="478" y="383"/>
                  </a:lnTo>
                  <a:lnTo>
                    <a:pt x="477" y="383"/>
                  </a:lnTo>
                  <a:lnTo>
                    <a:pt x="473" y="383"/>
                  </a:lnTo>
                  <a:lnTo>
                    <a:pt x="469" y="385"/>
                  </a:lnTo>
                  <a:lnTo>
                    <a:pt x="461" y="386"/>
                  </a:lnTo>
                  <a:lnTo>
                    <a:pt x="458" y="388"/>
                  </a:lnTo>
                  <a:lnTo>
                    <a:pt x="453" y="389"/>
                  </a:lnTo>
                  <a:lnTo>
                    <a:pt x="449" y="389"/>
                  </a:lnTo>
                  <a:lnTo>
                    <a:pt x="446" y="390"/>
                  </a:lnTo>
                  <a:lnTo>
                    <a:pt x="441" y="390"/>
                  </a:lnTo>
                  <a:lnTo>
                    <a:pt x="437" y="389"/>
                  </a:lnTo>
                  <a:lnTo>
                    <a:pt x="431" y="388"/>
                  </a:lnTo>
                  <a:lnTo>
                    <a:pt x="414" y="385"/>
                  </a:lnTo>
                  <a:lnTo>
                    <a:pt x="410" y="384"/>
                  </a:lnTo>
                  <a:lnTo>
                    <a:pt x="407" y="382"/>
                  </a:lnTo>
                  <a:lnTo>
                    <a:pt x="404" y="380"/>
                  </a:lnTo>
                  <a:lnTo>
                    <a:pt x="400" y="378"/>
                  </a:lnTo>
                  <a:lnTo>
                    <a:pt x="396" y="375"/>
                  </a:lnTo>
                  <a:lnTo>
                    <a:pt x="387" y="369"/>
                  </a:lnTo>
                  <a:lnTo>
                    <a:pt x="384" y="367"/>
                  </a:lnTo>
                  <a:lnTo>
                    <a:pt x="381" y="365"/>
                  </a:lnTo>
                  <a:lnTo>
                    <a:pt x="379" y="363"/>
                  </a:lnTo>
                  <a:lnTo>
                    <a:pt x="376" y="363"/>
                  </a:lnTo>
                  <a:lnTo>
                    <a:pt x="373" y="363"/>
                  </a:lnTo>
                  <a:lnTo>
                    <a:pt x="370" y="363"/>
                  </a:lnTo>
                  <a:lnTo>
                    <a:pt x="364" y="362"/>
                  </a:lnTo>
                  <a:lnTo>
                    <a:pt x="360" y="362"/>
                  </a:lnTo>
                  <a:lnTo>
                    <a:pt x="358" y="361"/>
                  </a:lnTo>
                  <a:lnTo>
                    <a:pt x="349" y="359"/>
                  </a:lnTo>
                  <a:lnTo>
                    <a:pt x="347" y="358"/>
                  </a:lnTo>
                  <a:lnTo>
                    <a:pt x="343" y="358"/>
                  </a:lnTo>
                  <a:lnTo>
                    <a:pt x="336" y="358"/>
                  </a:lnTo>
                  <a:lnTo>
                    <a:pt x="329" y="358"/>
                  </a:lnTo>
                  <a:lnTo>
                    <a:pt x="322" y="359"/>
                  </a:lnTo>
                  <a:lnTo>
                    <a:pt x="315" y="360"/>
                  </a:lnTo>
                  <a:lnTo>
                    <a:pt x="305" y="362"/>
                  </a:lnTo>
                  <a:lnTo>
                    <a:pt x="298" y="363"/>
                  </a:lnTo>
                  <a:lnTo>
                    <a:pt x="285" y="367"/>
                  </a:lnTo>
                  <a:lnTo>
                    <a:pt x="272" y="371"/>
                  </a:lnTo>
                  <a:lnTo>
                    <a:pt x="268" y="372"/>
                  </a:lnTo>
                  <a:lnTo>
                    <a:pt x="264" y="373"/>
                  </a:lnTo>
                  <a:lnTo>
                    <a:pt x="262" y="373"/>
                  </a:lnTo>
                  <a:lnTo>
                    <a:pt x="259" y="373"/>
                  </a:lnTo>
                  <a:lnTo>
                    <a:pt x="256" y="373"/>
                  </a:lnTo>
                  <a:lnTo>
                    <a:pt x="255" y="373"/>
                  </a:lnTo>
                  <a:lnTo>
                    <a:pt x="253" y="372"/>
                  </a:lnTo>
                  <a:lnTo>
                    <a:pt x="251" y="371"/>
                  </a:lnTo>
                  <a:lnTo>
                    <a:pt x="250" y="370"/>
                  </a:lnTo>
                  <a:lnTo>
                    <a:pt x="249" y="368"/>
                  </a:lnTo>
                  <a:lnTo>
                    <a:pt x="247" y="366"/>
                  </a:lnTo>
                  <a:lnTo>
                    <a:pt x="246" y="364"/>
                  </a:lnTo>
                  <a:lnTo>
                    <a:pt x="243" y="358"/>
                  </a:lnTo>
                  <a:lnTo>
                    <a:pt x="241" y="355"/>
                  </a:lnTo>
                  <a:lnTo>
                    <a:pt x="240" y="354"/>
                  </a:lnTo>
                  <a:lnTo>
                    <a:pt x="237" y="352"/>
                  </a:lnTo>
                  <a:lnTo>
                    <a:pt x="234" y="349"/>
                  </a:lnTo>
                  <a:lnTo>
                    <a:pt x="232" y="347"/>
                  </a:lnTo>
                  <a:lnTo>
                    <a:pt x="229" y="345"/>
                  </a:lnTo>
                  <a:lnTo>
                    <a:pt x="226" y="343"/>
                  </a:lnTo>
                  <a:lnTo>
                    <a:pt x="222" y="341"/>
                  </a:lnTo>
                  <a:lnTo>
                    <a:pt x="219" y="341"/>
                  </a:lnTo>
                  <a:lnTo>
                    <a:pt x="214" y="339"/>
                  </a:lnTo>
                  <a:lnTo>
                    <a:pt x="210" y="338"/>
                  </a:lnTo>
                  <a:lnTo>
                    <a:pt x="206" y="338"/>
                  </a:lnTo>
                  <a:lnTo>
                    <a:pt x="202" y="338"/>
                  </a:lnTo>
                  <a:lnTo>
                    <a:pt x="200" y="338"/>
                  </a:lnTo>
                  <a:lnTo>
                    <a:pt x="200" y="338"/>
                  </a:lnTo>
                  <a:lnTo>
                    <a:pt x="199" y="338"/>
                  </a:lnTo>
                  <a:lnTo>
                    <a:pt x="198" y="338"/>
                  </a:lnTo>
                  <a:lnTo>
                    <a:pt x="196" y="339"/>
                  </a:lnTo>
                  <a:lnTo>
                    <a:pt x="194" y="340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8" y="340"/>
                  </a:lnTo>
                  <a:lnTo>
                    <a:pt x="187" y="338"/>
                  </a:lnTo>
                  <a:lnTo>
                    <a:pt x="184" y="332"/>
                  </a:lnTo>
                  <a:lnTo>
                    <a:pt x="180" y="324"/>
                  </a:lnTo>
                  <a:lnTo>
                    <a:pt x="178" y="320"/>
                  </a:lnTo>
                  <a:lnTo>
                    <a:pt x="176" y="317"/>
                  </a:lnTo>
                  <a:lnTo>
                    <a:pt x="174" y="314"/>
                  </a:lnTo>
                  <a:lnTo>
                    <a:pt x="173" y="313"/>
                  </a:lnTo>
                  <a:lnTo>
                    <a:pt x="172" y="312"/>
                  </a:lnTo>
                  <a:lnTo>
                    <a:pt x="171" y="312"/>
                  </a:lnTo>
                  <a:lnTo>
                    <a:pt x="170" y="312"/>
                  </a:lnTo>
                  <a:lnTo>
                    <a:pt x="169" y="312"/>
                  </a:lnTo>
                  <a:lnTo>
                    <a:pt x="167" y="312"/>
                  </a:lnTo>
                  <a:lnTo>
                    <a:pt x="165" y="312"/>
                  </a:lnTo>
                  <a:lnTo>
                    <a:pt x="163" y="312"/>
                  </a:lnTo>
                  <a:lnTo>
                    <a:pt x="161" y="313"/>
                  </a:lnTo>
                  <a:lnTo>
                    <a:pt x="159" y="314"/>
                  </a:lnTo>
                  <a:lnTo>
                    <a:pt x="157" y="316"/>
                  </a:lnTo>
                  <a:lnTo>
                    <a:pt x="154" y="318"/>
                  </a:lnTo>
                  <a:lnTo>
                    <a:pt x="149" y="322"/>
                  </a:lnTo>
                  <a:lnTo>
                    <a:pt x="147" y="324"/>
                  </a:lnTo>
                  <a:lnTo>
                    <a:pt x="146" y="324"/>
                  </a:lnTo>
                  <a:lnTo>
                    <a:pt x="144" y="324"/>
                  </a:lnTo>
                  <a:lnTo>
                    <a:pt x="143" y="324"/>
                  </a:lnTo>
                  <a:lnTo>
                    <a:pt x="142" y="323"/>
                  </a:lnTo>
                  <a:lnTo>
                    <a:pt x="141" y="322"/>
                  </a:lnTo>
                  <a:lnTo>
                    <a:pt x="140" y="321"/>
                  </a:lnTo>
                  <a:lnTo>
                    <a:pt x="139" y="320"/>
                  </a:lnTo>
                  <a:lnTo>
                    <a:pt x="138" y="317"/>
                  </a:lnTo>
                  <a:lnTo>
                    <a:pt x="137" y="314"/>
                  </a:lnTo>
                  <a:lnTo>
                    <a:pt x="137" y="313"/>
                  </a:lnTo>
                  <a:lnTo>
                    <a:pt x="137" y="312"/>
                  </a:lnTo>
                  <a:lnTo>
                    <a:pt x="137" y="310"/>
                  </a:lnTo>
                  <a:lnTo>
                    <a:pt x="138" y="307"/>
                  </a:lnTo>
                  <a:lnTo>
                    <a:pt x="139" y="306"/>
                  </a:lnTo>
                  <a:lnTo>
                    <a:pt x="141" y="302"/>
                  </a:lnTo>
                  <a:lnTo>
                    <a:pt x="142" y="299"/>
                  </a:lnTo>
                  <a:lnTo>
                    <a:pt x="142" y="298"/>
                  </a:lnTo>
                  <a:lnTo>
                    <a:pt x="142" y="296"/>
                  </a:lnTo>
                  <a:lnTo>
                    <a:pt x="142" y="295"/>
                  </a:lnTo>
                  <a:lnTo>
                    <a:pt x="142" y="294"/>
                  </a:lnTo>
                  <a:lnTo>
                    <a:pt x="141" y="291"/>
                  </a:lnTo>
                  <a:lnTo>
                    <a:pt x="139" y="289"/>
                  </a:lnTo>
                  <a:lnTo>
                    <a:pt x="136" y="283"/>
                  </a:lnTo>
                  <a:lnTo>
                    <a:pt x="131" y="275"/>
                  </a:lnTo>
                  <a:lnTo>
                    <a:pt x="128" y="270"/>
                  </a:lnTo>
                  <a:lnTo>
                    <a:pt x="123" y="265"/>
                  </a:lnTo>
                  <a:lnTo>
                    <a:pt x="121" y="262"/>
                  </a:lnTo>
                  <a:lnTo>
                    <a:pt x="116" y="257"/>
                  </a:lnTo>
                  <a:lnTo>
                    <a:pt x="107" y="248"/>
                  </a:lnTo>
                  <a:lnTo>
                    <a:pt x="104" y="245"/>
                  </a:lnTo>
                  <a:lnTo>
                    <a:pt x="99" y="242"/>
                  </a:lnTo>
                  <a:lnTo>
                    <a:pt x="81" y="228"/>
                  </a:lnTo>
                  <a:lnTo>
                    <a:pt x="79" y="227"/>
                  </a:lnTo>
                  <a:lnTo>
                    <a:pt x="77" y="225"/>
                  </a:lnTo>
                  <a:lnTo>
                    <a:pt x="75" y="223"/>
                  </a:lnTo>
                  <a:lnTo>
                    <a:pt x="74" y="221"/>
                  </a:lnTo>
                  <a:lnTo>
                    <a:pt x="71" y="216"/>
                  </a:lnTo>
                  <a:lnTo>
                    <a:pt x="70" y="214"/>
                  </a:lnTo>
                  <a:lnTo>
                    <a:pt x="66" y="207"/>
                  </a:lnTo>
                  <a:lnTo>
                    <a:pt x="64" y="205"/>
                  </a:lnTo>
                  <a:lnTo>
                    <a:pt x="63" y="202"/>
                  </a:lnTo>
                  <a:lnTo>
                    <a:pt x="59" y="196"/>
                  </a:lnTo>
                  <a:lnTo>
                    <a:pt x="56" y="193"/>
                  </a:lnTo>
                  <a:lnTo>
                    <a:pt x="54" y="190"/>
                  </a:lnTo>
                  <a:lnTo>
                    <a:pt x="52" y="188"/>
                  </a:lnTo>
                  <a:lnTo>
                    <a:pt x="50" y="186"/>
                  </a:lnTo>
                  <a:lnTo>
                    <a:pt x="48" y="185"/>
                  </a:lnTo>
                  <a:lnTo>
                    <a:pt x="47" y="185"/>
                  </a:lnTo>
                  <a:lnTo>
                    <a:pt x="45" y="185"/>
                  </a:lnTo>
                  <a:lnTo>
                    <a:pt x="44" y="185"/>
                  </a:lnTo>
                  <a:lnTo>
                    <a:pt x="42" y="185"/>
                  </a:lnTo>
                  <a:lnTo>
                    <a:pt x="41" y="186"/>
                  </a:lnTo>
                  <a:lnTo>
                    <a:pt x="39" y="189"/>
                  </a:lnTo>
                  <a:lnTo>
                    <a:pt x="38" y="189"/>
                  </a:lnTo>
                  <a:lnTo>
                    <a:pt x="36" y="190"/>
                  </a:lnTo>
                  <a:lnTo>
                    <a:pt x="34" y="190"/>
                  </a:lnTo>
                  <a:lnTo>
                    <a:pt x="32" y="191"/>
                  </a:lnTo>
                  <a:lnTo>
                    <a:pt x="30" y="190"/>
                  </a:lnTo>
                  <a:lnTo>
                    <a:pt x="28" y="190"/>
                  </a:lnTo>
                  <a:lnTo>
                    <a:pt x="26" y="189"/>
                  </a:lnTo>
                  <a:lnTo>
                    <a:pt x="22" y="188"/>
                  </a:lnTo>
                  <a:lnTo>
                    <a:pt x="17" y="186"/>
                  </a:lnTo>
                  <a:lnTo>
                    <a:pt x="14" y="183"/>
                  </a:lnTo>
                  <a:lnTo>
                    <a:pt x="10" y="182"/>
                  </a:lnTo>
                  <a:lnTo>
                    <a:pt x="6" y="180"/>
                  </a:lnTo>
                  <a:lnTo>
                    <a:pt x="4" y="178"/>
                  </a:lnTo>
                  <a:lnTo>
                    <a:pt x="4" y="177"/>
                  </a:lnTo>
                  <a:lnTo>
                    <a:pt x="4" y="177"/>
                  </a:lnTo>
                  <a:lnTo>
                    <a:pt x="4" y="176"/>
                  </a:lnTo>
                  <a:lnTo>
                    <a:pt x="5" y="170"/>
                  </a:lnTo>
                  <a:lnTo>
                    <a:pt x="5" y="169"/>
                  </a:lnTo>
                  <a:lnTo>
                    <a:pt x="5" y="168"/>
                  </a:lnTo>
                  <a:lnTo>
                    <a:pt x="4" y="162"/>
                  </a:lnTo>
                  <a:lnTo>
                    <a:pt x="1" y="157"/>
                  </a:lnTo>
                  <a:lnTo>
                    <a:pt x="0" y="150"/>
                  </a:lnTo>
                  <a:lnTo>
                    <a:pt x="0" y="149"/>
                  </a:lnTo>
                  <a:lnTo>
                    <a:pt x="0" y="148"/>
                  </a:lnTo>
                  <a:lnTo>
                    <a:pt x="0" y="145"/>
                  </a:lnTo>
                  <a:lnTo>
                    <a:pt x="1" y="142"/>
                  </a:lnTo>
                  <a:lnTo>
                    <a:pt x="2" y="138"/>
                  </a:lnTo>
                  <a:lnTo>
                    <a:pt x="3" y="137"/>
                  </a:lnTo>
                  <a:lnTo>
                    <a:pt x="5" y="134"/>
                  </a:lnTo>
                  <a:lnTo>
                    <a:pt x="6" y="132"/>
                  </a:lnTo>
                  <a:lnTo>
                    <a:pt x="6" y="130"/>
                  </a:lnTo>
                  <a:lnTo>
                    <a:pt x="9" y="127"/>
                  </a:lnTo>
                  <a:lnTo>
                    <a:pt x="11" y="125"/>
                  </a:lnTo>
                  <a:lnTo>
                    <a:pt x="11" y="125"/>
                  </a:lnTo>
                  <a:lnTo>
                    <a:pt x="17" y="125"/>
                  </a:lnTo>
                  <a:lnTo>
                    <a:pt x="21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31" y="124"/>
                  </a:lnTo>
                  <a:lnTo>
                    <a:pt x="33" y="123"/>
                  </a:lnTo>
                  <a:lnTo>
                    <a:pt x="36" y="122"/>
                  </a:lnTo>
                  <a:lnTo>
                    <a:pt x="47" y="115"/>
                  </a:lnTo>
                  <a:lnTo>
                    <a:pt x="55" y="112"/>
                  </a:lnTo>
                  <a:lnTo>
                    <a:pt x="57" y="111"/>
                  </a:lnTo>
                  <a:lnTo>
                    <a:pt x="59" y="109"/>
                  </a:lnTo>
                  <a:lnTo>
                    <a:pt x="60" y="108"/>
                  </a:lnTo>
                  <a:lnTo>
                    <a:pt x="62" y="106"/>
                  </a:lnTo>
                  <a:lnTo>
                    <a:pt x="63" y="104"/>
                  </a:lnTo>
                  <a:lnTo>
                    <a:pt x="64" y="103"/>
                  </a:lnTo>
                  <a:lnTo>
                    <a:pt x="68" y="95"/>
                  </a:lnTo>
                  <a:lnTo>
                    <a:pt x="70" y="93"/>
                  </a:lnTo>
                  <a:lnTo>
                    <a:pt x="71" y="92"/>
                  </a:lnTo>
                  <a:lnTo>
                    <a:pt x="73" y="91"/>
                  </a:lnTo>
                  <a:lnTo>
                    <a:pt x="74" y="90"/>
                  </a:lnTo>
                  <a:lnTo>
                    <a:pt x="74" y="89"/>
                  </a:lnTo>
                  <a:lnTo>
                    <a:pt x="75" y="89"/>
                  </a:lnTo>
                  <a:lnTo>
                    <a:pt x="78" y="88"/>
                  </a:lnTo>
                  <a:lnTo>
                    <a:pt x="80" y="88"/>
                  </a:lnTo>
                  <a:lnTo>
                    <a:pt x="82" y="88"/>
                  </a:lnTo>
                  <a:lnTo>
                    <a:pt x="85" y="88"/>
                  </a:lnTo>
                  <a:lnTo>
                    <a:pt x="88" y="87"/>
                  </a:lnTo>
                  <a:lnTo>
                    <a:pt x="91" y="87"/>
                  </a:lnTo>
                  <a:lnTo>
                    <a:pt x="96" y="85"/>
                  </a:lnTo>
                  <a:lnTo>
                    <a:pt x="98" y="84"/>
                  </a:lnTo>
                  <a:lnTo>
                    <a:pt x="100" y="83"/>
                  </a:lnTo>
                  <a:lnTo>
                    <a:pt x="106" y="83"/>
                  </a:lnTo>
                  <a:lnTo>
                    <a:pt x="112" y="81"/>
                  </a:lnTo>
                  <a:lnTo>
                    <a:pt x="116" y="81"/>
                  </a:lnTo>
                  <a:lnTo>
                    <a:pt x="120" y="81"/>
                  </a:lnTo>
                  <a:lnTo>
                    <a:pt x="123" y="81"/>
                  </a:lnTo>
                  <a:lnTo>
                    <a:pt x="125" y="81"/>
                  </a:lnTo>
                  <a:lnTo>
                    <a:pt x="128" y="80"/>
                  </a:lnTo>
                  <a:lnTo>
                    <a:pt x="130" y="80"/>
                  </a:lnTo>
                  <a:lnTo>
                    <a:pt x="131" y="80"/>
                  </a:lnTo>
                  <a:lnTo>
                    <a:pt x="134" y="78"/>
                  </a:lnTo>
                  <a:lnTo>
                    <a:pt x="140" y="75"/>
                  </a:lnTo>
                  <a:lnTo>
                    <a:pt x="142" y="74"/>
                  </a:lnTo>
                  <a:lnTo>
                    <a:pt x="149" y="71"/>
                  </a:lnTo>
                  <a:lnTo>
                    <a:pt x="151" y="70"/>
                  </a:lnTo>
                  <a:lnTo>
                    <a:pt x="153" y="69"/>
                  </a:lnTo>
                  <a:lnTo>
                    <a:pt x="154" y="69"/>
                  </a:lnTo>
                  <a:lnTo>
                    <a:pt x="156" y="68"/>
                  </a:lnTo>
                  <a:lnTo>
                    <a:pt x="166" y="59"/>
                  </a:lnTo>
                  <a:lnTo>
                    <a:pt x="171" y="57"/>
                  </a:lnTo>
                  <a:lnTo>
                    <a:pt x="176" y="54"/>
                  </a:lnTo>
                  <a:lnTo>
                    <a:pt x="187" y="47"/>
                  </a:lnTo>
                  <a:lnTo>
                    <a:pt x="193" y="44"/>
                  </a:lnTo>
                  <a:lnTo>
                    <a:pt x="195" y="43"/>
                  </a:lnTo>
                  <a:lnTo>
                    <a:pt x="197" y="42"/>
                  </a:lnTo>
                  <a:lnTo>
                    <a:pt x="199" y="40"/>
                  </a:lnTo>
                  <a:lnTo>
                    <a:pt x="200" y="39"/>
                  </a:lnTo>
                  <a:lnTo>
                    <a:pt x="202" y="36"/>
                  </a:lnTo>
                  <a:lnTo>
                    <a:pt x="204" y="34"/>
                  </a:lnTo>
                  <a:lnTo>
                    <a:pt x="206" y="32"/>
                  </a:lnTo>
                  <a:lnTo>
                    <a:pt x="208" y="28"/>
                  </a:lnTo>
                  <a:lnTo>
                    <a:pt x="210" y="24"/>
                  </a:lnTo>
                  <a:lnTo>
                    <a:pt x="213" y="15"/>
                  </a:lnTo>
                  <a:lnTo>
                    <a:pt x="214" y="12"/>
                  </a:lnTo>
                  <a:lnTo>
                    <a:pt x="217" y="8"/>
                  </a:lnTo>
                  <a:lnTo>
                    <a:pt x="219" y="2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9" name="Freeform 82">
              <a:extLst>
                <a:ext uri="{FF2B5EF4-FFF2-40B4-BE49-F238E27FC236}">
                  <a16:creationId xmlns:a16="http://schemas.microsoft.com/office/drawing/2014/main" id="{E30447DC-E739-43EB-94BB-67B9F0A89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" y="2108"/>
              <a:ext cx="605" cy="407"/>
            </a:xfrm>
            <a:custGeom>
              <a:avLst/>
              <a:gdLst>
                <a:gd name="T0" fmla="*/ 392 w 605"/>
                <a:gd name="T1" fmla="*/ 3 h 407"/>
                <a:gd name="T2" fmla="*/ 419 w 605"/>
                <a:gd name="T3" fmla="*/ 28 h 407"/>
                <a:gd name="T4" fmla="*/ 437 w 605"/>
                <a:gd name="T5" fmla="*/ 66 h 407"/>
                <a:gd name="T6" fmla="*/ 472 w 605"/>
                <a:gd name="T7" fmla="*/ 81 h 407"/>
                <a:gd name="T8" fmla="*/ 490 w 605"/>
                <a:gd name="T9" fmla="*/ 73 h 407"/>
                <a:gd name="T10" fmla="*/ 507 w 605"/>
                <a:gd name="T11" fmla="*/ 74 h 407"/>
                <a:gd name="T12" fmla="*/ 526 w 605"/>
                <a:gd name="T13" fmla="*/ 95 h 407"/>
                <a:gd name="T14" fmla="*/ 561 w 605"/>
                <a:gd name="T15" fmla="*/ 109 h 407"/>
                <a:gd name="T16" fmla="*/ 577 w 605"/>
                <a:gd name="T17" fmla="*/ 136 h 407"/>
                <a:gd name="T18" fmla="*/ 601 w 605"/>
                <a:gd name="T19" fmla="*/ 160 h 407"/>
                <a:gd name="T20" fmla="*/ 600 w 605"/>
                <a:gd name="T21" fmla="*/ 170 h 407"/>
                <a:gd name="T22" fmla="*/ 563 w 605"/>
                <a:gd name="T23" fmla="*/ 206 h 407"/>
                <a:gd name="T24" fmla="*/ 529 w 605"/>
                <a:gd name="T25" fmla="*/ 226 h 407"/>
                <a:gd name="T26" fmla="*/ 502 w 605"/>
                <a:gd name="T27" fmla="*/ 231 h 407"/>
                <a:gd name="T28" fmla="*/ 451 w 605"/>
                <a:gd name="T29" fmla="*/ 212 h 407"/>
                <a:gd name="T30" fmla="*/ 428 w 605"/>
                <a:gd name="T31" fmla="*/ 205 h 407"/>
                <a:gd name="T32" fmla="*/ 407 w 605"/>
                <a:gd name="T33" fmla="*/ 235 h 407"/>
                <a:gd name="T34" fmla="*/ 405 w 605"/>
                <a:gd name="T35" fmla="*/ 255 h 407"/>
                <a:gd name="T36" fmla="*/ 404 w 605"/>
                <a:gd name="T37" fmla="*/ 285 h 407"/>
                <a:gd name="T38" fmla="*/ 393 w 605"/>
                <a:gd name="T39" fmla="*/ 304 h 407"/>
                <a:gd name="T40" fmla="*/ 371 w 605"/>
                <a:gd name="T41" fmla="*/ 305 h 407"/>
                <a:gd name="T42" fmla="*/ 350 w 605"/>
                <a:gd name="T43" fmla="*/ 284 h 407"/>
                <a:gd name="T44" fmla="*/ 333 w 605"/>
                <a:gd name="T45" fmla="*/ 310 h 407"/>
                <a:gd name="T46" fmla="*/ 312 w 605"/>
                <a:gd name="T47" fmla="*/ 329 h 407"/>
                <a:gd name="T48" fmla="*/ 267 w 605"/>
                <a:gd name="T49" fmla="*/ 356 h 407"/>
                <a:gd name="T50" fmla="*/ 241 w 605"/>
                <a:gd name="T51" fmla="*/ 363 h 407"/>
                <a:gd name="T52" fmla="*/ 207 w 605"/>
                <a:gd name="T53" fmla="*/ 370 h 407"/>
                <a:gd name="T54" fmla="*/ 193 w 605"/>
                <a:gd name="T55" fmla="*/ 377 h 407"/>
                <a:gd name="T56" fmla="*/ 161 w 605"/>
                <a:gd name="T57" fmla="*/ 404 h 407"/>
                <a:gd name="T58" fmla="*/ 133 w 605"/>
                <a:gd name="T59" fmla="*/ 392 h 407"/>
                <a:gd name="T60" fmla="*/ 123 w 605"/>
                <a:gd name="T61" fmla="*/ 368 h 407"/>
                <a:gd name="T62" fmla="*/ 99 w 605"/>
                <a:gd name="T63" fmla="*/ 369 h 407"/>
                <a:gd name="T64" fmla="*/ 51 w 605"/>
                <a:gd name="T65" fmla="*/ 378 h 407"/>
                <a:gd name="T66" fmla="*/ 10 w 605"/>
                <a:gd name="T67" fmla="*/ 354 h 407"/>
                <a:gd name="T68" fmla="*/ 0 w 605"/>
                <a:gd name="T69" fmla="*/ 336 h 407"/>
                <a:gd name="T70" fmla="*/ 26 w 605"/>
                <a:gd name="T71" fmla="*/ 308 h 407"/>
                <a:gd name="T72" fmla="*/ 40 w 605"/>
                <a:gd name="T73" fmla="*/ 271 h 407"/>
                <a:gd name="T74" fmla="*/ 51 w 605"/>
                <a:gd name="T75" fmla="*/ 249 h 407"/>
                <a:gd name="T76" fmla="*/ 52 w 605"/>
                <a:gd name="T77" fmla="*/ 215 h 407"/>
                <a:gd name="T78" fmla="*/ 61 w 605"/>
                <a:gd name="T79" fmla="*/ 195 h 407"/>
                <a:gd name="T80" fmla="*/ 105 w 605"/>
                <a:gd name="T81" fmla="*/ 167 h 407"/>
                <a:gd name="T82" fmla="*/ 133 w 605"/>
                <a:gd name="T83" fmla="*/ 147 h 407"/>
                <a:gd name="T84" fmla="*/ 126 w 605"/>
                <a:gd name="T85" fmla="*/ 136 h 407"/>
                <a:gd name="T86" fmla="*/ 95 w 605"/>
                <a:gd name="T87" fmla="*/ 110 h 407"/>
                <a:gd name="T88" fmla="*/ 79 w 605"/>
                <a:gd name="T89" fmla="*/ 107 h 407"/>
                <a:gd name="T90" fmla="*/ 72 w 605"/>
                <a:gd name="T91" fmla="*/ 99 h 407"/>
                <a:gd name="T92" fmla="*/ 104 w 605"/>
                <a:gd name="T93" fmla="*/ 56 h 407"/>
                <a:gd name="T94" fmla="*/ 132 w 605"/>
                <a:gd name="T95" fmla="*/ 43 h 407"/>
                <a:gd name="T96" fmla="*/ 179 w 605"/>
                <a:gd name="T97" fmla="*/ 30 h 407"/>
                <a:gd name="T98" fmla="*/ 186 w 605"/>
                <a:gd name="T99" fmla="*/ 48 h 407"/>
                <a:gd name="T100" fmla="*/ 214 w 605"/>
                <a:gd name="T101" fmla="*/ 67 h 407"/>
                <a:gd name="T102" fmla="*/ 230 w 605"/>
                <a:gd name="T103" fmla="*/ 87 h 407"/>
                <a:gd name="T104" fmla="*/ 252 w 605"/>
                <a:gd name="T105" fmla="*/ 102 h 407"/>
                <a:gd name="T106" fmla="*/ 286 w 605"/>
                <a:gd name="T107" fmla="*/ 101 h 407"/>
                <a:gd name="T108" fmla="*/ 319 w 605"/>
                <a:gd name="T109" fmla="*/ 75 h 407"/>
                <a:gd name="T110" fmla="*/ 354 w 605"/>
                <a:gd name="T111" fmla="*/ 58 h 407"/>
                <a:gd name="T112" fmla="*/ 382 w 605"/>
                <a:gd name="T113" fmla="*/ 59 h 407"/>
                <a:gd name="T114" fmla="*/ 387 w 605"/>
                <a:gd name="T115" fmla="*/ 40 h 407"/>
                <a:gd name="T116" fmla="*/ 369 w 605"/>
                <a:gd name="T117" fmla="*/ 30 h 407"/>
                <a:gd name="T118" fmla="*/ 360 w 605"/>
                <a:gd name="T119" fmla="*/ 21 h 407"/>
                <a:gd name="T120" fmla="*/ 372 w 605"/>
                <a:gd name="T121" fmla="*/ 4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05" h="407">
                  <a:moveTo>
                    <a:pt x="383" y="0"/>
                  </a:moveTo>
                  <a:lnTo>
                    <a:pt x="386" y="0"/>
                  </a:lnTo>
                  <a:lnTo>
                    <a:pt x="388" y="1"/>
                  </a:lnTo>
                  <a:lnTo>
                    <a:pt x="389" y="1"/>
                  </a:lnTo>
                  <a:lnTo>
                    <a:pt x="390" y="1"/>
                  </a:lnTo>
                  <a:lnTo>
                    <a:pt x="390" y="2"/>
                  </a:lnTo>
                  <a:lnTo>
                    <a:pt x="391" y="2"/>
                  </a:lnTo>
                  <a:lnTo>
                    <a:pt x="392" y="2"/>
                  </a:lnTo>
                  <a:lnTo>
                    <a:pt x="392" y="3"/>
                  </a:lnTo>
                  <a:lnTo>
                    <a:pt x="394" y="4"/>
                  </a:lnTo>
                  <a:lnTo>
                    <a:pt x="398" y="7"/>
                  </a:lnTo>
                  <a:lnTo>
                    <a:pt x="406" y="13"/>
                  </a:lnTo>
                  <a:lnTo>
                    <a:pt x="410" y="16"/>
                  </a:lnTo>
                  <a:lnTo>
                    <a:pt x="413" y="19"/>
                  </a:lnTo>
                  <a:lnTo>
                    <a:pt x="415" y="22"/>
                  </a:lnTo>
                  <a:lnTo>
                    <a:pt x="416" y="23"/>
                  </a:lnTo>
                  <a:lnTo>
                    <a:pt x="418" y="26"/>
                  </a:lnTo>
                  <a:lnTo>
                    <a:pt x="419" y="28"/>
                  </a:lnTo>
                  <a:lnTo>
                    <a:pt x="426" y="41"/>
                  </a:lnTo>
                  <a:lnTo>
                    <a:pt x="426" y="45"/>
                  </a:lnTo>
                  <a:lnTo>
                    <a:pt x="428" y="52"/>
                  </a:lnTo>
                  <a:lnTo>
                    <a:pt x="429" y="54"/>
                  </a:lnTo>
                  <a:lnTo>
                    <a:pt x="430" y="56"/>
                  </a:lnTo>
                  <a:lnTo>
                    <a:pt x="431" y="58"/>
                  </a:lnTo>
                  <a:lnTo>
                    <a:pt x="433" y="61"/>
                  </a:lnTo>
                  <a:lnTo>
                    <a:pt x="435" y="64"/>
                  </a:lnTo>
                  <a:lnTo>
                    <a:pt x="437" y="66"/>
                  </a:lnTo>
                  <a:lnTo>
                    <a:pt x="438" y="68"/>
                  </a:lnTo>
                  <a:lnTo>
                    <a:pt x="440" y="69"/>
                  </a:lnTo>
                  <a:lnTo>
                    <a:pt x="444" y="71"/>
                  </a:lnTo>
                  <a:lnTo>
                    <a:pt x="446" y="72"/>
                  </a:lnTo>
                  <a:lnTo>
                    <a:pt x="448" y="73"/>
                  </a:lnTo>
                  <a:lnTo>
                    <a:pt x="455" y="76"/>
                  </a:lnTo>
                  <a:lnTo>
                    <a:pt x="467" y="80"/>
                  </a:lnTo>
                  <a:lnTo>
                    <a:pt x="470" y="81"/>
                  </a:lnTo>
                  <a:lnTo>
                    <a:pt x="472" y="81"/>
                  </a:lnTo>
                  <a:lnTo>
                    <a:pt x="473" y="81"/>
                  </a:lnTo>
                  <a:lnTo>
                    <a:pt x="476" y="81"/>
                  </a:lnTo>
                  <a:lnTo>
                    <a:pt x="477" y="80"/>
                  </a:lnTo>
                  <a:lnTo>
                    <a:pt x="479" y="80"/>
                  </a:lnTo>
                  <a:lnTo>
                    <a:pt x="480" y="79"/>
                  </a:lnTo>
                  <a:lnTo>
                    <a:pt x="482" y="79"/>
                  </a:lnTo>
                  <a:lnTo>
                    <a:pt x="486" y="75"/>
                  </a:lnTo>
                  <a:lnTo>
                    <a:pt x="488" y="74"/>
                  </a:lnTo>
                  <a:lnTo>
                    <a:pt x="490" y="73"/>
                  </a:lnTo>
                  <a:lnTo>
                    <a:pt x="491" y="72"/>
                  </a:lnTo>
                  <a:lnTo>
                    <a:pt x="493" y="72"/>
                  </a:lnTo>
                  <a:lnTo>
                    <a:pt x="494" y="72"/>
                  </a:lnTo>
                  <a:lnTo>
                    <a:pt x="495" y="71"/>
                  </a:lnTo>
                  <a:lnTo>
                    <a:pt x="497" y="71"/>
                  </a:lnTo>
                  <a:lnTo>
                    <a:pt x="499" y="72"/>
                  </a:lnTo>
                  <a:lnTo>
                    <a:pt x="502" y="72"/>
                  </a:lnTo>
                  <a:lnTo>
                    <a:pt x="506" y="74"/>
                  </a:lnTo>
                  <a:lnTo>
                    <a:pt x="507" y="74"/>
                  </a:lnTo>
                  <a:lnTo>
                    <a:pt x="508" y="75"/>
                  </a:lnTo>
                  <a:lnTo>
                    <a:pt x="509" y="76"/>
                  </a:lnTo>
                  <a:lnTo>
                    <a:pt x="511" y="77"/>
                  </a:lnTo>
                  <a:lnTo>
                    <a:pt x="513" y="79"/>
                  </a:lnTo>
                  <a:lnTo>
                    <a:pt x="516" y="82"/>
                  </a:lnTo>
                  <a:lnTo>
                    <a:pt x="520" y="90"/>
                  </a:lnTo>
                  <a:lnTo>
                    <a:pt x="523" y="92"/>
                  </a:lnTo>
                  <a:lnTo>
                    <a:pt x="525" y="94"/>
                  </a:lnTo>
                  <a:lnTo>
                    <a:pt x="526" y="95"/>
                  </a:lnTo>
                  <a:lnTo>
                    <a:pt x="528" y="96"/>
                  </a:lnTo>
                  <a:lnTo>
                    <a:pt x="529" y="98"/>
                  </a:lnTo>
                  <a:lnTo>
                    <a:pt x="533" y="99"/>
                  </a:lnTo>
                  <a:lnTo>
                    <a:pt x="547" y="102"/>
                  </a:lnTo>
                  <a:lnTo>
                    <a:pt x="550" y="103"/>
                  </a:lnTo>
                  <a:lnTo>
                    <a:pt x="552" y="105"/>
                  </a:lnTo>
                  <a:lnTo>
                    <a:pt x="556" y="106"/>
                  </a:lnTo>
                  <a:lnTo>
                    <a:pt x="559" y="108"/>
                  </a:lnTo>
                  <a:lnTo>
                    <a:pt x="561" y="109"/>
                  </a:lnTo>
                  <a:lnTo>
                    <a:pt x="563" y="111"/>
                  </a:lnTo>
                  <a:lnTo>
                    <a:pt x="563" y="112"/>
                  </a:lnTo>
                  <a:lnTo>
                    <a:pt x="565" y="113"/>
                  </a:lnTo>
                  <a:lnTo>
                    <a:pt x="567" y="115"/>
                  </a:lnTo>
                  <a:lnTo>
                    <a:pt x="568" y="117"/>
                  </a:lnTo>
                  <a:lnTo>
                    <a:pt x="570" y="122"/>
                  </a:lnTo>
                  <a:lnTo>
                    <a:pt x="574" y="130"/>
                  </a:lnTo>
                  <a:lnTo>
                    <a:pt x="575" y="134"/>
                  </a:lnTo>
                  <a:lnTo>
                    <a:pt x="577" y="136"/>
                  </a:lnTo>
                  <a:lnTo>
                    <a:pt x="579" y="139"/>
                  </a:lnTo>
                  <a:lnTo>
                    <a:pt x="580" y="141"/>
                  </a:lnTo>
                  <a:lnTo>
                    <a:pt x="582" y="144"/>
                  </a:lnTo>
                  <a:lnTo>
                    <a:pt x="585" y="147"/>
                  </a:lnTo>
                  <a:lnTo>
                    <a:pt x="587" y="149"/>
                  </a:lnTo>
                  <a:lnTo>
                    <a:pt x="591" y="153"/>
                  </a:lnTo>
                  <a:lnTo>
                    <a:pt x="595" y="156"/>
                  </a:lnTo>
                  <a:lnTo>
                    <a:pt x="597" y="158"/>
                  </a:lnTo>
                  <a:lnTo>
                    <a:pt x="601" y="160"/>
                  </a:lnTo>
                  <a:lnTo>
                    <a:pt x="603" y="162"/>
                  </a:lnTo>
                  <a:lnTo>
                    <a:pt x="604" y="162"/>
                  </a:lnTo>
                  <a:lnTo>
                    <a:pt x="605" y="162"/>
                  </a:lnTo>
                  <a:lnTo>
                    <a:pt x="604" y="162"/>
                  </a:lnTo>
                  <a:lnTo>
                    <a:pt x="604" y="164"/>
                  </a:lnTo>
                  <a:lnTo>
                    <a:pt x="603" y="165"/>
                  </a:lnTo>
                  <a:lnTo>
                    <a:pt x="603" y="166"/>
                  </a:lnTo>
                  <a:lnTo>
                    <a:pt x="603" y="167"/>
                  </a:lnTo>
                  <a:lnTo>
                    <a:pt x="600" y="170"/>
                  </a:lnTo>
                  <a:lnTo>
                    <a:pt x="593" y="180"/>
                  </a:lnTo>
                  <a:lnTo>
                    <a:pt x="588" y="186"/>
                  </a:lnTo>
                  <a:lnTo>
                    <a:pt x="585" y="190"/>
                  </a:lnTo>
                  <a:lnTo>
                    <a:pt x="582" y="193"/>
                  </a:lnTo>
                  <a:lnTo>
                    <a:pt x="579" y="196"/>
                  </a:lnTo>
                  <a:lnTo>
                    <a:pt x="574" y="200"/>
                  </a:lnTo>
                  <a:lnTo>
                    <a:pt x="573" y="201"/>
                  </a:lnTo>
                  <a:lnTo>
                    <a:pt x="571" y="203"/>
                  </a:lnTo>
                  <a:lnTo>
                    <a:pt x="563" y="206"/>
                  </a:lnTo>
                  <a:lnTo>
                    <a:pt x="561" y="208"/>
                  </a:lnTo>
                  <a:lnTo>
                    <a:pt x="558" y="210"/>
                  </a:lnTo>
                  <a:lnTo>
                    <a:pt x="548" y="217"/>
                  </a:lnTo>
                  <a:lnTo>
                    <a:pt x="545" y="220"/>
                  </a:lnTo>
                  <a:lnTo>
                    <a:pt x="542" y="221"/>
                  </a:lnTo>
                  <a:lnTo>
                    <a:pt x="540" y="223"/>
                  </a:lnTo>
                  <a:lnTo>
                    <a:pt x="536" y="225"/>
                  </a:lnTo>
                  <a:lnTo>
                    <a:pt x="534" y="225"/>
                  </a:lnTo>
                  <a:lnTo>
                    <a:pt x="529" y="226"/>
                  </a:lnTo>
                  <a:lnTo>
                    <a:pt x="527" y="226"/>
                  </a:lnTo>
                  <a:lnTo>
                    <a:pt x="525" y="228"/>
                  </a:lnTo>
                  <a:lnTo>
                    <a:pt x="520" y="231"/>
                  </a:lnTo>
                  <a:lnTo>
                    <a:pt x="518" y="231"/>
                  </a:lnTo>
                  <a:lnTo>
                    <a:pt x="517" y="232"/>
                  </a:lnTo>
                  <a:lnTo>
                    <a:pt x="516" y="232"/>
                  </a:lnTo>
                  <a:lnTo>
                    <a:pt x="515" y="232"/>
                  </a:lnTo>
                  <a:lnTo>
                    <a:pt x="507" y="231"/>
                  </a:lnTo>
                  <a:lnTo>
                    <a:pt x="502" y="231"/>
                  </a:lnTo>
                  <a:lnTo>
                    <a:pt x="492" y="230"/>
                  </a:lnTo>
                  <a:lnTo>
                    <a:pt x="489" y="229"/>
                  </a:lnTo>
                  <a:lnTo>
                    <a:pt x="486" y="229"/>
                  </a:lnTo>
                  <a:lnTo>
                    <a:pt x="483" y="228"/>
                  </a:lnTo>
                  <a:lnTo>
                    <a:pt x="475" y="225"/>
                  </a:lnTo>
                  <a:lnTo>
                    <a:pt x="470" y="223"/>
                  </a:lnTo>
                  <a:lnTo>
                    <a:pt x="467" y="222"/>
                  </a:lnTo>
                  <a:lnTo>
                    <a:pt x="464" y="220"/>
                  </a:lnTo>
                  <a:lnTo>
                    <a:pt x="451" y="212"/>
                  </a:lnTo>
                  <a:lnTo>
                    <a:pt x="449" y="211"/>
                  </a:lnTo>
                  <a:lnTo>
                    <a:pt x="446" y="210"/>
                  </a:lnTo>
                  <a:lnTo>
                    <a:pt x="442" y="208"/>
                  </a:lnTo>
                  <a:lnTo>
                    <a:pt x="438" y="207"/>
                  </a:lnTo>
                  <a:lnTo>
                    <a:pt x="435" y="206"/>
                  </a:lnTo>
                  <a:lnTo>
                    <a:pt x="433" y="205"/>
                  </a:lnTo>
                  <a:lnTo>
                    <a:pt x="431" y="205"/>
                  </a:lnTo>
                  <a:lnTo>
                    <a:pt x="430" y="205"/>
                  </a:lnTo>
                  <a:lnTo>
                    <a:pt x="428" y="205"/>
                  </a:lnTo>
                  <a:lnTo>
                    <a:pt x="427" y="206"/>
                  </a:lnTo>
                  <a:lnTo>
                    <a:pt x="426" y="207"/>
                  </a:lnTo>
                  <a:lnTo>
                    <a:pt x="426" y="208"/>
                  </a:lnTo>
                  <a:lnTo>
                    <a:pt x="422" y="215"/>
                  </a:lnTo>
                  <a:lnTo>
                    <a:pt x="420" y="217"/>
                  </a:lnTo>
                  <a:lnTo>
                    <a:pt x="414" y="226"/>
                  </a:lnTo>
                  <a:lnTo>
                    <a:pt x="412" y="228"/>
                  </a:lnTo>
                  <a:lnTo>
                    <a:pt x="409" y="231"/>
                  </a:lnTo>
                  <a:lnTo>
                    <a:pt x="407" y="235"/>
                  </a:lnTo>
                  <a:lnTo>
                    <a:pt x="406" y="237"/>
                  </a:lnTo>
                  <a:lnTo>
                    <a:pt x="405" y="238"/>
                  </a:lnTo>
                  <a:lnTo>
                    <a:pt x="404" y="240"/>
                  </a:lnTo>
                  <a:lnTo>
                    <a:pt x="404" y="242"/>
                  </a:lnTo>
                  <a:lnTo>
                    <a:pt x="404" y="244"/>
                  </a:lnTo>
                  <a:lnTo>
                    <a:pt x="404" y="247"/>
                  </a:lnTo>
                  <a:lnTo>
                    <a:pt x="404" y="249"/>
                  </a:lnTo>
                  <a:lnTo>
                    <a:pt x="404" y="252"/>
                  </a:lnTo>
                  <a:lnTo>
                    <a:pt x="405" y="255"/>
                  </a:lnTo>
                  <a:lnTo>
                    <a:pt x="407" y="262"/>
                  </a:lnTo>
                  <a:lnTo>
                    <a:pt x="408" y="265"/>
                  </a:lnTo>
                  <a:lnTo>
                    <a:pt x="409" y="269"/>
                  </a:lnTo>
                  <a:lnTo>
                    <a:pt x="409" y="272"/>
                  </a:lnTo>
                  <a:lnTo>
                    <a:pt x="409" y="272"/>
                  </a:lnTo>
                  <a:lnTo>
                    <a:pt x="409" y="274"/>
                  </a:lnTo>
                  <a:lnTo>
                    <a:pt x="408" y="277"/>
                  </a:lnTo>
                  <a:lnTo>
                    <a:pt x="407" y="280"/>
                  </a:lnTo>
                  <a:lnTo>
                    <a:pt x="404" y="285"/>
                  </a:lnTo>
                  <a:lnTo>
                    <a:pt x="404" y="289"/>
                  </a:lnTo>
                  <a:lnTo>
                    <a:pt x="404" y="290"/>
                  </a:lnTo>
                  <a:lnTo>
                    <a:pt x="404" y="292"/>
                  </a:lnTo>
                  <a:lnTo>
                    <a:pt x="404" y="293"/>
                  </a:lnTo>
                  <a:lnTo>
                    <a:pt x="404" y="293"/>
                  </a:lnTo>
                  <a:lnTo>
                    <a:pt x="404" y="294"/>
                  </a:lnTo>
                  <a:lnTo>
                    <a:pt x="399" y="298"/>
                  </a:lnTo>
                  <a:lnTo>
                    <a:pt x="395" y="303"/>
                  </a:lnTo>
                  <a:lnTo>
                    <a:pt x="393" y="304"/>
                  </a:lnTo>
                  <a:lnTo>
                    <a:pt x="392" y="305"/>
                  </a:lnTo>
                  <a:lnTo>
                    <a:pt x="392" y="305"/>
                  </a:lnTo>
                  <a:lnTo>
                    <a:pt x="387" y="304"/>
                  </a:lnTo>
                  <a:lnTo>
                    <a:pt x="385" y="304"/>
                  </a:lnTo>
                  <a:lnTo>
                    <a:pt x="382" y="304"/>
                  </a:lnTo>
                  <a:lnTo>
                    <a:pt x="381" y="304"/>
                  </a:lnTo>
                  <a:lnTo>
                    <a:pt x="375" y="306"/>
                  </a:lnTo>
                  <a:lnTo>
                    <a:pt x="373" y="306"/>
                  </a:lnTo>
                  <a:lnTo>
                    <a:pt x="371" y="305"/>
                  </a:lnTo>
                  <a:lnTo>
                    <a:pt x="369" y="305"/>
                  </a:lnTo>
                  <a:lnTo>
                    <a:pt x="367" y="304"/>
                  </a:lnTo>
                  <a:lnTo>
                    <a:pt x="364" y="302"/>
                  </a:lnTo>
                  <a:lnTo>
                    <a:pt x="361" y="300"/>
                  </a:lnTo>
                  <a:lnTo>
                    <a:pt x="360" y="299"/>
                  </a:lnTo>
                  <a:lnTo>
                    <a:pt x="359" y="297"/>
                  </a:lnTo>
                  <a:lnTo>
                    <a:pt x="355" y="292"/>
                  </a:lnTo>
                  <a:lnTo>
                    <a:pt x="351" y="286"/>
                  </a:lnTo>
                  <a:lnTo>
                    <a:pt x="350" y="284"/>
                  </a:lnTo>
                  <a:lnTo>
                    <a:pt x="348" y="283"/>
                  </a:lnTo>
                  <a:lnTo>
                    <a:pt x="347" y="283"/>
                  </a:lnTo>
                  <a:lnTo>
                    <a:pt x="346" y="282"/>
                  </a:lnTo>
                  <a:lnTo>
                    <a:pt x="344" y="284"/>
                  </a:lnTo>
                  <a:lnTo>
                    <a:pt x="342" y="290"/>
                  </a:lnTo>
                  <a:lnTo>
                    <a:pt x="339" y="294"/>
                  </a:lnTo>
                  <a:lnTo>
                    <a:pt x="338" y="297"/>
                  </a:lnTo>
                  <a:lnTo>
                    <a:pt x="335" y="306"/>
                  </a:lnTo>
                  <a:lnTo>
                    <a:pt x="333" y="310"/>
                  </a:lnTo>
                  <a:lnTo>
                    <a:pt x="331" y="314"/>
                  </a:lnTo>
                  <a:lnTo>
                    <a:pt x="329" y="316"/>
                  </a:lnTo>
                  <a:lnTo>
                    <a:pt x="327" y="318"/>
                  </a:lnTo>
                  <a:lnTo>
                    <a:pt x="325" y="321"/>
                  </a:lnTo>
                  <a:lnTo>
                    <a:pt x="324" y="322"/>
                  </a:lnTo>
                  <a:lnTo>
                    <a:pt x="322" y="324"/>
                  </a:lnTo>
                  <a:lnTo>
                    <a:pt x="320" y="325"/>
                  </a:lnTo>
                  <a:lnTo>
                    <a:pt x="318" y="326"/>
                  </a:lnTo>
                  <a:lnTo>
                    <a:pt x="312" y="329"/>
                  </a:lnTo>
                  <a:lnTo>
                    <a:pt x="301" y="336"/>
                  </a:lnTo>
                  <a:lnTo>
                    <a:pt x="296" y="339"/>
                  </a:lnTo>
                  <a:lnTo>
                    <a:pt x="291" y="341"/>
                  </a:lnTo>
                  <a:lnTo>
                    <a:pt x="281" y="350"/>
                  </a:lnTo>
                  <a:lnTo>
                    <a:pt x="279" y="351"/>
                  </a:lnTo>
                  <a:lnTo>
                    <a:pt x="278" y="351"/>
                  </a:lnTo>
                  <a:lnTo>
                    <a:pt x="276" y="352"/>
                  </a:lnTo>
                  <a:lnTo>
                    <a:pt x="274" y="353"/>
                  </a:lnTo>
                  <a:lnTo>
                    <a:pt x="267" y="356"/>
                  </a:lnTo>
                  <a:lnTo>
                    <a:pt x="265" y="357"/>
                  </a:lnTo>
                  <a:lnTo>
                    <a:pt x="259" y="360"/>
                  </a:lnTo>
                  <a:lnTo>
                    <a:pt x="256" y="362"/>
                  </a:lnTo>
                  <a:lnTo>
                    <a:pt x="255" y="362"/>
                  </a:lnTo>
                  <a:lnTo>
                    <a:pt x="253" y="362"/>
                  </a:lnTo>
                  <a:lnTo>
                    <a:pt x="250" y="363"/>
                  </a:lnTo>
                  <a:lnTo>
                    <a:pt x="248" y="363"/>
                  </a:lnTo>
                  <a:lnTo>
                    <a:pt x="245" y="363"/>
                  </a:lnTo>
                  <a:lnTo>
                    <a:pt x="241" y="363"/>
                  </a:lnTo>
                  <a:lnTo>
                    <a:pt x="237" y="363"/>
                  </a:lnTo>
                  <a:lnTo>
                    <a:pt x="231" y="365"/>
                  </a:lnTo>
                  <a:lnTo>
                    <a:pt x="225" y="365"/>
                  </a:lnTo>
                  <a:lnTo>
                    <a:pt x="223" y="366"/>
                  </a:lnTo>
                  <a:lnTo>
                    <a:pt x="221" y="367"/>
                  </a:lnTo>
                  <a:lnTo>
                    <a:pt x="216" y="369"/>
                  </a:lnTo>
                  <a:lnTo>
                    <a:pt x="213" y="369"/>
                  </a:lnTo>
                  <a:lnTo>
                    <a:pt x="210" y="370"/>
                  </a:lnTo>
                  <a:lnTo>
                    <a:pt x="207" y="370"/>
                  </a:lnTo>
                  <a:lnTo>
                    <a:pt x="205" y="370"/>
                  </a:lnTo>
                  <a:lnTo>
                    <a:pt x="203" y="370"/>
                  </a:lnTo>
                  <a:lnTo>
                    <a:pt x="200" y="371"/>
                  </a:lnTo>
                  <a:lnTo>
                    <a:pt x="199" y="371"/>
                  </a:lnTo>
                  <a:lnTo>
                    <a:pt x="199" y="372"/>
                  </a:lnTo>
                  <a:lnTo>
                    <a:pt x="198" y="373"/>
                  </a:lnTo>
                  <a:lnTo>
                    <a:pt x="196" y="374"/>
                  </a:lnTo>
                  <a:lnTo>
                    <a:pt x="195" y="375"/>
                  </a:lnTo>
                  <a:lnTo>
                    <a:pt x="193" y="377"/>
                  </a:lnTo>
                  <a:lnTo>
                    <a:pt x="189" y="385"/>
                  </a:lnTo>
                  <a:lnTo>
                    <a:pt x="188" y="386"/>
                  </a:lnTo>
                  <a:lnTo>
                    <a:pt x="187" y="388"/>
                  </a:lnTo>
                  <a:lnTo>
                    <a:pt x="185" y="390"/>
                  </a:lnTo>
                  <a:lnTo>
                    <a:pt x="184" y="391"/>
                  </a:lnTo>
                  <a:lnTo>
                    <a:pt x="182" y="393"/>
                  </a:lnTo>
                  <a:lnTo>
                    <a:pt x="180" y="394"/>
                  </a:lnTo>
                  <a:lnTo>
                    <a:pt x="172" y="397"/>
                  </a:lnTo>
                  <a:lnTo>
                    <a:pt x="161" y="404"/>
                  </a:lnTo>
                  <a:lnTo>
                    <a:pt x="158" y="405"/>
                  </a:lnTo>
                  <a:lnTo>
                    <a:pt x="156" y="406"/>
                  </a:lnTo>
                  <a:lnTo>
                    <a:pt x="153" y="407"/>
                  </a:lnTo>
                  <a:lnTo>
                    <a:pt x="149" y="407"/>
                  </a:lnTo>
                  <a:lnTo>
                    <a:pt x="146" y="407"/>
                  </a:lnTo>
                  <a:lnTo>
                    <a:pt x="142" y="407"/>
                  </a:lnTo>
                  <a:lnTo>
                    <a:pt x="136" y="407"/>
                  </a:lnTo>
                  <a:lnTo>
                    <a:pt x="135" y="399"/>
                  </a:lnTo>
                  <a:lnTo>
                    <a:pt x="133" y="392"/>
                  </a:lnTo>
                  <a:lnTo>
                    <a:pt x="131" y="384"/>
                  </a:lnTo>
                  <a:lnTo>
                    <a:pt x="131" y="380"/>
                  </a:lnTo>
                  <a:lnTo>
                    <a:pt x="130" y="378"/>
                  </a:lnTo>
                  <a:lnTo>
                    <a:pt x="129" y="376"/>
                  </a:lnTo>
                  <a:lnTo>
                    <a:pt x="128" y="374"/>
                  </a:lnTo>
                  <a:lnTo>
                    <a:pt x="127" y="373"/>
                  </a:lnTo>
                  <a:lnTo>
                    <a:pt x="125" y="371"/>
                  </a:lnTo>
                  <a:lnTo>
                    <a:pt x="124" y="369"/>
                  </a:lnTo>
                  <a:lnTo>
                    <a:pt x="123" y="368"/>
                  </a:lnTo>
                  <a:lnTo>
                    <a:pt x="122" y="367"/>
                  </a:lnTo>
                  <a:lnTo>
                    <a:pt x="120" y="366"/>
                  </a:lnTo>
                  <a:lnTo>
                    <a:pt x="119" y="365"/>
                  </a:lnTo>
                  <a:lnTo>
                    <a:pt x="118" y="365"/>
                  </a:lnTo>
                  <a:lnTo>
                    <a:pt x="116" y="365"/>
                  </a:lnTo>
                  <a:lnTo>
                    <a:pt x="115" y="365"/>
                  </a:lnTo>
                  <a:lnTo>
                    <a:pt x="111" y="365"/>
                  </a:lnTo>
                  <a:lnTo>
                    <a:pt x="104" y="367"/>
                  </a:lnTo>
                  <a:lnTo>
                    <a:pt x="99" y="369"/>
                  </a:lnTo>
                  <a:lnTo>
                    <a:pt x="87" y="373"/>
                  </a:lnTo>
                  <a:lnTo>
                    <a:pt x="81" y="375"/>
                  </a:lnTo>
                  <a:lnTo>
                    <a:pt x="75" y="377"/>
                  </a:lnTo>
                  <a:lnTo>
                    <a:pt x="70" y="380"/>
                  </a:lnTo>
                  <a:lnTo>
                    <a:pt x="67" y="381"/>
                  </a:lnTo>
                  <a:lnTo>
                    <a:pt x="65" y="381"/>
                  </a:lnTo>
                  <a:lnTo>
                    <a:pt x="62" y="380"/>
                  </a:lnTo>
                  <a:lnTo>
                    <a:pt x="55" y="379"/>
                  </a:lnTo>
                  <a:lnTo>
                    <a:pt x="51" y="378"/>
                  </a:lnTo>
                  <a:lnTo>
                    <a:pt x="48" y="377"/>
                  </a:lnTo>
                  <a:lnTo>
                    <a:pt x="43" y="375"/>
                  </a:lnTo>
                  <a:lnTo>
                    <a:pt x="35" y="372"/>
                  </a:lnTo>
                  <a:lnTo>
                    <a:pt x="31" y="370"/>
                  </a:lnTo>
                  <a:lnTo>
                    <a:pt x="29" y="368"/>
                  </a:lnTo>
                  <a:lnTo>
                    <a:pt x="28" y="367"/>
                  </a:lnTo>
                  <a:lnTo>
                    <a:pt x="22" y="362"/>
                  </a:lnTo>
                  <a:lnTo>
                    <a:pt x="20" y="361"/>
                  </a:lnTo>
                  <a:lnTo>
                    <a:pt x="10" y="354"/>
                  </a:lnTo>
                  <a:lnTo>
                    <a:pt x="8" y="352"/>
                  </a:lnTo>
                  <a:lnTo>
                    <a:pt x="6" y="350"/>
                  </a:lnTo>
                  <a:lnTo>
                    <a:pt x="5" y="348"/>
                  </a:lnTo>
                  <a:lnTo>
                    <a:pt x="3" y="346"/>
                  </a:lnTo>
                  <a:lnTo>
                    <a:pt x="2" y="343"/>
                  </a:lnTo>
                  <a:lnTo>
                    <a:pt x="1" y="340"/>
                  </a:lnTo>
                  <a:lnTo>
                    <a:pt x="0" y="338"/>
                  </a:lnTo>
                  <a:lnTo>
                    <a:pt x="0" y="337"/>
                  </a:lnTo>
                  <a:lnTo>
                    <a:pt x="0" y="336"/>
                  </a:lnTo>
                  <a:lnTo>
                    <a:pt x="1" y="335"/>
                  </a:lnTo>
                  <a:lnTo>
                    <a:pt x="1" y="334"/>
                  </a:lnTo>
                  <a:lnTo>
                    <a:pt x="2" y="334"/>
                  </a:lnTo>
                  <a:lnTo>
                    <a:pt x="5" y="332"/>
                  </a:lnTo>
                  <a:lnTo>
                    <a:pt x="6" y="330"/>
                  </a:lnTo>
                  <a:lnTo>
                    <a:pt x="9" y="327"/>
                  </a:lnTo>
                  <a:lnTo>
                    <a:pt x="17" y="318"/>
                  </a:lnTo>
                  <a:lnTo>
                    <a:pt x="23" y="311"/>
                  </a:lnTo>
                  <a:lnTo>
                    <a:pt x="26" y="308"/>
                  </a:lnTo>
                  <a:lnTo>
                    <a:pt x="28" y="304"/>
                  </a:lnTo>
                  <a:lnTo>
                    <a:pt x="30" y="301"/>
                  </a:lnTo>
                  <a:lnTo>
                    <a:pt x="32" y="296"/>
                  </a:lnTo>
                  <a:lnTo>
                    <a:pt x="35" y="291"/>
                  </a:lnTo>
                  <a:lnTo>
                    <a:pt x="37" y="286"/>
                  </a:lnTo>
                  <a:lnTo>
                    <a:pt x="39" y="280"/>
                  </a:lnTo>
                  <a:lnTo>
                    <a:pt x="40" y="278"/>
                  </a:lnTo>
                  <a:lnTo>
                    <a:pt x="40" y="273"/>
                  </a:lnTo>
                  <a:lnTo>
                    <a:pt x="40" y="271"/>
                  </a:lnTo>
                  <a:lnTo>
                    <a:pt x="41" y="269"/>
                  </a:lnTo>
                  <a:lnTo>
                    <a:pt x="42" y="266"/>
                  </a:lnTo>
                  <a:lnTo>
                    <a:pt x="43" y="263"/>
                  </a:lnTo>
                  <a:lnTo>
                    <a:pt x="44" y="261"/>
                  </a:lnTo>
                  <a:lnTo>
                    <a:pt x="45" y="260"/>
                  </a:lnTo>
                  <a:lnTo>
                    <a:pt x="49" y="255"/>
                  </a:lnTo>
                  <a:lnTo>
                    <a:pt x="50" y="253"/>
                  </a:lnTo>
                  <a:lnTo>
                    <a:pt x="51" y="251"/>
                  </a:lnTo>
                  <a:lnTo>
                    <a:pt x="51" y="249"/>
                  </a:lnTo>
                  <a:lnTo>
                    <a:pt x="52" y="244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4" y="236"/>
                  </a:lnTo>
                  <a:lnTo>
                    <a:pt x="55" y="226"/>
                  </a:lnTo>
                  <a:lnTo>
                    <a:pt x="55" y="223"/>
                  </a:lnTo>
                  <a:lnTo>
                    <a:pt x="55" y="221"/>
                  </a:lnTo>
                  <a:lnTo>
                    <a:pt x="54" y="219"/>
                  </a:lnTo>
                  <a:lnTo>
                    <a:pt x="52" y="215"/>
                  </a:lnTo>
                  <a:lnTo>
                    <a:pt x="52" y="214"/>
                  </a:lnTo>
                  <a:lnTo>
                    <a:pt x="52" y="213"/>
                  </a:lnTo>
                  <a:lnTo>
                    <a:pt x="52" y="211"/>
                  </a:lnTo>
                  <a:lnTo>
                    <a:pt x="52" y="208"/>
                  </a:lnTo>
                  <a:lnTo>
                    <a:pt x="53" y="205"/>
                  </a:lnTo>
                  <a:lnTo>
                    <a:pt x="55" y="203"/>
                  </a:lnTo>
                  <a:lnTo>
                    <a:pt x="57" y="200"/>
                  </a:lnTo>
                  <a:lnTo>
                    <a:pt x="59" y="197"/>
                  </a:lnTo>
                  <a:lnTo>
                    <a:pt x="61" y="195"/>
                  </a:lnTo>
                  <a:lnTo>
                    <a:pt x="62" y="194"/>
                  </a:lnTo>
                  <a:lnTo>
                    <a:pt x="64" y="192"/>
                  </a:lnTo>
                  <a:lnTo>
                    <a:pt x="75" y="185"/>
                  </a:lnTo>
                  <a:lnTo>
                    <a:pt x="79" y="182"/>
                  </a:lnTo>
                  <a:lnTo>
                    <a:pt x="82" y="181"/>
                  </a:lnTo>
                  <a:lnTo>
                    <a:pt x="92" y="176"/>
                  </a:lnTo>
                  <a:lnTo>
                    <a:pt x="95" y="174"/>
                  </a:lnTo>
                  <a:lnTo>
                    <a:pt x="97" y="172"/>
                  </a:lnTo>
                  <a:lnTo>
                    <a:pt x="105" y="167"/>
                  </a:lnTo>
                  <a:lnTo>
                    <a:pt x="111" y="162"/>
                  </a:lnTo>
                  <a:lnTo>
                    <a:pt x="113" y="161"/>
                  </a:lnTo>
                  <a:lnTo>
                    <a:pt x="118" y="157"/>
                  </a:lnTo>
                  <a:lnTo>
                    <a:pt x="119" y="155"/>
                  </a:lnTo>
                  <a:lnTo>
                    <a:pt x="121" y="154"/>
                  </a:lnTo>
                  <a:lnTo>
                    <a:pt x="123" y="153"/>
                  </a:lnTo>
                  <a:lnTo>
                    <a:pt x="131" y="149"/>
                  </a:lnTo>
                  <a:lnTo>
                    <a:pt x="132" y="148"/>
                  </a:lnTo>
                  <a:lnTo>
                    <a:pt x="133" y="147"/>
                  </a:lnTo>
                  <a:lnTo>
                    <a:pt x="134" y="147"/>
                  </a:lnTo>
                  <a:lnTo>
                    <a:pt x="134" y="146"/>
                  </a:lnTo>
                  <a:lnTo>
                    <a:pt x="135" y="145"/>
                  </a:lnTo>
                  <a:lnTo>
                    <a:pt x="135" y="144"/>
                  </a:lnTo>
                  <a:lnTo>
                    <a:pt x="135" y="143"/>
                  </a:lnTo>
                  <a:lnTo>
                    <a:pt x="134" y="142"/>
                  </a:lnTo>
                  <a:lnTo>
                    <a:pt x="133" y="141"/>
                  </a:lnTo>
                  <a:lnTo>
                    <a:pt x="130" y="138"/>
                  </a:lnTo>
                  <a:lnTo>
                    <a:pt x="126" y="136"/>
                  </a:lnTo>
                  <a:lnTo>
                    <a:pt x="124" y="135"/>
                  </a:lnTo>
                  <a:lnTo>
                    <a:pt x="118" y="132"/>
                  </a:lnTo>
                  <a:lnTo>
                    <a:pt x="114" y="130"/>
                  </a:lnTo>
                  <a:lnTo>
                    <a:pt x="111" y="128"/>
                  </a:lnTo>
                  <a:lnTo>
                    <a:pt x="109" y="126"/>
                  </a:lnTo>
                  <a:lnTo>
                    <a:pt x="107" y="124"/>
                  </a:lnTo>
                  <a:lnTo>
                    <a:pt x="102" y="119"/>
                  </a:lnTo>
                  <a:lnTo>
                    <a:pt x="97" y="112"/>
                  </a:lnTo>
                  <a:lnTo>
                    <a:pt x="95" y="110"/>
                  </a:lnTo>
                  <a:lnTo>
                    <a:pt x="93" y="109"/>
                  </a:lnTo>
                  <a:lnTo>
                    <a:pt x="92" y="108"/>
                  </a:lnTo>
                  <a:lnTo>
                    <a:pt x="91" y="108"/>
                  </a:lnTo>
                  <a:lnTo>
                    <a:pt x="90" y="107"/>
                  </a:lnTo>
                  <a:lnTo>
                    <a:pt x="89" y="107"/>
                  </a:lnTo>
                  <a:lnTo>
                    <a:pt x="86" y="107"/>
                  </a:lnTo>
                  <a:lnTo>
                    <a:pt x="82" y="108"/>
                  </a:lnTo>
                  <a:lnTo>
                    <a:pt x="80" y="108"/>
                  </a:lnTo>
                  <a:lnTo>
                    <a:pt x="79" y="107"/>
                  </a:lnTo>
                  <a:lnTo>
                    <a:pt x="77" y="107"/>
                  </a:lnTo>
                  <a:lnTo>
                    <a:pt x="76" y="107"/>
                  </a:lnTo>
                  <a:lnTo>
                    <a:pt x="75" y="106"/>
                  </a:lnTo>
                  <a:lnTo>
                    <a:pt x="74" y="105"/>
                  </a:lnTo>
                  <a:lnTo>
                    <a:pt x="73" y="104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72" y="101"/>
                  </a:lnTo>
                  <a:lnTo>
                    <a:pt x="72" y="99"/>
                  </a:lnTo>
                  <a:lnTo>
                    <a:pt x="72" y="97"/>
                  </a:lnTo>
                  <a:lnTo>
                    <a:pt x="73" y="95"/>
                  </a:lnTo>
                  <a:lnTo>
                    <a:pt x="74" y="93"/>
                  </a:lnTo>
                  <a:lnTo>
                    <a:pt x="77" y="89"/>
                  </a:lnTo>
                  <a:lnTo>
                    <a:pt x="81" y="83"/>
                  </a:lnTo>
                  <a:lnTo>
                    <a:pt x="88" y="74"/>
                  </a:lnTo>
                  <a:lnTo>
                    <a:pt x="94" y="68"/>
                  </a:lnTo>
                  <a:lnTo>
                    <a:pt x="101" y="59"/>
                  </a:lnTo>
                  <a:lnTo>
                    <a:pt x="104" y="56"/>
                  </a:lnTo>
                  <a:lnTo>
                    <a:pt x="107" y="53"/>
                  </a:lnTo>
                  <a:lnTo>
                    <a:pt x="109" y="51"/>
                  </a:lnTo>
                  <a:lnTo>
                    <a:pt x="112" y="49"/>
                  </a:lnTo>
                  <a:lnTo>
                    <a:pt x="115" y="47"/>
                  </a:lnTo>
                  <a:lnTo>
                    <a:pt x="119" y="45"/>
                  </a:lnTo>
                  <a:lnTo>
                    <a:pt x="122" y="45"/>
                  </a:lnTo>
                  <a:lnTo>
                    <a:pt x="126" y="44"/>
                  </a:lnTo>
                  <a:lnTo>
                    <a:pt x="130" y="43"/>
                  </a:lnTo>
                  <a:lnTo>
                    <a:pt x="132" y="43"/>
                  </a:lnTo>
                  <a:lnTo>
                    <a:pt x="141" y="42"/>
                  </a:lnTo>
                  <a:lnTo>
                    <a:pt x="144" y="41"/>
                  </a:lnTo>
                  <a:lnTo>
                    <a:pt x="150" y="40"/>
                  </a:lnTo>
                  <a:lnTo>
                    <a:pt x="154" y="39"/>
                  </a:lnTo>
                  <a:lnTo>
                    <a:pt x="162" y="36"/>
                  </a:lnTo>
                  <a:lnTo>
                    <a:pt x="167" y="34"/>
                  </a:lnTo>
                  <a:lnTo>
                    <a:pt x="171" y="34"/>
                  </a:lnTo>
                  <a:lnTo>
                    <a:pt x="178" y="30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79" y="31"/>
                  </a:lnTo>
                  <a:lnTo>
                    <a:pt x="179" y="33"/>
                  </a:lnTo>
                  <a:lnTo>
                    <a:pt x="180" y="34"/>
                  </a:lnTo>
                  <a:lnTo>
                    <a:pt x="181" y="37"/>
                  </a:lnTo>
                  <a:lnTo>
                    <a:pt x="182" y="42"/>
                  </a:lnTo>
                  <a:lnTo>
                    <a:pt x="183" y="45"/>
                  </a:lnTo>
                  <a:lnTo>
                    <a:pt x="184" y="46"/>
                  </a:lnTo>
                  <a:lnTo>
                    <a:pt x="186" y="48"/>
                  </a:lnTo>
                  <a:lnTo>
                    <a:pt x="188" y="51"/>
                  </a:lnTo>
                  <a:lnTo>
                    <a:pt x="189" y="53"/>
                  </a:lnTo>
                  <a:lnTo>
                    <a:pt x="192" y="55"/>
                  </a:lnTo>
                  <a:lnTo>
                    <a:pt x="194" y="56"/>
                  </a:lnTo>
                  <a:lnTo>
                    <a:pt x="197" y="58"/>
                  </a:lnTo>
                  <a:lnTo>
                    <a:pt x="199" y="60"/>
                  </a:lnTo>
                  <a:lnTo>
                    <a:pt x="202" y="61"/>
                  </a:lnTo>
                  <a:lnTo>
                    <a:pt x="210" y="65"/>
                  </a:lnTo>
                  <a:lnTo>
                    <a:pt x="214" y="67"/>
                  </a:lnTo>
                  <a:lnTo>
                    <a:pt x="217" y="68"/>
                  </a:lnTo>
                  <a:lnTo>
                    <a:pt x="220" y="70"/>
                  </a:lnTo>
                  <a:lnTo>
                    <a:pt x="222" y="72"/>
                  </a:lnTo>
                  <a:lnTo>
                    <a:pt x="223" y="75"/>
                  </a:lnTo>
                  <a:lnTo>
                    <a:pt x="224" y="78"/>
                  </a:lnTo>
                  <a:lnTo>
                    <a:pt x="227" y="82"/>
                  </a:lnTo>
                  <a:lnTo>
                    <a:pt x="228" y="84"/>
                  </a:lnTo>
                  <a:lnTo>
                    <a:pt x="229" y="85"/>
                  </a:lnTo>
                  <a:lnTo>
                    <a:pt x="230" y="87"/>
                  </a:lnTo>
                  <a:lnTo>
                    <a:pt x="232" y="88"/>
                  </a:lnTo>
                  <a:lnTo>
                    <a:pt x="233" y="90"/>
                  </a:lnTo>
                  <a:lnTo>
                    <a:pt x="235" y="92"/>
                  </a:lnTo>
                  <a:lnTo>
                    <a:pt x="238" y="94"/>
                  </a:lnTo>
                  <a:lnTo>
                    <a:pt x="242" y="97"/>
                  </a:lnTo>
                  <a:lnTo>
                    <a:pt x="245" y="99"/>
                  </a:lnTo>
                  <a:lnTo>
                    <a:pt x="247" y="100"/>
                  </a:lnTo>
                  <a:lnTo>
                    <a:pt x="249" y="102"/>
                  </a:lnTo>
                  <a:lnTo>
                    <a:pt x="252" y="102"/>
                  </a:lnTo>
                  <a:lnTo>
                    <a:pt x="254" y="103"/>
                  </a:lnTo>
                  <a:lnTo>
                    <a:pt x="256" y="103"/>
                  </a:lnTo>
                  <a:lnTo>
                    <a:pt x="259" y="104"/>
                  </a:lnTo>
                  <a:lnTo>
                    <a:pt x="262" y="104"/>
                  </a:lnTo>
                  <a:lnTo>
                    <a:pt x="264" y="104"/>
                  </a:lnTo>
                  <a:lnTo>
                    <a:pt x="268" y="103"/>
                  </a:lnTo>
                  <a:lnTo>
                    <a:pt x="278" y="102"/>
                  </a:lnTo>
                  <a:lnTo>
                    <a:pt x="283" y="101"/>
                  </a:lnTo>
                  <a:lnTo>
                    <a:pt x="286" y="101"/>
                  </a:lnTo>
                  <a:lnTo>
                    <a:pt x="288" y="100"/>
                  </a:lnTo>
                  <a:lnTo>
                    <a:pt x="290" y="99"/>
                  </a:lnTo>
                  <a:lnTo>
                    <a:pt x="292" y="97"/>
                  </a:lnTo>
                  <a:lnTo>
                    <a:pt x="296" y="95"/>
                  </a:lnTo>
                  <a:lnTo>
                    <a:pt x="300" y="92"/>
                  </a:lnTo>
                  <a:lnTo>
                    <a:pt x="303" y="89"/>
                  </a:lnTo>
                  <a:lnTo>
                    <a:pt x="313" y="80"/>
                  </a:lnTo>
                  <a:lnTo>
                    <a:pt x="315" y="77"/>
                  </a:lnTo>
                  <a:lnTo>
                    <a:pt x="319" y="75"/>
                  </a:lnTo>
                  <a:lnTo>
                    <a:pt x="323" y="72"/>
                  </a:lnTo>
                  <a:lnTo>
                    <a:pt x="326" y="69"/>
                  </a:lnTo>
                  <a:lnTo>
                    <a:pt x="331" y="67"/>
                  </a:lnTo>
                  <a:lnTo>
                    <a:pt x="334" y="66"/>
                  </a:lnTo>
                  <a:lnTo>
                    <a:pt x="340" y="64"/>
                  </a:lnTo>
                  <a:lnTo>
                    <a:pt x="347" y="60"/>
                  </a:lnTo>
                  <a:lnTo>
                    <a:pt x="350" y="59"/>
                  </a:lnTo>
                  <a:lnTo>
                    <a:pt x="352" y="58"/>
                  </a:lnTo>
                  <a:lnTo>
                    <a:pt x="354" y="58"/>
                  </a:lnTo>
                  <a:lnTo>
                    <a:pt x="357" y="58"/>
                  </a:lnTo>
                  <a:lnTo>
                    <a:pt x="358" y="58"/>
                  </a:lnTo>
                  <a:lnTo>
                    <a:pt x="359" y="58"/>
                  </a:lnTo>
                  <a:lnTo>
                    <a:pt x="366" y="58"/>
                  </a:lnTo>
                  <a:lnTo>
                    <a:pt x="370" y="59"/>
                  </a:lnTo>
                  <a:lnTo>
                    <a:pt x="375" y="59"/>
                  </a:lnTo>
                  <a:lnTo>
                    <a:pt x="379" y="59"/>
                  </a:lnTo>
                  <a:lnTo>
                    <a:pt x="381" y="59"/>
                  </a:lnTo>
                  <a:lnTo>
                    <a:pt x="382" y="59"/>
                  </a:lnTo>
                  <a:lnTo>
                    <a:pt x="384" y="58"/>
                  </a:lnTo>
                  <a:lnTo>
                    <a:pt x="385" y="58"/>
                  </a:lnTo>
                  <a:lnTo>
                    <a:pt x="386" y="56"/>
                  </a:lnTo>
                  <a:lnTo>
                    <a:pt x="387" y="55"/>
                  </a:lnTo>
                  <a:lnTo>
                    <a:pt x="388" y="52"/>
                  </a:lnTo>
                  <a:lnTo>
                    <a:pt x="388" y="49"/>
                  </a:lnTo>
                  <a:lnTo>
                    <a:pt x="388" y="45"/>
                  </a:lnTo>
                  <a:lnTo>
                    <a:pt x="387" y="43"/>
                  </a:lnTo>
                  <a:lnTo>
                    <a:pt x="387" y="40"/>
                  </a:lnTo>
                  <a:lnTo>
                    <a:pt x="386" y="39"/>
                  </a:lnTo>
                  <a:lnTo>
                    <a:pt x="385" y="38"/>
                  </a:lnTo>
                  <a:lnTo>
                    <a:pt x="384" y="36"/>
                  </a:lnTo>
                  <a:lnTo>
                    <a:pt x="383" y="34"/>
                  </a:lnTo>
                  <a:lnTo>
                    <a:pt x="381" y="34"/>
                  </a:lnTo>
                  <a:lnTo>
                    <a:pt x="379" y="33"/>
                  </a:lnTo>
                  <a:lnTo>
                    <a:pt x="377" y="32"/>
                  </a:lnTo>
                  <a:lnTo>
                    <a:pt x="375" y="31"/>
                  </a:lnTo>
                  <a:lnTo>
                    <a:pt x="369" y="30"/>
                  </a:lnTo>
                  <a:lnTo>
                    <a:pt x="368" y="30"/>
                  </a:lnTo>
                  <a:lnTo>
                    <a:pt x="366" y="29"/>
                  </a:lnTo>
                  <a:lnTo>
                    <a:pt x="365" y="28"/>
                  </a:lnTo>
                  <a:lnTo>
                    <a:pt x="363" y="28"/>
                  </a:lnTo>
                  <a:lnTo>
                    <a:pt x="362" y="26"/>
                  </a:lnTo>
                  <a:lnTo>
                    <a:pt x="361" y="24"/>
                  </a:lnTo>
                  <a:lnTo>
                    <a:pt x="360" y="22"/>
                  </a:lnTo>
                  <a:lnTo>
                    <a:pt x="360" y="22"/>
                  </a:lnTo>
                  <a:lnTo>
                    <a:pt x="360" y="21"/>
                  </a:lnTo>
                  <a:lnTo>
                    <a:pt x="360" y="19"/>
                  </a:lnTo>
                  <a:lnTo>
                    <a:pt x="361" y="18"/>
                  </a:lnTo>
                  <a:lnTo>
                    <a:pt x="361" y="15"/>
                  </a:lnTo>
                  <a:lnTo>
                    <a:pt x="362" y="13"/>
                  </a:lnTo>
                  <a:lnTo>
                    <a:pt x="364" y="11"/>
                  </a:lnTo>
                  <a:lnTo>
                    <a:pt x="366" y="9"/>
                  </a:lnTo>
                  <a:lnTo>
                    <a:pt x="368" y="7"/>
                  </a:lnTo>
                  <a:lnTo>
                    <a:pt x="370" y="5"/>
                  </a:lnTo>
                  <a:lnTo>
                    <a:pt x="372" y="4"/>
                  </a:lnTo>
                  <a:lnTo>
                    <a:pt x="375" y="2"/>
                  </a:lnTo>
                  <a:lnTo>
                    <a:pt x="378" y="1"/>
                  </a:lnTo>
                  <a:lnTo>
                    <a:pt x="381" y="0"/>
                  </a:lnTo>
                  <a:lnTo>
                    <a:pt x="383" y="0"/>
                  </a:lnTo>
                  <a:close/>
                </a:path>
              </a:pathLst>
            </a:custGeom>
            <a:solidFill>
              <a:srgbClr val="A2A2A2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0" name="Freeform 83">
              <a:extLst>
                <a:ext uri="{FF2B5EF4-FFF2-40B4-BE49-F238E27FC236}">
                  <a16:creationId xmlns:a16="http://schemas.microsoft.com/office/drawing/2014/main" id="{ED7F130E-61AD-4E5A-AF8F-FFAF30D48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6" y="2274"/>
              <a:ext cx="274" cy="259"/>
            </a:xfrm>
            <a:custGeom>
              <a:avLst/>
              <a:gdLst>
                <a:gd name="T0" fmla="*/ 202 w 274"/>
                <a:gd name="T1" fmla="*/ 5 h 259"/>
                <a:gd name="T2" fmla="*/ 195 w 274"/>
                <a:gd name="T3" fmla="*/ 25 h 259"/>
                <a:gd name="T4" fmla="*/ 195 w 274"/>
                <a:gd name="T5" fmla="*/ 38 h 259"/>
                <a:gd name="T6" fmla="*/ 207 w 274"/>
                <a:gd name="T7" fmla="*/ 41 h 259"/>
                <a:gd name="T8" fmla="*/ 216 w 274"/>
                <a:gd name="T9" fmla="*/ 45 h 259"/>
                <a:gd name="T10" fmla="*/ 225 w 274"/>
                <a:gd name="T11" fmla="*/ 68 h 259"/>
                <a:gd name="T12" fmla="*/ 235 w 274"/>
                <a:gd name="T13" fmla="*/ 90 h 259"/>
                <a:gd name="T14" fmla="*/ 243 w 274"/>
                <a:gd name="T15" fmla="*/ 112 h 259"/>
                <a:gd name="T16" fmla="*/ 253 w 274"/>
                <a:gd name="T17" fmla="*/ 116 h 259"/>
                <a:gd name="T18" fmla="*/ 264 w 274"/>
                <a:gd name="T19" fmla="*/ 122 h 259"/>
                <a:gd name="T20" fmla="*/ 267 w 274"/>
                <a:gd name="T21" fmla="*/ 135 h 259"/>
                <a:gd name="T22" fmla="*/ 272 w 274"/>
                <a:gd name="T23" fmla="*/ 149 h 259"/>
                <a:gd name="T24" fmla="*/ 273 w 274"/>
                <a:gd name="T25" fmla="*/ 161 h 259"/>
                <a:gd name="T26" fmla="*/ 266 w 274"/>
                <a:gd name="T27" fmla="*/ 183 h 259"/>
                <a:gd name="T28" fmla="*/ 258 w 274"/>
                <a:gd name="T29" fmla="*/ 195 h 259"/>
                <a:gd name="T30" fmla="*/ 234 w 274"/>
                <a:gd name="T31" fmla="*/ 201 h 259"/>
                <a:gd name="T32" fmla="*/ 228 w 274"/>
                <a:gd name="T33" fmla="*/ 191 h 259"/>
                <a:gd name="T34" fmla="*/ 222 w 274"/>
                <a:gd name="T35" fmla="*/ 181 h 259"/>
                <a:gd name="T36" fmla="*/ 216 w 274"/>
                <a:gd name="T37" fmla="*/ 191 h 259"/>
                <a:gd name="T38" fmla="*/ 204 w 274"/>
                <a:gd name="T39" fmla="*/ 195 h 259"/>
                <a:gd name="T40" fmla="*/ 184 w 274"/>
                <a:gd name="T41" fmla="*/ 196 h 259"/>
                <a:gd name="T42" fmla="*/ 172 w 274"/>
                <a:gd name="T43" fmla="*/ 203 h 259"/>
                <a:gd name="T44" fmla="*/ 162 w 274"/>
                <a:gd name="T45" fmla="*/ 216 h 259"/>
                <a:gd name="T46" fmla="*/ 155 w 274"/>
                <a:gd name="T47" fmla="*/ 215 h 259"/>
                <a:gd name="T48" fmla="*/ 137 w 274"/>
                <a:gd name="T49" fmla="*/ 209 h 259"/>
                <a:gd name="T50" fmla="*/ 133 w 274"/>
                <a:gd name="T51" fmla="*/ 212 h 259"/>
                <a:gd name="T52" fmla="*/ 136 w 274"/>
                <a:gd name="T53" fmla="*/ 225 h 259"/>
                <a:gd name="T54" fmla="*/ 134 w 274"/>
                <a:gd name="T55" fmla="*/ 236 h 259"/>
                <a:gd name="T56" fmla="*/ 117 w 274"/>
                <a:gd name="T57" fmla="*/ 258 h 259"/>
                <a:gd name="T58" fmla="*/ 113 w 274"/>
                <a:gd name="T59" fmla="*/ 257 h 259"/>
                <a:gd name="T60" fmla="*/ 91 w 274"/>
                <a:gd name="T61" fmla="*/ 234 h 259"/>
                <a:gd name="T62" fmla="*/ 80 w 274"/>
                <a:gd name="T63" fmla="*/ 225 h 259"/>
                <a:gd name="T64" fmla="*/ 79 w 274"/>
                <a:gd name="T65" fmla="*/ 218 h 259"/>
                <a:gd name="T66" fmla="*/ 91 w 274"/>
                <a:gd name="T67" fmla="*/ 197 h 259"/>
                <a:gd name="T68" fmla="*/ 91 w 274"/>
                <a:gd name="T69" fmla="*/ 191 h 259"/>
                <a:gd name="T70" fmla="*/ 77 w 274"/>
                <a:gd name="T71" fmla="*/ 183 h 259"/>
                <a:gd name="T72" fmla="*/ 47 w 274"/>
                <a:gd name="T73" fmla="*/ 176 h 259"/>
                <a:gd name="T74" fmla="*/ 23 w 274"/>
                <a:gd name="T75" fmla="*/ 169 h 259"/>
                <a:gd name="T76" fmla="*/ 16 w 274"/>
                <a:gd name="T77" fmla="*/ 162 h 259"/>
                <a:gd name="T78" fmla="*/ 5 w 274"/>
                <a:gd name="T79" fmla="*/ 133 h 259"/>
                <a:gd name="T80" fmla="*/ 0 w 274"/>
                <a:gd name="T81" fmla="*/ 127 h 259"/>
                <a:gd name="T82" fmla="*/ 4 w 274"/>
                <a:gd name="T83" fmla="*/ 111 h 259"/>
                <a:gd name="T84" fmla="*/ 3 w 274"/>
                <a:gd name="T85" fmla="*/ 96 h 259"/>
                <a:gd name="T86" fmla="*/ 0 w 274"/>
                <a:gd name="T87" fmla="*/ 76 h 259"/>
                <a:gd name="T88" fmla="*/ 8 w 274"/>
                <a:gd name="T89" fmla="*/ 62 h 259"/>
                <a:gd name="T90" fmla="*/ 23 w 274"/>
                <a:gd name="T91" fmla="*/ 40 h 259"/>
                <a:gd name="T92" fmla="*/ 34 w 274"/>
                <a:gd name="T93" fmla="*/ 41 h 259"/>
                <a:gd name="T94" fmla="*/ 63 w 274"/>
                <a:gd name="T95" fmla="*/ 56 h 259"/>
                <a:gd name="T96" fmla="*/ 88 w 274"/>
                <a:gd name="T97" fmla="*/ 64 h 259"/>
                <a:gd name="T98" fmla="*/ 114 w 274"/>
                <a:gd name="T99" fmla="*/ 65 h 259"/>
                <a:gd name="T100" fmla="*/ 132 w 274"/>
                <a:gd name="T101" fmla="*/ 59 h 259"/>
                <a:gd name="T102" fmla="*/ 157 w 274"/>
                <a:gd name="T103" fmla="*/ 42 h 259"/>
                <a:gd name="T104" fmla="*/ 178 w 274"/>
                <a:gd name="T105" fmla="*/ 27 h 259"/>
                <a:gd name="T106" fmla="*/ 199 w 274"/>
                <a:gd name="T107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4" h="259">
                  <a:moveTo>
                    <a:pt x="199" y="0"/>
                  </a:moveTo>
                  <a:lnTo>
                    <a:pt x="199" y="1"/>
                  </a:lnTo>
                  <a:lnTo>
                    <a:pt x="199" y="2"/>
                  </a:lnTo>
                  <a:lnTo>
                    <a:pt x="200" y="3"/>
                  </a:lnTo>
                  <a:lnTo>
                    <a:pt x="201" y="4"/>
                  </a:lnTo>
                  <a:lnTo>
                    <a:pt x="202" y="5"/>
                  </a:lnTo>
                  <a:lnTo>
                    <a:pt x="203" y="6"/>
                  </a:lnTo>
                  <a:lnTo>
                    <a:pt x="203" y="7"/>
                  </a:lnTo>
                  <a:lnTo>
                    <a:pt x="203" y="7"/>
                  </a:lnTo>
                  <a:lnTo>
                    <a:pt x="203" y="9"/>
                  </a:lnTo>
                  <a:lnTo>
                    <a:pt x="196" y="22"/>
                  </a:lnTo>
                  <a:lnTo>
                    <a:pt x="195" y="25"/>
                  </a:lnTo>
                  <a:lnTo>
                    <a:pt x="194" y="27"/>
                  </a:lnTo>
                  <a:lnTo>
                    <a:pt x="193" y="30"/>
                  </a:lnTo>
                  <a:lnTo>
                    <a:pt x="193" y="33"/>
                  </a:lnTo>
                  <a:lnTo>
                    <a:pt x="193" y="36"/>
                  </a:lnTo>
                  <a:lnTo>
                    <a:pt x="194" y="38"/>
                  </a:lnTo>
                  <a:lnTo>
                    <a:pt x="195" y="38"/>
                  </a:lnTo>
                  <a:lnTo>
                    <a:pt x="196" y="40"/>
                  </a:lnTo>
                  <a:lnTo>
                    <a:pt x="197" y="41"/>
                  </a:lnTo>
                  <a:lnTo>
                    <a:pt x="198" y="41"/>
                  </a:lnTo>
                  <a:lnTo>
                    <a:pt x="199" y="42"/>
                  </a:lnTo>
                  <a:lnTo>
                    <a:pt x="201" y="42"/>
                  </a:lnTo>
                  <a:lnTo>
                    <a:pt x="207" y="41"/>
                  </a:lnTo>
                  <a:lnTo>
                    <a:pt x="208" y="41"/>
                  </a:lnTo>
                  <a:lnTo>
                    <a:pt x="211" y="41"/>
                  </a:lnTo>
                  <a:lnTo>
                    <a:pt x="212" y="41"/>
                  </a:lnTo>
                  <a:lnTo>
                    <a:pt x="214" y="42"/>
                  </a:lnTo>
                  <a:lnTo>
                    <a:pt x="215" y="43"/>
                  </a:lnTo>
                  <a:lnTo>
                    <a:pt x="216" y="45"/>
                  </a:lnTo>
                  <a:lnTo>
                    <a:pt x="217" y="47"/>
                  </a:lnTo>
                  <a:lnTo>
                    <a:pt x="219" y="49"/>
                  </a:lnTo>
                  <a:lnTo>
                    <a:pt x="220" y="50"/>
                  </a:lnTo>
                  <a:lnTo>
                    <a:pt x="221" y="53"/>
                  </a:lnTo>
                  <a:lnTo>
                    <a:pt x="222" y="58"/>
                  </a:lnTo>
                  <a:lnTo>
                    <a:pt x="225" y="68"/>
                  </a:lnTo>
                  <a:lnTo>
                    <a:pt x="226" y="72"/>
                  </a:lnTo>
                  <a:lnTo>
                    <a:pt x="227" y="73"/>
                  </a:lnTo>
                  <a:lnTo>
                    <a:pt x="227" y="75"/>
                  </a:lnTo>
                  <a:lnTo>
                    <a:pt x="232" y="83"/>
                  </a:lnTo>
                  <a:lnTo>
                    <a:pt x="234" y="87"/>
                  </a:lnTo>
                  <a:lnTo>
                    <a:pt x="235" y="90"/>
                  </a:lnTo>
                  <a:lnTo>
                    <a:pt x="236" y="93"/>
                  </a:lnTo>
                  <a:lnTo>
                    <a:pt x="238" y="102"/>
                  </a:lnTo>
                  <a:lnTo>
                    <a:pt x="238" y="105"/>
                  </a:lnTo>
                  <a:lnTo>
                    <a:pt x="239" y="107"/>
                  </a:lnTo>
                  <a:lnTo>
                    <a:pt x="241" y="110"/>
                  </a:lnTo>
                  <a:lnTo>
                    <a:pt x="243" y="112"/>
                  </a:lnTo>
                  <a:lnTo>
                    <a:pt x="244" y="114"/>
                  </a:lnTo>
                  <a:lnTo>
                    <a:pt x="245" y="115"/>
                  </a:lnTo>
                  <a:lnTo>
                    <a:pt x="247" y="116"/>
                  </a:lnTo>
                  <a:lnTo>
                    <a:pt x="248" y="116"/>
                  </a:lnTo>
                  <a:lnTo>
                    <a:pt x="249" y="116"/>
                  </a:lnTo>
                  <a:lnTo>
                    <a:pt x="253" y="116"/>
                  </a:lnTo>
                  <a:lnTo>
                    <a:pt x="255" y="116"/>
                  </a:lnTo>
                  <a:lnTo>
                    <a:pt x="257" y="117"/>
                  </a:lnTo>
                  <a:lnTo>
                    <a:pt x="259" y="117"/>
                  </a:lnTo>
                  <a:lnTo>
                    <a:pt x="261" y="118"/>
                  </a:lnTo>
                  <a:lnTo>
                    <a:pt x="262" y="120"/>
                  </a:lnTo>
                  <a:lnTo>
                    <a:pt x="264" y="122"/>
                  </a:lnTo>
                  <a:lnTo>
                    <a:pt x="265" y="124"/>
                  </a:lnTo>
                  <a:lnTo>
                    <a:pt x="266" y="126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7" y="133"/>
                  </a:lnTo>
                  <a:lnTo>
                    <a:pt x="267" y="135"/>
                  </a:lnTo>
                  <a:lnTo>
                    <a:pt x="268" y="137"/>
                  </a:lnTo>
                  <a:lnTo>
                    <a:pt x="269" y="140"/>
                  </a:lnTo>
                  <a:lnTo>
                    <a:pt x="269" y="142"/>
                  </a:lnTo>
                  <a:lnTo>
                    <a:pt x="270" y="144"/>
                  </a:lnTo>
                  <a:lnTo>
                    <a:pt x="271" y="145"/>
                  </a:lnTo>
                  <a:lnTo>
                    <a:pt x="272" y="149"/>
                  </a:lnTo>
                  <a:lnTo>
                    <a:pt x="273" y="150"/>
                  </a:lnTo>
                  <a:lnTo>
                    <a:pt x="274" y="151"/>
                  </a:lnTo>
                  <a:lnTo>
                    <a:pt x="274" y="153"/>
                  </a:lnTo>
                  <a:lnTo>
                    <a:pt x="274" y="154"/>
                  </a:lnTo>
                  <a:lnTo>
                    <a:pt x="274" y="156"/>
                  </a:lnTo>
                  <a:lnTo>
                    <a:pt x="273" y="161"/>
                  </a:lnTo>
                  <a:lnTo>
                    <a:pt x="272" y="162"/>
                  </a:lnTo>
                  <a:lnTo>
                    <a:pt x="271" y="169"/>
                  </a:lnTo>
                  <a:lnTo>
                    <a:pt x="269" y="179"/>
                  </a:lnTo>
                  <a:lnTo>
                    <a:pt x="268" y="180"/>
                  </a:lnTo>
                  <a:lnTo>
                    <a:pt x="268" y="181"/>
                  </a:lnTo>
                  <a:lnTo>
                    <a:pt x="266" y="183"/>
                  </a:lnTo>
                  <a:lnTo>
                    <a:pt x="263" y="188"/>
                  </a:lnTo>
                  <a:lnTo>
                    <a:pt x="261" y="191"/>
                  </a:lnTo>
                  <a:lnTo>
                    <a:pt x="261" y="193"/>
                  </a:lnTo>
                  <a:lnTo>
                    <a:pt x="260" y="194"/>
                  </a:lnTo>
                  <a:lnTo>
                    <a:pt x="259" y="194"/>
                  </a:lnTo>
                  <a:lnTo>
                    <a:pt x="258" y="195"/>
                  </a:lnTo>
                  <a:lnTo>
                    <a:pt x="256" y="196"/>
                  </a:lnTo>
                  <a:lnTo>
                    <a:pt x="247" y="198"/>
                  </a:lnTo>
                  <a:lnTo>
                    <a:pt x="242" y="201"/>
                  </a:lnTo>
                  <a:lnTo>
                    <a:pt x="239" y="201"/>
                  </a:lnTo>
                  <a:lnTo>
                    <a:pt x="237" y="202"/>
                  </a:lnTo>
                  <a:lnTo>
                    <a:pt x="234" y="201"/>
                  </a:lnTo>
                  <a:lnTo>
                    <a:pt x="233" y="201"/>
                  </a:lnTo>
                  <a:lnTo>
                    <a:pt x="231" y="200"/>
                  </a:lnTo>
                  <a:lnTo>
                    <a:pt x="230" y="199"/>
                  </a:lnTo>
                  <a:lnTo>
                    <a:pt x="230" y="198"/>
                  </a:lnTo>
                  <a:lnTo>
                    <a:pt x="229" y="197"/>
                  </a:lnTo>
                  <a:lnTo>
                    <a:pt x="228" y="191"/>
                  </a:lnTo>
                  <a:lnTo>
                    <a:pt x="228" y="189"/>
                  </a:lnTo>
                  <a:lnTo>
                    <a:pt x="227" y="186"/>
                  </a:lnTo>
                  <a:lnTo>
                    <a:pt x="227" y="185"/>
                  </a:lnTo>
                  <a:lnTo>
                    <a:pt x="225" y="183"/>
                  </a:lnTo>
                  <a:lnTo>
                    <a:pt x="224" y="182"/>
                  </a:lnTo>
                  <a:lnTo>
                    <a:pt x="222" y="181"/>
                  </a:lnTo>
                  <a:lnTo>
                    <a:pt x="222" y="183"/>
                  </a:lnTo>
                  <a:lnTo>
                    <a:pt x="221" y="185"/>
                  </a:lnTo>
                  <a:lnTo>
                    <a:pt x="220" y="187"/>
                  </a:lnTo>
                  <a:lnTo>
                    <a:pt x="219" y="189"/>
                  </a:lnTo>
                  <a:lnTo>
                    <a:pt x="218" y="190"/>
                  </a:lnTo>
                  <a:lnTo>
                    <a:pt x="216" y="191"/>
                  </a:lnTo>
                  <a:lnTo>
                    <a:pt x="215" y="193"/>
                  </a:lnTo>
                  <a:lnTo>
                    <a:pt x="213" y="193"/>
                  </a:lnTo>
                  <a:lnTo>
                    <a:pt x="211" y="194"/>
                  </a:lnTo>
                  <a:lnTo>
                    <a:pt x="209" y="194"/>
                  </a:lnTo>
                  <a:lnTo>
                    <a:pt x="207" y="195"/>
                  </a:lnTo>
                  <a:lnTo>
                    <a:pt x="204" y="195"/>
                  </a:lnTo>
                  <a:lnTo>
                    <a:pt x="200" y="195"/>
                  </a:lnTo>
                  <a:lnTo>
                    <a:pt x="193" y="194"/>
                  </a:lnTo>
                  <a:lnTo>
                    <a:pt x="192" y="194"/>
                  </a:lnTo>
                  <a:lnTo>
                    <a:pt x="189" y="194"/>
                  </a:lnTo>
                  <a:lnTo>
                    <a:pt x="186" y="195"/>
                  </a:lnTo>
                  <a:lnTo>
                    <a:pt x="184" y="196"/>
                  </a:lnTo>
                  <a:lnTo>
                    <a:pt x="181" y="196"/>
                  </a:lnTo>
                  <a:lnTo>
                    <a:pt x="179" y="197"/>
                  </a:lnTo>
                  <a:lnTo>
                    <a:pt x="177" y="198"/>
                  </a:lnTo>
                  <a:lnTo>
                    <a:pt x="175" y="200"/>
                  </a:lnTo>
                  <a:lnTo>
                    <a:pt x="174" y="201"/>
                  </a:lnTo>
                  <a:lnTo>
                    <a:pt x="172" y="203"/>
                  </a:lnTo>
                  <a:lnTo>
                    <a:pt x="170" y="206"/>
                  </a:lnTo>
                  <a:lnTo>
                    <a:pt x="167" y="211"/>
                  </a:lnTo>
                  <a:lnTo>
                    <a:pt x="166" y="213"/>
                  </a:lnTo>
                  <a:lnTo>
                    <a:pt x="165" y="214"/>
                  </a:lnTo>
                  <a:lnTo>
                    <a:pt x="164" y="215"/>
                  </a:lnTo>
                  <a:lnTo>
                    <a:pt x="162" y="216"/>
                  </a:lnTo>
                  <a:lnTo>
                    <a:pt x="161" y="216"/>
                  </a:lnTo>
                  <a:lnTo>
                    <a:pt x="160" y="216"/>
                  </a:lnTo>
                  <a:lnTo>
                    <a:pt x="159" y="216"/>
                  </a:lnTo>
                  <a:lnTo>
                    <a:pt x="158" y="216"/>
                  </a:lnTo>
                  <a:lnTo>
                    <a:pt x="157" y="216"/>
                  </a:lnTo>
                  <a:lnTo>
                    <a:pt x="155" y="215"/>
                  </a:lnTo>
                  <a:lnTo>
                    <a:pt x="149" y="212"/>
                  </a:lnTo>
                  <a:lnTo>
                    <a:pt x="147" y="211"/>
                  </a:lnTo>
                  <a:lnTo>
                    <a:pt x="145" y="210"/>
                  </a:lnTo>
                  <a:lnTo>
                    <a:pt x="142" y="209"/>
                  </a:lnTo>
                  <a:lnTo>
                    <a:pt x="139" y="209"/>
                  </a:lnTo>
                  <a:lnTo>
                    <a:pt x="137" y="209"/>
                  </a:lnTo>
                  <a:lnTo>
                    <a:pt x="136" y="209"/>
                  </a:lnTo>
                  <a:lnTo>
                    <a:pt x="135" y="209"/>
                  </a:lnTo>
                  <a:lnTo>
                    <a:pt x="134" y="210"/>
                  </a:lnTo>
                  <a:lnTo>
                    <a:pt x="133" y="210"/>
                  </a:lnTo>
                  <a:lnTo>
                    <a:pt x="133" y="211"/>
                  </a:lnTo>
                  <a:lnTo>
                    <a:pt x="133" y="212"/>
                  </a:lnTo>
                  <a:lnTo>
                    <a:pt x="133" y="213"/>
                  </a:lnTo>
                  <a:lnTo>
                    <a:pt x="133" y="214"/>
                  </a:lnTo>
                  <a:lnTo>
                    <a:pt x="133" y="215"/>
                  </a:lnTo>
                  <a:lnTo>
                    <a:pt x="136" y="222"/>
                  </a:lnTo>
                  <a:lnTo>
                    <a:pt x="136" y="224"/>
                  </a:lnTo>
                  <a:lnTo>
                    <a:pt x="136" y="225"/>
                  </a:lnTo>
                  <a:lnTo>
                    <a:pt x="136" y="227"/>
                  </a:lnTo>
                  <a:lnTo>
                    <a:pt x="136" y="228"/>
                  </a:lnTo>
                  <a:lnTo>
                    <a:pt x="136" y="230"/>
                  </a:lnTo>
                  <a:lnTo>
                    <a:pt x="136" y="231"/>
                  </a:lnTo>
                  <a:lnTo>
                    <a:pt x="135" y="234"/>
                  </a:lnTo>
                  <a:lnTo>
                    <a:pt x="134" y="236"/>
                  </a:lnTo>
                  <a:lnTo>
                    <a:pt x="133" y="238"/>
                  </a:lnTo>
                  <a:lnTo>
                    <a:pt x="130" y="242"/>
                  </a:lnTo>
                  <a:lnTo>
                    <a:pt x="124" y="249"/>
                  </a:lnTo>
                  <a:lnTo>
                    <a:pt x="121" y="253"/>
                  </a:lnTo>
                  <a:lnTo>
                    <a:pt x="118" y="256"/>
                  </a:lnTo>
                  <a:lnTo>
                    <a:pt x="117" y="258"/>
                  </a:lnTo>
                  <a:lnTo>
                    <a:pt x="117" y="258"/>
                  </a:lnTo>
                  <a:lnTo>
                    <a:pt x="117" y="258"/>
                  </a:lnTo>
                  <a:lnTo>
                    <a:pt x="116" y="259"/>
                  </a:lnTo>
                  <a:lnTo>
                    <a:pt x="115" y="258"/>
                  </a:lnTo>
                  <a:lnTo>
                    <a:pt x="114" y="258"/>
                  </a:lnTo>
                  <a:lnTo>
                    <a:pt x="113" y="257"/>
                  </a:lnTo>
                  <a:lnTo>
                    <a:pt x="110" y="254"/>
                  </a:lnTo>
                  <a:lnTo>
                    <a:pt x="104" y="249"/>
                  </a:lnTo>
                  <a:lnTo>
                    <a:pt x="101" y="246"/>
                  </a:lnTo>
                  <a:lnTo>
                    <a:pt x="99" y="243"/>
                  </a:lnTo>
                  <a:lnTo>
                    <a:pt x="96" y="240"/>
                  </a:lnTo>
                  <a:lnTo>
                    <a:pt x="91" y="234"/>
                  </a:lnTo>
                  <a:lnTo>
                    <a:pt x="90" y="232"/>
                  </a:lnTo>
                  <a:lnTo>
                    <a:pt x="89" y="231"/>
                  </a:lnTo>
                  <a:lnTo>
                    <a:pt x="88" y="230"/>
                  </a:lnTo>
                  <a:lnTo>
                    <a:pt x="83" y="227"/>
                  </a:lnTo>
                  <a:lnTo>
                    <a:pt x="81" y="226"/>
                  </a:lnTo>
                  <a:lnTo>
                    <a:pt x="80" y="225"/>
                  </a:lnTo>
                  <a:lnTo>
                    <a:pt x="79" y="224"/>
                  </a:lnTo>
                  <a:lnTo>
                    <a:pt x="79" y="223"/>
                  </a:lnTo>
                  <a:lnTo>
                    <a:pt x="79" y="222"/>
                  </a:lnTo>
                  <a:lnTo>
                    <a:pt x="79" y="220"/>
                  </a:lnTo>
                  <a:lnTo>
                    <a:pt x="79" y="219"/>
                  </a:lnTo>
                  <a:lnTo>
                    <a:pt x="79" y="218"/>
                  </a:lnTo>
                  <a:lnTo>
                    <a:pt x="80" y="216"/>
                  </a:lnTo>
                  <a:lnTo>
                    <a:pt x="85" y="210"/>
                  </a:lnTo>
                  <a:lnTo>
                    <a:pt x="88" y="206"/>
                  </a:lnTo>
                  <a:lnTo>
                    <a:pt x="90" y="202"/>
                  </a:lnTo>
                  <a:lnTo>
                    <a:pt x="91" y="199"/>
                  </a:lnTo>
                  <a:lnTo>
                    <a:pt x="91" y="197"/>
                  </a:lnTo>
                  <a:lnTo>
                    <a:pt x="91" y="196"/>
                  </a:lnTo>
                  <a:lnTo>
                    <a:pt x="91" y="196"/>
                  </a:lnTo>
                  <a:lnTo>
                    <a:pt x="91" y="194"/>
                  </a:lnTo>
                  <a:lnTo>
                    <a:pt x="91" y="193"/>
                  </a:lnTo>
                  <a:lnTo>
                    <a:pt x="91" y="192"/>
                  </a:lnTo>
                  <a:lnTo>
                    <a:pt x="91" y="191"/>
                  </a:lnTo>
                  <a:lnTo>
                    <a:pt x="90" y="190"/>
                  </a:lnTo>
                  <a:lnTo>
                    <a:pt x="88" y="188"/>
                  </a:lnTo>
                  <a:lnTo>
                    <a:pt x="87" y="187"/>
                  </a:lnTo>
                  <a:lnTo>
                    <a:pt x="85" y="186"/>
                  </a:lnTo>
                  <a:lnTo>
                    <a:pt x="80" y="185"/>
                  </a:lnTo>
                  <a:lnTo>
                    <a:pt x="77" y="183"/>
                  </a:lnTo>
                  <a:lnTo>
                    <a:pt x="73" y="182"/>
                  </a:lnTo>
                  <a:lnTo>
                    <a:pt x="61" y="180"/>
                  </a:lnTo>
                  <a:lnTo>
                    <a:pt x="58" y="179"/>
                  </a:lnTo>
                  <a:lnTo>
                    <a:pt x="55" y="178"/>
                  </a:lnTo>
                  <a:lnTo>
                    <a:pt x="51" y="177"/>
                  </a:lnTo>
                  <a:lnTo>
                    <a:pt x="47" y="176"/>
                  </a:lnTo>
                  <a:lnTo>
                    <a:pt x="45" y="174"/>
                  </a:lnTo>
                  <a:lnTo>
                    <a:pt x="39" y="172"/>
                  </a:lnTo>
                  <a:lnTo>
                    <a:pt x="36" y="171"/>
                  </a:lnTo>
                  <a:lnTo>
                    <a:pt x="33" y="170"/>
                  </a:lnTo>
                  <a:lnTo>
                    <a:pt x="27" y="169"/>
                  </a:lnTo>
                  <a:lnTo>
                    <a:pt x="23" y="169"/>
                  </a:lnTo>
                  <a:lnTo>
                    <a:pt x="22" y="168"/>
                  </a:lnTo>
                  <a:lnTo>
                    <a:pt x="20" y="167"/>
                  </a:lnTo>
                  <a:lnTo>
                    <a:pt x="19" y="166"/>
                  </a:lnTo>
                  <a:lnTo>
                    <a:pt x="17" y="164"/>
                  </a:lnTo>
                  <a:lnTo>
                    <a:pt x="16" y="163"/>
                  </a:lnTo>
                  <a:lnTo>
                    <a:pt x="16" y="162"/>
                  </a:lnTo>
                  <a:lnTo>
                    <a:pt x="14" y="159"/>
                  </a:lnTo>
                  <a:lnTo>
                    <a:pt x="12" y="151"/>
                  </a:lnTo>
                  <a:lnTo>
                    <a:pt x="11" y="147"/>
                  </a:lnTo>
                  <a:lnTo>
                    <a:pt x="10" y="143"/>
                  </a:lnTo>
                  <a:lnTo>
                    <a:pt x="7" y="139"/>
                  </a:lnTo>
                  <a:lnTo>
                    <a:pt x="5" y="133"/>
                  </a:lnTo>
                  <a:lnTo>
                    <a:pt x="3" y="129"/>
                  </a:lnTo>
                  <a:lnTo>
                    <a:pt x="1" y="128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0" y="126"/>
                  </a:lnTo>
                  <a:lnTo>
                    <a:pt x="0" y="124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3" y="114"/>
                  </a:lnTo>
                  <a:lnTo>
                    <a:pt x="4" y="111"/>
                  </a:lnTo>
                  <a:lnTo>
                    <a:pt x="5" y="108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3"/>
                  </a:lnTo>
                  <a:lnTo>
                    <a:pt x="4" y="99"/>
                  </a:lnTo>
                  <a:lnTo>
                    <a:pt x="3" y="96"/>
                  </a:lnTo>
                  <a:lnTo>
                    <a:pt x="1" y="89"/>
                  </a:lnTo>
                  <a:lnTo>
                    <a:pt x="0" y="86"/>
                  </a:lnTo>
                  <a:lnTo>
                    <a:pt x="0" y="83"/>
                  </a:lnTo>
                  <a:lnTo>
                    <a:pt x="0" y="81"/>
                  </a:lnTo>
                  <a:lnTo>
                    <a:pt x="0" y="78"/>
                  </a:lnTo>
                  <a:lnTo>
                    <a:pt x="0" y="76"/>
                  </a:lnTo>
                  <a:lnTo>
                    <a:pt x="0" y="74"/>
                  </a:lnTo>
                  <a:lnTo>
                    <a:pt x="1" y="72"/>
                  </a:lnTo>
                  <a:lnTo>
                    <a:pt x="2" y="71"/>
                  </a:lnTo>
                  <a:lnTo>
                    <a:pt x="3" y="69"/>
                  </a:lnTo>
                  <a:lnTo>
                    <a:pt x="5" y="65"/>
                  </a:lnTo>
                  <a:lnTo>
                    <a:pt x="8" y="62"/>
                  </a:lnTo>
                  <a:lnTo>
                    <a:pt x="10" y="60"/>
                  </a:lnTo>
                  <a:lnTo>
                    <a:pt x="16" y="51"/>
                  </a:lnTo>
                  <a:lnTo>
                    <a:pt x="18" y="49"/>
                  </a:lnTo>
                  <a:lnTo>
                    <a:pt x="22" y="42"/>
                  </a:lnTo>
                  <a:lnTo>
                    <a:pt x="22" y="41"/>
                  </a:lnTo>
                  <a:lnTo>
                    <a:pt x="23" y="40"/>
                  </a:lnTo>
                  <a:lnTo>
                    <a:pt x="24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9" y="39"/>
                  </a:lnTo>
                  <a:lnTo>
                    <a:pt x="31" y="40"/>
                  </a:lnTo>
                  <a:lnTo>
                    <a:pt x="34" y="41"/>
                  </a:lnTo>
                  <a:lnTo>
                    <a:pt x="38" y="42"/>
                  </a:lnTo>
                  <a:lnTo>
                    <a:pt x="42" y="44"/>
                  </a:lnTo>
                  <a:lnTo>
                    <a:pt x="45" y="45"/>
                  </a:lnTo>
                  <a:lnTo>
                    <a:pt x="47" y="46"/>
                  </a:lnTo>
                  <a:lnTo>
                    <a:pt x="60" y="54"/>
                  </a:lnTo>
                  <a:lnTo>
                    <a:pt x="63" y="56"/>
                  </a:lnTo>
                  <a:lnTo>
                    <a:pt x="66" y="57"/>
                  </a:lnTo>
                  <a:lnTo>
                    <a:pt x="71" y="59"/>
                  </a:lnTo>
                  <a:lnTo>
                    <a:pt x="79" y="62"/>
                  </a:lnTo>
                  <a:lnTo>
                    <a:pt x="82" y="63"/>
                  </a:lnTo>
                  <a:lnTo>
                    <a:pt x="85" y="63"/>
                  </a:lnTo>
                  <a:lnTo>
                    <a:pt x="88" y="64"/>
                  </a:lnTo>
                  <a:lnTo>
                    <a:pt x="98" y="65"/>
                  </a:lnTo>
                  <a:lnTo>
                    <a:pt x="103" y="65"/>
                  </a:lnTo>
                  <a:lnTo>
                    <a:pt x="111" y="66"/>
                  </a:lnTo>
                  <a:lnTo>
                    <a:pt x="112" y="66"/>
                  </a:lnTo>
                  <a:lnTo>
                    <a:pt x="113" y="66"/>
                  </a:lnTo>
                  <a:lnTo>
                    <a:pt x="114" y="65"/>
                  </a:lnTo>
                  <a:lnTo>
                    <a:pt x="116" y="65"/>
                  </a:lnTo>
                  <a:lnTo>
                    <a:pt x="121" y="62"/>
                  </a:lnTo>
                  <a:lnTo>
                    <a:pt x="123" y="60"/>
                  </a:lnTo>
                  <a:lnTo>
                    <a:pt x="125" y="60"/>
                  </a:lnTo>
                  <a:lnTo>
                    <a:pt x="130" y="59"/>
                  </a:lnTo>
                  <a:lnTo>
                    <a:pt x="132" y="59"/>
                  </a:lnTo>
                  <a:lnTo>
                    <a:pt x="136" y="57"/>
                  </a:lnTo>
                  <a:lnTo>
                    <a:pt x="138" y="55"/>
                  </a:lnTo>
                  <a:lnTo>
                    <a:pt x="141" y="54"/>
                  </a:lnTo>
                  <a:lnTo>
                    <a:pt x="144" y="51"/>
                  </a:lnTo>
                  <a:lnTo>
                    <a:pt x="154" y="44"/>
                  </a:lnTo>
                  <a:lnTo>
                    <a:pt x="157" y="42"/>
                  </a:lnTo>
                  <a:lnTo>
                    <a:pt x="159" y="40"/>
                  </a:lnTo>
                  <a:lnTo>
                    <a:pt x="167" y="37"/>
                  </a:lnTo>
                  <a:lnTo>
                    <a:pt x="169" y="35"/>
                  </a:lnTo>
                  <a:lnTo>
                    <a:pt x="170" y="34"/>
                  </a:lnTo>
                  <a:lnTo>
                    <a:pt x="175" y="30"/>
                  </a:lnTo>
                  <a:lnTo>
                    <a:pt x="178" y="27"/>
                  </a:lnTo>
                  <a:lnTo>
                    <a:pt x="181" y="24"/>
                  </a:lnTo>
                  <a:lnTo>
                    <a:pt x="184" y="20"/>
                  </a:lnTo>
                  <a:lnTo>
                    <a:pt x="189" y="14"/>
                  </a:lnTo>
                  <a:lnTo>
                    <a:pt x="196" y="4"/>
                  </a:lnTo>
                  <a:lnTo>
                    <a:pt x="199" y="1"/>
                  </a:lnTo>
                  <a:lnTo>
                    <a:pt x="199" y="0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BED8E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1" name="Freeform 84">
              <a:extLst>
                <a:ext uri="{FF2B5EF4-FFF2-40B4-BE49-F238E27FC236}">
                  <a16:creationId xmlns:a16="http://schemas.microsoft.com/office/drawing/2014/main" id="{8FEB7263-D79E-4806-9CAC-565DCC501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" y="2017"/>
              <a:ext cx="352" cy="270"/>
            </a:xfrm>
            <a:custGeom>
              <a:avLst/>
              <a:gdLst>
                <a:gd name="T0" fmla="*/ 226 w 352"/>
                <a:gd name="T1" fmla="*/ 1 h 270"/>
                <a:gd name="T2" fmla="*/ 229 w 352"/>
                <a:gd name="T3" fmla="*/ 9 h 270"/>
                <a:gd name="T4" fmla="*/ 253 w 352"/>
                <a:gd name="T5" fmla="*/ 26 h 270"/>
                <a:gd name="T6" fmla="*/ 268 w 352"/>
                <a:gd name="T7" fmla="*/ 32 h 270"/>
                <a:gd name="T8" fmla="*/ 276 w 352"/>
                <a:gd name="T9" fmla="*/ 46 h 270"/>
                <a:gd name="T10" fmla="*/ 287 w 352"/>
                <a:gd name="T11" fmla="*/ 55 h 270"/>
                <a:gd name="T12" fmla="*/ 316 w 352"/>
                <a:gd name="T13" fmla="*/ 68 h 270"/>
                <a:gd name="T14" fmla="*/ 327 w 352"/>
                <a:gd name="T15" fmla="*/ 81 h 270"/>
                <a:gd name="T16" fmla="*/ 346 w 352"/>
                <a:gd name="T17" fmla="*/ 96 h 270"/>
                <a:gd name="T18" fmla="*/ 352 w 352"/>
                <a:gd name="T19" fmla="*/ 108 h 270"/>
                <a:gd name="T20" fmla="*/ 348 w 352"/>
                <a:gd name="T21" fmla="*/ 120 h 270"/>
                <a:gd name="T22" fmla="*/ 324 w 352"/>
                <a:gd name="T23" fmla="*/ 136 h 270"/>
                <a:gd name="T24" fmla="*/ 314 w 352"/>
                <a:gd name="T25" fmla="*/ 145 h 270"/>
                <a:gd name="T26" fmla="*/ 314 w 352"/>
                <a:gd name="T27" fmla="*/ 153 h 270"/>
                <a:gd name="T28" fmla="*/ 321 w 352"/>
                <a:gd name="T29" fmla="*/ 163 h 270"/>
                <a:gd name="T30" fmla="*/ 325 w 352"/>
                <a:gd name="T31" fmla="*/ 189 h 270"/>
                <a:gd name="T32" fmla="*/ 318 w 352"/>
                <a:gd name="T33" fmla="*/ 201 h 270"/>
                <a:gd name="T34" fmla="*/ 303 w 352"/>
                <a:gd name="T35" fmla="*/ 211 h 270"/>
                <a:gd name="T36" fmla="*/ 286 w 352"/>
                <a:gd name="T37" fmla="*/ 208 h 270"/>
                <a:gd name="T38" fmla="*/ 267 w 352"/>
                <a:gd name="T39" fmla="*/ 197 h 270"/>
                <a:gd name="T40" fmla="*/ 246 w 352"/>
                <a:gd name="T41" fmla="*/ 196 h 270"/>
                <a:gd name="T42" fmla="*/ 227 w 352"/>
                <a:gd name="T43" fmla="*/ 199 h 270"/>
                <a:gd name="T44" fmla="*/ 217 w 352"/>
                <a:gd name="T45" fmla="*/ 208 h 270"/>
                <a:gd name="T46" fmla="*/ 199 w 352"/>
                <a:gd name="T47" fmla="*/ 216 h 270"/>
                <a:gd name="T48" fmla="*/ 170 w 352"/>
                <a:gd name="T49" fmla="*/ 238 h 270"/>
                <a:gd name="T50" fmla="*/ 147 w 352"/>
                <a:gd name="T51" fmla="*/ 247 h 270"/>
                <a:gd name="T52" fmla="*/ 127 w 352"/>
                <a:gd name="T53" fmla="*/ 252 h 270"/>
                <a:gd name="T54" fmla="*/ 118 w 352"/>
                <a:gd name="T55" fmla="*/ 266 h 270"/>
                <a:gd name="T56" fmla="*/ 111 w 352"/>
                <a:gd name="T57" fmla="*/ 270 h 270"/>
                <a:gd name="T58" fmla="*/ 85 w 352"/>
                <a:gd name="T59" fmla="*/ 267 h 270"/>
                <a:gd name="T60" fmla="*/ 76 w 352"/>
                <a:gd name="T61" fmla="*/ 261 h 270"/>
                <a:gd name="T62" fmla="*/ 74 w 352"/>
                <a:gd name="T63" fmla="*/ 252 h 270"/>
                <a:gd name="T64" fmla="*/ 76 w 352"/>
                <a:gd name="T65" fmla="*/ 241 h 270"/>
                <a:gd name="T66" fmla="*/ 75 w 352"/>
                <a:gd name="T67" fmla="*/ 230 h 270"/>
                <a:gd name="T68" fmla="*/ 73 w 352"/>
                <a:gd name="T69" fmla="*/ 221 h 270"/>
                <a:gd name="T70" fmla="*/ 59 w 352"/>
                <a:gd name="T71" fmla="*/ 214 h 270"/>
                <a:gd name="T72" fmla="*/ 52 w 352"/>
                <a:gd name="T73" fmla="*/ 205 h 270"/>
                <a:gd name="T74" fmla="*/ 53 w 352"/>
                <a:gd name="T75" fmla="*/ 194 h 270"/>
                <a:gd name="T76" fmla="*/ 53 w 352"/>
                <a:gd name="T77" fmla="*/ 184 h 270"/>
                <a:gd name="T78" fmla="*/ 32 w 352"/>
                <a:gd name="T79" fmla="*/ 164 h 270"/>
                <a:gd name="T80" fmla="*/ 22 w 352"/>
                <a:gd name="T81" fmla="*/ 146 h 270"/>
                <a:gd name="T82" fmla="*/ 17 w 352"/>
                <a:gd name="T83" fmla="*/ 134 h 270"/>
                <a:gd name="T84" fmla="*/ 24 w 352"/>
                <a:gd name="T85" fmla="*/ 124 h 270"/>
                <a:gd name="T86" fmla="*/ 33 w 352"/>
                <a:gd name="T87" fmla="*/ 114 h 270"/>
                <a:gd name="T88" fmla="*/ 17 w 352"/>
                <a:gd name="T89" fmla="*/ 96 h 270"/>
                <a:gd name="T90" fmla="*/ 2 w 352"/>
                <a:gd name="T91" fmla="*/ 85 h 270"/>
                <a:gd name="T92" fmla="*/ 1 w 352"/>
                <a:gd name="T93" fmla="*/ 81 h 270"/>
                <a:gd name="T94" fmla="*/ 22 w 352"/>
                <a:gd name="T95" fmla="*/ 71 h 270"/>
                <a:gd name="T96" fmla="*/ 50 w 352"/>
                <a:gd name="T97" fmla="*/ 61 h 270"/>
                <a:gd name="T98" fmla="*/ 59 w 352"/>
                <a:gd name="T99" fmla="*/ 61 h 270"/>
                <a:gd name="T100" fmla="*/ 75 w 352"/>
                <a:gd name="T101" fmla="*/ 68 h 270"/>
                <a:gd name="T102" fmla="*/ 89 w 352"/>
                <a:gd name="T103" fmla="*/ 64 h 270"/>
                <a:gd name="T104" fmla="*/ 96 w 352"/>
                <a:gd name="T105" fmla="*/ 46 h 270"/>
                <a:gd name="T106" fmla="*/ 104 w 352"/>
                <a:gd name="T107" fmla="*/ 38 h 270"/>
                <a:gd name="T108" fmla="*/ 125 w 352"/>
                <a:gd name="T109" fmla="*/ 34 h 270"/>
                <a:gd name="T110" fmla="*/ 155 w 352"/>
                <a:gd name="T111" fmla="*/ 23 h 270"/>
                <a:gd name="T112" fmla="*/ 185 w 352"/>
                <a:gd name="T113" fmla="*/ 9 h 270"/>
                <a:gd name="T114" fmla="*/ 222 w 352"/>
                <a:gd name="T115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2" h="270">
                  <a:moveTo>
                    <a:pt x="223" y="0"/>
                  </a:moveTo>
                  <a:lnTo>
                    <a:pt x="226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6" y="1"/>
                  </a:lnTo>
                  <a:lnTo>
                    <a:pt x="226" y="2"/>
                  </a:lnTo>
                  <a:lnTo>
                    <a:pt x="226" y="3"/>
                  </a:lnTo>
                  <a:lnTo>
                    <a:pt x="226" y="4"/>
                  </a:lnTo>
                  <a:lnTo>
                    <a:pt x="227" y="6"/>
                  </a:lnTo>
                  <a:lnTo>
                    <a:pt x="228" y="7"/>
                  </a:lnTo>
                  <a:lnTo>
                    <a:pt x="229" y="9"/>
                  </a:lnTo>
                  <a:lnTo>
                    <a:pt x="231" y="10"/>
                  </a:lnTo>
                  <a:lnTo>
                    <a:pt x="233" y="11"/>
                  </a:lnTo>
                  <a:lnTo>
                    <a:pt x="239" y="15"/>
                  </a:lnTo>
                  <a:lnTo>
                    <a:pt x="243" y="18"/>
                  </a:lnTo>
                  <a:lnTo>
                    <a:pt x="250" y="24"/>
                  </a:lnTo>
                  <a:lnTo>
                    <a:pt x="253" y="26"/>
                  </a:lnTo>
                  <a:lnTo>
                    <a:pt x="256" y="27"/>
                  </a:lnTo>
                  <a:lnTo>
                    <a:pt x="258" y="28"/>
                  </a:lnTo>
                  <a:lnTo>
                    <a:pt x="264" y="29"/>
                  </a:lnTo>
                  <a:lnTo>
                    <a:pt x="266" y="30"/>
                  </a:lnTo>
                  <a:lnTo>
                    <a:pt x="267" y="31"/>
                  </a:lnTo>
                  <a:lnTo>
                    <a:pt x="268" y="32"/>
                  </a:lnTo>
                  <a:lnTo>
                    <a:pt x="269" y="33"/>
                  </a:lnTo>
                  <a:lnTo>
                    <a:pt x="270" y="34"/>
                  </a:lnTo>
                  <a:lnTo>
                    <a:pt x="272" y="40"/>
                  </a:lnTo>
                  <a:lnTo>
                    <a:pt x="273" y="42"/>
                  </a:lnTo>
                  <a:lnTo>
                    <a:pt x="275" y="45"/>
                  </a:lnTo>
                  <a:lnTo>
                    <a:pt x="276" y="46"/>
                  </a:lnTo>
                  <a:lnTo>
                    <a:pt x="278" y="48"/>
                  </a:lnTo>
                  <a:lnTo>
                    <a:pt x="280" y="50"/>
                  </a:lnTo>
                  <a:lnTo>
                    <a:pt x="281" y="51"/>
                  </a:lnTo>
                  <a:lnTo>
                    <a:pt x="283" y="53"/>
                  </a:lnTo>
                  <a:lnTo>
                    <a:pt x="285" y="54"/>
                  </a:lnTo>
                  <a:lnTo>
                    <a:pt x="287" y="55"/>
                  </a:lnTo>
                  <a:lnTo>
                    <a:pt x="291" y="56"/>
                  </a:lnTo>
                  <a:lnTo>
                    <a:pt x="299" y="58"/>
                  </a:lnTo>
                  <a:lnTo>
                    <a:pt x="303" y="60"/>
                  </a:lnTo>
                  <a:lnTo>
                    <a:pt x="312" y="65"/>
                  </a:lnTo>
                  <a:lnTo>
                    <a:pt x="314" y="67"/>
                  </a:lnTo>
                  <a:lnTo>
                    <a:pt x="316" y="68"/>
                  </a:lnTo>
                  <a:lnTo>
                    <a:pt x="318" y="69"/>
                  </a:lnTo>
                  <a:lnTo>
                    <a:pt x="319" y="71"/>
                  </a:lnTo>
                  <a:lnTo>
                    <a:pt x="321" y="72"/>
                  </a:lnTo>
                  <a:lnTo>
                    <a:pt x="325" y="78"/>
                  </a:lnTo>
                  <a:lnTo>
                    <a:pt x="326" y="79"/>
                  </a:lnTo>
                  <a:lnTo>
                    <a:pt x="327" y="81"/>
                  </a:lnTo>
                  <a:lnTo>
                    <a:pt x="329" y="83"/>
                  </a:lnTo>
                  <a:lnTo>
                    <a:pt x="331" y="85"/>
                  </a:lnTo>
                  <a:lnTo>
                    <a:pt x="340" y="91"/>
                  </a:lnTo>
                  <a:lnTo>
                    <a:pt x="342" y="92"/>
                  </a:lnTo>
                  <a:lnTo>
                    <a:pt x="344" y="93"/>
                  </a:lnTo>
                  <a:lnTo>
                    <a:pt x="346" y="96"/>
                  </a:lnTo>
                  <a:lnTo>
                    <a:pt x="348" y="99"/>
                  </a:lnTo>
                  <a:lnTo>
                    <a:pt x="349" y="101"/>
                  </a:lnTo>
                  <a:lnTo>
                    <a:pt x="350" y="102"/>
                  </a:lnTo>
                  <a:lnTo>
                    <a:pt x="351" y="104"/>
                  </a:lnTo>
                  <a:lnTo>
                    <a:pt x="352" y="107"/>
                  </a:lnTo>
                  <a:lnTo>
                    <a:pt x="352" y="108"/>
                  </a:lnTo>
                  <a:lnTo>
                    <a:pt x="352" y="109"/>
                  </a:lnTo>
                  <a:lnTo>
                    <a:pt x="352" y="112"/>
                  </a:lnTo>
                  <a:lnTo>
                    <a:pt x="351" y="113"/>
                  </a:lnTo>
                  <a:lnTo>
                    <a:pt x="350" y="116"/>
                  </a:lnTo>
                  <a:lnTo>
                    <a:pt x="349" y="119"/>
                  </a:lnTo>
                  <a:lnTo>
                    <a:pt x="348" y="120"/>
                  </a:lnTo>
                  <a:lnTo>
                    <a:pt x="347" y="121"/>
                  </a:lnTo>
                  <a:lnTo>
                    <a:pt x="345" y="123"/>
                  </a:lnTo>
                  <a:lnTo>
                    <a:pt x="343" y="124"/>
                  </a:lnTo>
                  <a:lnTo>
                    <a:pt x="341" y="125"/>
                  </a:lnTo>
                  <a:lnTo>
                    <a:pt x="336" y="129"/>
                  </a:lnTo>
                  <a:lnTo>
                    <a:pt x="324" y="136"/>
                  </a:lnTo>
                  <a:lnTo>
                    <a:pt x="321" y="137"/>
                  </a:lnTo>
                  <a:lnTo>
                    <a:pt x="319" y="138"/>
                  </a:lnTo>
                  <a:lnTo>
                    <a:pt x="316" y="141"/>
                  </a:lnTo>
                  <a:lnTo>
                    <a:pt x="315" y="142"/>
                  </a:lnTo>
                  <a:lnTo>
                    <a:pt x="314" y="144"/>
                  </a:lnTo>
                  <a:lnTo>
                    <a:pt x="314" y="145"/>
                  </a:lnTo>
                  <a:lnTo>
                    <a:pt x="314" y="146"/>
                  </a:lnTo>
                  <a:lnTo>
                    <a:pt x="313" y="147"/>
                  </a:lnTo>
                  <a:lnTo>
                    <a:pt x="313" y="149"/>
                  </a:lnTo>
                  <a:lnTo>
                    <a:pt x="313" y="150"/>
                  </a:lnTo>
                  <a:lnTo>
                    <a:pt x="314" y="152"/>
                  </a:lnTo>
                  <a:lnTo>
                    <a:pt x="314" y="153"/>
                  </a:lnTo>
                  <a:lnTo>
                    <a:pt x="314" y="154"/>
                  </a:lnTo>
                  <a:lnTo>
                    <a:pt x="317" y="158"/>
                  </a:lnTo>
                  <a:lnTo>
                    <a:pt x="318" y="159"/>
                  </a:lnTo>
                  <a:lnTo>
                    <a:pt x="319" y="159"/>
                  </a:lnTo>
                  <a:lnTo>
                    <a:pt x="320" y="161"/>
                  </a:lnTo>
                  <a:lnTo>
                    <a:pt x="321" y="163"/>
                  </a:lnTo>
                  <a:lnTo>
                    <a:pt x="322" y="164"/>
                  </a:lnTo>
                  <a:lnTo>
                    <a:pt x="322" y="166"/>
                  </a:lnTo>
                  <a:lnTo>
                    <a:pt x="323" y="173"/>
                  </a:lnTo>
                  <a:lnTo>
                    <a:pt x="325" y="182"/>
                  </a:lnTo>
                  <a:lnTo>
                    <a:pt x="325" y="186"/>
                  </a:lnTo>
                  <a:lnTo>
                    <a:pt x="325" y="189"/>
                  </a:lnTo>
                  <a:lnTo>
                    <a:pt x="325" y="191"/>
                  </a:lnTo>
                  <a:lnTo>
                    <a:pt x="324" y="193"/>
                  </a:lnTo>
                  <a:lnTo>
                    <a:pt x="323" y="196"/>
                  </a:lnTo>
                  <a:lnTo>
                    <a:pt x="321" y="198"/>
                  </a:lnTo>
                  <a:lnTo>
                    <a:pt x="319" y="200"/>
                  </a:lnTo>
                  <a:lnTo>
                    <a:pt x="318" y="201"/>
                  </a:lnTo>
                  <a:lnTo>
                    <a:pt x="312" y="205"/>
                  </a:lnTo>
                  <a:lnTo>
                    <a:pt x="308" y="208"/>
                  </a:lnTo>
                  <a:lnTo>
                    <a:pt x="307" y="209"/>
                  </a:lnTo>
                  <a:lnTo>
                    <a:pt x="306" y="210"/>
                  </a:lnTo>
                  <a:lnTo>
                    <a:pt x="304" y="211"/>
                  </a:lnTo>
                  <a:lnTo>
                    <a:pt x="303" y="211"/>
                  </a:lnTo>
                  <a:lnTo>
                    <a:pt x="301" y="211"/>
                  </a:lnTo>
                  <a:lnTo>
                    <a:pt x="298" y="211"/>
                  </a:lnTo>
                  <a:lnTo>
                    <a:pt x="294" y="211"/>
                  </a:lnTo>
                  <a:lnTo>
                    <a:pt x="291" y="210"/>
                  </a:lnTo>
                  <a:lnTo>
                    <a:pt x="289" y="209"/>
                  </a:lnTo>
                  <a:lnTo>
                    <a:pt x="286" y="208"/>
                  </a:lnTo>
                  <a:lnTo>
                    <a:pt x="284" y="207"/>
                  </a:lnTo>
                  <a:lnTo>
                    <a:pt x="281" y="205"/>
                  </a:lnTo>
                  <a:lnTo>
                    <a:pt x="277" y="202"/>
                  </a:lnTo>
                  <a:lnTo>
                    <a:pt x="272" y="200"/>
                  </a:lnTo>
                  <a:lnTo>
                    <a:pt x="269" y="199"/>
                  </a:lnTo>
                  <a:lnTo>
                    <a:pt x="267" y="197"/>
                  </a:lnTo>
                  <a:lnTo>
                    <a:pt x="263" y="196"/>
                  </a:lnTo>
                  <a:lnTo>
                    <a:pt x="261" y="196"/>
                  </a:lnTo>
                  <a:lnTo>
                    <a:pt x="260" y="195"/>
                  </a:lnTo>
                  <a:lnTo>
                    <a:pt x="258" y="195"/>
                  </a:lnTo>
                  <a:lnTo>
                    <a:pt x="252" y="196"/>
                  </a:lnTo>
                  <a:lnTo>
                    <a:pt x="246" y="196"/>
                  </a:lnTo>
                  <a:lnTo>
                    <a:pt x="244" y="196"/>
                  </a:lnTo>
                  <a:lnTo>
                    <a:pt x="241" y="197"/>
                  </a:lnTo>
                  <a:lnTo>
                    <a:pt x="233" y="198"/>
                  </a:lnTo>
                  <a:lnTo>
                    <a:pt x="231" y="198"/>
                  </a:lnTo>
                  <a:lnTo>
                    <a:pt x="229" y="199"/>
                  </a:lnTo>
                  <a:lnTo>
                    <a:pt x="227" y="199"/>
                  </a:lnTo>
                  <a:lnTo>
                    <a:pt x="226" y="200"/>
                  </a:lnTo>
                  <a:lnTo>
                    <a:pt x="224" y="201"/>
                  </a:lnTo>
                  <a:lnTo>
                    <a:pt x="223" y="202"/>
                  </a:lnTo>
                  <a:lnTo>
                    <a:pt x="222" y="203"/>
                  </a:lnTo>
                  <a:lnTo>
                    <a:pt x="219" y="206"/>
                  </a:lnTo>
                  <a:lnTo>
                    <a:pt x="217" y="208"/>
                  </a:lnTo>
                  <a:lnTo>
                    <a:pt x="214" y="210"/>
                  </a:lnTo>
                  <a:lnTo>
                    <a:pt x="212" y="212"/>
                  </a:lnTo>
                  <a:lnTo>
                    <a:pt x="210" y="213"/>
                  </a:lnTo>
                  <a:lnTo>
                    <a:pt x="208" y="214"/>
                  </a:lnTo>
                  <a:lnTo>
                    <a:pt x="201" y="215"/>
                  </a:lnTo>
                  <a:lnTo>
                    <a:pt x="199" y="216"/>
                  </a:lnTo>
                  <a:lnTo>
                    <a:pt x="195" y="218"/>
                  </a:lnTo>
                  <a:lnTo>
                    <a:pt x="193" y="220"/>
                  </a:lnTo>
                  <a:lnTo>
                    <a:pt x="191" y="221"/>
                  </a:lnTo>
                  <a:lnTo>
                    <a:pt x="186" y="226"/>
                  </a:lnTo>
                  <a:lnTo>
                    <a:pt x="172" y="236"/>
                  </a:lnTo>
                  <a:lnTo>
                    <a:pt x="170" y="238"/>
                  </a:lnTo>
                  <a:lnTo>
                    <a:pt x="168" y="238"/>
                  </a:lnTo>
                  <a:lnTo>
                    <a:pt x="166" y="239"/>
                  </a:lnTo>
                  <a:lnTo>
                    <a:pt x="164" y="240"/>
                  </a:lnTo>
                  <a:lnTo>
                    <a:pt x="158" y="242"/>
                  </a:lnTo>
                  <a:lnTo>
                    <a:pt x="152" y="245"/>
                  </a:lnTo>
                  <a:lnTo>
                    <a:pt x="147" y="247"/>
                  </a:lnTo>
                  <a:lnTo>
                    <a:pt x="143" y="248"/>
                  </a:lnTo>
                  <a:lnTo>
                    <a:pt x="141" y="248"/>
                  </a:lnTo>
                  <a:lnTo>
                    <a:pt x="132" y="249"/>
                  </a:lnTo>
                  <a:lnTo>
                    <a:pt x="130" y="250"/>
                  </a:lnTo>
                  <a:lnTo>
                    <a:pt x="128" y="251"/>
                  </a:lnTo>
                  <a:lnTo>
                    <a:pt x="127" y="252"/>
                  </a:lnTo>
                  <a:lnTo>
                    <a:pt x="126" y="253"/>
                  </a:lnTo>
                  <a:lnTo>
                    <a:pt x="124" y="255"/>
                  </a:lnTo>
                  <a:lnTo>
                    <a:pt x="123" y="256"/>
                  </a:lnTo>
                  <a:lnTo>
                    <a:pt x="122" y="259"/>
                  </a:lnTo>
                  <a:lnTo>
                    <a:pt x="119" y="264"/>
                  </a:lnTo>
                  <a:lnTo>
                    <a:pt x="118" y="266"/>
                  </a:lnTo>
                  <a:lnTo>
                    <a:pt x="117" y="267"/>
                  </a:lnTo>
                  <a:lnTo>
                    <a:pt x="117" y="268"/>
                  </a:lnTo>
                  <a:lnTo>
                    <a:pt x="116" y="269"/>
                  </a:lnTo>
                  <a:lnTo>
                    <a:pt x="115" y="269"/>
                  </a:lnTo>
                  <a:lnTo>
                    <a:pt x="113" y="270"/>
                  </a:lnTo>
                  <a:lnTo>
                    <a:pt x="111" y="270"/>
                  </a:lnTo>
                  <a:lnTo>
                    <a:pt x="106" y="270"/>
                  </a:lnTo>
                  <a:lnTo>
                    <a:pt x="102" y="270"/>
                  </a:lnTo>
                  <a:lnTo>
                    <a:pt x="93" y="269"/>
                  </a:lnTo>
                  <a:lnTo>
                    <a:pt x="89" y="268"/>
                  </a:lnTo>
                  <a:lnTo>
                    <a:pt x="86" y="268"/>
                  </a:lnTo>
                  <a:lnTo>
                    <a:pt x="85" y="267"/>
                  </a:lnTo>
                  <a:lnTo>
                    <a:pt x="84" y="266"/>
                  </a:lnTo>
                  <a:lnTo>
                    <a:pt x="82" y="265"/>
                  </a:lnTo>
                  <a:lnTo>
                    <a:pt x="80" y="264"/>
                  </a:lnTo>
                  <a:lnTo>
                    <a:pt x="79" y="263"/>
                  </a:lnTo>
                  <a:lnTo>
                    <a:pt x="78" y="263"/>
                  </a:lnTo>
                  <a:lnTo>
                    <a:pt x="76" y="261"/>
                  </a:lnTo>
                  <a:lnTo>
                    <a:pt x="75" y="261"/>
                  </a:lnTo>
                  <a:lnTo>
                    <a:pt x="75" y="259"/>
                  </a:lnTo>
                  <a:lnTo>
                    <a:pt x="75" y="258"/>
                  </a:lnTo>
                  <a:lnTo>
                    <a:pt x="74" y="256"/>
                  </a:lnTo>
                  <a:lnTo>
                    <a:pt x="74" y="255"/>
                  </a:lnTo>
                  <a:lnTo>
                    <a:pt x="74" y="252"/>
                  </a:lnTo>
                  <a:lnTo>
                    <a:pt x="75" y="250"/>
                  </a:lnTo>
                  <a:lnTo>
                    <a:pt x="76" y="246"/>
                  </a:lnTo>
                  <a:lnTo>
                    <a:pt x="76" y="245"/>
                  </a:lnTo>
                  <a:lnTo>
                    <a:pt x="76" y="243"/>
                  </a:lnTo>
                  <a:lnTo>
                    <a:pt x="76" y="242"/>
                  </a:lnTo>
                  <a:lnTo>
                    <a:pt x="76" y="241"/>
                  </a:lnTo>
                  <a:lnTo>
                    <a:pt x="75" y="240"/>
                  </a:lnTo>
                  <a:lnTo>
                    <a:pt x="75" y="238"/>
                  </a:lnTo>
                  <a:lnTo>
                    <a:pt x="75" y="238"/>
                  </a:lnTo>
                  <a:lnTo>
                    <a:pt x="74" y="237"/>
                  </a:lnTo>
                  <a:lnTo>
                    <a:pt x="74" y="235"/>
                  </a:lnTo>
                  <a:lnTo>
                    <a:pt x="75" y="230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4" y="225"/>
                  </a:lnTo>
                  <a:lnTo>
                    <a:pt x="74" y="224"/>
                  </a:lnTo>
                  <a:lnTo>
                    <a:pt x="73" y="222"/>
                  </a:lnTo>
                  <a:lnTo>
                    <a:pt x="73" y="221"/>
                  </a:lnTo>
                  <a:lnTo>
                    <a:pt x="72" y="220"/>
                  </a:lnTo>
                  <a:lnTo>
                    <a:pt x="70" y="219"/>
                  </a:lnTo>
                  <a:lnTo>
                    <a:pt x="68" y="218"/>
                  </a:lnTo>
                  <a:lnTo>
                    <a:pt x="63" y="216"/>
                  </a:lnTo>
                  <a:lnTo>
                    <a:pt x="61" y="215"/>
                  </a:lnTo>
                  <a:lnTo>
                    <a:pt x="59" y="214"/>
                  </a:lnTo>
                  <a:lnTo>
                    <a:pt x="57" y="213"/>
                  </a:lnTo>
                  <a:lnTo>
                    <a:pt x="55" y="211"/>
                  </a:lnTo>
                  <a:lnTo>
                    <a:pt x="54" y="209"/>
                  </a:lnTo>
                  <a:lnTo>
                    <a:pt x="53" y="208"/>
                  </a:lnTo>
                  <a:lnTo>
                    <a:pt x="52" y="206"/>
                  </a:lnTo>
                  <a:lnTo>
                    <a:pt x="52" y="205"/>
                  </a:lnTo>
                  <a:lnTo>
                    <a:pt x="52" y="204"/>
                  </a:lnTo>
                  <a:lnTo>
                    <a:pt x="52" y="203"/>
                  </a:lnTo>
                  <a:lnTo>
                    <a:pt x="52" y="201"/>
                  </a:lnTo>
                  <a:lnTo>
                    <a:pt x="52" y="199"/>
                  </a:lnTo>
                  <a:lnTo>
                    <a:pt x="52" y="198"/>
                  </a:lnTo>
                  <a:lnTo>
                    <a:pt x="53" y="194"/>
                  </a:lnTo>
                  <a:lnTo>
                    <a:pt x="54" y="193"/>
                  </a:lnTo>
                  <a:lnTo>
                    <a:pt x="54" y="191"/>
                  </a:lnTo>
                  <a:lnTo>
                    <a:pt x="54" y="190"/>
                  </a:lnTo>
                  <a:lnTo>
                    <a:pt x="54" y="188"/>
                  </a:lnTo>
                  <a:lnTo>
                    <a:pt x="53" y="186"/>
                  </a:lnTo>
                  <a:lnTo>
                    <a:pt x="53" y="184"/>
                  </a:lnTo>
                  <a:lnTo>
                    <a:pt x="52" y="182"/>
                  </a:lnTo>
                  <a:lnTo>
                    <a:pt x="50" y="181"/>
                  </a:lnTo>
                  <a:lnTo>
                    <a:pt x="42" y="174"/>
                  </a:lnTo>
                  <a:lnTo>
                    <a:pt x="38" y="170"/>
                  </a:lnTo>
                  <a:lnTo>
                    <a:pt x="35" y="167"/>
                  </a:lnTo>
                  <a:lnTo>
                    <a:pt x="32" y="164"/>
                  </a:lnTo>
                  <a:lnTo>
                    <a:pt x="30" y="161"/>
                  </a:lnTo>
                  <a:lnTo>
                    <a:pt x="29" y="159"/>
                  </a:lnTo>
                  <a:lnTo>
                    <a:pt x="27" y="156"/>
                  </a:lnTo>
                  <a:lnTo>
                    <a:pt x="24" y="149"/>
                  </a:lnTo>
                  <a:lnTo>
                    <a:pt x="23" y="147"/>
                  </a:lnTo>
                  <a:lnTo>
                    <a:pt x="22" y="146"/>
                  </a:lnTo>
                  <a:lnTo>
                    <a:pt x="18" y="141"/>
                  </a:lnTo>
                  <a:lnTo>
                    <a:pt x="18" y="139"/>
                  </a:lnTo>
                  <a:lnTo>
                    <a:pt x="17" y="137"/>
                  </a:lnTo>
                  <a:lnTo>
                    <a:pt x="17" y="136"/>
                  </a:lnTo>
                  <a:lnTo>
                    <a:pt x="16" y="136"/>
                  </a:lnTo>
                  <a:lnTo>
                    <a:pt x="17" y="134"/>
                  </a:lnTo>
                  <a:lnTo>
                    <a:pt x="17" y="132"/>
                  </a:lnTo>
                  <a:lnTo>
                    <a:pt x="18" y="130"/>
                  </a:lnTo>
                  <a:lnTo>
                    <a:pt x="20" y="127"/>
                  </a:lnTo>
                  <a:lnTo>
                    <a:pt x="21" y="126"/>
                  </a:lnTo>
                  <a:lnTo>
                    <a:pt x="22" y="125"/>
                  </a:lnTo>
                  <a:lnTo>
                    <a:pt x="24" y="124"/>
                  </a:lnTo>
                  <a:lnTo>
                    <a:pt x="30" y="121"/>
                  </a:lnTo>
                  <a:lnTo>
                    <a:pt x="31" y="120"/>
                  </a:lnTo>
                  <a:lnTo>
                    <a:pt x="32" y="118"/>
                  </a:lnTo>
                  <a:lnTo>
                    <a:pt x="33" y="117"/>
                  </a:lnTo>
                  <a:lnTo>
                    <a:pt x="33" y="116"/>
                  </a:lnTo>
                  <a:lnTo>
                    <a:pt x="33" y="114"/>
                  </a:lnTo>
                  <a:lnTo>
                    <a:pt x="32" y="113"/>
                  </a:lnTo>
                  <a:lnTo>
                    <a:pt x="32" y="112"/>
                  </a:lnTo>
                  <a:lnTo>
                    <a:pt x="31" y="111"/>
                  </a:lnTo>
                  <a:lnTo>
                    <a:pt x="28" y="107"/>
                  </a:lnTo>
                  <a:lnTo>
                    <a:pt x="22" y="101"/>
                  </a:lnTo>
                  <a:lnTo>
                    <a:pt x="17" y="96"/>
                  </a:lnTo>
                  <a:lnTo>
                    <a:pt x="13" y="92"/>
                  </a:lnTo>
                  <a:lnTo>
                    <a:pt x="11" y="91"/>
                  </a:lnTo>
                  <a:lnTo>
                    <a:pt x="9" y="89"/>
                  </a:lnTo>
                  <a:lnTo>
                    <a:pt x="7" y="88"/>
                  </a:lnTo>
                  <a:lnTo>
                    <a:pt x="3" y="86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1" y="82"/>
                  </a:lnTo>
                  <a:lnTo>
                    <a:pt x="1" y="81"/>
                  </a:lnTo>
                  <a:lnTo>
                    <a:pt x="2" y="80"/>
                  </a:lnTo>
                  <a:lnTo>
                    <a:pt x="4" y="79"/>
                  </a:lnTo>
                  <a:lnTo>
                    <a:pt x="7" y="78"/>
                  </a:lnTo>
                  <a:lnTo>
                    <a:pt x="8" y="76"/>
                  </a:lnTo>
                  <a:lnTo>
                    <a:pt x="16" y="73"/>
                  </a:lnTo>
                  <a:lnTo>
                    <a:pt x="22" y="71"/>
                  </a:lnTo>
                  <a:lnTo>
                    <a:pt x="28" y="69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41" y="65"/>
                  </a:lnTo>
                  <a:lnTo>
                    <a:pt x="47" y="62"/>
                  </a:lnTo>
                  <a:lnTo>
                    <a:pt x="50" y="61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6" y="60"/>
                  </a:lnTo>
                  <a:lnTo>
                    <a:pt x="58" y="61"/>
                  </a:lnTo>
                  <a:lnTo>
                    <a:pt x="59" y="61"/>
                  </a:lnTo>
                  <a:lnTo>
                    <a:pt x="61" y="62"/>
                  </a:lnTo>
                  <a:lnTo>
                    <a:pt x="65" y="65"/>
                  </a:lnTo>
                  <a:lnTo>
                    <a:pt x="67" y="66"/>
                  </a:lnTo>
                  <a:lnTo>
                    <a:pt x="70" y="67"/>
                  </a:lnTo>
                  <a:lnTo>
                    <a:pt x="73" y="67"/>
                  </a:lnTo>
                  <a:lnTo>
                    <a:pt x="75" y="68"/>
                  </a:lnTo>
                  <a:lnTo>
                    <a:pt x="79" y="68"/>
                  </a:lnTo>
                  <a:lnTo>
                    <a:pt x="83" y="67"/>
                  </a:lnTo>
                  <a:lnTo>
                    <a:pt x="86" y="67"/>
                  </a:lnTo>
                  <a:lnTo>
                    <a:pt x="87" y="66"/>
                  </a:lnTo>
                  <a:lnTo>
                    <a:pt x="88" y="65"/>
                  </a:lnTo>
                  <a:lnTo>
                    <a:pt x="89" y="64"/>
                  </a:lnTo>
                  <a:lnTo>
                    <a:pt x="90" y="62"/>
                  </a:lnTo>
                  <a:lnTo>
                    <a:pt x="91" y="60"/>
                  </a:lnTo>
                  <a:lnTo>
                    <a:pt x="92" y="58"/>
                  </a:lnTo>
                  <a:lnTo>
                    <a:pt x="94" y="51"/>
                  </a:lnTo>
                  <a:lnTo>
                    <a:pt x="95" y="48"/>
                  </a:lnTo>
                  <a:lnTo>
                    <a:pt x="96" y="46"/>
                  </a:lnTo>
                  <a:lnTo>
                    <a:pt x="97" y="45"/>
                  </a:lnTo>
                  <a:lnTo>
                    <a:pt x="98" y="43"/>
                  </a:lnTo>
                  <a:lnTo>
                    <a:pt x="99" y="41"/>
                  </a:lnTo>
                  <a:lnTo>
                    <a:pt x="100" y="40"/>
                  </a:lnTo>
                  <a:lnTo>
                    <a:pt x="103" y="38"/>
                  </a:lnTo>
                  <a:lnTo>
                    <a:pt x="104" y="38"/>
                  </a:lnTo>
                  <a:lnTo>
                    <a:pt x="106" y="37"/>
                  </a:lnTo>
                  <a:lnTo>
                    <a:pt x="109" y="37"/>
                  </a:lnTo>
                  <a:lnTo>
                    <a:pt x="112" y="36"/>
                  </a:lnTo>
                  <a:lnTo>
                    <a:pt x="119" y="36"/>
                  </a:lnTo>
                  <a:lnTo>
                    <a:pt x="121" y="35"/>
                  </a:lnTo>
                  <a:lnTo>
                    <a:pt x="125" y="34"/>
                  </a:lnTo>
                  <a:lnTo>
                    <a:pt x="132" y="33"/>
                  </a:lnTo>
                  <a:lnTo>
                    <a:pt x="135" y="32"/>
                  </a:lnTo>
                  <a:lnTo>
                    <a:pt x="139" y="30"/>
                  </a:lnTo>
                  <a:lnTo>
                    <a:pt x="149" y="25"/>
                  </a:lnTo>
                  <a:lnTo>
                    <a:pt x="152" y="23"/>
                  </a:lnTo>
                  <a:lnTo>
                    <a:pt x="155" y="23"/>
                  </a:lnTo>
                  <a:lnTo>
                    <a:pt x="163" y="20"/>
                  </a:lnTo>
                  <a:lnTo>
                    <a:pt x="167" y="18"/>
                  </a:lnTo>
                  <a:lnTo>
                    <a:pt x="171" y="16"/>
                  </a:lnTo>
                  <a:lnTo>
                    <a:pt x="178" y="12"/>
                  </a:lnTo>
                  <a:lnTo>
                    <a:pt x="181" y="11"/>
                  </a:lnTo>
                  <a:lnTo>
                    <a:pt x="185" y="9"/>
                  </a:lnTo>
                  <a:lnTo>
                    <a:pt x="191" y="7"/>
                  </a:lnTo>
                  <a:lnTo>
                    <a:pt x="197" y="5"/>
                  </a:lnTo>
                  <a:lnTo>
                    <a:pt x="202" y="4"/>
                  </a:lnTo>
                  <a:lnTo>
                    <a:pt x="214" y="1"/>
                  </a:lnTo>
                  <a:lnTo>
                    <a:pt x="221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3" y="0"/>
                  </a:lnTo>
                  <a:lnTo>
                    <a:pt x="223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2" name="Freeform 85">
              <a:extLst>
                <a:ext uri="{FF2B5EF4-FFF2-40B4-BE49-F238E27FC236}">
                  <a16:creationId xmlns:a16="http://schemas.microsoft.com/office/drawing/2014/main" id="{81B954FA-9CF1-4D06-92CB-D4998A504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0" y="1496"/>
              <a:ext cx="1123" cy="1310"/>
            </a:xfrm>
            <a:custGeom>
              <a:avLst/>
              <a:gdLst>
                <a:gd name="T0" fmla="*/ 690 w 1123"/>
                <a:gd name="T1" fmla="*/ 25 h 1310"/>
                <a:gd name="T2" fmla="*/ 725 w 1123"/>
                <a:gd name="T3" fmla="*/ 24 h 1310"/>
                <a:gd name="T4" fmla="*/ 784 w 1123"/>
                <a:gd name="T5" fmla="*/ 74 h 1310"/>
                <a:gd name="T6" fmla="*/ 828 w 1123"/>
                <a:gd name="T7" fmla="*/ 114 h 1310"/>
                <a:gd name="T8" fmla="*/ 823 w 1123"/>
                <a:gd name="T9" fmla="*/ 167 h 1310"/>
                <a:gd name="T10" fmla="*/ 838 w 1123"/>
                <a:gd name="T11" fmla="*/ 228 h 1310"/>
                <a:gd name="T12" fmla="*/ 813 w 1123"/>
                <a:gd name="T13" fmla="*/ 275 h 1310"/>
                <a:gd name="T14" fmla="*/ 816 w 1123"/>
                <a:gd name="T15" fmla="*/ 310 h 1310"/>
                <a:gd name="T16" fmla="*/ 850 w 1123"/>
                <a:gd name="T17" fmla="*/ 328 h 1310"/>
                <a:gd name="T18" fmla="*/ 878 w 1123"/>
                <a:gd name="T19" fmla="*/ 367 h 1310"/>
                <a:gd name="T20" fmla="*/ 902 w 1123"/>
                <a:gd name="T21" fmla="*/ 388 h 1310"/>
                <a:gd name="T22" fmla="*/ 982 w 1123"/>
                <a:gd name="T23" fmla="*/ 381 h 1310"/>
                <a:gd name="T24" fmla="*/ 1006 w 1123"/>
                <a:gd name="T25" fmla="*/ 414 h 1310"/>
                <a:gd name="T26" fmla="*/ 1017 w 1123"/>
                <a:gd name="T27" fmla="*/ 481 h 1310"/>
                <a:gd name="T28" fmla="*/ 999 w 1123"/>
                <a:gd name="T29" fmla="*/ 530 h 1310"/>
                <a:gd name="T30" fmla="*/ 1008 w 1123"/>
                <a:gd name="T31" fmla="*/ 562 h 1310"/>
                <a:gd name="T32" fmla="*/ 1054 w 1123"/>
                <a:gd name="T33" fmla="*/ 587 h 1310"/>
                <a:gd name="T34" fmla="*/ 1034 w 1123"/>
                <a:gd name="T35" fmla="*/ 609 h 1310"/>
                <a:gd name="T36" fmla="*/ 1033 w 1123"/>
                <a:gd name="T37" fmla="*/ 630 h 1310"/>
                <a:gd name="T38" fmla="*/ 1014 w 1123"/>
                <a:gd name="T39" fmla="*/ 665 h 1310"/>
                <a:gd name="T40" fmla="*/ 1005 w 1123"/>
                <a:gd name="T41" fmla="*/ 682 h 1310"/>
                <a:gd name="T42" fmla="*/ 1033 w 1123"/>
                <a:gd name="T43" fmla="*/ 707 h 1310"/>
                <a:gd name="T44" fmla="*/ 1069 w 1123"/>
                <a:gd name="T45" fmla="*/ 725 h 1310"/>
                <a:gd name="T46" fmla="*/ 1085 w 1123"/>
                <a:gd name="T47" fmla="*/ 752 h 1310"/>
                <a:gd name="T48" fmla="*/ 1123 w 1123"/>
                <a:gd name="T49" fmla="*/ 790 h 1310"/>
                <a:gd name="T50" fmla="*/ 1111 w 1123"/>
                <a:gd name="T51" fmla="*/ 846 h 1310"/>
                <a:gd name="T52" fmla="*/ 1094 w 1123"/>
                <a:gd name="T53" fmla="*/ 902 h 1310"/>
                <a:gd name="T54" fmla="*/ 1049 w 1123"/>
                <a:gd name="T55" fmla="*/ 926 h 1310"/>
                <a:gd name="T56" fmla="*/ 1049 w 1123"/>
                <a:gd name="T57" fmla="*/ 962 h 1310"/>
                <a:gd name="T58" fmla="*/ 1016 w 1123"/>
                <a:gd name="T59" fmla="*/ 973 h 1310"/>
                <a:gd name="T60" fmla="*/ 970 w 1123"/>
                <a:gd name="T61" fmla="*/ 1002 h 1310"/>
                <a:gd name="T62" fmla="*/ 914 w 1123"/>
                <a:gd name="T63" fmla="*/ 1018 h 1310"/>
                <a:gd name="T64" fmla="*/ 889 w 1123"/>
                <a:gd name="T65" fmla="*/ 1034 h 1310"/>
                <a:gd name="T66" fmla="*/ 858 w 1123"/>
                <a:gd name="T67" fmla="*/ 1100 h 1310"/>
                <a:gd name="T68" fmla="*/ 897 w 1123"/>
                <a:gd name="T69" fmla="*/ 1134 h 1310"/>
                <a:gd name="T70" fmla="*/ 904 w 1123"/>
                <a:gd name="T71" fmla="*/ 1175 h 1310"/>
                <a:gd name="T72" fmla="*/ 861 w 1123"/>
                <a:gd name="T73" fmla="*/ 1187 h 1310"/>
                <a:gd name="T74" fmla="*/ 840 w 1123"/>
                <a:gd name="T75" fmla="*/ 1210 h 1310"/>
                <a:gd name="T76" fmla="*/ 787 w 1123"/>
                <a:gd name="T77" fmla="*/ 1202 h 1310"/>
                <a:gd name="T78" fmla="*/ 716 w 1123"/>
                <a:gd name="T79" fmla="*/ 1199 h 1310"/>
                <a:gd name="T80" fmla="*/ 705 w 1123"/>
                <a:gd name="T81" fmla="*/ 1221 h 1310"/>
                <a:gd name="T82" fmla="*/ 674 w 1123"/>
                <a:gd name="T83" fmla="*/ 1240 h 1310"/>
                <a:gd name="T84" fmla="*/ 651 w 1123"/>
                <a:gd name="T85" fmla="*/ 1266 h 1310"/>
                <a:gd name="T86" fmla="*/ 620 w 1123"/>
                <a:gd name="T87" fmla="*/ 1221 h 1310"/>
                <a:gd name="T88" fmla="*/ 589 w 1123"/>
                <a:gd name="T89" fmla="*/ 1219 h 1310"/>
                <a:gd name="T90" fmla="*/ 536 w 1123"/>
                <a:gd name="T91" fmla="*/ 1189 h 1310"/>
                <a:gd name="T92" fmla="*/ 510 w 1123"/>
                <a:gd name="T93" fmla="*/ 1224 h 1310"/>
                <a:gd name="T94" fmla="*/ 504 w 1123"/>
                <a:gd name="T95" fmla="*/ 1268 h 1310"/>
                <a:gd name="T96" fmla="*/ 448 w 1123"/>
                <a:gd name="T97" fmla="*/ 1309 h 1310"/>
                <a:gd name="T98" fmla="*/ 405 w 1123"/>
                <a:gd name="T99" fmla="*/ 1296 h 1310"/>
                <a:gd name="T100" fmla="*/ 397 w 1123"/>
                <a:gd name="T101" fmla="*/ 1277 h 1310"/>
                <a:gd name="T102" fmla="*/ 336 w 1123"/>
                <a:gd name="T103" fmla="*/ 1272 h 1310"/>
                <a:gd name="T104" fmla="*/ 290 w 1123"/>
                <a:gd name="T105" fmla="*/ 1269 h 1310"/>
                <a:gd name="T106" fmla="*/ 262 w 1123"/>
                <a:gd name="T107" fmla="*/ 1272 h 1310"/>
                <a:gd name="T108" fmla="*/ 222 w 1123"/>
                <a:gd name="T109" fmla="*/ 1287 h 1310"/>
                <a:gd name="T110" fmla="*/ 190 w 1123"/>
                <a:gd name="T111" fmla="*/ 1266 h 1310"/>
                <a:gd name="T112" fmla="*/ 150 w 1123"/>
                <a:gd name="T113" fmla="*/ 1243 h 1310"/>
                <a:gd name="T114" fmla="*/ 110 w 1123"/>
                <a:gd name="T115" fmla="*/ 1277 h 1310"/>
                <a:gd name="T116" fmla="*/ 30 w 1123"/>
                <a:gd name="T117" fmla="*/ 1280 h 1310"/>
                <a:gd name="T118" fmla="*/ 2 w 1123"/>
                <a:gd name="T119" fmla="*/ 1267 h 1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23" h="1310">
                  <a:moveTo>
                    <a:pt x="657" y="0"/>
                  </a:moveTo>
                  <a:lnTo>
                    <a:pt x="657" y="0"/>
                  </a:lnTo>
                  <a:lnTo>
                    <a:pt x="659" y="0"/>
                  </a:lnTo>
                  <a:lnTo>
                    <a:pt x="661" y="1"/>
                  </a:lnTo>
                  <a:lnTo>
                    <a:pt x="663" y="3"/>
                  </a:lnTo>
                  <a:lnTo>
                    <a:pt x="667" y="8"/>
                  </a:lnTo>
                  <a:lnTo>
                    <a:pt x="669" y="10"/>
                  </a:lnTo>
                  <a:lnTo>
                    <a:pt x="672" y="12"/>
                  </a:lnTo>
                  <a:lnTo>
                    <a:pt x="677" y="16"/>
                  </a:lnTo>
                  <a:lnTo>
                    <a:pt x="679" y="18"/>
                  </a:lnTo>
                  <a:lnTo>
                    <a:pt x="680" y="19"/>
                  </a:lnTo>
                  <a:lnTo>
                    <a:pt x="683" y="22"/>
                  </a:lnTo>
                  <a:lnTo>
                    <a:pt x="684" y="22"/>
                  </a:lnTo>
                  <a:lnTo>
                    <a:pt x="685" y="23"/>
                  </a:lnTo>
                  <a:lnTo>
                    <a:pt x="687" y="24"/>
                  </a:lnTo>
                  <a:lnTo>
                    <a:pt x="689" y="25"/>
                  </a:lnTo>
                  <a:lnTo>
                    <a:pt x="690" y="25"/>
                  </a:lnTo>
                  <a:lnTo>
                    <a:pt x="691" y="25"/>
                  </a:lnTo>
                  <a:lnTo>
                    <a:pt x="692" y="25"/>
                  </a:lnTo>
                  <a:lnTo>
                    <a:pt x="693" y="24"/>
                  </a:lnTo>
                  <a:lnTo>
                    <a:pt x="695" y="23"/>
                  </a:lnTo>
                  <a:lnTo>
                    <a:pt x="697" y="22"/>
                  </a:lnTo>
                  <a:lnTo>
                    <a:pt x="700" y="21"/>
                  </a:lnTo>
                  <a:lnTo>
                    <a:pt x="702" y="20"/>
                  </a:lnTo>
                  <a:lnTo>
                    <a:pt x="703" y="19"/>
                  </a:lnTo>
                  <a:lnTo>
                    <a:pt x="705" y="19"/>
                  </a:lnTo>
                  <a:lnTo>
                    <a:pt x="706" y="19"/>
                  </a:lnTo>
                  <a:lnTo>
                    <a:pt x="709" y="19"/>
                  </a:lnTo>
                  <a:lnTo>
                    <a:pt x="715" y="20"/>
                  </a:lnTo>
                  <a:lnTo>
                    <a:pt x="718" y="21"/>
                  </a:lnTo>
                  <a:lnTo>
                    <a:pt x="720" y="22"/>
                  </a:lnTo>
                  <a:lnTo>
                    <a:pt x="721" y="22"/>
                  </a:lnTo>
                  <a:lnTo>
                    <a:pt x="722" y="22"/>
                  </a:lnTo>
                  <a:lnTo>
                    <a:pt x="725" y="24"/>
                  </a:lnTo>
                  <a:lnTo>
                    <a:pt x="727" y="27"/>
                  </a:lnTo>
                  <a:lnTo>
                    <a:pt x="735" y="35"/>
                  </a:lnTo>
                  <a:lnTo>
                    <a:pt x="745" y="46"/>
                  </a:lnTo>
                  <a:lnTo>
                    <a:pt x="749" y="52"/>
                  </a:lnTo>
                  <a:lnTo>
                    <a:pt x="751" y="54"/>
                  </a:lnTo>
                  <a:lnTo>
                    <a:pt x="752" y="55"/>
                  </a:lnTo>
                  <a:lnTo>
                    <a:pt x="754" y="56"/>
                  </a:lnTo>
                  <a:lnTo>
                    <a:pt x="756" y="57"/>
                  </a:lnTo>
                  <a:lnTo>
                    <a:pt x="759" y="58"/>
                  </a:lnTo>
                  <a:lnTo>
                    <a:pt x="764" y="60"/>
                  </a:lnTo>
                  <a:lnTo>
                    <a:pt x="766" y="61"/>
                  </a:lnTo>
                  <a:lnTo>
                    <a:pt x="769" y="62"/>
                  </a:lnTo>
                  <a:lnTo>
                    <a:pt x="771" y="64"/>
                  </a:lnTo>
                  <a:lnTo>
                    <a:pt x="775" y="67"/>
                  </a:lnTo>
                  <a:lnTo>
                    <a:pt x="780" y="70"/>
                  </a:lnTo>
                  <a:lnTo>
                    <a:pt x="783" y="73"/>
                  </a:lnTo>
                  <a:lnTo>
                    <a:pt x="784" y="74"/>
                  </a:lnTo>
                  <a:lnTo>
                    <a:pt x="786" y="76"/>
                  </a:lnTo>
                  <a:lnTo>
                    <a:pt x="789" y="79"/>
                  </a:lnTo>
                  <a:lnTo>
                    <a:pt x="790" y="82"/>
                  </a:lnTo>
                  <a:lnTo>
                    <a:pt x="793" y="90"/>
                  </a:lnTo>
                  <a:lnTo>
                    <a:pt x="795" y="92"/>
                  </a:lnTo>
                  <a:lnTo>
                    <a:pt x="796" y="93"/>
                  </a:lnTo>
                  <a:lnTo>
                    <a:pt x="798" y="95"/>
                  </a:lnTo>
                  <a:lnTo>
                    <a:pt x="800" y="97"/>
                  </a:lnTo>
                  <a:lnTo>
                    <a:pt x="802" y="98"/>
                  </a:lnTo>
                  <a:lnTo>
                    <a:pt x="804" y="100"/>
                  </a:lnTo>
                  <a:lnTo>
                    <a:pt x="805" y="101"/>
                  </a:lnTo>
                  <a:lnTo>
                    <a:pt x="809" y="102"/>
                  </a:lnTo>
                  <a:lnTo>
                    <a:pt x="814" y="105"/>
                  </a:lnTo>
                  <a:lnTo>
                    <a:pt x="825" y="110"/>
                  </a:lnTo>
                  <a:lnTo>
                    <a:pt x="827" y="111"/>
                  </a:lnTo>
                  <a:lnTo>
                    <a:pt x="830" y="113"/>
                  </a:lnTo>
                  <a:lnTo>
                    <a:pt x="828" y="114"/>
                  </a:lnTo>
                  <a:lnTo>
                    <a:pt x="825" y="118"/>
                  </a:lnTo>
                  <a:lnTo>
                    <a:pt x="819" y="124"/>
                  </a:lnTo>
                  <a:lnTo>
                    <a:pt x="817" y="126"/>
                  </a:lnTo>
                  <a:lnTo>
                    <a:pt x="816" y="128"/>
                  </a:lnTo>
                  <a:lnTo>
                    <a:pt x="814" y="131"/>
                  </a:lnTo>
                  <a:lnTo>
                    <a:pt x="813" y="133"/>
                  </a:lnTo>
                  <a:lnTo>
                    <a:pt x="812" y="135"/>
                  </a:lnTo>
                  <a:lnTo>
                    <a:pt x="812" y="136"/>
                  </a:lnTo>
                  <a:lnTo>
                    <a:pt x="812" y="137"/>
                  </a:lnTo>
                  <a:lnTo>
                    <a:pt x="812" y="139"/>
                  </a:lnTo>
                  <a:lnTo>
                    <a:pt x="813" y="141"/>
                  </a:lnTo>
                  <a:lnTo>
                    <a:pt x="814" y="144"/>
                  </a:lnTo>
                  <a:lnTo>
                    <a:pt x="816" y="149"/>
                  </a:lnTo>
                  <a:lnTo>
                    <a:pt x="817" y="153"/>
                  </a:lnTo>
                  <a:lnTo>
                    <a:pt x="818" y="156"/>
                  </a:lnTo>
                  <a:lnTo>
                    <a:pt x="820" y="161"/>
                  </a:lnTo>
                  <a:lnTo>
                    <a:pt x="823" y="167"/>
                  </a:lnTo>
                  <a:lnTo>
                    <a:pt x="823" y="170"/>
                  </a:lnTo>
                  <a:lnTo>
                    <a:pt x="823" y="170"/>
                  </a:lnTo>
                  <a:lnTo>
                    <a:pt x="823" y="171"/>
                  </a:lnTo>
                  <a:lnTo>
                    <a:pt x="823" y="178"/>
                  </a:lnTo>
                  <a:lnTo>
                    <a:pt x="823" y="189"/>
                  </a:lnTo>
                  <a:lnTo>
                    <a:pt x="823" y="192"/>
                  </a:lnTo>
                  <a:lnTo>
                    <a:pt x="824" y="195"/>
                  </a:lnTo>
                  <a:lnTo>
                    <a:pt x="825" y="197"/>
                  </a:lnTo>
                  <a:lnTo>
                    <a:pt x="826" y="199"/>
                  </a:lnTo>
                  <a:lnTo>
                    <a:pt x="827" y="201"/>
                  </a:lnTo>
                  <a:lnTo>
                    <a:pt x="829" y="204"/>
                  </a:lnTo>
                  <a:lnTo>
                    <a:pt x="830" y="207"/>
                  </a:lnTo>
                  <a:lnTo>
                    <a:pt x="831" y="209"/>
                  </a:lnTo>
                  <a:lnTo>
                    <a:pt x="833" y="212"/>
                  </a:lnTo>
                  <a:lnTo>
                    <a:pt x="834" y="215"/>
                  </a:lnTo>
                  <a:lnTo>
                    <a:pt x="837" y="224"/>
                  </a:lnTo>
                  <a:lnTo>
                    <a:pt x="838" y="228"/>
                  </a:lnTo>
                  <a:lnTo>
                    <a:pt x="838" y="230"/>
                  </a:lnTo>
                  <a:lnTo>
                    <a:pt x="838" y="234"/>
                  </a:lnTo>
                  <a:lnTo>
                    <a:pt x="838" y="237"/>
                  </a:lnTo>
                  <a:lnTo>
                    <a:pt x="837" y="240"/>
                  </a:lnTo>
                  <a:lnTo>
                    <a:pt x="836" y="244"/>
                  </a:lnTo>
                  <a:lnTo>
                    <a:pt x="835" y="246"/>
                  </a:lnTo>
                  <a:lnTo>
                    <a:pt x="833" y="248"/>
                  </a:lnTo>
                  <a:lnTo>
                    <a:pt x="829" y="254"/>
                  </a:lnTo>
                  <a:lnTo>
                    <a:pt x="827" y="256"/>
                  </a:lnTo>
                  <a:lnTo>
                    <a:pt x="827" y="259"/>
                  </a:lnTo>
                  <a:lnTo>
                    <a:pt x="824" y="266"/>
                  </a:lnTo>
                  <a:lnTo>
                    <a:pt x="823" y="268"/>
                  </a:lnTo>
                  <a:lnTo>
                    <a:pt x="822" y="269"/>
                  </a:lnTo>
                  <a:lnTo>
                    <a:pt x="822" y="270"/>
                  </a:lnTo>
                  <a:lnTo>
                    <a:pt x="820" y="271"/>
                  </a:lnTo>
                  <a:lnTo>
                    <a:pt x="818" y="272"/>
                  </a:lnTo>
                  <a:lnTo>
                    <a:pt x="813" y="275"/>
                  </a:lnTo>
                  <a:lnTo>
                    <a:pt x="811" y="276"/>
                  </a:lnTo>
                  <a:lnTo>
                    <a:pt x="810" y="277"/>
                  </a:lnTo>
                  <a:lnTo>
                    <a:pt x="808" y="279"/>
                  </a:lnTo>
                  <a:lnTo>
                    <a:pt x="807" y="281"/>
                  </a:lnTo>
                  <a:lnTo>
                    <a:pt x="806" y="283"/>
                  </a:lnTo>
                  <a:lnTo>
                    <a:pt x="805" y="283"/>
                  </a:lnTo>
                  <a:lnTo>
                    <a:pt x="805" y="285"/>
                  </a:lnTo>
                  <a:lnTo>
                    <a:pt x="805" y="287"/>
                  </a:lnTo>
                  <a:lnTo>
                    <a:pt x="805" y="289"/>
                  </a:lnTo>
                  <a:lnTo>
                    <a:pt x="806" y="291"/>
                  </a:lnTo>
                  <a:lnTo>
                    <a:pt x="807" y="293"/>
                  </a:lnTo>
                  <a:lnTo>
                    <a:pt x="808" y="294"/>
                  </a:lnTo>
                  <a:lnTo>
                    <a:pt x="811" y="300"/>
                  </a:lnTo>
                  <a:lnTo>
                    <a:pt x="812" y="302"/>
                  </a:lnTo>
                  <a:lnTo>
                    <a:pt x="813" y="304"/>
                  </a:lnTo>
                  <a:lnTo>
                    <a:pt x="815" y="308"/>
                  </a:lnTo>
                  <a:lnTo>
                    <a:pt x="816" y="310"/>
                  </a:lnTo>
                  <a:lnTo>
                    <a:pt x="816" y="312"/>
                  </a:lnTo>
                  <a:lnTo>
                    <a:pt x="817" y="314"/>
                  </a:lnTo>
                  <a:lnTo>
                    <a:pt x="818" y="316"/>
                  </a:lnTo>
                  <a:lnTo>
                    <a:pt x="820" y="317"/>
                  </a:lnTo>
                  <a:lnTo>
                    <a:pt x="822" y="319"/>
                  </a:lnTo>
                  <a:lnTo>
                    <a:pt x="824" y="320"/>
                  </a:lnTo>
                  <a:lnTo>
                    <a:pt x="826" y="322"/>
                  </a:lnTo>
                  <a:lnTo>
                    <a:pt x="827" y="323"/>
                  </a:lnTo>
                  <a:lnTo>
                    <a:pt x="828" y="323"/>
                  </a:lnTo>
                  <a:lnTo>
                    <a:pt x="830" y="324"/>
                  </a:lnTo>
                  <a:lnTo>
                    <a:pt x="832" y="325"/>
                  </a:lnTo>
                  <a:lnTo>
                    <a:pt x="834" y="325"/>
                  </a:lnTo>
                  <a:lnTo>
                    <a:pt x="837" y="326"/>
                  </a:lnTo>
                  <a:lnTo>
                    <a:pt x="843" y="326"/>
                  </a:lnTo>
                  <a:lnTo>
                    <a:pt x="846" y="327"/>
                  </a:lnTo>
                  <a:lnTo>
                    <a:pt x="848" y="327"/>
                  </a:lnTo>
                  <a:lnTo>
                    <a:pt x="850" y="328"/>
                  </a:lnTo>
                  <a:lnTo>
                    <a:pt x="853" y="329"/>
                  </a:lnTo>
                  <a:lnTo>
                    <a:pt x="855" y="330"/>
                  </a:lnTo>
                  <a:lnTo>
                    <a:pt x="857" y="332"/>
                  </a:lnTo>
                  <a:lnTo>
                    <a:pt x="858" y="333"/>
                  </a:lnTo>
                  <a:lnTo>
                    <a:pt x="861" y="337"/>
                  </a:lnTo>
                  <a:lnTo>
                    <a:pt x="861" y="339"/>
                  </a:lnTo>
                  <a:lnTo>
                    <a:pt x="863" y="340"/>
                  </a:lnTo>
                  <a:lnTo>
                    <a:pt x="867" y="343"/>
                  </a:lnTo>
                  <a:lnTo>
                    <a:pt x="871" y="346"/>
                  </a:lnTo>
                  <a:lnTo>
                    <a:pt x="874" y="350"/>
                  </a:lnTo>
                  <a:lnTo>
                    <a:pt x="875" y="351"/>
                  </a:lnTo>
                  <a:lnTo>
                    <a:pt x="876" y="352"/>
                  </a:lnTo>
                  <a:lnTo>
                    <a:pt x="877" y="354"/>
                  </a:lnTo>
                  <a:lnTo>
                    <a:pt x="878" y="356"/>
                  </a:lnTo>
                  <a:lnTo>
                    <a:pt x="878" y="358"/>
                  </a:lnTo>
                  <a:lnTo>
                    <a:pt x="878" y="364"/>
                  </a:lnTo>
                  <a:lnTo>
                    <a:pt x="878" y="367"/>
                  </a:lnTo>
                  <a:lnTo>
                    <a:pt x="879" y="370"/>
                  </a:lnTo>
                  <a:lnTo>
                    <a:pt x="880" y="372"/>
                  </a:lnTo>
                  <a:lnTo>
                    <a:pt x="880" y="374"/>
                  </a:lnTo>
                  <a:lnTo>
                    <a:pt x="881" y="376"/>
                  </a:lnTo>
                  <a:lnTo>
                    <a:pt x="882" y="377"/>
                  </a:lnTo>
                  <a:lnTo>
                    <a:pt x="883" y="379"/>
                  </a:lnTo>
                  <a:lnTo>
                    <a:pt x="884" y="380"/>
                  </a:lnTo>
                  <a:lnTo>
                    <a:pt x="885" y="382"/>
                  </a:lnTo>
                  <a:lnTo>
                    <a:pt x="887" y="383"/>
                  </a:lnTo>
                  <a:lnTo>
                    <a:pt x="889" y="385"/>
                  </a:lnTo>
                  <a:lnTo>
                    <a:pt x="890" y="385"/>
                  </a:lnTo>
                  <a:lnTo>
                    <a:pt x="892" y="386"/>
                  </a:lnTo>
                  <a:lnTo>
                    <a:pt x="895" y="387"/>
                  </a:lnTo>
                  <a:lnTo>
                    <a:pt x="896" y="388"/>
                  </a:lnTo>
                  <a:lnTo>
                    <a:pt x="898" y="388"/>
                  </a:lnTo>
                  <a:lnTo>
                    <a:pt x="900" y="388"/>
                  </a:lnTo>
                  <a:lnTo>
                    <a:pt x="902" y="388"/>
                  </a:lnTo>
                  <a:lnTo>
                    <a:pt x="904" y="388"/>
                  </a:lnTo>
                  <a:lnTo>
                    <a:pt x="916" y="386"/>
                  </a:lnTo>
                  <a:lnTo>
                    <a:pt x="918" y="386"/>
                  </a:lnTo>
                  <a:lnTo>
                    <a:pt x="921" y="386"/>
                  </a:lnTo>
                  <a:lnTo>
                    <a:pt x="931" y="388"/>
                  </a:lnTo>
                  <a:lnTo>
                    <a:pt x="938" y="389"/>
                  </a:lnTo>
                  <a:lnTo>
                    <a:pt x="946" y="390"/>
                  </a:lnTo>
                  <a:lnTo>
                    <a:pt x="949" y="390"/>
                  </a:lnTo>
                  <a:lnTo>
                    <a:pt x="952" y="390"/>
                  </a:lnTo>
                  <a:lnTo>
                    <a:pt x="954" y="390"/>
                  </a:lnTo>
                  <a:lnTo>
                    <a:pt x="957" y="389"/>
                  </a:lnTo>
                  <a:lnTo>
                    <a:pt x="965" y="386"/>
                  </a:lnTo>
                  <a:lnTo>
                    <a:pt x="972" y="384"/>
                  </a:lnTo>
                  <a:lnTo>
                    <a:pt x="975" y="383"/>
                  </a:lnTo>
                  <a:lnTo>
                    <a:pt x="978" y="382"/>
                  </a:lnTo>
                  <a:lnTo>
                    <a:pt x="980" y="382"/>
                  </a:lnTo>
                  <a:lnTo>
                    <a:pt x="982" y="381"/>
                  </a:lnTo>
                  <a:lnTo>
                    <a:pt x="984" y="381"/>
                  </a:lnTo>
                  <a:lnTo>
                    <a:pt x="986" y="382"/>
                  </a:lnTo>
                  <a:lnTo>
                    <a:pt x="986" y="382"/>
                  </a:lnTo>
                  <a:lnTo>
                    <a:pt x="988" y="383"/>
                  </a:lnTo>
                  <a:lnTo>
                    <a:pt x="990" y="384"/>
                  </a:lnTo>
                  <a:lnTo>
                    <a:pt x="993" y="385"/>
                  </a:lnTo>
                  <a:lnTo>
                    <a:pt x="996" y="388"/>
                  </a:lnTo>
                  <a:lnTo>
                    <a:pt x="998" y="390"/>
                  </a:lnTo>
                  <a:lnTo>
                    <a:pt x="999" y="392"/>
                  </a:lnTo>
                  <a:lnTo>
                    <a:pt x="1001" y="394"/>
                  </a:lnTo>
                  <a:lnTo>
                    <a:pt x="1002" y="396"/>
                  </a:lnTo>
                  <a:lnTo>
                    <a:pt x="1003" y="397"/>
                  </a:lnTo>
                  <a:lnTo>
                    <a:pt x="1004" y="400"/>
                  </a:lnTo>
                  <a:lnTo>
                    <a:pt x="1005" y="403"/>
                  </a:lnTo>
                  <a:lnTo>
                    <a:pt x="1005" y="406"/>
                  </a:lnTo>
                  <a:lnTo>
                    <a:pt x="1006" y="409"/>
                  </a:lnTo>
                  <a:lnTo>
                    <a:pt x="1006" y="414"/>
                  </a:lnTo>
                  <a:lnTo>
                    <a:pt x="1007" y="422"/>
                  </a:lnTo>
                  <a:lnTo>
                    <a:pt x="1007" y="426"/>
                  </a:lnTo>
                  <a:lnTo>
                    <a:pt x="1006" y="430"/>
                  </a:lnTo>
                  <a:lnTo>
                    <a:pt x="1004" y="437"/>
                  </a:lnTo>
                  <a:lnTo>
                    <a:pt x="1004" y="439"/>
                  </a:lnTo>
                  <a:lnTo>
                    <a:pt x="1004" y="442"/>
                  </a:lnTo>
                  <a:lnTo>
                    <a:pt x="1004" y="445"/>
                  </a:lnTo>
                  <a:lnTo>
                    <a:pt x="1004" y="450"/>
                  </a:lnTo>
                  <a:lnTo>
                    <a:pt x="1005" y="453"/>
                  </a:lnTo>
                  <a:lnTo>
                    <a:pt x="1005" y="457"/>
                  </a:lnTo>
                  <a:lnTo>
                    <a:pt x="1006" y="459"/>
                  </a:lnTo>
                  <a:lnTo>
                    <a:pt x="1006" y="461"/>
                  </a:lnTo>
                  <a:lnTo>
                    <a:pt x="1008" y="464"/>
                  </a:lnTo>
                  <a:lnTo>
                    <a:pt x="1009" y="468"/>
                  </a:lnTo>
                  <a:lnTo>
                    <a:pt x="1014" y="475"/>
                  </a:lnTo>
                  <a:lnTo>
                    <a:pt x="1015" y="476"/>
                  </a:lnTo>
                  <a:lnTo>
                    <a:pt x="1017" y="481"/>
                  </a:lnTo>
                  <a:lnTo>
                    <a:pt x="1019" y="483"/>
                  </a:lnTo>
                  <a:lnTo>
                    <a:pt x="1020" y="487"/>
                  </a:lnTo>
                  <a:lnTo>
                    <a:pt x="1020" y="488"/>
                  </a:lnTo>
                  <a:lnTo>
                    <a:pt x="1020" y="490"/>
                  </a:lnTo>
                  <a:lnTo>
                    <a:pt x="1020" y="492"/>
                  </a:lnTo>
                  <a:lnTo>
                    <a:pt x="1020" y="495"/>
                  </a:lnTo>
                  <a:lnTo>
                    <a:pt x="1019" y="497"/>
                  </a:lnTo>
                  <a:lnTo>
                    <a:pt x="1019" y="498"/>
                  </a:lnTo>
                  <a:lnTo>
                    <a:pt x="1018" y="501"/>
                  </a:lnTo>
                  <a:lnTo>
                    <a:pt x="1015" y="507"/>
                  </a:lnTo>
                  <a:lnTo>
                    <a:pt x="1014" y="509"/>
                  </a:lnTo>
                  <a:lnTo>
                    <a:pt x="1013" y="511"/>
                  </a:lnTo>
                  <a:lnTo>
                    <a:pt x="1010" y="515"/>
                  </a:lnTo>
                  <a:lnTo>
                    <a:pt x="1008" y="521"/>
                  </a:lnTo>
                  <a:lnTo>
                    <a:pt x="1006" y="522"/>
                  </a:lnTo>
                  <a:lnTo>
                    <a:pt x="1002" y="527"/>
                  </a:lnTo>
                  <a:lnTo>
                    <a:pt x="999" y="530"/>
                  </a:lnTo>
                  <a:lnTo>
                    <a:pt x="997" y="533"/>
                  </a:lnTo>
                  <a:lnTo>
                    <a:pt x="996" y="535"/>
                  </a:lnTo>
                  <a:lnTo>
                    <a:pt x="996" y="536"/>
                  </a:lnTo>
                  <a:lnTo>
                    <a:pt x="996" y="538"/>
                  </a:lnTo>
                  <a:lnTo>
                    <a:pt x="996" y="539"/>
                  </a:lnTo>
                  <a:lnTo>
                    <a:pt x="997" y="543"/>
                  </a:lnTo>
                  <a:lnTo>
                    <a:pt x="997" y="545"/>
                  </a:lnTo>
                  <a:lnTo>
                    <a:pt x="997" y="546"/>
                  </a:lnTo>
                  <a:lnTo>
                    <a:pt x="996" y="548"/>
                  </a:lnTo>
                  <a:lnTo>
                    <a:pt x="994" y="554"/>
                  </a:lnTo>
                  <a:lnTo>
                    <a:pt x="994" y="555"/>
                  </a:lnTo>
                  <a:lnTo>
                    <a:pt x="994" y="555"/>
                  </a:lnTo>
                  <a:lnTo>
                    <a:pt x="995" y="556"/>
                  </a:lnTo>
                  <a:lnTo>
                    <a:pt x="996" y="557"/>
                  </a:lnTo>
                  <a:lnTo>
                    <a:pt x="997" y="558"/>
                  </a:lnTo>
                  <a:lnTo>
                    <a:pt x="999" y="559"/>
                  </a:lnTo>
                  <a:lnTo>
                    <a:pt x="1008" y="562"/>
                  </a:lnTo>
                  <a:lnTo>
                    <a:pt x="1016" y="565"/>
                  </a:lnTo>
                  <a:lnTo>
                    <a:pt x="1020" y="566"/>
                  </a:lnTo>
                  <a:lnTo>
                    <a:pt x="1022" y="566"/>
                  </a:lnTo>
                  <a:lnTo>
                    <a:pt x="1029" y="567"/>
                  </a:lnTo>
                  <a:lnTo>
                    <a:pt x="1032" y="568"/>
                  </a:lnTo>
                  <a:lnTo>
                    <a:pt x="1033" y="568"/>
                  </a:lnTo>
                  <a:lnTo>
                    <a:pt x="1035" y="569"/>
                  </a:lnTo>
                  <a:lnTo>
                    <a:pt x="1038" y="571"/>
                  </a:lnTo>
                  <a:lnTo>
                    <a:pt x="1044" y="575"/>
                  </a:lnTo>
                  <a:lnTo>
                    <a:pt x="1047" y="578"/>
                  </a:lnTo>
                  <a:lnTo>
                    <a:pt x="1050" y="579"/>
                  </a:lnTo>
                  <a:lnTo>
                    <a:pt x="1051" y="580"/>
                  </a:lnTo>
                  <a:lnTo>
                    <a:pt x="1052" y="582"/>
                  </a:lnTo>
                  <a:lnTo>
                    <a:pt x="1052" y="583"/>
                  </a:lnTo>
                  <a:lnTo>
                    <a:pt x="1053" y="584"/>
                  </a:lnTo>
                  <a:lnTo>
                    <a:pt x="1054" y="586"/>
                  </a:lnTo>
                  <a:lnTo>
                    <a:pt x="1054" y="587"/>
                  </a:lnTo>
                  <a:lnTo>
                    <a:pt x="1054" y="589"/>
                  </a:lnTo>
                  <a:lnTo>
                    <a:pt x="1054" y="589"/>
                  </a:lnTo>
                  <a:lnTo>
                    <a:pt x="1054" y="592"/>
                  </a:lnTo>
                  <a:lnTo>
                    <a:pt x="1054" y="595"/>
                  </a:lnTo>
                  <a:lnTo>
                    <a:pt x="1053" y="599"/>
                  </a:lnTo>
                  <a:lnTo>
                    <a:pt x="1053" y="600"/>
                  </a:lnTo>
                  <a:lnTo>
                    <a:pt x="1052" y="600"/>
                  </a:lnTo>
                  <a:lnTo>
                    <a:pt x="1052" y="601"/>
                  </a:lnTo>
                  <a:lnTo>
                    <a:pt x="1051" y="602"/>
                  </a:lnTo>
                  <a:lnTo>
                    <a:pt x="1050" y="603"/>
                  </a:lnTo>
                  <a:lnTo>
                    <a:pt x="1048" y="604"/>
                  </a:lnTo>
                  <a:lnTo>
                    <a:pt x="1047" y="605"/>
                  </a:lnTo>
                  <a:lnTo>
                    <a:pt x="1045" y="605"/>
                  </a:lnTo>
                  <a:lnTo>
                    <a:pt x="1043" y="606"/>
                  </a:lnTo>
                  <a:lnTo>
                    <a:pt x="1038" y="607"/>
                  </a:lnTo>
                  <a:lnTo>
                    <a:pt x="1036" y="608"/>
                  </a:lnTo>
                  <a:lnTo>
                    <a:pt x="1034" y="609"/>
                  </a:lnTo>
                  <a:lnTo>
                    <a:pt x="1033" y="610"/>
                  </a:lnTo>
                  <a:lnTo>
                    <a:pt x="1032" y="611"/>
                  </a:lnTo>
                  <a:lnTo>
                    <a:pt x="1032" y="612"/>
                  </a:lnTo>
                  <a:lnTo>
                    <a:pt x="1031" y="612"/>
                  </a:lnTo>
                  <a:lnTo>
                    <a:pt x="1031" y="613"/>
                  </a:lnTo>
                  <a:lnTo>
                    <a:pt x="1031" y="614"/>
                  </a:lnTo>
                  <a:lnTo>
                    <a:pt x="1031" y="615"/>
                  </a:lnTo>
                  <a:lnTo>
                    <a:pt x="1031" y="616"/>
                  </a:lnTo>
                  <a:lnTo>
                    <a:pt x="1032" y="618"/>
                  </a:lnTo>
                  <a:lnTo>
                    <a:pt x="1032" y="619"/>
                  </a:lnTo>
                  <a:lnTo>
                    <a:pt x="1034" y="621"/>
                  </a:lnTo>
                  <a:lnTo>
                    <a:pt x="1035" y="623"/>
                  </a:lnTo>
                  <a:lnTo>
                    <a:pt x="1036" y="623"/>
                  </a:lnTo>
                  <a:lnTo>
                    <a:pt x="1036" y="624"/>
                  </a:lnTo>
                  <a:lnTo>
                    <a:pt x="1036" y="625"/>
                  </a:lnTo>
                  <a:lnTo>
                    <a:pt x="1036" y="626"/>
                  </a:lnTo>
                  <a:lnTo>
                    <a:pt x="1033" y="630"/>
                  </a:lnTo>
                  <a:lnTo>
                    <a:pt x="1033" y="632"/>
                  </a:lnTo>
                  <a:lnTo>
                    <a:pt x="1032" y="633"/>
                  </a:lnTo>
                  <a:lnTo>
                    <a:pt x="1032" y="636"/>
                  </a:lnTo>
                  <a:lnTo>
                    <a:pt x="1031" y="643"/>
                  </a:lnTo>
                  <a:lnTo>
                    <a:pt x="1031" y="645"/>
                  </a:lnTo>
                  <a:lnTo>
                    <a:pt x="1030" y="647"/>
                  </a:lnTo>
                  <a:lnTo>
                    <a:pt x="1029" y="649"/>
                  </a:lnTo>
                  <a:lnTo>
                    <a:pt x="1029" y="650"/>
                  </a:lnTo>
                  <a:lnTo>
                    <a:pt x="1028" y="652"/>
                  </a:lnTo>
                  <a:lnTo>
                    <a:pt x="1026" y="653"/>
                  </a:lnTo>
                  <a:lnTo>
                    <a:pt x="1025" y="654"/>
                  </a:lnTo>
                  <a:lnTo>
                    <a:pt x="1023" y="656"/>
                  </a:lnTo>
                  <a:lnTo>
                    <a:pt x="1017" y="660"/>
                  </a:lnTo>
                  <a:lnTo>
                    <a:pt x="1015" y="662"/>
                  </a:lnTo>
                  <a:lnTo>
                    <a:pt x="1014" y="663"/>
                  </a:lnTo>
                  <a:lnTo>
                    <a:pt x="1014" y="664"/>
                  </a:lnTo>
                  <a:lnTo>
                    <a:pt x="1014" y="665"/>
                  </a:lnTo>
                  <a:lnTo>
                    <a:pt x="1014" y="666"/>
                  </a:lnTo>
                  <a:lnTo>
                    <a:pt x="1015" y="667"/>
                  </a:lnTo>
                  <a:lnTo>
                    <a:pt x="1016" y="667"/>
                  </a:lnTo>
                  <a:lnTo>
                    <a:pt x="1018" y="669"/>
                  </a:lnTo>
                  <a:lnTo>
                    <a:pt x="1019" y="671"/>
                  </a:lnTo>
                  <a:lnTo>
                    <a:pt x="1020" y="671"/>
                  </a:lnTo>
                  <a:lnTo>
                    <a:pt x="1020" y="672"/>
                  </a:lnTo>
                  <a:lnTo>
                    <a:pt x="1019" y="673"/>
                  </a:lnTo>
                  <a:lnTo>
                    <a:pt x="1019" y="674"/>
                  </a:lnTo>
                  <a:lnTo>
                    <a:pt x="1017" y="675"/>
                  </a:lnTo>
                  <a:lnTo>
                    <a:pt x="1014" y="676"/>
                  </a:lnTo>
                  <a:lnTo>
                    <a:pt x="1010" y="678"/>
                  </a:lnTo>
                  <a:lnTo>
                    <a:pt x="1009" y="678"/>
                  </a:lnTo>
                  <a:lnTo>
                    <a:pt x="1008" y="679"/>
                  </a:lnTo>
                  <a:lnTo>
                    <a:pt x="1007" y="680"/>
                  </a:lnTo>
                  <a:lnTo>
                    <a:pt x="1005" y="681"/>
                  </a:lnTo>
                  <a:lnTo>
                    <a:pt x="1005" y="682"/>
                  </a:lnTo>
                  <a:lnTo>
                    <a:pt x="1004" y="683"/>
                  </a:lnTo>
                  <a:lnTo>
                    <a:pt x="1004" y="684"/>
                  </a:lnTo>
                  <a:lnTo>
                    <a:pt x="1004" y="685"/>
                  </a:lnTo>
                  <a:lnTo>
                    <a:pt x="1004" y="687"/>
                  </a:lnTo>
                  <a:lnTo>
                    <a:pt x="1005" y="689"/>
                  </a:lnTo>
                  <a:lnTo>
                    <a:pt x="1006" y="691"/>
                  </a:lnTo>
                  <a:lnTo>
                    <a:pt x="1007" y="693"/>
                  </a:lnTo>
                  <a:lnTo>
                    <a:pt x="1009" y="695"/>
                  </a:lnTo>
                  <a:lnTo>
                    <a:pt x="1009" y="697"/>
                  </a:lnTo>
                  <a:lnTo>
                    <a:pt x="1011" y="698"/>
                  </a:lnTo>
                  <a:lnTo>
                    <a:pt x="1014" y="700"/>
                  </a:lnTo>
                  <a:lnTo>
                    <a:pt x="1016" y="702"/>
                  </a:lnTo>
                  <a:lnTo>
                    <a:pt x="1020" y="703"/>
                  </a:lnTo>
                  <a:lnTo>
                    <a:pt x="1022" y="704"/>
                  </a:lnTo>
                  <a:lnTo>
                    <a:pt x="1026" y="705"/>
                  </a:lnTo>
                  <a:lnTo>
                    <a:pt x="1032" y="707"/>
                  </a:lnTo>
                  <a:lnTo>
                    <a:pt x="1033" y="707"/>
                  </a:lnTo>
                  <a:lnTo>
                    <a:pt x="1036" y="708"/>
                  </a:lnTo>
                  <a:lnTo>
                    <a:pt x="1039" y="710"/>
                  </a:lnTo>
                  <a:lnTo>
                    <a:pt x="1042" y="712"/>
                  </a:lnTo>
                  <a:lnTo>
                    <a:pt x="1043" y="713"/>
                  </a:lnTo>
                  <a:lnTo>
                    <a:pt x="1044" y="714"/>
                  </a:lnTo>
                  <a:lnTo>
                    <a:pt x="1045" y="715"/>
                  </a:lnTo>
                  <a:lnTo>
                    <a:pt x="1047" y="716"/>
                  </a:lnTo>
                  <a:lnTo>
                    <a:pt x="1049" y="717"/>
                  </a:lnTo>
                  <a:lnTo>
                    <a:pt x="1052" y="718"/>
                  </a:lnTo>
                  <a:lnTo>
                    <a:pt x="1056" y="720"/>
                  </a:lnTo>
                  <a:lnTo>
                    <a:pt x="1059" y="720"/>
                  </a:lnTo>
                  <a:lnTo>
                    <a:pt x="1063" y="721"/>
                  </a:lnTo>
                  <a:lnTo>
                    <a:pt x="1065" y="721"/>
                  </a:lnTo>
                  <a:lnTo>
                    <a:pt x="1066" y="721"/>
                  </a:lnTo>
                  <a:lnTo>
                    <a:pt x="1066" y="722"/>
                  </a:lnTo>
                  <a:lnTo>
                    <a:pt x="1067" y="723"/>
                  </a:lnTo>
                  <a:lnTo>
                    <a:pt x="1069" y="725"/>
                  </a:lnTo>
                  <a:lnTo>
                    <a:pt x="1071" y="726"/>
                  </a:lnTo>
                  <a:lnTo>
                    <a:pt x="1072" y="727"/>
                  </a:lnTo>
                  <a:lnTo>
                    <a:pt x="1075" y="727"/>
                  </a:lnTo>
                  <a:lnTo>
                    <a:pt x="1076" y="728"/>
                  </a:lnTo>
                  <a:lnTo>
                    <a:pt x="1077" y="728"/>
                  </a:lnTo>
                  <a:lnTo>
                    <a:pt x="1077" y="730"/>
                  </a:lnTo>
                  <a:lnTo>
                    <a:pt x="1077" y="731"/>
                  </a:lnTo>
                  <a:lnTo>
                    <a:pt x="1077" y="732"/>
                  </a:lnTo>
                  <a:lnTo>
                    <a:pt x="1077" y="736"/>
                  </a:lnTo>
                  <a:lnTo>
                    <a:pt x="1078" y="741"/>
                  </a:lnTo>
                  <a:lnTo>
                    <a:pt x="1078" y="743"/>
                  </a:lnTo>
                  <a:lnTo>
                    <a:pt x="1079" y="744"/>
                  </a:lnTo>
                  <a:lnTo>
                    <a:pt x="1079" y="746"/>
                  </a:lnTo>
                  <a:lnTo>
                    <a:pt x="1080" y="747"/>
                  </a:lnTo>
                  <a:lnTo>
                    <a:pt x="1081" y="748"/>
                  </a:lnTo>
                  <a:lnTo>
                    <a:pt x="1083" y="750"/>
                  </a:lnTo>
                  <a:lnTo>
                    <a:pt x="1085" y="752"/>
                  </a:lnTo>
                  <a:lnTo>
                    <a:pt x="1088" y="755"/>
                  </a:lnTo>
                  <a:lnTo>
                    <a:pt x="1090" y="758"/>
                  </a:lnTo>
                  <a:lnTo>
                    <a:pt x="1095" y="760"/>
                  </a:lnTo>
                  <a:lnTo>
                    <a:pt x="1100" y="763"/>
                  </a:lnTo>
                  <a:lnTo>
                    <a:pt x="1102" y="764"/>
                  </a:lnTo>
                  <a:lnTo>
                    <a:pt x="1109" y="768"/>
                  </a:lnTo>
                  <a:lnTo>
                    <a:pt x="1111" y="770"/>
                  </a:lnTo>
                  <a:lnTo>
                    <a:pt x="1113" y="770"/>
                  </a:lnTo>
                  <a:lnTo>
                    <a:pt x="1117" y="773"/>
                  </a:lnTo>
                  <a:lnTo>
                    <a:pt x="1119" y="775"/>
                  </a:lnTo>
                  <a:lnTo>
                    <a:pt x="1120" y="777"/>
                  </a:lnTo>
                  <a:lnTo>
                    <a:pt x="1121" y="779"/>
                  </a:lnTo>
                  <a:lnTo>
                    <a:pt x="1122" y="780"/>
                  </a:lnTo>
                  <a:lnTo>
                    <a:pt x="1123" y="782"/>
                  </a:lnTo>
                  <a:lnTo>
                    <a:pt x="1123" y="784"/>
                  </a:lnTo>
                  <a:lnTo>
                    <a:pt x="1123" y="786"/>
                  </a:lnTo>
                  <a:lnTo>
                    <a:pt x="1123" y="790"/>
                  </a:lnTo>
                  <a:lnTo>
                    <a:pt x="1121" y="795"/>
                  </a:lnTo>
                  <a:lnTo>
                    <a:pt x="1121" y="797"/>
                  </a:lnTo>
                  <a:lnTo>
                    <a:pt x="1121" y="799"/>
                  </a:lnTo>
                  <a:lnTo>
                    <a:pt x="1121" y="800"/>
                  </a:lnTo>
                  <a:lnTo>
                    <a:pt x="1121" y="802"/>
                  </a:lnTo>
                  <a:lnTo>
                    <a:pt x="1121" y="804"/>
                  </a:lnTo>
                  <a:lnTo>
                    <a:pt x="1123" y="811"/>
                  </a:lnTo>
                  <a:lnTo>
                    <a:pt x="1123" y="813"/>
                  </a:lnTo>
                  <a:lnTo>
                    <a:pt x="1123" y="816"/>
                  </a:lnTo>
                  <a:lnTo>
                    <a:pt x="1123" y="818"/>
                  </a:lnTo>
                  <a:lnTo>
                    <a:pt x="1123" y="821"/>
                  </a:lnTo>
                  <a:lnTo>
                    <a:pt x="1122" y="824"/>
                  </a:lnTo>
                  <a:lnTo>
                    <a:pt x="1120" y="828"/>
                  </a:lnTo>
                  <a:lnTo>
                    <a:pt x="1118" y="832"/>
                  </a:lnTo>
                  <a:lnTo>
                    <a:pt x="1114" y="842"/>
                  </a:lnTo>
                  <a:lnTo>
                    <a:pt x="1113" y="844"/>
                  </a:lnTo>
                  <a:lnTo>
                    <a:pt x="1111" y="846"/>
                  </a:lnTo>
                  <a:lnTo>
                    <a:pt x="1108" y="851"/>
                  </a:lnTo>
                  <a:lnTo>
                    <a:pt x="1106" y="853"/>
                  </a:lnTo>
                  <a:lnTo>
                    <a:pt x="1106" y="854"/>
                  </a:lnTo>
                  <a:lnTo>
                    <a:pt x="1105" y="856"/>
                  </a:lnTo>
                  <a:lnTo>
                    <a:pt x="1104" y="859"/>
                  </a:lnTo>
                  <a:lnTo>
                    <a:pt x="1104" y="861"/>
                  </a:lnTo>
                  <a:lnTo>
                    <a:pt x="1103" y="869"/>
                  </a:lnTo>
                  <a:lnTo>
                    <a:pt x="1102" y="878"/>
                  </a:lnTo>
                  <a:lnTo>
                    <a:pt x="1100" y="887"/>
                  </a:lnTo>
                  <a:lnTo>
                    <a:pt x="1100" y="893"/>
                  </a:lnTo>
                  <a:lnTo>
                    <a:pt x="1100" y="894"/>
                  </a:lnTo>
                  <a:lnTo>
                    <a:pt x="1100" y="895"/>
                  </a:lnTo>
                  <a:lnTo>
                    <a:pt x="1100" y="895"/>
                  </a:lnTo>
                  <a:lnTo>
                    <a:pt x="1099" y="896"/>
                  </a:lnTo>
                  <a:lnTo>
                    <a:pt x="1097" y="898"/>
                  </a:lnTo>
                  <a:lnTo>
                    <a:pt x="1096" y="900"/>
                  </a:lnTo>
                  <a:lnTo>
                    <a:pt x="1094" y="902"/>
                  </a:lnTo>
                  <a:lnTo>
                    <a:pt x="1088" y="906"/>
                  </a:lnTo>
                  <a:lnTo>
                    <a:pt x="1082" y="911"/>
                  </a:lnTo>
                  <a:lnTo>
                    <a:pt x="1080" y="912"/>
                  </a:lnTo>
                  <a:lnTo>
                    <a:pt x="1079" y="913"/>
                  </a:lnTo>
                  <a:lnTo>
                    <a:pt x="1077" y="914"/>
                  </a:lnTo>
                  <a:lnTo>
                    <a:pt x="1076" y="915"/>
                  </a:lnTo>
                  <a:lnTo>
                    <a:pt x="1074" y="915"/>
                  </a:lnTo>
                  <a:lnTo>
                    <a:pt x="1072" y="916"/>
                  </a:lnTo>
                  <a:lnTo>
                    <a:pt x="1066" y="916"/>
                  </a:lnTo>
                  <a:lnTo>
                    <a:pt x="1064" y="917"/>
                  </a:lnTo>
                  <a:lnTo>
                    <a:pt x="1062" y="918"/>
                  </a:lnTo>
                  <a:lnTo>
                    <a:pt x="1059" y="918"/>
                  </a:lnTo>
                  <a:lnTo>
                    <a:pt x="1057" y="919"/>
                  </a:lnTo>
                  <a:lnTo>
                    <a:pt x="1055" y="920"/>
                  </a:lnTo>
                  <a:lnTo>
                    <a:pt x="1054" y="922"/>
                  </a:lnTo>
                  <a:lnTo>
                    <a:pt x="1053" y="923"/>
                  </a:lnTo>
                  <a:lnTo>
                    <a:pt x="1049" y="926"/>
                  </a:lnTo>
                  <a:lnTo>
                    <a:pt x="1047" y="929"/>
                  </a:lnTo>
                  <a:lnTo>
                    <a:pt x="1045" y="930"/>
                  </a:lnTo>
                  <a:lnTo>
                    <a:pt x="1044" y="931"/>
                  </a:lnTo>
                  <a:lnTo>
                    <a:pt x="1044" y="933"/>
                  </a:lnTo>
                  <a:lnTo>
                    <a:pt x="1043" y="934"/>
                  </a:lnTo>
                  <a:lnTo>
                    <a:pt x="1043" y="936"/>
                  </a:lnTo>
                  <a:lnTo>
                    <a:pt x="1043" y="937"/>
                  </a:lnTo>
                  <a:lnTo>
                    <a:pt x="1043" y="939"/>
                  </a:lnTo>
                  <a:lnTo>
                    <a:pt x="1043" y="940"/>
                  </a:lnTo>
                  <a:lnTo>
                    <a:pt x="1043" y="943"/>
                  </a:lnTo>
                  <a:lnTo>
                    <a:pt x="1043" y="945"/>
                  </a:lnTo>
                  <a:lnTo>
                    <a:pt x="1046" y="951"/>
                  </a:lnTo>
                  <a:lnTo>
                    <a:pt x="1048" y="955"/>
                  </a:lnTo>
                  <a:lnTo>
                    <a:pt x="1048" y="957"/>
                  </a:lnTo>
                  <a:lnTo>
                    <a:pt x="1049" y="959"/>
                  </a:lnTo>
                  <a:lnTo>
                    <a:pt x="1049" y="960"/>
                  </a:lnTo>
                  <a:lnTo>
                    <a:pt x="1049" y="962"/>
                  </a:lnTo>
                  <a:lnTo>
                    <a:pt x="1049" y="963"/>
                  </a:lnTo>
                  <a:lnTo>
                    <a:pt x="1049" y="964"/>
                  </a:lnTo>
                  <a:lnTo>
                    <a:pt x="1048" y="965"/>
                  </a:lnTo>
                  <a:lnTo>
                    <a:pt x="1047" y="966"/>
                  </a:lnTo>
                  <a:lnTo>
                    <a:pt x="1047" y="967"/>
                  </a:lnTo>
                  <a:lnTo>
                    <a:pt x="1046" y="968"/>
                  </a:lnTo>
                  <a:lnTo>
                    <a:pt x="1044" y="970"/>
                  </a:lnTo>
                  <a:lnTo>
                    <a:pt x="1043" y="970"/>
                  </a:lnTo>
                  <a:lnTo>
                    <a:pt x="1042" y="971"/>
                  </a:lnTo>
                  <a:lnTo>
                    <a:pt x="1040" y="972"/>
                  </a:lnTo>
                  <a:lnTo>
                    <a:pt x="1038" y="973"/>
                  </a:lnTo>
                  <a:lnTo>
                    <a:pt x="1036" y="973"/>
                  </a:lnTo>
                  <a:lnTo>
                    <a:pt x="1033" y="973"/>
                  </a:lnTo>
                  <a:lnTo>
                    <a:pt x="1031" y="973"/>
                  </a:lnTo>
                  <a:lnTo>
                    <a:pt x="1022" y="973"/>
                  </a:lnTo>
                  <a:lnTo>
                    <a:pt x="1018" y="972"/>
                  </a:lnTo>
                  <a:lnTo>
                    <a:pt x="1016" y="973"/>
                  </a:lnTo>
                  <a:lnTo>
                    <a:pt x="1015" y="973"/>
                  </a:lnTo>
                  <a:lnTo>
                    <a:pt x="1013" y="974"/>
                  </a:lnTo>
                  <a:lnTo>
                    <a:pt x="1011" y="974"/>
                  </a:lnTo>
                  <a:lnTo>
                    <a:pt x="1010" y="975"/>
                  </a:lnTo>
                  <a:lnTo>
                    <a:pt x="1009" y="977"/>
                  </a:lnTo>
                  <a:lnTo>
                    <a:pt x="1006" y="981"/>
                  </a:lnTo>
                  <a:lnTo>
                    <a:pt x="1001" y="987"/>
                  </a:lnTo>
                  <a:lnTo>
                    <a:pt x="999" y="989"/>
                  </a:lnTo>
                  <a:lnTo>
                    <a:pt x="998" y="990"/>
                  </a:lnTo>
                  <a:lnTo>
                    <a:pt x="996" y="992"/>
                  </a:lnTo>
                  <a:lnTo>
                    <a:pt x="991" y="995"/>
                  </a:lnTo>
                  <a:lnTo>
                    <a:pt x="988" y="997"/>
                  </a:lnTo>
                  <a:lnTo>
                    <a:pt x="986" y="997"/>
                  </a:lnTo>
                  <a:lnTo>
                    <a:pt x="983" y="998"/>
                  </a:lnTo>
                  <a:lnTo>
                    <a:pt x="976" y="1000"/>
                  </a:lnTo>
                  <a:lnTo>
                    <a:pt x="974" y="1001"/>
                  </a:lnTo>
                  <a:lnTo>
                    <a:pt x="970" y="1002"/>
                  </a:lnTo>
                  <a:lnTo>
                    <a:pt x="961" y="1005"/>
                  </a:lnTo>
                  <a:lnTo>
                    <a:pt x="958" y="1006"/>
                  </a:lnTo>
                  <a:lnTo>
                    <a:pt x="952" y="1008"/>
                  </a:lnTo>
                  <a:lnTo>
                    <a:pt x="949" y="1008"/>
                  </a:lnTo>
                  <a:lnTo>
                    <a:pt x="944" y="1010"/>
                  </a:lnTo>
                  <a:lnTo>
                    <a:pt x="941" y="1011"/>
                  </a:lnTo>
                  <a:lnTo>
                    <a:pt x="932" y="1016"/>
                  </a:lnTo>
                  <a:lnTo>
                    <a:pt x="930" y="1018"/>
                  </a:lnTo>
                  <a:lnTo>
                    <a:pt x="928" y="1019"/>
                  </a:lnTo>
                  <a:lnTo>
                    <a:pt x="925" y="1020"/>
                  </a:lnTo>
                  <a:lnTo>
                    <a:pt x="923" y="1020"/>
                  </a:lnTo>
                  <a:lnTo>
                    <a:pt x="922" y="1020"/>
                  </a:lnTo>
                  <a:lnTo>
                    <a:pt x="920" y="1020"/>
                  </a:lnTo>
                  <a:lnTo>
                    <a:pt x="918" y="1020"/>
                  </a:lnTo>
                  <a:lnTo>
                    <a:pt x="917" y="1020"/>
                  </a:lnTo>
                  <a:lnTo>
                    <a:pt x="915" y="1019"/>
                  </a:lnTo>
                  <a:lnTo>
                    <a:pt x="914" y="1018"/>
                  </a:lnTo>
                  <a:lnTo>
                    <a:pt x="911" y="1017"/>
                  </a:lnTo>
                  <a:lnTo>
                    <a:pt x="910" y="1017"/>
                  </a:lnTo>
                  <a:lnTo>
                    <a:pt x="908" y="1016"/>
                  </a:lnTo>
                  <a:lnTo>
                    <a:pt x="907" y="1016"/>
                  </a:lnTo>
                  <a:lnTo>
                    <a:pt x="905" y="1017"/>
                  </a:lnTo>
                  <a:lnTo>
                    <a:pt x="903" y="1017"/>
                  </a:lnTo>
                  <a:lnTo>
                    <a:pt x="901" y="1018"/>
                  </a:lnTo>
                  <a:lnTo>
                    <a:pt x="898" y="1019"/>
                  </a:lnTo>
                  <a:lnTo>
                    <a:pt x="897" y="1020"/>
                  </a:lnTo>
                  <a:lnTo>
                    <a:pt x="895" y="1021"/>
                  </a:lnTo>
                  <a:lnTo>
                    <a:pt x="895" y="1022"/>
                  </a:lnTo>
                  <a:lnTo>
                    <a:pt x="894" y="1023"/>
                  </a:lnTo>
                  <a:lnTo>
                    <a:pt x="893" y="1025"/>
                  </a:lnTo>
                  <a:lnTo>
                    <a:pt x="892" y="1027"/>
                  </a:lnTo>
                  <a:lnTo>
                    <a:pt x="891" y="1029"/>
                  </a:lnTo>
                  <a:lnTo>
                    <a:pt x="890" y="1032"/>
                  </a:lnTo>
                  <a:lnTo>
                    <a:pt x="889" y="1034"/>
                  </a:lnTo>
                  <a:lnTo>
                    <a:pt x="886" y="1041"/>
                  </a:lnTo>
                  <a:lnTo>
                    <a:pt x="884" y="1048"/>
                  </a:lnTo>
                  <a:lnTo>
                    <a:pt x="882" y="1051"/>
                  </a:lnTo>
                  <a:lnTo>
                    <a:pt x="881" y="1053"/>
                  </a:lnTo>
                  <a:lnTo>
                    <a:pt x="879" y="1055"/>
                  </a:lnTo>
                  <a:lnTo>
                    <a:pt x="864" y="1072"/>
                  </a:lnTo>
                  <a:lnTo>
                    <a:pt x="862" y="1075"/>
                  </a:lnTo>
                  <a:lnTo>
                    <a:pt x="861" y="1077"/>
                  </a:lnTo>
                  <a:lnTo>
                    <a:pt x="861" y="1079"/>
                  </a:lnTo>
                  <a:lnTo>
                    <a:pt x="860" y="1082"/>
                  </a:lnTo>
                  <a:lnTo>
                    <a:pt x="859" y="1085"/>
                  </a:lnTo>
                  <a:lnTo>
                    <a:pt x="859" y="1087"/>
                  </a:lnTo>
                  <a:lnTo>
                    <a:pt x="858" y="1089"/>
                  </a:lnTo>
                  <a:lnTo>
                    <a:pt x="858" y="1092"/>
                  </a:lnTo>
                  <a:lnTo>
                    <a:pt x="858" y="1095"/>
                  </a:lnTo>
                  <a:lnTo>
                    <a:pt x="858" y="1098"/>
                  </a:lnTo>
                  <a:lnTo>
                    <a:pt x="858" y="1100"/>
                  </a:lnTo>
                  <a:lnTo>
                    <a:pt x="858" y="1104"/>
                  </a:lnTo>
                  <a:lnTo>
                    <a:pt x="859" y="1107"/>
                  </a:lnTo>
                  <a:lnTo>
                    <a:pt x="860" y="1110"/>
                  </a:lnTo>
                  <a:lnTo>
                    <a:pt x="861" y="1111"/>
                  </a:lnTo>
                  <a:lnTo>
                    <a:pt x="861" y="1114"/>
                  </a:lnTo>
                  <a:lnTo>
                    <a:pt x="862" y="1116"/>
                  </a:lnTo>
                  <a:lnTo>
                    <a:pt x="864" y="1117"/>
                  </a:lnTo>
                  <a:lnTo>
                    <a:pt x="865" y="1119"/>
                  </a:lnTo>
                  <a:lnTo>
                    <a:pt x="867" y="1120"/>
                  </a:lnTo>
                  <a:lnTo>
                    <a:pt x="876" y="1124"/>
                  </a:lnTo>
                  <a:lnTo>
                    <a:pt x="881" y="1126"/>
                  </a:lnTo>
                  <a:lnTo>
                    <a:pt x="886" y="1128"/>
                  </a:lnTo>
                  <a:lnTo>
                    <a:pt x="889" y="1129"/>
                  </a:lnTo>
                  <a:lnTo>
                    <a:pt x="892" y="1131"/>
                  </a:lnTo>
                  <a:lnTo>
                    <a:pt x="895" y="1132"/>
                  </a:lnTo>
                  <a:lnTo>
                    <a:pt x="895" y="1133"/>
                  </a:lnTo>
                  <a:lnTo>
                    <a:pt x="897" y="1134"/>
                  </a:lnTo>
                  <a:lnTo>
                    <a:pt x="898" y="1135"/>
                  </a:lnTo>
                  <a:lnTo>
                    <a:pt x="900" y="1137"/>
                  </a:lnTo>
                  <a:lnTo>
                    <a:pt x="903" y="1141"/>
                  </a:lnTo>
                  <a:lnTo>
                    <a:pt x="905" y="1145"/>
                  </a:lnTo>
                  <a:lnTo>
                    <a:pt x="906" y="1147"/>
                  </a:lnTo>
                  <a:lnTo>
                    <a:pt x="907" y="1150"/>
                  </a:lnTo>
                  <a:lnTo>
                    <a:pt x="907" y="1153"/>
                  </a:lnTo>
                  <a:lnTo>
                    <a:pt x="908" y="1155"/>
                  </a:lnTo>
                  <a:lnTo>
                    <a:pt x="908" y="1157"/>
                  </a:lnTo>
                  <a:lnTo>
                    <a:pt x="908" y="1160"/>
                  </a:lnTo>
                  <a:lnTo>
                    <a:pt x="908" y="1163"/>
                  </a:lnTo>
                  <a:lnTo>
                    <a:pt x="908" y="1166"/>
                  </a:lnTo>
                  <a:lnTo>
                    <a:pt x="907" y="1167"/>
                  </a:lnTo>
                  <a:lnTo>
                    <a:pt x="907" y="1169"/>
                  </a:lnTo>
                  <a:lnTo>
                    <a:pt x="907" y="1171"/>
                  </a:lnTo>
                  <a:lnTo>
                    <a:pt x="906" y="1173"/>
                  </a:lnTo>
                  <a:lnTo>
                    <a:pt x="904" y="1175"/>
                  </a:lnTo>
                  <a:lnTo>
                    <a:pt x="903" y="1177"/>
                  </a:lnTo>
                  <a:lnTo>
                    <a:pt x="901" y="1178"/>
                  </a:lnTo>
                  <a:lnTo>
                    <a:pt x="899" y="1180"/>
                  </a:lnTo>
                  <a:lnTo>
                    <a:pt x="895" y="1183"/>
                  </a:lnTo>
                  <a:lnTo>
                    <a:pt x="893" y="1184"/>
                  </a:lnTo>
                  <a:lnTo>
                    <a:pt x="891" y="1185"/>
                  </a:lnTo>
                  <a:lnTo>
                    <a:pt x="889" y="1186"/>
                  </a:lnTo>
                  <a:lnTo>
                    <a:pt x="886" y="1187"/>
                  </a:lnTo>
                  <a:lnTo>
                    <a:pt x="884" y="1187"/>
                  </a:lnTo>
                  <a:lnTo>
                    <a:pt x="882" y="1187"/>
                  </a:lnTo>
                  <a:lnTo>
                    <a:pt x="877" y="1187"/>
                  </a:lnTo>
                  <a:lnTo>
                    <a:pt x="874" y="1187"/>
                  </a:lnTo>
                  <a:lnTo>
                    <a:pt x="869" y="1186"/>
                  </a:lnTo>
                  <a:lnTo>
                    <a:pt x="866" y="1186"/>
                  </a:lnTo>
                  <a:lnTo>
                    <a:pt x="864" y="1186"/>
                  </a:lnTo>
                  <a:lnTo>
                    <a:pt x="863" y="1186"/>
                  </a:lnTo>
                  <a:lnTo>
                    <a:pt x="861" y="1187"/>
                  </a:lnTo>
                  <a:lnTo>
                    <a:pt x="861" y="1187"/>
                  </a:lnTo>
                  <a:lnTo>
                    <a:pt x="859" y="1188"/>
                  </a:lnTo>
                  <a:lnTo>
                    <a:pt x="855" y="1190"/>
                  </a:lnTo>
                  <a:lnTo>
                    <a:pt x="854" y="1191"/>
                  </a:lnTo>
                  <a:lnTo>
                    <a:pt x="853" y="1192"/>
                  </a:lnTo>
                  <a:lnTo>
                    <a:pt x="852" y="1193"/>
                  </a:lnTo>
                  <a:lnTo>
                    <a:pt x="852" y="1194"/>
                  </a:lnTo>
                  <a:lnTo>
                    <a:pt x="850" y="1200"/>
                  </a:lnTo>
                  <a:lnTo>
                    <a:pt x="849" y="1202"/>
                  </a:lnTo>
                  <a:lnTo>
                    <a:pt x="847" y="1205"/>
                  </a:lnTo>
                  <a:lnTo>
                    <a:pt x="846" y="1207"/>
                  </a:lnTo>
                  <a:lnTo>
                    <a:pt x="845" y="1209"/>
                  </a:lnTo>
                  <a:lnTo>
                    <a:pt x="844" y="1209"/>
                  </a:lnTo>
                  <a:lnTo>
                    <a:pt x="843" y="1210"/>
                  </a:lnTo>
                  <a:lnTo>
                    <a:pt x="842" y="1210"/>
                  </a:lnTo>
                  <a:lnTo>
                    <a:pt x="841" y="1210"/>
                  </a:lnTo>
                  <a:lnTo>
                    <a:pt x="840" y="1210"/>
                  </a:lnTo>
                  <a:lnTo>
                    <a:pt x="838" y="1209"/>
                  </a:lnTo>
                  <a:lnTo>
                    <a:pt x="837" y="1208"/>
                  </a:lnTo>
                  <a:lnTo>
                    <a:pt x="832" y="1205"/>
                  </a:lnTo>
                  <a:lnTo>
                    <a:pt x="830" y="1204"/>
                  </a:lnTo>
                  <a:lnTo>
                    <a:pt x="828" y="1203"/>
                  </a:lnTo>
                  <a:lnTo>
                    <a:pt x="826" y="1202"/>
                  </a:lnTo>
                  <a:lnTo>
                    <a:pt x="820" y="1201"/>
                  </a:lnTo>
                  <a:lnTo>
                    <a:pt x="817" y="1201"/>
                  </a:lnTo>
                  <a:lnTo>
                    <a:pt x="814" y="1200"/>
                  </a:lnTo>
                  <a:lnTo>
                    <a:pt x="808" y="1197"/>
                  </a:lnTo>
                  <a:lnTo>
                    <a:pt x="807" y="1196"/>
                  </a:lnTo>
                  <a:lnTo>
                    <a:pt x="806" y="1196"/>
                  </a:lnTo>
                  <a:lnTo>
                    <a:pt x="805" y="1196"/>
                  </a:lnTo>
                  <a:lnTo>
                    <a:pt x="804" y="1196"/>
                  </a:lnTo>
                  <a:lnTo>
                    <a:pt x="801" y="1197"/>
                  </a:lnTo>
                  <a:lnTo>
                    <a:pt x="796" y="1199"/>
                  </a:lnTo>
                  <a:lnTo>
                    <a:pt x="787" y="1202"/>
                  </a:lnTo>
                  <a:lnTo>
                    <a:pt x="782" y="1204"/>
                  </a:lnTo>
                  <a:lnTo>
                    <a:pt x="781" y="1205"/>
                  </a:lnTo>
                  <a:lnTo>
                    <a:pt x="776" y="1206"/>
                  </a:lnTo>
                  <a:lnTo>
                    <a:pt x="773" y="1206"/>
                  </a:lnTo>
                  <a:lnTo>
                    <a:pt x="770" y="1207"/>
                  </a:lnTo>
                  <a:lnTo>
                    <a:pt x="766" y="1207"/>
                  </a:lnTo>
                  <a:lnTo>
                    <a:pt x="763" y="1207"/>
                  </a:lnTo>
                  <a:lnTo>
                    <a:pt x="760" y="1207"/>
                  </a:lnTo>
                  <a:lnTo>
                    <a:pt x="750" y="1205"/>
                  </a:lnTo>
                  <a:lnTo>
                    <a:pt x="746" y="1204"/>
                  </a:lnTo>
                  <a:lnTo>
                    <a:pt x="739" y="1204"/>
                  </a:lnTo>
                  <a:lnTo>
                    <a:pt x="736" y="1203"/>
                  </a:lnTo>
                  <a:lnTo>
                    <a:pt x="734" y="1203"/>
                  </a:lnTo>
                  <a:lnTo>
                    <a:pt x="730" y="1202"/>
                  </a:lnTo>
                  <a:lnTo>
                    <a:pt x="721" y="1200"/>
                  </a:lnTo>
                  <a:lnTo>
                    <a:pt x="719" y="1199"/>
                  </a:lnTo>
                  <a:lnTo>
                    <a:pt x="716" y="1199"/>
                  </a:lnTo>
                  <a:lnTo>
                    <a:pt x="714" y="1199"/>
                  </a:lnTo>
                  <a:lnTo>
                    <a:pt x="713" y="1200"/>
                  </a:lnTo>
                  <a:lnTo>
                    <a:pt x="711" y="1201"/>
                  </a:lnTo>
                  <a:lnTo>
                    <a:pt x="709" y="1201"/>
                  </a:lnTo>
                  <a:lnTo>
                    <a:pt x="708" y="1201"/>
                  </a:lnTo>
                  <a:lnTo>
                    <a:pt x="706" y="1202"/>
                  </a:lnTo>
                  <a:lnTo>
                    <a:pt x="705" y="1203"/>
                  </a:lnTo>
                  <a:lnTo>
                    <a:pt x="704" y="1204"/>
                  </a:lnTo>
                  <a:lnTo>
                    <a:pt x="704" y="1206"/>
                  </a:lnTo>
                  <a:lnTo>
                    <a:pt x="703" y="1207"/>
                  </a:lnTo>
                  <a:lnTo>
                    <a:pt x="703" y="1209"/>
                  </a:lnTo>
                  <a:lnTo>
                    <a:pt x="703" y="1211"/>
                  </a:lnTo>
                  <a:lnTo>
                    <a:pt x="703" y="1212"/>
                  </a:lnTo>
                  <a:lnTo>
                    <a:pt x="705" y="1217"/>
                  </a:lnTo>
                  <a:lnTo>
                    <a:pt x="705" y="1219"/>
                  </a:lnTo>
                  <a:lnTo>
                    <a:pt x="705" y="1220"/>
                  </a:lnTo>
                  <a:lnTo>
                    <a:pt x="705" y="1221"/>
                  </a:lnTo>
                  <a:lnTo>
                    <a:pt x="705" y="1222"/>
                  </a:lnTo>
                  <a:lnTo>
                    <a:pt x="704" y="1223"/>
                  </a:lnTo>
                  <a:lnTo>
                    <a:pt x="703" y="1224"/>
                  </a:lnTo>
                  <a:lnTo>
                    <a:pt x="702" y="1225"/>
                  </a:lnTo>
                  <a:lnTo>
                    <a:pt x="701" y="1226"/>
                  </a:lnTo>
                  <a:lnTo>
                    <a:pt x="700" y="1227"/>
                  </a:lnTo>
                  <a:lnTo>
                    <a:pt x="697" y="1227"/>
                  </a:lnTo>
                  <a:lnTo>
                    <a:pt x="694" y="1228"/>
                  </a:lnTo>
                  <a:lnTo>
                    <a:pt x="683" y="1231"/>
                  </a:lnTo>
                  <a:lnTo>
                    <a:pt x="680" y="1232"/>
                  </a:lnTo>
                  <a:lnTo>
                    <a:pt x="679" y="1233"/>
                  </a:lnTo>
                  <a:lnTo>
                    <a:pt x="679" y="1234"/>
                  </a:lnTo>
                  <a:lnTo>
                    <a:pt x="678" y="1235"/>
                  </a:lnTo>
                  <a:lnTo>
                    <a:pt x="677" y="1235"/>
                  </a:lnTo>
                  <a:lnTo>
                    <a:pt x="676" y="1236"/>
                  </a:lnTo>
                  <a:lnTo>
                    <a:pt x="675" y="1238"/>
                  </a:lnTo>
                  <a:lnTo>
                    <a:pt x="674" y="1240"/>
                  </a:lnTo>
                  <a:lnTo>
                    <a:pt x="673" y="1242"/>
                  </a:lnTo>
                  <a:lnTo>
                    <a:pt x="673" y="1245"/>
                  </a:lnTo>
                  <a:lnTo>
                    <a:pt x="671" y="1252"/>
                  </a:lnTo>
                  <a:lnTo>
                    <a:pt x="671" y="1255"/>
                  </a:lnTo>
                  <a:lnTo>
                    <a:pt x="670" y="1257"/>
                  </a:lnTo>
                  <a:lnTo>
                    <a:pt x="668" y="1262"/>
                  </a:lnTo>
                  <a:lnTo>
                    <a:pt x="668" y="1264"/>
                  </a:lnTo>
                  <a:lnTo>
                    <a:pt x="666" y="1265"/>
                  </a:lnTo>
                  <a:lnTo>
                    <a:pt x="664" y="1265"/>
                  </a:lnTo>
                  <a:lnTo>
                    <a:pt x="663" y="1266"/>
                  </a:lnTo>
                  <a:lnTo>
                    <a:pt x="661" y="1266"/>
                  </a:lnTo>
                  <a:lnTo>
                    <a:pt x="659" y="1267"/>
                  </a:lnTo>
                  <a:lnTo>
                    <a:pt x="657" y="1267"/>
                  </a:lnTo>
                  <a:lnTo>
                    <a:pt x="656" y="1267"/>
                  </a:lnTo>
                  <a:lnTo>
                    <a:pt x="654" y="1266"/>
                  </a:lnTo>
                  <a:lnTo>
                    <a:pt x="652" y="1266"/>
                  </a:lnTo>
                  <a:lnTo>
                    <a:pt x="651" y="1266"/>
                  </a:lnTo>
                  <a:lnTo>
                    <a:pt x="648" y="1264"/>
                  </a:lnTo>
                  <a:lnTo>
                    <a:pt x="646" y="1263"/>
                  </a:lnTo>
                  <a:lnTo>
                    <a:pt x="645" y="1262"/>
                  </a:lnTo>
                  <a:lnTo>
                    <a:pt x="642" y="1260"/>
                  </a:lnTo>
                  <a:lnTo>
                    <a:pt x="641" y="1259"/>
                  </a:lnTo>
                  <a:lnTo>
                    <a:pt x="639" y="1257"/>
                  </a:lnTo>
                  <a:lnTo>
                    <a:pt x="637" y="1255"/>
                  </a:lnTo>
                  <a:lnTo>
                    <a:pt x="635" y="1251"/>
                  </a:lnTo>
                  <a:lnTo>
                    <a:pt x="632" y="1245"/>
                  </a:lnTo>
                  <a:lnTo>
                    <a:pt x="629" y="1237"/>
                  </a:lnTo>
                  <a:lnTo>
                    <a:pt x="626" y="1233"/>
                  </a:lnTo>
                  <a:lnTo>
                    <a:pt x="624" y="1230"/>
                  </a:lnTo>
                  <a:lnTo>
                    <a:pt x="623" y="1225"/>
                  </a:lnTo>
                  <a:lnTo>
                    <a:pt x="622" y="1223"/>
                  </a:lnTo>
                  <a:lnTo>
                    <a:pt x="621" y="1222"/>
                  </a:lnTo>
                  <a:lnTo>
                    <a:pt x="621" y="1221"/>
                  </a:lnTo>
                  <a:lnTo>
                    <a:pt x="620" y="1221"/>
                  </a:lnTo>
                  <a:lnTo>
                    <a:pt x="619" y="1220"/>
                  </a:lnTo>
                  <a:lnTo>
                    <a:pt x="618" y="1220"/>
                  </a:lnTo>
                  <a:lnTo>
                    <a:pt x="616" y="1220"/>
                  </a:lnTo>
                  <a:lnTo>
                    <a:pt x="615" y="1220"/>
                  </a:lnTo>
                  <a:lnTo>
                    <a:pt x="612" y="1221"/>
                  </a:lnTo>
                  <a:lnTo>
                    <a:pt x="611" y="1221"/>
                  </a:lnTo>
                  <a:lnTo>
                    <a:pt x="609" y="1223"/>
                  </a:lnTo>
                  <a:lnTo>
                    <a:pt x="605" y="1224"/>
                  </a:lnTo>
                  <a:lnTo>
                    <a:pt x="603" y="1225"/>
                  </a:lnTo>
                  <a:lnTo>
                    <a:pt x="602" y="1225"/>
                  </a:lnTo>
                  <a:lnTo>
                    <a:pt x="601" y="1225"/>
                  </a:lnTo>
                  <a:lnTo>
                    <a:pt x="600" y="1225"/>
                  </a:lnTo>
                  <a:lnTo>
                    <a:pt x="600" y="1224"/>
                  </a:lnTo>
                  <a:lnTo>
                    <a:pt x="597" y="1223"/>
                  </a:lnTo>
                  <a:lnTo>
                    <a:pt x="595" y="1223"/>
                  </a:lnTo>
                  <a:lnTo>
                    <a:pt x="592" y="1221"/>
                  </a:lnTo>
                  <a:lnTo>
                    <a:pt x="589" y="1219"/>
                  </a:lnTo>
                  <a:lnTo>
                    <a:pt x="586" y="1216"/>
                  </a:lnTo>
                  <a:lnTo>
                    <a:pt x="577" y="1208"/>
                  </a:lnTo>
                  <a:lnTo>
                    <a:pt x="575" y="1206"/>
                  </a:lnTo>
                  <a:lnTo>
                    <a:pt x="573" y="1204"/>
                  </a:lnTo>
                  <a:lnTo>
                    <a:pt x="571" y="1203"/>
                  </a:lnTo>
                  <a:lnTo>
                    <a:pt x="568" y="1202"/>
                  </a:lnTo>
                  <a:lnTo>
                    <a:pt x="558" y="1197"/>
                  </a:lnTo>
                  <a:lnTo>
                    <a:pt x="554" y="1195"/>
                  </a:lnTo>
                  <a:lnTo>
                    <a:pt x="552" y="1193"/>
                  </a:lnTo>
                  <a:lnTo>
                    <a:pt x="546" y="1190"/>
                  </a:lnTo>
                  <a:lnTo>
                    <a:pt x="543" y="1189"/>
                  </a:lnTo>
                  <a:lnTo>
                    <a:pt x="542" y="1188"/>
                  </a:lnTo>
                  <a:lnTo>
                    <a:pt x="541" y="1188"/>
                  </a:lnTo>
                  <a:lnTo>
                    <a:pt x="539" y="1188"/>
                  </a:lnTo>
                  <a:lnTo>
                    <a:pt x="538" y="1188"/>
                  </a:lnTo>
                  <a:lnTo>
                    <a:pt x="537" y="1189"/>
                  </a:lnTo>
                  <a:lnTo>
                    <a:pt x="536" y="1189"/>
                  </a:lnTo>
                  <a:lnTo>
                    <a:pt x="531" y="1192"/>
                  </a:lnTo>
                  <a:lnTo>
                    <a:pt x="527" y="1195"/>
                  </a:lnTo>
                  <a:lnTo>
                    <a:pt x="525" y="1198"/>
                  </a:lnTo>
                  <a:lnTo>
                    <a:pt x="523" y="1199"/>
                  </a:lnTo>
                  <a:lnTo>
                    <a:pt x="522" y="1201"/>
                  </a:lnTo>
                  <a:lnTo>
                    <a:pt x="520" y="1203"/>
                  </a:lnTo>
                  <a:lnTo>
                    <a:pt x="520" y="1205"/>
                  </a:lnTo>
                  <a:lnTo>
                    <a:pt x="518" y="1206"/>
                  </a:lnTo>
                  <a:lnTo>
                    <a:pt x="515" y="1209"/>
                  </a:lnTo>
                  <a:lnTo>
                    <a:pt x="514" y="1210"/>
                  </a:lnTo>
                  <a:lnTo>
                    <a:pt x="513" y="1212"/>
                  </a:lnTo>
                  <a:lnTo>
                    <a:pt x="512" y="1213"/>
                  </a:lnTo>
                  <a:lnTo>
                    <a:pt x="511" y="1214"/>
                  </a:lnTo>
                  <a:lnTo>
                    <a:pt x="511" y="1215"/>
                  </a:lnTo>
                  <a:lnTo>
                    <a:pt x="511" y="1220"/>
                  </a:lnTo>
                  <a:lnTo>
                    <a:pt x="511" y="1222"/>
                  </a:lnTo>
                  <a:lnTo>
                    <a:pt x="510" y="1224"/>
                  </a:lnTo>
                  <a:lnTo>
                    <a:pt x="509" y="1231"/>
                  </a:lnTo>
                  <a:lnTo>
                    <a:pt x="509" y="1234"/>
                  </a:lnTo>
                  <a:lnTo>
                    <a:pt x="508" y="1236"/>
                  </a:lnTo>
                  <a:lnTo>
                    <a:pt x="509" y="1238"/>
                  </a:lnTo>
                  <a:lnTo>
                    <a:pt x="509" y="1241"/>
                  </a:lnTo>
                  <a:lnTo>
                    <a:pt x="509" y="1245"/>
                  </a:lnTo>
                  <a:lnTo>
                    <a:pt x="511" y="1249"/>
                  </a:lnTo>
                  <a:lnTo>
                    <a:pt x="512" y="1255"/>
                  </a:lnTo>
                  <a:lnTo>
                    <a:pt x="513" y="1257"/>
                  </a:lnTo>
                  <a:lnTo>
                    <a:pt x="513" y="1259"/>
                  </a:lnTo>
                  <a:lnTo>
                    <a:pt x="513" y="1260"/>
                  </a:lnTo>
                  <a:lnTo>
                    <a:pt x="512" y="1262"/>
                  </a:lnTo>
                  <a:lnTo>
                    <a:pt x="511" y="1263"/>
                  </a:lnTo>
                  <a:lnTo>
                    <a:pt x="510" y="1264"/>
                  </a:lnTo>
                  <a:lnTo>
                    <a:pt x="509" y="1265"/>
                  </a:lnTo>
                  <a:lnTo>
                    <a:pt x="508" y="1267"/>
                  </a:lnTo>
                  <a:lnTo>
                    <a:pt x="504" y="1268"/>
                  </a:lnTo>
                  <a:lnTo>
                    <a:pt x="501" y="1269"/>
                  </a:lnTo>
                  <a:lnTo>
                    <a:pt x="498" y="1270"/>
                  </a:lnTo>
                  <a:lnTo>
                    <a:pt x="491" y="1272"/>
                  </a:lnTo>
                  <a:lnTo>
                    <a:pt x="487" y="1274"/>
                  </a:lnTo>
                  <a:lnTo>
                    <a:pt x="486" y="1274"/>
                  </a:lnTo>
                  <a:lnTo>
                    <a:pt x="484" y="1276"/>
                  </a:lnTo>
                  <a:lnTo>
                    <a:pt x="478" y="1279"/>
                  </a:lnTo>
                  <a:lnTo>
                    <a:pt x="474" y="1282"/>
                  </a:lnTo>
                  <a:lnTo>
                    <a:pt x="466" y="1289"/>
                  </a:lnTo>
                  <a:lnTo>
                    <a:pt x="462" y="1292"/>
                  </a:lnTo>
                  <a:lnTo>
                    <a:pt x="459" y="1295"/>
                  </a:lnTo>
                  <a:lnTo>
                    <a:pt x="456" y="1299"/>
                  </a:lnTo>
                  <a:lnTo>
                    <a:pt x="454" y="1302"/>
                  </a:lnTo>
                  <a:lnTo>
                    <a:pt x="452" y="1305"/>
                  </a:lnTo>
                  <a:lnTo>
                    <a:pt x="451" y="1308"/>
                  </a:lnTo>
                  <a:lnTo>
                    <a:pt x="449" y="1309"/>
                  </a:lnTo>
                  <a:lnTo>
                    <a:pt x="448" y="1309"/>
                  </a:lnTo>
                  <a:lnTo>
                    <a:pt x="447" y="1310"/>
                  </a:lnTo>
                  <a:lnTo>
                    <a:pt x="446" y="1310"/>
                  </a:lnTo>
                  <a:lnTo>
                    <a:pt x="445" y="1310"/>
                  </a:lnTo>
                  <a:lnTo>
                    <a:pt x="444" y="1310"/>
                  </a:lnTo>
                  <a:lnTo>
                    <a:pt x="443" y="1310"/>
                  </a:lnTo>
                  <a:lnTo>
                    <a:pt x="442" y="1309"/>
                  </a:lnTo>
                  <a:lnTo>
                    <a:pt x="441" y="1308"/>
                  </a:lnTo>
                  <a:lnTo>
                    <a:pt x="437" y="1305"/>
                  </a:lnTo>
                  <a:lnTo>
                    <a:pt x="434" y="1303"/>
                  </a:lnTo>
                  <a:lnTo>
                    <a:pt x="431" y="1303"/>
                  </a:lnTo>
                  <a:lnTo>
                    <a:pt x="428" y="1301"/>
                  </a:lnTo>
                  <a:lnTo>
                    <a:pt x="423" y="1300"/>
                  </a:lnTo>
                  <a:lnTo>
                    <a:pt x="419" y="1299"/>
                  </a:lnTo>
                  <a:lnTo>
                    <a:pt x="416" y="1298"/>
                  </a:lnTo>
                  <a:lnTo>
                    <a:pt x="410" y="1297"/>
                  </a:lnTo>
                  <a:lnTo>
                    <a:pt x="406" y="1297"/>
                  </a:lnTo>
                  <a:lnTo>
                    <a:pt x="405" y="1296"/>
                  </a:lnTo>
                  <a:lnTo>
                    <a:pt x="404" y="1295"/>
                  </a:lnTo>
                  <a:lnTo>
                    <a:pt x="403" y="1295"/>
                  </a:lnTo>
                  <a:lnTo>
                    <a:pt x="401" y="1294"/>
                  </a:lnTo>
                  <a:lnTo>
                    <a:pt x="400" y="1293"/>
                  </a:lnTo>
                  <a:lnTo>
                    <a:pt x="399" y="1292"/>
                  </a:lnTo>
                  <a:lnTo>
                    <a:pt x="399" y="1291"/>
                  </a:lnTo>
                  <a:lnTo>
                    <a:pt x="399" y="1291"/>
                  </a:lnTo>
                  <a:lnTo>
                    <a:pt x="398" y="1289"/>
                  </a:lnTo>
                  <a:lnTo>
                    <a:pt x="399" y="1288"/>
                  </a:lnTo>
                  <a:lnTo>
                    <a:pt x="400" y="1281"/>
                  </a:lnTo>
                  <a:lnTo>
                    <a:pt x="400" y="1280"/>
                  </a:lnTo>
                  <a:lnTo>
                    <a:pt x="400" y="1279"/>
                  </a:lnTo>
                  <a:lnTo>
                    <a:pt x="400" y="1278"/>
                  </a:lnTo>
                  <a:lnTo>
                    <a:pt x="400" y="1277"/>
                  </a:lnTo>
                  <a:lnTo>
                    <a:pt x="399" y="1276"/>
                  </a:lnTo>
                  <a:lnTo>
                    <a:pt x="398" y="1276"/>
                  </a:lnTo>
                  <a:lnTo>
                    <a:pt x="397" y="1277"/>
                  </a:lnTo>
                  <a:lnTo>
                    <a:pt x="393" y="1278"/>
                  </a:lnTo>
                  <a:lnTo>
                    <a:pt x="389" y="1279"/>
                  </a:lnTo>
                  <a:lnTo>
                    <a:pt x="384" y="1280"/>
                  </a:lnTo>
                  <a:lnTo>
                    <a:pt x="380" y="1280"/>
                  </a:lnTo>
                  <a:lnTo>
                    <a:pt x="378" y="1281"/>
                  </a:lnTo>
                  <a:lnTo>
                    <a:pt x="376" y="1281"/>
                  </a:lnTo>
                  <a:lnTo>
                    <a:pt x="372" y="1281"/>
                  </a:lnTo>
                  <a:lnTo>
                    <a:pt x="368" y="1280"/>
                  </a:lnTo>
                  <a:lnTo>
                    <a:pt x="358" y="1280"/>
                  </a:lnTo>
                  <a:lnTo>
                    <a:pt x="353" y="1279"/>
                  </a:lnTo>
                  <a:lnTo>
                    <a:pt x="350" y="1278"/>
                  </a:lnTo>
                  <a:lnTo>
                    <a:pt x="349" y="1277"/>
                  </a:lnTo>
                  <a:lnTo>
                    <a:pt x="346" y="1276"/>
                  </a:lnTo>
                  <a:lnTo>
                    <a:pt x="340" y="1273"/>
                  </a:lnTo>
                  <a:lnTo>
                    <a:pt x="339" y="1273"/>
                  </a:lnTo>
                  <a:lnTo>
                    <a:pt x="338" y="1272"/>
                  </a:lnTo>
                  <a:lnTo>
                    <a:pt x="336" y="1272"/>
                  </a:lnTo>
                  <a:lnTo>
                    <a:pt x="333" y="1272"/>
                  </a:lnTo>
                  <a:lnTo>
                    <a:pt x="327" y="1271"/>
                  </a:lnTo>
                  <a:lnTo>
                    <a:pt x="325" y="1271"/>
                  </a:lnTo>
                  <a:lnTo>
                    <a:pt x="322" y="1271"/>
                  </a:lnTo>
                  <a:lnTo>
                    <a:pt x="321" y="1272"/>
                  </a:lnTo>
                  <a:lnTo>
                    <a:pt x="320" y="1272"/>
                  </a:lnTo>
                  <a:lnTo>
                    <a:pt x="317" y="1273"/>
                  </a:lnTo>
                  <a:lnTo>
                    <a:pt x="314" y="1276"/>
                  </a:lnTo>
                  <a:lnTo>
                    <a:pt x="310" y="1278"/>
                  </a:lnTo>
                  <a:lnTo>
                    <a:pt x="309" y="1278"/>
                  </a:lnTo>
                  <a:lnTo>
                    <a:pt x="308" y="1279"/>
                  </a:lnTo>
                  <a:lnTo>
                    <a:pt x="307" y="1279"/>
                  </a:lnTo>
                  <a:lnTo>
                    <a:pt x="306" y="1278"/>
                  </a:lnTo>
                  <a:lnTo>
                    <a:pt x="304" y="1278"/>
                  </a:lnTo>
                  <a:lnTo>
                    <a:pt x="302" y="1277"/>
                  </a:lnTo>
                  <a:lnTo>
                    <a:pt x="298" y="1275"/>
                  </a:lnTo>
                  <a:lnTo>
                    <a:pt x="290" y="1269"/>
                  </a:lnTo>
                  <a:lnTo>
                    <a:pt x="289" y="1268"/>
                  </a:lnTo>
                  <a:lnTo>
                    <a:pt x="286" y="1267"/>
                  </a:lnTo>
                  <a:lnTo>
                    <a:pt x="281" y="1265"/>
                  </a:lnTo>
                  <a:lnTo>
                    <a:pt x="280" y="1264"/>
                  </a:lnTo>
                  <a:lnTo>
                    <a:pt x="277" y="1263"/>
                  </a:lnTo>
                  <a:lnTo>
                    <a:pt x="270" y="1259"/>
                  </a:lnTo>
                  <a:lnTo>
                    <a:pt x="269" y="1258"/>
                  </a:lnTo>
                  <a:lnTo>
                    <a:pt x="267" y="1257"/>
                  </a:lnTo>
                  <a:lnTo>
                    <a:pt x="266" y="1257"/>
                  </a:lnTo>
                  <a:lnTo>
                    <a:pt x="264" y="1258"/>
                  </a:lnTo>
                  <a:lnTo>
                    <a:pt x="263" y="1259"/>
                  </a:lnTo>
                  <a:lnTo>
                    <a:pt x="262" y="1260"/>
                  </a:lnTo>
                  <a:lnTo>
                    <a:pt x="262" y="1261"/>
                  </a:lnTo>
                  <a:lnTo>
                    <a:pt x="262" y="1262"/>
                  </a:lnTo>
                  <a:lnTo>
                    <a:pt x="262" y="1268"/>
                  </a:lnTo>
                  <a:lnTo>
                    <a:pt x="262" y="1271"/>
                  </a:lnTo>
                  <a:lnTo>
                    <a:pt x="262" y="1272"/>
                  </a:lnTo>
                  <a:lnTo>
                    <a:pt x="261" y="1272"/>
                  </a:lnTo>
                  <a:lnTo>
                    <a:pt x="261" y="1273"/>
                  </a:lnTo>
                  <a:lnTo>
                    <a:pt x="260" y="1273"/>
                  </a:lnTo>
                  <a:lnTo>
                    <a:pt x="259" y="1273"/>
                  </a:lnTo>
                  <a:lnTo>
                    <a:pt x="255" y="1273"/>
                  </a:lnTo>
                  <a:lnTo>
                    <a:pt x="252" y="1273"/>
                  </a:lnTo>
                  <a:lnTo>
                    <a:pt x="250" y="1273"/>
                  </a:lnTo>
                  <a:lnTo>
                    <a:pt x="247" y="1274"/>
                  </a:lnTo>
                  <a:lnTo>
                    <a:pt x="245" y="1275"/>
                  </a:lnTo>
                  <a:lnTo>
                    <a:pt x="243" y="1277"/>
                  </a:lnTo>
                  <a:lnTo>
                    <a:pt x="240" y="1278"/>
                  </a:lnTo>
                  <a:lnTo>
                    <a:pt x="233" y="1283"/>
                  </a:lnTo>
                  <a:lnTo>
                    <a:pt x="232" y="1284"/>
                  </a:lnTo>
                  <a:lnTo>
                    <a:pt x="230" y="1285"/>
                  </a:lnTo>
                  <a:lnTo>
                    <a:pt x="229" y="1285"/>
                  </a:lnTo>
                  <a:lnTo>
                    <a:pt x="224" y="1287"/>
                  </a:lnTo>
                  <a:lnTo>
                    <a:pt x="222" y="1287"/>
                  </a:lnTo>
                  <a:lnTo>
                    <a:pt x="220" y="1287"/>
                  </a:lnTo>
                  <a:lnTo>
                    <a:pt x="217" y="1286"/>
                  </a:lnTo>
                  <a:lnTo>
                    <a:pt x="213" y="1285"/>
                  </a:lnTo>
                  <a:lnTo>
                    <a:pt x="208" y="1285"/>
                  </a:lnTo>
                  <a:lnTo>
                    <a:pt x="207" y="1284"/>
                  </a:lnTo>
                  <a:lnTo>
                    <a:pt x="206" y="1284"/>
                  </a:lnTo>
                  <a:lnTo>
                    <a:pt x="205" y="1283"/>
                  </a:lnTo>
                  <a:lnTo>
                    <a:pt x="204" y="1281"/>
                  </a:lnTo>
                  <a:lnTo>
                    <a:pt x="202" y="1277"/>
                  </a:lnTo>
                  <a:lnTo>
                    <a:pt x="202" y="1276"/>
                  </a:lnTo>
                  <a:lnTo>
                    <a:pt x="202" y="1275"/>
                  </a:lnTo>
                  <a:lnTo>
                    <a:pt x="200" y="1273"/>
                  </a:lnTo>
                  <a:lnTo>
                    <a:pt x="198" y="1271"/>
                  </a:lnTo>
                  <a:lnTo>
                    <a:pt x="197" y="1270"/>
                  </a:lnTo>
                  <a:lnTo>
                    <a:pt x="195" y="1269"/>
                  </a:lnTo>
                  <a:lnTo>
                    <a:pt x="193" y="1268"/>
                  </a:lnTo>
                  <a:lnTo>
                    <a:pt x="190" y="1266"/>
                  </a:lnTo>
                  <a:lnTo>
                    <a:pt x="187" y="1264"/>
                  </a:lnTo>
                  <a:lnTo>
                    <a:pt x="182" y="1263"/>
                  </a:lnTo>
                  <a:lnTo>
                    <a:pt x="180" y="1262"/>
                  </a:lnTo>
                  <a:lnTo>
                    <a:pt x="179" y="1261"/>
                  </a:lnTo>
                  <a:lnTo>
                    <a:pt x="178" y="1260"/>
                  </a:lnTo>
                  <a:lnTo>
                    <a:pt x="176" y="1258"/>
                  </a:lnTo>
                  <a:lnTo>
                    <a:pt x="175" y="1257"/>
                  </a:lnTo>
                  <a:lnTo>
                    <a:pt x="172" y="1253"/>
                  </a:lnTo>
                  <a:lnTo>
                    <a:pt x="170" y="1251"/>
                  </a:lnTo>
                  <a:lnTo>
                    <a:pt x="168" y="1249"/>
                  </a:lnTo>
                  <a:lnTo>
                    <a:pt x="167" y="1247"/>
                  </a:lnTo>
                  <a:lnTo>
                    <a:pt x="163" y="1246"/>
                  </a:lnTo>
                  <a:lnTo>
                    <a:pt x="160" y="1245"/>
                  </a:lnTo>
                  <a:lnTo>
                    <a:pt x="156" y="1244"/>
                  </a:lnTo>
                  <a:lnTo>
                    <a:pt x="154" y="1243"/>
                  </a:lnTo>
                  <a:lnTo>
                    <a:pt x="153" y="1243"/>
                  </a:lnTo>
                  <a:lnTo>
                    <a:pt x="150" y="1243"/>
                  </a:lnTo>
                  <a:lnTo>
                    <a:pt x="147" y="1243"/>
                  </a:lnTo>
                  <a:lnTo>
                    <a:pt x="145" y="1244"/>
                  </a:lnTo>
                  <a:lnTo>
                    <a:pt x="142" y="1245"/>
                  </a:lnTo>
                  <a:lnTo>
                    <a:pt x="133" y="1246"/>
                  </a:lnTo>
                  <a:lnTo>
                    <a:pt x="131" y="1247"/>
                  </a:lnTo>
                  <a:lnTo>
                    <a:pt x="129" y="1248"/>
                  </a:lnTo>
                  <a:lnTo>
                    <a:pt x="127" y="1250"/>
                  </a:lnTo>
                  <a:lnTo>
                    <a:pt x="125" y="1252"/>
                  </a:lnTo>
                  <a:lnTo>
                    <a:pt x="124" y="1254"/>
                  </a:lnTo>
                  <a:lnTo>
                    <a:pt x="122" y="1258"/>
                  </a:lnTo>
                  <a:lnTo>
                    <a:pt x="120" y="1263"/>
                  </a:lnTo>
                  <a:lnTo>
                    <a:pt x="118" y="1266"/>
                  </a:lnTo>
                  <a:lnTo>
                    <a:pt x="115" y="1269"/>
                  </a:lnTo>
                  <a:lnTo>
                    <a:pt x="113" y="1273"/>
                  </a:lnTo>
                  <a:lnTo>
                    <a:pt x="112" y="1275"/>
                  </a:lnTo>
                  <a:lnTo>
                    <a:pt x="111" y="1276"/>
                  </a:lnTo>
                  <a:lnTo>
                    <a:pt x="110" y="1277"/>
                  </a:lnTo>
                  <a:lnTo>
                    <a:pt x="109" y="1277"/>
                  </a:lnTo>
                  <a:lnTo>
                    <a:pt x="107" y="1277"/>
                  </a:lnTo>
                  <a:lnTo>
                    <a:pt x="106" y="1277"/>
                  </a:lnTo>
                  <a:lnTo>
                    <a:pt x="101" y="1277"/>
                  </a:lnTo>
                  <a:lnTo>
                    <a:pt x="98" y="1277"/>
                  </a:lnTo>
                  <a:lnTo>
                    <a:pt x="94" y="1278"/>
                  </a:lnTo>
                  <a:lnTo>
                    <a:pt x="86" y="1279"/>
                  </a:lnTo>
                  <a:lnTo>
                    <a:pt x="65" y="1280"/>
                  </a:lnTo>
                  <a:lnTo>
                    <a:pt x="63" y="1280"/>
                  </a:lnTo>
                  <a:lnTo>
                    <a:pt x="54" y="1280"/>
                  </a:lnTo>
                  <a:lnTo>
                    <a:pt x="51" y="1280"/>
                  </a:lnTo>
                  <a:lnTo>
                    <a:pt x="47" y="1280"/>
                  </a:lnTo>
                  <a:lnTo>
                    <a:pt x="43" y="1281"/>
                  </a:lnTo>
                  <a:lnTo>
                    <a:pt x="40" y="1281"/>
                  </a:lnTo>
                  <a:lnTo>
                    <a:pt x="36" y="1281"/>
                  </a:lnTo>
                  <a:lnTo>
                    <a:pt x="31" y="1280"/>
                  </a:lnTo>
                  <a:lnTo>
                    <a:pt x="30" y="1280"/>
                  </a:lnTo>
                  <a:lnTo>
                    <a:pt x="28" y="1280"/>
                  </a:lnTo>
                  <a:lnTo>
                    <a:pt x="24" y="1281"/>
                  </a:lnTo>
                  <a:lnTo>
                    <a:pt x="22" y="1282"/>
                  </a:lnTo>
                  <a:lnTo>
                    <a:pt x="19" y="1282"/>
                  </a:lnTo>
                  <a:lnTo>
                    <a:pt x="16" y="1282"/>
                  </a:lnTo>
                  <a:lnTo>
                    <a:pt x="14" y="1281"/>
                  </a:lnTo>
                  <a:lnTo>
                    <a:pt x="12" y="1281"/>
                  </a:lnTo>
                  <a:lnTo>
                    <a:pt x="9" y="1280"/>
                  </a:lnTo>
                  <a:lnTo>
                    <a:pt x="8" y="1280"/>
                  </a:lnTo>
                  <a:lnTo>
                    <a:pt x="7" y="1279"/>
                  </a:lnTo>
                  <a:lnTo>
                    <a:pt x="6" y="1277"/>
                  </a:lnTo>
                  <a:lnTo>
                    <a:pt x="5" y="1276"/>
                  </a:lnTo>
                  <a:lnTo>
                    <a:pt x="4" y="1274"/>
                  </a:lnTo>
                  <a:lnTo>
                    <a:pt x="3" y="1272"/>
                  </a:lnTo>
                  <a:lnTo>
                    <a:pt x="2" y="1270"/>
                  </a:lnTo>
                  <a:lnTo>
                    <a:pt x="2" y="1269"/>
                  </a:lnTo>
                  <a:lnTo>
                    <a:pt x="2" y="1267"/>
                  </a:lnTo>
                  <a:lnTo>
                    <a:pt x="1" y="1261"/>
                  </a:lnTo>
                  <a:lnTo>
                    <a:pt x="1" y="1251"/>
                  </a:lnTo>
                  <a:lnTo>
                    <a:pt x="1" y="1248"/>
                  </a:lnTo>
                  <a:lnTo>
                    <a:pt x="0" y="1246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3" name="Freeform 86">
              <a:extLst>
                <a:ext uri="{FF2B5EF4-FFF2-40B4-BE49-F238E27FC236}">
                  <a16:creationId xmlns:a16="http://schemas.microsoft.com/office/drawing/2014/main" id="{5BDA3CAF-E5EF-44DD-9234-5024B423B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3" y="1496"/>
              <a:ext cx="1154" cy="1311"/>
            </a:xfrm>
            <a:custGeom>
              <a:avLst/>
              <a:gdLst>
                <a:gd name="T0" fmla="*/ 457 w 1154"/>
                <a:gd name="T1" fmla="*/ 1266 h 1311"/>
                <a:gd name="T2" fmla="*/ 426 w 1154"/>
                <a:gd name="T3" fmla="*/ 1298 h 1311"/>
                <a:gd name="T4" fmla="*/ 382 w 1154"/>
                <a:gd name="T5" fmla="*/ 1311 h 1311"/>
                <a:gd name="T6" fmla="*/ 347 w 1154"/>
                <a:gd name="T7" fmla="*/ 1291 h 1311"/>
                <a:gd name="T8" fmla="*/ 312 w 1154"/>
                <a:gd name="T9" fmla="*/ 1290 h 1311"/>
                <a:gd name="T10" fmla="*/ 267 w 1154"/>
                <a:gd name="T11" fmla="*/ 1298 h 1311"/>
                <a:gd name="T12" fmla="*/ 256 w 1154"/>
                <a:gd name="T13" fmla="*/ 1259 h 1311"/>
                <a:gd name="T14" fmla="*/ 254 w 1154"/>
                <a:gd name="T15" fmla="*/ 1200 h 1311"/>
                <a:gd name="T16" fmla="*/ 236 w 1154"/>
                <a:gd name="T17" fmla="*/ 1166 h 1311"/>
                <a:gd name="T18" fmla="*/ 220 w 1154"/>
                <a:gd name="T19" fmla="*/ 1154 h 1311"/>
                <a:gd name="T20" fmla="*/ 223 w 1154"/>
                <a:gd name="T21" fmla="*/ 1141 h 1311"/>
                <a:gd name="T22" fmla="*/ 214 w 1154"/>
                <a:gd name="T23" fmla="*/ 1115 h 1311"/>
                <a:gd name="T24" fmla="*/ 221 w 1154"/>
                <a:gd name="T25" fmla="*/ 1098 h 1311"/>
                <a:gd name="T26" fmla="*/ 200 w 1154"/>
                <a:gd name="T27" fmla="*/ 1084 h 1311"/>
                <a:gd name="T28" fmla="*/ 241 w 1154"/>
                <a:gd name="T29" fmla="*/ 1044 h 1311"/>
                <a:gd name="T30" fmla="*/ 271 w 1154"/>
                <a:gd name="T31" fmla="*/ 1048 h 1311"/>
                <a:gd name="T32" fmla="*/ 301 w 1154"/>
                <a:gd name="T33" fmla="*/ 1011 h 1311"/>
                <a:gd name="T34" fmla="*/ 293 w 1154"/>
                <a:gd name="T35" fmla="*/ 973 h 1311"/>
                <a:gd name="T36" fmla="*/ 301 w 1154"/>
                <a:gd name="T37" fmla="*/ 911 h 1311"/>
                <a:gd name="T38" fmla="*/ 321 w 1154"/>
                <a:gd name="T39" fmla="*/ 869 h 1311"/>
                <a:gd name="T40" fmla="*/ 286 w 1154"/>
                <a:gd name="T41" fmla="*/ 796 h 1311"/>
                <a:gd name="T42" fmla="*/ 257 w 1154"/>
                <a:gd name="T43" fmla="*/ 770 h 1311"/>
                <a:gd name="T44" fmla="*/ 206 w 1154"/>
                <a:gd name="T45" fmla="*/ 740 h 1311"/>
                <a:gd name="T46" fmla="*/ 157 w 1154"/>
                <a:gd name="T47" fmla="*/ 727 h 1311"/>
                <a:gd name="T48" fmla="*/ 95 w 1154"/>
                <a:gd name="T49" fmla="*/ 702 h 1311"/>
                <a:gd name="T50" fmla="*/ 93 w 1154"/>
                <a:gd name="T51" fmla="*/ 683 h 1311"/>
                <a:gd name="T52" fmla="*/ 62 w 1154"/>
                <a:gd name="T53" fmla="*/ 675 h 1311"/>
                <a:gd name="T54" fmla="*/ 7 w 1154"/>
                <a:gd name="T55" fmla="*/ 679 h 1311"/>
                <a:gd name="T56" fmla="*/ 9 w 1154"/>
                <a:gd name="T57" fmla="*/ 650 h 1311"/>
                <a:gd name="T58" fmla="*/ 4 w 1154"/>
                <a:gd name="T59" fmla="*/ 612 h 1311"/>
                <a:gd name="T60" fmla="*/ 37 w 1154"/>
                <a:gd name="T61" fmla="*/ 591 h 1311"/>
                <a:gd name="T62" fmla="*/ 62 w 1154"/>
                <a:gd name="T63" fmla="*/ 566 h 1311"/>
                <a:gd name="T64" fmla="*/ 71 w 1154"/>
                <a:gd name="T65" fmla="*/ 530 h 1311"/>
                <a:gd name="T66" fmla="*/ 117 w 1154"/>
                <a:gd name="T67" fmla="*/ 497 h 1311"/>
                <a:gd name="T68" fmla="*/ 170 w 1154"/>
                <a:gd name="T69" fmla="*/ 477 h 1311"/>
                <a:gd name="T70" fmla="*/ 212 w 1154"/>
                <a:gd name="T71" fmla="*/ 453 h 1311"/>
                <a:gd name="T72" fmla="*/ 268 w 1154"/>
                <a:gd name="T73" fmla="*/ 452 h 1311"/>
                <a:gd name="T74" fmla="*/ 313 w 1154"/>
                <a:gd name="T75" fmla="*/ 419 h 1311"/>
                <a:gd name="T76" fmla="*/ 346 w 1154"/>
                <a:gd name="T77" fmla="*/ 432 h 1311"/>
                <a:gd name="T78" fmla="*/ 383 w 1154"/>
                <a:gd name="T79" fmla="*/ 403 h 1311"/>
                <a:gd name="T80" fmla="*/ 426 w 1154"/>
                <a:gd name="T81" fmla="*/ 371 h 1311"/>
                <a:gd name="T82" fmla="*/ 449 w 1154"/>
                <a:gd name="T83" fmla="*/ 358 h 1311"/>
                <a:gd name="T84" fmla="*/ 462 w 1154"/>
                <a:gd name="T85" fmla="*/ 322 h 1311"/>
                <a:gd name="T86" fmla="*/ 554 w 1154"/>
                <a:gd name="T87" fmla="*/ 333 h 1311"/>
                <a:gd name="T88" fmla="*/ 627 w 1154"/>
                <a:gd name="T89" fmla="*/ 330 h 1311"/>
                <a:gd name="T90" fmla="*/ 670 w 1154"/>
                <a:gd name="T91" fmla="*/ 316 h 1311"/>
                <a:gd name="T92" fmla="*/ 734 w 1154"/>
                <a:gd name="T93" fmla="*/ 309 h 1311"/>
                <a:gd name="T94" fmla="*/ 741 w 1154"/>
                <a:gd name="T95" fmla="*/ 254 h 1311"/>
                <a:gd name="T96" fmla="*/ 745 w 1154"/>
                <a:gd name="T97" fmla="*/ 220 h 1311"/>
                <a:gd name="T98" fmla="*/ 777 w 1154"/>
                <a:gd name="T99" fmla="*/ 218 h 1311"/>
                <a:gd name="T100" fmla="*/ 815 w 1154"/>
                <a:gd name="T101" fmla="*/ 189 h 1311"/>
                <a:gd name="T102" fmla="*/ 814 w 1154"/>
                <a:gd name="T103" fmla="*/ 142 h 1311"/>
                <a:gd name="T104" fmla="*/ 833 w 1154"/>
                <a:gd name="T105" fmla="*/ 136 h 1311"/>
                <a:gd name="T106" fmla="*/ 869 w 1154"/>
                <a:gd name="T107" fmla="*/ 136 h 1311"/>
                <a:gd name="T108" fmla="*/ 896 w 1154"/>
                <a:gd name="T109" fmla="*/ 135 h 1311"/>
                <a:gd name="T110" fmla="*/ 915 w 1154"/>
                <a:gd name="T111" fmla="*/ 166 h 1311"/>
                <a:gd name="T112" fmla="*/ 975 w 1154"/>
                <a:gd name="T113" fmla="*/ 158 h 1311"/>
                <a:gd name="T114" fmla="*/ 1021 w 1154"/>
                <a:gd name="T115" fmla="*/ 116 h 1311"/>
                <a:gd name="T116" fmla="*/ 1040 w 1154"/>
                <a:gd name="T117" fmla="*/ 78 h 1311"/>
                <a:gd name="T118" fmla="*/ 1092 w 1154"/>
                <a:gd name="T119" fmla="*/ 84 h 1311"/>
                <a:gd name="T120" fmla="*/ 1110 w 1154"/>
                <a:gd name="T121" fmla="*/ 56 h 1311"/>
                <a:gd name="T122" fmla="*/ 1145 w 1154"/>
                <a:gd name="T123" fmla="*/ 20 h 1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4" h="1311">
                  <a:moveTo>
                    <a:pt x="497" y="1246"/>
                  </a:moveTo>
                  <a:lnTo>
                    <a:pt x="497" y="1246"/>
                  </a:lnTo>
                  <a:lnTo>
                    <a:pt x="496" y="1245"/>
                  </a:lnTo>
                  <a:lnTo>
                    <a:pt x="495" y="1245"/>
                  </a:lnTo>
                  <a:lnTo>
                    <a:pt x="491" y="1246"/>
                  </a:lnTo>
                  <a:lnTo>
                    <a:pt x="487" y="1246"/>
                  </a:lnTo>
                  <a:lnTo>
                    <a:pt x="483" y="1248"/>
                  </a:lnTo>
                  <a:lnTo>
                    <a:pt x="481" y="1249"/>
                  </a:lnTo>
                  <a:lnTo>
                    <a:pt x="473" y="1253"/>
                  </a:lnTo>
                  <a:lnTo>
                    <a:pt x="466" y="1257"/>
                  </a:lnTo>
                  <a:lnTo>
                    <a:pt x="462" y="1258"/>
                  </a:lnTo>
                  <a:lnTo>
                    <a:pt x="460" y="1260"/>
                  </a:lnTo>
                  <a:lnTo>
                    <a:pt x="460" y="1261"/>
                  </a:lnTo>
                  <a:lnTo>
                    <a:pt x="459" y="1262"/>
                  </a:lnTo>
                  <a:lnTo>
                    <a:pt x="458" y="1264"/>
                  </a:lnTo>
                  <a:lnTo>
                    <a:pt x="457" y="1266"/>
                  </a:lnTo>
                  <a:lnTo>
                    <a:pt x="455" y="1271"/>
                  </a:lnTo>
                  <a:lnTo>
                    <a:pt x="453" y="1276"/>
                  </a:lnTo>
                  <a:lnTo>
                    <a:pt x="451" y="1279"/>
                  </a:lnTo>
                  <a:lnTo>
                    <a:pt x="450" y="1280"/>
                  </a:lnTo>
                  <a:lnTo>
                    <a:pt x="449" y="1283"/>
                  </a:lnTo>
                  <a:lnTo>
                    <a:pt x="447" y="1287"/>
                  </a:lnTo>
                  <a:lnTo>
                    <a:pt x="446" y="1288"/>
                  </a:lnTo>
                  <a:lnTo>
                    <a:pt x="445" y="1289"/>
                  </a:lnTo>
                  <a:lnTo>
                    <a:pt x="444" y="1289"/>
                  </a:lnTo>
                  <a:lnTo>
                    <a:pt x="443" y="1290"/>
                  </a:lnTo>
                  <a:lnTo>
                    <a:pt x="438" y="1291"/>
                  </a:lnTo>
                  <a:lnTo>
                    <a:pt x="437" y="1291"/>
                  </a:lnTo>
                  <a:lnTo>
                    <a:pt x="435" y="1292"/>
                  </a:lnTo>
                  <a:lnTo>
                    <a:pt x="431" y="1295"/>
                  </a:lnTo>
                  <a:lnTo>
                    <a:pt x="428" y="1297"/>
                  </a:lnTo>
                  <a:lnTo>
                    <a:pt x="426" y="1298"/>
                  </a:lnTo>
                  <a:lnTo>
                    <a:pt x="425" y="1299"/>
                  </a:lnTo>
                  <a:lnTo>
                    <a:pt x="423" y="1300"/>
                  </a:lnTo>
                  <a:lnTo>
                    <a:pt x="420" y="1300"/>
                  </a:lnTo>
                  <a:lnTo>
                    <a:pt x="410" y="1301"/>
                  </a:lnTo>
                  <a:lnTo>
                    <a:pt x="408" y="1302"/>
                  </a:lnTo>
                  <a:lnTo>
                    <a:pt x="406" y="1303"/>
                  </a:lnTo>
                  <a:lnTo>
                    <a:pt x="403" y="1303"/>
                  </a:lnTo>
                  <a:lnTo>
                    <a:pt x="403" y="1304"/>
                  </a:lnTo>
                  <a:lnTo>
                    <a:pt x="398" y="1307"/>
                  </a:lnTo>
                  <a:lnTo>
                    <a:pt x="396" y="1309"/>
                  </a:lnTo>
                  <a:lnTo>
                    <a:pt x="394" y="1310"/>
                  </a:lnTo>
                  <a:lnTo>
                    <a:pt x="392" y="1310"/>
                  </a:lnTo>
                  <a:lnTo>
                    <a:pt x="389" y="1311"/>
                  </a:lnTo>
                  <a:lnTo>
                    <a:pt x="387" y="1311"/>
                  </a:lnTo>
                  <a:lnTo>
                    <a:pt x="384" y="1311"/>
                  </a:lnTo>
                  <a:lnTo>
                    <a:pt x="382" y="1311"/>
                  </a:lnTo>
                  <a:lnTo>
                    <a:pt x="380" y="1310"/>
                  </a:lnTo>
                  <a:lnTo>
                    <a:pt x="378" y="1309"/>
                  </a:lnTo>
                  <a:lnTo>
                    <a:pt x="375" y="1308"/>
                  </a:lnTo>
                  <a:lnTo>
                    <a:pt x="370" y="1306"/>
                  </a:lnTo>
                  <a:lnTo>
                    <a:pt x="369" y="1306"/>
                  </a:lnTo>
                  <a:lnTo>
                    <a:pt x="368" y="1305"/>
                  </a:lnTo>
                  <a:lnTo>
                    <a:pt x="367" y="1304"/>
                  </a:lnTo>
                  <a:lnTo>
                    <a:pt x="365" y="1303"/>
                  </a:lnTo>
                  <a:lnTo>
                    <a:pt x="364" y="1302"/>
                  </a:lnTo>
                  <a:lnTo>
                    <a:pt x="363" y="1301"/>
                  </a:lnTo>
                  <a:lnTo>
                    <a:pt x="359" y="1299"/>
                  </a:lnTo>
                  <a:lnTo>
                    <a:pt x="358" y="1297"/>
                  </a:lnTo>
                  <a:lnTo>
                    <a:pt x="351" y="1292"/>
                  </a:lnTo>
                  <a:lnTo>
                    <a:pt x="350" y="1292"/>
                  </a:lnTo>
                  <a:lnTo>
                    <a:pt x="348" y="1291"/>
                  </a:lnTo>
                  <a:lnTo>
                    <a:pt x="347" y="1291"/>
                  </a:lnTo>
                  <a:lnTo>
                    <a:pt x="346" y="1291"/>
                  </a:lnTo>
                  <a:lnTo>
                    <a:pt x="344" y="1291"/>
                  </a:lnTo>
                  <a:lnTo>
                    <a:pt x="341" y="1291"/>
                  </a:lnTo>
                  <a:lnTo>
                    <a:pt x="339" y="1292"/>
                  </a:lnTo>
                  <a:lnTo>
                    <a:pt x="333" y="1295"/>
                  </a:lnTo>
                  <a:lnTo>
                    <a:pt x="330" y="1297"/>
                  </a:lnTo>
                  <a:lnTo>
                    <a:pt x="329" y="1297"/>
                  </a:lnTo>
                  <a:lnTo>
                    <a:pt x="327" y="1298"/>
                  </a:lnTo>
                  <a:lnTo>
                    <a:pt x="326" y="1298"/>
                  </a:lnTo>
                  <a:lnTo>
                    <a:pt x="324" y="1298"/>
                  </a:lnTo>
                  <a:lnTo>
                    <a:pt x="322" y="1298"/>
                  </a:lnTo>
                  <a:lnTo>
                    <a:pt x="321" y="1297"/>
                  </a:lnTo>
                  <a:lnTo>
                    <a:pt x="320" y="1297"/>
                  </a:lnTo>
                  <a:lnTo>
                    <a:pt x="319" y="1296"/>
                  </a:lnTo>
                  <a:lnTo>
                    <a:pt x="313" y="1291"/>
                  </a:lnTo>
                  <a:lnTo>
                    <a:pt x="312" y="1290"/>
                  </a:lnTo>
                  <a:lnTo>
                    <a:pt x="311" y="1290"/>
                  </a:lnTo>
                  <a:lnTo>
                    <a:pt x="310" y="1289"/>
                  </a:lnTo>
                  <a:lnTo>
                    <a:pt x="308" y="1289"/>
                  </a:lnTo>
                  <a:lnTo>
                    <a:pt x="307" y="1289"/>
                  </a:lnTo>
                  <a:lnTo>
                    <a:pt x="306" y="1289"/>
                  </a:lnTo>
                  <a:lnTo>
                    <a:pt x="304" y="1290"/>
                  </a:lnTo>
                  <a:lnTo>
                    <a:pt x="300" y="1291"/>
                  </a:lnTo>
                  <a:lnTo>
                    <a:pt x="296" y="1293"/>
                  </a:lnTo>
                  <a:lnTo>
                    <a:pt x="286" y="1295"/>
                  </a:lnTo>
                  <a:lnTo>
                    <a:pt x="278" y="1298"/>
                  </a:lnTo>
                  <a:lnTo>
                    <a:pt x="275" y="1299"/>
                  </a:lnTo>
                  <a:lnTo>
                    <a:pt x="272" y="1299"/>
                  </a:lnTo>
                  <a:lnTo>
                    <a:pt x="269" y="1299"/>
                  </a:lnTo>
                  <a:lnTo>
                    <a:pt x="268" y="1299"/>
                  </a:lnTo>
                  <a:lnTo>
                    <a:pt x="267" y="1299"/>
                  </a:lnTo>
                  <a:lnTo>
                    <a:pt x="267" y="1298"/>
                  </a:lnTo>
                  <a:lnTo>
                    <a:pt x="266" y="1298"/>
                  </a:lnTo>
                  <a:lnTo>
                    <a:pt x="267" y="1297"/>
                  </a:lnTo>
                  <a:lnTo>
                    <a:pt x="267" y="1295"/>
                  </a:lnTo>
                  <a:lnTo>
                    <a:pt x="267" y="1291"/>
                  </a:lnTo>
                  <a:lnTo>
                    <a:pt x="267" y="1288"/>
                  </a:lnTo>
                  <a:lnTo>
                    <a:pt x="267" y="1283"/>
                  </a:lnTo>
                  <a:lnTo>
                    <a:pt x="267" y="1280"/>
                  </a:lnTo>
                  <a:lnTo>
                    <a:pt x="267" y="1278"/>
                  </a:lnTo>
                  <a:lnTo>
                    <a:pt x="266" y="1275"/>
                  </a:lnTo>
                  <a:lnTo>
                    <a:pt x="265" y="1271"/>
                  </a:lnTo>
                  <a:lnTo>
                    <a:pt x="264" y="1269"/>
                  </a:lnTo>
                  <a:lnTo>
                    <a:pt x="263" y="1266"/>
                  </a:lnTo>
                  <a:lnTo>
                    <a:pt x="261" y="1264"/>
                  </a:lnTo>
                  <a:lnTo>
                    <a:pt x="260" y="1262"/>
                  </a:lnTo>
                  <a:lnTo>
                    <a:pt x="259" y="1261"/>
                  </a:lnTo>
                  <a:lnTo>
                    <a:pt x="256" y="1259"/>
                  </a:lnTo>
                  <a:lnTo>
                    <a:pt x="255" y="1257"/>
                  </a:lnTo>
                  <a:lnTo>
                    <a:pt x="251" y="1256"/>
                  </a:lnTo>
                  <a:lnTo>
                    <a:pt x="250" y="1256"/>
                  </a:lnTo>
                  <a:lnTo>
                    <a:pt x="250" y="1255"/>
                  </a:lnTo>
                  <a:lnTo>
                    <a:pt x="249" y="1254"/>
                  </a:lnTo>
                  <a:lnTo>
                    <a:pt x="249" y="1253"/>
                  </a:lnTo>
                  <a:lnTo>
                    <a:pt x="249" y="1252"/>
                  </a:lnTo>
                  <a:lnTo>
                    <a:pt x="249" y="1249"/>
                  </a:lnTo>
                  <a:lnTo>
                    <a:pt x="248" y="1239"/>
                  </a:lnTo>
                  <a:lnTo>
                    <a:pt x="248" y="1236"/>
                  </a:lnTo>
                  <a:lnTo>
                    <a:pt x="249" y="1231"/>
                  </a:lnTo>
                  <a:lnTo>
                    <a:pt x="250" y="1222"/>
                  </a:lnTo>
                  <a:lnTo>
                    <a:pt x="250" y="1217"/>
                  </a:lnTo>
                  <a:lnTo>
                    <a:pt x="251" y="1213"/>
                  </a:lnTo>
                  <a:lnTo>
                    <a:pt x="253" y="1203"/>
                  </a:lnTo>
                  <a:lnTo>
                    <a:pt x="254" y="1200"/>
                  </a:lnTo>
                  <a:lnTo>
                    <a:pt x="255" y="1197"/>
                  </a:lnTo>
                  <a:lnTo>
                    <a:pt x="255" y="1193"/>
                  </a:lnTo>
                  <a:lnTo>
                    <a:pt x="255" y="1188"/>
                  </a:lnTo>
                  <a:lnTo>
                    <a:pt x="255" y="1182"/>
                  </a:lnTo>
                  <a:lnTo>
                    <a:pt x="255" y="1179"/>
                  </a:lnTo>
                  <a:lnTo>
                    <a:pt x="254" y="1177"/>
                  </a:lnTo>
                  <a:lnTo>
                    <a:pt x="253" y="1176"/>
                  </a:lnTo>
                  <a:lnTo>
                    <a:pt x="252" y="1174"/>
                  </a:lnTo>
                  <a:lnTo>
                    <a:pt x="251" y="1173"/>
                  </a:lnTo>
                  <a:lnTo>
                    <a:pt x="250" y="1172"/>
                  </a:lnTo>
                  <a:lnTo>
                    <a:pt x="248" y="1170"/>
                  </a:lnTo>
                  <a:lnTo>
                    <a:pt x="246" y="1169"/>
                  </a:lnTo>
                  <a:lnTo>
                    <a:pt x="244" y="1167"/>
                  </a:lnTo>
                  <a:lnTo>
                    <a:pt x="241" y="1167"/>
                  </a:lnTo>
                  <a:lnTo>
                    <a:pt x="239" y="1167"/>
                  </a:lnTo>
                  <a:lnTo>
                    <a:pt x="236" y="1166"/>
                  </a:lnTo>
                  <a:lnTo>
                    <a:pt x="233" y="1166"/>
                  </a:lnTo>
                  <a:lnTo>
                    <a:pt x="228" y="1166"/>
                  </a:lnTo>
                  <a:lnTo>
                    <a:pt x="225" y="1166"/>
                  </a:lnTo>
                  <a:lnTo>
                    <a:pt x="223" y="1166"/>
                  </a:lnTo>
                  <a:lnTo>
                    <a:pt x="222" y="1165"/>
                  </a:lnTo>
                  <a:lnTo>
                    <a:pt x="221" y="1165"/>
                  </a:lnTo>
                  <a:lnTo>
                    <a:pt x="221" y="1164"/>
                  </a:lnTo>
                  <a:lnTo>
                    <a:pt x="221" y="1163"/>
                  </a:lnTo>
                  <a:lnTo>
                    <a:pt x="220" y="1163"/>
                  </a:lnTo>
                  <a:lnTo>
                    <a:pt x="220" y="1162"/>
                  </a:lnTo>
                  <a:lnTo>
                    <a:pt x="220" y="1161"/>
                  </a:lnTo>
                  <a:lnTo>
                    <a:pt x="221" y="1159"/>
                  </a:lnTo>
                  <a:lnTo>
                    <a:pt x="221" y="1157"/>
                  </a:lnTo>
                  <a:lnTo>
                    <a:pt x="221" y="1155"/>
                  </a:lnTo>
                  <a:lnTo>
                    <a:pt x="221" y="1155"/>
                  </a:lnTo>
                  <a:lnTo>
                    <a:pt x="220" y="1154"/>
                  </a:lnTo>
                  <a:lnTo>
                    <a:pt x="218" y="1153"/>
                  </a:lnTo>
                  <a:lnTo>
                    <a:pt x="216" y="1151"/>
                  </a:lnTo>
                  <a:lnTo>
                    <a:pt x="212" y="1149"/>
                  </a:lnTo>
                  <a:lnTo>
                    <a:pt x="210" y="1148"/>
                  </a:lnTo>
                  <a:lnTo>
                    <a:pt x="210" y="1146"/>
                  </a:lnTo>
                  <a:lnTo>
                    <a:pt x="209" y="1145"/>
                  </a:lnTo>
                  <a:lnTo>
                    <a:pt x="210" y="1145"/>
                  </a:lnTo>
                  <a:lnTo>
                    <a:pt x="210" y="1144"/>
                  </a:lnTo>
                  <a:lnTo>
                    <a:pt x="210" y="1144"/>
                  </a:lnTo>
                  <a:lnTo>
                    <a:pt x="211" y="1144"/>
                  </a:lnTo>
                  <a:lnTo>
                    <a:pt x="217" y="1144"/>
                  </a:lnTo>
                  <a:lnTo>
                    <a:pt x="219" y="1144"/>
                  </a:lnTo>
                  <a:lnTo>
                    <a:pt x="220" y="1143"/>
                  </a:lnTo>
                  <a:lnTo>
                    <a:pt x="221" y="1143"/>
                  </a:lnTo>
                  <a:lnTo>
                    <a:pt x="222" y="1142"/>
                  </a:lnTo>
                  <a:lnTo>
                    <a:pt x="223" y="1141"/>
                  </a:lnTo>
                  <a:lnTo>
                    <a:pt x="224" y="1140"/>
                  </a:lnTo>
                  <a:lnTo>
                    <a:pt x="224" y="1139"/>
                  </a:lnTo>
                  <a:lnTo>
                    <a:pt x="224" y="1137"/>
                  </a:lnTo>
                  <a:lnTo>
                    <a:pt x="224" y="1135"/>
                  </a:lnTo>
                  <a:lnTo>
                    <a:pt x="223" y="1133"/>
                  </a:lnTo>
                  <a:lnTo>
                    <a:pt x="222" y="1132"/>
                  </a:lnTo>
                  <a:lnTo>
                    <a:pt x="221" y="1130"/>
                  </a:lnTo>
                  <a:lnTo>
                    <a:pt x="220" y="1128"/>
                  </a:lnTo>
                  <a:lnTo>
                    <a:pt x="216" y="1124"/>
                  </a:lnTo>
                  <a:lnTo>
                    <a:pt x="215" y="1123"/>
                  </a:lnTo>
                  <a:lnTo>
                    <a:pt x="214" y="1122"/>
                  </a:lnTo>
                  <a:lnTo>
                    <a:pt x="214" y="1121"/>
                  </a:lnTo>
                  <a:lnTo>
                    <a:pt x="213" y="1120"/>
                  </a:lnTo>
                  <a:lnTo>
                    <a:pt x="213" y="1118"/>
                  </a:lnTo>
                  <a:lnTo>
                    <a:pt x="213" y="1116"/>
                  </a:lnTo>
                  <a:lnTo>
                    <a:pt x="214" y="1115"/>
                  </a:lnTo>
                  <a:lnTo>
                    <a:pt x="215" y="1114"/>
                  </a:lnTo>
                  <a:lnTo>
                    <a:pt x="216" y="1113"/>
                  </a:lnTo>
                  <a:lnTo>
                    <a:pt x="225" y="1109"/>
                  </a:lnTo>
                  <a:lnTo>
                    <a:pt x="228" y="1108"/>
                  </a:lnTo>
                  <a:lnTo>
                    <a:pt x="230" y="1107"/>
                  </a:lnTo>
                  <a:lnTo>
                    <a:pt x="231" y="1105"/>
                  </a:lnTo>
                  <a:lnTo>
                    <a:pt x="232" y="1104"/>
                  </a:lnTo>
                  <a:lnTo>
                    <a:pt x="232" y="1103"/>
                  </a:lnTo>
                  <a:lnTo>
                    <a:pt x="232" y="1102"/>
                  </a:lnTo>
                  <a:lnTo>
                    <a:pt x="232" y="1101"/>
                  </a:lnTo>
                  <a:lnTo>
                    <a:pt x="231" y="1100"/>
                  </a:lnTo>
                  <a:lnTo>
                    <a:pt x="230" y="1099"/>
                  </a:lnTo>
                  <a:lnTo>
                    <a:pt x="228" y="1099"/>
                  </a:lnTo>
                  <a:lnTo>
                    <a:pt x="227" y="1099"/>
                  </a:lnTo>
                  <a:lnTo>
                    <a:pt x="225" y="1099"/>
                  </a:lnTo>
                  <a:lnTo>
                    <a:pt x="221" y="1098"/>
                  </a:lnTo>
                  <a:lnTo>
                    <a:pt x="219" y="1097"/>
                  </a:lnTo>
                  <a:lnTo>
                    <a:pt x="216" y="1097"/>
                  </a:lnTo>
                  <a:lnTo>
                    <a:pt x="213" y="1098"/>
                  </a:lnTo>
                  <a:lnTo>
                    <a:pt x="208" y="1099"/>
                  </a:lnTo>
                  <a:lnTo>
                    <a:pt x="206" y="1099"/>
                  </a:lnTo>
                  <a:lnTo>
                    <a:pt x="205" y="1099"/>
                  </a:lnTo>
                  <a:lnTo>
                    <a:pt x="204" y="1099"/>
                  </a:lnTo>
                  <a:lnTo>
                    <a:pt x="202" y="1098"/>
                  </a:lnTo>
                  <a:lnTo>
                    <a:pt x="202" y="1097"/>
                  </a:lnTo>
                  <a:lnTo>
                    <a:pt x="201" y="1096"/>
                  </a:lnTo>
                  <a:lnTo>
                    <a:pt x="200" y="1094"/>
                  </a:lnTo>
                  <a:lnTo>
                    <a:pt x="200" y="1093"/>
                  </a:lnTo>
                  <a:lnTo>
                    <a:pt x="200" y="1091"/>
                  </a:lnTo>
                  <a:lnTo>
                    <a:pt x="200" y="1089"/>
                  </a:lnTo>
                  <a:lnTo>
                    <a:pt x="200" y="1087"/>
                  </a:lnTo>
                  <a:lnTo>
                    <a:pt x="200" y="1084"/>
                  </a:lnTo>
                  <a:lnTo>
                    <a:pt x="201" y="1082"/>
                  </a:lnTo>
                  <a:lnTo>
                    <a:pt x="201" y="1080"/>
                  </a:lnTo>
                  <a:lnTo>
                    <a:pt x="203" y="1077"/>
                  </a:lnTo>
                  <a:lnTo>
                    <a:pt x="206" y="1074"/>
                  </a:lnTo>
                  <a:lnTo>
                    <a:pt x="212" y="1065"/>
                  </a:lnTo>
                  <a:lnTo>
                    <a:pt x="215" y="1062"/>
                  </a:lnTo>
                  <a:lnTo>
                    <a:pt x="217" y="1060"/>
                  </a:lnTo>
                  <a:lnTo>
                    <a:pt x="219" y="1057"/>
                  </a:lnTo>
                  <a:lnTo>
                    <a:pt x="221" y="1055"/>
                  </a:lnTo>
                  <a:lnTo>
                    <a:pt x="223" y="1054"/>
                  </a:lnTo>
                  <a:lnTo>
                    <a:pt x="225" y="1052"/>
                  </a:lnTo>
                  <a:lnTo>
                    <a:pt x="228" y="1050"/>
                  </a:lnTo>
                  <a:lnTo>
                    <a:pt x="232" y="1048"/>
                  </a:lnTo>
                  <a:lnTo>
                    <a:pt x="234" y="1047"/>
                  </a:lnTo>
                  <a:lnTo>
                    <a:pt x="237" y="1045"/>
                  </a:lnTo>
                  <a:lnTo>
                    <a:pt x="241" y="1044"/>
                  </a:lnTo>
                  <a:lnTo>
                    <a:pt x="243" y="1043"/>
                  </a:lnTo>
                  <a:lnTo>
                    <a:pt x="244" y="1042"/>
                  </a:lnTo>
                  <a:lnTo>
                    <a:pt x="247" y="1042"/>
                  </a:lnTo>
                  <a:lnTo>
                    <a:pt x="249" y="1042"/>
                  </a:lnTo>
                  <a:lnTo>
                    <a:pt x="250" y="1042"/>
                  </a:lnTo>
                  <a:lnTo>
                    <a:pt x="251" y="1043"/>
                  </a:lnTo>
                  <a:lnTo>
                    <a:pt x="253" y="1044"/>
                  </a:lnTo>
                  <a:lnTo>
                    <a:pt x="259" y="1048"/>
                  </a:lnTo>
                  <a:lnTo>
                    <a:pt x="261" y="1049"/>
                  </a:lnTo>
                  <a:lnTo>
                    <a:pt x="263" y="1050"/>
                  </a:lnTo>
                  <a:lnTo>
                    <a:pt x="265" y="1050"/>
                  </a:lnTo>
                  <a:lnTo>
                    <a:pt x="266" y="1050"/>
                  </a:lnTo>
                  <a:lnTo>
                    <a:pt x="267" y="1050"/>
                  </a:lnTo>
                  <a:lnTo>
                    <a:pt x="268" y="1050"/>
                  </a:lnTo>
                  <a:lnTo>
                    <a:pt x="269" y="1049"/>
                  </a:lnTo>
                  <a:lnTo>
                    <a:pt x="271" y="1048"/>
                  </a:lnTo>
                  <a:lnTo>
                    <a:pt x="272" y="1047"/>
                  </a:lnTo>
                  <a:lnTo>
                    <a:pt x="274" y="1045"/>
                  </a:lnTo>
                  <a:lnTo>
                    <a:pt x="276" y="1043"/>
                  </a:lnTo>
                  <a:lnTo>
                    <a:pt x="280" y="1037"/>
                  </a:lnTo>
                  <a:lnTo>
                    <a:pt x="282" y="1034"/>
                  </a:lnTo>
                  <a:lnTo>
                    <a:pt x="284" y="1032"/>
                  </a:lnTo>
                  <a:lnTo>
                    <a:pt x="287" y="1031"/>
                  </a:lnTo>
                  <a:lnTo>
                    <a:pt x="294" y="1024"/>
                  </a:lnTo>
                  <a:lnTo>
                    <a:pt x="298" y="1020"/>
                  </a:lnTo>
                  <a:lnTo>
                    <a:pt x="299" y="1020"/>
                  </a:lnTo>
                  <a:lnTo>
                    <a:pt x="300" y="1019"/>
                  </a:lnTo>
                  <a:lnTo>
                    <a:pt x="301" y="1017"/>
                  </a:lnTo>
                  <a:lnTo>
                    <a:pt x="301" y="1016"/>
                  </a:lnTo>
                  <a:lnTo>
                    <a:pt x="301" y="1014"/>
                  </a:lnTo>
                  <a:lnTo>
                    <a:pt x="301" y="1013"/>
                  </a:lnTo>
                  <a:lnTo>
                    <a:pt x="301" y="1011"/>
                  </a:lnTo>
                  <a:lnTo>
                    <a:pt x="301" y="1009"/>
                  </a:lnTo>
                  <a:lnTo>
                    <a:pt x="299" y="1008"/>
                  </a:lnTo>
                  <a:lnTo>
                    <a:pt x="298" y="1007"/>
                  </a:lnTo>
                  <a:lnTo>
                    <a:pt x="296" y="1006"/>
                  </a:lnTo>
                  <a:lnTo>
                    <a:pt x="293" y="1004"/>
                  </a:lnTo>
                  <a:lnTo>
                    <a:pt x="291" y="1002"/>
                  </a:lnTo>
                  <a:lnTo>
                    <a:pt x="290" y="1001"/>
                  </a:lnTo>
                  <a:lnTo>
                    <a:pt x="290" y="998"/>
                  </a:lnTo>
                  <a:lnTo>
                    <a:pt x="290" y="997"/>
                  </a:lnTo>
                  <a:lnTo>
                    <a:pt x="292" y="993"/>
                  </a:lnTo>
                  <a:lnTo>
                    <a:pt x="292" y="990"/>
                  </a:lnTo>
                  <a:lnTo>
                    <a:pt x="293" y="987"/>
                  </a:lnTo>
                  <a:lnTo>
                    <a:pt x="293" y="985"/>
                  </a:lnTo>
                  <a:lnTo>
                    <a:pt x="293" y="982"/>
                  </a:lnTo>
                  <a:lnTo>
                    <a:pt x="293" y="979"/>
                  </a:lnTo>
                  <a:lnTo>
                    <a:pt x="293" y="973"/>
                  </a:lnTo>
                  <a:lnTo>
                    <a:pt x="294" y="969"/>
                  </a:lnTo>
                  <a:lnTo>
                    <a:pt x="294" y="966"/>
                  </a:lnTo>
                  <a:lnTo>
                    <a:pt x="294" y="964"/>
                  </a:lnTo>
                  <a:lnTo>
                    <a:pt x="294" y="963"/>
                  </a:lnTo>
                  <a:lnTo>
                    <a:pt x="295" y="961"/>
                  </a:lnTo>
                  <a:lnTo>
                    <a:pt x="298" y="953"/>
                  </a:lnTo>
                  <a:lnTo>
                    <a:pt x="299" y="950"/>
                  </a:lnTo>
                  <a:lnTo>
                    <a:pt x="300" y="946"/>
                  </a:lnTo>
                  <a:lnTo>
                    <a:pt x="301" y="944"/>
                  </a:lnTo>
                  <a:lnTo>
                    <a:pt x="301" y="941"/>
                  </a:lnTo>
                  <a:lnTo>
                    <a:pt x="301" y="939"/>
                  </a:lnTo>
                  <a:lnTo>
                    <a:pt x="301" y="936"/>
                  </a:lnTo>
                  <a:lnTo>
                    <a:pt x="300" y="929"/>
                  </a:lnTo>
                  <a:lnTo>
                    <a:pt x="300" y="925"/>
                  </a:lnTo>
                  <a:lnTo>
                    <a:pt x="300" y="922"/>
                  </a:lnTo>
                  <a:lnTo>
                    <a:pt x="301" y="911"/>
                  </a:lnTo>
                  <a:lnTo>
                    <a:pt x="301" y="908"/>
                  </a:lnTo>
                  <a:lnTo>
                    <a:pt x="302" y="906"/>
                  </a:lnTo>
                  <a:lnTo>
                    <a:pt x="305" y="898"/>
                  </a:lnTo>
                  <a:lnTo>
                    <a:pt x="307" y="892"/>
                  </a:lnTo>
                  <a:lnTo>
                    <a:pt x="308" y="889"/>
                  </a:lnTo>
                  <a:lnTo>
                    <a:pt x="309" y="887"/>
                  </a:lnTo>
                  <a:lnTo>
                    <a:pt x="310" y="885"/>
                  </a:lnTo>
                  <a:lnTo>
                    <a:pt x="312" y="884"/>
                  </a:lnTo>
                  <a:lnTo>
                    <a:pt x="312" y="883"/>
                  </a:lnTo>
                  <a:lnTo>
                    <a:pt x="317" y="879"/>
                  </a:lnTo>
                  <a:lnTo>
                    <a:pt x="318" y="877"/>
                  </a:lnTo>
                  <a:lnTo>
                    <a:pt x="319" y="876"/>
                  </a:lnTo>
                  <a:lnTo>
                    <a:pt x="320" y="874"/>
                  </a:lnTo>
                  <a:lnTo>
                    <a:pt x="320" y="873"/>
                  </a:lnTo>
                  <a:lnTo>
                    <a:pt x="321" y="872"/>
                  </a:lnTo>
                  <a:lnTo>
                    <a:pt x="321" y="869"/>
                  </a:lnTo>
                  <a:lnTo>
                    <a:pt x="321" y="866"/>
                  </a:lnTo>
                  <a:lnTo>
                    <a:pt x="320" y="856"/>
                  </a:lnTo>
                  <a:lnTo>
                    <a:pt x="320" y="852"/>
                  </a:lnTo>
                  <a:lnTo>
                    <a:pt x="319" y="842"/>
                  </a:lnTo>
                  <a:lnTo>
                    <a:pt x="318" y="833"/>
                  </a:lnTo>
                  <a:lnTo>
                    <a:pt x="318" y="829"/>
                  </a:lnTo>
                  <a:lnTo>
                    <a:pt x="317" y="816"/>
                  </a:lnTo>
                  <a:lnTo>
                    <a:pt x="317" y="816"/>
                  </a:lnTo>
                  <a:lnTo>
                    <a:pt x="317" y="814"/>
                  </a:lnTo>
                  <a:lnTo>
                    <a:pt x="316" y="813"/>
                  </a:lnTo>
                  <a:lnTo>
                    <a:pt x="315" y="812"/>
                  </a:lnTo>
                  <a:lnTo>
                    <a:pt x="314" y="811"/>
                  </a:lnTo>
                  <a:lnTo>
                    <a:pt x="312" y="810"/>
                  </a:lnTo>
                  <a:lnTo>
                    <a:pt x="296" y="801"/>
                  </a:lnTo>
                  <a:lnTo>
                    <a:pt x="290" y="798"/>
                  </a:lnTo>
                  <a:lnTo>
                    <a:pt x="286" y="796"/>
                  </a:lnTo>
                  <a:lnTo>
                    <a:pt x="280" y="794"/>
                  </a:lnTo>
                  <a:lnTo>
                    <a:pt x="274" y="793"/>
                  </a:lnTo>
                  <a:lnTo>
                    <a:pt x="267" y="792"/>
                  </a:lnTo>
                  <a:lnTo>
                    <a:pt x="266" y="791"/>
                  </a:lnTo>
                  <a:lnTo>
                    <a:pt x="265" y="790"/>
                  </a:lnTo>
                  <a:lnTo>
                    <a:pt x="264" y="789"/>
                  </a:lnTo>
                  <a:lnTo>
                    <a:pt x="263" y="789"/>
                  </a:lnTo>
                  <a:lnTo>
                    <a:pt x="263" y="788"/>
                  </a:lnTo>
                  <a:lnTo>
                    <a:pt x="262" y="787"/>
                  </a:lnTo>
                  <a:lnTo>
                    <a:pt x="262" y="785"/>
                  </a:lnTo>
                  <a:lnTo>
                    <a:pt x="261" y="778"/>
                  </a:lnTo>
                  <a:lnTo>
                    <a:pt x="260" y="776"/>
                  </a:lnTo>
                  <a:lnTo>
                    <a:pt x="259" y="775"/>
                  </a:lnTo>
                  <a:lnTo>
                    <a:pt x="259" y="773"/>
                  </a:lnTo>
                  <a:lnTo>
                    <a:pt x="258" y="772"/>
                  </a:lnTo>
                  <a:lnTo>
                    <a:pt x="257" y="770"/>
                  </a:lnTo>
                  <a:lnTo>
                    <a:pt x="256" y="770"/>
                  </a:lnTo>
                  <a:lnTo>
                    <a:pt x="255" y="769"/>
                  </a:lnTo>
                  <a:lnTo>
                    <a:pt x="253" y="767"/>
                  </a:lnTo>
                  <a:lnTo>
                    <a:pt x="250" y="766"/>
                  </a:lnTo>
                  <a:lnTo>
                    <a:pt x="247" y="765"/>
                  </a:lnTo>
                  <a:lnTo>
                    <a:pt x="245" y="764"/>
                  </a:lnTo>
                  <a:lnTo>
                    <a:pt x="243" y="764"/>
                  </a:lnTo>
                  <a:lnTo>
                    <a:pt x="234" y="762"/>
                  </a:lnTo>
                  <a:lnTo>
                    <a:pt x="233" y="762"/>
                  </a:lnTo>
                  <a:lnTo>
                    <a:pt x="230" y="761"/>
                  </a:lnTo>
                  <a:lnTo>
                    <a:pt x="228" y="759"/>
                  </a:lnTo>
                  <a:lnTo>
                    <a:pt x="225" y="759"/>
                  </a:lnTo>
                  <a:lnTo>
                    <a:pt x="219" y="751"/>
                  </a:lnTo>
                  <a:lnTo>
                    <a:pt x="212" y="747"/>
                  </a:lnTo>
                  <a:lnTo>
                    <a:pt x="210" y="744"/>
                  </a:lnTo>
                  <a:lnTo>
                    <a:pt x="206" y="740"/>
                  </a:lnTo>
                  <a:lnTo>
                    <a:pt x="200" y="733"/>
                  </a:lnTo>
                  <a:lnTo>
                    <a:pt x="198" y="730"/>
                  </a:lnTo>
                  <a:lnTo>
                    <a:pt x="196" y="728"/>
                  </a:lnTo>
                  <a:lnTo>
                    <a:pt x="195" y="727"/>
                  </a:lnTo>
                  <a:lnTo>
                    <a:pt x="193" y="726"/>
                  </a:lnTo>
                  <a:lnTo>
                    <a:pt x="191" y="725"/>
                  </a:lnTo>
                  <a:lnTo>
                    <a:pt x="188" y="725"/>
                  </a:lnTo>
                  <a:lnTo>
                    <a:pt x="186" y="724"/>
                  </a:lnTo>
                  <a:lnTo>
                    <a:pt x="183" y="724"/>
                  </a:lnTo>
                  <a:lnTo>
                    <a:pt x="180" y="724"/>
                  </a:lnTo>
                  <a:lnTo>
                    <a:pt x="177" y="724"/>
                  </a:lnTo>
                  <a:lnTo>
                    <a:pt x="175" y="724"/>
                  </a:lnTo>
                  <a:lnTo>
                    <a:pt x="165" y="726"/>
                  </a:lnTo>
                  <a:lnTo>
                    <a:pt x="163" y="727"/>
                  </a:lnTo>
                  <a:lnTo>
                    <a:pt x="160" y="727"/>
                  </a:lnTo>
                  <a:lnTo>
                    <a:pt x="157" y="727"/>
                  </a:lnTo>
                  <a:lnTo>
                    <a:pt x="154" y="728"/>
                  </a:lnTo>
                  <a:lnTo>
                    <a:pt x="151" y="728"/>
                  </a:lnTo>
                  <a:lnTo>
                    <a:pt x="147" y="728"/>
                  </a:lnTo>
                  <a:lnTo>
                    <a:pt x="144" y="727"/>
                  </a:lnTo>
                  <a:lnTo>
                    <a:pt x="141" y="727"/>
                  </a:lnTo>
                  <a:lnTo>
                    <a:pt x="137" y="726"/>
                  </a:lnTo>
                  <a:lnTo>
                    <a:pt x="134" y="725"/>
                  </a:lnTo>
                  <a:lnTo>
                    <a:pt x="131" y="725"/>
                  </a:lnTo>
                  <a:lnTo>
                    <a:pt x="129" y="724"/>
                  </a:lnTo>
                  <a:lnTo>
                    <a:pt x="127" y="723"/>
                  </a:lnTo>
                  <a:lnTo>
                    <a:pt x="124" y="722"/>
                  </a:lnTo>
                  <a:lnTo>
                    <a:pt x="120" y="719"/>
                  </a:lnTo>
                  <a:lnTo>
                    <a:pt x="111" y="713"/>
                  </a:lnTo>
                  <a:lnTo>
                    <a:pt x="108" y="710"/>
                  </a:lnTo>
                  <a:lnTo>
                    <a:pt x="102" y="706"/>
                  </a:lnTo>
                  <a:lnTo>
                    <a:pt x="95" y="702"/>
                  </a:lnTo>
                  <a:lnTo>
                    <a:pt x="91" y="701"/>
                  </a:lnTo>
                  <a:lnTo>
                    <a:pt x="89" y="699"/>
                  </a:lnTo>
                  <a:lnTo>
                    <a:pt x="87" y="697"/>
                  </a:lnTo>
                  <a:lnTo>
                    <a:pt x="85" y="696"/>
                  </a:lnTo>
                  <a:lnTo>
                    <a:pt x="85" y="694"/>
                  </a:lnTo>
                  <a:lnTo>
                    <a:pt x="84" y="693"/>
                  </a:lnTo>
                  <a:lnTo>
                    <a:pt x="84" y="692"/>
                  </a:lnTo>
                  <a:lnTo>
                    <a:pt x="83" y="691"/>
                  </a:lnTo>
                  <a:lnTo>
                    <a:pt x="83" y="691"/>
                  </a:lnTo>
                  <a:lnTo>
                    <a:pt x="83" y="690"/>
                  </a:lnTo>
                  <a:lnTo>
                    <a:pt x="84" y="689"/>
                  </a:lnTo>
                  <a:lnTo>
                    <a:pt x="84" y="688"/>
                  </a:lnTo>
                  <a:lnTo>
                    <a:pt x="85" y="687"/>
                  </a:lnTo>
                  <a:lnTo>
                    <a:pt x="86" y="686"/>
                  </a:lnTo>
                  <a:lnTo>
                    <a:pt x="88" y="685"/>
                  </a:lnTo>
                  <a:lnTo>
                    <a:pt x="93" y="683"/>
                  </a:lnTo>
                  <a:lnTo>
                    <a:pt x="94" y="682"/>
                  </a:lnTo>
                  <a:lnTo>
                    <a:pt x="94" y="681"/>
                  </a:lnTo>
                  <a:lnTo>
                    <a:pt x="94" y="680"/>
                  </a:lnTo>
                  <a:lnTo>
                    <a:pt x="93" y="680"/>
                  </a:lnTo>
                  <a:lnTo>
                    <a:pt x="93" y="680"/>
                  </a:lnTo>
                  <a:lnTo>
                    <a:pt x="89" y="678"/>
                  </a:lnTo>
                  <a:lnTo>
                    <a:pt x="86" y="676"/>
                  </a:lnTo>
                  <a:lnTo>
                    <a:pt x="85" y="676"/>
                  </a:lnTo>
                  <a:lnTo>
                    <a:pt x="84" y="675"/>
                  </a:lnTo>
                  <a:lnTo>
                    <a:pt x="81" y="675"/>
                  </a:lnTo>
                  <a:lnTo>
                    <a:pt x="79" y="675"/>
                  </a:lnTo>
                  <a:lnTo>
                    <a:pt x="75" y="675"/>
                  </a:lnTo>
                  <a:lnTo>
                    <a:pt x="68" y="676"/>
                  </a:lnTo>
                  <a:lnTo>
                    <a:pt x="66" y="676"/>
                  </a:lnTo>
                  <a:lnTo>
                    <a:pt x="64" y="676"/>
                  </a:lnTo>
                  <a:lnTo>
                    <a:pt x="62" y="675"/>
                  </a:lnTo>
                  <a:lnTo>
                    <a:pt x="55" y="674"/>
                  </a:lnTo>
                  <a:lnTo>
                    <a:pt x="51" y="673"/>
                  </a:lnTo>
                  <a:lnTo>
                    <a:pt x="48" y="673"/>
                  </a:lnTo>
                  <a:lnTo>
                    <a:pt x="44" y="673"/>
                  </a:lnTo>
                  <a:lnTo>
                    <a:pt x="39" y="674"/>
                  </a:lnTo>
                  <a:lnTo>
                    <a:pt x="38" y="674"/>
                  </a:lnTo>
                  <a:lnTo>
                    <a:pt x="35" y="675"/>
                  </a:lnTo>
                  <a:lnTo>
                    <a:pt x="32" y="676"/>
                  </a:lnTo>
                  <a:lnTo>
                    <a:pt x="26" y="679"/>
                  </a:lnTo>
                  <a:lnTo>
                    <a:pt x="23" y="680"/>
                  </a:lnTo>
                  <a:lnTo>
                    <a:pt x="20" y="680"/>
                  </a:lnTo>
                  <a:lnTo>
                    <a:pt x="19" y="680"/>
                  </a:lnTo>
                  <a:lnTo>
                    <a:pt x="17" y="680"/>
                  </a:lnTo>
                  <a:lnTo>
                    <a:pt x="17" y="680"/>
                  </a:lnTo>
                  <a:lnTo>
                    <a:pt x="15" y="680"/>
                  </a:lnTo>
                  <a:lnTo>
                    <a:pt x="7" y="679"/>
                  </a:lnTo>
                  <a:lnTo>
                    <a:pt x="5" y="678"/>
                  </a:lnTo>
                  <a:lnTo>
                    <a:pt x="3" y="677"/>
                  </a:lnTo>
                  <a:lnTo>
                    <a:pt x="2" y="677"/>
                  </a:lnTo>
                  <a:lnTo>
                    <a:pt x="1" y="676"/>
                  </a:lnTo>
                  <a:lnTo>
                    <a:pt x="1" y="675"/>
                  </a:lnTo>
                  <a:lnTo>
                    <a:pt x="0" y="674"/>
                  </a:lnTo>
                  <a:lnTo>
                    <a:pt x="0" y="673"/>
                  </a:lnTo>
                  <a:lnTo>
                    <a:pt x="0" y="671"/>
                  </a:lnTo>
                  <a:lnTo>
                    <a:pt x="0" y="669"/>
                  </a:lnTo>
                  <a:lnTo>
                    <a:pt x="0" y="668"/>
                  </a:lnTo>
                  <a:lnTo>
                    <a:pt x="1" y="666"/>
                  </a:lnTo>
                  <a:lnTo>
                    <a:pt x="2" y="664"/>
                  </a:lnTo>
                  <a:lnTo>
                    <a:pt x="3" y="662"/>
                  </a:lnTo>
                  <a:lnTo>
                    <a:pt x="5" y="657"/>
                  </a:lnTo>
                  <a:lnTo>
                    <a:pt x="7" y="654"/>
                  </a:lnTo>
                  <a:lnTo>
                    <a:pt x="9" y="650"/>
                  </a:lnTo>
                  <a:lnTo>
                    <a:pt x="14" y="646"/>
                  </a:lnTo>
                  <a:lnTo>
                    <a:pt x="15" y="644"/>
                  </a:lnTo>
                  <a:lnTo>
                    <a:pt x="16" y="642"/>
                  </a:lnTo>
                  <a:lnTo>
                    <a:pt x="16" y="641"/>
                  </a:lnTo>
                  <a:lnTo>
                    <a:pt x="16" y="639"/>
                  </a:lnTo>
                  <a:lnTo>
                    <a:pt x="16" y="637"/>
                  </a:lnTo>
                  <a:lnTo>
                    <a:pt x="16" y="635"/>
                  </a:lnTo>
                  <a:lnTo>
                    <a:pt x="16" y="633"/>
                  </a:lnTo>
                  <a:lnTo>
                    <a:pt x="15" y="630"/>
                  </a:lnTo>
                  <a:lnTo>
                    <a:pt x="14" y="628"/>
                  </a:lnTo>
                  <a:lnTo>
                    <a:pt x="12" y="625"/>
                  </a:lnTo>
                  <a:lnTo>
                    <a:pt x="10" y="622"/>
                  </a:lnTo>
                  <a:lnTo>
                    <a:pt x="9" y="620"/>
                  </a:lnTo>
                  <a:lnTo>
                    <a:pt x="5" y="615"/>
                  </a:lnTo>
                  <a:lnTo>
                    <a:pt x="5" y="613"/>
                  </a:lnTo>
                  <a:lnTo>
                    <a:pt x="4" y="612"/>
                  </a:lnTo>
                  <a:lnTo>
                    <a:pt x="4" y="612"/>
                  </a:lnTo>
                  <a:lnTo>
                    <a:pt x="4" y="611"/>
                  </a:lnTo>
                  <a:lnTo>
                    <a:pt x="5" y="609"/>
                  </a:lnTo>
                  <a:lnTo>
                    <a:pt x="5" y="607"/>
                  </a:lnTo>
                  <a:lnTo>
                    <a:pt x="7" y="605"/>
                  </a:lnTo>
                  <a:lnTo>
                    <a:pt x="10" y="603"/>
                  </a:lnTo>
                  <a:lnTo>
                    <a:pt x="13" y="600"/>
                  </a:lnTo>
                  <a:lnTo>
                    <a:pt x="17" y="598"/>
                  </a:lnTo>
                  <a:lnTo>
                    <a:pt x="19" y="596"/>
                  </a:lnTo>
                  <a:lnTo>
                    <a:pt x="21" y="595"/>
                  </a:lnTo>
                  <a:lnTo>
                    <a:pt x="23" y="594"/>
                  </a:lnTo>
                  <a:lnTo>
                    <a:pt x="26" y="593"/>
                  </a:lnTo>
                  <a:lnTo>
                    <a:pt x="28" y="593"/>
                  </a:lnTo>
                  <a:lnTo>
                    <a:pt x="30" y="592"/>
                  </a:lnTo>
                  <a:lnTo>
                    <a:pt x="35" y="592"/>
                  </a:lnTo>
                  <a:lnTo>
                    <a:pt x="37" y="591"/>
                  </a:lnTo>
                  <a:lnTo>
                    <a:pt x="39" y="591"/>
                  </a:lnTo>
                  <a:lnTo>
                    <a:pt x="40" y="591"/>
                  </a:lnTo>
                  <a:lnTo>
                    <a:pt x="42" y="590"/>
                  </a:lnTo>
                  <a:lnTo>
                    <a:pt x="43" y="589"/>
                  </a:lnTo>
                  <a:lnTo>
                    <a:pt x="44" y="589"/>
                  </a:lnTo>
                  <a:lnTo>
                    <a:pt x="46" y="588"/>
                  </a:lnTo>
                  <a:lnTo>
                    <a:pt x="49" y="584"/>
                  </a:lnTo>
                  <a:lnTo>
                    <a:pt x="51" y="581"/>
                  </a:lnTo>
                  <a:lnTo>
                    <a:pt x="51" y="579"/>
                  </a:lnTo>
                  <a:lnTo>
                    <a:pt x="53" y="573"/>
                  </a:lnTo>
                  <a:lnTo>
                    <a:pt x="54" y="572"/>
                  </a:lnTo>
                  <a:lnTo>
                    <a:pt x="55" y="570"/>
                  </a:lnTo>
                  <a:lnTo>
                    <a:pt x="56" y="569"/>
                  </a:lnTo>
                  <a:lnTo>
                    <a:pt x="57" y="568"/>
                  </a:lnTo>
                  <a:lnTo>
                    <a:pt x="62" y="566"/>
                  </a:lnTo>
                  <a:lnTo>
                    <a:pt x="62" y="566"/>
                  </a:lnTo>
                  <a:lnTo>
                    <a:pt x="63" y="565"/>
                  </a:lnTo>
                  <a:lnTo>
                    <a:pt x="64" y="565"/>
                  </a:lnTo>
                  <a:lnTo>
                    <a:pt x="64" y="564"/>
                  </a:lnTo>
                  <a:lnTo>
                    <a:pt x="65" y="563"/>
                  </a:lnTo>
                  <a:lnTo>
                    <a:pt x="66" y="561"/>
                  </a:lnTo>
                  <a:lnTo>
                    <a:pt x="66" y="559"/>
                  </a:lnTo>
                  <a:lnTo>
                    <a:pt x="66" y="556"/>
                  </a:lnTo>
                  <a:lnTo>
                    <a:pt x="66" y="552"/>
                  </a:lnTo>
                  <a:lnTo>
                    <a:pt x="67" y="551"/>
                  </a:lnTo>
                  <a:lnTo>
                    <a:pt x="67" y="549"/>
                  </a:lnTo>
                  <a:lnTo>
                    <a:pt x="68" y="545"/>
                  </a:lnTo>
                  <a:lnTo>
                    <a:pt x="69" y="544"/>
                  </a:lnTo>
                  <a:lnTo>
                    <a:pt x="69" y="541"/>
                  </a:lnTo>
                  <a:lnTo>
                    <a:pt x="70" y="535"/>
                  </a:lnTo>
                  <a:lnTo>
                    <a:pt x="70" y="533"/>
                  </a:lnTo>
                  <a:lnTo>
                    <a:pt x="71" y="530"/>
                  </a:lnTo>
                  <a:lnTo>
                    <a:pt x="72" y="529"/>
                  </a:lnTo>
                  <a:lnTo>
                    <a:pt x="72" y="527"/>
                  </a:lnTo>
                  <a:lnTo>
                    <a:pt x="73" y="526"/>
                  </a:lnTo>
                  <a:lnTo>
                    <a:pt x="75" y="524"/>
                  </a:lnTo>
                  <a:lnTo>
                    <a:pt x="81" y="521"/>
                  </a:lnTo>
                  <a:lnTo>
                    <a:pt x="84" y="518"/>
                  </a:lnTo>
                  <a:lnTo>
                    <a:pt x="87" y="515"/>
                  </a:lnTo>
                  <a:lnTo>
                    <a:pt x="91" y="510"/>
                  </a:lnTo>
                  <a:lnTo>
                    <a:pt x="93" y="509"/>
                  </a:lnTo>
                  <a:lnTo>
                    <a:pt x="97" y="506"/>
                  </a:lnTo>
                  <a:lnTo>
                    <a:pt x="102" y="502"/>
                  </a:lnTo>
                  <a:lnTo>
                    <a:pt x="105" y="500"/>
                  </a:lnTo>
                  <a:lnTo>
                    <a:pt x="108" y="499"/>
                  </a:lnTo>
                  <a:lnTo>
                    <a:pt x="110" y="498"/>
                  </a:lnTo>
                  <a:lnTo>
                    <a:pt x="113" y="498"/>
                  </a:lnTo>
                  <a:lnTo>
                    <a:pt x="117" y="497"/>
                  </a:lnTo>
                  <a:lnTo>
                    <a:pt x="119" y="497"/>
                  </a:lnTo>
                  <a:lnTo>
                    <a:pt x="122" y="497"/>
                  </a:lnTo>
                  <a:lnTo>
                    <a:pt x="129" y="498"/>
                  </a:lnTo>
                  <a:lnTo>
                    <a:pt x="131" y="498"/>
                  </a:lnTo>
                  <a:lnTo>
                    <a:pt x="134" y="498"/>
                  </a:lnTo>
                  <a:lnTo>
                    <a:pt x="138" y="497"/>
                  </a:lnTo>
                  <a:lnTo>
                    <a:pt x="142" y="496"/>
                  </a:lnTo>
                  <a:lnTo>
                    <a:pt x="146" y="495"/>
                  </a:lnTo>
                  <a:lnTo>
                    <a:pt x="151" y="493"/>
                  </a:lnTo>
                  <a:lnTo>
                    <a:pt x="155" y="491"/>
                  </a:lnTo>
                  <a:lnTo>
                    <a:pt x="157" y="490"/>
                  </a:lnTo>
                  <a:lnTo>
                    <a:pt x="159" y="488"/>
                  </a:lnTo>
                  <a:lnTo>
                    <a:pt x="161" y="487"/>
                  </a:lnTo>
                  <a:lnTo>
                    <a:pt x="164" y="485"/>
                  </a:lnTo>
                  <a:lnTo>
                    <a:pt x="166" y="482"/>
                  </a:lnTo>
                  <a:lnTo>
                    <a:pt x="170" y="477"/>
                  </a:lnTo>
                  <a:lnTo>
                    <a:pt x="172" y="476"/>
                  </a:lnTo>
                  <a:lnTo>
                    <a:pt x="173" y="475"/>
                  </a:lnTo>
                  <a:lnTo>
                    <a:pt x="178" y="470"/>
                  </a:lnTo>
                  <a:lnTo>
                    <a:pt x="184" y="464"/>
                  </a:lnTo>
                  <a:lnTo>
                    <a:pt x="195" y="454"/>
                  </a:lnTo>
                  <a:lnTo>
                    <a:pt x="198" y="453"/>
                  </a:lnTo>
                  <a:lnTo>
                    <a:pt x="199" y="452"/>
                  </a:lnTo>
                  <a:lnTo>
                    <a:pt x="201" y="450"/>
                  </a:lnTo>
                  <a:lnTo>
                    <a:pt x="202" y="450"/>
                  </a:lnTo>
                  <a:lnTo>
                    <a:pt x="203" y="450"/>
                  </a:lnTo>
                  <a:lnTo>
                    <a:pt x="204" y="449"/>
                  </a:lnTo>
                  <a:lnTo>
                    <a:pt x="205" y="450"/>
                  </a:lnTo>
                  <a:lnTo>
                    <a:pt x="206" y="450"/>
                  </a:lnTo>
                  <a:lnTo>
                    <a:pt x="208" y="451"/>
                  </a:lnTo>
                  <a:lnTo>
                    <a:pt x="210" y="453"/>
                  </a:lnTo>
                  <a:lnTo>
                    <a:pt x="212" y="453"/>
                  </a:lnTo>
                  <a:lnTo>
                    <a:pt x="213" y="453"/>
                  </a:lnTo>
                  <a:lnTo>
                    <a:pt x="215" y="454"/>
                  </a:lnTo>
                  <a:lnTo>
                    <a:pt x="220" y="455"/>
                  </a:lnTo>
                  <a:lnTo>
                    <a:pt x="224" y="456"/>
                  </a:lnTo>
                  <a:lnTo>
                    <a:pt x="227" y="457"/>
                  </a:lnTo>
                  <a:lnTo>
                    <a:pt x="230" y="457"/>
                  </a:lnTo>
                  <a:lnTo>
                    <a:pt x="233" y="457"/>
                  </a:lnTo>
                  <a:lnTo>
                    <a:pt x="237" y="457"/>
                  </a:lnTo>
                  <a:lnTo>
                    <a:pt x="249" y="457"/>
                  </a:lnTo>
                  <a:lnTo>
                    <a:pt x="253" y="456"/>
                  </a:lnTo>
                  <a:lnTo>
                    <a:pt x="255" y="456"/>
                  </a:lnTo>
                  <a:lnTo>
                    <a:pt x="258" y="455"/>
                  </a:lnTo>
                  <a:lnTo>
                    <a:pt x="261" y="455"/>
                  </a:lnTo>
                  <a:lnTo>
                    <a:pt x="264" y="454"/>
                  </a:lnTo>
                  <a:lnTo>
                    <a:pt x="267" y="453"/>
                  </a:lnTo>
                  <a:lnTo>
                    <a:pt x="268" y="452"/>
                  </a:lnTo>
                  <a:lnTo>
                    <a:pt x="274" y="447"/>
                  </a:lnTo>
                  <a:lnTo>
                    <a:pt x="276" y="446"/>
                  </a:lnTo>
                  <a:lnTo>
                    <a:pt x="278" y="445"/>
                  </a:lnTo>
                  <a:lnTo>
                    <a:pt x="280" y="444"/>
                  </a:lnTo>
                  <a:lnTo>
                    <a:pt x="282" y="443"/>
                  </a:lnTo>
                  <a:lnTo>
                    <a:pt x="283" y="442"/>
                  </a:lnTo>
                  <a:lnTo>
                    <a:pt x="285" y="442"/>
                  </a:lnTo>
                  <a:lnTo>
                    <a:pt x="288" y="440"/>
                  </a:lnTo>
                  <a:lnTo>
                    <a:pt x="290" y="438"/>
                  </a:lnTo>
                  <a:lnTo>
                    <a:pt x="293" y="434"/>
                  </a:lnTo>
                  <a:lnTo>
                    <a:pt x="301" y="427"/>
                  </a:lnTo>
                  <a:lnTo>
                    <a:pt x="304" y="424"/>
                  </a:lnTo>
                  <a:lnTo>
                    <a:pt x="306" y="422"/>
                  </a:lnTo>
                  <a:lnTo>
                    <a:pt x="309" y="420"/>
                  </a:lnTo>
                  <a:lnTo>
                    <a:pt x="311" y="419"/>
                  </a:lnTo>
                  <a:lnTo>
                    <a:pt x="313" y="419"/>
                  </a:lnTo>
                  <a:lnTo>
                    <a:pt x="315" y="418"/>
                  </a:lnTo>
                  <a:lnTo>
                    <a:pt x="318" y="418"/>
                  </a:lnTo>
                  <a:lnTo>
                    <a:pt x="320" y="419"/>
                  </a:lnTo>
                  <a:lnTo>
                    <a:pt x="323" y="419"/>
                  </a:lnTo>
                  <a:lnTo>
                    <a:pt x="325" y="420"/>
                  </a:lnTo>
                  <a:lnTo>
                    <a:pt x="326" y="421"/>
                  </a:lnTo>
                  <a:lnTo>
                    <a:pt x="328" y="423"/>
                  </a:lnTo>
                  <a:lnTo>
                    <a:pt x="333" y="428"/>
                  </a:lnTo>
                  <a:lnTo>
                    <a:pt x="335" y="430"/>
                  </a:lnTo>
                  <a:lnTo>
                    <a:pt x="336" y="431"/>
                  </a:lnTo>
                  <a:lnTo>
                    <a:pt x="338" y="432"/>
                  </a:lnTo>
                  <a:lnTo>
                    <a:pt x="339" y="432"/>
                  </a:lnTo>
                  <a:lnTo>
                    <a:pt x="341" y="432"/>
                  </a:lnTo>
                  <a:lnTo>
                    <a:pt x="342" y="432"/>
                  </a:lnTo>
                  <a:lnTo>
                    <a:pt x="344" y="432"/>
                  </a:lnTo>
                  <a:lnTo>
                    <a:pt x="346" y="432"/>
                  </a:lnTo>
                  <a:lnTo>
                    <a:pt x="346" y="432"/>
                  </a:lnTo>
                  <a:lnTo>
                    <a:pt x="348" y="431"/>
                  </a:lnTo>
                  <a:lnTo>
                    <a:pt x="349" y="430"/>
                  </a:lnTo>
                  <a:lnTo>
                    <a:pt x="350" y="430"/>
                  </a:lnTo>
                  <a:lnTo>
                    <a:pt x="353" y="428"/>
                  </a:lnTo>
                  <a:lnTo>
                    <a:pt x="356" y="425"/>
                  </a:lnTo>
                  <a:lnTo>
                    <a:pt x="360" y="419"/>
                  </a:lnTo>
                  <a:lnTo>
                    <a:pt x="364" y="415"/>
                  </a:lnTo>
                  <a:lnTo>
                    <a:pt x="366" y="413"/>
                  </a:lnTo>
                  <a:lnTo>
                    <a:pt x="368" y="411"/>
                  </a:lnTo>
                  <a:lnTo>
                    <a:pt x="370" y="409"/>
                  </a:lnTo>
                  <a:lnTo>
                    <a:pt x="372" y="408"/>
                  </a:lnTo>
                  <a:lnTo>
                    <a:pt x="375" y="407"/>
                  </a:lnTo>
                  <a:lnTo>
                    <a:pt x="378" y="406"/>
                  </a:lnTo>
                  <a:lnTo>
                    <a:pt x="380" y="404"/>
                  </a:lnTo>
                  <a:lnTo>
                    <a:pt x="383" y="403"/>
                  </a:lnTo>
                  <a:lnTo>
                    <a:pt x="387" y="402"/>
                  </a:lnTo>
                  <a:lnTo>
                    <a:pt x="394" y="400"/>
                  </a:lnTo>
                  <a:lnTo>
                    <a:pt x="397" y="399"/>
                  </a:lnTo>
                  <a:lnTo>
                    <a:pt x="399" y="398"/>
                  </a:lnTo>
                  <a:lnTo>
                    <a:pt x="402" y="396"/>
                  </a:lnTo>
                  <a:lnTo>
                    <a:pt x="405" y="395"/>
                  </a:lnTo>
                  <a:lnTo>
                    <a:pt x="408" y="393"/>
                  </a:lnTo>
                  <a:lnTo>
                    <a:pt x="411" y="391"/>
                  </a:lnTo>
                  <a:lnTo>
                    <a:pt x="413" y="389"/>
                  </a:lnTo>
                  <a:lnTo>
                    <a:pt x="417" y="385"/>
                  </a:lnTo>
                  <a:lnTo>
                    <a:pt x="419" y="383"/>
                  </a:lnTo>
                  <a:lnTo>
                    <a:pt x="421" y="381"/>
                  </a:lnTo>
                  <a:lnTo>
                    <a:pt x="422" y="379"/>
                  </a:lnTo>
                  <a:lnTo>
                    <a:pt x="424" y="376"/>
                  </a:lnTo>
                  <a:lnTo>
                    <a:pt x="424" y="374"/>
                  </a:lnTo>
                  <a:lnTo>
                    <a:pt x="426" y="371"/>
                  </a:lnTo>
                  <a:lnTo>
                    <a:pt x="426" y="370"/>
                  </a:lnTo>
                  <a:lnTo>
                    <a:pt x="426" y="369"/>
                  </a:lnTo>
                  <a:lnTo>
                    <a:pt x="427" y="368"/>
                  </a:lnTo>
                  <a:lnTo>
                    <a:pt x="429" y="367"/>
                  </a:lnTo>
                  <a:lnTo>
                    <a:pt x="431" y="367"/>
                  </a:lnTo>
                  <a:lnTo>
                    <a:pt x="435" y="366"/>
                  </a:lnTo>
                  <a:lnTo>
                    <a:pt x="439" y="366"/>
                  </a:lnTo>
                  <a:lnTo>
                    <a:pt x="442" y="365"/>
                  </a:lnTo>
                  <a:lnTo>
                    <a:pt x="443" y="365"/>
                  </a:lnTo>
                  <a:lnTo>
                    <a:pt x="445" y="364"/>
                  </a:lnTo>
                  <a:lnTo>
                    <a:pt x="446" y="364"/>
                  </a:lnTo>
                  <a:lnTo>
                    <a:pt x="447" y="363"/>
                  </a:lnTo>
                  <a:lnTo>
                    <a:pt x="448" y="362"/>
                  </a:lnTo>
                  <a:lnTo>
                    <a:pt x="449" y="361"/>
                  </a:lnTo>
                  <a:lnTo>
                    <a:pt x="449" y="360"/>
                  </a:lnTo>
                  <a:lnTo>
                    <a:pt x="449" y="358"/>
                  </a:lnTo>
                  <a:lnTo>
                    <a:pt x="449" y="355"/>
                  </a:lnTo>
                  <a:lnTo>
                    <a:pt x="449" y="351"/>
                  </a:lnTo>
                  <a:lnTo>
                    <a:pt x="449" y="349"/>
                  </a:lnTo>
                  <a:lnTo>
                    <a:pt x="449" y="343"/>
                  </a:lnTo>
                  <a:lnTo>
                    <a:pt x="449" y="340"/>
                  </a:lnTo>
                  <a:lnTo>
                    <a:pt x="449" y="339"/>
                  </a:lnTo>
                  <a:lnTo>
                    <a:pt x="449" y="337"/>
                  </a:lnTo>
                  <a:lnTo>
                    <a:pt x="450" y="336"/>
                  </a:lnTo>
                  <a:lnTo>
                    <a:pt x="450" y="334"/>
                  </a:lnTo>
                  <a:lnTo>
                    <a:pt x="452" y="332"/>
                  </a:lnTo>
                  <a:lnTo>
                    <a:pt x="453" y="330"/>
                  </a:lnTo>
                  <a:lnTo>
                    <a:pt x="455" y="328"/>
                  </a:lnTo>
                  <a:lnTo>
                    <a:pt x="456" y="327"/>
                  </a:lnTo>
                  <a:lnTo>
                    <a:pt x="459" y="325"/>
                  </a:lnTo>
                  <a:lnTo>
                    <a:pt x="460" y="323"/>
                  </a:lnTo>
                  <a:lnTo>
                    <a:pt x="462" y="322"/>
                  </a:lnTo>
                  <a:lnTo>
                    <a:pt x="465" y="320"/>
                  </a:lnTo>
                  <a:lnTo>
                    <a:pt x="467" y="320"/>
                  </a:lnTo>
                  <a:lnTo>
                    <a:pt x="469" y="319"/>
                  </a:lnTo>
                  <a:lnTo>
                    <a:pt x="471" y="319"/>
                  </a:lnTo>
                  <a:lnTo>
                    <a:pt x="473" y="319"/>
                  </a:lnTo>
                  <a:lnTo>
                    <a:pt x="476" y="319"/>
                  </a:lnTo>
                  <a:lnTo>
                    <a:pt x="489" y="320"/>
                  </a:lnTo>
                  <a:lnTo>
                    <a:pt x="493" y="321"/>
                  </a:lnTo>
                  <a:lnTo>
                    <a:pt x="497" y="322"/>
                  </a:lnTo>
                  <a:lnTo>
                    <a:pt x="506" y="325"/>
                  </a:lnTo>
                  <a:lnTo>
                    <a:pt x="518" y="328"/>
                  </a:lnTo>
                  <a:lnTo>
                    <a:pt x="524" y="329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50" y="332"/>
                  </a:lnTo>
                  <a:lnTo>
                    <a:pt x="554" y="333"/>
                  </a:lnTo>
                  <a:lnTo>
                    <a:pt x="562" y="333"/>
                  </a:lnTo>
                  <a:lnTo>
                    <a:pt x="568" y="333"/>
                  </a:lnTo>
                  <a:lnTo>
                    <a:pt x="574" y="333"/>
                  </a:lnTo>
                  <a:lnTo>
                    <a:pt x="579" y="332"/>
                  </a:lnTo>
                  <a:lnTo>
                    <a:pt x="584" y="331"/>
                  </a:lnTo>
                  <a:lnTo>
                    <a:pt x="589" y="330"/>
                  </a:lnTo>
                  <a:lnTo>
                    <a:pt x="593" y="328"/>
                  </a:lnTo>
                  <a:lnTo>
                    <a:pt x="598" y="327"/>
                  </a:lnTo>
                  <a:lnTo>
                    <a:pt x="599" y="326"/>
                  </a:lnTo>
                  <a:lnTo>
                    <a:pt x="601" y="326"/>
                  </a:lnTo>
                  <a:lnTo>
                    <a:pt x="603" y="326"/>
                  </a:lnTo>
                  <a:lnTo>
                    <a:pt x="605" y="326"/>
                  </a:lnTo>
                  <a:lnTo>
                    <a:pt x="607" y="326"/>
                  </a:lnTo>
                  <a:lnTo>
                    <a:pt x="613" y="328"/>
                  </a:lnTo>
                  <a:lnTo>
                    <a:pt x="617" y="328"/>
                  </a:lnTo>
                  <a:lnTo>
                    <a:pt x="627" y="330"/>
                  </a:lnTo>
                  <a:lnTo>
                    <a:pt x="636" y="332"/>
                  </a:lnTo>
                  <a:lnTo>
                    <a:pt x="640" y="332"/>
                  </a:lnTo>
                  <a:lnTo>
                    <a:pt x="642" y="333"/>
                  </a:lnTo>
                  <a:lnTo>
                    <a:pt x="644" y="333"/>
                  </a:lnTo>
                  <a:lnTo>
                    <a:pt x="646" y="333"/>
                  </a:lnTo>
                  <a:lnTo>
                    <a:pt x="647" y="332"/>
                  </a:lnTo>
                  <a:lnTo>
                    <a:pt x="649" y="332"/>
                  </a:lnTo>
                  <a:lnTo>
                    <a:pt x="651" y="331"/>
                  </a:lnTo>
                  <a:lnTo>
                    <a:pt x="653" y="329"/>
                  </a:lnTo>
                  <a:lnTo>
                    <a:pt x="654" y="328"/>
                  </a:lnTo>
                  <a:lnTo>
                    <a:pt x="657" y="325"/>
                  </a:lnTo>
                  <a:lnTo>
                    <a:pt x="662" y="320"/>
                  </a:lnTo>
                  <a:lnTo>
                    <a:pt x="665" y="318"/>
                  </a:lnTo>
                  <a:lnTo>
                    <a:pt x="666" y="317"/>
                  </a:lnTo>
                  <a:lnTo>
                    <a:pt x="668" y="316"/>
                  </a:lnTo>
                  <a:lnTo>
                    <a:pt x="670" y="316"/>
                  </a:lnTo>
                  <a:lnTo>
                    <a:pt x="672" y="315"/>
                  </a:lnTo>
                  <a:lnTo>
                    <a:pt x="675" y="314"/>
                  </a:lnTo>
                  <a:lnTo>
                    <a:pt x="690" y="312"/>
                  </a:lnTo>
                  <a:lnTo>
                    <a:pt x="696" y="311"/>
                  </a:lnTo>
                  <a:lnTo>
                    <a:pt x="707" y="309"/>
                  </a:lnTo>
                  <a:lnTo>
                    <a:pt x="710" y="309"/>
                  </a:lnTo>
                  <a:lnTo>
                    <a:pt x="713" y="310"/>
                  </a:lnTo>
                  <a:lnTo>
                    <a:pt x="716" y="310"/>
                  </a:lnTo>
                  <a:lnTo>
                    <a:pt x="723" y="312"/>
                  </a:lnTo>
                  <a:lnTo>
                    <a:pt x="725" y="312"/>
                  </a:lnTo>
                  <a:lnTo>
                    <a:pt x="727" y="312"/>
                  </a:lnTo>
                  <a:lnTo>
                    <a:pt x="729" y="312"/>
                  </a:lnTo>
                  <a:lnTo>
                    <a:pt x="731" y="311"/>
                  </a:lnTo>
                  <a:lnTo>
                    <a:pt x="733" y="311"/>
                  </a:lnTo>
                  <a:lnTo>
                    <a:pt x="733" y="310"/>
                  </a:lnTo>
                  <a:lnTo>
                    <a:pt x="734" y="309"/>
                  </a:lnTo>
                  <a:lnTo>
                    <a:pt x="735" y="308"/>
                  </a:lnTo>
                  <a:lnTo>
                    <a:pt x="736" y="307"/>
                  </a:lnTo>
                  <a:lnTo>
                    <a:pt x="738" y="305"/>
                  </a:lnTo>
                  <a:lnTo>
                    <a:pt x="739" y="302"/>
                  </a:lnTo>
                  <a:lnTo>
                    <a:pt x="739" y="300"/>
                  </a:lnTo>
                  <a:lnTo>
                    <a:pt x="740" y="298"/>
                  </a:lnTo>
                  <a:lnTo>
                    <a:pt x="742" y="287"/>
                  </a:lnTo>
                  <a:lnTo>
                    <a:pt x="743" y="280"/>
                  </a:lnTo>
                  <a:lnTo>
                    <a:pt x="744" y="278"/>
                  </a:lnTo>
                  <a:lnTo>
                    <a:pt x="744" y="275"/>
                  </a:lnTo>
                  <a:lnTo>
                    <a:pt x="744" y="272"/>
                  </a:lnTo>
                  <a:lnTo>
                    <a:pt x="744" y="270"/>
                  </a:lnTo>
                  <a:lnTo>
                    <a:pt x="744" y="266"/>
                  </a:lnTo>
                  <a:lnTo>
                    <a:pt x="744" y="264"/>
                  </a:lnTo>
                  <a:lnTo>
                    <a:pt x="743" y="261"/>
                  </a:lnTo>
                  <a:lnTo>
                    <a:pt x="741" y="254"/>
                  </a:lnTo>
                  <a:lnTo>
                    <a:pt x="741" y="250"/>
                  </a:lnTo>
                  <a:lnTo>
                    <a:pt x="740" y="249"/>
                  </a:lnTo>
                  <a:lnTo>
                    <a:pt x="740" y="247"/>
                  </a:lnTo>
                  <a:lnTo>
                    <a:pt x="740" y="243"/>
                  </a:lnTo>
                  <a:lnTo>
                    <a:pt x="740" y="240"/>
                  </a:lnTo>
                  <a:lnTo>
                    <a:pt x="740" y="238"/>
                  </a:lnTo>
                  <a:lnTo>
                    <a:pt x="739" y="233"/>
                  </a:lnTo>
                  <a:lnTo>
                    <a:pt x="739" y="226"/>
                  </a:lnTo>
                  <a:lnTo>
                    <a:pt x="739" y="225"/>
                  </a:lnTo>
                  <a:lnTo>
                    <a:pt x="739" y="224"/>
                  </a:lnTo>
                  <a:lnTo>
                    <a:pt x="740" y="223"/>
                  </a:lnTo>
                  <a:lnTo>
                    <a:pt x="741" y="222"/>
                  </a:lnTo>
                  <a:lnTo>
                    <a:pt x="743" y="221"/>
                  </a:lnTo>
                  <a:lnTo>
                    <a:pt x="744" y="221"/>
                  </a:lnTo>
                  <a:lnTo>
                    <a:pt x="744" y="220"/>
                  </a:lnTo>
                  <a:lnTo>
                    <a:pt x="745" y="220"/>
                  </a:lnTo>
                  <a:lnTo>
                    <a:pt x="747" y="220"/>
                  </a:lnTo>
                  <a:lnTo>
                    <a:pt x="748" y="220"/>
                  </a:lnTo>
                  <a:lnTo>
                    <a:pt x="751" y="221"/>
                  </a:lnTo>
                  <a:lnTo>
                    <a:pt x="760" y="225"/>
                  </a:lnTo>
                  <a:lnTo>
                    <a:pt x="763" y="225"/>
                  </a:lnTo>
                  <a:lnTo>
                    <a:pt x="766" y="226"/>
                  </a:lnTo>
                  <a:lnTo>
                    <a:pt x="767" y="226"/>
                  </a:lnTo>
                  <a:lnTo>
                    <a:pt x="769" y="226"/>
                  </a:lnTo>
                  <a:lnTo>
                    <a:pt x="771" y="226"/>
                  </a:lnTo>
                  <a:lnTo>
                    <a:pt x="773" y="226"/>
                  </a:lnTo>
                  <a:lnTo>
                    <a:pt x="774" y="226"/>
                  </a:lnTo>
                  <a:lnTo>
                    <a:pt x="774" y="225"/>
                  </a:lnTo>
                  <a:lnTo>
                    <a:pt x="775" y="224"/>
                  </a:lnTo>
                  <a:lnTo>
                    <a:pt x="776" y="223"/>
                  </a:lnTo>
                  <a:lnTo>
                    <a:pt x="776" y="220"/>
                  </a:lnTo>
                  <a:lnTo>
                    <a:pt x="777" y="218"/>
                  </a:lnTo>
                  <a:lnTo>
                    <a:pt x="779" y="212"/>
                  </a:lnTo>
                  <a:lnTo>
                    <a:pt x="783" y="204"/>
                  </a:lnTo>
                  <a:lnTo>
                    <a:pt x="784" y="204"/>
                  </a:lnTo>
                  <a:lnTo>
                    <a:pt x="786" y="202"/>
                  </a:lnTo>
                  <a:lnTo>
                    <a:pt x="787" y="201"/>
                  </a:lnTo>
                  <a:lnTo>
                    <a:pt x="789" y="201"/>
                  </a:lnTo>
                  <a:lnTo>
                    <a:pt x="797" y="199"/>
                  </a:lnTo>
                  <a:lnTo>
                    <a:pt x="802" y="196"/>
                  </a:lnTo>
                  <a:lnTo>
                    <a:pt x="809" y="194"/>
                  </a:lnTo>
                  <a:lnTo>
                    <a:pt x="810" y="194"/>
                  </a:lnTo>
                  <a:lnTo>
                    <a:pt x="812" y="193"/>
                  </a:lnTo>
                  <a:lnTo>
                    <a:pt x="812" y="192"/>
                  </a:lnTo>
                  <a:lnTo>
                    <a:pt x="813" y="192"/>
                  </a:lnTo>
                  <a:lnTo>
                    <a:pt x="814" y="192"/>
                  </a:lnTo>
                  <a:lnTo>
                    <a:pt x="814" y="190"/>
                  </a:lnTo>
                  <a:lnTo>
                    <a:pt x="815" y="189"/>
                  </a:lnTo>
                  <a:lnTo>
                    <a:pt x="816" y="187"/>
                  </a:lnTo>
                  <a:lnTo>
                    <a:pt x="816" y="185"/>
                  </a:lnTo>
                  <a:lnTo>
                    <a:pt x="816" y="184"/>
                  </a:lnTo>
                  <a:lnTo>
                    <a:pt x="817" y="181"/>
                  </a:lnTo>
                  <a:lnTo>
                    <a:pt x="817" y="180"/>
                  </a:lnTo>
                  <a:lnTo>
                    <a:pt x="816" y="172"/>
                  </a:lnTo>
                  <a:lnTo>
                    <a:pt x="816" y="168"/>
                  </a:lnTo>
                  <a:lnTo>
                    <a:pt x="815" y="163"/>
                  </a:lnTo>
                  <a:lnTo>
                    <a:pt x="813" y="155"/>
                  </a:lnTo>
                  <a:lnTo>
                    <a:pt x="812" y="152"/>
                  </a:lnTo>
                  <a:lnTo>
                    <a:pt x="812" y="150"/>
                  </a:lnTo>
                  <a:lnTo>
                    <a:pt x="812" y="148"/>
                  </a:lnTo>
                  <a:lnTo>
                    <a:pt x="813" y="147"/>
                  </a:lnTo>
                  <a:lnTo>
                    <a:pt x="813" y="145"/>
                  </a:lnTo>
                  <a:lnTo>
                    <a:pt x="813" y="144"/>
                  </a:lnTo>
                  <a:lnTo>
                    <a:pt x="814" y="142"/>
                  </a:lnTo>
                  <a:lnTo>
                    <a:pt x="816" y="140"/>
                  </a:lnTo>
                  <a:lnTo>
                    <a:pt x="817" y="138"/>
                  </a:lnTo>
                  <a:lnTo>
                    <a:pt x="819" y="136"/>
                  </a:lnTo>
                  <a:lnTo>
                    <a:pt x="821" y="135"/>
                  </a:lnTo>
                  <a:lnTo>
                    <a:pt x="822" y="134"/>
                  </a:lnTo>
                  <a:lnTo>
                    <a:pt x="823" y="133"/>
                  </a:lnTo>
                  <a:lnTo>
                    <a:pt x="824" y="132"/>
                  </a:lnTo>
                  <a:lnTo>
                    <a:pt x="825" y="132"/>
                  </a:lnTo>
                  <a:lnTo>
                    <a:pt x="826" y="132"/>
                  </a:lnTo>
                  <a:lnTo>
                    <a:pt x="827" y="132"/>
                  </a:lnTo>
                  <a:lnTo>
                    <a:pt x="828" y="132"/>
                  </a:lnTo>
                  <a:lnTo>
                    <a:pt x="829" y="133"/>
                  </a:lnTo>
                  <a:lnTo>
                    <a:pt x="830" y="134"/>
                  </a:lnTo>
                  <a:lnTo>
                    <a:pt x="831" y="135"/>
                  </a:lnTo>
                  <a:lnTo>
                    <a:pt x="832" y="136"/>
                  </a:lnTo>
                  <a:lnTo>
                    <a:pt x="833" y="136"/>
                  </a:lnTo>
                  <a:lnTo>
                    <a:pt x="835" y="137"/>
                  </a:lnTo>
                  <a:lnTo>
                    <a:pt x="835" y="137"/>
                  </a:lnTo>
                  <a:lnTo>
                    <a:pt x="836" y="137"/>
                  </a:lnTo>
                  <a:lnTo>
                    <a:pt x="838" y="137"/>
                  </a:lnTo>
                  <a:lnTo>
                    <a:pt x="840" y="137"/>
                  </a:lnTo>
                  <a:lnTo>
                    <a:pt x="842" y="136"/>
                  </a:lnTo>
                  <a:lnTo>
                    <a:pt x="846" y="134"/>
                  </a:lnTo>
                  <a:lnTo>
                    <a:pt x="847" y="133"/>
                  </a:lnTo>
                  <a:lnTo>
                    <a:pt x="850" y="132"/>
                  </a:lnTo>
                  <a:lnTo>
                    <a:pt x="852" y="132"/>
                  </a:lnTo>
                  <a:lnTo>
                    <a:pt x="854" y="132"/>
                  </a:lnTo>
                  <a:lnTo>
                    <a:pt x="856" y="132"/>
                  </a:lnTo>
                  <a:lnTo>
                    <a:pt x="858" y="133"/>
                  </a:lnTo>
                  <a:lnTo>
                    <a:pt x="864" y="136"/>
                  </a:lnTo>
                  <a:lnTo>
                    <a:pt x="866" y="136"/>
                  </a:lnTo>
                  <a:lnTo>
                    <a:pt x="869" y="136"/>
                  </a:lnTo>
                  <a:lnTo>
                    <a:pt x="870" y="137"/>
                  </a:lnTo>
                  <a:lnTo>
                    <a:pt x="871" y="137"/>
                  </a:lnTo>
                  <a:lnTo>
                    <a:pt x="874" y="137"/>
                  </a:lnTo>
                  <a:lnTo>
                    <a:pt x="876" y="136"/>
                  </a:lnTo>
                  <a:lnTo>
                    <a:pt x="877" y="136"/>
                  </a:lnTo>
                  <a:lnTo>
                    <a:pt x="881" y="135"/>
                  </a:lnTo>
                  <a:lnTo>
                    <a:pt x="882" y="134"/>
                  </a:lnTo>
                  <a:lnTo>
                    <a:pt x="885" y="133"/>
                  </a:lnTo>
                  <a:lnTo>
                    <a:pt x="888" y="132"/>
                  </a:lnTo>
                  <a:lnTo>
                    <a:pt x="890" y="131"/>
                  </a:lnTo>
                  <a:lnTo>
                    <a:pt x="891" y="131"/>
                  </a:lnTo>
                  <a:lnTo>
                    <a:pt x="892" y="131"/>
                  </a:lnTo>
                  <a:lnTo>
                    <a:pt x="893" y="132"/>
                  </a:lnTo>
                  <a:lnTo>
                    <a:pt x="894" y="132"/>
                  </a:lnTo>
                  <a:lnTo>
                    <a:pt x="895" y="133"/>
                  </a:lnTo>
                  <a:lnTo>
                    <a:pt x="896" y="135"/>
                  </a:lnTo>
                  <a:lnTo>
                    <a:pt x="897" y="136"/>
                  </a:lnTo>
                  <a:lnTo>
                    <a:pt x="898" y="138"/>
                  </a:lnTo>
                  <a:lnTo>
                    <a:pt x="898" y="141"/>
                  </a:lnTo>
                  <a:lnTo>
                    <a:pt x="900" y="147"/>
                  </a:lnTo>
                  <a:lnTo>
                    <a:pt x="901" y="151"/>
                  </a:lnTo>
                  <a:lnTo>
                    <a:pt x="902" y="154"/>
                  </a:lnTo>
                  <a:lnTo>
                    <a:pt x="903" y="156"/>
                  </a:lnTo>
                  <a:lnTo>
                    <a:pt x="903" y="158"/>
                  </a:lnTo>
                  <a:lnTo>
                    <a:pt x="904" y="159"/>
                  </a:lnTo>
                  <a:lnTo>
                    <a:pt x="905" y="161"/>
                  </a:lnTo>
                  <a:lnTo>
                    <a:pt x="906" y="162"/>
                  </a:lnTo>
                  <a:lnTo>
                    <a:pt x="907" y="163"/>
                  </a:lnTo>
                  <a:lnTo>
                    <a:pt x="908" y="164"/>
                  </a:lnTo>
                  <a:lnTo>
                    <a:pt x="910" y="165"/>
                  </a:lnTo>
                  <a:lnTo>
                    <a:pt x="912" y="166"/>
                  </a:lnTo>
                  <a:lnTo>
                    <a:pt x="915" y="166"/>
                  </a:lnTo>
                  <a:lnTo>
                    <a:pt x="916" y="167"/>
                  </a:lnTo>
                  <a:lnTo>
                    <a:pt x="918" y="167"/>
                  </a:lnTo>
                  <a:lnTo>
                    <a:pt x="919" y="167"/>
                  </a:lnTo>
                  <a:lnTo>
                    <a:pt x="921" y="167"/>
                  </a:lnTo>
                  <a:lnTo>
                    <a:pt x="922" y="167"/>
                  </a:lnTo>
                  <a:lnTo>
                    <a:pt x="924" y="166"/>
                  </a:lnTo>
                  <a:lnTo>
                    <a:pt x="927" y="164"/>
                  </a:lnTo>
                  <a:lnTo>
                    <a:pt x="929" y="163"/>
                  </a:lnTo>
                  <a:lnTo>
                    <a:pt x="938" y="160"/>
                  </a:lnTo>
                  <a:lnTo>
                    <a:pt x="940" y="160"/>
                  </a:lnTo>
                  <a:lnTo>
                    <a:pt x="943" y="160"/>
                  </a:lnTo>
                  <a:lnTo>
                    <a:pt x="949" y="159"/>
                  </a:lnTo>
                  <a:lnTo>
                    <a:pt x="951" y="159"/>
                  </a:lnTo>
                  <a:lnTo>
                    <a:pt x="956" y="158"/>
                  </a:lnTo>
                  <a:lnTo>
                    <a:pt x="959" y="158"/>
                  </a:lnTo>
                  <a:lnTo>
                    <a:pt x="975" y="158"/>
                  </a:lnTo>
                  <a:lnTo>
                    <a:pt x="977" y="157"/>
                  </a:lnTo>
                  <a:lnTo>
                    <a:pt x="979" y="157"/>
                  </a:lnTo>
                  <a:lnTo>
                    <a:pt x="981" y="156"/>
                  </a:lnTo>
                  <a:lnTo>
                    <a:pt x="982" y="155"/>
                  </a:lnTo>
                  <a:lnTo>
                    <a:pt x="987" y="149"/>
                  </a:lnTo>
                  <a:lnTo>
                    <a:pt x="996" y="143"/>
                  </a:lnTo>
                  <a:lnTo>
                    <a:pt x="999" y="140"/>
                  </a:lnTo>
                  <a:lnTo>
                    <a:pt x="1001" y="138"/>
                  </a:lnTo>
                  <a:lnTo>
                    <a:pt x="1003" y="136"/>
                  </a:lnTo>
                  <a:lnTo>
                    <a:pt x="1005" y="134"/>
                  </a:lnTo>
                  <a:lnTo>
                    <a:pt x="1010" y="126"/>
                  </a:lnTo>
                  <a:lnTo>
                    <a:pt x="1011" y="124"/>
                  </a:lnTo>
                  <a:lnTo>
                    <a:pt x="1013" y="123"/>
                  </a:lnTo>
                  <a:lnTo>
                    <a:pt x="1014" y="122"/>
                  </a:lnTo>
                  <a:lnTo>
                    <a:pt x="1016" y="121"/>
                  </a:lnTo>
                  <a:lnTo>
                    <a:pt x="1021" y="116"/>
                  </a:lnTo>
                  <a:lnTo>
                    <a:pt x="1023" y="115"/>
                  </a:lnTo>
                  <a:lnTo>
                    <a:pt x="1025" y="113"/>
                  </a:lnTo>
                  <a:lnTo>
                    <a:pt x="1026" y="112"/>
                  </a:lnTo>
                  <a:lnTo>
                    <a:pt x="1027" y="110"/>
                  </a:lnTo>
                  <a:lnTo>
                    <a:pt x="1028" y="109"/>
                  </a:lnTo>
                  <a:lnTo>
                    <a:pt x="1028" y="106"/>
                  </a:lnTo>
                  <a:lnTo>
                    <a:pt x="1029" y="103"/>
                  </a:lnTo>
                  <a:lnTo>
                    <a:pt x="1030" y="100"/>
                  </a:lnTo>
                  <a:lnTo>
                    <a:pt x="1031" y="90"/>
                  </a:lnTo>
                  <a:lnTo>
                    <a:pt x="1031" y="87"/>
                  </a:lnTo>
                  <a:lnTo>
                    <a:pt x="1032" y="86"/>
                  </a:lnTo>
                  <a:lnTo>
                    <a:pt x="1033" y="82"/>
                  </a:lnTo>
                  <a:lnTo>
                    <a:pt x="1035" y="80"/>
                  </a:lnTo>
                  <a:lnTo>
                    <a:pt x="1036" y="80"/>
                  </a:lnTo>
                  <a:lnTo>
                    <a:pt x="1038" y="79"/>
                  </a:lnTo>
                  <a:lnTo>
                    <a:pt x="1040" y="78"/>
                  </a:lnTo>
                  <a:lnTo>
                    <a:pt x="1041" y="78"/>
                  </a:lnTo>
                  <a:lnTo>
                    <a:pt x="1044" y="78"/>
                  </a:lnTo>
                  <a:lnTo>
                    <a:pt x="1047" y="78"/>
                  </a:lnTo>
                  <a:lnTo>
                    <a:pt x="1051" y="78"/>
                  </a:lnTo>
                  <a:lnTo>
                    <a:pt x="1055" y="79"/>
                  </a:lnTo>
                  <a:lnTo>
                    <a:pt x="1061" y="80"/>
                  </a:lnTo>
                  <a:lnTo>
                    <a:pt x="1066" y="81"/>
                  </a:lnTo>
                  <a:lnTo>
                    <a:pt x="1075" y="84"/>
                  </a:lnTo>
                  <a:lnTo>
                    <a:pt x="1079" y="85"/>
                  </a:lnTo>
                  <a:lnTo>
                    <a:pt x="1082" y="86"/>
                  </a:lnTo>
                  <a:lnTo>
                    <a:pt x="1083" y="86"/>
                  </a:lnTo>
                  <a:lnTo>
                    <a:pt x="1085" y="86"/>
                  </a:lnTo>
                  <a:lnTo>
                    <a:pt x="1086" y="86"/>
                  </a:lnTo>
                  <a:lnTo>
                    <a:pt x="1088" y="85"/>
                  </a:lnTo>
                  <a:lnTo>
                    <a:pt x="1090" y="85"/>
                  </a:lnTo>
                  <a:lnTo>
                    <a:pt x="1092" y="84"/>
                  </a:lnTo>
                  <a:lnTo>
                    <a:pt x="1094" y="82"/>
                  </a:lnTo>
                  <a:lnTo>
                    <a:pt x="1096" y="81"/>
                  </a:lnTo>
                  <a:lnTo>
                    <a:pt x="1097" y="80"/>
                  </a:lnTo>
                  <a:lnTo>
                    <a:pt x="1099" y="79"/>
                  </a:lnTo>
                  <a:lnTo>
                    <a:pt x="1101" y="77"/>
                  </a:lnTo>
                  <a:lnTo>
                    <a:pt x="1102" y="76"/>
                  </a:lnTo>
                  <a:lnTo>
                    <a:pt x="1103" y="74"/>
                  </a:lnTo>
                  <a:lnTo>
                    <a:pt x="1104" y="72"/>
                  </a:lnTo>
                  <a:lnTo>
                    <a:pt x="1105" y="71"/>
                  </a:lnTo>
                  <a:lnTo>
                    <a:pt x="1105" y="69"/>
                  </a:lnTo>
                  <a:lnTo>
                    <a:pt x="1107" y="64"/>
                  </a:lnTo>
                  <a:lnTo>
                    <a:pt x="1107" y="61"/>
                  </a:lnTo>
                  <a:lnTo>
                    <a:pt x="1108" y="59"/>
                  </a:lnTo>
                  <a:lnTo>
                    <a:pt x="1108" y="58"/>
                  </a:lnTo>
                  <a:lnTo>
                    <a:pt x="1109" y="56"/>
                  </a:lnTo>
                  <a:lnTo>
                    <a:pt x="1110" y="56"/>
                  </a:lnTo>
                  <a:lnTo>
                    <a:pt x="1112" y="55"/>
                  </a:lnTo>
                  <a:lnTo>
                    <a:pt x="1114" y="53"/>
                  </a:lnTo>
                  <a:lnTo>
                    <a:pt x="1117" y="51"/>
                  </a:lnTo>
                  <a:lnTo>
                    <a:pt x="1119" y="49"/>
                  </a:lnTo>
                  <a:lnTo>
                    <a:pt x="1124" y="46"/>
                  </a:lnTo>
                  <a:lnTo>
                    <a:pt x="1133" y="42"/>
                  </a:lnTo>
                  <a:lnTo>
                    <a:pt x="1136" y="41"/>
                  </a:lnTo>
                  <a:lnTo>
                    <a:pt x="1138" y="40"/>
                  </a:lnTo>
                  <a:lnTo>
                    <a:pt x="1139" y="38"/>
                  </a:lnTo>
                  <a:lnTo>
                    <a:pt x="1140" y="37"/>
                  </a:lnTo>
                  <a:lnTo>
                    <a:pt x="1142" y="35"/>
                  </a:lnTo>
                  <a:lnTo>
                    <a:pt x="1142" y="34"/>
                  </a:lnTo>
                  <a:lnTo>
                    <a:pt x="1143" y="31"/>
                  </a:lnTo>
                  <a:lnTo>
                    <a:pt x="1143" y="29"/>
                  </a:lnTo>
                  <a:lnTo>
                    <a:pt x="1144" y="22"/>
                  </a:lnTo>
                  <a:lnTo>
                    <a:pt x="1145" y="20"/>
                  </a:lnTo>
                  <a:lnTo>
                    <a:pt x="1146" y="16"/>
                  </a:lnTo>
                  <a:lnTo>
                    <a:pt x="1149" y="10"/>
                  </a:lnTo>
                  <a:lnTo>
                    <a:pt x="1150" y="8"/>
                  </a:lnTo>
                  <a:lnTo>
                    <a:pt x="1151" y="5"/>
                  </a:lnTo>
                  <a:lnTo>
                    <a:pt x="1152" y="0"/>
                  </a:lnTo>
                  <a:lnTo>
                    <a:pt x="1153" y="0"/>
                  </a:lnTo>
                  <a:lnTo>
                    <a:pt x="1154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4" name="Freeform 87">
              <a:extLst>
                <a:ext uri="{FF2B5EF4-FFF2-40B4-BE49-F238E27FC236}">
                  <a16:creationId xmlns:a16="http://schemas.microsoft.com/office/drawing/2014/main" id="{D8343528-B2D8-41F6-9FA4-BD0C971D7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" y="2017"/>
              <a:ext cx="352" cy="270"/>
            </a:xfrm>
            <a:custGeom>
              <a:avLst/>
              <a:gdLst>
                <a:gd name="T0" fmla="*/ 197 w 352"/>
                <a:gd name="T1" fmla="*/ 5 h 270"/>
                <a:gd name="T2" fmla="*/ 167 w 352"/>
                <a:gd name="T3" fmla="*/ 18 h 270"/>
                <a:gd name="T4" fmla="*/ 135 w 352"/>
                <a:gd name="T5" fmla="*/ 32 h 270"/>
                <a:gd name="T6" fmla="*/ 109 w 352"/>
                <a:gd name="T7" fmla="*/ 37 h 270"/>
                <a:gd name="T8" fmla="*/ 98 w 352"/>
                <a:gd name="T9" fmla="*/ 43 h 270"/>
                <a:gd name="T10" fmla="*/ 91 w 352"/>
                <a:gd name="T11" fmla="*/ 60 h 270"/>
                <a:gd name="T12" fmla="*/ 83 w 352"/>
                <a:gd name="T13" fmla="*/ 67 h 270"/>
                <a:gd name="T14" fmla="*/ 65 w 352"/>
                <a:gd name="T15" fmla="*/ 65 h 270"/>
                <a:gd name="T16" fmla="*/ 52 w 352"/>
                <a:gd name="T17" fmla="*/ 60 h 270"/>
                <a:gd name="T18" fmla="*/ 35 w 352"/>
                <a:gd name="T19" fmla="*/ 67 h 270"/>
                <a:gd name="T20" fmla="*/ 4 w 352"/>
                <a:gd name="T21" fmla="*/ 79 h 270"/>
                <a:gd name="T22" fmla="*/ 1 w 352"/>
                <a:gd name="T23" fmla="*/ 84 h 270"/>
                <a:gd name="T24" fmla="*/ 11 w 352"/>
                <a:gd name="T25" fmla="*/ 91 h 270"/>
                <a:gd name="T26" fmla="*/ 32 w 352"/>
                <a:gd name="T27" fmla="*/ 112 h 270"/>
                <a:gd name="T28" fmla="*/ 31 w 352"/>
                <a:gd name="T29" fmla="*/ 120 h 270"/>
                <a:gd name="T30" fmla="*/ 18 w 352"/>
                <a:gd name="T31" fmla="*/ 130 h 270"/>
                <a:gd name="T32" fmla="*/ 18 w 352"/>
                <a:gd name="T33" fmla="*/ 139 h 270"/>
                <a:gd name="T34" fmla="*/ 29 w 352"/>
                <a:gd name="T35" fmla="*/ 159 h 270"/>
                <a:gd name="T36" fmla="*/ 50 w 352"/>
                <a:gd name="T37" fmla="*/ 181 h 270"/>
                <a:gd name="T38" fmla="*/ 54 w 352"/>
                <a:gd name="T39" fmla="*/ 191 h 270"/>
                <a:gd name="T40" fmla="*/ 52 w 352"/>
                <a:gd name="T41" fmla="*/ 203 h 270"/>
                <a:gd name="T42" fmla="*/ 55 w 352"/>
                <a:gd name="T43" fmla="*/ 211 h 270"/>
                <a:gd name="T44" fmla="*/ 70 w 352"/>
                <a:gd name="T45" fmla="*/ 219 h 270"/>
                <a:gd name="T46" fmla="*/ 75 w 352"/>
                <a:gd name="T47" fmla="*/ 227 h 270"/>
                <a:gd name="T48" fmla="*/ 75 w 352"/>
                <a:gd name="T49" fmla="*/ 238 h 270"/>
                <a:gd name="T50" fmla="*/ 76 w 352"/>
                <a:gd name="T51" fmla="*/ 246 h 270"/>
                <a:gd name="T52" fmla="*/ 75 w 352"/>
                <a:gd name="T53" fmla="*/ 259 h 270"/>
                <a:gd name="T54" fmla="*/ 82 w 352"/>
                <a:gd name="T55" fmla="*/ 265 h 270"/>
                <a:gd name="T56" fmla="*/ 102 w 352"/>
                <a:gd name="T57" fmla="*/ 270 h 270"/>
                <a:gd name="T58" fmla="*/ 117 w 352"/>
                <a:gd name="T59" fmla="*/ 268 h 270"/>
                <a:gd name="T60" fmla="*/ 124 w 352"/>
                <a:gd name="T61" fmla="*/ 255 h 270"/>
                <a:gd name="T62" fmla="*/ 141 w 352"/>
                <a:gd name="T63" fmla="*/ 248 h 270"/>
                <a:gd name="T64" fmla="*/ 166 w 352"/>
                <a:gd name="T65" fmla="*/ 239 h 270"/>
                <a:gd name="T66" fmla="*/ 193 w 352"/>
                <a:gd name="T67" fmla="*/ 220 h 270"/>
                <a:gd name="T68" fmla="*/ 212 w 352"/>
                <a:gd name="T69" fmla="*/ 212 h 270"/>
                <a:gd name="T70" fmla="*/ 224 w 352"/>
                <a:gd name="T71" fmla="*/ 201 h 270"/>
                <a:gd name="T72" fmla="*/ 241 w 352"/>
                <a:gd name="T73" fmla="*/ 197 h 270"/>
                <a:gd name="T74" fmla="*/ 261 w 352"/>
                <a:gd name="T75" fmla="*/ 196 h 270"/>
                <a:gd name="T76" fmla="*/ 281 w 352"/>
                <a:gd name="T77" fmla="*/ 205 h 270"/>
                <a:gd name="T78" fmla="*/ 298 w 352"/>
                <a:gd name="T79" fmla="*/ 211 h 270"/>
                <a:gd name="T80" fmla="*/ 308 w 352"/>
                <a:gd name="T81" fmla="*/ 208 h 270"/>
                <a:gd name="T82" fmla="*/ 324 w 352"/>
                <a:gd name="T83" fmla="*/ 193 h 270"/>
                <a:gd name="T84" fmla="*/ 322 w 352"/>
                <a:gd name="T85" fmla="*/ 166 h 270"/>
                <a:gd name="T86" fmla="*/ 317 w 352"/>
                <a:gd name="T87" fmla="*/ 158 h 270"/>
                <a:gd name="T88" fmla="*/ 313 w 352"/>
                <a:gd name="T89" fmla="*/ 147 h 270"/>
                <a:gd name="T90" fmla="*/ 319 w 352"/>
                <a:gd name="T91" fmla="*/ 138 h 270"/>
                <a:gd name="T92" fmla="*/ 345 w 352"/>
                <a:gd name="T93" fmla="*/ 123 h 270"/>
                <a:gd name="T94" fmla="*/ 352 w 352"/>
                <a:gd name="T95" fmla="*/ 112 h 270"/>
                <a:gd name="T96" fmla="*/ 349 w 352"/>
                <a:gd name="T97" fmla="*/ 101 h 270"/>
                <a:gd name="T98" fmla="*/ 331 w 352"/>
                <a:gd name="T99" fmla="*/ 85 h 270"/>
                <a:gd name="T100" fmla="*/ 319 w 352"/>
                <a:gd name="T101" fmla="*/ 71 h 270"/>
                <a:gd name="T102" fmla="*/ 299 w 352"/>
                <a:gd name="T103" fmla="*/ 58 h 270"/>
                <a:gd name="T104" fmla="*/ 280 w 352"/>
                <a:gd name="T105" fmla="*/ 50 h 270"/>
                <a:gd name="T106" fmla="*/ 270 w 352"/>
                <a:gd name="T107" fmla="*/ 34 h 270"/>
                <a:gd name="T108" fmla="*/ 258 w 352"/>
                <a:gd name="T109" fmla="*/ 28 h 270"/>
                <a:gd name="T110" fmla="*/ 233 w 352"/>
                <a:gd name="T111" fmla="*/ 11 h 270"/>
                <a:gd name="T112" fmla="*/ 226 w 352"/>
                <a:gd name="T113" fmla="*/ 3 h 270"/>
                <a:gd name="T114" fmla="*/ 223 w 352"/>
                <a:gd name="T115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2" h="270">
                  <a:moveTo>
                    <a:pt x="222" y="0"/>
                  </a:moveTo>
                  <a:lnTo>
                    <a:pt x="222" y="0"/>
                  </a:lnTo>
                  <a:lnTo>
                    <a:pt x="221" y="0"/>
                  </a:lnTo>
                  <a:lnTo>
                    <a:pt x="214" y="1"/>
                  </a:lnTo>
                  <a:lnTo>
                    <a:pt x="202" y="4"/>
                  </a:lnTo>
                  <a:lnTo>
                    <a:pt x="197" y="5"/>
                  </a:lnTo>
                  <a:lnTo>
                    <a:pt x="191" y="7"/>
                  </a:lnTo>
                  <a:lnTo>
                    <a:pt x="185" y="9"/>
                  </a:lnTo>
                  <a:lnTo>
                    <a:pt x="181" y="11"/>
                  </a:lnTo>
                  <a:lnTo>
                    <a:pt x="178" y="12"/>
                  </a:lnTo>
                  <a:lnTo>
                    <a:pt x="171" y="16"/>
                  </a:lnTo>
                  <a:lnTo>
                    <a:pt x="167" y="18"/>
                  </a:lnTo>
                  <a:lnTo>
                    <a:pt x="163" y="20"/>
                  </a:lnTo>
                  <a:lnTo>
                    <a:pt x="155" y="23"/>
                  </a:lnTo>
                  <a:lnTo>
                    <a:pt x="152" y="23"/>
                  </a:lnTo>
                  <a:lnTo>
                    <a:pt x="149" y="25"/>
                  </a:lnTo>
                  <a:lnTo>
                    <a:pt x="139" y="30"/>
                  </a:lnTo>
                  <a:lnTo>
                    <a:pt x="135" y="32"/>
                  </a:lnTo>
                  <a:lnTo>
                    <a:pt x="132" y="33"/>
                  </a:lnTo>
                  <a:lnTo>
                    <a:pt x="125" y="34"/>
                  </a:lnTo>
                  <a:lnTo>
                    <a:pt x="121" y="35"/>
                  </a:lnTo>
                  <a:lnTo>
                    <a:pt x="119" y="36"/>
                  </a:lnTo>
                  <a:lnTo>
                    <a:pt x="112" y="36"/>
                  </a:lnTo>
                  <a:lnTo>
                    <a:pt x="109" y="37"/>
                  </a:lnTo>
                  <a:lnTo>
                    <a:pt x="106" y="37"/>
                  </a:lnTo>
                  <a:lnTo>
                    <a:pt x="104" y="38"/>
                  </a:lnTo>
                  <a:lnTo>
                    <a:pt x="103" y="38"/>
                  </a:lnTo>
                  <a:lnTo>
                    <a:pt x="100" y="40"/>
                  </a:lnTo>
                  <a:lnTo>
                    <a:pt x="99" y="41"/>
                  </a:lnTo>
                  <a:lnTo>
                    <a:pt x="98" y="43"/>
                  </a:lnTo>
                  <a:lnTo>
                    <a:pt x="97" y="45"/>
                  </a:lnTo>
                  <a:lnTo>
                    <a:pt x="96" y="46"/>
                  </a:lnTo>
                  <a:lnTo>
                    <a:pt x="95" y="48"/>
                  </a:lnTo>
                  <a:lnTo>
                    <a:pt x="94" y="51"/>
                  </a:lnTo>
                  <a:lnTo>
                    <a:pt x="92" y="58"/>
                  </a:lnTo>
                  <a:lnTo>
                    <a:pt x="91" y="60"/>
                  </a:lnTo>
                  <a:lnTo>
                    <a:pt x="90" y="62"/>
                  </a:lnTo>
                  <a:lnTo>
                    <a:pt x="89" y="64"/>
                  </a:lnTo>
                  <a:lnTo>
                    <a:pt x="88" y="65"/>
                  </a:lnTo>
                  <a:lnTo>
                    <a:pt x="87" y="66"/>
                  </a:lnTo>
                  <a:lnTo>
                    <a:pt x="86" y="67"/>
                  </a:lnTo>
                  <a:lnTo>
                    <a:pt x="83" y="67"/>
                  </a:lnTo>
                  <a:lnTo>
                    <a:pt x="79" y="68"/>
                  </a:lnTo>
                  <a:lnTo>
                    <a:pt x="75" y="68"/>
                  </a:lnTo>
                  <a:lnTo>
                    <a:pt x="73" y="67"/>
                  </a:lnTo>
                  <a:lnTo>
                    <a:pt x="70" y="67"/>
                  </a:lnTo>
                  <a:lnTo>
                    <a:pt x="67" y="66"/>
                  </a:lnTo>
                  <a:lnTo>
                    <a:pt x="65" y="65"/>
                  </a:lnTo>
                  <a:lnTo>
                    <a:pt x="61" y="62"/>
                  </a:lnTo>
                  <a:lnTo>
                    <a:pt x="59" y="61"/>
                  </a:lnTo>
                  <a:lnTo>
                    <a:pt x="58" y="61"/>
                  </a:lnTo>
                  <a:lnTo>
                    <a:pt x="56" y="60"/>
                  </a:lnTo>
                  <a:lnTo>
                    <a:pt x="54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0" y="61"/>
                  </a:lnTo>
                  <a:lnTo>
                    <a:pt x="47" y="62"/>
                  </a:lnTo>
                  <a:lnTo>
                    <a:pt x="41" y="65"/>
                  </a:lnTo>
                  <a:lnTo>
                    <a:pt x="37" y="67"/>
                  </a:lnTo>
                  <a:lnTo>
                    <a:pt x="35" y="67"/>
                  </a:lnTo>
                  <a:lnTo>
                    <a:pt x="28" y="69"/>
                  </a:lnTo>
                  <a:lnTo>
                    <a:pt x="22" y="71"/>
                  </a:lnTo>
                  <a:lnTo>
                    <a:pt x="16" y="73"/>
                  </a:lnTo>
                  <a:lnTo>
                    <a:pt x="8" y="76"/>
                  </a:lnTo>
                  <a:lnTo>
                    <a:pt x="7" y="78"/>
                  </a:lnTo>
                  <a:lnTo>
                    <a:pt x="4" y="79"/>
                  </a:lnTo>
                  <a:lnTo>
                    <a:pt x="2" y="80"/>
                  </a:lnTo>
                  <a:lnTo>
                    <a:pt x="1" y="81"/>
                  </a:lnTo>
                  <a:lnTo>
                    <a:pt x="1" y="82"/>
                  </a:lnTo>
                  <a:lnTo>
                    <a:pt x="0" y="82"/>
                  </a:lnTo>
                  <a:lnTo>
                    <a:pt x="0" y="83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2" y="85"/>
                  </a:lnTo>
                  <a:lnTo>
                    <a:pt x="3" y="86"/>
                  </a:lnTo>
                  <a:lnTo>
                    <a:pt x="7" y="88"/>
                  </a:lnTo>
                  <a:lnTo>
                    <a:pt x="9" y="89"/>
                  </a:lnTo>
                  <a:lnTo>
                    <a:pt x="11" y="91"/>
                  </a:lnTo>
                  <a:lnTo>
                    <a:pt x="13" y="92"/>
                  </a:lnTo>
                  <a:lnTo>
                    <a:pt x="17" y="96"/>
                  </a:lnTo>
                  <a:lnTo>
                    <a:pt x="22" y="101"/>
                  </a:lnTo>
                  <a:lnTo>
                    <a:pt x="28" y="107"/>
                  </a:lnTo>
                  <a:lnTo>
                    <a:pt x="31" y="111"/>
                  </a:lnTo>
                  <a:lnTo>
                    <a:pt x="32" y="112"/>
                  </a:lnTo>
                  <a:lnTo>
                    <a:pt x="32" y="113"/>
                  </a:lnTo>
                  <a:lnTo>
                    <a:pt x="33" y="114"/>
                  </a:lnTo>
                  <a:lnTo>
                    <a:pt x="33" y="116"/>
                  </a:lnTo>
                  <a:lnTo>
                    <a:pt x="33" y="117"/>
                  </a:lnTo>
                  <a:lnTo>
                    <a:pt x="32" y="118"/>
                  </a:lnTo>
                  <a:lnTo>
                    <a:pt x="31" y="120"/>
                  </a:lnTo>
                  <a:lnTo>
                    <a:pt x="30" y="121"/>
                  </a:lnTo>
                  <a:lnTo>
                    <a:pt x="24" y="124"/>
                  </a:lnTo>
                  <a:lnTo>
                    <a:pt x="22" y="125"/>
                  </a:lnTo>
                  <a:lnTo>
                    <a:pt x="21" y="126"/>
                  </a:lnTo>
                  <a:lnTo>
                    <a:pt x="20" y="127"/>
                  </a:lnTo>
                  <a:lnTo>
                    <a:pt x="18" y="130"/>
                  </a:lnTo>
                  <a:lnTo>
                    <a:pt x="17" y="132"/>
                  </a:lnTo>
                  <a:lnTo>
                    <a:pt x="17" y="134"/>
                  </a:lnTo>
                  <a:lnTo>
                    <a:pt x="16" y="136"/>
                  </a:lnTo>
                  <a:lnTo>
                    <a:pt x="17" y="136"/>
                  </a:lnTo>
                  <a:lnTo>
                    <a:pt x="17" y="137"/>
                  </a:lnTo>
                  <a:lnTo>
                    <a:pt x="18" y="139"/>
                  </a:lnTo>
                  <a:lnTo>
                    <a:pt x="18" y="141"/>
                  </a:lnTo>
                  <a:lnTo>
                    <a:pt x="22" y="146"/>
                  </a:lnTo>
                  <a:lnTo>
                    <a:pt x="23" y="147"/>
                  </a:lnTo>
                  <a:lnTo>
                    <a:pt x="24" y="149"/>
                  </a:lnTo>
                  <a:lnTo>
                    <a:pt x="27" y="156"/>
                  </a:lnTo>
                  <a:lnTo>
                    <a:pt x="29" y="159"/>
                  </a:lnTo>
                  <a:lnTo>
                    <a:pt x="30" y="161"/>
                  </a:lnTo>
                  <a:lnTo>
                    <a:pt x="32" y="164"/>
                  </a:lnTo>
                  <a:lnTo>
                    <a:pt x="35" y="167"/>
                  </a:lnTo>
                  <a:lnTo>
                    <a:pt x="38" y="170"/>
                  </a:lnTo>
                  <a:lnTo>
                    <a:pt x="42" y="174"/>
                  </a:lnTo>
                  <a:lnTo>
                    <a:pt x="50" y="181"/>
                  </a:lnTo>
                  <a:lnTo>
                    <a:pt x="52" y="182"/>
                  </a:lnTo>
                  <a:lnTo>
                    <a:pt x="53" y="184"/>
                  </a:lnTo>
                  <a:lnTo>
                    <a:pt x="53" y="186"/>
                  </a:lnTo>
                  <a:lnTo>
                    <a:pt x="54" y="188"/>
                  </a:lnTo>
                  <a:lnTo>
                    <a:pt x="54" y="190"/>
                  </a:lnTo>
                  <a:lnTo>
                    <a:pt x="54" y="191"/>
                  </a:lnTo>
                  <a:lnTo>
                    <a:pt x="54" y="193"/>
                  </a:lnTo>
                  <a:lnTo>
                    <a:pt x="53" y="194"/>
                  </a:lnTo>
                  <a:lnTo>
                    <a:pt x="52" y="198"/>
                  </a:lnTo>
                  <a:lnTo>
                    <a:pt x="52" y="199"/>
                  </a:lnTo>
                  <a:lnTo>
                    <a:pt x="52" y="201"/>
                  </a:lnTo>
                  <a:lnTo>
                    <a:pt x="52" y="203"/>
                  </a:lnTo>
                  <a:lnTo>
                    <a:pt x="52" y="204"/>
                  </a:lnTo>
                  <a:lnTo>
                    <a:pt x="52" y="205"/>
                  </a:lnTo>
                  <a:lnTo>
                    <a:pt x="52" y="206"/>
                  </a:lnTo>
                  <a:lnTo>
                    <a:pt x="53" y="208"/>
                  </a:lnTo>
                  <a:lnTo>
                    <a:pt x="54" y="209"/>
                  </a:lnTo>
                  <a:lnTo>
                    <a:pt x="55" y="211"/>
                  </a:lnTo>
                  <a:lnTo>
                    <a:pt x="57" y="213"/>
                  </a:lnTo>
                  <a:lnTo>
                    <a:pt x="59" y="214"/>
                  </a:lnTo>
                  <a:lnTo>
                    <a:pt x="61" y="215"/>
                  </a:lnTo>
                  <a:lnTo>
                    <a:pt x="63" y="216"/>
                  </a:lnTo>
                  <a:lnTo>
                    <a:pt x="68" y="218"/>
                  </a:lnTo>
                  <a:lnTo>
                    <a:pt x="70" y="219"/>
                  </a:lnTo>
                  <a:lnTo>
                    <a:pt x="72" y="220"/>
                  </a:lnTo>
                  <a:lnTo>
                    <a:pt x="73" y="221"/>
                  </a:lnTo>
                  <a:lnTo>
                    <a:pt x="73" y="222"/>
                  </a:lnTo>
                  <a:lnTo>
                    <a:pt x="74" y="224"/>
                  </a:lnTo>
                  <a:lnTo>
                    <a:pt x="74" y="225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5" y="230"/>
                  </a:lnTo>
                  <a:lnTo>
                    <a:pt x="74" y="235"/>
                  </a:lnTo>
                  <a:lnTo>
                    <a:pt x="74" y="237"/>
                  </a:lnTo>
                  <a:lnTo>
                    <a:pt x="75" y="238"/>
                  </a:lnTo>
                  <a:lnTo>
                    <a:pt x="75" y="238"/>
                  </a:lnTo>
                  <a:lnTo>
                    <a:pt x="75" y="240"/>
                  </a:lnTo>
                  <a:lnTo>
                    <a:pt x="76" y="241"/>
                  </a:lnTo>
                  <a:lnTo>
                    <a:pt x="76" y="242"/>
                  </a:lnTo>
                  <a:lnTo>
                    <a:pt x="76" y="243"/>
                  </a:lnTo>
                  <a:lnTo>
                    <a:pt x="76" y="245"/>
                  </a:lnTo>
                  <a:lnTo>
                    <a:pt x="76" y="246"/>
                  </a:lnTo>
                  <a:lnTo>
                    <a:pt x="75" y="250"/>
                  </a:lnTo>
                  <a:lnTo>
                    <a:pt x="74" y="252"/>
                  </a:lnTo>
                  <a:lnTo>
                    <a:pt x="74" y="255"/>
                  </a:lnTo>
                  <a:lnTo>
                    <a:pt x="74" y="256"/>
                  </a:lnTo>
                  <a:lnTo>
                    <a:pt x="75" y="258"/>
                  </a:lnTo>
                  <a:lnTo>
                    <a:pt x="75" y="259"/>
                  </a:lnTo>
                  <a:lnTo>
                    <a:pt x="75" y="261"/>
                  </a:lnTo>
                  <a:lnTo>
                    <a:pt x="76" y="261"/>
                  </a:lnTo>
                  <a:lnTo>
                    <a:pt x="78" y="263"/>
                  </a:lnTo>
                  <a:lnTo>
                    <a:pt x="79" y="263"/>
                  </a:lnTo>
                  <a:lnTo>
                    <a:pt x="80" y="264"/>
                  </a:lnTo>
                  <a:lnTo>
                    <a:pt x="82" y="265"/>
                  </a:lnTo>
                  <a:lnTo>
                    <a:pt x="84" y="266"/>
                  </a:lnTo>
                  <a:lnTo>
                    <a:pt x="85" y="267"/>
                  </a:lnTo>
                  <a:lnTo>
                    <a:pt x="86" y="268"/>
                  </a:lnTo>
                  <a:lnTo>
                    <a:pt x="89" y="268"/>
                  </a:lnTo>
                  <a:lnTo>
                    <a:pt x="93" y="269"/>
                  </a:lnTo>
                  <a:lnTo>
                    <a:pt x="102" y="270"/>
                  </a:lnTo>
                  <a:lnTo>
                    <a:pt x="106" y="270"/>
                  </a:lnTo>
                  <a:lnTo>
                    <a:pt x="111" y="270"/>
                  </a:lnTo>
                  <a:lnTo>
                    <a:pt x="113" y="270"/>
                  </a:lnTo>
                  <a:lnTo>
                    <a:pt x="115" y="269"/>
                  </a:lnTo>
                  <a:lnTo>
                    <a:pt x="116" y="269"/>
                  </a:lnTo>
                  <a:lnTo>
                    <a:pt x="117" y="268"/>
                  </a:lnTo>
                  <a:lnTo>
                    <a:pt x="117" y="267"/>
                  </a:lnTo>
                  <a:lnTo>
                    <a:pt x="118" y="266"/>
                  </a:lnTo>
                  <a:lnTo>
                    <a:pt x="119" y="264"/>
                  </a:lnTo>
                  <a:lnTo>
                    <a:pt x="122" y="259"/>
                  </a:lnTo>
                  <a:lnTo>
                    <a:pt x="123" y="256"/>
                  </a:lnTo>
                  <a:lnTo>
                    <a:pt x="124" y="255"/>
                  </a:lnTo>
                  <a:lnTo>
                    <a:pt x="126" y="253"/>
                  </a:lnTo>
                  <a:lnTo>
                    <a:pt x="127" y="252"/>
                  </a:lnTo>
                  <a:lnTo>
                    <a:pt x="128" y="251"/>
                  </a:lnTo>
                  <a:lnTo>
                    <a:pt x="130" y="250"/>
                  </a:lnTo>
                  <a:lnTo>
                    <a:pt x="132" y="249"/>
                  </a:lnTo>
                  <a:lnTo>
                    <a:pt x="141" y="248"/>
                  </a:lnTo>
                  <a:lnTo>
                    <a:pt x="143" y="248"/>
                  </a:lnTo>
                  <a:lnTo>
                    <a:pt x="147" y="247"/>
                  </a:lnTo>
                  <a:lnTo>
                    <a:pt x="152" y="245"/>
                  </a:lnTo>
                  <a:lnTo>
                    <a:pt x="158" y="242"/>
                  </a:lnTo>
                  <a:lnTo>
                    <a:pt x="164" y="240"/>
                  </a:lnTo>
                  <a:lnTo>
                    <a:pt x="166" y="239"/>
                  </a:lnTo>
                  <a:lnTo>
                    <a:pt x="168" y="238"/>
                  </a:lnTo>
                  <a:lnTo>
                    <a:pt x="170" y="238"/>
                  </a:lnTo>
                  <a:lnTo>
                    <a:pt x="172" y="236"/>
                  </a:lnTo>
                  <a:lnTo>
                    <a:pt x="186" y="226"/>
                  </a:lnTo>
                  <a:lnTo>
                    <a:pt x="191" y="221"/>
                  </a:lnTo>
                  <a:lnTo>
                    <a:pt x="193" y="220"/>
                  </a:lnTo>
                  <a:lnTo>
                    <a:pt x="195" y="218"/>
                  </a:lnTo>
                  <a:lnTo>
                    <a:pt x="199" y="216"/>
                  </a:lnTo>
                  <a:lnTo>
                    <a:pt x="201" y="215"/>
                  </a:lnTo>
                  <a:lnTo>
                    <a:pt x="208" y="214"/>
                  </a:lnTo>
                  <a:lnTo>
                    <a:pt x="210" y="213"/>
                  </a:lnTo>
                  <a:lnTo>
                    <a:pt x="212" y="212"/>
                  </a:lnTo>
                  <a:lnTo>
                    <a:pt x="214" y="210"/>
                  </a:lnTo>
                  <a:lnTo>
                    <a:pt x="217" y="208"/>
                  </a:lnTo>
                  <a:lnTo>
                    <a:pt x="219" y="206"/>
                  </a:lnTo>
                  <a:lnTo>
                    <a:pt x="222" y="203"/>
                  </a:lnTo>
                  <a:lnTo>
                    <a:pt x="223" y="202"/>
                  </a:lnTo>
                  <a:lnTo>
                    <a:pt x="224" y="201"/>
                  </a:lnTo>
                  <a:lnTo>
                    <a:pt x="226" y="200"/>
                  </a:lnTo>
                  <a:lnTo>
                    <a:pt x="227" y="199"/>
                  </a:lnTo>
                  <a:lnTo>
                    <a:pt x="229" y="199"/>
                  </a:lnTo>
                  <a:lnTo>
                    <a:pt x="231" y="198"/>
                  </a:lnTo>
                  <a:lnTo>
                    <a:pt x="233" y="198"/>
                  </a:lnTo>
                  <a:lnTo>
                    <a:pt x="241" y="197"/>
                  </a:lnTo>
                  <a:lnTo>
                    <a:pt x="244" y="196"/>
                  </a:lnTo>
                  <a:lnTo>
                    <a:pt x="246" y="196"/>
                  </a:lnTo>
                  <a:lnTo>
                    <a:pt x="252" y="196"/>
                  </a:lnTo>
                  <a:lnTo>
                    <a:pt x="258" y="195"/>
                  </a:lnTo>
                  <a:lnTo>
                    <a:pt x="260" y="195"/>
                  </a:lnTo>
                  <a:lnTo>
                    <a:pt x="261" y="196"/>
                  </a:lnTo>
                  <a:lnTo>
                    <a:pt x="263" y="196"/>
                  </a:lnTo>
                  <a:lnTo>
                    <a:pt x="267" y="197"/>
                  </a:lnTo>
                  <a:lnTo>
                    <a:pt x="269" y="199"/>
                  </a:lnTo>
                  <a:lnTo>
                    <a:pt x="272" y="200"/>
                  </a:lnTo>
                  <a:lnTo>
                    <a:pt x="277" y="202"/>
                  </a:lnTo>
                  <a:lnTo>
                    <a:pt x="281" y="205"/>
                  </a:lnTo>
                  <a:lnTo>
                    <a:pt x="284" y="207"/>
                  </a:lnTo>
                  <a:lnTo>
                    <a:pt x="286" y="208"/>
                  </a:lnTo>
                  <a:lnTo>
                    <a:pt x="289" y="209"/>
                  </a:lnTo>
                  <a:lnTo>
                    <a:pt x="291" y="210"/>
                  </a:lnTo>
                  <a:lnTo>
                    <a:pt x="294" y="211"/>
                  </a:lnTo>
                  <a:lnTo>
                    <a:pt x="298" y="211"/>
                  </a:lnTo>
                  <a:lnTo>
                    <a:pt x="301" y="211"/>
                  </a:lnTo>
                  <a:lnTo>
                    <a:pt x="303" y="211"/>
                  </a:lnTo>
                  <a:lnTo>
                    <a:pt x="304" y="211"/>
                  </a:lnTo>
                  <a:lnTo>
                    <a:pt x="306" y="210"/>
                  </a:lnTo>
                  <a:lnTo>
                    <a:pt x="307" y="209"/>
                  </a:lnTo>
                  <a:lnTo>
                    <a:pt x="308" y="208"/>
                  </a:lnTo>
                  <a:lnTo>
                    <a:pt x="312" y="205"/>
                  </a:lnTo>
                  <a:lnTo>
                    <a:pt x="318" y="201"/>
                  </a:lnTo>
                  <a:lnTo>
                    <a:pt x="319" y="200"/>
                  </a:lnTo>
                  <a:lnTo>
                    <a:pt x="321" y="198"/>
                  </a:lnTo>
                  <a:lnTo>
                    <a:pt x="323" y="196"/>
                  </a:lnTo>
                  <a:lnTo>
                    <a:pt x="324" y="193"/>
                  </a:lnTo>
                  <a:lnTo>
                    <a:pt x="325" y="191"/>
                  </a:lnTo>
                  <a:lnTo>
                    <a:pt x="325" y="189"/>
                  </a:lnTo>
                  <a:lnTo>
                    <a:pt x="325" y="186"/>
                  </a:lnTo>
                  <a:lnTo>
                    <a:pt x="325" y="182"/>
                  </a:lnTo>
                  <a:lnTo>
                    <a:pt x="323" y="173"/>
                  </a:lnTo>
                  <a:lnTo>
                    <a:pt x="322" y="166"/>
                  </a:lnTo>
                  <a:lnTo>
                    <a:pt x="322" y="164"/>
                  </a:lnTo>
                  <a:lnTo>
                    <a:pt x="321" y="163"/>
                  </a:lnTo>
                  <a:lnTo>
                    <a:pt x="320" y="161"/>
                  </a:lnTo>
                  <a:lnTo>
                    <a:pt x="319" y="159"/>
                  </a:lnTo>
                  <a:lnTo>
                    <a:pt x="318" y="159"/>
                  </a:lnTo>
                  <a:lnTo>
                    <a:pt x="317" y="158"/>
                  </a:lnTo>
                  <a:lnTo>
                    <a:pt x="314" y="154"/>
                  </a:lnTo>
                  <a:lnTo>
                    <a:pt x="314" y="153"/>
                  </a:lnTo>
                  <a:lnTo>
                    <a:pt x="314" y="152"/>
                  </a:lnTo>
                  <a:lnTo>
                    <a:pt x="313" y="150"/>
                  </a:lnTo>
                  <a:lnTo>
                    <a:pt x="313" y="149"/>
                  </a:lnTo>
                  <a:lnTo>
                    <a:pt x="313" y="147"/>
                  </a:lnTo>
                  <a:lnTo>
                    <a:pt x="314" y="146"/>
                  </a:lnTo>
                  <a:lnTo>
                    <a:pt x="314" y="145"/>
                  </a:lnTo>
                  <a:lnTo>
                    <a:pt x="314" y="144"/>
                  </a:lnTo>
                  <a:lnTo>
                    <a:pt x="315" y="142"/>
                  </a:lnTo>
                  <a:lnTo>
                    <a:pt x="316" y="141"/>
                  </a:lnTo>
                  <a:lnTo>
                    <a:pt x="319" y="138"/>
                  </a:lnTo>
                  <a:lnTo>
                    <a:pt x="321" y="137"/>
                  </a:lnTo>
                  <a:lnTo>
                    <a:pt x="324" y="136"/>
                  </a:lnTo>
                  <a:lnTo>
                    <a:pt x="336" y="129"/>
                  </a:lnTo>
                  <a:lnTo>
                    <a:pt x="341" y="125"/>
                  </a:lnTo>
                  <a:lnTo>
                    <a:pt x="343" y="124"/>
                  </a:lnTo>
                  <a:lnTo>
                    <a:pt x="345" y="123"/>
                  </a:lnTo>
                  <a:lnTo>
                    <a:pt x="347" y="121"/>
                  </a:lnTo>
                  <a:lnTo>
                    <a:pt x="348" y="120"/>
                  </a:lnTo>
                  <a:lnTo>
                    <a:pt x="349" y="119"/>
                  </a:lnTo>
                  <a:lnTo>
                    <a:pt x="350" y="116"/>
                  </a:lnTo>
                  <a:lnTo>
                    <a:pt x="351" y="113"/>
                  </a:lnTo>
                  <a:lnTo>
                    <a:pt x="352" y="112"/>
                  </a:lnTo>
                  <a:lnTo>
                    <a:pt x="352" y="109"/>
                  </a:lnTo>
                  <a:lnTo>
                    <a:pt x="352" y="108"/>
                  </a:lnTo>
                  <a:lnTo>
                    <a:pt x="352" y="107"/>
                  </a:lnTo>
                  <a:lnTo>
                    <a:pt x="351" y="104"/>
                  </a:lnTo>
                  <a:lnTo>
                    <a:pt x="350" y="102"/>
                  </a:lnTo>
                  <a:lnTo>
                    <a:pt x="349" y="101"/>
                  </a:lnTo>
                  <a:lnTo>
                    <a:pt x="348" y="99"/>
                  </a:lnTo>
                  <a:lnTo>
                    <a:pt x="346" y="96"/>
                  </a:lnTo>
                  <a:lnTo>
                    <a:pt x="344" y="93"/>
                  </a:lnTo>
                  <a:lnTo>
                    <a:pt x="342" y="92"/>
                  </a:lnTo>
                  <a:lnTo>
                    <a:pt x="340" y="91"/>
                  </a:lnTo>
                  <a:lnTo>
                    <a:pt x="331" y="85"/>
                  </a:lnTo>
                  <a:lnTo>
                    <a:pt x="329" y="83"/>
                  </a:lnTo>
                  <a:lnTo>
                    <a:pt x="327" y="81"/>
                  </a:lnTo>
                  <a:lnTo>
                    <a:pt x="326" y="79"/>
                  </a:lnTo>
                  <a:lnTo>
                    <a:pt x="325" y="78"/>
                  </a:lnTo>
                  <a:lnTo>
                    <a:pt x="321" y="72"/>
                  </a:lnTo>
                  <a:lnTo>
                    <a:pt x="319" y="71"/>
                  </a:lnTo>
                  <a:lnTo>
                    <a:pt x="318" y="69"/>
                  </a:lnTo>
                  <a:lnTo>
                    <a:pt x="316" y="68"/>
                  </a:lnTo>
                  <a:lnTo>
                    <a:pt x="314" y="67"/>
                  </a:lnTo>
                  <a:lnTo>
                    <a:pt x="312" y="65"/>
                  </a:lnTo>
                  <a:lnTo>
                    <a:pt x="303" y="60"/>
                  </a:lnTo>
                  <a:lnTo>
                    <a:pt x="299" y="58"/>
                  </a:lnTo>
                  <a:lnTo>
                    <a:pt x="291" y="56"/>
                  </a:lnTo>
                  <a:lnTo>
                    <a:pt x="287" y="55"/>
                  </a:lnTo>
                  <a:lnTo>
                    <a:pt x="285" y="54"/>
                  </a:lnTo>
                  <a:lnTo>
                    <a:pt x="283" y="53"/>
                  </a:lnTo>
                  <a:lnTo>
                    <a:pt x="281" y="51"/>
                  </a:lnTo>
                  <a:lnTo>
                    <a:pt x="280" y="50"/>
                  </a:lnTo>
                  <a:lnTo>
                    <a:pt x="278" y="48"/>
                  </a:lnTo>
                  <a:lnTo>
                    <a:pt x="276" y="46"/>
                  </a:lnTo>
                  <a:lnTo>
                    <a:pt x="275" y="45"/>
                  </a:lnTo>
                  <a:lnTo>
                    <a:pt x="273" y="42"/>
                  </a:lnTo>
                  <a:lnTo>
                    <a:pt x="272" y="40"/>
                  </a:lnTo>
                  <a:lnTo>
                    <a:pt x="270" y="34"/>
                  </a:lnTo>
                  <a:lnTo>
                    <a:pt x="269" y="33"/>
                  </a:lnTo>
                  <a:lnTo>
                    <a:pt x="268" y="32"/>
                  </a:lnTo>
                  <a:lnTo>
                    <a:pt x="267" y="31"/>
                  </a:lnTo>
                  <a:lnTo>
                    <a:pt x="266" y="30"/>
                  </a:lnTo>
                  <a:lnTo>
                    <a:pt x="264" y="29"/>
                  </a:lnTo>
                  <a:lnTo>
                    <a:pt x="258" y="28"/>
                  </a:lnTo>
                  <a:lnTo>
                    <a:pt x="256" y="27"/>
                  </a:lnTo>
                  <a:lnTo>
                    <a:pt x="253" y="26"/>
                  </a:lnTo>
                  <a:lnTo>
                    <a:pt x="250" y="24"/>
                  </a:lnTo>
                  <a:lnTo>
                    <a:pt x="243" y="18"/>
                  </a:lnTo>
                  <a:lnTo>
                    <a:pt x="239" y="15"/>
                  </a:lnTo>
                  <a:lnTo>
                    <a:pt x="233" y="11"/>
                  </a:lnTo>
                  <a:lnTo>
                    <a:pt x="231" y="10"/>
                  </a:lnTo>
                  <a:lnTo>
                    <a:pt x="229" y="9"/>
                  </a:lnTo>
                  <a:lnTo>
                    <a:pt x="228" y="7"/>
                  </a:lnTo>
                  <a:lnTo>
                    <a:pt x="227" y="6"/>
                  </a:lnTo>
                  <a:lnTo>
                    <a:pt x="226" y="4"/>
                  </a:lnTo>
                  <a:lnTo>
                    <a:pt x="226" y="3"/>
                  </a:lnTo>
                  <a:lnTo>
                    <a:pt x="226" y="2"/>
                  </a:lnTo>
                  <a:lnTo>
                    <a:pt x="226" y="1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2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5" name="Freeform 88">
              <a:extLst>
                <a:ext uri="{FF2B5EF4-FFF2-40B4-BE49-F238E27FC236}">
                  <a16:creationId xmlns:a16="http://schemas.microsoft.com/office/drawing/2014/main" id="{1E627038-BD70-4899-A75E-03392FEC7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9" y="2684"/>
              <a:ext cx="1183" cy="1090"/>
            </a:xfrm>
            <a:custGeom>
              <a:avLst/>
              <a:gdLst>
                <a:gd name="T0" fmla="*/ 13 w 1183"/>
                <a:gd name="T1" fmla="*/ 93 h 1090"/>
                <a:gd name="T2" fmla="*/ 87 w 1183"/>
                <a:gd name="T3" fmla="*/ 91 h 1090"/>
                <a:gd name="T4" fmla="*/ 128 w 1183"/>
                <a:gd name="T5" fmla="*/ 62 h 1090"/>
                <a:gd name="T6" fmla="*/ 176 w 1183"/>
                <a:gd name="T7" fmla="*/ 69 h 1090"/>
                <a:gd name="T8" fmla="*/ 206 w 1183"/>
                <a:gd name="T9" fmla="*/ 95 h 1090"/>
                <a:gd name="T10" fmla="*/ 251 w 1183"/>
                <a:gd name="T11" fmla="*/ 85 h 1090"/>
                <a:gd name="T12" fmla="*/ 270 w 1183"/>
                <a:gd name="T13" fmla="*/ 70 h 1090"/>
                <a:gd name="T14" fmla="*/ 318 w 1183"/>
                <a:gd name="T15" fmla="*/ 85 h 1090"/>
                <a:gd name="T16" fmla="*/ 373 w 1183"/>
                <a:gd name="T17" fmla="*/ 93 h 1090"/>
                <a:gd name="T18" fmla="*/ 400 w 1183"/>
                <a:gd name="T19" fmla="*/ 103 h 1090"/>
                <a:gd name="T20" fmla="*/ 442 w 1183"/>
                <a:gd name="T21" fmla="*/ 120 h 1090"/>
                <a:gd name="T22" fmla="*/ 479 w 1183"/>
                <a:gd name="T23" fmla="*/ 91 h 1090"/>
                <a:gd name="T24" fmla="*/ 512 w 1183"/>
                <a:gd name="T25" fmla="*/ 61 h 1090"/>
                <a:gd name="T26" fmla="*/ 521 w 1183"/>
                <a:gd name="T27" fmla="*/ 17 h 1090"/>
                <a:gd name="T28" fmla="*/ 559 w 1183"/>
                <a:gd name="T29" fmla="*/ 9 h 1090"/>
                <a:gd name="T30" fmla="*/ 610 w 1183"/>
                <a:gd name="T31" fmla="*/ 35 h 1090"/>
                <a:gd name="T32" fmla="*/ 638 w 1183"/>
                <a:gd name="T33" fmla="*/ 67 h 1090"/>
                <a:gd name="T34" fmla="*/ 669 w 1183"/>
                <a:gd name="T35" fmla="*/ 76 h 1090"/>
                <a:gd name="T36" fmla="*/ 658 w 1183"/>
                <a:gd name="T37" fmla="*/ 108 h 1090"/>
                <a:gd name="T38" fmla="*/ 663 w 1183"/>
                <a:gd name="T39" fmla="*/ 141 h 1090"/>
                <a:gd name="T40" fmla="*/ 649 w 1183"/>
                <a:gd name="T41" fmla="*/ 217 h 1090"/>
                <a:gd name="T42" fmla="*/ 639 w 1183"/>
                <a:gd name="T43" fmla="*/ 271 h 1090"/>
                <a:gd name="T44" fmla="*/ 664 w 1183"/>
                <a:gd name="T45" fmla="*/ 308 h 1090"/>
                <a:gd name="T46" fmla="*/ 666 w 1183"/>
                <a:gd name="T47" fmla="*/ 356 h 1090"/>
                <a:gd name="T48" fmla="*/ 718 w 1183"/>
                <a:gd name="T49" fmla="*/ 392 h 1090"/>
                <a:gd name="T50" fmla="*/ 771 w 1183"/>
                <a:gd name="T51" fmla="*/ 399 h 1090"/>
                <a:gd name="T52" fmla="*/ 794 w 1183"/>
                <a:gd name="T53" fmla="*/ 424 h 1090"/>
                <a:gd name="T54" fmla="*/ 810 w 1183"/>
                <a:gd name="T55" fmla="*/ 437 h 1090"/>
                <a:gd name="T56" fmla="*/ 847 w 1183"/>
                <a:gd name="T57" fmla="*/ 463 h 1090"/>
                <a:gd name="T58" fmla="*/ 911 w 1183"/>
                <a:gd name="T59" fmla="*/ 466 h 1090"/>
                <a:gd name="T60" fmla="*/ 970 w 1183"/>
                <a:gd name="T61" fmla="*/ 468 h 1090"/>
                <a:gd name="T62" fmla="*/ 989 w 1183"/>
                <a:gd name="T63" fmla="*/ 500 h 1090"/>
                <a:gd name="T64" fmla="*/ 1020 w 1183"/>
                <a:gd name="T65" fmla="*/ 562 h 1090"/>
                <a:gd name="T66" fmla="*/ 1069 w 1183"/>
                <a:gd name="T67" fmla="*/ 576 h 1090"/>
                <a:gd name="T68" fmla="*/ 1138 w 1183"/>
                <a:gd name="T69" fmla="*/ 569 h 1090"/>
                <a:gd name="T70" fmla="*/ 1158 w 1183"/>
                <a:gd name="T71" fmla="*/ 581 h 1090"/>
                <a:gd name="T72" fmla="*/ 1182 w 1183"/>
                <a:gd name="T73" fmla="*/ 617 h 1090"/>
                <a:gd name="T74" fmla="*/ 1156 w 1183"/>
                <a:gd name="T75" fmla="*/ 640 h 1090"/>
                <a:gd name="T76" fmla="*/ 1132 w 1183"/>
                <a:gd name="T77" fmla="*/ 689 h 1090"/>
                <a:gd name="T78" fmla="*/ 1106 w 1183"/>
                <a:gd name="T79" fmla="*/ 728 h 1090"/>
                <a:gd name="T80" fmla="*/ 1135 w 1183"/>
                <a:gd name="T81" fmla="*/ 749 h 1090"/>
                <a:gd name="T82" fmla="*/ 1177 w 1183"/>
                <a:gd name="T83" fmla="*/ 785 h 1090"/>
                <a:gd name="T84" fmla="*/ 1159 w 1183"/>
                <a:gd name="T85" fmla="*/ 807 h 1090"/>
                <a:gd name="T86" fmla="*/ 1143 w 1183"/>
                <a:gd name="T87" fmla="*/ 833 h 1090"/>
                <a:gd name="T88" fmla="*/ 1088 w 1183"/>
                <a:gd name="T89" fmla="*/ 788 h 1090"/>
                <a:gd name="T90" fmla="*/ 1008 w 1183"/>
                <a:gd name="T91" fmla="*/ 750 h 1090"/>
                <a:gd name="T92" fmla="*/ 945 w 1183"/>
                <a:gd name="T93" fmla="*/ 740 h 1090"/>
                <a:gd name="T94" fmla="*/ 921 w 1183"/>
                <a:gd name="T95" fmla="*/ 773 h 1090"/>
                <a:gd name="T96" fmla="*/ 854 w 1183"/>
                <a:gd name="T97" fmla="*/ 790 h 1090"/>
                <a:gd name="T98" fmla="*/ 845 w 1183"/>
                <a:gd name="T99" fmla="*/ 754 h 1090"/>
                <a:gd name="T100" fmla="*/ 797 w 1183"/>
                <a:gd name="T101" fmla="*/ 727 h 1090"/>
                <a:gd name="T102" fmla="*/ 751 w 1183"/>
                <a:gd name="T103" fmla="*/ 708 h 1090"/>
                <a:gd name="T104" fmla="*/ 715 w 1183"/>
                <a:gd name="T105" fmla="*/ 728 h 1090"/>
                <a:gd name="T106" fmla="*/ 707 w 1183"/>
                <a:gd name="T107" fmla="*/ 807 h 1090"/>
                <a:gd name="T108" fmla="*/ 702 w 1183"/>
                <a:gd name="T109" fmla="*/ 895 h 1090"/>
                <a:gd name="T110" fmla="*/ 689 w 1183"/>
                <a:gd name="T111" fmla="*/ 971 h 1090"/>
                <a:gd name="T112" fmla="*/ 686 w 1183"/>
                <a:gd name="T113" fmla="*/ 1006 h 1090"/>
                <a:gd name="T114" fmla="*/ 597 w 1183"/>
                <a:gd name="T115" fmla="*/ 984 h 1090"/>
                <a:gd name="T116" fmla="*/ 567 w 1183"/>
                <a:gd name="T117" fmla="*/ 1020 h 1090"/>
                <a:gd name="T118" fmla="*/ 521 w 1183"/>
                <a:gd name="T119" fmla="*/ 1080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3" h="1090">
                  <a:moveTo>
                    <a:pt x="0" y="57"/>
                  </a:moveTo>
                  <a:lnTo>
                    <a:pt x="1" y="58"/>
                  </a:lnTo>
                  <a:lnTo>
                    <a:pt x="1" y="58"/>
                  </a:lnTo>
                  <a:lnTo>
                    <a:pt x="2" y="60"/>
                  </a:lnTo>
                  <a:lnTo>
                    <a:pt x="2" y="63"/>
                  </a:lnTo>
                  <a:lnTo>
                    <a:pt x="2" y="73"/>
                  </a:lnTo>
                  <a:lnTo>
                    <a:pt x="3" y="79"/>
                  </a:lnTo>
                  <a:lnTo>
                    <a:pt x="3" y="81"/>
                  </a:lnTo>
                  <a:lnTo>
                    <a:pt x="3" y="82"/>
                  </a:lnTo>
                  <a:lnTo>
                    <a:pt x="4" y="84"/>
                  </a:lnTo>
                  <a:lnTo>
                    <a:pt x="5" y="86"/>
                  </a:lnTo>
                  <a:lnTo>
                    <a:pt x="6" y="88"/>
                  </a:lnTo>
                  <a:lnTo>
                    <a:pt x="7" y="89"/>
                  </a:lnTo>
                  <a:lnTo>
                    <a:pt x="8" y="91"/>
                  </a:lnTo>
                  <a:lnTo>
                    <a:pt x="9" y="92"/>
                  </a:lnTo>
                  <a:lnTo>
                    <a:pt x="10" y="92"/>
                  </a:lnTo>
                  <a:lnTo>
                    <a:pt x="13" y="93"/>
                  </a:lnTo>
                  <a:lnTo>
                    <a:pt x="15" y="93"/>
                  </a:lnTo>
                  <a:lnTo>
                    <a:pt x="17" y="94"/>
                  </a:lnTo>
                  <a:lnTo>
                    <a:pt x="20" y="94"/>
                  </a:lnTo>
                  <a:lnTo>
                    <a:pt x="23" y="94"/>
                  </a:lnTo>
                  <a:lnTo>
                    <a:pt x="25" y="93"/>
                  </a:lnTo>
                  <a:lnTo>
                    <a:pt x="29" y="92"/>
                  </a:lnTo>
                  <a:lnTo>
                    <a:pt x="31" y="92"/>
                  </a:lnTo>
                  <a:lnTo>
                    <a:pt x="32" y="92"/>
                  </a:lnTo>
                  <a:lnTo>
                    <a:pt x="37" y="93"/>
                  </a:lnTo>
                  <a:lnTo>
                    <a:pt x="41" y="93"/>
                  </a:lnTo>
                  <a:lnTo>
                    <a:pt x="44" y="93"/>
                  </a:lnTo>
                  <a:lnTo>
                    <a:pt x="48" y="92"/>
                  </a:lnTo>
                  <a:lnTo>
                    <a:pt x="52" y="92"/>
                  </a:lnTo>
                  <a:lnTo>
                    <a:pt x="55" y="92"/>
                  </a:lnTo>
                  <a:lnTo>
                    <a:pt x="64" y="92"/>
                  </a:lnTo>
                  <a:lnTo>
                    <a:pt x="66" y="92"/>
                  </a:lnTo>
                  <a:lnTo>
                    <a:pt x="87" y="91"/>
                  </a:lnTo>
                  <a:lnTo>
                    <a:pt x="95" y="90"/>
                  </a:lnTo>
                  <a:lnTo>
                    <a:pt x="99" y="89"/>
                  </a:lnTo>
                  <a:lnTo>
                    <a:pt x="102" y="89"/>
                  </a:lnTo>
                  <a:lnTo>
                    <a:pt x="107" y="89"/>
                  </a:lnTo>
                  <a:lnTo>
                    <a:pt x="108" y="89"/>
                  </a:lnTo>
                  <a:lnTo>
                    <a:pt x="110" y="89"/>
                  </a:lnTo>
                  <a:lnTo>
                    <a:pt x="111" y="89"/>
                  </a:lnTo>
                  <a:lnTo>
                    <a:pt x="112" y="88"/>
                  </a:lnTo>
                  <a:lnTo>
                    <a:pt x="113" y="87"/>
                  </a:lnTo>
                  <a:lnTo>
                    <a:pt x="114" y="85"/>
                  </a:lnTo>
                  <a:lnTo>
                    <a:pt x="116" y="81"/>
                  </a:lnTo>
                  <a:lnTo>
                    <a:pt x="119" y="78"/>
                  </a:lnTo>
                  <a:lnTo>
                    <a:pt x="121" y="75"/>
                  </a:lnTo>
                  <a:lnTo>
                    <a:pt x="123" y="70"/>
                  </a:lnTo>
                  <a:lnTo>
                    <a:pt x="125" y="66"/>
                  </a:lnTo>
                  <a:lnTo>
                    <a:pt x="126" y="64"/>
                  </a:lnTo>
                  <a:lnTo>
                    <a:pt x="128" y="62"/>
                  </a:lnTo>
                  <a:lnTo>
                    <a:pt x="130" y="60"/>
                  </a:lnTo>
                  <a:lnTo>
                    <a:pt x="132" y="59"/>
                  </a:lnTo>
                  <a:lnTo>
                    <a:pt x="134" y="58"/>
                  </a:lnTo>
                  <a:lnTo>
                    <a:pt x="143" y="57"/>
                  </a:lnTo>
                  <a:lnTo>
                    <a:pt x="146" y="56"/>
                  </a:lnTo>
                  <a:lnTo>
                    <a:pt x="148" y="55"/>
                  </a:lnTo>
                  <a:lnTo>
                    <a:pt x="151" y="55"/>
                  </a:lnTo>
                  <a:lnTo>
                    <a:pt x="154" y="55"/>
                  </a:lnTo>
                  <a:lnTo>
                    <a:pt x="155" y="55"/>
                  </a:lnTo>
                  <a:lnTo>
                    <a:pt x="157" y="56"/>
                  </a:lnTo>
                  <a:lnTo>
                    <a:pt x="161" y="57"/>
                  </a:lnTo>
                  <a:lnTo>
                    <a:pt x="164" y="58"/>
                  </a:lnTo>
                  <a:lnTo>
                    <a:pt x="168" y="59"/>
                  </a:lnTo>
                  <a:lnTo>
                    <a:pt x="169" y="61"/>
                  </a:lnTo>
                  <a:lnTo>
                    <a:pt x="171" y="63"/>
                  </a:lnTo>
                  <a:lnTo>
                    <a:pt x="173" y="65"/>
                  </a:lnTo>
                  <a:lnTo>
                    <a:pt x="176" y="69"/>
                  </a:lnTo>
                  <a:lnTo>
                    <a:pt x="177" y="70"/>
                  </a:lnTo>
                  <a:lnTo>
                    <a:pt x="179" y="72"/>
                  </a:lnTo>
                  <a:lnTo>
                    <a:pt x="180" y="73"/>
                  </a:lnTo>
                  <a:lnTo>
                    <a:pt x="181" y="74"/>
                  </a:lnTo>
                  <a:lnTo>
                    <a:pt x="183" y="75"/>
                  </a:lnTo>
                  <a:lnTo>
                    <a:pt x="188" y="76"/>
                  </a:lnTo>
                  <a:lnTo>
                    <a:pt x="191" y="78"/>
                  </a:lnTo>
                  <a:lnTo>
                    <a:pt x="194" y="80"/>
                  </a:lnTo>
                  <a:lnTo>
                    <a:pt x="196" y="81"/>
                  </a:lnTo>
                  <a:lnTo>
                    <a:pt x="198" y="82"/>
                  </a:lnTo>
                  <a:lnTo>
                    <a:pt x="199" y="83"/>
                  </a:lnTo>
                  <a:lnTo>
                    <a:pt x="201" y="85"/>
                  </a:lnTo>
                  <a:lnTo>
                    <a:pt x="203" y="87"/>
                  </a:lnTo>
                  <a:lnTo>
                    <a:pt x="203" y="88"/>
                  </a:lnTo>
                  <a:lnTo>
                    <a:pt x="203" y="89"/>
                  </a:lnTo>
                  <a:lnTo>
                    <a:pt x="205" y="93"/>
                  </a:lnTo>
                  <a:lnTo>
                    <a:pt x="206" y="95"/>
                  </a:lnTo>
                  <a:lnTo>
                    <a:pt x="207" y="96"/>
                  </a:lnTo>
                  <a:lnTo>
                    <a:pt x="208" y="96"/>
                  </a:lnTo>
                  <a:lnTo>
                    <a:pt x="209" y="97"/>
                  </a:lnTo>
                  <a:lnTo>
                    <a:pt x="214" y="97"/>
                  </a:lnTo>
                  <a:lnTo>
                    <a:pt x="218" y="98"/>
                  </a:lnTo>
                  <a:lnTo>
                    <a:pt x="221" y="99"/>
                  </a:lnTo>
                  <a:lnTo>
                    <a:pt x="223" y="99"/>
                  </a:lnTo>
                  <a:lnTo>
                    <a:pt x="225" y="99"/>
                  </a:lnTo>
                  <a:lnTo>
                    <a:pt x="230" y="97"/>
                  </a:lnTo>
                  <a:lnTo>
                    <a:pt x="231" y="97"/>
                  </a:lnTo>
                  <a:lnTo>
                    <a:pt x="233" y="96"/>
                  </a:lnTo>
                  <a:lnTo>
                    <a:pt x="234" y="95"/>
                  </a:lnTo>
                  <a:lnTo>
                    <a:pt x="241" y="90"/>
                  </a:lnTo>
                  <a:lnTo>
                    <a:pt x="244" y="89"/>
                  </a:lnTo>
                  <a:lnTo>
                    <a:pt x="246" y="87"/>
                  </a:lnTo>
                  <a:lnTo>
                    <a:pt x="248" y="86"/>
                  </a:lnTo>
                  <a:lnTo>
                    <a:pt x="251" y="85"/>
                  </a:lnTo>
                  <a:lnTo>
                    <a:pt x="253" y="85"/>
                  </a:lnTo>
                  <a:lnTo>
                    <a:pt x="256" y="85"/>
                  </a:lnTo>
                  <a:lnTo>
                    <a:pt x="260" y="85"/>
                  </a:lnTo>
                  <a:lnTo>
                    <a:pt x="261" y="85"/>
                  </a:lnTo>
                  <a:lnTo>
                    <a:pt x="262" y="85"/>
                  </a:lnTo>
                  <a:lnTo>
                    <a:pt x="262" y="84"/>
                  </a:lnTo>
                  <a:lnTo>
                    <a:pt x="263" y="84"/>
                  </a:lnTo>
                  <a:lnTo>
                    <a:pt x="263" y="83"/>
                  </a:lnTo>
                  <a:lnTo>
                    <a:pt x="263" y="80"/>
                  </a:lnTo>
                  <a:lnTo>
                    <a:pt x="263" y="74"/>
                  </a:lnTo>
                  <a:lnTo>
                    <a:pt x="263" y="73"/>
                  </a:lnTo>
                  <a:lnTo>
                    <a:pt x="263" y="72"/>
                  </a:lnTo>
                  <a:lnTo>
                    <a:pt x="264" y="71"/>
                  </a:lnTo>
                  <a:lnTo>
                    <a:pt x="265" y="70"/>
                  </a:lnTo>
                  <a:lnTo>
                    <a:pt x="267" y="69"/>
                  </a:lnTo>
                  <a:lnTo>
                    <a:pt x="268" y="69"/>
                  </a:lnTo>
                  <a:lnTo>
                    <a:pt x="270" y="70"/>
                  </a:lnTo>
                  <a:lnTo>
                    <a:pt x="271" y="71"/>
                  </a:lnTo>
                  <a:lnTo>
                    <a:pt x="278" y="75"/>
                  </a:lnTo>
                  <a:lnTo>
                    <a:pt x="281" y="76"/>
                  </a:lnTo>
                  <a:lnTo>
                    <a:pt x="282" y="77"/>
                  </a:lnTo>
                  <a:lnTo>
                    <a:pt x="287" y="79"/>
                  </a:lnTo>
                  <a:lnTo>
                    <a:pt x="290" y="80"/>
                  </a:lnTo>
                  <a:lnTo>
                    <a:pt x="291" y="81"/>
                  </a:lnTo>
                  <a:lnTo>
                    <a:pt x="299" y="87"/>
                  </a:lnTo>
                  <a:lnTo>
                    <a:pt x="303" y="89"/>
                  </a:lnTo>
                  <a:lnTo>
                    <a:pt x="305" y="90"/>
                  </a:lnTo>
                  <a:lnTo>
                    <a:pt x="307" y="90"/>
                  </a:lnTo>
                  <a:lnTo>
                    <a:pt x="308" y="91"/>
                  </a:lnTo>
                  <a:lnTo>
                    <a:pt x="309" y="91"/>
                  </a:lnTo>
                  <a:lnTo>
                    <a:pt x="310" y="90"/>
                  </a:lnTo>
                  <a:lnTo>
                    <a:pt x="311" y="90"/>
                  </a:lnTo>
                  <a:lnTo>
                    <a:pt x="315" y="88"/>
                  </a:lnTo>
                  <a:lnTo>
                    <a:pt x="318" y="85"/>
                  </a:lnTo>
                  <a:lnTo>
                    <a:pt x="321" y="84"/>
                  </a:lnTo>
                  <a:lnTo>
                    <a:pt x="322" y="84"/>
                  </a:lnTo>
                  <a:lnTo>
                    <a:pt x="323" y="83"/>
                  </a:lnTo>
                  <a:lnTo>
                    <a:pt x="326" y="83"/>
                  </a:lnTo>
                  <a:lnTo>
                    <a:pt x="328" y="83"/>
                  </a:lnTo>
                  <a:lnTo>
                    <a:pt x="334" y="84"/>
                  </a:lnTo>
                  <a:lnTo>
                    <a:pt x="337" y="84"/>
                  </a:lnTo>
                  <a:lnTo>
                    <a:pt x="339" y="84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7" y="88"/>
                  </a:lnTo>
                  <a:lnTo>
                    <a:pt x="350" y="89"/>
                  </a:lnTo>
                  <a:lnTo>
                    <a:pt x="351" y="90"/>
                  </a:lnTo>
                  <a:lnTo>
                    <a:pt x="354" y="91"/>
                  </a:lnTo>
                  <a:lnTo>
                    <a:pt x="359" y="92"/>
                  </a:lnTo>
                  <a:lnTo>
                    <a:pt x="369" y="92"/>
                  </a:lnTo>
                  <a:lnTo>
                    <a:pt x="373" y="93"/>
                  </a:lnTo>
                  <a:lnTo>
                    <a:pt x="377" y="93"/>
                  </a:lnTo>
                  <a:lnTo>
                    <a:pt x="379" y="93"/>
                  </a:lnTo>
                  <a:lnTo>
                    <a:pt x="381" y="92"/>
                  </a:lnTo>
                  <a:lnTo>
                    <a:pt x="385" y="92"/>
                  </a:lnTo>
                  <a:lnTo>
                    <a:pt x="390" y="91"/>
                  </a:lnTo>
                  <a:lnTo>
                    <a:pt x="394" y="90"/>
                  </a:lnTo>
                  <a:lnTo>
                    <a:pt x="398" y="89"/>
                  </a:lnTo>
                  <a:lnTo>
                    <a:pt x="399" y="88"/>
                  </a:lnTo>
                  <a:lnTo>
                    <a:pt x="400" y="88"/>
                  </a:lnTo>
                  <a:lnTo>
                    <a:pt x="401" y="89"/>
                  </a:lnTo>
                  <a:lnTo>
                    <a:pt x="401" y="90"/>
                  </a:lnTo>
                  <a:lnTo>
                    <a:pt x="401" y="91"/>
                  </a:lnTo>
                  <a:lnTo>
                    <a:pt x="401" y="92"/>
                  </a:lnTo>
                  <a:lnTo>
                    <a:pt x="401" y="93"/>
                  </a:lnTo>
                  <a:lnTo>
                    <a:pt x="400" y="100"/>
                  </a:lnTo>
                  <a:lnTo>
                    <a:pt x="399" y="101"/>
                  </a:lnTo>
                  <a:lnTo>
                    <a:pt x="400" y="103"/>
                  </a:lnTo>
                  <a:lnTo>
                    <a:pt x="400" y="103"/>
                  </a:lnTo>
                  <a:lnTo>
                    <a:pt x="400" y="104"/>
                  </a:lnTo>
                  <a:lnTo>
                    <a:pt x="401" y="105"/>
                  </a:lnTo>
                  <a:lnTo>
                    <a:pt x="402" y="106"/>
                  </a:lnTo>
                  <a:lnTo>
                    <a:pt x="404" y="107"/>
                  </a:lnTo>
                  <a:lnTo>
                    <a:pt x="405" y="107"/>
                  </a:lnTo>
                  <a:lnTo>
                    <a:pt x="406" y="108"/>
                  </a:lnTo>
                  <a:lnTo>
                    <a:pt x="407" y="109"/>
                  </a:lnTo>
                  <a:lnTo>
                    <a:pt x="411" y="109"/>
                  </a:lnTo>
                  <a:lnTo>
                    <a:pt x="417" y="110"/>
                  </a:lnTo>
                  <a:lnTo>
                    <a:pt x="420" y="111"/>
                  </a:lnTo>
                  <a:lnTo>
                    <a:pt x="424" y="112"/>
                  </a:lnTo>
                  <a:lnTo>
                    <a:pt x="429" y="113"/>
                  </a:lnTo>
                  <a:lnTo>
                    <a:pt x="432" y="115"/>
                  </a:lnTo>
                  <a:lnTo>
                    <a:pt x="435" y="115"/>
                  </a:lnTo>
                  <a:lnTo>
                    <a:pt x="438" y="117"/>
                  </a:lnTo>
                  <a:lnTo>
                    <a:pt x="442" y="120"/>
                  </a:lnTo>
                  <a:lnTo>
                    <a:pt x="443" y="121"/>
                  </a:lnTo>
                  <a:lnTo>
                    <a:pt x="444" y="122"/>
                  </a:lnTo>
                  <a:lnTo>
                    <a:pt x="445" y="122"/>
                  </a:lnTo>
                  <a:lnTo>
                    <a:pt x="446" y="122"/>
                  </a:lnTo>
                  <a:lnTo>
                    <a:pt x="447" y="122"/>
                  </a:lnTo>
                  <a:lnTo>
                    <a:pt x="448" y="122"/>
                  </a:lnTo>
                  <a:lnTo>
                    <a:pt x="449" y="121"/>
                  </a:lnTo>
                  <a:lnTo>
                    <a:pt x="450" y="121"/>
                  </a:lnTo>
                  <a:lnTo>
                    <a:pt x="452" y="120"/>
                  </a:lnTo>
                  <a:lnTo>
                    <a:pt x="453" y="117"/>
                  </a:lnTo>
                  <a:lnTo>
                    <a:pt x="455" y="114"/>
                  </a:lnTo>
                  <a:lnTo>
                    <a:pt x="457" y="111"/>
                  </a:lnTo>
                  <a:lnTo>
                    <a:pt x="460" y="107"/>
                  </a:lnTo>
                  <a:lnTo>
                    <a:pt x="463" y="104"/>
                  </a:lnTo>
                  <a:lnTo>
                    <a:pt x="467" y="101"/>
                  </a:lnTo>
                  <a:lnTo>
                    <a:pt x="475" y="94"/>
                  </a:lnTo>
                  <a:lnTo>
                    <a:pt x="479" y="91"/>
                  </a:lnTo>
                  <a:lnTo>
                    <a:pt x="485" y="88"/>
                  </a:lnTo>
                  <a:lnTo>
                    <a:pt x="487" y="86"/>
                  </a:lnTo>
                  <a:lnTo>
                    <a:pt x="488" y="86"/>
                  </a:lnTo>
                  <a:lnTo>
                    <a:pt x="492" y="84"/>
                  </a:lnTo>
                  <a:lnTo>
                    <a:pt x="499" y="82"/>
                  </a:lnTo>
                  <a:lnTo>
                    <a:pt x="502" y="81"/>
                  </a:lnTo>
                  <a:lnTo>
                    <a:pt x="505" y="80"/>
                  </a:lnTo>
                  <a:lnTo>
                    <a:pt x="509" y="79"/>
                  </a:lnTo>
                  <a:lnTo>
                    <a:pt x="510" y="77"/>
                  </a:lnTo>
                  <a:lnTo>
                    <a:pt x="511" y="76"/>
                  </a:lnTo>
                  <a:lnTo>
                    <a:pt x="512" y="75"/>
                  </a:lnTo>
                  <a:lnTo>
                    <a:pt x="513" y="74"/>
                  </a:lnTo>
                  <a:lnTo>
                    <a:pt x="514" y="72"/>
                  </a:lnTo>
                  <a:lnTo>
                    <a:pt x="514" y="71"/>
                  </a:lnTo>
                  <a:lnTo>
                    <a:pt x="514" y="69"/>
                  </a:lnTo>
                  <a:lnTo>
                    <a:pt x="513" y="67"/>
                  </a:lnTo>
                  <a:lnTo>
                    <a:pt x="512" y="61"/>
                  </a:lnTo>
                  <a:lnTo>
                    <a:pt x="510" y="57"/>
                  </a:lnTo>
                  <a:lnTo>
                    <a:pt x="510" y="53"/>
                  </a:lnTo>
                  <a:lnTo>
                    <a:pt x="510" y="50"/>
                  </a:lnTo>
                  <a:lnTo>
                    <a:pt x="509" y="48"/>
                  </a:lnTo>
                  <a:lnTo>
                    <a:pt x="510" y="46"/>
                  </a:lnTo>
                  <a:lnTo>
                    <a:pt x="510" y="43"/>
                  </a:lnTo>
                  <a:lnTo>
                    <a:pt x="511" y="36"/>
                  </a:lnTo>
                  <a:lnTo>
                    <a:pt x="512" y="34"/>
                  </a:lnTo>
                  <a:lnTo>
                    <a:pt x="512" y="32"/>
                  </a:lnTo>
                  <a:lnTo>
                    <a:pt x="512" y="27"/>
                  </a:lnTo>
                  <a:lnTo>
                    <a:pt x="512" y="26"/>
                  </a:lnTo>
                  <a:lnTo>
                    <a:pt x="513" y="25"/>
                  </a:lnTo>
                  <a:lnTo>
                    <a:pt x="514" y="24"/>
                  </a:lnTo>
                  <a:lnTo>
                    <a:pt x="515" y="22"/>
                  </a:lnTo>
                  <a:lnTo>
                    <a:pt x="516" y="21"/>
                  </a:lnTo>
                  <a:lnTo>
                    <a:pt x="519" y="18"/>
                  </a:lnTo>
                  <a:lnTo>
                    <a:pt x="521" y="17"/>
                  </a:lnTo>
                  <a:lnTo>
                    <a:pt x="521" y="15"/>
                  </a:lnTo>
                  <a:lnTo>
                    <a:pt x="523" y="13"/>
                  </a:lnTo>
                  <a:lnTo>
                    <a:pt x="524" y="11"/>
                  </a:lnTo>
                  <a:lnTo>
                    <a:pt x="526" y="10"/>
                  </a:lnTo>
                  <a:lnTo>
                    <a:pt x="528" y="7"/>
                  </a:lnTo>
                  <a:lnTo>
                    <a:pt x="532" y="4"/>
                  </a:lnTo>
                  <a:lnTo>
                    <a:pt x="537" y="1"/>
                  </a:lnTo>
                  <a:lnTo>
                    <a:pt x="538" y="1"/>
                  </a:lnTo>
                  <a:lnTo>
                    <a:pt x="539" y="0"/>
                  </a:lnTo>
                  <a:lnTo>
                    <a:pt x="540" y="0"/>
                  </a:lnTo>
                  <a:lnTo>
                    <a:pt x="542" y="0"/>
                  </a:lnTo>
                  <a:lnTo>
                    <a:pt x="543" y="0"/>
                  </a:lnTo>
                  <a:lnTo>
                    <a:pt x="544" y="1"/>
                  </a:lnTo>
                  <a:lnTo>
                    <a:pt x="547" y="2"/>
                  </a:lnTo>
                  <a:lnTo>
                    <a:pt x="553" y="5"/>
                  </a:lnTo>
                  <a:lnTo>
                    <a:pt x="555" y="7"/>
                  </a:lnTo>
                  <a:lnTo>
                    <a:pt x="559" y="9"/>
                  </a:lnTo>
                  <a:lnTo>
                    <a:pt x="569" y="14"/>
                  </a:lnTo>
                  <a:lnTo>
                    <a:pt x="572" y="15"/>
                  </a:lnTo>
                  <a:lnTo>
                    <a:pt x="574" y="16"/>
                  </a:lnTo>
                  <a:lnTo>
                    <a:pt x="576" y="18"/>
                  </a:lnTo>
                  <a:lnTo>
                    <a:pt x="578" y="20"/>
                  </a:lnTo>
                  <a:lnTo>
                    <a:pt x="587" y="28"/>
                  </a:lnTo>
                  <a:lnTo>
                    <a:pt x="590" y="31"/>
                  </a:lnTo>
                  <a:lnTo>
                    <a:pt x="593" y="33"/>
                  </a:lnTo>
                  <a:lnTo>
                    <a:pt x="596" y="35"/>
                  </a:lnTo>
                  <a:lnTo>
                    <a:pt x="598" y="35"/>
                  </a:lnTo>
                  <a:lnTo>
                    <a:pt x="601" y="36"/>
                  </a:lnTo>
                  <a:lnTo>
                    <a:pt x="601" y="37"/>
                  </a:lnTo>
                  <a:lnTo>
                    <a:pt x="602" y="37"/>
                  </a:lnTo>
                  <a:lnTo>
                    <a:pt x="603" y="37"/>
                  </a:lnTo>
                  <a:lnTo>
                    <a:pt x="604" y="37"/>
                  </a:lnTo>
                  <a:lnTo>
                    <a:pt x="606" y="36"/>
                  </a:lnTo>
                  <a:lnTo>
                    <a:pt x="610" y="35"/>
                  </a:lnTo>
                  <a:lnTo>
                    <a:pt x="612" y="33"/>
                  </a:lnTo>
                  <a:lnTo>
                    <a:pt x="613" y="33"/>
                  </a:lnTo>
                  <a:lnTo>
                    <a:pt x="616" y="32"/>
                  </a:lnTo>
                  <a:lnTo>
                    <a:pt x="617" y="32"/>
                  </a:lnTo>
                  <a:lnTo>
                    <a:pt x="619" y="32"/>
                  </a:lnTo>
                  <a:lnTo>
                    <a:pt x="620" y="32"/>
                  </a:lnTo>
                  <a:lnTo>
                    <a:pt x="621" y="33"/>
                  </a:lnTo>
                  <a:lnTo>
                    <a:pt x="622" y="33"/>
                  </a:lnTo>
                  <a:lnTo>
                    <a:pt x="622" y="34"/>
                  </a:lnTo>
                  <a:lnTo>
                    <a:pt x="623" y="35"/>
                  </a:lnTo>
                  <a:lnTo>
                    <a:pt x="624" y="37"/>
                  </a:lnTo>
                  <a:lnTo>
                    <a:pt x="625" y="42"/>
                  </a:lnTo>
                  <a:lnTo>
                    <a:pt x="627" y="45"/>
                  </a:lnTo>
                  <a:lnTo>
                    <a:pt x="630" y="49"/>
                  </a:lnTo>
                  <a:lnTo>
                    <a:pt x="633" y="57"/>
                  </a:lnTo>
                  <a:lnTo>
                    <a:pt x="636" y="63"/>
                  </a:lnTo>
                  <a:lnTo>
                    <a:pt x="638" y="67"/>
                  </a:lnTo>
                  <a:lnTo>
                    <a:pt x="640" y="69"/>
                  </a:lnTo>
                  <a:lnTo>
                    <a:pt x="642" y="71"/>
                  </a:lnTo>
                  <a:lnTo>
                    <a:pt x="643" y="72"/>
                  </a:lnTo>
                  <a:lnTo>
                    <a:pt x="646" y="74"/>
                  </a:lnTo>
                  <a:lnTo>
                    <a:pt x="647" y="75"/>
                  </a:lnTo>
                  <a:lnTo>
                    <a:pt x="649" y="76"/>
                  </a:lnTo>
                  <a:lnTo>
                    <a:pt x="652" y="78"/>
                  </a:lnTo>
                  <a:lnTo>
                    <a:pt x="653" y="78"/>
                  </a:lnTo>
                  <a:lnTo>
                    <a:pt x="655" y="78"/>
                  </a:lnTo>
                  <a:lnTo>
                    <a:pt x="657" y="79"/>
                  </a:lnTo>
                  <a:lnTo>
                    <a:pt x="658" y="79"/>
                  </a:lnTo>
                  <a:lnTo>
                    <a:pt x="660" y="79"/>
                  </a:lnTo>
                  <a:lnTo>
                    <a:pt x="662" y="78"/>
                  </a:lnTo>
                  <a:lnTo>
                    <a:pt x="664" y="78"/>
                  </a:lnTo>
                  <a:lnTo>
                    <a:pt x="665" y="77"/>
                  </a:lnTo>
                  <a:lnTo>
                    <a:pt x="667" y="77"/>
                  </a:lnTo>
                  <a:lnTo>
                    <a:pt x="669" y="76"/>
                  </a:lnTo>
                  <a:lnTo>
                    <a:pt x="668" y="76"/>
                  </a:lnTo>
                  <a:lnTo>
                    <a:pt x="668" y="77"/>
                  </a:lnTo>
                  <a:lnTo>
                    <a:pt x="669" y="78"/>
                  </a:lnTo>
                  <a:lnTo>
                    <a:pt x="670" y="88"/>
                  </a:lnTo>
                  <a:lnTo>
                    <a:pt x="670" y="91"/>
                  </a:lnTo>
                  <a:lnTo>
                    <a:pt x="670" y="93"/>
                  </a:lnTo>
                  <a:lnTo>
                    <a:pt x="670" y="95"/>
                  </a:lnTo>
                  <a:lnTo>
                    <a:pt x="670" y="97"/>
                  </a:lnTo>
                  <a:lnTo>
                    <a:pt x="670" y="98"/>
                  </a:lnTo>
                  <a:lnTo>
                    <a:pt x="669" y="100"/>
                  </a:lnTo>
                  <a:lnTo>
                    <a:pt x="669" y="102"/>
                  </a:lnTo>
                  <a:lnTo>
                    <a:pt x="668" y="103"/>
                  </a:lnTo>
                  <a:lnTo>
                    <a:pt x="667" y="104"/>
                  </a:lnTo>
                  <a:lnTo>
                    <a:pt x="665" y="105"/>
                  </a:lnTo>
                  <a:lnTo>
                    <a:pt x="663" y="106"/>
                  </a:lnTo>
                  <a:lnTo>
                    <a:pt x="660" y="107"/>
                  </a:lnTo>
                  <a:lnTo>
                    <a:pt x="658" y="108"/>
                  </a:lnTo>
                  <a:lnTo>
                    <a:pt x="656" y="109"/>
                  </a:lnTo>
                  <a:lnTo>
                    <a:pt x="654" y="110"/>
                  </a:lnTo>
                  <a:lnTo>
                    <a:pt x="653" y="111"/>
                  </a:lnTo>
                  <a:lnTo>
                    <a:pt x="653" y="112"/>
                  </a:lnTo>
                  <a:lnTo>
                    <a:pt x="652" y="113"/>
                  </a:lnTo>
                  <a:lnTo>
                    <a:pt x="652" y="115"/>
                  </a:lnTo>
                  <a:lnTo>
                    <a:pt x="652" y="115"/>
                  </a:lnTo>
                  <a:lnTo>
                    <a:pt x="652" y="116"/>
                  </a:lnTo>
                  <a:lnTo>
                    <a:pt x="652" y="117"/>
                  </a:lnTo>
                  <a:lnTo>
                    <a:pt x="653" y="119"/>
                  </a:lnTo>
                  <a:lnTo>
                    <a:pt x="654" y="121"/>
                  </a:lnTo>
                  <a:lnTo>
                    <a:pt x="658" y="129"/>
                  </a:lnTo>
                  <a:lnTo>
                    <a:pt x="659" y="131"/>
                  </a:lnTo>
                  <a:lnTo>
                    <a:pt x="660" y="134"/>
                  </a:lnTo>
                  <a:lnTo>
                    <a:pt x="661" y="136"/>
                  </a:lnTo>
                  <a:lnTo>
                    <a:pt x="662" y="138"/>
                  </a:lnTo>
                  <a:lnTo>
                    <a:pt x="663" y="141"/>
                  </a:lnTo>
                  <a:lnTo>
                    <a:pt x="663" y="144"/>
                  </a:lnTo>
                  <a:lnTo>
                    <a:pt x="664" y="148"/>
                  </a:lnTo>
                  <a:lnTo>
                    <a:pt x="664" y="151"/>
                  </a:lnTo>
                  <a:lnTo>
                    <a:pt x="664" y="154"/>
                  </a:lnTo>
                  <a:lnTo>
                    <a:pt x="663" y="161"/>
                  </a:lnTo>
                  <a:lnTo>
                    <a:pt x="662" y="164"/>
                  </a:lnTo>
                  <a:lnTo>
                    <a:pt x="662" y="167"/>
                  </a:lnTo>
                  <a:lnTo>
                    <a:pt x="663" y="173"/>
                  </a:lnTo>
                  <a:lnTo>
                    <a:pt x="662" y="176"/>
                  </a:lnTo>
                  <a:lnTo>
                    <a:pt x="662" y="180"/>
                  </a:lnTo>
                  <a:lnTo>
                    <a:pt x="661" y="183"/>
                  </a:lnTo>
                  <a:lnTo>
                    <a:pt x="661" y="186"/>
                  </a:lnTo>
                  <a:lnTo>
                    <a:pt x="659" y="190"/>
                  </a:lnTo>
                  <a:lnTo>
                    <a:pt x="658" y="194"/>
                  </a:lnTo>
                  <a:lnTo>
                    <a:pt x="655" y="202"/>
                  </a:lnTo>
                  <a:lnTo>
                    <a:pt x="652" y="210"/>
                  </a:lnTo>
                  <a:lnTo>
                    <a:pt x="649" y="217"/>
                  </a:lnTo>
                  <a:lnTo>
                    <a:pt x="648" y="219"/>
                  </a:lnTo>
                  <a:lnTo>
                    <a:pt x="648" y="220"/>
                  </a:lnTo>
                  <a:lnTo>
                    <a:pt x="648" y="222"/>
                  </a:lnTo>
                  <a:lnTo>
                    <a:pt x="648" y="223"/>
                  </a:lnTo>
                  <a:lnTo>
                    <a:pt x="649" y="226"/>
                  </a:lnTo>
                  <a:lnTo>
                    <a:pt x="649" y="227"/>
                  </a:lnTo>
                  <a:lnTo>
                    <a:pt x="649" y="228"/>
                  </a:lnTo>
                  <a:lnTo>
                    <a:pt x="649" y="229"/>
                  </a:lnTo>
                  <a:lnTo>
                    <a:pt x="646" y="239"/>
                  </a:lnTo>
                  <a:lnTo>
                    <a:pt x="646" y="245"/>
                  </a:lnTo>
                  <a:lnTo>
                    <a:pt x="645" y="249"/>
                  </a:lnTo>
                  <a:lnTo>
                    <a:pt x="643" y="253"/>
                  </a:lnTo>
                  <a:lnTo>
                    <a:pt x="641" y="260"/>
                  </a:lnTo>
                  <a:lnTo>
                    <a:pt x="640" y="262"/>
                  </a:lnTo>
                  <a:lnTo>
                    <a:pt x="639" y="266"/>
                  </a:lnTo>
                  <a:lnTo>
                    <a:pt x="639" y="269"/>
                  </a:lnTo>
                  <a:lnTo>
                    <a:pt x="639" y="271"/>
                  </a:lnTo>
                  <a:lnTo>
                    <a:pt x="639" y="273"/>
                  </a:lnTo>
                  <a:lnTo>
                    <a:pt x="640" y="275"/>
                  </a:lnTo>
                  <a:lnTo>
                    <a:pt x="640" y="277"/>
                  </a:lnTo>
                  <a:lnTo>
                    <a:pt x="641" y="279"/>
                  </a:lnTo>
                  <a:lnTo>
                    <a:pt x="642" y="282"/>
                  </a:lnTo>
                  <a:lnTo>
                    <a:pt x="644" y="284"/>
                  </a:lnTo>
                  <a:lnTo>
                    <a:pt x="646" y="286"/>
                  </a:lnTo>
                  <a:lnTo>
                    <a:pt x="649" y="289"/>
                  </a:lnTo>
                  <a:lnTo>
                    <a:pt x="655" y="293"/>
                  </a:lnTo>
                  <a:lnTo>
                    <a:pt x="657" y="295"/>
                  </a:lnTo>
                  <a:lnTo>
                    <a:pt x="658" y="296"/>
                  </a:lnTo>
                  <a:lnTo>
                    <a:pt x="659" y="298"/>
                  </a:lnTo>
                  <a:lnTo>
                    <a:pt x="661" y="300"/>
                  </a:lnTo>
                  <a:lnTo>
                    <a:pt x="663" y="304"/>
                  </a:lnTo>
                  <a:lnTo>
                    <a:pt x="664" y="306"/>
                  </a:lnTo>
                  <a:lnTo>
                    <a:pt x="664" y="307"/>
                  </a:lnTo>
                  <a:lnTo>
                    <a:pt x="664" y="308"/>
                  </a:lnTo>
                  <a:lnTo>
                    <a:pt x="663" y="309"/>
                  </a:lnTo>
                  <a:lnTo>
                    <a:pt x="662" y="310"/>
                  </a:lnTo>
                  <a:lnTo>
                    <a:pt x="659" y="315"/>
                  </a:lnTo>
                  <a:lnTo>
                    <a:pt x="657" y="318"/>
                  </a:lnTo>
                  <a:lnTo>
                    <a:pt x="655" y="321"/>
                  </a:lnTo>
                  <a:lnTo>
                    <a:pt x="653" y="323"/>
                  </a:lnTo>
                  <a:lnTo>
                    <a:pt x="653" y="325"/>
                  </a:lnTo>
                  <a:lnTo>
                    <a:pt x="652" y="328"/>
                  </a:lnTo>
                  <a:lnTo>
                    <a:pt x="652" y="329"/>
                  </a:lnTo>
                  <a:lnTo>
                    <a:pt x="651" y="330"/>
                  </a:lnTo>
                  <a:lnTo>
                    <a:pt x="652" y="332"/>
                  </a:lnTo>
                  <a:lnTo>
                    <a:pt x="652" y="334"/>
                  </a:lnTo>
                  <a:lnTo>
                    <a:pt x="653" y="336"/>
                  </a:lnTo>
                  <a:lnTo>
                    <a:pt x="654" y="338"/>
                  </a:lnTo>
                  <a:lnTo>
                    <a:pt x="656" y="341"/>
                  </a:lnTo>
                  <a:lnTo>
                    <a:pt x="661" y="348"/>
                  </a:lnTo>
                  <a:lnTo>
                    <a:pt x="666" y="356"/>
                  </a:lnTo>
                  <a:lnTo>
                    <a:pt x="667" y="357"/>
                  </a:lnTo>
                  <a:lnTo>
                    <a:pt x="669" y="359"/>
                  </a:lnTo>
                  <a:lnTo>
                    <a:pt x="678" y="368"/>
                  </a:lnTo>
                  <a:lnTo>
                    <a:pt x="680" y="370"/>
                  </a:lnTo>
                  <a:lnTo>
                    <a:pt x="684" y="375"/>
                  </a:lnTo>
                  <a:lnTo>
                    <a:pt x="687" y="378"/>
                  </a:lnTo>
                  <a:lnTo>
                    <a:pt x="693" y="384"/>
                  </a:lnTo>
                  <a:lnTo>
                    <a:pt x="699" y="389"/>
                  </a:lnTo>
                  <a:lnTo>
                    <a:pt x="703" y="391"/>
                  </a:lnTo>
                  <a:lnTo>
                    <a:pt x="703" y="392"/>
                  </a:lnTo>
                  <a:lnTo>
                    <a:pt x="704" y="393"/>
                  </a:lnTo>
                  <a:lnTo>
                    <a:pt x="707" y="393"/>
                  </a:lnTo>
                  <a:lnTo>
                    <a:pt x="709" y="394"/>
                  </a:lnTo>
                  <a:lnTo>
                    <a:pt x="712" y="394"/>
                  </a:lnTo>
                  <a:lnTo>
                    <a:pt x="714" y="393"/>
                  </a:lnTo>
                  <a:lnTo>
                    <a:pt x="715" y="393"/>
                  </a:lnTo>
                  <a:lnTo>
                    <a:pt x="718" y="392"/>
                  </a:lnTo>
                  <a:lnTo>
                    <a:pt x="728" y="387"/>
                  </a:lnTo>
                  <a:lnTo>
                    <a:pt x="731" y="385"/>
                  </a:lnTo>
                  <a:lnTo>
                    <a:pt x="734" y="384"/>
                  </a:lnTo>
                  <a:lnTo>
                    <a:pt x="737" y="383"/>
                  </a:lnTo>
                  <a:lnTo>
                    <a:pt x="739" y="383"/>
                  </a:lnTo>
                  <a:lnTo>
                    <a:pt x="742" y="382"/>
                  </a:lnTo>
                  <a:lnTo>
                    <a:pt x="744" y="383"/>
                  </a:lnTo>
                  <a:lnTo>
                    <a:pt x="746" y="383"/>
                  </a:lnTo>
                  <a:lnTo>
                    <a:pt x="748" y="384"/>
                  </a:lnTo>
                  <a:lnTo>
                    <a:pt x="749" y="385"/>
                  </a:lnTo>
                  <a:lnTo>
                    <a:pt x="751" y="386"/>
                  </a:lnTo>
                  <a:lnTo>
                    <a:pt x="753" y="387"/>
                  </a:lnTo>
                  <a:lnTo>
                    <a:pt x="759" y="392"/>
                  </a:lnTo>
                  <a:lnTo>
                    <a:pt x="762" y="394"/>
                  </a:lnTo>
                  <a:lnTo>
                    <a:pt x="766" y="397"/>
                  </a:lnTo>
                  <a:lnTo>
                    <a:pt x="770" y="398"/>
                  </a:lnTo>
                  <a:lnTo>
                    <a:pt x="771" y="399"/>
                  </a:lnTo>
                  <a:lnTo>
                    <a:pt x="774" y="400"/>
                  </a:lnTo>
                  <a:lnTo>
                    <a:pt x="783" y="404"/>
                  </a:lnTo>
                  <a:lnTo>
                    <a:pt x="787" y="405"/>
                  </a:lnTo>
                  <a:lnTo>
                    <a:pt x="790" y="406"/>
                  </a:lnTo>
                  <a:lnTo>
                    <a:pt x="792" y="408"/>
                  </a:lnTo>
                  <a:lnTo>
                    <a:pt x="794" y="409"/>
                  </a:lnTo>
                  <a:lnTo>
                    <a:pt x="794" y="409"/>
                  </a:lnTo>
                  <a:lnTo>
                    <a:pt x="795" y="410"/>
                  </a:lnTo>
                  <a:lnTo>
                    <a:pt x="796" y="412"/>
                  </a:lnTo>
                  <a:lnTo>
                    <a:pt x="797" y="413"/>
                  </a:lnTo>
                  <a:lnTo>
                    <a:pt x="797" y="415"/>
                  </a:lnTo>
                  <a:lnTo>
                    <a:pt x="797" y="416"/>
                  </a:lnTo>
                  <a:lnTo>
                    <a:pt x="797" y="418"/>
                  </a:lnTo>
                  <a:lnTo>
                    <a:pt x="796" y="420"/>
                  </a:lnTo>
                  <a:lnTo>
                    <a:pt x="795" y="421"/>
                  </a:lnTo>
                  <a:lnTo>
                    <a:pt x="795" y="423"/>
                  </a:lnTo>
                  <a:lnTo>
                    <a:pt x="794" y="424"/>
                  </a:lnTo>
                  <a:lnTo>
                    <a:pt x="794" y="425"/>
                  </a:lnTo>
                  <a:lnTo>
                    <a:pt x="793" y="427"/>
                  </a:lnTo>
                  <a:lnTo>
                    <a:pt x="791" y="427"/>
                  </a:lnTo>
                  <a:lnTo>
                    <a:pt x="788" y="429"/>
                  </a:lnTo>
                  <a:lnTo>
                    <a:pt x="788" y="430"/>
                  </a:lnTo>
                  <a:lnTo>
                    <a:pt x="787" y="430"/>
                  </a:lnTo>
                  <a:lnTo>
                    <a:pt x="787" y="431"/>
                  </a:lnTo>
                  <a:lnTo>
                    <a:pt x="788" y="432"/>
                  </a:lnTo>
                  <a:lnTo>
                    <a:pt x="789" y="432"/>
                  </a:lnTo>
                  <a:lnTo>
                    <a:pt x="790" y="433"/>
                  </a:lnTo>
                  <a:lnTo>
                    <a:pt x="792" y="434"/>
                  </a:lnTo>
                  <a:lnTo>
                    <a:pt x="794" y="434"/>
                  </a:lnTo>
                  <a:lnTo>
                    <a:pt x="796" y="435"/>
                  </a:lnTo>
                  <a:lnTo>
                    <a:pt x="798" y="435"/>
                  </a:lnTo>
                  <a:lnTo>
                    <a:pt x="805" y="436"/>
                  </a:lnTo>
                  <a:lnTo>
                    <a:pt x="808" y="437"/>
                  </a:lnTo>
                  <a:lnTo>
                    <a:pt x="810" y="437"/>
                  </a:lnTo>
                  <a:lnTo>
                    <a:pt x="812" y="438"/>
                  </a:lnTo>
                  <a:lnTo>
                    <a:pt x="813" y="439"/>
                  </a:lnTo>
                  <a:lnTo>
                    <a:pt x="815" y="439"/>
                  </a:lnTo>
                  <a:lnTo>
                    <a:pt x="817" y="441"/>
                  </a:lnTo>
                  <a:lnTo>
                    <a:pt x="817" y="442"/>
                  </a:lnTo>
                  <a:lnTo>
                    <a:pt x="820" y="444"/>
                  </a:lnTo>
                  <a:lnTo>
                    <a:pt x="824" y="448"/>
                  </a:lnTo>
                  <a:lnTo>
                    <a:pt x="828" y="455"/>
                  </a:lnTo>
                  <a:lnTo>
                    <a:pt x="830" y="456"/>
                  </a:lnTo>
                  <a:lnTo>
                    <a:pt x="831" y="457"/>
                  </a:lnTo>
                  <a:lnTo>
                    <a:pt x="833" y="459"/>
                  </a:lnTo>
                  <a:lnTo>
                    <a:pt x="835" y="460"/>
                  </a:lnTo>
                  <a:lnTo>
                    <a:pt x="837" y="461"/>
                  </a:lnTo>
                  <a:lnTo>
                    <a:pt x="839" y="462"/>
                  </a:lnTo>
                  <a:lnTo>
                    <a:pt x="841" y="463"/>
                  </a:lnTo>
                  <a:lnTo>
                    <a:pt x="844" y="463"/>
                  </a:lnTo>
                  <a:lnTo>
                    <a:pt x="847" y="463"/>
                  </a:lnTo>
                  <a:lnTo>
                    <a:pt x="850" y="463"/>
                  </a:lnTo>
                  <a:lnTo>
                    <a:pt x="852" y="462"/>
                  </a:lnTo>
                  <a:lnTo>
                    <a:pt x="855" y="461"/>
                  </a:lnTo>
                  <a:lnTo>
                    <a:pt x="858" y="460"/>
                  </a:lnTo>
                  <a:lnTo>
                    <a:pt x="865" y="456"/>
                  </a:lnTo>
                  <a:lnTo>
                    <a:pt x="868" y="455"/>
                  </a:lnTo>
                  <a:lnTo>
                    <a:pt x="870" y="455"/>
                  </a:lnTo>
                  <a:lnTo>
                    <a:pt x="871" y="454"/>
                  </a:lnTo>
                  <a:lnTo>
                    <a:pt x="873" y="454"/>
                  </a:lnTo>
                  <a:lnTo>
                    <a:pt x="874" y="454"/>
                  </a:lnTo>
                  <a:lnTo>
                    <a:pt x="875" y="455"/>
                  </a:lnTo>
                  <a:lnTo>
                    <a:pt x="878" y="455"/>
                  </a:lnTo>
                  <a:lnTo>
                    <a:pt x="890" y="458"/>
                  </a:lnTo>
                  <a:lnTo>
                    <a:pt x="898" y="461"/>
                  </a:lnTo>
                  <a:lnTo>
                    <a:pt x="905" y="463"/>
                  </a:lnTo>
                  <a:lnTo>
                    <a:pt x="908" y="465"/>
                  </a:lnTo>
                  <a:lnTo>
                    <a:pt x="911" y="466"/>
                  </a:lnTo>
                  <a:lnTo>
                    <a:pt x="913" y="467"/>
                  </a:lnTo>
                  <a:lnTo>
                    <a:pt x="914" y="468"/>
                  </a:lnTo>
                  <a:lnTo>
                    <a:pt x="918" y="472"/>
                  </a:lnTo>
                  <a:lnTo>
                    <a:pt x="919" y="473"/>
                  </a:lnTo>
                  <a:lnTo>
                    <a:pt x="920" y="474"/>
                  </a:lnTo>
                  <a:lnTo>
                    <a:pt x="921" y="475"/>
                  </a:lnTo>
                  <a:lnTo>
                    <a:pt x="923" y="475"/>
                  </a:lnTo>
                  <a:lnTo>
                    <a:pt x="924" y="475"/>
                  </a:lnTo>
                  <a:lnTo>
                    <a:pt x="934" y="474"/>
                  </a:lnTo>
                  <a:lnTo>
                    <a:pt x="937" y="473"/>
                  </a:lnTo>
                  <a:lnTo>
                    <a:pt x="943" y="471"/>
                  </a:lnTo>
                  <a:lnTo>
                    <a:pt x="947" y="471"/>
                  </a:lnTo>
                  <a:lnTo>
                    <a:pt x="950" y="470"/>
                  </a:lnTo>
                  <a:lnTo>
                    <a:pt x="957" y="469"/>
                  </a:lnTo>
                  <a:lnTo>
                    <a:pt x="964" y="468"/>
                  </a:lnTo>
                  <a:lnTo>
                    <a:pt x="966" y="468"/>
                  </a:lnTo>
                  <a:lnTo>
                    <a:pt x="970" y="468"/>
                  </a:lnTo>
                  <a:lnTo>
                    <a:pt x="972" y="468"/>
                  </a:lnTo>
                  <a:lnTo>
                    <a:pt x="974" y="469"/>
                  </a:lnTo>
                  <a:lnTo>
                    <a:pt x="977" y="469"/>
                  </a:lnTo>
                  <a:lnTo>
                    <a:pt x="978" y="470"/>
                  </a:lnTo>
                  <a:lnTo>
                    <a:pt x="980" y="471"/>
                  </a:lnTo>
                  <a:lnTo>
                    <a:pt x="981" y="472"/>
                  </a:lnTo>
                  <a:lnTo>
                    <a:pt x="983" y="473"/>
                  </a:lnTo>
                  <a:lnTo>
                    <a:pt x="984" y="475"/>
                  </a:lnTo>
                  <a:lnTo>
                    <a:pt x="985" y="477"/>
                  </a:lnTo>
                  <a:lnTo>
                    <a:pt x="986" y="478"/>
                  </a:lnTo>
                  <a:lnTo>
                    <a:pt x="987" y="481"/>
                  </a:lnTo>
                  <a:lnTo>
                    <a:pt x="987" y="486"/>
                  </a:lnTo>
                  <a:lnTo>
                    <a:pt x="988" y="489"/>
                  </a:lnTo>
                  <a:lnTo>
                    <a:pt x="988" y="491"/>
                  </a:lnTo>
                  <a:lnTo>
                    <a:pt x="989" y="494"/>
                  </a:lnTo>
                  <a:lnTo>
                    <a:pt x="989" y="497"/>
                  </a:lnTo>
                  <a:lnTo>
                    <a:pt x="989" y="500"/>
                  </a:lnTo>
                  <a:lnTo>
                    <a:pt x="988" y="505"/>
                  </a:lnTo>
                  <a:lnTo>
                    <a:pt x="987" y="512"/>
                  </a:lnTo>
                  <a:lnTo>
                    <a:pt x="987" y="516"/>
                  </a:lnTo>
                  <a:lnTo>
                    <a:pt x="987" y="521"/>
                  </a:lnTo>
                  <a:lnTo>
                    <a:pt x="987" y="523"/>
                  </a:lnTo>
                  <a:lnTo>
                    <a:pt x="987" y="526"/>
                  </a:lnTo>
                  <a:lnTo>
                    <a:pt x="988" y="529"/>
                  </a:lnTo>
                  <a:lnTo>
                    <a:pt x="990" y="533"/>
                  </a:lnTo>
                  <a:lnTo>
                    <a:pt x="992" y="536"/>
                  </a:lnTo>
                  <a:lnTo>
                    <a:pt x="993" y="538"/>
                  </a:lnTo>
                  <a:lnTo>
                    <a:pt x="995" y="540"/>
                  </a:lnTo>
                  <a:lnTo>
                    <a:pt x="997" y="542"/>
                  </a:lnTo>
                  <a:lnTo>
                    <a:pt x="1001" y="545"/>
                  </a:lnTo>
                  <a:lnTo>
                    <a:pt x="1004" y="548"/>
                  </a:lnTo>
                  <a:lnTo>
                    <a:pt x="1010" y="553"/>
                  </a:lnTo>
                  <a:lnTo>
                    <a:pt x="1017" y="559"/>
                  </a:lnTo>
                  <a:lnTo>
                    <a:pt x="1020" y="562"/>
                  </a:lnTo>
                  <a:lnTo>
                    <a:pt x="1023" y="564"/>
                  </a:lnTo>
                  <a:lnTo>
                    <a:pt x="1028" y="567"/>
                  </a:lnTo>
                  <a:lnTo>
                    <a:pt x="1040" y="574"/>
                  </a:lnTo>
                  <a:lnTo>
                    <a:pt x="1046" y="577"/>
                  </a:lnTo>
                  <a:lnTo>
                    <a:pt x="1047" y="578"/>
                  </a:lnTo>
                  <a:lnTo>
                    <a:pt x="1048" y="578"/>
                  </a:lnTo>
                  <a:lnTo>
                    <a:pt x="1049" y="578"/>
                  </a:lnTo>
                  <a:lnTo>
                    <a:pt x="1051" y="578"/>
                  </a:lnTo>
                  <a:lnTo>
                    <a:pt x="1052" y="578"/>
                  </a:lnTo>
                  <a:lnTo>
                    <a:pt x="1053" y="578"/>
                  </a:lnTo>
                  <a:lnTo>
                    <a:pt x="1056" y="576"/>
                  </a:lnTo>
                  <a:lnTo>
                    <a:pt x="1058" y="576"/>
                  </a:lnTo>
                  <a:lnTo>
                    <a:pt x="1061" y="575"/>
                  </a:lnTo>
                  <a:lnTo>
                    <a:pt x="1064" y="575"/>
                  </a:lnTo>
                  <a:lnTo>
                    <a:pt x="1066" y="575"/>
                  </a:lnTo>
                  <a:lnTo>
                    <a:pt x="1067" y="576"/>
                  </a:lnTo>
                  <a:lnTo>
                    <a:pt x="1069" y="576"/>
                  </a:lnTo>
                  <a:lnTo>
                    <a:pt x="1078" y="579"/>
                  </a:lnTo>
                  <a:lnTo>
                    <a:pt x="1080" y="579"/>
                  </a:lnTo>
                  <a:lnTo>
                    <a:pt x="1083" y="579"/>
                  </a:lnTo>
                  <a:lnTo>
                    <a:pt x="1087" y="579"/>
                  </a:lnTo>
                  <a:lnTo>
                    <a:pt x="1093" y="579"/>
                  </a:lnTo>
                  <a:lnTo>
                    <a:pt x="1099" y="579"/>
                  </a:lnTo>
                  <a:lnTo>
                    <a:pt x="1102" y="579"/>
                  </a:lnTo>
                  <a:lnTo>
                    <a:pt x="1106" y="579"/>
                  </a:lnTo>
                  <a:lnTo>
                    <a:pt x="1109" y="579"/>
                  </a:lnTo>
                  <a:lnTo>
                    <a:pt x="1112" y="578"/>
                  </a:lnTo>
                  <a:lnTo>
                    <a:pt x="1118" y="575"/>
                  </a:lnTo>
                  <a:lnTo>
                    <a:pt x="1121" y="574"/>
                  </a:lnTo>
                  <a:lnTo>
                    <a:pt x="1124" y="573"/>
                  </a:lnTo>
                  <a:lnTo>
                    <a:pt x="1131" y="572"/>
                  </a:lnTo>
                  <a:lnTo>
                    <a:pt x="1133" y="571"/>
                  </a:lnTo>
                  <a:lnTo>
                    <a:pt x="1135" y="570"/>
                  </a:lnTo>
                  <a:lnTo>
                    <a:pt x="1138" y="569"/>
                  </a:lnTo>
                  <a:lnTo>
                    <a:pt x="1139" y="568"/>
                  </a:lnTo>
                  <a:lnTo>
                    <a:pt x="1141" y="568"/>
                  </a:lnTo>
                  <a:lnTo>
                    <a:pt x="1143" y="568"/>
                  </a:lnTo>
                  <a:lnTo>
                    <a:pt x="1144" y="568"/>
                  </a:lnTo>
                  <a:lnTo>
                    <a:pt x="1145" y="568"/>
                  </a:lnTo>
                  <a:lnTo>
                    <a:pt x="1146" y="568"/>
                  </a:lnTo>
                  <a:lnTo>
                    <a:pt x="1147" y="569"/>
                  </a:lnTo>
                  <a:lnTo>
                    <a:pt x="1149" y="570"/>
                  </a:lnTo>
                  <a:lnTo>
                    <a:pt x="1151" y="571"/>
                  </a:lnTo>
                  <a:lnTo>
                    <a:pt x="1154" y="573"/>
                  </a:lnTo>
                  <a:lnTo>
                    <a:pt x="1155" y="574"/>
                  </a:lnTo>
                  <a:lnTo>
                    <a:pt x="1156" y="575"/>
                  </a:lnTo>
                  <a:lnTo>
                    <a:pt x="1157" y="576"/>
                  </a:lnTo>
                  <a:lnTo>
                    <a:pt x="1158" y="578"/>
                  </a:lnTo>
                  <a:lnTo>
                    <a:pt x="1158" y="579"/>
                  </a:lnTo>
                  <a:lnTo>
                    <a:pt x="1158" y="580"/>
                  </a:lnTo>
                  <a:lnTo>
                    <a:pt x="1158" y="581"/>
                  </a:lnTo>
                  <a:lnTo>
                    <a:pt x="1158" y="583"/>
                  </a:lnTo>
                  <a:lnTo>
                    <a:pt x="1157" y="586"/>
                  </a:lnTo>
                  <a:lnTo>
                    <a:pt x="1157" y="587"/>
                  </a:lnTo>
                  <a:lnTo>
                    <a:pt x="1157" y="589"/>
                  </a:lnTo>
                  <a:lnTo>
                    <a:pt x="1158" y="591"/>
                  </a:lnTo>
                  <a:lnTo>
                    <a:pt x="1158" y="591"/>
                  </a:lnTo>
                  <a:lnTo>
                    <a:pt x="1159" y="592"/>
                  </a:lnTo>
                  <a:lnTo>
                    <a:pt x="1161" y="594"/>
                  </a:lnTo>
                  <a:lnTo>
                    <a:pt x="1163" y="596"/>
                  </a:lnTo>
                  <a:lnTo>
                    <a:pt x="1166" y="598"/>
                  </a:lnTo>
                  <a:lnTo>
                    <a:pt x="1170" y="601"/>
                  </a:lnTo>
                  <a:lnTo>
                    <a:pt x="1172" y="602"/>
                  </a:lnTo>
                  <a:lnTo>
                    <a:pt x="1174" y="603"/>
                  </a:lnTo>
                  <a:lnTo>
                    <a:pt x="1175" y="605"/>
                  </a:lnTo>
                  <a:lnTo>
                    <a:pt x="1181" y="613"/>
                  </a:lnTo>
                  <a:lnTo>
                    <a:pt x="1181" y="615"/>
                  </a:lnTo>
                  <a:lnTo>
                    <a:pt x="1182" y="617"/>
                  </a:lnTo>
                  <a:lnTo>
                    <a:pt x="1183" y="618"/>
                  </a:lnTo>
                  <a:lnTo>
                    <a:pt x="1183" y="620"/>
                  </a:lnTo>
                  <a:lnTo>
                    <a:pt x="1183" y="622"/>
                  </a:lnTo>
                  <a:lnTo>
                    <a:pt x="1182" y="624"/>
                  </a:lnTo>
                  <a:lnTo>
                    <a:pt x="1181" y="627"/>
                  </a:lnTo>
                  <a:lnTo>
                    <a:pt x="1181" y="630"/>
                  </a:lnTo>
                  <a:lnTo>
                    <a:pt x="1180" y="631"/>
                  </a:lnTo>
                  <a:lnTo>
                    <a:pt x="1179" y="632"/>
                  </a:lnTo>
                  <a:lnTo>
                    <a:pt x="1178" y="633"/>
                  </a:lnTo>
                  <a:lnTo>
                    <a:pt x="1176" y="634"/>
                  </a:lnTo>
                  <a:lnTo>
                    <a:pt x="1174" y="635"/>
                  </a:lnTo>
                  <a:lnTo>
                    <a:pt x="1171" y="636"/>
                  </a:lnTo>
                  <a:lnTo>
                    <a:pt x="1166" y="636"/>
                  </a:lnTo>
                  <a:lnTo>
                    <a:pt x="1160" y="638"/>
                  </a:lnTo>
                  <a:lnTo>
                    <a:pt x="1158" y="638"/>
                  </a:lnTo>
                  <a:lnTo>
                    <a:pt x="1157" y="639"/>
                  </a:lnTo>
                  <a:lnTo>
                    <a:pt x="1156" y="640"/>
                  </a:lnTo>
                  <a:lnTo>
                    <a:pt x="1155" y="641"/>
                  </a:lnTo>
                  <a:lnTo>
                    <a:pt x="1154" y="642"/>
                  </a:lnTo>
                  <a:lnTo>
                    <a:pt x="1152" y="644"/>
                  </a:lnTo>
                  <a:lnTo>
                    <a:pt x="1149" y="648"/>
                  </a:lnTo>
                  <a:lnTo>
                    <a:pt x="1147" y="652"/>
                  </a:lnTo>
                  <a:lnTo>
                    <a:pt x="1146" y="655"/>
                  </a:lnTo>
                  <a:lnTo>
                    <a:pt x="1145" y="658"/>
                  </a:lnTo>
                  <a:lnTo>
                    <a:pt x="1144" y="660"/>
                  </a:lnTo>
                  <a:lnTo>
                    <a:pt x="1143" y="665"/>
                  </a:lnTo>
                  <a:lnTo>
                    <a:pt x="1143" y="667"/>
                  </a:lnTo>
                  <a:lnTo>
                    <a:pt x="1142" y="669"/>
                  </a:lnTo>
                  <a:lnTo>
                    <a:pt x="1141" y="670"/>
                  </a:lnTo>
                  <a:lnTo>
                    <a:pt x="1140" y="672"/>
                  </a:lnTo>
                  <a:lnTo>
                    <a:pt x="1135" y="679"/>
                  </a:lnTo>
                  <a:lnTo>
                    <a:pt x="1135" y="681"/>
                  </a:lnTo>
                  <a:lnTo>
                    <a:pt x="1134" y="682"/>
                  </a:lnTo>
                  <a:lnTo>
                    <a:pt x="1132" y="689"/>
                  </a:lnTo>
                  <a:lnTo>
                    <a:pt x="1131" y="692"/>
                  </a:lnTo>
                  <a:lnTo>
                    <a:pt x="1130" y="693"/>
                  </a:lnTo>
                  <a:lnTo>
                    <a:pt x="1128" y="695"/>
                  </a:lnTo>
                  <a:lnTo>
                    <a:pt x="1126" y="697"/>
                  </a:lnTo>
                  <a:lnTo>
                    <a:pt x="1121" y="704"/>
                  </a:lnTo>
                  <a:lnTo>
                    <a:pt x="1117" y="707"/>
                  </a:lnTo>
                  <a:lnTo>
                    <a:pt x="1116" y="709"/>
                  </a:lnTo>
                  <a:lnTo>
                    <a:pt x="1112" y="713"/>
                  </a:lnTo>
                  <a:lnTo>
                    <a:pt x="1110" y="716"/>
                  </a:lnTo>
                  <a:lnTo>
                    <a:pt x="1108" y="719"/>
                  </a:lnTo>
                  <a:lnTo>
                    <a:pt x="1107" y="721"/>
                  </a:lnTo>
                  <a:lnTo>
                    <a:pt x="1106" y="723"/>
                  </a:lnTo>
                  <a:lnTo>
                    <a:pt x="1106" y="725"/>
                  </a:lnTo>
                  <a:lnTo>
                    <a:pt x="1106" y="726"/>
                  </a:lnTo>
                  <a:lnTo>
                    <a:pt x="1106" y="727"/>
                  </a:lnTo>
                  <a:lnTo>
                    <a:pt x="1106" y="727"/>
                  </a:lnTo>
                  <a:lnTo>
                    <a:pt x="1106" y="728"/>
                  </a:lnTo>
                  <a:lnTo>
                    <a:pt x="1107" y="729"/>
                  </a:lnTo>
                  <a:lnTo>
                    <a:pt x="1108" y="730"/>
                  </a:lnTo>
                  <a:lnTo>
                    <a:pt x="1109" y="730"/>
                  </a:lnTo>
                  <a:lnTo>
                    <a:pt x="1111" y="730"/>
                  </a:lnTo>
                  <a:lnTo>
                    <a:pt x="1115" y="731"/>
                  </a:lnTo>
                  <a:lnTo>
                    <a:pt x="1118" y="731"/>
                  </a:lnTo>
                  <a:lnTo>
                    <a:pt x="1119" y="732"/>
                  </a:lnTo>
                  <a:lnTo>
                    <a:pt x="1121" y="732"/>
                  </a:lnTo>
                  <a:lnTo>
                    <a:pt x="1122" y="733"/>
                  </a:lnTo>
                  <a:lnTo>
                    <a:pt x="1124" y="734"/>
                  </a:lnTo>
                  <a:lnTo>
                    <a:pt x="1124" y="735"/>
                  </a:lnTo>
                  <a:lnTo>
                    <a:pt x="1126" y="737"/>
                  </a:lnTo>
                  <a:lnTo>
                    <a:pt x="1127" y="738"/>
                  </a:lnTo>
                  <a:lnTo>
                    <a:pt x="1131" y="744"/>
                  </a:lnTo>
                  <a:lnTo>
                    <a:pt x="1132" y="746"/>
                  </a:lnTo>
                  <a:lnTo>
                    <a:pt x="1134" y="748"/>
                  </a:lnTo>
                  <a:lnTo>
                    <a:pt x="1135" y="749"/>
                  </a:lnTo>
                  <a:lnTo>
                    <a:pt x="1137" y="751"/>
                  </a:lnTo>
                  <a:lnTo>
                    <a:pt x="1140" y="753"/>
                  </a:lnTo>
                  <a:lnTo>
                    <a:pt x="1144" y="754"/>
                  </a:lnTo>
                  <a:lnTo>
                    <a:pt x="1150" y="757"/>
                  </a:lnTo>
                  <a:lnTo>
                    <a:pt x="1154" y="760"/>
                  </a:lnTo>
                  <a:lnTo>
                    <a:pt x="1157" y="761"/>
                  </a:lnTo>
                  <a:lnTo>
                    <a:pt x="1159" y="762"/>
                  </a:lnTo>
                  <a:lnTo>
                    <a:pt x="1163" y="765"/>
                  </a:lnTo>
                  <a:lnTo>
                    <a:pt x="1165" y="767"/>
                  </a:lnTo>
                  <a:lnTo>
                    <a:pt x="1167" y="769"/>
                  </a:lnTo>
                  <a:lnTo>
                    <a:pt x="1169" y="771"/>
                  </a:lnTo>
                  <a:lnTo>
                    <a:pt x="1169" y="772"/>
                  </a:lnTo>
                  <a:lnTo>
                    <a:pt x="1171" y="774"/>
                  </a:lnTo>
                  <a:lnTo>
                    <a:pt x="1172" y="776"/>
                  </a:lnTo>
                  <a:lnTo>
                    <a:pt x="1175" y="782"/>
                  </a:lnTo>
                  <a:lnTo>
                    <a:pt x="1176" y="783"/>
                  </a:lnTo>
                  <a:lnTo>
                    <a:pt x="1177" y="785"/>
                  </a:lnTo>
                  <a:lnTo>
                    <a:pt x="1178" y="786"/>
                  </a:lnTo>
                  <a:lnTo>
                    <a:pt x="1177" y="788"/>
                  </a:lnTo>
                  <a:lnTo>
                    <a:pt x="1173" y="792"/>
                  </a:lnTo>
                  <a:lnTo>
                    <a:pt x="1172" y="793"/>
                  </a:lnTo>
                  <a:lnTo>
                    <a:pt x="1171" y="793"/>
                  </a:lnTo>
                  <a:lnTo>
                    <a:pt x="1170" y="794"/>
                  </a:lnTo>
                  <a:lnTo>
                    <a:pt x="1169" y="794"/>
                  </a:lnTo>
                  <a:lnTo>
                    <a:pt x="1166" y="795"/>
                  </a:lnTo>
                  <a:lnTo>
                    <a:pt x="1165" y="795"/>
                  </a:lnTo>
                  <a:lnTo>
                    <a:pt x="1164" y="795"/>
                  </a:lnTo>
                  <a:lnTo>
                    <a:pt x="1164" y="798"/>
                  </a:lnTo>
                  <a:lnTo>
                    <a:pt x="1164" y="799"/>
                  </a:lnTo>
                  <a:lnTo>
                    <a:pt x="1163" y="802"/>
                  </a:lnTo>
                  <a:lnTo>
                    <a:pt x="1162" y="803"/>
                  </a:lnTo>
                  <a:lnTo>
                    <a:pt x="1159" y="806"/>
                  </a:lnTo>
                  <a:lnTo>
                    <a:pt x="1159" y="806"/>
                  </a:lnTo>
                  <a:lnTo>
                    <a:pt x="1159" y="807"/>
                  </a:lnTo>
                  <a:lnTo>
                    <a:pt x="1159" y="808"/>
                  </a:lnTo>
                  <a:lnTo>
                    <a:pt x="1160" y="809"/>
                  </a:lnTo>
                  <a:lnTo>
                    <a:pt x="1161" y="809"/>
                  </a:lnTo>
                  <a:lnTo>
                    <a:pt x="1160" y="809"/>
                  </a:lnTo>
                  <a:lnTo>
                    <a:pt x="1160" y="810"/>
                  </a:lnTo>
                  <a:lnTo>
                    <a:pt x="1158" y="811"/>
                  </a:lnTo>
                  <a:lnTo>
                    <a:pt x="1156" y="813"/>
                  </a:lnTo>
                  <a:lnTo>
                    <a:pt x="1155" y="814"/>
                  </a:lnTo>
                  <a:lnTo>
                    <a:pt x="1153" y="815"/>
                  </a:lnTo>
                  <a:lnTo>
                    <a:pt x="1151" y="815"/>
                  </a:lnTo>
                  <a:lnTo>
                    <a:pt x="1151" y="816"/>
                  </a:lnTo>
                  <a:lnTo>
                    <a:pt x="1150" y="817"/>
                  </a:lnTo>
                  <a:lnTo>
                    <a:pt x="1149" y="818"/>
                  </a:lnTo>
                  <a:lnTo>
                    <a:pt x="1146" y="828"/>
                  </a:lnTo>
                  <a:lnTo>
                    <a:pt x="1144" y="830"/>
                  </a:lnTo>
                  <a:lnTo>
                    <a:pt x="1144" y="833"/>
                  </a:lnTo>
                  <a:lnTo>
                    <a:pt x="1143" y="833"/>
                  </a:lnTo>
                  <a:lnTo>
                    <a:pt x="1141" y="832"/>
                  </a:lnTo>
                  <a:lnTo>
                    <a:pt x="1138" y="831"/>
                  </a:lnTo>
                  <a:lnTo>
                    <a:pt x="1135" y="829"/>
                  </a:lnTo>
                  <a:lnTo>
                    <a:pt x="1132" y="827"/>
                  </a:lnTo>
                  <a:lnTo>
                    <a:pt x="1127" y="824"/>
                  </a:lnTo>
                  <a:lnTo>
                    <a:pt x="1124" y="820"/>
                  </a:lnTo>
                  <a:lnTo>
                    <a:pt x="1121" y="817"/>
                  </a:lnTo>
                  <a:lnTo>
                    <a:pt x="1117" y="813"/>
                  </a:lnTo>
                  <a:lnTo>
                    <a:pt x="1111" y="804"/>
                  </a:lnTo>
                  <a:lnTo>
                    <a:pt x="1107" y="800"/>
                  </a:lnTo>
                  <a:lnTo>
                    <a:pt x="1105" y="798"/>
                  </a:lnTo>
                  <a:lnTo>
                    <a:pt x="1102" y="795"/>
                  </a:lnTo>
                  <a:lnTo>
                    <a:pt x="1100" y="794"/>
                  </a:lnTo>
                  <a:lnTo>
                    <a:pt x="1096" y="792"/>
                  </a:lnTo>
                  <a:lnTo>
                    <a:pt x="1093" y="790"/>
                  </a:lnTo>
                  <a:lnTo>
                    <a:pt x="1090" y="789"/>
                  </a:lnTo>
                  <a:lnTo>
                    <a:pt x="1088" y="788"/>
                  </a:lnTo>
                  <a:lnTo>
                    <a:pt x="1086" y="787"/>
                  </a:lnTo>
                  <a:lnTo>
                    <a:pt x="1082" y="786"/>
                  </a:lnTo>
                  <a:lnTo>
                    <a:pt x="1077" y="785"/>
                  </a:lnTo>
                  <a:lnTo>
                    <a:pt x="1074" y="784"/>
                  </a:lnTo>
                  <a:lnTo>
                    <a:pt x="1063" y="782"/>
                  </a:lnTo>
                  <a:lnTo>
                    <a:pt x="1060" y="781"/>
                  </a:lnTo>
                  <a:lnTo>
                    <a:pt x="1057" y="780"/>
                  </a:lnTo>
                  <a:lnTo>
                    <a:pt x="1054" y="779"/>
                  </a:lnTo>
                  <a:lnTo>
                    <a:pt x="1051" y="778"/>
                  </a:lnTo>
                  <a:lnTo>
                    <a:pt x="1048" y="776"/>
                  </a:lnTo>
                  <a:lnTo>
                    <a:pt x="1045" y="775"/>
                  </a:lnTo>
                  <a:lnTo>
                    <a:pt x="1040" y="772"/>
                  </a:lnTo>
                  <a:lnTo>
                    <a:pt x="1030" y="765"/>
                  </a:lnTo>
                  <a:lnTo>
                    <a:pt x="1020" y="758"/>
                  </a:lnTo>
                  <a:lnTo>
                    <a:pt x="1016" y="755"/>
                  </a:lnTo>
                  <a:lnTo>
                    <a:pt x="1012" y="753"/>
                  </a:lnTo>
                  <a:lnTo>
                    <a:pt x="1008" y="750"/>
                  </a:lnTo>
                  <a:lnTo>
                    <a:pt x="1003" y="749"/>
                  </a:lnTo>
                  <a:lnTo>
                    <a:pt x="999" y="748"/>
                  </a:lnTo>
                  <a:lnTo>
                    <a:pt x="996" y="747"/>
                  </a:lnTo>
                  <a:lnTo>
                    <a:pt x="993" y="746"/>
                  </a:lnTo>
                  <a:lnTo>
                    <a:pt x="989" y="746"/>
                  </a:lnTo>
                  <a:lnTo>
                    <a:pt x="985" y="746"/>
                  </a:lnTo>
                  <a:lnTo>
                    <a:pt x="980" y="746"/>
                  </a:lnTo>
                  <a:lnTo>
                    <a:pt x="974" y="747"/>
                  </a:lnTo>
                  <a:lnTo>
                    <a:pt x="971" y="747"/>
                  </a:lnTo>
                  <a:lnTo>
                    <a:pt x="968" y="747"/>
                  </a:lnTo>
                  <a:lnTo>
                    <a:pt x="965" y="747"/>
                  </a:lnTo>
                  <a:lnTo>
                    <a:pt x="960" y="746"/>
                  </a:lnTo>
                  <a:lnTo>
                    <a:pt x="958" y="745"/>
                  </a:lnTo>
                  <a:lnTo>
                    <a:pt x="956" y="745"/>
                  </a:lnTo>
                  <a:lnTo>
                    <a:pt x="953" y="743"/>
                  </a:lnTo>
                  <a:lnTo>
                    <a:pt x="948" y="740"/>
                  </a:lnTo>
                  <a:lnTo>
                    <a:pt x="945" y="740"/>
                  </a:lnTo>
                  <a:lnTo>
                    <a:pt x="944" y="739"/>
                  </a:lnTo>
                  <a:lnTo>
                    <a:pt x="943" y="739"/>
                  </a:lnTo>
                  <a:lnTo>
                    <a:pt x="942" y="739"/>
                  </a:lnTo>
                  <a:lnTo>
                    <a:pt x="942" y="740"/>
                  </a:lnTo>
                  <a:lnTo>
                    <a:pt x="941" y="741"/>
                  </a:lnTo>
                  <a:lnTo>
                    <a:pt x="940" y="742"/>
                  </a:lnTo>
                  <a:lnTo>
                    <a:pt x="939" y="743"/>
                  </a:lnTo>
                  <a:lnTo>
                    <a:pt x="938" y="745"/>
                  </a:lnTo>
                  <a:lnTo>
                    <a:pt x="936" y="752"/>
                  </a:lnTo>
                  <a:lnTo>
                    <a:pt x="934" y="756"/>
                  </a:lnTo>
                  <a:lnTo>
                    <a:pt x="932" y="761"/>
                  </a:lnTo>
                  <a:lnTo>
                    <a:pt x="929" y="767"/>
                  </a:lnTo>
                  <a:lnTo>
                    <a:pt x="927" y="769"/>
                  </a:lnTo>
                  <a:lnTo>
                    <a:pt x="926" y="771"/>
                  </a:lnTo>
                  <a:lnTo>
                    <a:pt x="924" y="772"/>
                  </a:lnTo>
                  <a:lnTo>
                    <a:pt x="922" y="773"/>
                  </a:lnTo>
                  <a:lnTo>
                    <a:pt x="921" y="773"/>
                  </a:lnTo>
                  <a:lnTo>
                    <a:pt x="920" y="774"/>
                  </a:lnTo>
                  <a:lnTo>
                    <a:pt x="918" y="774"/>
                  </a:lnTo>
                  <a:lnTo>
                    <a:pt x="915" y="775"/>
                  </a:lnTo>
                  <a:lnTo>
                    <a:pt x="908" y="775"/>
                  </a:lnTo>
                  <a:lnTo>
                    <a:pt x="901" y="776"/>
                  </a:lnTo>
                  <a:lnTo>
                    <a:pt x="897" y="776"/>
                  </a:lnTo>
                  <a:lnTo>
                    <a:pt x="894" y="777"/>
                  </a:lnTo>
                  <a:lnTo>
                    <a:pt x="889" y="778"/>
                  </a:lnTo>
                  <a:lnTo>
                    <a:pt x="885" y="780"/>
                  </a:lnTo>
                  <a:lnTo>
                    <a:pt x="880" y="782"/>
                  </a:lnTo>
                  <a:lnTo>
                    <a:pt x="872" y="786"/>
                  </a:lnTo>
                  <a:lnTo>
                    <a:pt x="869" y="787"/>
                  </a:lnTo>
                  <a:lnTo>
                    <a:pt x="867" y="788"/>
                  </a:lnTo>
                  <a:lnTo>
                    <a:pt x="865" y="788"/>
                  </a:lnTo>
                  <a:lnTo>
                    <a:pt x="863" y="789"/>
                  </a:lnTo>
                  <a:lnTo>
                    <a:pt x="858" y="790"/>
                  </a:lnTo>
                  <a:lnTo>
                    <a:pt x="854" y="790"/>
                  </a:lnTo>
                  <a:lnTo>
                    <a:pt x="853" y="789"/>
                  </a:lnTo>
                  <a:lnTo>
                    <a:pt x="852" y="789"/>
                  </a:lnTo>
                  <a:lnTo>
                    <a:pt x="851" y="788"/>
                  </a:lnTo>
                  <a:lnTo>
                    <a:pt x="850" y="788"/>
                  </a:lnTo>
                  <a:lnTo>
                    <a:pt x="850" y="787"/>
                  </a:lnTo>
                  <a:lnTo>
                    <a:pt x="849" y="786"/>
                  </a:lnTo>
                  <a:lnTo>
                    <a:pt x="848" y="785"/>
                  </a:lnTo>
                  <a:lnTo>
                    <a:pt x="848" y="784"/>
                  </a:lnTo>
                  <a:lnTo>
                    <a:pt x="848" y="783"/>
                  </a:lnTo>
                  <a:lnTo>
                    <a:pt x="848" y="781"/>
                  </a:lnTo>
                  <a:lnTo>
                    <a:pt x="848" y="772"/>
                  </a:lnTo>
                  <a:lnTo>
                    <a:pt x="848" y="770"/>
                  </a:lnTo>
                  <a:lnTo>
                    <a:pt x="848" y="767"/>
                  </a:lnTo>
                  <a:lnTo>
                    <a:pt x="848" y="765"/>
                  </a:lnTo>
                  <a:lnTo>
                    <a:pt x="847" y="762"/>
                  </a:lnTo>
                  <a:lnTo>
                    <a:pt x="846" y="757"/>
                  </a:lnTo>
                  <a:lnTo>
                    <a:pt x="845" y="754"/>
                  </a:lnTo>
                  <a:lnTo>
                    <a:pt x="842" y="748"/>
                  </a:lnTo>
                  <a:lnTo>
                    <a:pt x="840" y="742"/>
                  </a:lnTo>
                  <a:lnTo>
                    <a:pt x="840" y="740"/>
                  </a:lnTo>
                  <a:lnTo>
                    <a:pt x="839" y="739"/>
                  </a:lnTo>
                  <a:lnTo>
                    <a:pt x="839" y="738"/>
                  </a:lnTo>
                  <a:lnTo>
                    <a:pt x="837" y="736"/>
                  </a:lnTo>
                  <a:lnTo>
                    <a:pt x="835" y="735"/>
                  </a:lnTo>
                  <a:lnTo>
                    <a:pt x="833" y="733"/>
                  </a:lnTo>
                  <a:lnTo>
                    <a:pt x="830" y="731"/>
                  </a:lnTo>
                  <a:lnTo>
                    <a:pt x="828" y="730"/>
                  </a:lnTo>
                  <a:lnTo>
                    <a:pt x="825" y="729"/>
                  </a:lnTo>
                  <a:lnTo>
                    <a:pt x="822" y="728"/>
                  </a:lnTo>
                  <a:lnTo>
                    <a:pt x="817" y="728"/>
                  </a:lnTo>
                  <a:lnTo>
                    <a:pt x="812" y="727"/>
                  </a:lnTo>
                  <a:lnTo>
                    <a:pt x="807" y="727"/>
                  </a:lnTo>
                  <a:lnTo>
                    <a:pt x="801" y="727"/>
                  </a:lnTo>
                  <a:lnTo>
                    <a:pt x="797" y="727"/>
                  </a:lnTo>
                  <a:lnTo>
                    <a:pt x="794" y="727"/>
                  </a:lnTo>
                  <a:lnTo>
                    <a:pt x="791" y="727"/>
                  </a:lnTo>
                  <a:lnTo>
                    <a:pt x="787" y="726"/>
                  </a:lnTo>
                  <a:lnTo>
                    <a:pt x="784" y="725"/>
                  </a:lnTo>
                  <a:lnTo>
                    <a:pt x="782" y="724"/>
                  </a:lnTo>
                  <a:lnTo>
                    <a:pt x="780" y="724"/>
                  </a:lnTo>
                  <a:lnTo>
                    <a:pt x="778" y="722"/>
                  </a:lnTo>
                  <a:lnTo>
                    <a:pt x="776" y="721"/>
                  </a:lnTo>
                  <a:lnTo>
                    <a:pt x="774" y="719"/>
                  </a:lnTo>
                  <a:lnTo>
                    <a:pt x="769" y="715"/>
                  </a:lnTo>
                  <a:lnTo>
                    <a:pt x="768" y="714"/>
                  </a:lnTo>
                  <a:lnTo>
                    <a:pt x="766" y="713"/>
                  </a:lnTo>
                  <a:lnTo>
                    <a:pt x="764" y="712"/>
                  </a:lnTo>
                  <a:lnTo>
                    <a:pt x="763" y="711"/>
                  </a:lnTo>
                  <a:lnTo>
                    <a:pt x="761" y="710"/>
                  </a:lnTo>
                  <a:lnTo>
                    <a:pt x="760" y="710"/>
                  </a:lnTo>
                  <a:lnTo>
                    <a:pt x="751" y="708"/>
                  </a:lnTo>
                  <a:lnTo>
                    <a:pt x="742" y="706"/>
                  </a:lnTo>
                  <a:lnTo>
                    <a:pt x="740" y="706"/>
                  </a:lnTo>
                  <a:lnTo>
                    <a:pt x="738" y="706"/>
                  </a:lnTo>
                  <a:lnTo>
                    <a:pt x="736" y="706"/>
                  </a:lnTo>
                  <a:lnTo>
                    <a:pt x="733" y="706"/>
                  </a:lnTo>
                  <a:lnTo>
                    <a:pt x="730" y="707"/>
                  </a:lnTo>
                  <a:lnTo>
                    <a:pt x="727" y="708"/>
                  </a:lnTo>
                  <a:lnTo>
                    <a:pt x="724" y="710"/>
                  </a:lnTo>
                  <a:lnTo>
                    <a:pt x="722" y="712"/>
                  </a:lnTo>
                  <a:lnTo>
                    <a:pt x="721" y="713"/>
                  </a:lnTo>
                  <a:lnTo>
                    <a:pt x="720" y="713"/>
                  </a:lnTo>
                  <a:lnTo>
                    <a:pt x="719" y="715"/>
                  </a:lnTo>
                  <a:lnTo>
                    <a:pt x="719" y="715"/>
                  </a:lnTo>
                  <a:lnTo>
                    <a:pt x="718" y="717"/>
                  </a:lnTo>
                  <a:lnTo>
                    <a:pt x="717" y="723"/>
                  </a:lnTo>
                  <a:lnTo>
                    <a:pt x="716" y="725"/>
                  </a:lnTo>
                  <a:lnTo>
                    <a:pt x="715" y="728"/>
                  </a:lnTo>
                  <a:lnTo>
                    <a:pt x="714" y="731"/>
                  </a:lnTo>
                  <a:lnTo>
                    <a:pt x="713" y="736"/>
                  </a:lnTo>
                  <a:lnTo>
                    <a:pt x="710" y="741"/>
                  </a:lnTo>
                  <a:lnTo>
                    <a:pt x="709" y="744"/>
                  </a:lnTo>
                  <a:lnTo>
                    <a:pt x="707" y="746"/>
                  </a:lnTo>
                  <a:lnTo>
                    <a:pt x="706" y="749"/>
                  </a:lnTo>
                  <a:lnTo>
                    <a:pt x="705" y="752"/>
                  </a:lnTo>
                  <a:lnTo>
                    <a:pt x="705" y="755"/>
                  </a:lnTo>
                  <a:lnTo>
                    <a:pt x="704" y="758"/>
                  </a:lnTo>
                  <a:lnTo>
                    <a:pt x="704" y="761"/>
                  </a:lnTo>
                  <a:lnTo>
                    <a:pt x="703" y="764"/>
                  </a:lnTo>
                  <a:lnTo>
                    <a:pt x="703" y="769"/>
                  </a:lnTo>
                  <a:lnTo>
                    <a:pt x="703" y="774"/>
                  </a:lnTo>
                  <a:lnTo>
                    <a:pt x="704" y="779"/>
                  </a:lnTo>
                  <a:lnTo>
                    <a:pt x="705" y="787"/>
                  </a:lnTo>
                  <a:lnTo>
                    <a:pt x="707" y="798"/>
                  </a:lnTo>
                  <a:lnTo>
                    <a:pt x="707" y="807"/>
                  </a:lnTo>
                  <a:lnTo>
                    <a:pt x="708" y="810"/>
                  </a:lnTo>
                  <a:lnTo>
                    <a:pt x="711" y="825"/>
                  </a:lnTo>
                  <a:lnTo>
                    <a:pt x="712" y="829"/>
                  </a:lnTo>
                  <a:lnTo>
                    <a:pt x="712" y="833"/>
                  </a:lnTo>
                  <a:lnTo>
                    <a:pt x="712" y="837"/>
                  </a:lnTo>
                  <a:lnTo>
                    <a:pt x="712" y="840"/>
                  </a:lnTo>
                  <a:lnTo>
                    <a:pt x="712" y="842"/>
                  </a:lnTo>
                  <a:lnTo>
                    <a:pt x="711" y="847"/>
                  </a:lnTo>
                  <a:lnTo>
                    <a:pt x="710" y="853"/>
                  </a:lnTo>
                  <a:lnTo>
                    <a:pt x="706" y="868"/>
                  </a:lnTo>
                  <a:lnTo>
                    <a:pt x="705" y="871"/>
                  </a:lnTo>
                  <a:lnTo>
                    <a:pt x="703" y="875"/>
                  </a:lnTo>
                  <a:lnTo>
                    <a:pt x="703" y="878"/>
                  </a:lnTo>
                  <a:lnTo>
                    <a:pt x="703" y="882"/>
                  </a:lnTo>
                  <a:lnTo>
                    <a:pt x="702" y="886"/>
                  </a:lnTo>
                  <a:lnTo>
                    <a:pt x="702" y="890"/>
                  </a:lnTo>
                  <a:lnTo>
                    <a:pt x="702" y="895"/>
                  </a:lnTo>
                  <a:lnTo>
                    <a:pt x="703" y="904"/>
                  </a:lnTo>
                  <a:lnTo>
                    <a:pt x="703" y="907"/>
                  </a:lnTo>
                  <a:lnTo>
                    <a:pt x="702" y="908"/>
                  </a:lnTo>
                  <a:lnTo>
                    <a:pt x="702" y="910"/>
                  </a:lnTo>
                  <a:lnTo>
                    <a:pt x="701" y="912"/>
                  </a:lnTo>
                  <a:lnTo>
                    <a:pt x="699" y="918"/>
                  </a:lnTo>
                  <a:lnTo>
                    <a:pt x="697" y="922"/>
                  </a:lnTo>
                  <a:lnTo>
                    <a:pt x="694" y="933"/>
                  </a:lnTo>
                  <a:lnTo>
                    <a:pt x="692" y="942"/>
                  </a:lnTo>
                  <a:lnTo>
                    <a:pt x="691" y="945"/>
                  </a:lnTo>
                  <a:lnTo>
                    <a:pt x="690" y="949"/>
                  </a:lnTo>
                  <a:lnTo>
                    <a:pt x="689" y="953"/>
                  </a:lnTo>
                  <a:lnTo>
                    <a:pt x="688" y="959"/>
                  </a:lnTo>
                  <a:lnTo>
                    <a:pt x="688" y="963"/>
                  </a:lnTo>
                  <a:lnTo>
                    <a:pt x="688" y="965"/>
                  </a:lnTo>
                  <a:lnTo>
                    <a:pt x="688" y="968"/>
                  </a:lnTo>
                  <a:lnTo>
                    <a:pt x="689" y="971"/>
                  </a:lnTo>
                  <a:lnTo>
                    <a:pt x="690" y="973"/>
                  </a:lnTo>
                  <a:lnTo>
                    <a:pt x="691" y="975"/>
                  </a:lnTo>
                  <a:lnTo>
                    <a:pt x="692" y="976"/>
                  </a:lnTo>
                  <a:lnTo>
                    <a:pt x="695" y="982"/>
                  </a:lnTo>
                  <a:lnTo>
                    <a:pt x="697" y="984"/>
                  </a:lnTo>
                  <a:lnTo>
                    <a:pt x="698" y="987"/>
                  </a:lnTo>
                  <a:lnTo>
                    <a:pt x="698" y="988"/>
                  </a:lnTo>
                  <a:lnTo>
                    <a:pt x="699" y="990"/>
                  </a:lnTo>
                  <a:lnTo>
                    <a:pt x="699" y="993"/>
                  </a:lnTo>
                  <a:lnTo>
                    <a:pt x="699" y="995"/>
                  </a:lnTo>
                  <a:lnTo>
                    <a:pt x="698" y="997"/>
                  </a:lnTo>
                  <a:lnTo>
                    <a:pt x="696" y="999"/>
                  </a:lnTo>
                  <a:lnTo>
                    <a:pt x="694" y="1001"/>
                  </a:lnTo>
                  <a:lnTo>
                    <a:pt x="692" y="1003"/>
                  </a:lnTo>
                  <a:lnTo>
                    <a:pt x="691" y="1004"/>
                  </a:lnTo>
                  <a:lnTo>
                    <a:pt x="688" y="1005"/>
                  </a:lnTo>
                  <a:lnTo>
                    <a:pt x="686" y="1006"/>
                  </a:lnTo>
                  <a:lnTo>
                    <a:pt x="683" y="1006"/>
                  </a:lnTo>
                  <a:lnTo>
                    <a:pt x="680" y="1006"/>
                  </a:lnTo>
                  <a:lnTo>
                    <a:pt x="676" y="1006"/>
                  </a:lnTo>
                  <a:lnTo>
                    <a:pt x="672" y="1005"/>
                  </a:lnTo>
                  <a:lnTo>
                    <a:pt x="660" y="1001"/>
                  </a:lnTo>
                  <a:lnTo>
                    <a:pt x="652" y="999"/>
                  </a:lnTo>
                  <a:lnTo>
                    <a:pt x="648" y="999"/>
                  </a:lnTo>
                  <a:lnTo>
                    <a:pt x="645" y="997"/>
                  </a:lnTo>
                  <a:lnTo>
                    <a:pt x="635" y="994"/>
                  </a:lnTo>
                  <a:lnTo>
                    <a:pt x="633" y="993"/>
                  </a:lnTo>
                  <a:lnTo>
                    <a:pt x="628" y="990"/>
                  </a:lnTo>
                  <a:lnTo>
                    <a:pt x="625" y="989"/>
                  </a:lnTo>
                  <a:lnTo>
                    <a:pt x="623" y="988"/>
                  </a:lnTo>
                  <a:lnTo>
                    <a:pt x="619" y="987"/>
                  </a:lnTo>
                  <a:lnTo>
                    <a:pt x="608" y="986"/>
                  </a:lnTo>
                  <a:lnTo>
                    <a:pt x="601" y="985"/>
                  </a:lnTo>
                  <a:lnTo>
                    <a:pt x="597" y="984"/>
                  </a:lnTo>
                  <a:lnTo>
                    <a:pt x="595" y="984"/>
                  </a:lnTo>
                  <a:lnTo>
                    <a:pt x="592" y="984"/>
                  </a:lnTo>
                  <a:lnTo>
                    <a:pt x="589" y="984"/>
                  </a:lnTo>
                  <a:lnTo>
                    <a:pt x="587" y="985"/>
                  </a:lnTo>
                  <a:lnTo>
                    <a:pt x="585" y="985"/>
                  </a:lnTo>
                  <a:lnTo>
                    <a:pt x="583" y="985"/>
                  </a:lnTo>
                  <a:lnTo>
                    <a:pt x="582" y="986"/>
                  </a:lnTo>
                  <a:lnTo>
                    <a:pt x="580" y="987"/>
                  </a:lnTo>
                  <a:lnTo>
                    <a:pt x="578" y="987"/>
                  </a:lnTo>
                  <a:lnTo>
                    <a:pt x="578" y="989"/>
                  </a:lnTo>
                  <a:lnTo>
                    <a:pt x="576" y="990"/>
                  </a:lnTo>
                  <a:lnTo>
                    <a:pt x="575" y="992"/>
                  </a:lnTo>
                  <a:lnTo>
                    <a:pt x="574" y="995"/>
                  </a:lnTo>
                  <a:lnTo>
                    <a:pt x="573" y="997"/>
                  </a:lnTo>
                  <a:lnTo>
                    <a:pt x="572" y="999"/>
                  </a:lnTo>
                  <a:lnTo>
                    <a:pt x="571" y="1007"/>
                  </a:lnTo>
                  <a:lnTo>
                    <a:pt x="567" y="1020"/>
                  </a:lnTo>
                  <a:lnTo>
                    <a:pt x="567" y="1023"/>
                  </a:lnTo>
                  <a:lnTo>
                    <a:pt x="566" y="1031"/>
                  </a:lnTo>
                  <a:lnTo>
                    <a:pt x="566" y="1034"/>
                  </a:lnTo>
                  <a:lnTo>
                    <a:pt x="565" y="1036"/>
                  </a:lnTo>
                  <a:lnTo>
                    <a:pt x="564" y="1038"/>
                  </a:lnTo>
                  <a:lnTo>
                    <a:pt x="563" y="1040"/>
                  </a:lnTo>
                  <a:lnTo>
                    <a:pt x="561" y="1043"/>
                  </a:lnTo>
                  <a:lnTo>
                    <a:pt x="558" y="1047"/>
                  </a:lnTo>
                  <a:lnTo>
                    <a:pt x="555" y="1052"/>
                  </a:lnTo>
                  <a:lnTo>
                    <a:pt x="552" y="1055"/>
                  </a:lnTo>
                  <a:lnTo>
                    <a:pt x="548" y="1059"/>
                  </a:lnTo>
                  <a:lnTo>
                    <a:pt x="546" y="1061"/>
                  </a:lnTo>
                  <a:lnTo>
                    <a:pt x="544" y="1063"/>
                  </a:lnTo>
                  <a:lnTo>
                    <a:pt x="541" y="1065"/>
                  </a:lnTo>
                  <a:lnTo>
                    <a:pt x="532" y="1070"/>
                  </a:lnTo>
                  <a:lnTo>
                    <a:pt x="524" y="1078"/>
                  </a:lnTo>
                  <a:lnTo>
                    <a:pt x="521" y="1080"/>
                  </a:lnTo>
                  <a:lnTo>
                    <a:pt x="518" y="1083"/>
                  </a:lnTo>
                  <a:lnTo>
                    <a:pt x="516" y="1085"/>
                  </a:lnTo>
                  <a:lnTo>
                    <a:pt x="515" y="1087"/>
                  </a:lnTo>
                  <a:lnTo>
                    <a:pt x="512" y="109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6" name="Freeform 89">
              <a:extLst>
                <a:ext uri="{FF2B5EF4-FFF2-40B4-BE49-F238E27FC236}">
                  <a16:creationId xmlns:a16="http://schemas.microsoft.com/office/drawing/2014/main" id="{C47C52C1-92D4-4735-8444-6E33852D5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" y="2741"/>
              <a:ext cx="926" cy="1189"/>
            </a:xfrm>
            <a:custGeom>
              <a:avLst/>
              <a:gdLst>
                <a:gd name="T0" fmla="*/ 912 w 926"/>
                <a:gd name="T1" fmla="*/ 1079 h 1189"/>
                <a:gd name="T2" fmla="*/ 908 w 926"/>
                <a:gd name="T3" fmla="*/ 1145 h 1189"/>
                <a:gd name="T4" fmla="*/ 890 w 926"/>
                <a:gd name="T5" fmla="*/ 1158 h 1189"/>
                <a:gd name="T6" fmla="*/ 868 w 926"/>
                <a:gd name="T7" fmla="*/ 1150 h 1189"/>
                <a:gd name="T8" fmla="*/ 841 w 926"/>
                <a:gd name="T9" fmla="*/ 1126 h 1189"/>
                <a:gd name="T10" fmla="*/ 818 w 926"/>
                <a:gd name="T11" fmla="*/ 1115 h 1189"/>
                <a:gd name="T12" fmla="*/ 776 w 926"/>
                <a:gd name="T13" fmla="*/ 1125 h 1189"/>
                <a:gd name="T14" fmla="*/ 723 w 926"/>
                <a:gd name="T15" fmla="*/ 1091 h 1189"/>
                <a:gd name="T16" fmla="*/ 706 w 926"/>
                <a:gd name="T17" fmla="*/ 1092 h 1189"/>
                <a:gd name="T18" fmla="*/ 695 w 926"/>
                <a:gd name="T19" fmla="*/ 1135 h 1189"/>
                <a:gd name="T20" fmla="*/ 666 w 926"/>
                <a:gd name="T21" fmla="*/ 1150 h 1189"/>
                <a:gd name="T22" fmla="*/ 651 w 926"/>
                <a:gd name="T23" fmla="*/ 1168 h 1189"/>
                <a:gd name="T24" fmla="*/ 621 w 926"/>
                <a:gd name="T25" fmla="*/ 1185 h 1189"/>
                <a:gd name="T26" fmla="*/ 565 w 926"/>
                <a:gd name="T27" fmla="*/ 1167 h 1189"/>
                <a:gd name="T28" fmla="*/ 498 w 926"/>
                <a:gd name="T29" fmla="*/ 1148 h 1189"/>
                <a:gd name="T30" fmla="*/ 436 w 926"/>
                <a:gd name="T31" fmla="*/ 1146 h 1189"/>
                <a:gd name="T32" fmla="*/ 400 w 926"/>
                <a:gd name="T33" fmla="*/ 1132 h 1189"/>
                <a:gd name="T34" fmla="*/ 379 w 926"/>
                <a:gd name="T35" fmla="*/ 1106 h 1189"/>
                <a:gd name="T36" fmla="*/ 369 w 926"/>
                <a:gd name="T37" fmla="*/ 1085 h 1189"/>
                <a:gd name="T38" fmla="*/ 391 w 926"/>
                <a:gd name="T39" fmla="*/ 1067 h 1189"/>
                <a:gd name="T40" fmla="*/ 381 w 926"/>
                <a:gd name="T41" fmla="*/ 1043 h 1189"/>
                <a:gd name="T42" fmla="*/ 349 w 926"/>
                <a:gd name="T43" fmla="*/ 1010 h 1189"/>
                <a:gd name="T44" fmla="*/ 303 w 926"/>
                <a:gd name="T45" fmla="*/ 985 h 1189"/>
                <a:gd name="T46" fmla="*/ 253 w 926"/>
                <a:gd name="T47" fmla="*/ 940 h 1189"/>
                <a:gd name="T48" fmla="*/ 207 w 926"/>
                <a:gd name="T49" fmla="*/ 919 h 1189"/>
                <a:gd name="T50" fmla="*/ 189 w 926"/>
                <a:gd name="T51" fmla="*/ 868 h 1189"/>
                <a:gd name="T52" fmla="*/ 168 w 926"/>
                <a:gd name="T53" fmla="*/ 845 h 1189"/>
                <a:gd name="T54" fmla="*/ 145 w 926"/>
                <a:gd name="T55" fmla="*/ 800 h 1189"/>
                <a:gd name="T56" fmla="*/ 103 w 926"/>
                <a:gd name="T57" fmla="*/ 797 h 1189"/>
                <a:gd name="T58" fmla="*/ 66 w 926"/>
                <a:gd name="T59" fmla="*/ 736 h 1189"/>
                <a:gd name="T60" fmla="*/ 47 w 926"/>
                <a:gd name="T61" fmla="*/ 721 h 1189"/>
                <a:gd name="T62" fmla="*/ 23 w 926"/>
                <a:gd name="T63" fmla="*/ 698 h 1189"/>
                <a:gd name="T64" fmla="*/ 1 w 926"/>
                <a:gd name="T65" fmla="*/ 676 h 1189"/>
                <a:gd name="T66" fmla="*/ 6 w 926"/>
                <a:gd name="T67" fmla="*/ 631 h 1189"/>
                <a:gd name="T68" fmla="*/ 33 w 926"/>
                <a:gd name="T69" fmla="*/ 602 h 1189"/>
                <a:gd name="T70" fmla="*/ 48 w 926"/>
                <a:gd name="T71" fmla="*/ 580 h 1189"/>
                <a:gd name="T72" fmla="*/ 38 w 926"/>
                <a:gd name="T73" fmla="*/ 534 h 1189"/>
                <a:gd name="T74" fmla="*/ 50 w 926"/>
                <a:gd name="T75" fmla="*/ 488 h 1189"/>
                <a:gd name="T76" fmla="*/ 82 w 926"/>
                <a:gd name="T77" fmla="*/ 487 h 1189"/>
                <a:gd name="T78" fmla="*/ 120 w 926"/>
                <a:gd name="T79" fmla="*/ 456 h 1189"/>
                <a:gd name="T80" fmla="*/ 137 w 926"/>
                <a:gd name="T81" fmla="*/ 424 h 1189"/>
                <a:gd name="T82" fmla="*/ 123 w 926"/>
                <a:gd name="T83" fmla="*/ 392 h 1189"/>
                <a:gd name="T84" fmla="*/ 140 w 926"/>
                <a:gd name="T85" fmla="*/ 370 h 1189"/>
                <a:gd name="T86" fmla="*/ 140 w 926"/>
                <a:gd name="T87" fmla="*/ 353 h 1189"/>
                <a:gd name="T88" fmla="*/ 134 w 926"/>
                <a:gd name="T89" fmla="*/ 336 h 1189"/>
                <a:gd name="T90" fmla="*/ 150 w 926"/>
                <a:gd name="T91" fmla="*/ 321 h 1189"/>
                <a:gd name="T92" fmla="*/ 152 w 926"/>
                <a:gd name="T93" fmla="*/ 296 h 1189"/>
                <a:gd name="T94" fmla="*/ 185 w 926"/>
                <a:gd name="T95" fmla="*/ 258 h 1189"/>
                <a:gd name="T96" fmla="*/ 196 w 926"/>
                <a:gd name="T97" fmla="*/ 222 h 1189"/>
                <a:gd name="T98" fmla="*/ 181 w 926"/>
                <a:gd name="T99" fmla="*/ 171 h 1189"/>
                <a:gd name="T100" fmla="*/ 191 w 926"/>
                <a:gd name="T101" fmla="*/ 138 h 1189"/>
                <a:gd name="T102" fmla="*/ 180 w 926"/>
                <a:gd name="T103" fmla="*/ 90 h 1189"/>
                <a:gd name="T104" fmla="*/ 178 w 926"/>
                <a:gd name="T105" fmla="*/ 60 h 1189"/>
                <a:gd name="T106" fmla="*/ 193 w 926"/>
                <a:gd name="T107" fmla="*/ 54 h 1189"/>
                <a:gd name="T108" fmla="*/ 231 w 926"/>
                <a:gd name="T109" fmla="*/ 46 h 1189"/>
                <a:gd name="T110" fmla="*/ 259 w 926"/>
                <a:gd name="T111" fmla="*/ 46 h 1189"/>
                <a:gd name="T112" fmla="*/ 285 w 926"/>
                <a:gd name="T113" fmla="*/ 59 h 1189"/>
                <a:gd name="T114" fmla="*/ 312 w 926"/>
                <a:gd name="T115" fmla="*/ 65 h 1189"/>
                <a:gd name="T116" fmla="*/ 346 w 926"/>
                <a:gd name="T117" fmla="*/ 52 h 1189"/>
                <a:gd name="T118" fmla="*/ 369 w 926"/>
                <a:gd name="T119" fmla="*/ 34 h 1189"/>
                <a:gd name="T120" fmla="*/ 401 w 926"/>
                <a:gd name="T121" fmla="*/ 3 h 1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26" h="1189">
                  <a:moveTo>
                    <a:pt x="926" y="1033"/>
                  </a:moveTo>
                  <a:lnTo>
                    <a:pt x="924" y="1038"/>
                  </a:lnTo>
                  <a:lnTo>
                    <a:pt x="922" y="1043"/>
                  </a:lnTo>
                  <a:lnTo>
                    <a:pt x="920" y="1046"/>
                  </a:lnTo>
                  <a:lnTo>
                    <a:pt x="918" y="1052"/>
                  </a:lnTo>
                  <a:lnTo>
                    <a:pt x="916" y="1058"/>
                  </a:lnTo>
                  <a:lnTo>
                    <a:pt x="915" y="1062"/>
                  </a:lnTo>
                  <a:lnTo>
                    <a:pt x="914" y="1066"/>
                  </a:lnTo>
                  <a:lnTo>
                    <a:pt x="913" y="1069"/>
                  </a:lnTo>
                  <a:lnTo>
                    <a:pt x="913" y="1073"/>
                  </a:lnTo>
                  <a:lnTo>
                    <a:pt x="912" y="1076"/>
                  </a:lnTo>
                  <a:lnTo>
                    <a:pt x="912" y="1079"/>
                  </a:lnTo>
                  <a:lnTo>
                    <a:pt x="913" y="1094"/>
                  </a:lnTo>
                  <a:lnTo>
                    <a:pt x="914" y="1099"/>
                  </a:lnTo>
                  <a:lnTo>
                    <a:pt x="914" y="1102"/>
                  </a:lnTo>
                  <a:lnTo>
                    <a:pt x="913" y="1107"/>
                  </a:lnTo>
                  <a:lnTo>
                    <a:pt x="912" y="1120"/>
                  </a:lnTo>
                  <a:lnTo>
                    <a:pt x="912" y="1129"/>
                  </a:lnTo>
                  <a:lnTo>
                    <a:pt x="912" y="1131"/>
                  </a:lnTo>
                  <a:lnTo>
                    <a:pt x="912" y="1134"/>
                  </a:lnTo>
                  <a:lnTo>
                    <a:pt x="912" y="1137"/>
                  </a:lnTo>
                  <a:lnTo>
                    <a:pt x="911" y="1140"/>
                  </a:lnTo>
                  <a:lnTo>
                    <a:pt x="910" y="1142"/>
                  </a:lnTo>
                  <a:lnTo>
                    <a:pt x="908" y="1145"/>
                  </a:lnTo>
                  <a:lnTo>
                    <a:pt x="907" y="1147"/>
                  </a:lnTo>
                  <a:lnTo>
                    <a:pt x="905" y="1150"/>
                  </a:lnTo>
                  <a:lnTo>
                    <a:pt x="903" y="1152"/>
                  </a:lnTo>
                  <a:lnTo>
                    <a:pt x="902" y="1154"/>
                  </a:lnTo>
                  <a:lnTo>
                    <a:pt x="901" y="1155"/>
                  </a:lnTo>
                  <a:lnTo>
                    <a:pt x="900" y="1156"/>
                  </a:lnTo>
                  <a:lnTo>
                    <a:pt x="899" y="1157"/>
                  </a:lnTo>
                  <a:lnTo>
                    <a:pt x="897" y="1157"/>
                  </a:lnTo>
                  <a:lnTo>
                    <a:pt x="896" y="1157"/>
                  </a:lnTo>
                  <a:lnTo>
                    <a:pt x="894" y="1158"/>
                  </a:lnTo>
                  <a:lnTo>
                    <a:pt x="892" y="1158"/>
                  </a:lnTo>
                  <a:lnTo>
                    <a:pt x="890" y="1158"/>
                  </a:lnTo>
                  <a:lnTo>
                    <a:pt x="887" y="1159"/>
                  </a:lnTo>
                  <a:lnTo>
                    <a:pt x="885" y="1159"/>
                  </a:lnTo>
                  <a:lnTo>
                    <a:pt x="883" y="1159"/>
                  </a:lnTo>
                  <a:lnTo>
                    <a:pt x="880" y="1158"/>
                  </a:lnTo>
                  <a:lnTo>
                    <a:pt x="878" y="1158"/>
                  </a:lnTo>
                  <a:lnTo>
                    <a:pt x="878" y="1157"/>
                  </a:lnTo>
                  <a:lnTo>
                    <a:pt x="876" y="1157"/>
                  </a:lnTo>
                  <a:lnTo>
                    <a:pt x="875" y="1157"/>
                  </a:lnTo>
                  <a:lnTo>
                    <a:pt x="874" y="1155"/>
                  </a:lnTo>
                  <a:lnTo>
                    <a:pt x="872" y="1154"/>
                  </a:lnTo>
                  <a:lnTo>
                    <a:pt x="871" y="1153"/>
                  </a:lnTo>
                  <a:lnTo>
                    <a:pt x="868" y="1150"/>
                  </a:lnTo>
                  <a:lnTo>
                    <a:pt x="863" y="1143"/>
                  </a:lnTo>
                  <a:lnTo>
                    <a:pt x="861" y="1140"/>
                  </a:lnTo>
                  <a:lnTo>
                    <a:pt x="859" y="1138"/>
                  </a:lnTo>
                  <a:lnTo>
                    <a:pt x="857" y="1136"/>
                  </a:lnTo>
                  <a:lnTo>
                    <a:pt x="856" y="1135"/>
                  </a:lnTo>
                  <a:lnTo>
                    <a:pt x="853" y="1134"/>
                  </a:lnTo>
                  <a:lnTo>
                    <a:pt x="849" y="1133"/>
                  </a:lnTo>
                  <a:lnTo>
                    <a:pt x="847" y="1132"/>
                  </a:lnTo>
                  <a:lnTo>
                    <a:pt x="845" y="1131"/>
                  </a:lnTo>
                  <a:lnTo>
                    <a:pt x="844" y="1130"/>
                  </a:lnTo>
                  <a:lnTo>
                    <a:pt x="842" y="1128"/>
                  </a:lnTo>
                  <a:lnTo>
                    <a:pt x="841" y="1126"/>
                  </a:lnTo>
                  <a:lnTo>
                    <a:pt x="839" y="1124"/>
                  </a:lnTo>
                  <a:lnTo>
                    <a:pt x="835" y="1119"/>
                  </a:lnTo>
                  <a:lnTo>
                    <a:pt x="833" y="1116"/>
                  </a:lnTo>
                  <a:lnTo>
                    <a:pt x="832" y="1114"/>
                  </a:lnTo>
                  <a:lnTo>
                    <a:pt x="830" y="1113"/>
                  </a:lnTo>
                  <a:lnTo>
                    <a:pt x="829" y="1112"/>
                  </a:lnTo>
                  <a:lnTo>
                    <a:pt x="827" y="1112"/>
                  </a:lnTo>
                  <a:lnTo>
                    <a:pt x="826" y="1112"/>
                  </a:lnTo>
                  <a:lnTo>
                    <a:pt x="824" y="1112"/>
                  </a:lnTo>
                  <a:lnTo>
                    <a:pt x="822" y="1112"/>
                  </a:lnTo>
                  <a:lnTo>
                    <a:pt x="821" y="1113"/>
                  </a:lnTo>
                  <a:lnTo>
                    <a:pt x="818" y="1115"/>
                  </a:lnTo>
                  <a:lnTo>
                    <a:pt x="803" y="1124"/>
                  </a:lnTo>
                  <a:lnTo>
                    <a:pt x="800" y="1125"/>
                  </a:lnTo>
                  <a:lnTo>
                    <a:pt x="798" y="1127"/>
                  </a:lnTo>
                  <a:lnTo>
                    <a:pt x="795" y="1128"/>
                  </a:lnTo>
                  <a:lnTo>
                    <a:pt x="792" y="1129"/>
                  </a:lnTo>
                  <a:lnTo>
                    <a:pt x="790" y="1129"/>
                  </a:lnTo>
                  <a:lnTo>
                    <a:pt x="789" y="1129"/>
                  </a:lnTo>
                  <a:lnTo>
                    <a:pt x="787" y="1129"/>
                  </a:lnTo>
                  <a:lnTo>
                    <a:pt x="786" y="1129"/>
                  </a:lnTo>
                  <a:lnTo>
                    <a:pt x="785" y="1129"/>
                  </a:lnTo>
                  <a:lnTo>
                    <a:pt x="782" y="1128"/>
                  </a:lnTo>
                  <a:lnTo>
                    <a:pt x="776" y="1125"/>
                  </a:lnTo>
                  <a:lnTo>
                    <a:pt x="765" y="1123"/>
                  </a:lnTo>
                  <a:lnTo>
                    <a:pt x="761" y="1121"/>
                  </a:lnTo>
                  <a:lnTo>
                    <a:pt x="752" y="1117"/>
                  </a:lnTo>
                  <a:lnTo>
                    <a:pt x="749" y="1115"/>
                  </a:lnTo>
                  <a:lnTo>
                    <a:pt x="746" y="1114"/>
                  </a:lnTo>
                  <a:lnTo>
                    <a:pt x="744" y="1112"/>
                  </a:lnTo>
                  <a:lnTo>
                    <a:pt x="742" y="1111"/>
                  </a:lnTo>
                  <a:lnTo>
                    <a:pt x="741" y="1109"/>
                  </a:lnTo>
                  <a:lnTo>
                    <a:pt x="736" y="1104"/>
                  </a:lnTo>
                  <a:lnTo>
                    <a:pt x="734" y="1101"/>
                  </a:lnTo>
                  <a:lnTo>
                    <a:pt x="727" y="1094"/>
                  </a:lnTo>
                  <a:lnTo>
                    <a:pt x="723" y="1091"/>
                  </a:lnTo>
                  <a:lnTo>
                    <a:pt x="721" y="1089"/>
                  </a:lnTo>
                  <a:lnTo>
                    <a:pt x="719" y="1089"/>
                  </a:lnTo>
                  <a:lnTo>
                    <a:pt x="718" y="1088"/>
                  </a:lnTo>
                  <a:lnTo>
                    <a:pt x="717" y="1088"/>
                  </a:lnTo>
                  <a:lnTo>
                    <a:pt x="715" y="1088"/>
                  </a:lnTo>
                  <a:lnTo>
                    <a:pt x="713" y="1089"/>
                  </a:lnTo>
                  <a:lnTo>
                    <a:pt x="711" y="1089"/>
                  </a:lnTo>
                  <a:lnTo>
                    <a:pt x="710" y="1089"/>
                  </a:lnTo>
                  <a:lnTo>
                    <a:pt x="708" y="1090"/>
                  </a:lnTo>
                  <a:lnTo>
                    <a:pt x="708" y="1090"/>
                  </a:lnTo>
                  <a:lnTo>
                    <a:pt x="707" y="1091"/>
                  </a:lnTo>
                  <a:lnTo>
                    <a:pt x="706" y="1092"/>
                  </a:lnTo>
                  <a:lnTo>
                    <a:pt x="706" y="1094"/>
                  </a:lnTo>
                  <a:lnTo>
                    <a:pt x="705" y="1095"/>
                  </a:lnTo>
                  <a:lnTo>
                    <a:pt x="705" y="1098"/>
                  </a:lnTo>
                  <a:lnTo>
                    <a:pt x="704" y="1106"/>
                  </a:lnTo>
                  <a:lnTo>
                    <a:pt x="704" y="1110"/>
                  </a:lnTo>
                  <a:lnTo>
                    <a:pt x="703" y="1113"/>
                  </a:lnTo>
                  <a:lnTo>
                    <a:pt x="701" y="1119"/>
                  </a:lnTo>
                  <a:lnTo>
                    <a:pt x="699" y="1125"/>
                  </a:lnTo>
                  <a:lnTo>
                    <a:pt x="698" y="1128"/>
                  </a:lnTo>
                  <a:lnTo>
                    <a:pt x="697" y="1131"/>
                  </a:lnTo>
                  <a:lnTo>
                    <a:pt x="696" y="1134"/>
                  </a:lnTo>
                  <a:lnTo>
                    <a:pt x="695" y="1135"/>
                  </a:lnTo>
                  <a:lnTo>
                    <a:pt x="694" y="1138"/>
                  </a:lnTo>
                  <a:lnTo>
                    <a:pt x="692" y="1140"/>
                  </a:lnTo>
                  <a:lnTo>
                    <a:pt x="690" y="1142"/>
                  </a:lnTo>
                  <a:lnTo>
                    <a:pt x="689" y="1144"/>
                  </a:lnTo>
                  <a:lnTo>
                    <a:pt x="687" y="1146"/>
                  </a:lnTo>
                  <a:lnTo>
                    <a:pt x="685" y="1146"/>
                  </a:lnTo>
                  <a:lnTo>
                    <a:pt x="684" y="1147"/>
                  </a:lnTo>
                  <a:lnTo>
                    <a:pt x="682" y="1148"/>
                  </a:lnTo>
                  <a:lnTo>
                    <a:pt x="681" y="1148"/>
                  </a:lnTo>
                  <a:lnTo>
                    <a:pt x="678" y="1148"/>
                  </a:lnTo>
                  <a:lnTo>
                    <a:pt x="670" y="1149"/>
                  </a:lnTo>
                  <a:lnTo>
                    <a:pt x="666" y="1150"/>
                  </a:lnTo>
                  <a:lnTo>
                    <a:pt x="662" y="1151"/>
                  </a:lnTo>
                  <a:lnTo>
                    <a:pt x="662" y="1151"/>
                  </a:lnTo>
                  <a:lnTo>
                    <a:pt x="661" y="1152"/>
                  </a:lnTo>
                  <a:lnTo>
                    <a:pt x="659" y="1153"/>
                  </a:lnTo>
                  <a:lnTo>
                    <a:pt x="658" y="1154"/>
                  </a:lnTo>
                  <a:lnTo>
                    <a:pt x="657" y="1155"/>
                  </a:lnTo>
                  <a:lnTo>
                    <a:pt x="656" y="1157"/>
                  </a:lnTo>
                  <a:lnTo>
                    <a:pt x="654" y="1162"/>
                  </a:lnTo>
                  <a:lnTo>
                    <a:pt x="653" y="1165"/>
                  </a:lnTo>
                  <a:lnTo>
                    <a:pt x="652" y="1166"/>
                  </a:lnTo>
                  <a:lnTo>
                    <a:pt x="651" y="1167"/>
                  </a:lnTo>
                  <a:lnTo>
                    <a:pt x="651" y="1168"/>
                  </a:lnTo>
                  <a:lnTo>
                    <a:pt x="649" y="1169"/>
                  </a:lnTo>
                  <a:lnTo>
                    <a:pt x="647" y="1170"/>
                  </a:lnTo>
                  <a:lnTo>
                    <a:pt x="645" y="1171"/>
                  </a:lnTo>
                  <a:lnTo>
                    <a:pt x="642" y="1172"/>
                  </a:lnTo>
                  <a:lnTo>
                    <a:pt x="637" y="1173"/>
                  </a:lnTo>
                  <a:lnTo>
                    <a:pt x="635" y="1174"/>
                  </a:lnTo>
                  <a:lnTo>
                    <a:pt x="634" y="1175"/>
                  </a:lnTo>
                  <a:lnTo>
                    <a:pt x="632" y="1176"/>
                  </a:lnTo>
                  <a:lnTo>
                    <a:pt x="630" y="1177"/>
                  </a:lnTo>
                  <a:lnTo>
                    <a:pt x="628" y="1179"/>
                  </a:lnTo>
                  <a:lnTo>
                    <a:pt x="624" y="1183"/>
                  </a:lnTo>
                  <a:lnTo>
                    <a:pt x="621" y="1185"/>
                  </a:lnTo>
                  <a:lnTo>
                    <a:pt x="619" y="1187"/>
                  </a:lnTo>
                  <a:lnTo>
                    <a:pt x="617" y="1188"/>
                  </a:lnTo>
                  <a:lnTo>
                    <a:pt x="616" y="1189"/>
                  </a:lnTo>
                  <a:lnTo>
                    <a:pt x="614" y="1189"/>
                  </a:lnTo>
                  <a:lnTo>
                    <a:pt x="611" y="1189"/>
                  </a:lnTo>
                  <a:lnTo>
                    <a:pt x="610" y="1189"/>
                  </a:lnTo>
                  <a:lnTo>
                    <a:pt x="609" y="1189"/>
                  </a:lnTo>
                  <a:lnTo>
                    <a:pt x="606" y="1188"/>
                  </a:lnTo>
                  <a:lnTo>
                    <a:pt x="600" y="1184"/>
                  </a:lnTo>
                  <a:lnTo>
                    <a:pt x="592" y="1180"/>
                  </a:lnTo>
                  <a:lnTo>
                    <a:pt x="583" y="1176"/>
                  </a:lnTo>
                  <a:lnTo>
                    <a:pt x="565" y="1167"/>
                  </a:lnTo>
                  <a:lnTo>
                    <a:pt x="561" y="1165"/>
                  </a:lnTo>
                  <a:lnTo>
                    <a:pt x="558" y="1164"/>
                  </a:lnTo>
                  <a:lnTo>
                    <a:pt x="555" y="1163"/>
                  </a:lnTo>
                  <a:lnTo>
                    <a:pt x="552" y="1162"/>
                  </a:lnTo>
                  <a:lnTo>
                    <a:pt x="543" y="1161"/>
                  </a:lnTo>
                  <a:lnTo>
                    <a:pt x="539" y="1160"/>
                  </a:lnTo>
                  <a:lnTo>
                    <a:pt x="536" y="1159"/>
                  </a:lnTo>
                  <a:lnTo>
                    <a:pt x="524" y="1155"/>
                  </a:lnTo>
                  <a:lnTo>
                    <a:pt x="512" y="1151"/>
                  </a:lnTo>
                  <a:lnTo>
                    <a:pt x="504" y="1149"/>
                  </a:lnTo>
                  <a:lnTo>
                    <a:pt x="502" y="1148"/>
                  </a:lnTo>
                  <a:lnTo>
                    <a:pt x="498" y="1148"/>
                  </a:lnTo>
                  <a:lnTo>
                    <a:pt x="493" y="1147"/>
                  </a:lnTo>
                  <a:lnTo>
                    <a:pt x="485" y="1147"/>
                  </a:lnTo>
                  <a:lnTo>
                    <a:pt x="481" y="1147"/>
                  </a:lnTo>
                  <a:lnTo>
                    <a:pt x="479" y="1146"/>
                  </a:lnTo>
                  <a:lnTo>
                    <a:pt x="469" y="1145"/>
                  </a:lnTo>
                  <a:lnTo>
                    <a:pt x="464" y="1145"/>
                  </a:lnTo>
                  <a:lnTo>
                    <a:pt x="458" y="1144"/>
                  </a:lnTo>
                  <a:lnTo>
                    <a:pt x="455" y="1144"/>
                  </a:lnTo>
                  <a:lnTo>
                    <a:pt x="452" y="1144"/>
                  </a:lnTo>
                  <a:lnTo>
                    <a:pt x="444" y="1146"/>
                  </a:lnTo>
                  <a:lnTo>
                    <a:pt x="440" y="1146"/>
                  </a:lnTo>
                  <a:lnTo>
                    <a:pt x="436" y="1146"/>
                  </a:lnTo>
                  <a:lnTo>
                    <a:pt x="435" y="1146"/>
                  </a:lnTo>
                  <a:lnTo>
                    <a:pt x="433" y="1146"/>
                  </a:lnTo>
                  <a:lnTo>
                    <a:pt x="431" y="1145"/>
                  </a:lnTo>
                  <a:lnTo>
                    <a:pt x="429" y="1145"/>
                  </a:lnTo>
                  <a:lnTo>
                    <a:pt x="423" y="1142"/>
                  </a:lnTo>
                  <a:lnTo>
                    <a:pt x="421" y="1141"/>
                  </a:lnTo>
                  <a:lnTo>
                    <a:pt x="416" y="1140"/>
                  </a:lnTo>
                  <a:lnTo>
                    <a:pt x="409" y="1138"/>
                  </a:lnTo>
                  <a:lnTo>
                    <a:pt x="406" y="1137"/>
                  </a:lnTo>
                  <a:lnTo>
                    <a:pt x="405" y="1136"/>
                  </a:lnTo>
                  <a:lnTo>
                    <a:pt x="404" y="1136"/>
                  </a:lnTo>
                  <a:lnTo>
                    <a:pt x="400" y="1132"/>
                  </a:lnTo>
                  <a:lnTo>
                    <a:pt x="394" y="1128"/>
                  </a:lnTo>
                  <a:lnTo>
                    <a:pt x="392" y="1126"/>
                  </a:lnTo>
                  <a:lnTo>
                    <a:pt x="391" y="1125"/>
                  </a:lnTo>
                  <a:lnTo>
                    <a:pt x="389" y="1123"/>
                  </a:lnTo>
                  <a:lnTo>
                    <a:pt x="388" y="1121"/>
                  </a:lnTo>
                  <a:lnTo>
                    <a:pt x="387" y="1119"/>
                  </a:lnTo>
                  <a:lnTo>
                    <a:pt x="386" y="1117"/>
                  </a:lnTo>
                  <a:lnTo>
                    <a:pt x="383" y="1111"/>
                  </a:lnTo>
                  <a:lnTo>
                    <a:pt x="382" y="1109"/>
                  </a:lnTo>
                  <a:lnTo>
                    <a:pt x="381" y="1108"/>
                  </a:lnTo>
                  <a:lnTo>
                    <a:pt x="380" y="1107"/>
                  </a:lnTo>
                  <a:lnTo>
                    <a:pt x="379" y="1106"/>
                  </a:lnTo>
                  <a:lnTo>
                    <a:pt x="376" y="1102"/>
                  </a:lnTo>
                  <a:lnTo>
                    <a:pt x="374" y="1101"/>
                  </a:lnTo>
                  <a:lnTo>
                    <a:pt x="372" y="1100"/>
                  </a:lnTo>
                  <a:lnTo>
                    <a:pt x="370" y="1098"/>
                  </a:lnTo>
                  <a:lnTo>
                    <a:pt x="369" y="1095"/>
                  </a:lnTo>
                  <a:lnTo>
                    <a:pt x="368" y="1093"/>
                  </a:lnTo>
                  <a:lnTo>
                    <a:pt x="367" y="1091"/>
                  </a:lnTo>
                  <a:lnTo>
                    <a:pt x="367" y="1089"/>
                  </a:lnTo>
                  <a:lnTo>
                    <a:pt x="367" y="1089"/>
                  </a:lnTo>
                  <a:lnTo>
                    <a:pt x="367" y="1088"/>
                  </a:lnTo>
                  <a:lnTo>
                    <a:pt x="368" y="1086"/>
                  </a:lnTo>
                  <a:lnTo>
                    <a:pt x="369" y="1085"/>
                  </a:lnTo>
                  <a:lnTo>
                    <a:pt x="370" y="1083"/>
                  </a:lnTo>
                  <a:lnTo>
                    <a:pt x="371" y="1081"/>
                  </a:lnTo>
                  <a:lnTo>
                    <a:pt x="372" y="1080"/>
                  </a:lnTo>
                  <a:lnTo>
                    <a:pt x="373" y="1078"/>
                  </a:lnTo>
                  <a:lnTo>
                    <a:pt x="376" y="1077"/>
                  </a:lnTo>
                  <a:lnTo>
                    <a:pt x="378" y="1076"/>
                  </a:lnTo>
                  <a:lnTo>
                    <a:pt x="380" y="1074"/>
                  </a:lnTo>
                  <a:lnTo>
                    <a:pt x="386" y="1071"/>
                  </a:lnTo>
                  <a:lnTo>
                    <a:pt x="389" y="1070"/>
                  </a:lnTo>
                  <a:lnTo>
                    <a:pt x="389" y="1069"/>
                  </a:lnTo>
                  <a:lnTo>
                    <a:pt x="390" y="1068"/>
                  </a:lnTo>
                  <a:lnTo>
                    <a:pt x="391" y="1067"/>
                  </a:lnTo>
                  <a:lnTo>
                    <a:pt x="392" y="1066"/>
                  </a:lnTo>
                  <a:lnTo>
                    <a:pt x="393" y="1064"/>
                  </a:lnTo>
                  <a:lnTo>
                    <a:pt x="394" y="1062"/>
                  </a:lnTo>
                  <a:lnTo>
                    <a:pt x="394" y="1060"/>
                  </a:lnTo>
                  <a:lnTo>
                    <a:pt x="394" y="1058"/>
                  </a:lnTo>
                  <a:lnTo>
                    <a:pt x="394" y="1055"/>
                  </a:lnTo>
                  <a:lnTo>
                    <a:pt x="393" y="1054"/>
                  </a:lnTo>
                  <a:lnTo>
                    <a:pt x="392" y="1052"/>
                  </a:lnTo>
                  <a:lnTo>
                    <a:pt x="391" y="1051"/>
                  </a:lnTo>
                  <a:lnTo>
                    <a:pt x="389" y="1049"/>
                  </a:lnTo>
                  <a:lnTo>
                    <a:pt x="388" y="1048"/>
                  </a:lnTo>
                  <a:lnTo>
                    <a:pt x="381" y="1043"/>
                  </a:lnTo>
                  <a:lnTo>
                    <a:pt x="378" y="1041"/>
                  </a:lnTo>
                  <a:lnTo>
                    <a:pt x="377" y="1038"/>
                  </a:lnTo>
                  <a:lnTo>
                    <a:pt x="375" y="1036"/>
                  </a:lnTo>
                  <a:lnTo>
                    <a:pt x="368" y="1029"/>
                  </a:lnTo>
                  <a:lnTo>
                    <a:pt x="366" y="1025"/>
                  </a:lnTo>
                  <a:lnTo>
                    <a:pt x="362" y="1021"/>
                  </a:lnTo>
                  <a:lnTo>
                    <a:pt x="359" y="1018"/>
                  </a:lnTo>
                  <a:lnTo>
                    <a:pt x="356" y="1015"/>
                  </a:lnTo>
                  <a:lnTo>
                    <a:pt x="355" y="1013"/>
                  </a:lnTo>
                  <a:lnTo>
                    <a:pt x="353" y="1012"/>
                  </a:lnTo>
                  <a:lnTo>
                    <a:pt x="351" y="1010"/>
                  </a:lnTo>
                  <a:lnTo>
                    <a:pt x="349" y="1010"/>
                  </a:lnTo>
                  <a:lnTo>
                    <a:pt x="347" y="1009"/>
                  </a:lnTo>
                  <a:lnTo>
                    <a:pt x="343" y="1007"/>
                  </a:lnTo>
                  <a:lnTo>
                    <a:pt x="335" y="1005"/>
                  </a:lnTo>
                  <a:lnTo>
                    <a:pt x="331" y="1003"/>
                  </a:lnTo>
                  <a:lnTo>
                    <a:pt x="326" y="1001"/>
                  </a:lnTo>
                  <a:lnTo>
                    <a:pt x="323" y="999"/>
                  </a:lnTo>
                  <a:lnTo>
                    <a:pt x="321" y="998"/>
                  </a:lnTo>
                  <a:lnTo>
                    <a:pt x="319" y="997"/>
                  </a:lnTo>
                  <a:lnTo>
                    <a:pt x="310" y="991"/>
                  </a:lnTo>
                  <a:lnTo>
                    <a:pt x="308" y="989"/>
                  </a:lnTo>
                  <a:lnTo>
                    <a:pt x="305" y="987"/>
                  </a:lnTo>
                  <a:lnTo>
                    <a:pt x="303" y="985"/>
                  </a:lnTo>
                  <a:lnTo>
                    <a:pt x="299" y="982"/>
                  </a:lnTo>
                  <a:lnTo>
                    <a:pt x="296" y="978"/>
                  </a:lnTo>
                  <a:lnTo>
                    <a:pt x="285" y="965"/>
                  </a:lnTo>
                  <a:lnTo>
                    <a:pt x="281" y="962"/>
                  </a:lnTo>
                  <a:lnTo>
                    <a:pt x="277" y="958"/>
                  </a:lnTo>
                  <a:lnTo>
                    <a:pt x="274" y="954"/>
                  </a:lnTo>
                  <a:lnTo>
                    <a:pt x="270" y="952"/>
                  </a:lnTo>
                  <a:lnTo>
                    <a:pt x="266" y="949"/>
                  </a:lnTo>
                  <a:lnTo>
                    <a:pt x="263" y="946"/>
                  </a:lnTo>
                  <a:lnTo>
                    <a:pt x="259" y="943"/>
                  </a:lnTo>
                  <a:lnTo>
                    <a:pt x="255" y="942"/>
                  </a:lnTo>
                  <a:lnTo>
                    <a:pt x="253" y="940"/>
                  </a:lnTo>
                  <a:lnTo>
                    <a:pt x="249" y="938"/>
                  </a:lnTo>
                  <a:lnTo>
                    <a:pt x="245" y="936"/>
                  </a:lnTo>
                  <a:lnTo>
                    <a:pt x="241" y="935"/>
                  </a:lnTo>
                  <a:lnTo>
                    <a:pt x="225" y="930"/>
                  </a:lnTo>
                  <a:lnTo>
                    <a:pt x="220" y="930"/>
                  </a:lnTo>
                  <a:lnTo>
                    <a:pt x="218" y="928"/>
                  </a:lnTo>
                  <a:lnTo>
                    <a:pt x="216" y="927"/>
                  </a:lnTo>
                  <a:lnTo>
                    <a:pt x="213" y="925"/>
                  </a:lnTo>
                  <a:lnTo>
                    <a:pt x="211" y="924"/>
                  </a:lnTo>
                  <a:lnTo>
                    <a:pt x="210" y="923"/>
                  </a:lnTo>
                  <a:lnTo>
                    <a:pt x="208" y="921"/>
                  </a:lnTo>
                  <a:lnTo>
                    <a:pt x="207" y="919"/>
                  </a:lnTo>
                  <a:lnTo>
                    <a:pt x="207" y="917"/>
                  </a:lnTo>
                  <a:lnTo>
                    <a:pt x="206" y="914"/>
                  </a:lnTo>
                  <a:lnTo>
                    <a:pt x="205" y="911"/>
                  </a:lnTo>
                  <a:lnTo>
                    <a:pt x="204" y="903"/>
                  </a:lnTo>
                  <a:lnTo>
                    <a:pt x="203" y="901"/>
                  </a:lnTo>
                  <a:lnTo>
                    <a:pt x="203" y="898"/>
                  </a:lnTo>
                  <a:lnTo>
                    <a:pt x="202" y="896"/>
                  </a:lnTo>
                  <a:lnTo>
                    <a:pt x="199" y="889"/>
                  </a:lnTo>
                  <a:lnTo>
                    <a:pt x="195" y="878"/>
                  </a:lnTo>
                  <a:lnTo>
                    <a:pt x="193" y="874"/>
                  </a:lnTo>
                  <a:lnTo>
                    <a:pt x="191" y="872"/>
                  </a:lnTo>
                  <a:lnTo>
                    <a:pt x="189" y="868"/>
                  </a:lnTo>
                  <a:lnTo>
                    <a:pt x="188" y="866"/>
                  </a:lnTo>
                  <a:lnTo>
                    <a:pt x="187" y="865"/>
                  </a:lnTo>
                  <a:lnTo>
                    <a:pt x="185" y="863"/>
                  </a:lnTo>
                  <a:lnTo>
                    <a:pt x="185" y="862"/>
                  </a:lnTo>
                  <a:lnTo>
                    <a:pt x="178" y="858"/>
                  </a:lnTo>
                  <a:lnTo>
                    <a:pt x="176" y="856"/>
                  </a:lnTo>
                  <a:lnTo>
                    <a:pt x="174" y="855"/>
                  </a:lnTo>
                  <a:lnTo>
                    <a:pt x="173" y="853"/>
                  </a:lnTo>
                  <a:lnTo>
                    <a:pt x="173" y="852"/>
                  </a:lnTo>
                  <a:lnTo>
                    <a:pt x="171" y="851"/>
                  </a:lnTo>
                  <a:lnTo>
                    <a:pt x="170" y="848"/>
                  </a:lnTo>
                  <a:lnTo>
                    <a:pt x="168" y="845"/>
                  </a:lnTo>
                  <a:lnTo>
                    <a:pt x="167" y="841"/>
                  </a:lnTo>
                  <a:lnTo>
                    <a:pt x="165" y="838"/>
                  </a:lnTo>
                  <a:lnTo>
                    <a:pt x="162" y="828"/>
                  </a:lnTo>
                  <a:lnTo>
                    <a:pt x="158" y="818"/>
                  </a:lnTo>
                  <a:lnTo>
                    <a:pt x="156" y="814"/>
                  </a:lnTo>
                  <a:lnTo>
                    <a:pt x="154" y="810"/>
                  </a:lnTo>
                  <a:lnTo>
                    <a:pt x="153" y="807"/>
                  </a:lnTo>
                  <a:lnTo>
                    <a:pt x="151" y="805"/>
                  </a:lnTo>
                  <a:lnTo>
                    <a:pt x="150" y="803"/>
                  </a:lnTo>
                  <a:lnTo>
                    <a:pt x="148" y="802"/>
                  </a:lnTo>
                  <a:lnTo>
                    <a:pt x="147" y="801"/>
                  </a:lnTo>
                  <a:lnTo>
                    <a:pt x="145" y="800"/>
                  </a:lnTo>
                  <a:lnTo>
                    <a:pt x="143" y="800"/>
                  </a:lnTo>
                  <a:lnTo>
                    <a:pt x="140" y="800"/>
                  </a:lnTo>
                  <a:lnTo>
                    <a:pt x="134" y="801"/>
                  </a:lnTo>
                  <a:lnTo>
                    <a:pt x="129" y="801"/>
                  </a:lnTo>
                  <a:lnTo>
                    <a:pt x="126" y="801"/>
                  </a:lnTo>
                  <a:lnTo>
                    <a:pt x="118" y="801"/>
                  </a:lnTo>
                  <a:lnTo>
                    <a:pt x="116" y="801"/>
                  </a:lnTo>
                  <a:lnTo>
                    <a:pt x="113" y="800"/>
                  </a:lnTo>
                  <a:lnTo>
                    <a:pt x="109" y="800"/>
                  </a:lnTo>
                  <a:lnTo>
                    <a:pt x="106" y="799"/>
                  </a:lnTo>
                  <a:lnTo>
                    <a:pt x="105" y="798"/>
                  </a:lnTo>
                  <a:lnTo>
                    <a:pt x="103" y="797"/>
                  </a:lnTo>
                  <a:lnTo>
                    <a:pt x="102" y="796"/>
                  </a:lnTo>
                  <a:lnTo>
                    <a:pt x="99" y="794"/>
                  </a:lnTo>
                  <a:lnTo>
                    <a:pt x="97" y="793"/>
                  </a:lnTo>
                  <a:lnTo>
                    <a:pt x="90" y="784"/>
                  </a:lnTo>
                  <a:lnTo>
                    <a:pt x="88" y="783"/>
                  </a:lnTo>
                  <a:lnTo>
                    <a:pt x="87" y="780"/>
                  </a:lnTo>
                  <a:lnTo>
                    <a:pt x="83" y="775"/>
                  </a:lnTo>
                  <a:lnTo>
                    <a:pt x="82" y="771"/>
                  </a:lnTo>
                  <a:lnTo>
                    <a:pt x="77" y="761"/>
                  </a:lnTo>
                  <a:lnTo>
                    <a:pt x="74" y="755"/>
                  </a:lnTo>
                  <a:lnTo>
                    <a:pt x="71" y="746"/>
                  </a:lnTo>
                  <a:lnTo>
                    <a:pt x="66" y="736"/>
                  </a:lnTo>
                  <a:lnTo>
                    <a:pt x="63" y="728"/>
                  </a:lnTo>
                  <a:lnTo>
                    <a:pt x="62" y="726"/>
                  </a:lnTo>
                  <a:lnTo>
                    <a:pt x="61" y="726"/>
                  </a:lnTo>
                  <a:lnTo>
                    <a:pt x="61" y="725"/>
                  </a:lnTo>
                  <a:lnTo>
                    <a:pt x="60" y="725"/>
                  </a:lnTo>
                  <a:lnTo>
                    <a:pt x="60" y="724"/>
                  </a:lnTo>
                  <a:lnTo>
                    <a:pt x="59" y="724"/>
                  </a:lnTo>
                  <a:lnTo>
                    <a:pt x="57" y="724"/>
                  </a:lnTo>
                  <a:lnTo>
                    <a:pt x="52" y="724"/>
                  </a:lnTo>
                  <a:lnTo>
                    <a:pt x="50" y="723"/>
                  </a:lnTo>
                  <a:lnTo>
                    <a:pt x="48" y="722"/>
                  </a:lnTo>
                  <a:lnTo>
                    <a:pt x="47" y="721"/>
                  </a:lnTo>
                  <a:lnTo>
                    <a:pt x="44" y="719"/>
                  </a:lnTo>
                  <a:lnTo>
                    <a:pt x="42" y="716"/>
                  </a:lnTo>
                  <a:lnTo>
                    <a:pt x="40" y="715"/>
                  </a:lnTo>
                  <a:lnTo>
                    <a:pt x="37" y="708"/>
                  </a:lnTo>
                  <a:lnTo>
                    <a:pt x="35" y="706"/>
                  </a:lnTo>
                  <a:lnTo>
                    <a:pt x="34" y="705"/>
                  </a:lnTo>
                  <a:lnTo>
                    <a:pt x="32" y="704"/>
                  </a:lnTo>
                  <a:lnTo>
                    <a:pt x="30" y="702"/>
                  </a:lnTo>
                  <a:lnTo>
                    <a:pt x="28" y="700"/>
                  </a:lnTo>
                  <a:lnTo>
                    <a:pt x="26" y="699"/>
                  </a:lnTo>
                  <a:lnTo>
                    <a:pt x="24" y="698"/>
                  </a:lnTo>
                  <a:lnTo>
                    <a:pt x="23" y="698"/>
                  </a:lnTo>
                  <a:lnTo>
                    <a:pt x="20" y="697"/>
                  </a:lnTo>
                  <a:lnTo>
                    <a:pt x="17" y="696"/>
                  </a:lnTo>
                  <a:lnTo>
                    <a:pt x="14" y="696"/>
                  </a:lnTo>
                  <a:lnTo>
                    <a:pt x="11" y="695"/>
                  </a:lnTo>
                  <a:lnTo>
                    <a:pt x="7" y="695"/>
                  </a:lnTo>
                  <a:lnTo>
                    <a:pt x="6" y="696"/>
                  </a:lnTo>
                  <a:lnTo>
                    <a:pt x="6" y="695"/>
                  </a:lnTo>
                  <a:lnTo>
                    <a:pt x="5" y="693"/>
                  </a:lnTo>
                  <a:lnTo>
                    <a:pt x="3" y="683"/>
                  </a:lnTo>
                  <a:lnTo>
                    <a:pt x="2" y="681"/>
                  </a:lnTo>
                  <a:lnTo>
                    <a:pt x="1" y="679"/>
                  </a:lnTo>
                  <a:lnTo>
                    <a:pt x="1" y="676"/>
                  </a:lnTo>
                  <a:lnTo>
                    <a:pt x="0" y="673"/>
                  </a:lnTo>
                  <a:lnTo>
                    <a:pt x="0" y="670"/>
                  </a:lnTo>
                  <a:lnTo>
                    <a:pt x="0" y="667"/>
                  </a:lnTo>
                  <a:lnTo>
                    <a:pt x="0" y="664"/>
                  </a:lnTo>
                  <a:lnTo>
                    <a:pt x="0" y="660"/>
                  </a:lnTo>
                  <a:lnTo>
                    <a:pt x="0" y="656"/>
                  </a:lnTo>
                  <a:lnTo>
                    <a:pt x="1" y="652"/>
                  </a:lnTo>
                  <a:lnTo>
                    <a:pt x="2" y="647"/>
                  </a:lnTo>
                  <a:lnTo>
                    <a:pt x="3" y="642"/>
                  </a:lnTo>
                  <a:lnTo>
                    <a:pt x="4" y="637"/>
                  </a:lnTo>
                  <a:lnTo>
                    <a:pt x="5" y="634"/>
                  </a:lnTo>
                  <a:lnTo>
                    <a:pt x="6" y="631"/>
                  </a:lnTo>
                  <a:lnTo>
                    <a:pt x="7" y="628"/>
                  </a:lnTo>
                  <a:lnTo>
                    <a:pt x="11" y="623"/>
                  </a:lnTo>
                  <a:lnTo>
                    <a:pt x="14" y="616"/>
                  </a:lnTo>
                  <a:lnTo>
                    <a:pt x="15" y="613"/>
                  </a:lnTo>
                  <a:lnTo>
                    <a:pt x="17" y="612"/>
                  </a:lnTo>
                  <a:lnTo>
                    <a:pt x="19" y="610"/>
                  </a:lnTo>
                  <a:lnTo>
                    <a:pt x="21" y="608"/>
                  </a:lnTo>
                  <a:lnTo>
                    <a:pt x="23" y="607"/>
                  </a:lnTo>
                  <a:lnTo>
                    <a:pt x="25" y="605"/>
                  </a:lnTo>
                  <a:lnTo>
                    <a:pt x="26" y="604"/>
                  </a:lnTo>
                  <a:lnTo>
                    <a:pt x="27" y="603"/>
                  </a:lnTo>
                  <a:lnTo>
                    <a:pt x="33" y="602"/>
                  </a:lnTo>
                  <a:lnTo>
                    <a:pt x="35" y="601"/>
                  </a:lnTo>
                  <a:lnTo>
                    <a:pt x="37" y="599"/>
                  </a:lnTo>
                  <a:lnTo>
                    <a:pt x="39" y="597"/>
                  </a:lnTo>
                  <a:lnTo>
                    <a:pt x="41" y="595"/>
                  </a:lnTo>
                  <a:lnTo>
                    <a:pt x="42" y="594"/>
                  </a:lnTo>
                  <a:lnTo>
                    <a:pt x="44" y="592"/>
                  </a:lnTo>
                  <a:lnTo>
                    <a:pt x="45" y="590"/>
                  </a:lnTo>
                  <a:lnTo>
                    <a:pt x="46" y="590"/>
                  </a:lnTo>
                  <a:lnTo>
                    <a:pt x="46" y="588"/>
                  </a:lnTo>
                  <a:lnTo>
                    <a:pt x="47" y="586"/>
                  </a:lnTo>
                  <a:lnTo>
                    <a:pt x="48" y="583"/>
                  </a:lnTo>
                  <a:lnTo>
                    <a:pt x="48" y="580"/>
                  </a:lnTo>
                  <a:lnTo>
                    <a:pt x="48" y="578"/>
                  </a:lnTo>
                  <a:lnTo>
                    <a:pt x="48" y="574"/>
                  </a:lnTo>
                  <a:lnTo>
                    <a:pt x="47" y="570"/>
                  </a:lnTo>
                  <a:lnTo>
                    <a:pt x="44" y="560"/>
                  </a:lnTo>
                  <a:lnTo>
                    <a:pt x="43" y="556"/>
                  </a:lnTo>
                  <a:lnTo>
                    <a:pt x="42" y="553"/>
                  </a:lnTo>
                  <a:lnTo>
                    <a:pt x="39" y="546"/>
                  </a:lnTo>
                  <a:lnTo>
                    <a:pt x="39" y="544"/>
                  </a:lnTo>
                  <a:lnTo>
                    <a:pt x="38" y="541"/>
                  </a:lnTo>
                  <a:lnTo>
                    <a:pt x="38" y="538"/>
                  </a:lnTo>
                  <a:lnTo>
                    <a:pt x="38" y="536"/>
                  </a:lnTo>
                  <a:lnTo>
                    <a:pt x="38" y="534"/>
                  </a:lnTo>
                  <a:lnTo>
                    <a:pt x="40" y="528"/>
                  </a:lnTo>
                  <a:lnTo>
                    <a:pt x="41" y="524"/>
                  </a:lnTo>
                  <a:lnTo>
                    <a:pt x="42" y="520"/>
                  </a:lnTo>
                  <a:lnTo>
                    <a:pt x="42" y="511"/>
                  </a:lnTo>
                  <a:lnTo>
                    <a:pt x="42" y="506"/>
                  </a:lnTo>
                  <a:lnTo>
                    <a:pt x="43" y="500"/>
                  </a:lnTo>
                  <a:lnTo>
                    <a:pt x="45" y="491"/>
                  </a:lnTo>
                  <a:lnTo>
                    <a:pt x="46" y="490"/>
                  </a:lnTo>
                  <a:lnTo>
                    <a:pt x="47" y="489"/>
                  </a:lnTo>
                  <a:lnTo>
                    <a:pt x="48" y="488"/>
                  </a:lnTo>
                  <a:lnTo>
                    <a:pt x="48" y="488"/>
                  </a:lnTo>
                  <a:lnTo>
                    <a:pt x="50" y="488"/>
                  </a:lnTo>
                  <a:lnTo>
                    <a:pt x="51" y="488"/>
                  </a:lnTo>
                  <a:lnTo>
                    <a:pt x="53" y="488"/>
                  </a:lnTo>
                  <a:lnTo>
                    <a:pt x="61" y="489"/>
                  </a:lnTo>
                  <a:lnTo>
                    <a:pt x="65" y="490"/>
                  </a:lnTo>
                  <a:lnTo>
                    <a:pt x="67" y="490"/>
                  </a:lnTo>
                  <a:lnTo>
                    <a:pt x="70" y="490"/>
                  </a:lnTo>
                  <a:lnTo>
                    <a:pt x="71" y="490"/>
                  </a:lnTo>
                  <a:lnTo>
                    <a:pt x="73" y="490"/>
                  </a:lnTo>
                  <a:lnTo>
                    <a:pt x="75" y="489"/>
                  </a:lnTo>
                  <a:lnTo>
                    <a:pt x="78" y="488"/>
                  </a:lnTo>
                  <a:lnTo>
                    <a:pt x="80" y="488"/>
                  </a:lnTo>
                  <a:lnTo>
                    <a:pt x="82" y="487"/>
                  </a:lnTo>
                  <a:lnTo>
                    <a:pt x="84" y="484"/>
                  </a:lnTo>
                  <a:lnTo>
                    <a:pt x="89" y="481"/>
                  </a:lnTo>
                  <a:lnTo>
                    <a:pt x="96" y="476"/>
                  </a:lnTo>
                  <a:lnTo>
                    <a:pt x="99" y="474"/>
                  </a:lnTo>
                  <a:lnTo>
                    <a:pt x="102" y="472"/>
                  </a:lnTo>
                  <a:lnTo>
                    <a:pt x="105" y="470"/>
                  </a:lnTo>
                  <a:lnTo>
                    <a:pt x="113" y="467"/>
                  </a:lnTo>
                  <a:lnTo>
                    <a:pt x="115" y="466"/>
                  </a:lnTo>
                  <a:lnTo>
                    <a:pt x="116" y="466"/>
                  </a:lnTo>
                  <a:lnTo>
                    <a:pt x="117" y="464"/>
                  </a:lnTo>
                  <a:lnTo>
                    <a:pt x="117" y="463"/>
                  </a:lnTo>
                  <a:lnTo>
                    <a:pt x="120" y="456"/>
                  </a:lnTo>
                  <a:lnTo>
                    <a:pt x="123" y="446"/>
                  </a:lnTo>
                  <a:lnTo>
                    <a:pt x="124" y="444"/>
                  </a:lnTo>
                  <a:lnTo>
                    <a:pt x="125" y="443"/>
                  </a:lnTo>
                  <a:lnTo>
                    <a:pt x="126" y="440"/>
                  </a:lnTo>
                  <a:lnTo>
                    <a:pt x="128" y="437"/>
                  </a:lnTo>
                  <a:lnTo>
                    <a:pt x="129" y="435"/>
                  </a:lnTo>
                  <a:lnTo>
                    <a:pt x="133" y="432"/>
                  </a:lnTo>
                  <a:lnTo>
                    <a:pt x="135" y="430"/>
                  </a:lnTo>
                  <a:lnTo>
                    <a:pt x="136" y="429"/>
                  </a:lnTo>
                  <a:lnTo>
                    <a:pt x="136" y="427"/>
                  </a:lnTo>
                  <a:lnTo>
                    <a:pt x="136" y="426"/>
                  </a:lnTo>
                  <a:lnTo>
                    <a:pt x="137" y="424"/>
                  </a:lnTo>
                  <a:lnTo>
                    <a:pt x="137" y="422"/>
                  </a:lnTo>
                  <a:lnTo>
                    <a:pt x="136" y="420"/>
                  </a:lnTo>
                  <a:lnTo>
                    <a:pt x="136" y="417"/>
                  </a:lnTo>
                  <a:lnTo>
                    <a:pt x="135" y="415"/>
                  </a:lnTo>
                  <a:lnTo>
                    <a:pt x="134" y="413"/>
                  </a:lnTo>
                  <a:lnTo>
                    <a:pt x="133" y="411"/>
                  </a:lnTo>
                  <a:lnTo>
                    <a:pt x="129" y="407"/>
                  </a:lnTo>
                  <a:lnTo>
                    <a:pt x="128" y="404"/>
                  </a:lnTo>
                  <a:lnTo>
                    <a:pt x="125" y="399"/>
                  </a:lnTo>
                  <a:lnTo>
                    <a:pt x="124" y="397"/>
                  </a:lnTo>
                  <a:lnTo>
                    <a:pt x="123" y="395"/>
                  </a:lnTo>
                  <a:lnTo>
                    <a:pt x="123" y="392"/>
                  </a:lnTo>
                  <a:lnTo>
                    <a:pt x="123" y="390"/>
                  </a:lnTo>
                  <a:lnTo>
                    <a:pt x="123" y="388"/>
                  </a:lnTo>
                  <a:lnTo>
                    <a:pt x="124" y="386"/>
                  </a:lnTo>
                  <a:lnTo>
                    <a:pt x="125" y="385"/>
                  </a:lnTo>
                  <a:lnTo>
                    <a:pt x="125" y="384"/>
                  </a:lnTo>
                  <a:lnTo>
                    <a:pt x="126" y="383"/>
                  </a:lnTo>
                  <a:lnTo>
                    <a:pt x="128" y="380"/>
                  </a:lnTo>
                  <a:lnTo>
                    <a:pt x="131" y="377"/>
                  </a:lnTo>
                  <a:lnTo>
                    <a:pt x="134" y="374"/>
                  </a:lnTo>
                  <a:lnTo>
                    <a:pt x="136" y="373"/>
                  </a:lnTo>
                  <a:lnTo>
                    <a:pt x="137" y="372"/>
                  </a:lnTo>
                  <a:lnTo>
                    <a:pt x="140" y="370"/>
                  </a:lnTo>
                  <a:lnTo>
                    <a:pt x="142" y="369"/>
                  </a:lnTo>
                  <a:lnTo>
                    <a:pt x="143" y="369"/>
                  </a:lnTo>
                  <a:lnTo>
                    <a:pt x="143" y="368"/>
                  </a:lnTo>
                  <a:lnTo>
                    <a:pt x="144" y="367"/>
                  </a:lnTo>
                  <a:lnTo>
                    <a:pt x="145" y="365"/>
                  </a:lnTo>
                  <a:lnTo>
                    <a:pt x="146" y="363"/>
                  </a:lnTo>
                  <a:lnTo>
                    <a:pt x="146" y="361"/>
                  </a:lnTo>
                  <a:lnTo>
                    <a:pt x="146" y="359"/>
                  </a:lnTo>
                  <a:lnTo>
                    <a:pt x="146" y="358"/>
                  </a:lnTo>
                  <a:lnTo>
                    <a:pt x="146" y="357"/>
                  </a:lnTo>
                  <a:lnTo>
                    <a:pt x="144" y="356"/>
                  </a:lnTo>
                  <a:lnTo>
                    <a:pt x="140" y="353"/>
                  </a:lnTo>
                  <a:lnTo>
                    <a:pt x="139" y="352"/>
                  </a:lnTo>
                  <a:lnTo>
                    <a:pt x="137" y="350"/>
                  </a:lnTo>
                  <a:lnTo>
                    <a:pt x="137" y="349"/>
                  </a:lnTo>
                  <a:lnTo>
                    <a:pt x="136" y="347"/>
                  </a:lnTo>
                  <a:lnTo>
                    <a:pt x="135" y="346"/>
                  </a:lnTo>
                  <a:lnTo>
                    <a:pt x="134" y="344"/>
                  </a:lnTo>
                  <a:lnTo>
                    <a:pt x="134" y="342"/>
                  </a:lnTo>
                  <a:lnTo>
                    <a:pt x="134" y="341"/>
                  </a:lnTo>
                  <a:lnTo>
                    <a:pt x="134" y="340"/>
                  </a:lnTo>
                  <a:lnTo>
                    <a:pt x="134" y="339"/>
                  </a:lnTo>
                  <a:lnTo>
                    <a:pt x="134" y="337"/>
                  </a:lnTo>
                  <a:lnTo>
                    <a:pt x="134" y="336"/>
                  </a:lnTo>
                  <a:lnTo>
                    <a:pt x="134" y="335"/>
                  </a:lnTo>
                  <a:lnTo>
                    <a:pt x="135" y="334"/>
                  </a:lnTo>
                  <a:lnTo>
                    <a:pt x="136" y="333"/>
                  </a:lnTo>
                  <a:lnTo>
                    <a:pt x="138" y="332"/>
                  </a:lnTo>
                  <a:lnTo>
                    <a:pt x="143" y="330"/>
                  </a:lnTo>
                  <a:lnTo>
                    <a:pt x="144" y="329"/>
                  </a:lnTo>
                  <a:lnTo>
                    <a:pt x="145" y="328"/>
                  </a:lnTo>
                  <a:lnTo>
                    <a:pt x="147" y="326"/>
                  </a:lnTo>
                  <a:lnTo>
                    <a:pt x="148" y="325"/>
                  </a:lnTo>
                  <a:lnTo>
                    <a:pt x="148" y="324"/>
                  </a:lnTo>
                  <a:lnTo>
                    <a:pt x="149" y="322"/>
                  </a:lnTo>
                  <a:lnTo>
                    <a:pt x="150" y="321"/>
                  </a:lnTo>
                  <a:lnTo>
                    <a:pt x="150" y="319"/>
                  </a:lnTo>
                  <a:lnTo>
                    <a:pt x="151" y="318"/>
                  </a:lnTo>
                  <a:lnTo>
                    <a:pt x="151" y="318"/>
                  </a:lnTo>
                  <a:lnTo>
                    <a:pt x="151" y="316"/>
                  </a:lnTo>
                  <a:lnTo>
                    <a:pt x="150" y="311"/>
                  </a:lnTo>
                  <a:lnTo>
                    <a:pt x="150" y="308"/>
                  </a:lnTo>
                  <a:lnTo>
                    <a:pt x="150" y="307"/>
                  </a:lnTo>
                  <a:lnTo>
                    <a:pt x="150" y="305"/>
                  </a:lnTo>
                  <a:lnTo>
                    <a:pt x="150" y="302"/>
                  </a:lnTo>
                  <a:lnTo>
                    <a:pt x="151" y="299"/>
                  </a:lnTo>
                  <a:lnTo>
                    <a:pt x="151" y="297"/>
                  </a:lnTo>
                  <a:lnTo>
                    <a:pt x="152" y="296"/>
                  </a:lnTo>
                  <a:lnTo>
                    <a:pt x="153" y="295"/>
                  </a:lnTo>
                  <a:lnTo>
                    <a:pt x="158" y="289"/>
                  </a:lnTo>
                  <a:lnTo>
                    <a:pt x="161" y="287"/>
                  </a:lnTo>
                  <a:lnTo>
                    <a:pt x="162" y="285"/>
                  </a:lnTo>
                  <a:lnTo>
                    <a:pt x="169" y="281"/>
                  </a:lnTo>
                  <a:lnTo>
                    <a:pt x="176" y="275"/>
                  </a:lnTo>
                  <a:lnTo>
                    <a:pt x="178" y="274"/>
                  </a:lnTo>
                  <a:lnTo>
                    <a:pt x="179" y="273"/>
                  </a:lnTo>
                  <a:lnTo>
                    <a:pt x="180" y="271"/>
                  </a:lnTo>
                  <a:lnTo>
                    <a:pt x="182" y="269"/>
                  </a:lnTo>
                  <a:lnTo>
                    <a:pt x="184" y="264"/>
                  </a:lnTo>
                  <a:lnTo>
                    <a:pt x="185" y="258"/>
                  </a:lnTo>
                  <a:lnTo>
                    <a:pt x="187" y="255"/>
                  </a:lnTo>
                  <a:lnTo>
                    <a:pt x="189" y="250"/>
                  </a:lnTo>
                  <a:lnTo>
                    <a:pt x="192" y="246"/>
                  </a:lnTo>
                  <a:lnTo>
                    <a:pt x="193" y="243"/>
                  </a:lnTo>
                  <a:lnTo>
                    <a:pt x="194" y="241"/>
                  </a:lnTo>
                  <a:lnTo>
                    <a:pt x="195" y="237"/>
                  </a:lnTo>
                  <a:lnTo>
                    <a:pt x="196" y="232"/>
                  </a:lnTo>
                  <a:lnTo>
                    <a:pt x="197" y="230"/>
                  </a:lnTo>
                  <a:lnTo>
                    <a:pt x="197" y="228"/>
                  </a:lnTo>
                  <a:lnTo>
                    <a:pt x="196" y="226"/>
                  </a:lnTo>
                  <a:lnTo>
                    <a:pt x="196" y="224"/>
                  </a:lnTo>
                  <a:lnTo>
                    <a:pt x="196" y="222"/>
                  </a:lnTo>
                  <a:lnTo>
                    <a:pt x="195" y="220"/>
                  </a:lnTo>
                  <a:lnTo>
                    <a:pt x="190" y="215"/>
                  </a:lnTo>
                  <a:lnTo>
                    <a:pt x="189" y="214"/>
                  </a:lnTo>
                  <a:lnTo>
                    <a:pt x="187" y="210"/>
                  </a:lnTo>
                  <a:lnTo>
                    <a:pt x="184" y="203"/>
                  </a:lnTo>
                  <a:lnTo>
                    <a:pt x="182" y="199"/>
                  </a:lnTo>
                  <a:lnTo>
                    <a:pt x="181" y="195"/>
                  </a:lnTo>
                  <a:lnTo>
                    <a:pt x="180" y="191"/>
                  </a:lnTo>
                  <a:lnTo>
                    <a:pt x="179" y="187"/>
                  </a:lnTo>
                  <a:lnTo>
                    <a:pt x="179" y="184"/>
                  </a:lnTo>
                  <a:lnTo>
                    <a:pt x="180" y="180"/>
                  </a:lnTo>
                  <a:lnTo>
                    <a:pt x="181" y="171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4" y="163"/>
                  </a:lnTo>
                  <a:lnTo>
                    <a:pt x="185" y="160"/>
                  </a:lnTo>
                  <a:lnTo>
                    <a:pt x="186" y="158"/>
                  </a:lnTo>
                  <a:lnTo>
                    <a:pt x="192" y="148"/>
                  </a:lnTo>
                  <a:lnTo>
                    <a:pt x="193" y="147"/>
                  </a:lnTo>
                  <a:lnTo>
                    <a:pt x="194" y="146"/>
                  </a:lnTo>
                  <a:lnTo>
                    <a:pt x="193" y="145"/>
                  </a:lnTo>
                  <a:lnTo>
                    <a:pt x="193" y="144"/>
                  </a:lnTo>
                  <a:lnTo>
                    <a:pt x="192" y="140"/>
                  </a:lnTo>
                  <a:lnTo>
                    <a:pt x="191" y="138"/>
                  </a:lnTo>
                  <a:lnTo>
                    <a:pt x="188" y="133"/>
                  </a:lnTo>
                  <a:lnTo>
                    <a:pt x="186" y="128"/>
                  </a:lnTo>
                  <a:lnTo>
                    <a:pt x="185" y="125"/>
                  </a:lnTo>
                  <a:lnTo>
                    <a:pt x="185" y="122"/>
                  </a:lnTo>
                  <a:lnTo>
                    <a:pt x="184" y="116"/>
                  </a:lnTo>
                  <a:lnTo>
                    <a:pt x="183" y="114"/>
                  </a:lnTo>
                  <a:lnTo>
                    <a:pt x="183" y="103"/>
                  </a:lnTo>
                  <a:lnTo>
                    <a:pt x="182" y="101"/>
                  </a:lnTo>
                  <a:lnTo>
                    <a:pt x="182" y="97"/>
                  </a:lnTo>
                  <a:lnTo>
                    <a:pt x="181" y="93"/>
                  </a:lnTo>
                  <a:lnTo>
                    <a:pt x="180" y="91"/>
                  </a:lnTo>
                  <a:lnTo>
                    <a:pt x="180" y="90"/>
                  </a:lnTo>
                  <a:lnTo>
                    <a:pt x="179" y="89"/>
                  </a:lnTo>
                  <a:lnTo>
                    <a:pt x="176" y="86"/>
                  </a:lnTo>
                  <a:lnTo>
                    <a:pt x="175" y="84"/>
                  </a:lnTo>
                  <a:lnTo>
                    <a:pt x="174" y="82"/>
                  </a:lnTo>
                  <a:lnTo>
                    <a:pt x="174" y="81"/>
                  </a:lnTo>
                  <a:lnTo>
                    <a:pt x="173" y="80"/>
                  </a:lnTo>
                  <a:lnTo>
                    <a:pt x="173" y="79"/>
                  </a:lnTo>
                  <a:lnTo>
                    <a:pt x="173" y="78"/>
                  </a:lnTo>
                  <a:lnTo>
                    <a:pt x="173" y="76"/>
                  </a:lnTo>
                  <a:lnTo>
                    <a:pt x="174" y="73"/>
                  </a:lnTo>
                  <a:lnTo>
                    <a:pt x="177" y="63"/>
                  </a:lnTo>
                  <a:lnTo>
                    <a:pt x="178" y="60"/>
                  </a:lnTo>
                  <a:lnTo>
                    <a:pt x="179" y="58"/>
                  </a:lnTo>
                  <a:lnTo>
                    <a:pt x="180" y="58"/>
                  </a:lnTo>
                  <a:lnTo>
                    <a:pt x="181" y="55"/>
                  </a:lnTo>
                  <a:lnTo>
                    <a:pt x="182" y="54"/>
                  </a:lnTo>
                  <a:lnTo>
                    <a:pt x="183" y="53"/>
                  </a:lnTo>
                  <a:lnTo>
                    <a:pt x="184" y="53"/>
                  </a:lnTo>
                  <a:lnTo>
                    <a:pt x="185" y="53"/>
                  </a:lnTo>
                  <a:lnTo>
                    <a:pt x="185" y="54"/>
                  </a:lnTo>
                  <a:lnTo>
                    <a:pt x="186" y="54"/>
                  </a:lnTo>
                  <a:lnTo>
                    <a:pt x="187" y="54"/>
                  </a:lnTo>
                  <a:lnTo>
                    <a:pt x="190" y="54"/>
                  </a:lnTo>
                  <a:lnTo>
                    <a:pt x="193" y="54"/>
                  </a:lnTo>
                  <a:lnTo>
                    <a:pt x="196" y="53"/>
                  </a:lnTo>
                  <a:lnTo>
                    <a:pt x="204" y="50"/>
                  </a:lnTo>
                  <a:lnTo>
                    <a:pt x="214" y="48"/>
                  </a:lnTo>
                  <a:lnTo>
                    <a:pt x="218" y="46"/>
                  </a:lnTo>
                  <a:lnTo>
                    <a:pt x="222" y="45"/>
                  </a:lnTo>
                  <a:lnTo>
                    <a:pt x="224" y="44"/>
                  </a:lnTo>
                  <a:lnTo>
                    <a:pt x="225" y="44"/>
                  </a:lnTo>
                  <a:lnTo>
                    <a:pt x="226" y="44"/>
                  </a:lnTo>
                  <a:lnTo>
                    <a:pt x="228" y="44"/>
                  </a:lnTo>
                  <a:lnTo>
                    <a:pt x="229" y="45"/>
                  </a:lnTo>
                  <a:lnTo>
                    <a:pt x="230" y="45"/>
                  </a:lnTo>
                  <a:lnTo>
                    <a:pt x="231" y="46"/>
                  </a:lnTo>
                  <a:lnTo>
                    <a:pt x="237" y="51"/>
                  </a:lnTo>
                  <a:lnTo>
                    <a:pt x="238" y="52"/>
                  </a:lnTo>
                  <a:lnTo>
                    <a:pt x="239" y="52"/>
                  </a:lnTo>
                  <a:lnTo>
                    <a:pt x="240" y="53"/>
                  </a:lnTo>
                  <a:lnTo>
                    <a:pt x="242" y="53"/>
                  </a:lnTo>
                  <a:lnTo>
                    <a:pt x="244" y="53"/>
                  </a:lnTo>
                  <a:lnTo>
                    <a:pt x="245" y="53"/>
                  </a:lnTo>
                  <a:lnTo>
                    <a:pt x="247" y="52"/>
                  </a:lnTo>
                  <a:lnTo>
                    <a:pt x="248" y="52"/>
                  </a:lnTo>
                  <a:lnTo>
                    <a:pt x="251" y="50"/>
                  </a:lnTo>
                  <a:lnTo>
                    <a:pt x="257" y="47"/>
                  </a:lnTo>
                  <a:lnTo>
                    <a:pt x="259" y="46"/>
                  </a:lnTo>
                  <a:lnTo>
                    <a:pt x="262" y="46"/>
                  </a:lnTo>
                  <a:lnTo>
                    <a:pt x="264" y="46"/>
                  </a:lnTo>
                  <a:lnTo>
                    <a:pt x="265" y="46"/>
                  </a:lnTo>
                  <a:lnTo>
                    <a:pt x="266" y="46"/>
                  </a:lnTo>
                  <a:lnTo>
                    <a:pt x="268" y="47"/>
                  </a:lnTo>
                  <a:lnTo>
                    <a:pt x="269" y="47"/>
                  </a:lnTo>
                  <a:lnTo>
                    <a:pt x="276" y="52"/>
                  </a:lnTo>
                  <a:lnTo>
                    <a:pt x="277" y="54"/>
                  </a:lnTo>
                  <a:lnTo>
                    <a:pt x="281" y="56"/>
                  </a:lnTo>
                  <a:lnTo>
                    <a:pt x="282" y="57"/>
                  </a:lnTo>
                  <a:lnTo>
                    <a:pt x="283" y="58"/>
                  </a:lnTo>
                  <a:lnTo>
                    <a:pt x="285" y="59"/>
                  </a:lnTo>
                  <a:lnTo>
                    <a:pt x="286" y="60"/>
                  </a:lnTo>
                  <a:lnTo>
                    <a:pt x="287" y="61"/>
                  </a:lnTo>
                  <a:lnTo>
                    <a:pt x="288" y="61"/>
                  </a:lnTo>
                  <a:lnTo>
                    <a:pt x="293" y="63"/>
                  </a:lnTo>
                  <a:lnTo>
                    <a:pt x="296" y="64"/>
                  </a:lnTo>
                  <a:lnTo>
                    <a:pt x="298" y="65"/>
                  </a:lnTo>
                  <a:lnTo>
                    <a:pt x="300" y="66"/>
                  </a:lnTo>
                  <a:lnTo>
                    <a:pt x="302" y="66"/>
                  </a:lnTo>
                  <a:lnTo>
                    <a:pt x="305" y="66"/>
                  </a:lnTo>
                  <a:lnTo>
                    <a:pt x="307" y="66"/>
                  </a:lnTo>
                  <a:lnTo>
                    <a:pt x="310" y="65"/>
                  </a:lnTo>
                  <a:lnTo>
                    <a:pt x="312" y="65"/>
                  </a:lnTo>
                  <a:lnTo>
                    <a:pt x="314" y="64"/>
                  </a:lnTo>
                  <a:lnTo>
                    <a:pt x="316" y="62"/>
                  </a:lnTo>
                  <a:lnTo>
                    <a:pt x="321" y="59"/>
                  </a:lnTo>
                  <a:lnTo>
                    <a:pt x="321" y="58"/>
                  </a:lnTo>
                  <a:lnTo>
                    <a:pt x="324" y="58"/>
                  </a:lnTo>
                  <a:lnTo>
                    <a:pt x="326" y="57"/>
                  </a:lnTo>
                  <a:lnTo>
                    <a:pt x="328" y="56"/>
                  </a:lnTo>
                  <a:lnTo>
                    <a:pt x="338" y="55"/>
                  </a:lnTo>
                  <a:lnTo>
                    <a:pt x="341" y="55"/>
                  </a:lnTo>
                  <a:lnTo>
                    <a:pt x="343" y="54"/>
                  </a:lnTo>
                  <a:lnTo>
                    <a:pt x="344" y="53"/>
                  </a:lnTo>
                  <a:lnTo>
                    <a:pt x="346" y="52"/>
                  </a:lnTo>
                  <a:lnTo>
                    <a:pt x="349" y="50"/>
                  </a:lnTo>
                  <a:lnTo>
                    <a:pt x="353" y="47"/>
                  </a:lnTo>
                  <a:lnTo>
                    <a:pt x="355" y="46"/>
                  </a:lnTo>
                  <a:lnTo>
                    <a:pt x="356" y="46"/>
                  </a:lnTo>
                  <a:lnTo>
                    <a:pt x="361" y="45"/>
                  </a:lnTo>
                  <a:lnTo>
                    <a:pt x="362" y="44"/>
                  </a:lnTo>
                  <a:lnTo>
                    <a:pt x="363" y="44"/>
                  </a:lnTo>
                  <a:lnTo>
                    <a:pt x="364" y="43"/>
                  </a:lnTo>
                  <a:lnTo>
                    <a:pt x="365" y="42"/>
                  </a:lnTo>
                  <a:lnTo>
                    <a:pt x="367" y="38"/>
                  </a:lnTo>
                  <a:lnTo>
                    <a:pt x="368" y="35"/>
                  </a:lnTo>
                  <a:lnTo>
                    <a:pt x="369" y="34"/>
                  </a:lnTo>
                  <a:lnTo>
                    <a:pt x="371" y="31"/>
                  </a:lnTo>
                  <a:lnTo>
                    <a:pt x="373" y="26"/>
                  </a:lnTo>
                  <a:lnTo>
                    <a:pt x="375" y="21"/>
                  </a:lnTo>
                  <a:lnTo>
                    <a:pt x="376" y="19"/>
                  </a:lnTo>
                  <a:lnTo>
                    <a:pt x="377" y="17"/>
                  </a:lnTo>
                  <a:lnTo>
                    <a:pt x="378" y="16"/>
                  </a:lnTo>
                  <a:lnTo>
                    <a:pt x="378" y="15"/>
                  </a:lnTo>
                  <a:lnTo>
                    <a:pt x="380" y="13"/>
                  </a:lnTo>
                  <a:lnTo>
                    <a:pt x="384" y="12"/>
                  </a:lnTo>
                  <a:lnTo>
                    <a:pt x="391" y="8"/>
                  </a:lnTo>
                  <a:lnTo>
                    <a:pt x="399" y="4"/>
                  </a:lnTo>
                  <a:lnTo>
                    <a:pt x="401" y="3"/>
                  </a:lnTo>
                  <a:lnTo>
                    <a:pt x="405" y="1"/>
                  </a:lnTo>
                  <a:lnTo>
                    <a:pt x="409" y="1"/>
                  </a:lnTo>
                  <a:lnTo>
                    <a:pt x="413" y="0"/>
                  </a:lnTo>
                  <a:lnTo>
                    <a:pt x="414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7" name="Freeform 90">
              <a:extLst>
                <a:ext uri="{FF2B5EF4-FFF2-40B4-BE49-F238E27FC236}">
                  <a16:creationId xmlns:a16="http://schemas.microsoft.com/office/drawing/2014/main" id="{8E975BA0-911D-44C7-B980-289B5A772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" y="2091"/>
              <a:ext cx="1092" cy="1370"/>
            </a:xfrm>
            <a:custGeom>
              <a:avLst/>
              <a:gdLst>
                <a:gd name="T0" fmla="*/ 727 w 1092"/>
                <a:gd name="T1" fmla="*/ 6 h 1370"/>
                <a:gd name="T2" fmla="*/ 752 w 1092"/>
                <a:gd name="T3" fmla="*/ 28 h 1370"/>
                <a:gd name="T4" fmla="*/ 785 w 1092"/>
                <a:gd name="T5" fmla="*/ 33 h 1370"/>
                <a:gd name="T6" fmla="*/ 771 w 1092"/>
                <a:gd name="T7" fmla="*/ 74 h 1370"/>
                <a:gd name="T8" fmla="*/ 803 w 1092"/>
                <a:gd name="T9" fmla="*/ 81 h 1370"/>
                <a:gd name="T10" fmla="*/ 857 w 1092"/>
                <a:gd name="T11" fmla="*/ 81 h 1370"/>
                <a:gd name="T12" fmla="*/ 855 w 1092"/>
                <a:gd name="T13" fmla="*/ 98 h 1370"/>
                <a:gd name="T14" fmla="*/ 912 w 1092"/>
                <a:gd name="T15" fmla="*/ 132 h 1370"/>
                <a:gd name="T16" fmla="*/ 966 w 1092"/>
                <a:gd name="T17" fmla="*/ 132 h 1370"/>
                <a:gd name="T18" fmla="*/ 1024 w 1092"/>
                <a:gd name="T19" fmla="*/ 172 h 1370"/>
                <a:gd name="T20" fmla="*/ 1045 w 1092"/>
                <a:gd name="T21" fmla="*/ 198 h 1370"/>
                <a:gd name="T22" fmla="*/ 1092 w 1092"/>
                <a:gd name="T23" fmla="*/ 271 h 1370"/>
                <a:gd name="T24" fmla="*/ 1072 w 1092"/>
                <a:gd name="T25" fmla="*/ 316 h 1370"/>
                <a:gd name="T26" fmla="*/ 1064 w 1092"/>
                <a:gd name="T27" fmla="*/ 384 h 1370"/>
                <a:gd name="T28" fmla="*/ 1072 w 1092"/>
                <a:gd name="T29" fmla="*/ 419 h 1370"/>
                <a:gd name="T30" fmla="*/ 1038 w 1092"/>
                <a:gd name="T31" fmla="*/ 455 h 1370"/>
                <a:gd name="T32" fmla="*/ 999 w 1092"/>
                <a:gd name="T33" fmla="*/ 455 h 1370"/>
                <a:gd name="T34" fmla="*/ 971 w 1092"/>
                <a:gd name="T35" fmla="*/ 499 h 1370"/>
                <a:gd name="T36" fmla="*/ 1003 w 1092"/>
                <a:gd name="T37" fmla="*/ 506 h 1370"/>
                <a:gd name="T38" fmla="*/ 987 w 1092"/>
                <a:gd name="T39" fmla="*/ 529 h 1370"/>
                <a:gd name="T40" fmla="*/ 981 w 1092"/>
                <a:gd name="T41" fmla="*/ 549 h 1370"/>
                <a:gd name="T42" fmla="*/ 992 w 1092"/>
                <a:gd name="T43" fmla="*/ 569 h 1370"/>
                <a:gd name="T44" fmla="*/ 1025 w 1092"/>
                <a:gd name="T45" fmla="*/ 582 h 1370"/>
                <a:gd name="T46" fmla="*/ 1020 w 1092"/>
                <a:gd name="T47" fmla="*/ 659 h 1370"/>
                <a:gd name="T48" fmla="*/ 1038 w 1092"/>
                <a:gd name="T49" fmla="*/ 696 h 1370"/>
                <a:gd name="T50" fmla="*/ 1027 w 1092"/>
                <a:gd name="T51" fmla="*/ 732 h 1370"/>
                <a:gd name="T52" fmla="*/ 1045 w 1092"/>
                <a:gd name="T53" fmla="*/ 790 h 1370"/>
                <a:gd name="T54" fmla="*/ 1035 w 1092"/>
                <a:gd name="T55" fmla="*/ 849 h 1370"/>
                <a:gd name="T56" fmla="*/ 1040 w 1092"/>
                <a:gd name="T57" fmla="*/ 905 h 1370"/>
                <a:gd name="T58" fmla="*/ 1003 w 1092"/>
                <a:gd name="T59" fmla="*/ 955 h 1370"/>
                <a:gd name="T60" fmla="*/ 989 w 1092"/>
                <a:gd name="T61" fmla="*/ 983 h 1370"/>
                <a:gd name="T62" fmla="*/ 999 w 1092"/>
                <a:gd name="T63" fmla="*/ 1007 h 1370"/>
                <a:gd name="T64" fmla="*/ 978 w 1092"/>
                <a:gd name="T65" fmla="*/ 1034 h 1370"/>
                <a:gd name="T66" fmla="*/ 990 w 1092"/>
                <a:gd name="T67" fmla="*/ 1074 h 1370"/>
                <a:gd name="T68" fmla="*/ 966 w 1092"/>
                <a:gd name="T69" fmla="*/ 1117 h 1370"/>
                <a:gd name="T70" fmla="*/ 906 w 1092"/>
                <a:gd name="T71" fmla="*/ 1138 h 1370"/>
                <a:gd name="T72" fmla="*/ 891 w 1092"/>
                <a:gd name="T73" fmla="*/ 1191 h 1370"/>
                <a:gd name="T74" fmla="*/ 894 w 1092"/>
                <a:gd name="T75" fmla="*/ 1245 h 1370"/>
                <a:gd name="T76" fmla="*/ 858 w 1092"/>
                <a:gd name="T77" fmla="*/ 1284 h 1370"/>
                <a:gd name="T78" fmla="*/ 859 w 1092"/>
                <a:gd name="T79" fmla="*/ 1346 h 1370"/>
                <a:gd name="T80" fmla="*/ 827 w 1092"/>
                <a:gd name="T81" fmla="*/ 1358 h 1370"/>
                <a:gd name="T82" fmla="*/ 776 w 1092"/>
                <a:gd name="T83" fmla="*/ 1346 h 1370"/>
                <a:gd name="T84" fmla="*/ 743 w 1092"/>
                <a:gd name="T85" fmla="*/ 1270 h 1370"/>
                <a:gd name="T86" fmla="*/ 685 w 1092"/>
                <a:gd name="T87" fmla="*/ 1186 h 1370"/>
                <a:gd name="T88" fmla="*/ 616 w 1092"/>
                <a:gd name="T89" fmla="*/ 1163 h 1370"/>
                <a:gd name="T90" fmla="*/ 572 w 1092"/>
                <a:gd name="T91" fmla="*/ 1125 h 1370"/>
                <a:gd name="T92" fmla="*/ 523 w 1092"/>
                <a:gd name="T93" fmla="*/ 1047 h 1370"/>
                <a:gd name="T94" fmla="*/ 472 w 1092"/>
                <a:gd name="T95" fmla="*/ 984 h 1370"/>
                <a:gd name="T96" fmla="*/ 443 w 1092"/>
                <a:gd name="T97" fmla="*/ 927 h 1370"/>
                <a:gd name="T98" fmla="*/ 363 w 1092"/>
                <a:gd name="T99" fmla="*/ 885 h 1370"/>
                <a:gd name="T100" fmla="*/ 332 w 1092"/>
                <a:gd name="T101" fmla="*/ 895 h 1370"/>
                <a:gd name="T102" fmla="*/ 274 w 1092"/>
                <a:gd name="T103" fmla="*/ 875 h 1370"/>
                <a:gd name="T104" fmla="*/ 220 w 1092"/>
                <a:gd name="T105" fmla="*/ 796 h 1370"/>
                <a:gd name="T106" fmla="*/ 178 w 1092"/>
                <a:gd name="T107" fmla="*/ 753 h 1370"/>
                <a:gd name="T108" fmla="*/ 170 w 1092"/>
                <a:gd name="T109" fmla="*/ 675 h 1370"/>
                <a:gd name="T110" fmla="*/ 129 w 1092"/>
                <a:gd name="T111" fmla="*/ 639 h 1370"/>
                <a:gd name="T112" fmla="*/ 107 w 1092"/>
                <a:gd name="T113" fmla="*/ 560 h 1370"/>
                <a:gd name="T114" fmla="*/ 84 w 1092"/>
                <a:gd name="T115" fmla="*/ 523 h 1370"/>
                <a:gd name="T116" fmla="*/ 66 w 1092"/>
                <a:gd name="T117" fmla="*/ 472 h 1370"/>
                <a:gd name="T118" fmla="*/ 3 w 1092"/>
                <a:gd name="T119" fmla="*/ 413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2" h="1370">
                  <a:moveTo>
                    <a:pt x="712" y="0"/>
                  </a:moveTo>
                  <a:lnTo>
                    <a:pt x="712" y="1"/>
                  </a:lnTo>
                  <a:lnTo>
                    <a:pt x="712" y="2"/>
                  </a:lnTo>
                  <a:lnTo>
                    <a:pt x="712" y="4"/>
                  </a:lnTo>
                  <a:lnTo>
                    <a:pt x="713" y="7"/>
                  </a:lnTo>
                  <a:lnTo>
                    <a:pt x="713" y="9"/>
                  </a:lnTo>
                  <a:lnTo>
                    <a:pt x="714" y="11"/>
                  </a:lnTo>
                  <a:lnTo>
                    <a:pt x="715" y="12"/>
                  </a:lnTo>
                  <a:lnTo>
                    <a:pt x="716" y="13"/>
                  </a:lnTo>
                  <a:lnTo>
                    <a:pt x="717" y="14"/>
                  </a:lnTo>
                  <a:lnTo>
                    <a:pt x="719" y="14"/>
                  </a:lnTo>
                  <a:lnTo>
                    <a:pt x="719" y="14"/>
                  </a:lnTo>
                  <a:lnTo>
                    <a:pt x="720" y="14"/>
                  </a:lnTo>
                  <a:lnTo>
                    <a:pt x="721" y="13"/>
                  </a:lnTo>
                  <a:lnTo>
                    <a:pt x="722" y="13"/>
                  </a:lnTo>
                  <a:lnTo>
                    <a:pt x="724" y="11"/>
                  </a:lnTo>
                  <a:lnTo>
                    <a:pt x="727" y="6"/>
                  </a:lnTo>
                  <a:lnTo>
                    <a:pt x="729" y="5"/>
                  </a:lnTo>
                  <a:lnTo>
                    <a:pt x="730" y="5"/>
                  </a:lnTo>
                  <a:lnTo>
                    <a:pt x="731" y="3"/>
                  </a:lnTo>
                  <a:lnTo>
                    <a:pt x="733" y="3"/>
                  </a:lnTo>
                  <a:lnTo>
                    <a:pt x="734" y="2"/>
                  </a:lnTo>
                  <a:lnTo>
                    <a:pt x="735" y="3"/>
                  </a:lnTo>
                  <a:lnTo>
                    <a:pt x="737" y="5"/>
                  </a:lnTo>
                  <a:lnTo>
                    <a:pt x="739" y="10"/>
                  </a:lnTo>
                  <a:lnTo>
                    <a:pt x="742" y="15"/>
                  </a:lnTo>
                  <a:lnTo>
                    <a:pt x="744" y="17"/>
                  </a:lnTo>
                  <a:lnTo>
                    <a:pt x="745" y="19"/>
                  </a:lnTo>
                  <a:lnTo>
                    <a:pt x="747" y="24"/>
                  </a:lnTo>
                  <a:lnTo>
                    <a:pt x="748" y="26"/>
                  </a:lnTo>
                  <a:lnTo>
                    <a:pt x="749" y="27"/>
                  </a:lnTo>
                  <a:lnTo>
                    <a:pt x="750" y="28"/>
                  </a:lnTo>
                  <a:lnTo>
                    <a:pt x="751" y="28"/>
                  </a:lnTo>
                  <a:lnTo>
                    <a:pt x="752" y="28"/>
                  </a:lnTo>
                  <a:lnTo>
                    <a:pt x="753" y="28"/>
                  </a:lnTo>
                  <a:lnTo>
                    <a:pt x="753" y="28"/>
                  </a:lnTo>
                  <a:lnTo>
                    <a:pt x="756" y="28"/>
                  </a:lnTo>
                  <a:lnTo>
                    <a:pt x="763" y="28"/>
                  </a:lnTo>
                  <a:lnTo>
                    <a:pt x="764" y="27"/>
                  </a:lnTo>
                  <a:lnTo>
                    <a:pt x="765" y="26"/>
                  </a:lnTo>
                  <a:lnTo>
                    <a:pt x="768" y="24"/>
                  </a:lnTo>
                  <a:lnTo>
                    <a:pt x="771" y="22"/>
                  </a:lnTo>
                  <a:lnTo>
                    <a:pt x="772" y="21"/>
                  </a:lnTo>
                  <a:lnTo>
                    <a:pt x="773" y="20"/>
                  </a:lnTo>
                  <a:lnTo>
                    <a:pt x="775" y="17"/>
                  </a:lnTo>
                  <a:lnTo>
                    <a:pt x="776" y="18"/>
                  </a:lnTo>
                  <a:lnTo>
                    <a:pt x="776" y="20"/>
                  </a:lnTo>
                  <a:lnTo>
                    <a:pt x="780" y="25"/>
                  </a:lnTo>
                  <a:lnTo>
                    <a:pt x="781" y="27"/>
                  </a:lnTo>
                  <a:lnTo>
                    <a:pt x="783" y="30"/>
                  </a:lnTo>
                  <a:lnTo>
                    <a:pt x="785" y="33"/>
                  </a:lnTo>
                  <a:lnTo>
                    <a:pt x="786" y="35"/>
                  </a:lnTo>
                  <a:lnTo>
                    <a:pt x="787" y="38"/>
                  </a:lnTo>
                  <a:lnTo>
                    <a:pt x="787" y="40"/>
                  </a:lnTo>
                  <a:lnTo>
                    <a:pt x="787" y="42"/>
                  </a:lnTo>
                  <a:lnTo>
                    <a:pt x="787" y="44"/>
                  </a:lnTo>
                  <a:lnTo>
                    <a:pt x="787" y="46"/>
                  </a:lnTo>
                  <a:lnTo>
                    <a:pt x="787" y="47"/>
                  </a:lnTo>
                  <a:lnTo>
                    <a:pt x="786" y="49"/>
                  </a:lnTo>
                  <a:lnTo>
                    <a:pt x="785" y="51"/>
                  </a:lnTo>
                  <a:lnTo>
                    <a:pt x="780" y="55"/>
                  </a:lnTo>
                  <a:lnTo>
                    <a:pt x="778" y="59"/>
                  </a:lnTo>
                  <a:lnTo>
                    <a:pt x="776" y="62"/>
                  </a:lnTo>
                  <a:lnTo>
                    <a:pt x="774" y="67"/>
                  </a:lnTo>
                  <a:lnTo>
                    <a:pt x="773" y="69"/>
                  </a:lnTo>
                  <a:lnTo>
                    <a:pt x="772" y="71"/>
                  </a:lnTo>
                  <a:lnTo>
                    <a:pt x="771" y="73"/>
                  </a:lnTo>
                  <a:lnTo>
                    <a:pt x="771" y="74"/>
                  </a:lnTo>
                  <a:lnTo>
                    <a:pt x="771" y="76"/>
                  </a:lnTo>
                  <a:lnTo>
                    <a:pt x="771" y="78"/>
                  </a:lnTo>
                  <a:lnTo>
                    <a:pt x="771" y="79"/>
                  </a:lnTo>
                  <a:lnTo>
                    <a:pt x="772" y="80"/>
                  </a:lnTo>
                  <a:lnTo>
                    <a:pt x="772" y="81"/>
                  </a:lnTo>
                  <a:lnTo>
                    <a:pt x="773" y="82"/>
                  </a:lnTo>
                  <a:lnTo>
                    <a:pt x="774" y="82"/>
                  </a:lnTo>
                  <a:lnTo>
                    <a:pt x="776" y="83"/>
                  </a:lnTo>
                  <a:lnTo>
                    <a:pt x="778" y="84"/>
                  </a:lnTo>
                  <a:lnTo>
                    <a:pt x="786" y="85"/>
                  </a:lnTo>
                  <a:lnTo>
                    <a:pt x="788" y="85"/>
                  </a:lnTo>
                  <a:lnTo>
                    <a:pt x="788" y="85"/>
                  </a:lnTo>
                  <a:lnTo>
                    <a:pt x="790" y="85"/>
                  </a:lnTo>
                  <a:lnTo>
                    <a:pt x="791" y="85"/>
                  </a:lnTo>
                  <a:lnTo>
                    <a:pt x="794" y="85"/>
                  </a:lnTo>
                  <a:lnTo>
                    <a:pt x="797" y="84"/>
                  </a:lnTo>
                  <a:lnTo>
                    <a:pt x="803" y="81"/>
                  </a:lnTo>
                  <a:lnTo>
                    <a:pt x="806" y="80"/>
                  </a:lnTo>
                  <a:lnTo>
                    <a:pt x="809" y="79"/>
                  </a:lnTo>
                  <a:lnTo>
                    <a:pt x="810" y="79"/>
                  </a:lnTo>
                  <a:lnTo>
                    <a:pt x="815" y="78"/>
                  </a:lnTo>
                  <a:lnTo>
                    <a:pt x="819" y="78"/>
                  </a:lnTo>
                  <a:lnTo>
                    <a:pt x="822" y="78"/>
                  </a:lnTo>
                  <a:lnTo>
                    <a:pt x="826" y="79"/>
                  </a:lnTo>
                  <a:lnTo>
                    <a:pt x="833" y="80"/>
                  </a:lnTo>
                  <a:lnTo>
                    <a:pt x="835" y="81"/>
                  </a:lnTo>
                  <a:lnTo>
                    <a:pt x="837" y="81"/>
                  </a:lnTo>
                  <a:lnTo>
                    <a:pt x="839" y="81"/>
                  </a:lnTo>
                  <a:lnTo>
                    <a:pt x="846" y="80"/>
                  </a:lnTo>
                  <a:lnTo>
                    <a:pt x="850" y="80"/>
                  </a:lnTo>
                  <a:lnTo>
                    <a:pt x="852" y="80"/>
                  </a:lnTo>
                  <a:lnTo>
                    <a:pt x="855" y="80"/>
                  </a:lnTo>
                  <a:lnTo>
                    <a:pt x="856" y="81"/>
                  </a:lnTo>
                  <a:lnTo>
                    <a:pt x="857" y="81"/>
                  </a:lnTo>
                  <a:lnTo>
                    <a:pt x="860" y="83"/>
                  </a:lnTo>
                  <a:lnTo>
                    <a:pt x="864" y="85"/>
                  </a:lnTo>
                  <a:lnTo>
                    <a:pt x="864" y="85"/>
                  </a:lnTo>
                  <a:lnTo>
                    <a:pt x="865" y="85"/>
                  </a:lnTo>
                  <a:lnTo>
                    <a:pt x="865" y="86"/>
                  </a:lnTo>
                  <a:lnTo>
                    <a:pt x="865" y="87"/>
                  </a:lnTo>
                  <a:lnTo>
                    <a:pt x="864" y="88"/>
                  </a:lnTo>
                  <a:lnTo>
                    <a:pt x="859" y="90"/>
                  </a:lnTo>
                  <a:lnTo>
                    <a:pt x="857" y="91"/>
                  </a:lnTo>
                  <a:lnTo>
                    <a:pt x="856" y="92"/>
                  </a:lnTo>
                  <a:lnTo>
                    <a:pt x="855" y="93"/>
                  </a:lnTo>
                  <a:lnTo>
                    <a:pt x="855" y="94"/>
                  </a:lnTo>
                  <a:lnTo>
                    <a:pt x="854" y="95"/>
                  </a:lnTo>
                  <a:lnTo>
                    <a:pt x="854" y="96"/>
                  </a:lnTo>
                  <a:lnTo>
                    <a:pt x="854" y="96"/>
                  </a:lnTo>
                  <a:lnTo>
                    <a:pt x="855" y="97"/>
                  </a:lnTo>
                  <a:lnTo>
                    <a:pt x="855" y="98"/>
                  </a:lnTo>
                  <a:lnTo>
                    <a:pt x="856" y="99"/>
                  </a:lnTo>
                  <a:lnTo>
                    <a:pt x="856" y="101"/>
                  </a:lnTo>
                  <a:lnTo>
                    <a:pt x="858" y="102"/>
                  </a:lnTo>
                  <a:lnTo>
                    <a:pt x="860" y="104"/>
                  </a:lnTo>
                  <a:lnTo>
                    <a:pt x="862" y="106"/>
                  </a:lnTo>
                  <a:lnTo>
                    <a:pt x="866" y="107"/>
                  </a:lnTo>
                  <a:lnTo>
                    <a:pt x="873" y="111"/>
                  </a:lnTo>
                  <a:lnTo>
                    <a:pt x="879" y="115"/>
                  </a:lnTo>
                  <a:lnTo>
                    <a:pt x="882" y="118"/>
                  </a:lnTo>
                  <a:lnTo>
                    <a:pt x="891" y="124"/>
                  </a:lnTo>
                  <a:lnTo>
                    <a:pt x="895" y="127"/>
                  </a:lnTo>
                  <a:lnTo>
                    <a:pt x="898" y="128"/>
                  </a:lnTo>
                  <a:lnTo>
                    <a:pt x="900" y="129"/>
                  </a:lnTo>
                  <a:lnTo>
                    <a:pt x="902" y="130"/>
                  </a:lnTo>
                  <a:lnTo>
                    <a:pt x="905" y="130"/>
                  </a:lnTo>
                  <a:lnTo>
                    <a:pt x="908" y="131"/>
                  </a:lnTo>
                  <a:lnTo>
                    <a:pt x="912" y="132"/>
                  </a:lnTo>
                  <a:lnTo>
                    <a:pt x="915" y="132"/>
                  </a:lnTo>
                  <a:lnTo>
                    <a:pt x="918" y="133"/>
                  </a:lnTo>
                  <a:lnTo>
                    <a:pt x="922" y="133"/>
                  </a:lnTo>
                  <a:lnTo>
                    <a:pt x="925" y="133"/>
                  </a:lnTo>
                  <a:lnTo>
                    <a:pt x="928" y="132"/>
                  </a:lnTo>
                  <a:lnTo>
                    <a:pt x="931" y="132"/>
                  </a:lnTo>
                  <a:lnTo>
                    <a:pt x="934" y="132"/>
                  </a:lnTo>
                  <a:lnTo>
                    <a:pt x="936" y="131"/>
                  </a:lnTo>
                  <a:lnTo>
                    <a:pt x="946" y="129"/>
                  </a:lnTo>
                  <a:lnTo>
                    <a:pt x="948" y="129"/>
                  </a:lnTo>
                  <a:lnTo>
                    <a:pt x="951" y="129"/>
                  </a:lnTo>
                  <a:lnTo>
                    <a:pt x="954" y="129"/>
                  </a:lnTo>
                  <a:lnTo>
                    <a:pt x="957" y="129"/>
                  </a:lnTo>
                  <a:lnTo>
                    <a:pt x="959" y="130"/>
                  </a:lnTo>
                  <a:lnTo>
                    <a:pt x="962" y="130"/>
                  </a:lnTo>
                  <a:lnTo>
                    <a:pt x="964" y="131"/>
                  </a:lnTo>
                  <a:lnTo>
                    <a:pt x="966" y="132"/>
                  </a:lnTo>
                  <a:lnTo>
                    <a:pt x="967" y="133"/>
                  </a:lnTo>
                  <a:lnTo>
                    <a:pt x="969" y="135"/>
                  </a:lnTo>
                  <a:lnTo>
                    <a:pt x="971" y="138"/>
                  </a:lnTo>
                  <a:lnTo>
                    <a:pt x="977" y="145"/>
                  </a:lnTo>
                  <a:lnTo>
                    <a:pt x="981" y="149"/>
                  </a:lnTo>
                  <a:lnTo>
                    <a:pt x="983" y="152"/>
                  </a:lnTo>
                  <a:lnTo>
                    <a:pt x="990" y="156"/>
                  </a:lnTo>
                  <a:lnTo>
                    <a:pt x="996" y="164"/>
                  </a:lnTo>
                  <a:lnTo>
                    <a:pt x="999" y="164"/>
                  </a:lnTo>
                  <a:lnTo>
                    <a:pt x="1001" y="166"/>
                  </a:lnTo>
                  <a:lnTo>
                    <a:pt x="1004" y="167"/>
                  </a:lnTo>
                  <a:lnTo>
                    <a:pt x="1005" y="167"/>
                  </a:lnTo>
                  <a:lnTo>
                    <a:pt x="1014" y="169"/>
                  </a:lnTo>
                  <a:lnTo>
                    <a:pt x="1016" y="169"/>
                  </a:lnTo>
                  <a:lnTo>
                    <a:pt x="1018" y="170"/>
                  </a:lnTo>
                  <a:lnTo>
                    <a:pt x="1021" y="171"/>
                  </a:lnTo>
                  <a:lnTo>
                    <a:pt x="1024" y="172"/>
                  </a:lnTo>
                  <a:lnTo>
                    <a:pt x="1026" y="174"/>
                  </a:lnTo>
                  <a:lnTo>
                    <a:pt x="1027" y="175"/>
                  </a:lnTo>
                  <a:lnTo>
                    <a:pt x="1028" y="175"/>
                  </a:lnTo>
                  <a:lnTo>
                    <a:pt x="1029" y="177"/>
                  </a:lnTo>
                  <a:lnTo>
                    <a:pt x="1030" y="178"/>
                  </a:lnTo>
                  <a:lnTo>
                    <a:pt x="1030" y="180"/>
                  </a:lnTo>
                  <a:lnTo>
                    <a:pt x="1031" y="181"/>
                  </a:lnTo>
                  <a:lnTo>
                    <a:pt x="1032" y="183"/>
                  </a:lnTo>
                  <a:lnTo>
                    <a:pt x="1033" y="190"/>
                  </a:lnTo>
                  <a:lnTo>
                    <a:pt x="1033" y="192"/>
                  </a:lnTo>
                  <a:lnTo>
                    <a:pt x="1034" y="193"/>
                  </a:lnTo>
                  <a:lnTo>
                    <a:pt x="1034" y="194"/>
                  </a:lnTo>
                  <a:lnTo>
                    <a:pt x="1035" y="194"/>
                  </a:lnTo>
                  <a:lnTo>
                    <a:pt x="1036" y="195"/>
                  </a:lnTo>
                  <a:lnTo>
                    <a:pt x="1037" y="196"/>
                  </a:lnTo>
                  <a:lnTo>
                    <a:pt x="1038" y="197"/>
                  </a:lnTo>
                  <a:lnTo>
                    <a:pt x="1045" y="198"/>
                  </a:lnTo>
                  <a:lnTo>
                    <a:pt x="1051" y="199"/>
                  </a:lnTo>
                  <a:lnTo>
                    <a:pt x="1057" y="201"/>
                  </a:lnTo>
                  <a:lnTo>
                    <a:pt x="1061" y="203"/>
                  </a:lnTo>
                  <a:lnTo>
                    <a:pt x="1067" y="206"/>
                  </a:lnTo>
                  <a:lnTo>
                    <a:pt x="1083" y="215"/>
                  </a:lnTo>
                  <a:lnTo>
                    <a:pt x="1085" y="216"/>
                  </a:lnTo>
                  <a:lnTo>
                    <a:pt x="1086" y="217"/>
                  </a:lnTo>
                  <a:lnTo>
                    <a:pt x="1087" y="218"/>
                  </a:lnTo>
                  <a:lnTo>
                    <a:pt x="1088" y="219"/>
                  </a:lnTo>
                  <a:lnTo>
                    <a:pt x="1088" y="221"/>
                  </a:lnTo>
                  <a:lnTo>
                    <a:pt x="1088" y="221"/>
                  </a:lnTo>
                  <a:lnTo>
                    <a:pt x="1089" y="234"/>
                  </a:lnTo>
                  <a:lnTo>
                    <a:pt x="1089" y="238"/>
                  </a:lnTo>
                  <a:lnTo>
                    <a:pt x="1090" y="247"/>
                  </a:lnTo>
                  <a:lnTo>
                    <a:pt x="1091" y="257"/>
                  </a:lnTo>
                  <a:lnTo>
                    <a:pt x="1091" y="261"/>
                  </a:lnTo>
                  <a:lnTo>
                    <a:pt x="1092" y="271"/>
                  </a:lnTo>
                  <a:lnTo>
                    <a:pt x="1092" y="274"/>
                  </a:lnTo>
                  <a:lnTo>
                    <a:pt x="1092" y="277"/>
                  </a:lnTo>
                  <a:lnTo>
                    <a:pt x="1091" y="278"/>
                  </a:lnTo>
                  <a:lnTo>
                    <a:pt x="1091" y="279"/>
                  </a:lnTo>
                  <a:lnTo>
                    <a:pt x="1090" y="281"/>
                  </a:lnTo>
                  <a:lnTo>
                    <a:pt x="1089" y="282"/>
                  </a:lnTo>
                  <a:lnTo>
                    <a:pt x="1088" y="284"/>
                  </a:lnTo>
                  <a:lnTo>
                    <a:pt x="1083" y="288"/>
                  </a:lnTo>
                  <a:lnTo>
                    <a:pt x="1083" y="289"/>
                  </a:lnTo>
                  <a:lnTo>
                    <a:pt x="1081" y="290"/>
                  </a:lnTo>
                  <a:lnTo>
                    <a:pt x="1080" y="292"/>
                  </a:lnTo>
                  <a:lnTo>
                    <a:pt x="1079" y="294"/>
                  </a:lnTo>
                  <a:lnTo>
                    <a:pt x="1078" y="297"/>
                  </a:lnTo>
                  <a:lnTo>
                    <a:pt x="1076" y="303"/>
                  </a:lnTo>
                  <a:lnTo>
                    <a:pt x="1073" y="311"/>
                  </a:lnTo>
                  <a:lnTo>
                    <a:pt x="1072" y="313"/>
                  </a:lnTo>
                  <a:lnTo>
                    <a:pt x="1072" y="316"/>
                  </a:lnTo>
                  <a:lnTo>
                    <a:pt x="1071" y="327"/>
                  </a:lnTo>
                  <a:lnTo>
                    <a:pt x="1071" y="330"/>
                  </a:lnTo>
                  <a:lnTo>
                    <a:pt x="1071" y="334"/>
                  </a:lnTo>
                  <a:lnTo>
                    <a:pt x="1072" y="341"/>
                  </a:lnTo>
                  <a:lnTo>
                    <a:pt x="1072" y="344"/>
                  </a:lnTo>
                  <a:lnTo>
                    <a:pt x="1072" y="346"/>
                  </a:lnTo>
                  <a:lnTo>
                    <a:pt x="1072" y="349"/>
                  </a:lnTo>
                  <a:lnTo>
                    <a:pt x="1071" y="351"/>
                  </a:lnTo>
                  <a:lnTo>
                    <a:pt x="1070" y="355"/>
                  </a:lnTo>
                  <a:lnTo>
                    <a:pt x="1069" y="358"/>
                  </a:lnTo>
                  <a:lnTo>
                    <a:pt x="1066" y="366"/>
                  </a:lnTo>
                  <a:lnTo>
                    <a:pt x="1065" y="368"/>
                  </a:lnTo>
                  <a:lnTo>
                    <a:pt x="1065" y="369"/>
                  </a:lnTo>
                  <a:lnTo>
                    <a:pt x="1065" y="371"/>
                  </a:lnTo>
                  <a:lnTo>
                    <a:pt x="1065" y="374"/>
                  </a:lnTo>
                  <a:lnTo>
                    <a:pt x="1064" y="378"/>
                  </a:lnTo>
                  <a:lnTo>
                    <a:pt x="1064" y="384"/>
                  </a:lnTo>
                  <a:lnTo>
                    <a:pt x="1064" y="387"/>
                  </a:lnTo>
                  <a:lnTo>
                    <a:pt x="1064" y="390"/>
                  </a:lnTo>
                  <a:lnTo>
                    <a:pt x="1064" y="392"/>
                  </a:lnTo>
                  <a:lnTo>
                    <a:pt x="1063" y="395"/>
                  </a:lnTo>
                  <a:lnTo>
                    <a:pt x="1063" y="398"/>
                  </a:lnTo>
                  <a:lnTo>
                    <a:pt x="1061" y="402"/>
                  </a:lnTo>
                  <a:lnTo>
                    <a:pt x="1061" y="403"/>
                  </a:lnTo>
                  <a:lnTo>
                    <a:pt x="1061" y="406"/>
                  </a:lnTo>
                  <a:lnTo>
                    <a:pt x="1062" y="407"/>
                  </a:lnTo>
                  <a:lnTo>
                    <a:pt x="1064" y="409"/>
                  </a:lnTo>
                  <a:lnTo>
                    <a:pt x="1067" y="411"/>
                  </a:lnTo>
                  <a:lnTo>
                    <a:pt x="1069" y="412"/>
                  </a:lnTo>
                  <a:lnTo>
                    <a:pt x="1070" y="413"/>
                  </a:lnTo>
                  <a:lnTo>
                    <a:pt x="1072" y="414"/>
                  </a:lnTo>
                  <a:lnTo>
                    <a:pt x="1072" y="416"/>
                  </a:lnTo>
                  <a:lnTo>
                    <a:pt x="1072" y="418"/>
                  </a:lnTo>
                  <a:lnTo>
                    <a:pt x="1072" y="419"/>
                  </a:lnTo>
                  <a:lnTo>
                    <a:pt x="1072" y="421"/>
                  </a:lnTo>
                  <a:lnTo>
                    <a:pt x="1072" y="422"/>
                  </a:lnTo>
                  <a:lnTo>
                    <a:pt x="1071" y="424"/>
                  </a:lnTo>
                  <a:lnTo>
                    <a:pt x="1070" y="425"/>
                  </a:lnTo>
                  <a:lnTo>
                    <a:pt x="1069" y="425"/>
                  </a:lnTo>
                  <a:lnTo>
                    <a:pt x="1065" y="429"/>
                  </a:lnTo>
                  <a:lnTo>
                    <a:pt x="1058" y="436"/>
                  </a:lnTo>
                  <a:lnTo>
                    <a:pt x="1055" y="437"/>
                  </a:lnTo>
                  <a:lnTo>
                    <a:pt x="1053" y="439"/>
                  </a:lnTo>
                  <a:lnTo>
                    <a:pt x="1051" y="442"/>
                  </a:lnTo>
                  <a:lnTo>
                    <a:pt x="1047" y="448"/>
                  </a:lnTo>
                  <a:lnTo>
                    <a:pt x="1045" y="450"/>
                  </a:lnTo>
                  <a:lnTo>
                    <a:pt x="1043" y="452"/>
                  </a:lnTo>
                  <a:lnTo>
                    <a:pt x="1042" y="453"/>
                  </a:lnTo>
                  <a:lnTo>
                    <a:pt x="1040" y="454"/>
                  </a:lnTo>
                  <a:lnTo>
                    <a:pt x="1039" y="455"/>
                  </a:lnTo>
                  <a:lnTo>
                    <a:pt x="1038" y="455"/>
                  </a:lnTo>
                  <a:lnTo>
                    <a:pt x="1037" y="455"/>
                  </a:lnTo>
                  <a:lnTo>
                    <a:pt x="1036" y="455"/>
                  </a:lnTo>
                  <a:lnTo>
                    <a:pt x="1034" y="455"/>
                  </a:lnTo>
                  <a:lnTo>
                    <a:pt x="1032" y="454"/>
                  </a:lnTo>
                  <a:lnTo>
                    <a:pt x="1030" y="453"/>
                  </a:lnTo>
                  <a:lnTo>
                    <a:pt x="1024" y="449"/>
                  </a:lnTo>
                  <a:lnTo>
                    <a:pt x="1022" y="448"/>
                  </a:lnTo>
                  <a:lnTo>
                    <a:pt x="1021" y="447"/>
                  </a:lnTo>
                  <a:lnTo>
                    <a:pt x="1020" y="447"/>
                  </a:lnTo>
                  <a:lnTo>
                    <a:pt x="1018" y="447"/>
                  </a:lnTo>
                  <a:lnTo>
                    <a:pt x="1015" y="447"/>
                  </a:lnTo>
                  <a:lnTo>
                    <a:pt x="1014" y="448"/>
                  </a:lnTo>
                  <a:lnTo>
                    <a:pt x="1012" y="449"/>
                  </a:lnTo>
                  <a:lnTo>
                    <a:pt x="1008" y="450"/>
                  </a:lnTo>
                  <a:lnTo>
                    <a:pt x="1005" y="452"/>
                  </a:lnTo>
                  <a:lnTo>
                    <a:pt x="1003" y="453"/>
                  </a:lnTo>
                  <a:lnTo>
                    <a:pt x="999" y="455"/>
                  </a:lnTo>
                  <a:lnTo>
                    <a:pt x="996" y="457"/>
                  </a:lnTo>
                  <a:lnTo>
                    <a:pt x="994" y="459"/>
                  </a:lnTo>
                  <a:lnTo>
                    <a:pt x="992" y="460"/>
                  </a:lnTo>
                  <a:lnTo>
                    <a:pt x="990" y="462"/>
                  </a:lnTo>
                  <a:lnTo>
                    <a:pt x="988" y="465"/>
                  </a:lnTo>
                  <a:lnTo>
                    <a:pt x="986" y="467"/>
                  </a:lnTo>
                  <a:lnTo>
                    <a:pt x="983" y="470"/>
                  </a:lnTo>
                  <a:lnTo>
                    <a:pt x="977" y="479"/>
                  </a:lnTo>
                  <a:lnTo>
                    <a:pt x="974" y="482"/>
                  </a:lnTo>
                  <a:lnTo>
                    <a:pt x="972" y="485"/>
                  </a:lnTo>
                  <a:lnTo>
                    <a:pt x="972" y="487"/>
                  </a:lnTo>
                  <a:lnTo>
                    <a:pt x="971" y="489"/>
                  </a:lnTo>
                  <a:lnTo>
                    <a:pt x="971" y="492"/>
                  </a:lnTo>
                  <a:lnTo>
                    <a:pt x="971" y="494"/>
                  </a:lnTo>
                  <a:lnTo>
                    <a:pt x="971" y="496"/>
                  </a:lnTo>
                  <a:lnTo>
                    <a:pt x="971" y="498"/>
                  </a:lnTo>
                  <a:lnTo>
                    <a:pt x="971" y="499"/>
                  </a:lnTo>
                  <a:lnTo>
                    <a:pt x="972" y="501"/>
                  </a:lnTo>
                  <a:lnTo>
                    <a:pt x="973" y="502"/>
                  </a:lnTo>
                  <a:lnTo>
                    <a:pt x="973" y="503"/>
                  </a:lnTo>
                  <a:lnTo>
                    <a:pt x="975" y="504"/>
                  </a:lnTo>
                  <a:lnTo>
                    <a:pt x="976" y="504"/>
                  </a:lnTo>
                  <a:lnTo>
                    <a:pt x="977" y="504"/>
                  </a:lnTo>
                  <a:lnTo>
                    <a:pt x="979" y="504"/>
                  </a:lnTo>
                  <a:lnTo>
                    <a:pt x="984" y="503"/>
                  </a:lnTo>
                  <a:lnTo>
                    <a:pt x="987" y="502"/>
                  </a:lnTo>
                  <a:lnTo>
                    <a:pt x="990" y="502"/>
                  </a:lnTo>
                  <a:lnTo>
                    <a:pt x="992" y="503"/>
                  </a:lnTo>
                  <a:lnTo>
                    <a:pt x="996" y="504"/>
                  </a:lnTo>
                  <a:lnTo>
                    <a:pt x="998" y="504"/>
                  </a:lnTo>
                  <a:lnTo>
                    <a:pt x="999" y="504"/>
                  </a:lnTo>
                  <a:lnTo>
                    <a:pt x="1001" y="504"/>
                  </a:lnTo>
                  <a:lnTo>
                    <a:pt x="1002" y="505"/>
                  </a:lnTo>
                  <a:lnTo>
                    <a:pt x="1003" y="506"/>
                  </a:lnTo>
                  <a:lnTo>
                    <a:pt x="1003" y="507"/>
                  </a:lnTo>
                  <a:lnTo>
                    <a:pt x="1003" y="508"/>
                  </a:lnTo>
                  <a:lnTo>
                    <a:pt x="1003" y="509"/>
                  </a:lnTo>
                  <a:lnTo>
                    <a:pt x="1002" y="510"/>
                  </a:lnTo>
                  <a:lnTo>
                    <a:pt x="1001" y="512"/>
                  </a:lnTo>
                  <a:lnTo>
                    <a:pt x="999" y="513"/>
                  </a:lnTo>
                  <a:lnTo>
                    <a:pt x="996" y="514"/>
                  </a:lnTo>
                  <a:lnTo>
                    <a:pt x="987" y="518"/>
                  </a:lnTo>
                  <a:lnTo>
                    <a:pt x="986" y="519"/>
                  </a:lnTo>
                  <a:lnTo>
                    <a:pt x="985" y="520"/>
                  </a:lnTo>
                  <a:lnTo>
                    <a:pt x="984" y="521"/>
                  </a:lnTo>
                  <a:lnTo>
                    <a:pt x="984" y="523"/>
                  </a:lnTo>
                  <a:lnTo>
                    <a:pt x="984" y="525"/>
                  </a:lnTo>
                  <a:lnTo>
                    <a:pt x="985" y="526"/>
                  </a:lnTo>
                  <a:lnTo>
                    <a:pt x="985" y="527"/>
                  </a:lnTo>
                  <a:lnTo>
                    <a:pt x="986" y="528"/>
                  </a:lnTo>
                  <a:lnTo>
                    <a:pt x="987" y="529"/>
                  </a:lnTo>
                  <a:lnTo>
                    <a:pt x="991" y="533"/>
                  </a:lnTo>
                  <a:lnTo>
                    <a:pt x="992" y="535"/>
                  </a:lnTo>
                  <a:lnTo>
                    <a:pt x="993" y="537"/>
                  </a:lnTo>
                  <a:lnTo>
                    <a:pt x="994" y="538"/>
                  </a:lnTo>
                  <a:lnTo>
                    <a:pt x="995" y="540"/>
                  </a:lnTo>
                  <a:lnTo>
                    <a:pt x="995" y="542"/>
                  </a:lnTo>
                  <a:lnTo>
                    <a:pt x="995" y="544"/>
                  </a:lnTo>
                  <a:lnTo>
                    <a:pt x="995" y="545"/>
                  </a:lnTo>
                  <a:lnTo>
                    <a:pt x="994" y="546"/>
                  </a:lnTo>
                  <a:lnTo>
                    <a:pt x="993" y="547"/>
                  </a:lnTo>
                  <a:lnTo>
                    <a:pt x="992" y="548"/>
                  </a:lnTo>
                  <a:lnTo>
                    <a:pt x="991" y="548"/>
                  </a:lnTo>
                  <a:lnTo>
                    <a:pt x="990" y="549"/>
                  </a:lnTo>
                  <a:lnTo>
                    <a:pt x="988" y="549"/>
                  </a:lnTo>
                  <a:lnTo>
                    <a:pt x="982" y="549"/>
                  </a:lnTo>
                  <a:lnTo>
                    <a:pt x="981" y="549"/>
                  </a:lnTo>
                  <a:lnTo>
                    <a:pt x="981" y="549"/>
                  </a:lnTo>
                  <a:lnTo>
                    <a:pt x="981" y="550"/>
                  </a:lnTo>
                  <a:lnTo>
                    <a:pt x="980" y="550"/>
                  </a:lnTo>
                  <a:lnTo>
                    <a:pt x="981" y="551"/>
                  </a:lnTo>
                  <a:lnTo>
                    <a:pt x="981" y="553"/>
                  </a:lnTo>
                  <a:lnTo>
                    <a:pt x="983" y="554"/>
                  </a:lnTo>
                  <a:lnTo>
                    <a:pt x="987" y="556"/>
                  </a:lnTo>
                  <a:lnTo>
                    <a:pt x="989" y="558"/>
                  </a:lnTo>
                  <a:lnTo>
                    <a:pt x="991" y="559"/>
                  </a:lnTo>
                  <a:lnTo>
                    <a:pt x="992" y="560"/>
                  </a:lnTo>
                  <a:lnTo>
                    <a:pt x="992" y="560"/>
                  </a:lnTo>
                  <a:lnTo>
                    <a:pt x="992" y="562"/>
                  </a:lnTo>
                  <a:lnTo>
                    <a:pt x="992" y="564"/>
                  </a:lnTo>
                  <a:lnTo>
                    <a:pt x="991" y="566"/>
                  </a:lnTo>
                  <a:lnTo>
                    <a:pt x="991" y="567"/>
                  </a:lnTo>
                  <a:lnTo>
                    <a:pt x="991" y="568"/>
                  </a:lnTo>
                  <a:lnTo>
                    <a:pt x="992" y="568"/>
                  </a:lnTo>
                  <a:lnTo>
                    <a:pt x="992" y="569"/>
                  </a:lnTo>
                  <a:lnTo>
                    <a:pt x="992" y="570"/>
                  </a:lnTo>
                  <a:lnTo>
                    <a:pt x="993" y="570"/>
                  </a:lnTo>
                  <a:lnTo>
                    <a:pt x="994" y="571"/>
                  </a:lnTo>
                  <a:lnTo>
                    <a:pt x="996" y="571"/>
                  </a:lnTo>
                  <a:lnTo>
                    <a:pt x="999" y="571"/>
                  </a:lnTo>
                  <a:lnTo>
                    <a:pt x="1004" y="571"/>
                  </a:lnTo>
                  <a:lnTo>
                    <a:pt x="1007" y="571"/>
                  </a:lnTo>
                  <a:lnTo>
                    <a:pt x="1010" y="572"/>
                  </a:lnTo>
                  <a:lnTo>
                    <a:pt x="1012" y="572"/>
                  </a:lnTo>
                  <a:lnTo>
                    <a:pt x="1015" y="572"/>
                  </a:lnTo>
                  <a:lnTo>
                    <a:pt x="1017" y="574"/>
                  </a:lnTo>
                  <a:lnTo>
                    <a:pt x="1019" y="575"/>
                  </a:lnTo>
                  <a:lnTo>
                    <a:pt x="1021" y="577"/>
                  </a:lnTo>
                  <a:lnTo>
                    <a:pt x="1022" y="578"/>
                  </a:lnTo>
                  <a:lnTo>
                    <a:pt x="1023" y="579"/>
                  </a:lnTo>
                  <a:lnTo>
                    <a:pt x="1024" y="581"/>
                  </a:lnTo>
                  <a:lnTo>
                    <a:pt x="1025" y="582"/>
                  </a:lnTo>
                  <a:lnTo>
                    <a:pt x="1026" y="584"/>
                  </a:lnTo>
                  <a:lnTo>
                    <a:pt x="1026" y="587"/>
                  </a:lnTo>
                  <a:lnTo>
                    <a:pt x="1026" y="593"/>
                  </a:lnTo>
                  <a:lnTo>
                    <a:pt x="1026" y="598"/>
                  </a:lnTo>
                  <a:lnTo>
                    <a:pt x="1026" y="602"/>
                  </a:lnTo>
                  <a:lnTo>
                    <a:pt x="1025" y="605"/>
                  </a:lnTo>
                  <a:lnTo>
                    <a:pt x="1024" y="608"/>
                  </a:lnTo>
                  <a:lnTo>
                    <a:pt x="1022" y="618"/>
                  </a:lnTo>
                  <a:lnTo>
                    <a:pt x="1021" y="622"/>
                  </a:lnTo>
                  <a:lnTo>
                    <a:pt x="1021" y="627"/>
                  </a:lnTo>
                  <a:lnTo>
                    <a:pt x="1020" y="636"/>
                  </a:lnTo>
                  <a:lnTo>
                    <a:pt x="1019" y="641"/>
                  </a:lnTo>
                  <a:lnTo>
                    <a:pt x="1019" y="644"/>
                  </a:lnTo>
                  <a:lnTo>
                    <a:pt x="1020" y="654"/>
                  </a:lnTo>
                  <a:lnTo>
                    <a:pt x="1020" y="657"/>
                  </a:lnTo>
                  <a:lnTo>
                    <a:pt x="1020" y="658"/>
                  </a:lnTo>
                  <a:lnTo>
                    <a:pt x="1020" y="659"/>
                  </a:lnTo>
                  <a:lnTo>
                    <a:pt x="1021" y="660"/>
                  </a:lnTo>
                  <a:lnTo>
                    <a:pt x="1021" y="661"/>
                  </a:lnTo>
                  <a:lnTo>
                    <a:pt x="1022" y="661"/>
                  </a:lnTo>
                  <a:lnTo>
                    <a:pt x="1026" y="662"/>
                  </a:lnTo>
                  <a:lnTo>
                    <a:pt x="1027" y="664"/>
                  </a:lnTo>
                  <a:lnTo>
                    <a:pt x="1030" y="666"/>
                  </a:lnTo>
                  <a:lnTo>
                    <a:pt x="1031" y="667"/>
                  </a:lnTo>
                  <a:lnTo>
                    <a:pt x="1032" y="669"/>
                  </a:lnTo>
                  <a:lnTo>
                    <a:pt x="1034" y="671"/>
                  </a:lnTo>
                  <a:lnTo>
                    <a:pt x="1035" y="674"/>
                  </a:lnTo>
                  <a:lnTo>
                    <a:pt x="1036" y="676"/>
                  </a:lnTo>
                  <a:lnTo>
                    <a:pt x="1037" y="680"/>
                  </a:lnTo>
                  <a:lnTo>
                    <a:pt x="1038" y="683"/>
                  </a:lnTo>
                  <a:lnTo>
                    <a:pt x="1038" y="685"/>
                  </a:lnTo>
                  <a:lnTo>
                    <a:pt x="1038" y="688"/>
                  </a:lnTo>
                  <a:lnTo>
                    <a:pt x="1038" y="693"/>
                  </a:lnTo>
                  <a:lnTo>
                    <a:pt x="1038" y="696"/>
                  </a:lnTo>
                  <a:lnTo>
                    <a:pt x="1038" y="700"/>
                  </a:lnTo>
                  <a:lnTo>
                    <a:pt x="1038" y="702"/>
                  </a:lnTo>
                  <a:lnTo>
                    <a:pt x="1037" y="703"/>
                  </a:lnTo>
                  <a:lnTo>
                    <a:pt x="1036" y="703"/>
                  </a:lnTo>
                  <a:lnTo>
                    <a:pt x="1035" y="704"/>
                  </a:lnTo>
                  <a:lnTo>
                    <a:pt x="1034" y="705"/>
                  </a:lnTo>
                  <a:lnTo>
                    <a:pt x="1033" y="708"/>
                  </a:lnTo>
                  <a:lnTo>
                    <a:pt x="1032" y="708"/>
                  </a:lnTo>
                  <a:lnTo>
                    <a:pt x="1031" y="710"/>
                  </a:lnTo>
                  <a:lnTo>
                    <a:pt x="1030" y="713"/>
                  </a:lnTo>
                  <a:lnTo>
                    <a:pt x="1027" y="723"/>
                  </a:lnTo>
                  <a:lnTo>
                    <a:pt x="1026" y="726"/>
                  </a:lnTo>
                  <a:lnTo>
                    <a:pt x="1026" y="728"/>
                  </a:lnTo>
                  <a:lnTo>
                    <a:pt x="1026" y="729"/>
                  </a:lnTo>
                  <a:lnTo>
                    <a:pt x="1026" y="730"/>
                  </a:lnTo>
                  <a:lnTo>
                    <a:pt x="1027" y="731"/>
                  </a:lnTo>
                  <a:lnTo>
                    <a:pt x="1027" y="732"/>
                  </a:lnTo>
                  <a:lnTo>
                    <a:pt x="1028" y="734"/>
                  </a:lnTo>
                  <a:lnTo>
                    <a:pt x="1029" y="736"/>
                  </a:lnTo>
                  <a:lnTo>
                    <a:pt x="1032" y="739"/>
                  </a:lnTo>
                  <a:lnTo>
                    <a:pt x="1033" y="740"/>
                  </a:lnTo>
                  <a:lnTo>
                    <a:pt x="1033" y="741"/>
                  </a:lnTo>
                  <a:lnTo>
                    <a:pt x="1034" y="743"/>
                  </a:lnTo>
                  <a:lnTo>
                    <a:pt x="1035" y="747"/>
                  </a:lnTo>
                  <a:lnTo>
                    <a:pt x="1035" y="751"/>
                  </a:lnTo>
                  <a:lnTo>
                    <a:pt x="1036" y="753"/>
                  </a:lnTo>
                  <a:lnTo>
                    <a:pt x="1036" y="764"/>
                  </a:lnTo>
                  <a:lnTo>
                    <a:pt x="1037" y="766"/>
                  </a:lnTo>
                  <a:lnTo>
                    <a:pt x="1038" y="772"/>
                  </a:lnTo>
                  <a:lnTo>
                    <a:pt x="1038" y="775"/>
                  </a:lnTo>
                  <a:lnTo>
                    <a:pt x="1039" y="778"/>
                  </a:lnTo>
                  <a:lnTo>
                    <a:pt x="1041" y="783"/>
                  </a:lnTo>
                  <a:lnTo>
                    <a:pt x="1044" y="788"/>
                  </a:lnTo>
                  <a:lnTo>
                    <a:pt x="1045" y="790"/>
                  </a:lnTo>
                  <a:lnTo>
                    <a:pt x="1046" y="794"/>
                  </a:lnTo>
                  <a:lnTo>
                    <a:pt x="1046" y="795"/>
                  </a:lnTo>
                  <a:lnTo>
                    <a:pt x="1047" y="796"/>
                  </a:lnTo>
                  <a:lnTo>
                    <a:pt x="1046" y="797"/>
                  </a:lnTo>
                  <a:lnTo>
                    <a:pt x="1045" y="798"/>
                  </a:lnTo>
                  <a:lnTo>
                    <a:pt x="1039" y="808"/>
                  </a:lnTo>
                  <a:lnTo>
                    <a:pt x="1038" y="810"/>
                  </a:lnTo>
                  <a:lnTo>
                    <a:pt x="1037" y="813"/>
                  </a:lnTo>
                  <a:lnTo>
                    <a:pt x="1035" y="817"/>
                  </a:lnTo>
                  <a:lnTo>
                    <a:pt x="1035" y="819"/>
                  </a:lnTo>
                  <a:lnTo>
                    <a:pt x="1034" y="821"/>
                  </a:lnTo>
                  <a:lnTo>
                    <a:pt x="1033" y="830"/>
                  </a:lnTo>
                  <a:lnTo>
                    <a:pt x="1032" y="834"/>
                  </a:lnTo>
                  <a:lnTo>
                    <a:pt x="1032" y="837"/>
                  </a:lnTo>
                  <a:lnTo>
                    <a:pt x="1033" y="841"/>
                  </a:lnTo>
                  <a:lnTo>
                    <a:pt x="1034" y="845"/>
                  </a:lnTo>
                  <a:lnTo>
                    <a:pt x="1035" y="849"/>
                  </a:lnTo>
                  <a:lnTo>
                    <a:pt x="1037" y="853"/>
                  </a:lnTo>
                  <a:lnTo>
                    <a:pt x="1040" y="860"/>
                  </a:lnTo>
                  <a:lnTo>
                    <a:pt x="1042" y="864"/>
                  </a:lnTo>
                  <a:lnTo>
                    <a:pt x="1043" y="865"/>
                  </a:lnTo>
                  <a:lnTo>
                    <a:pt x="1048" y="870"/>
                  </a:lnTo>
                  <a:lnTo>
                    <a:pt x="1049" y="872"/>
                  </a:lnTo>
                  <a:lnTo>
                    <a:pt x="1049" y="874"/>
                  </a:lnTo>
                  <a:lnTo>
                    <a:pt x="1049" y="876"/>
                  </a:lnTo>
                  <a:lnTo>
                    <a:pt x="1050" y="878"/>
                  </a:lnTo>
                  <a:lnTo>
                    <a:pt x="1050" y="880"/>
                  </a:lnTo>
                  <a:lnTo>
                    <a:pt x="1049" y="882"/>
                  </a:lnTo>
                  <a:lnTo>
                    <a:pt x="1048" y="887"/>
                  </a:lnTo>
                  <a:lnTo>
                    <a:pt x="1047" y="891"/>
                  </a:lnTo>
                  <a:lnTo>
                    <a:pt x="1046" y="893"/>
                  </a:lnTo>
                  <a:lnTo>
                    <a:pt x="1045" y="896"/>
                  </a:lnTo>
                  <a:lnTo>
                    <a:pt x="1042" y="900"/>
                  </a:lnTo>
                  <a:lnTo>
                    <a:pt x="1040" y="905"/>
                  </a:lnTo>
                  <a:lnTo>
                    <a:pt x="1038" y="908"/>
                  </a:lnTo>
                  <a:lnTo>
                    <a:pt x="1037" y="914"/>
                  </a:lnTo>
                  <a:lnTo>
                    <a:pt x="1035" y="919"/>
                  </a:lnTo>
                  <a:lnTo>
                    <a:pt x="1033" y="921"/>
                  </a:lnTo>
                  <a:lnTo>
                    <a:pt x="1032" y="923"/>
                  </a:lnTo>
                  <a:lnTo>
                    <a:pt x="1031" y="924"/>
                  </a:lnTo>
                  <a:lnTo>
                    <a:pt x="1029" y="925"/>
                  </a:lnTo>
                  <a:lnTo>
                    <a:pt x="1022" y="931"/>
                  </a:lnTo>
                  <a:lnTo>
                    <a:pt x="1015" y="935"/>
                  </a:lnTo>
                  <a:lnTo>
                    <a:pt x="1014" y="937"/>
                  </a:lnTo>
                  <a:lnTo>
                    <a:pt x="1011" y="939"/>
                  </a:lnTo>
                  <a:lnTo>
                    <a:pt x="1006" y="945"/>
                  </a:lnTo>
                  <a:lnTo>
                    <a:pt x="1005" y="946"/>
                  </a:lnTo>
                  <a:lnTo>
                    <a:pt x="1004" y="947"/>
                  </a:lnTo>
                  <a:lnTo>
                    <a:pt x="1004" y="949"/>
                  </a:lnTo>
                  <a:lnTo>
                    <a:pt x="1003" y="952"/>
                  </a:lnTo>
                  <a:lnTo>
                    <a:pt x="1003" y="955"/>
                  </a:lnTo>
                  <a:lnTo>
                    <a:pt x="1003" y="957"/>
                  </a:lnTo>
                  <a:lnTo>
                    <a:pt x="1003" y="958"/>
                  </a:lnTo>
                  <a:lnTo>
                    <a:pt x="1003" y="961"/>
                  </a:lnTo>
                  <a:lnTo>
                    <a:pt x="1004" y="966"/>
                  </a:lnTo>
                  <a:lnTo>
                    <a:pt x="1004" y="968"/>
                  </a:lnTo>
                  <a:lnTo>
                    <a:pt x="1004" y="968"/>
                  </a:lnTo>
                  <a:lnTo>
                    <a:pt x="1003" y="969"/>
                  </a:lnTo>
                  <a:lnTo>
                    <a:pt x="1003" y="971"/>
                  </a:lnTo>
                  <a:lnTo>
                    <a:pt x="1002" y="972"/>
                  </a:lnTo>
                  <a:lnTo>
                    <a:pt x="1001" y="974"/>
                  </a:lnTo>
                  <a:lnTo>
                    <a:pt x="1001" y="975"/>
                  </a:lnTo>
                  <a:lnTo>
                    <a:pt x="1000" y="976"/>
                  </a:lnTo>
                  <a:lnTo>
                    <a:pt x="998" y="978"/>
                  </a:lnTo>
                  <a:lnTo>
                    <a:pt x="997" y="979"/>
                  </a:lnTo>
                  <a:lnTo>
                    <a:pt x="996" y="980"/>
                  </a:lnTo>
                  <a:lnTo>
                    <a:pt x="991" y="982"/>
                  </a:lnTo>
                  <a:lnTo>
                    <a:pt x="989" y="983"/>
                  </a:lnTo>
                  <a:lnTo>
                    <a:pt x="988" y="984"/>
                  </a:lnTo>
                  <a:lnTo>
                    <a:pt x="987" y="985"/>
                  </a:lnTo>
                  <a:lnTo>
                    <a:pt x="987" y="986"/>
                  </a:lnTo>
                  <a:lnTo>
                    <a:pt x="987" y="987"/>
                  </a:lnTo>
                  <a:lnTo>
                    <a:pt x="987" y="989"/>
                  </a:lnTo>
                  <a:lnTo>
                    <a:pt x="987" y="990"/>
                  </a:lnTo>
                  <a:lnTo>
                    <a:pt x="987" y="991"/>
                  </a:lnTo>
                  <a:lnTo>
                    <a:pt x="987" y="992"/>
                  </a:lnTo>
                  <a:lnTo>
                    <a:pt x="987" y="994"/>
                  </a:lnTo>
                  <a:lnTo>
                    <a:pt x="988" y="996"/>
                  </a:lnTo>
                  <a:lnTo>
                    <a:pt x="989" y="997"/>
                  </a:lnTo>
                  <a:lnTo>
                    <a:pt x="990" y="999"/>
                  </a:lnTo>
                  <a:lnTo>
                    <a:pt x="990" y="1000"/>
                  </a:lnTo>
                  <a:lnTo>
                    <a:pt x="992" y="1002"/>
                  </a:lnTo>
                  <a:lnTo>
                    <a:pt x="993" y="1003"/>
                  </a:lnTo>
                  <a:lnTo>
                    <a:pt x="997" y="1006"/>
                  </a:lnTo>
                  <a:lnTo>
                    <a:pt x="999" y="1007"/>
                  </a:lnTo>
                  <a:lnTo>
                    <a:pt x="999" y="1008"/>
                  </a:lnTo>
                  <a:lnTo>
                    <a:pt x="999" y="1009"/>
                  </a:lnTo>
                  <a:lnTo>
                    <a:pt x="999" y="1011"/>
                  </a:lnTo>
                  <a:lnTo>
                    <a:pt x="999" y="1013"/>
                  </a:lnTo>
                  <a:lnTo>
                    <a:pt x="998" y="1015"/>
                  </a:lnTo>
                  <a:lnTo>
                    <a:pt x="997" y="1017"/>
                  </a:lnTo>
                  <a:lnTo>
                    <a:pt x="996" y="1018"/>
                  </a:lnTo>
                  <a:lnTo>
                    <a:pt x="996" y="1019"/>
                  </a:lnTo>
                  <a:lnTo>
                    <a:pt x="995" y="1019"/>
                  </a:lnTo>
                  <a:lnTo>
                    <a:pt x="993" y="1020"/>
                  </a:lnTo>
                  <a:lnTo>
                    <a:pt x="990" y="1022"/>
                  </a:lnTo>
                  <a:lnTo>
                    <a:pt x="989" y="1023"/>
                  </a:lnTo>
                  <a:lnTo>
                    <a:pt x="987" y="1024"/>
                  </a:lnTo>
                  <a:lnTo>
                    <a:pt x="984" y="1027"/>
                  </a:lnTo>
                  <a:lnTo>
                    <a:pt x="981" y="1030"/>
                  </a:lnTo>
                  <a:lnTo>
                    <a:pt x="979" y="1033"/>
                  </a:lnTo>
                  <a:lnTo>
                    <a:pt x="978" y="1034"/>
                  </a:lnTo>
                  <a:lnTo>
                    <a:pt x="978" y="1035"/>
                  </a:lnTo>
                  <a:lnTo>
                    <a:pt x="977" y="1036"/>
                  </a:lnTo>
                  <a:lnTo>
                    <a:pt x="976" y="1038"/>
                  </a:lnTo>
                  <a:lnTo>
                    <a:pt x="976" y="1040"/>
                  </a:lnTo>
                  <a:lnTo>
                    <a:pt x="976" y="1042"/>
                  </a:lnTo>
                  <a:lnTo>
                    <a:pt x="976" y="1045"/>
                  </a:lnTo>
                  <a:lnTo>
                    <a:pt x="977" y="1047"/>
                  </a:lnTo>
                  <a:lnTo>
                    <a:pt x="978" y="1049"/>
                  </a:lnTo>
                  <a:lnTo>
                    <a:pt x="981" y="1054"/>
                  </a:lnTo>
                  <a:lnTo>
                    <a:pt x="982" y="1057"/>
                  </a:lnTo>
                  <a:lnTo>
                    <a:pt x="986" y="1061"/>
                  </a:lnTo>
                  <a:lnTo>
                    <a:pt x="987" y="1063"/>
                  </a:lnTo>
                  <a:lnTo>
                    <a:pt x="988" y="1065"/>
                  </a:lnTo>
                  <a:lnTo>
                    <a:pt x="989" y="1067"/>
                  </a:lnTo>
                  <a:lnTo>
                    <a:pt x="989" y="1070"/>
                  </a:lnTo>
                  <a:lnTo>
                    <a:pt x="990" y="1072"/>
                  </a:lnTo>
                  <a:lnTo>
                    <a:pt x="990" y="1074"/>
                  </a:lnTo>
                  <a:lnTo>
                    <a:pt x="989" y="1076"/>
                  </a:lnTo>
                  <a:lnTo>
                    <a:pt x="989" y="1077"/>
                  </a:lnTo>
                  <a:lnTo>
                    <a:pt x="989" y="1079"/>
                  </a:lnTo>
                  <a:lnTo>
                    <a:pt x="988" y="1080"/>
                  </a:lnTo>
                  <a:lnTo>
                    <a:pt x="986" y="1082"/>
                  </a:lnTo>
                  <a:lnTo>
                    <a:pt x="982" y="1085"/>
                  </a:lnTo>
                  <a:lnTo>
                    <a:pt x="981" y="1087"/>
                  </a:lnTo>
                  <a:lnTo>
                    <a:pt x="979" y="1090"/>
                  </a:lnTo>
                  <a:lnTo>
                    <a:pt x="978" y="1093"/>
                  </a:lnTo>
                  <a:lnTo>
                    <a:pt x="977" y="1094"/>
                  </a:lnTo>
                  <a:lnTo>
                    <a:pt x="976" y="1096"/>
                  </a:lnTo>
                  <a:lnTo>
                    <a:pt x="973" y="1106"/>
                  </a:lnTo>
                  <a:lnTo>
                    <a:pt x="970" y="1113"/>
                  </a:lnTo>
                  <a:lnTo>
                    <a:pt x="970" y="1114"/>
                  </a:lnTo>
                  <a:lnTo>
                    <a:pt x="969" y="1116"/>
                  </a:lnTo>
                  <a:lnTo>
                    <a:pt x="968" y="1116"/>
                  </a:lnTo>
                  <a:lnTo>
                    <a:pt x="966" y="1117"/>
                  </a:lnTo>
                  <a:lnTo>
                    <a:pt x="958" y="1120"/>
                  </a:lnTo>
                  <a:lnTo>
                    <a:pt x="955" y="1122"/>
                  </a:lnTo>
                  <a:lnTo>
                    <a:pt x="952" y="1124"/>
                  </a:lnTo>
                  <a:lnTo>
                    <a:pt x="949" y="1126"/>
                  </a:lnTo>
                  <a:lnTo>
                    <a:pt x="942" y="1131"/>
                  </a:lnTo>
                  <a:lnTo>
                    <a:pt x="937" y="1134"/>
                  </a:lnTo>
                  <a:lnTo>
                    <a:pt x="935" y="1137"/>
                  </a:lnTo>
                  <a:lnTo>
                    <a:pt x="933" y="1138"/>
                  </a:lnTo>
                  <a:lnTo>
                    <a:pt x="931" y="1138"/>
                  </a:lnTo>
                  <a:lnTo>
                    <a:pt x="928" y="1139"/>
                  </a:lnTo>
                  <a:lnTo>
                    <a:pt x="926" y="1140"/>
                  </a:lnTo>
                  <a:lnTo>
                    <a:pt x="924" y="1140"/>
                  </a:lnTo>
                  <a:lnTo>
                    <a:pt x="923" y="1140"/>
                  </a:lnTo>
                  <a:lnTo>
                    <a:pt x="920" y="1140"/>
                  </a:lnTo>
                  <a:lnTo>
                    <a:pt x="918" y="1140"/>
                  </a:lnTo>
                  <a:lnTo>
                    <a:pt x="914" y="1139"/>
                  </a:lnTo>
                  <a:lnTo>
                    <a:pt x="906" y="1138"/>
                  </a:lnTo>
                  <a:lnTo>
                    <a:pt x="904" y="1138"/>
                  </a:lnTo>
                  <a:lnTo>
                    <a:pt x="903" y="1138"/>
                  </a:lnTo>
                  <a:lnTo>
                    <a:pt x="901" y="1138"/>
                  </a:lnTo>
                  <a:lnTo>
                    <a:pt x="901" y="1138"/>
                  </a:lnTo>
                  <a:lnTo>
                    <a:pt x="900" y="1139"/>
                  </a:lnTo>
                  <a:lnTo>
                    <a:pt x="899" y="1140"/>
                  </a:lnTo>
                  <a:lnTo>
                    <a:pt x="898" y="1141"/>
                  </a:lnTo>
                  <a:lnTo>
                    <a:pt x="896" y="1150"/>
                  </a:lnTo>
                  <a:lnTo>
                    <a:pt x="895" y="1156"/>
                  </a:lnTo>
                  <a:lnTo>
                    <a:pt x="895" y="1161"/>
                  </a:lnTo>
                  <a:lnTo>
                    <a:pt x="895" y="1170"/>
                  </a:lnTo>
                  <a:lnTo>
                    <a:pt x="894" y="1174"/>
                  </a:lnTo>
                  <a:lnTo>
                    <a:pt x="893" y="1178"/>
                  </a:lnTo>
                  <a:lnTo>
                    <a:pt x="891" y="1184"/>
                  </a:lnTo>
                  <a:lnTo>
                    <a:pt x="891" y="1186"/>
                  </a:lnTo>
                  <a:lnTo>
                    <a:pt x="891" y="1188"/>
                  </a:lnTo>
                  <a:lnTo>
                    <a:pt x="891" y="1191"/>
                  </a:lnTo>
                  <a:lnTo>
                    <a:pt x="892" y="1194"/>
                  </a:lnTo>
                  <a:lnTo>
                    <a:pt x="892" y="1196"/>
                  </a:lnTo>
                  <a:lnTo>
                    <a:pt x="895" y="1203"/>
                  </a:lnTo>
                  <a:lnTo>
                    <a:pt x="896" y="1206"/>
                  </a:lnTo>
                  <a:lnTo>
                    <a:pt x="897" y="1210"/>
                  </a:lnTo>
                  <a:lnTo>
                    <a:pt x="900" y="1220"/>
                  </a:lnTo>
                  <a:lnTo>
                    <a:pt x="901" y="1224"/>
                  </a:lnTo>
                  <a:lnTo>
                    <a:pt x="901" y="1228"/>
                  </a:lnTo>
                  <a:lnTo>
                    <a:pt x="901" y="1230"/>
                  </a:lnTo>
                  <a:lnTo>
                    <a:pt x="901" y="1233"/>
                  </a:lnTo>
                  <a:lnTo>
                    <a:pt x="900" y="1236"/>
                  </a:lnTo>
                  <a:lnTo>
                    <a:pt x="899" y="1238"/>
                  </a:lnTo>
                  <a:lnTo>
                    <a:pt x="899" y="1240"/>
                  </a:lnTo>
                  <a:lnTo>
                    <a:pt x="898" y="1240"/>
                  </a:lnTo>
                  <a:lnTo>
                    <a:pt x="897" y="1242"/>
                  </a:lnTo>
                  <a:lnTo>
                    <a:pt x="895" y="1244"/>
                  </a:lnTo>
                  <a:lnTo>
                    <a:pt x="894" y="1245"/>
                  </a:lnTo>
                  <a:lnTo>
                    <a:pt x="892" y="1247"/>
                  </a:lnTo>
                  <a:lnTo>
                    <a:pt x="890" y="1249"/>
                  </a:lnTo>
                  <a:lnTo>
                    <a:pt x="888" y="1251"/>
                  </a:lnTo>
                  <a:lnTo>
                    <a:pt x="886" y="1252"/>
                  </a:lnTo>
                  <a:lnTo>
                    <a:pt x="880" y="1253"/>
                  </a:lnTo>
                  <a:lnTo>
                    <a:pt x="879" y="1254"/>
                  </a:lnTo>
                  <a:lnTo>
                    <a:pt x="878" y="1255"/>
                  </a:lnTo>
                  <a:lnTo>
                    <a:pt x="876" y="1257"/>
                  </a:lnTo>
                  <a:lnTo>
                    <a:pt x="874" y="1258"/>
                  </a:lnTo>
                  <a:lnTo>
                    <a:pt x="872" y="1260"/>
                  </a:lnTo>
                  <a:lnTo>
                    <a:pt x="870" y="1262"/>
                  </a:lnTo>
                  <a:lnTo>
                    <a:pt x="868" y="1263"/>
                  </a:lnTo>
                  <a:lnTo>
                    <a:pt x="867" y="1266"/>
                  </a:lnTo>
                  <a:lnTo>
                    <a:pt x="864" y="1273"/>
                  </a:lnTo>
                  <a:lnTo>
                    <a:pt x="860" y="1278"/>
                  </a:lnTo>
                  <a:lnTo>
                    <a:pt x="859" y="1281"/>
                  </a:lnTo>
                  <a:lnTo>
                    <a:pt x="858" y="1284"/>
                  </a:lnTo>
                  <a:lnTo>
                    <a:pt x="857" y="1287"/>
                  </a:lnTo>
                  <a:lnTo>
                    <a:pt x="856" y="1292"/>
                  </a:lnTo>
                  <a:lnTo>
                    <a:pt x="855" y="1297"/>
                  </a:lnTo>
                  <a:lnTo>
                    <a:pt x="854" y="1302"/>
                  </a:lnTo>
                  <a:lnTo>
                    <a:pt x="853" y="1306"/>
                  </a:lnTo>
                  <a:lnTo>
                    <a:pt x="853" y="1310"/>
                  </a:lnTo>
                  <a:lnTo>
                    <a:pt x="853" y="1314"/>
                  </a:lnTo>
                  <a:lnTo>
                    <a:pt x="853" y="1317"/>
                  </a:lnTo>
                  <a:lnTo>
                    <a:pt x="853" y="1320"/>
                  </a:lnTo>
                  <a:lnTo>
                    <a:pt x="853" y="1323"/>
                  </a:lnTo>
                  <a:lnTo>
                    <a:pt x="854" y="1326"/>
                  </a:lnTo>
                  <a:lnTo>
                    <a:pt x="854" y="1329"/>
                  </a:lnTo>
                  <a:lnTo>
                    <a:pt x="855" y="1331"/>
                  </a:lnTo>
                  <a:lnTo>
                    <a:pt x="856" y="1333"/>
                  </a:lnTo>
                  <a:lnTo>
                    <a:pt x="858" y="1343"/>
                  </a:lnTo>
                  <a:lnTo>
                    <a:pt x="859" y="1345"/>
                  </a:lnTo>
                  <a:lnTo>
                    <a:pt x="859" y="1346"/>
                  </a:lnTo>
                  <a:lnTo>
                    <a:pt x="859" y="1345"/>
                  </a:lnTo>
                  <a:lnTo>
                    <a:pt x="858" y="1345"/>
                  </a:lnTo>
                  <a:lnTo>
                    <a:pt x="856" y="1344"/>
                  </a:lnTo>
                  <a:lnTo>
                    <a:pt x="854" y="1344"/>
                  </a:lnTo>
                  <a:lnTo>
                    <a:pt x="852" y="1344"/>
                  </a:lnTo>
                  <a:lnTo>
                    <a:pt x="849" y="1344"/>
                  </a:lnTo>
                  <a:lnTo>
                    <a:pt x="846" y="1344"/>
                  </a:lnTo>
                  <a:lnTo>
                    <a:pt x="844" y="1345"/>
                  </a:lnTo>
                  <a:lnTo>
                    <a:pt x="842" y="1346"/>
                  </a:lnTo>
                  <a:lnTo>
                    <a:pt x="839" y="1347"/>
                  </a:lnTo>
                  <a:lnTo>
                    <a:pt x="836" y="1348"/>
                  </a:lnTo>
                  <a:lnTo>
                    <a:pt x="834" y="1350"/>
                  </a:lnTo>
                  <a:lnTo>
                    <a:pt x="833" y="1352"/>
                  </a:lnTo>
                  <a:lnTo>
                    <a:pt x="831" y="1353"/>
                  </a:lnTo>
                  <a:lnTo>
                    <a:pt x="829" y="1354"/>
                  </a:lnTo>
                  <a:lnTo>
                    <a:pt x="828" y="1356"/>
                  </a:lnTo>
                  <a:lnTo>
                    <a:pt x="827" y="1358"/>
                  </a:lnTo>
                  <a:lnTo>
                    <a:pt x="823" y="1365"/>
                  </a:lnTo>
                  <a:lnTo>
                    <a:pt x="822" y="1367"/>
                  </a:lnTo>
                  <a:lnTo>
                    <a:pt x="822" y="1368"/>
                  </a:lnTo>
                  <a:lnTo>
                    <a:pt x="821" y="1368"/>
                  </a:lnTo>
                  <a:lnTo>
                    <a:pt x="820" y="1369"/>
                  </a:lnTo>
                  <a:lnTo>
                    <a:pt x="819" y="1370"/>
                  </a:lnTo>
                  <a:lnTo>
                    <a:pt x="817" y="1370"/>
                  </a:lnTo>
                  <a:lnTo>
                    <a:pt x="815" y="1370"/>
                  </a:lnTo>
                  <a:lnTo>
                    <a:pt x="813" y="1370"/>
                  </a:lnTo>
                  <a:lnTo>
                    <a:pt x="812" y="1369"/>
                  </a:lnTo>
                  <a:lnTo>
                    <a:pt x="810" y="1369"/>
                  </a:lnTo>
                  <a:lnTo>
                    <a:pt x="809" y="1368"/>
                  </a:lnTo>
                  <a:lnTo>
                    <a:pt x="805" y="1366"/>
                  </a:lnTo>
                  <a:lnTo>
                    <a:pt x="798" y="1362"/>
                  </a:lnTo>
                  <a:lnTo>
                    <a:pt x="794" y="1359"/>
                  </a:lnTo>
                  <a:lnTo>
                    <a:pt x="786" y="1354"/>
                  </a:lnTo>
                  <a:lnTo>
                    <a:pt x="776" y="1346"/>
                  </a:lnTo>
                  <a:lnTo>
                    <a:pt x="771" y="1342"/>
                  </a:lnTo>
                  <a:lnTo>
                    <a:pt x="766" y="1339"/>
                  </a:lnTo>
                  <a:lnTo>
                    <a:pt x="764" y="1336"/>
                  </a:lnTo>
                  <a:lnTo>
                    <a:pt x="760" y="1333"/>
                  </a:lnTo>
                  <a:lnTo>
                    <a:pt x="756" y="1330"/>
                  </a:lnTo>
                  <a:lnTo>
                    <a:pt x="754" y="1327"/>
                  </a:lnTo>
                  <a:lnTo>
                    <a:pt x="753" y="1324"/>
                  </a:lnTo>
                  <a:lnTo>
                    <a:pt x="751" y="1321"/>
                  </a:lnTo>
                  <a:lnTo>
                    <a:pt x="750" y="1320"/>
                  </a:lnTo>
                  <a:lnTo>
                    <a:pt x="749" y="1317"/>
                  </a:lnTo>
                  <a:lnTo>
                    <a:pt x="748" y="1313"/>
                  </a:lnTo>
                  <a:lnTo>
                    <a:pt x="748" y="1310"/>
                  </a:lnTo>
                  <a:lnTo>
                    <a:pt x="746" y="1299"/>
                  </a:lnTo>
                  <a:lnTo>
                    <a:pt x="745" y="1288"/>
                  </a:lnTo>
                  <a:lnTo>
                    <a:pt x="744" y="1278"/>
                  </a:lnTo>
                  <a:lnTo>
                    <a:pt x="744" y="1275"/>
                  </a:lnTo>
                  <a:lnTo>
                    <a:pt x="743" y="1270"/>
                  </a:lnTo>
                  <a:lnTo>
                    <a:pt x="742" y="1266"/>
                  </a:lnTo>
                  <a:lnTo>
                    <a:pt x="742" y="1262"/>
                  </a:lnTo>
                  <a:lnTo>
                    <a:pt x="740" y="1252"/>
                  </a:lnTo>
                  <a:lnTo>
                    <a:pt x="738" y="1249"/>
                  </a:lnTo>
                  <a:lnTo>
                    <a:pt x="737" y="1247"/>
                  </a:lnTo>
                  <a:lnTo>
                    <a:pt x="736" y="1245"/>
                  </a:lnTo>
                  <a:lnTo>
                    <a:pt x="735" y="1243"/>
                  </a:lnTo>
                  <a:lnTo>
                    <a:pt x="732" y="1240"/>
                  </a:lnTo>
                  <a:lnTo>
                    <a:pt x="727" y="1233"/>
                  </a:lnTo>
                  <a:lnTo>
                    <a:pt x="720" y="1226"/>
                  </a:lnTo>
                  <a:lnTo>
                    <a:pt x="713" y="1217"/>
                  </a:lnTo>
                  <a:lnTo>
                    <a:pt x="701" y="1202"/>
                  </a:lnTo>
                  <a:lnTo>
                    <a:pt x="698" y="1199"/>
                  </a:lnTo>
                  <a:lnTo>
                    <a:pt x="696" y="1195"/>
                  </a:lnTo>
                  <a:lnTo>
                    <a:pt x="693" y="1193"/>
                  </a:lnTo>
                  <a:lnTo>
                    <a:pt x="690" y="1190"/>
                  </a:lnTo>
                  <a:lnTo>
                    <a:pt x="685" y="1186"/>
                  </a:lnTo>
                  <a:lnTo>
                    <a:pt x="682" y="1183"/>
                  </a:lnTo>
                  <a:lnTo>
                    <a:pt x="679" y="1181"/>
                  </a:lnTo>
                  <a:lnTo>
                    <a:pt x="675" y="1178"/>
                  </a:lnTo>
                  <a:lnTo>
                    <a:pt x="672" y="1175"/>
                  </a:lnTo>
                  <a:lnTo>
                    <a:pt x="668" y="1172"/>
                  </a:lnTo>
                  <a:lnTo>
                    <a:pt x="663" y="1170"/>
                  </a:lnTo>
                  <a:lnTo>
                    <a:pt x="660" y="1168"/>
                  </a:lnTo>
                  <a:lnTo>
                    <a:pt x="658" y="1167"/>
                  </a:lnTo>
                  <a:lnTo>
                    <a:pt x="655" y="1166"/>
                  </a:lnTo>
                  <a:lnTo>
                    <a:pt x="651" y="1165"/>
                  </a:lnTo>
                  <a:lnTo>
                    <a:pt x="647" y="1164"/>
                  </a:lnTo>
                  <a:lnTo>
                    <a:pt x="642" y="1164"/>
                  </a:lnTo>
                  <a:lnTo>
                    <a:pt x="637" y="1164"/>
                  </a:lnTo>
                  <a:lnTo>
                    <a:pt x="627" y="1164"/>
                  </a:lnTo>
                  <a:lnTo>
                    <a:pt x="621" y="1164"/>
                  </a:lnTo>
                  <a:lnTo>
                    <a:pt x="618" y="1163"/>
                  </a:lnTo>
                  <a:lnTo>
                    <a:pt x="616" y="1163"/>
                  </a:lnTo>
                  <a:lnTo>
                    <a:pt x="613" y="1162"/>
                  </a:lnTo>
                  <a:lnTo>
                    <a:pt x="609" y="1161"/>
                  </a:lnTo>
                  <a:lnTo>
                    <a:pt x="606" y="1161"/>
                  </a:lnTo>
                  <a:lnTo>
                    <a:pt x="603" y="1159"/>
                  </a:lnTo>
                  <a:lnTo>
                    <a:pt x="599" y="1157"/>
                  </a:lnTo>
                  <a:lnTo>
                    <a:pt x="594" y="1155"/>
                  </a:lnTo>
                  <a:lnTo>
                    <a:pt x="591" y="1152"/>
                  </a:lnTo>
                  <a:lnTo>
                    <a:pt x="588" y="1150"/>
                  </a:lnTo>
                  <a:lnTo>
                    <a:pt x="585" y="1147"/>
                  </a:lnTo>
                  <a:lnTo>
                    <a:pt x="583" y="1144"/>
                  </a:lnTo>
                  <a:lnTo>
                    <a:pt x="580" y="1141"/>
                  </a:lnTo>
                  <a:lnTo>
                    <a:pt x="578" y="1138"/>
                  </a:lnTo>
                  <a:lnTo>
                    <a:pt x="577" y="1138"/>
                  </a:lnTo>
                  <a:lnTo>
                    <a:pt x="575" y="1134"/>
                  </a:lnTo>
                  <a:lnTo>
                    <a:pt x="573" y="1131"/>
                  </a:lnTo>
                  <a:lnTo>
                    <a:pt x="572" y="1128"/>
                  </a:lnTo>
                  <a:lnTo>
                    <a:pt x="572" y="1125"/>
                  </a:lnTo>
                  <a:lnTo>
                    <a:pt x="570" y="1113"/>
                  </a:lnTo>
                  <a:lnTo>
                    <a:pt x="569" y="1109"/>
                  </a:lnTo>
                  <a:lnTo>
                    <a:pt x="568" y="1106"/>
                  </a:lnTo>
                  <a:lnTo>
                    <a:pt x="567" y="1104"/>
                  </a:lnTo>
                  <a:lnTo>
                    <a:pt x="566" y="1101"/>
                  </a:lnTo>
                  <a:lnTo>
                    <a:pt x="564" y="1099"/>
                  </a:lnTo>
                  <a:lnTo>
                    <a:pt x="563" y="1097"/>
                  </a:lnTo>
                  <a:lnTo>
                    <a:pt x="560" y="1094"/>
                  </a:lnTo>
                  <a:lnTo>
                    <a:pt x="555" y="1087"/>
                  </a:lnTo>
                  <a:lnTo>
                    <a:pt x="546" y="1078"/>
                  </a:lnTo>
                  <a:lnTo>
                    <a:pt x="534" y="1065"/>
                  </a:lnTo>
                  <a:lnTo>
                    <a:pt x="532" y="1063"/>
                  </a:lnTo>
                  <a:lnTo>
                    <a:pt x="530" y="1061"/>
                  </a:lnTo>
                  <a:lnTo>
                    <a:pt x="528" y="1059"/>
                  </a:lnTo>
                  <a:lnTo>
                    <a:pt x="527" y="1056"/>
                  </a:lnTo>
                  <a:lnTo>
                    <a:pt x="526" y="1054"/>
                  </a:lnTo>
                  <a:lnTo>
                    <a:pt x="523" y="1047"/>
                  </a:lnTo>
                  <a:lnTo>
                    <a:pt x="521" y="1043"/>
                  </a:lnTo>
                  <a:lnTo>
                    <a:pt x="518" y="1039"/>
                  </a:lnTo>
                  <a:lnTo>
                    <a:pt x="513" y="1032"/>
                  </a:lnTo>
                  <a:lnTo>
                    <a:pt x="511" y="1029"/>
                  </a:lnTo>
                  <a:lnTo>
                    <a:pt x="509" y="1026"/>
                  </a:lnTo>
                  <a:lnTo>
                    <a:pt x="504" y="1018"/>
                  </a:lnTo>
                  <a:lnTo>
                    <a:pt x="503" y="1015"/>
                  </a:lnTo>
                  <a:lnTo>
                    <a:pt x="501" y="1014"/>
                  </a:lnTo>
                  <a:lnTo>
                    <a:pt x="500" y="1012"/>
                  </a:lnTo>
                  <a:lnTo>
                    <a:pt x="498" y="1010"/>
                  </a:lnTo>
                  <a:lnTo>
                    <a:pt x="491" y="1003"/>
                  </a:lnTo>
                  <a:lnTo>
                    <a:pt x="488" y="1001"/>
                  </a:lnTo>
                  <a:lnTo>
                    <a:pt x="485" y="998"/>
                  </a:lnTo>
                  <a:lnTo>
                    <a:pt x="481" y="993"/>
                  </a:lnTo>
                  <a:lnTo>
                    <a:pt x="480" y="991"/>
                  </a:lnTo>
                  <a:lnTo>
                    <a:pt x="478" y="989"/>
                  </a:lnTo>
                  <a:lnTo>
                    <a:pt x="472" y="984"/>
                  </a:lnTo>
                  <a:lnTo>
                    <a:pt x="470" y="981"/>
                  </a:lnTo>
                  <a:lnTo>
                    <a:pt x="469" y="980"/>
                  </a:lnTo>
                  <a:lnTo>
                    <a:pt x="468" y="979"/>
                  </a:lnTo>
                  <a:lnTo>
                    <a:pt x="467" y="976"/>
                  </a:lnTo>
                  <a:lnTo>
                    <a:pt x="465" y="973"/>
                  </a:lnTo>
                  <a:lnTo>
                    <a:pt x="465" y="970"/>
                  </a:lnTo>
                  <a:lnTo>
                    <a:pt x="464" y="967"/>
                  </a:lnTo>
                  <a:lnTo>
                    <a:pt x="462" y="957"/>
                  </a:lnTo>
                  <a:lnTo>
                    <a:pt x="461" y="952"/>
                  </a:lnTo>
                  <a:lnTo>
                    <a:pt x="460" y="950"/>
                  </a:lnTo>
                  <a:lnTo>
                    <a:pt x="459" y="948"/>
                  </a:lnTo>
                  <a:lnTo>
                    <a:pt x="458" y="946"/>
                  </a:lnTo>
                  <a:lnTo>
                    <a:pt x="458" y="944"/>
                  </a:lnTo>
                  <a:lnTo>
                    <a:pt x="457" y="942"/>
                  </a:lnTo>
                  <a:lnTo>
                    <a:pt x="455" y="940"/>
                  </a:lnTo>
                  <a:lnTo>
                    <a:pt x="448" y="934"/>
                  </a:lnTo>
                  <a:lnTo>
                    <a:pt x="443" y="927"/>
                  </a:lnTo>
                  <a:lnTo>
                    <a:pt x="434" y="918"/>
                  </a:lnTo>
                  <a:lnTo>
                    <a:pt x="429" y="913"/>
                  </a:lnTo>
                  <a:lnTo>
                    <a:pt x="425" y="910"/>
                  </a:lnTo>
                  <a:lnTo>
                    <a:pt x="423" y="907"/>
                  </a:lnTo>
                  <a:lnTo>
                    <a:pt x="420" y="904"/>
                  </a:lnTo>
                  <a:lnTo>
                    <a:pt x="417" y="902"/>
                  </a:lnTo>
                  <a:lnTo>
                    <a:pt x="414" y="900"/>
                  </a:lnTo>
                  <a:lnTo>
                    <a:pt x="412" y="899"/>
                  </a:lnTo>
                  <a:lnTo>
                    <a:pt x="407" y="896"/>
                  </a:lnTo>
                  <a:lnTo>
                    <a:pt x="403" y="895"/>
                  </a:lnTo>
                  <a:lnTo>
                    <a:pt x="401" y="893"/>
                  </a:lnTo>
                  <a:lnTo>
                    <a:pt x="398" y="892"/>
                  </a:lnTo>
                  <a:lnTo>
                    <a:pt x="391" y="890"/>
                  </a:lnTo>
                  <a:lnTo>
                    <a:pt x="386" y="889"/>
                  </a:lnTo>
                  <a:lnTo>
                    <a:pt x="372" y="886"/>
                  </a:lnTo>
                  <a:lnTo>
                    <a:pt x="367" y="885"/>
                  </a:lnTo>
                  <a:lnTo>
                    <a:pt x="363" y="885"/>
                  </a:lnTo>
                  <a:lnTo>
                    <a:pt x="361" y="885"/>
                  </a:lnTo>
                  <a:lnTo>
                    <a:pt x="360" y="885"/>
                  </a:lnTo>
                  <a:lnTo>
                    <a:pt x="358" y="886"/>
                  </a:lnTo>
                  <a:lnTo>
                    <a:pt x="357" y="886"/>
                  </a:lnTo>
                  <a:lnTo>
                    <a:pt x="355" y="887"/>
                  </a:lnTo>
                  <a:lnTo>
                    <a:pt x="355" y="889"/>
                  </a:lnTo>
                  <a:lnTo>
                    <a:pt x="353" y="889"/>
                  </a:lnTo>
                  <a:lnTo>
                    <a:pt x="351" y="894"/>
                  </a:lnTo>
                  <a:lnTo>
                    <a:pt x="350" y="895"/>
                  </a:lnTo>
                  <a:lnTo>
                    <a:pt x="350" y="896"/>
                  </a:lnTo>
                  <a:lnTo>
                    <a:pt x="348" y="896"/>
                  </a:lnTo>
                  <a:lnTo>
                    <a:pt x="347" y="897"/>
                  </a:lnTo>
                  <a:lnTo>
                    <a:pt x="345" y="897"/>
                  </a:lnTo>
                  <a:lnTo>
                    <a:pt x="344" y="897"/>
                  </a:lnTo>
                  <a:lnTo>
                    <a:pt x="341" y="897"/>
                  </a:lnTo>
                  <a:lnTo>
                    <a:pt x="338" y="897"/>
                  </a:lnTo>
                  <a:lnTo>
                    <a:pt x="332" y="895"/>
                  </a:lnTo>
                  <a:lnTo>
                    <a:pt x="325" y="893"/>
                  </a:lnTo>
                  <a:lnTo>
                    <a:pt x="322" y="892"/>
                  </a:lnTo>
                  <a:lnTo>
                    <a:pt x="319" y="892"/>
                  </a:lnTo>
                  <a:lnTo>
                    <a:pt x="311" y="891"/>
                  </a:lnTo>
                  <a:lnTo>
                    <a:pt x="306" y="890"/>
                  </a:lnTo>
                  <a:lnTo>
                    <a:pt x="302" y="890"/>
                  </a:lnTo>
                  <a:lnTo>
                    <a:pt x="298" y="889"/>
                  </a:lnTo>
                  <a:lnTo>
                    <a:pt x="294" y="889"/>
                  </a:lnTo>
                  <a:lnTo>
                    <a:pt x="290" y="888"/>
                  </a:lnTo>
                  <a:lnTo>
                    <a:pt x="287" y="886"/>
                  </a:lnTo>
                  <a:lnTo>
                    <a:pt x="284" y="885"/>
                  </a:lnTo>
                  <a:lnTo>
                    <a:pt x="282" y="883"/>
                  </a:lnTo>
                  <a:lnTo>
                    <a:pt x="280" y="882"/>
                  </a:lnTo>
                  <a:lnTo>
                    <a:pt x="278" y="880"/>
                  </a:lnTo>
                  <a:lnTo>
                    <a:pt x="276" y="878"/>
                  </a:lnTo>
                  <a:lnTo>
                    <a:pt x="275" y="876"/>
                  </a:lnTo>
                  <a:lnTo>
                    <a:pt x="274" y="875"/>
                  </a:lnTo>
                  <a:lnTo>
                    <a:pt x="270" y="867"/>
                  </a:lnTo>
                  <a:lnTo>
                    <a:pt x="265" y="858"/>
                  </a:lnTo>
                  <a:lnTo>
                    <a:pt x="262" y="854"/>
                  </a:lnTo>
                  <a:lnTo>
                    <a:pt x="261" y="850"/>
                  </a:lnTo>
                  <a:lnTo>
                    <a:pt x="260" y="848"/>
                  </a:lnTo>
                  <a:lnTo>
                    <a:pt x="257" y="839"/>
                  </a:lnTo>
                  <a:lnTo>
                    <a:pt x="255" y="835"/>
                  </a:lnTo>
                  <a:lnTo>
                    <a:pt x="254" y="832"/>
                  </a:lnTo>
                  <a:lnTo>
                    <a:pt x="253" y="829"/>
                  </a:lnTo>
                  <a:lnTo>
                    <a:pt x="252" y="826"/>
                  </a:lnTo>
                  <a:lnTo>
                    <a:pt x="249" y="822"/>
                  </a:lnTo>
                  <a:lnTo>
                    <a:pt x="247" y="820"/>
                  </a:lnTo>
                  <a:lnTo>
                    <a:pt x="244" y="816"/>
                  </a:lnTo>
                  <a:lnTo>
                    <a:pt x="240" y="812"/>
                  </a:lnTo>
                  <a:lnTo>
                    <a:pt x="236" y="808"/>
                  </a:lnTo>
                  <a:lnTo>
                    <a:pt x="223" y="798"/>
                  </a:lnTo>
                  <a:lnTo>
                    <a:pt x="220" y="796"/>
                  </a:lnTo>
                  <a:lnTo>
                    <a:pt x="217" y="793"/>
                  </a:lnTo>
                  <a:lnTo>
                    <a:pt x="213" y="791"/>
                  </a:lnTo>
                  <a:lnTo>
                    <a:pt x="210" y="789"/>
                  </a:lnTo>
                  <a:lnTo>
                    <a:pt x="200" y="786"/>
                  </a:lnTo>
                  <a:lnTo>
                    <a:pt x="197" y="784"/>
                  </a:lnTo>
                  <a:lnTo>
                    <a:pt x="195" y="782"/>
                  </a:lnTo>
                  <a:lnTo>
                    <a:pt x="191" y="780"/>
                  </a:lnTo>
                  <a:lnTo>
                    <a:pt x="188" y="778"/>
                  </a:lnTo>
                  <a:lnTo>
                    <a:pt x="186" y="776"/>
                  </a:lnTo>
                  <a:lnTo>
                    <a:pt x="185" y="775"/>
                  </a:lnTo>
                  <a:lnTo>
                    <a:pt x="185" y="774"/>
                  </a:lnTo>
                  <a:lnTo>
                    <a:pt x="184" y="772"/>
                  </a:lnTo>
                  <a:lnTo>
                    <a:pt x="183" y="770"/>
                  </a:lnTo>
                  <a:lnTo>
                    <a:pt x="182" y="768"/>
                  </a:lnTo>
                  <a:lnTo>
                    <a:pt x="181" y="766"/>
                  </a:lnTo>
                  <a:lnTo>
                    <a:pt x="180" y="762"/>
                  </a:lnTo>
                  <a:lnTo>
                    <a:pt x="178" y="753"/>
                  </a:lnTo>
                  <a:lnTo>
                    <a:pt x="176" y="748"/>
                  </a:lnTo>
                  <a:lnTo>
                    <a:pt x="174" y="742"/>
                  </a:lnTo>
                  <a:lnTo>
                    <a:pt x="171" y="733"/>
                  </a:lnTo>
                  <a:lnTo>
                    <a:pt x="170" y="730"/>
                  </a:lnTo>
                  <a:lnTo>
                    <a:pt x="169" y="727"/>
                  </a:lnTo>
                  <a:lnTo>
                    <a:pt x="169" y="725"/>
                  </a:lnTo>
                  <a:lnTo>
                    <a:pt x="169" y="722"/>
                  </a:lnTo>
                  <a:lnTo>
                    <a:pt x="169" y="720"/>
                  </a:lnTo>
                  <a:lnTo>
                    <a:pt x="171" y="714"/>
                  </a:lnTo>
                  <a:lnTo>
                    <a:pt x="171" y="708"/>
                  </a:lnTo>
                  <a:lnTo>
                    <a:pt x="171" y="705"/>
                  </a:lnTo>
                  <a:lnTo>
                    <a:pt x="171" y="697"/>
                  </a:lnTo>
                  <a:lnTo>
                    <a:pt x="172" y="688"/>
                  </a:lnTo>
                  <a:lnTo>
                    <a:pt x="172" y="685"/>
                  </a:lnTo>
                  <a:lnTo>
                    <a:pt x="171" y="682"/>
                  </a:lnTo>
                  <a:lnTo>
                    <a:pt x="171" y="678"/>
                  </a:lnTo>
                  <a:lnTo>
                    <a:pt x="170" y="675"/>
                  </a:lnTo>
                  <a:lnTo>
                    <a:pt x="169" y="673"/>
                  </a:lnTo>
                  <a:lnTo>
                    <a:pt x="167" y="671"/>
                  </a:lnTo>
                  <a:lnTo>
                    <a:pt x="165" y="669"/>
                  </a:lnTo>
                  <a:lnTo>
                    <a:pt x="164" y="667"/>
                  </a:lnTo>
                  <a:lnTo>
                    <a:pt x="162" y="666"/>
                  </a:lnTo>
                  <a:lnTo>
                    <a:pt x="156" y="663"/>
                  </a:lnTo>
                  <a:lnTo>
                    <a:pt x="152" y="662"/>
                  </a:lnTo>
                  <a:lnTo>
                    <a:pt x="148" y="660"/>
                  </a:lnTo>
                  <a:lnTo>
                    <a:pt x="146" y="659"/>
                  </a:lnTo>
                  <a:lnTo>
                    <a:pt x="144" y="657"/>
                  </a:lnTo>
                  <a:lnTo>
                    <a:pt x="141" y="656"/>
                  </a:lnTo>
                  <a:lnTo>
                    <a:pt x="139" y="654"/>
                  </a:lnTo>
                  <a:lnTo>
                    <a:pt x="139" y="652"/>
                  </a:lnTo>
                  <a:lnTo>
                    <a:pt x="137" y="651"/>
                  </a:lnTo>
                  <a:lnTo>
                    <a:pt x="135" y="648"/>
                  </a:lnTo>
                  <a:lnTo>
                    <a:pt x="131" y="641"/>
                  </a:lnTo>
                  <a:lnTo>
                    <a:pt x="129" y="639"/>
                  </a:lnTo>
                  <a:lnTo>
                    <a:pt x="128" y="636"/>
                  </a:lnTo>
                  <a:lnTo>
                    <a:pt x="126" y="631"/>
                  </a:lnTo>
                  <a:lnTo>
                    <a:pt x="125" y="627"/>
                  </a:lnTo>
                  <a:lnTo>
                    <a:pt x="124" y="624"/>
                  </a:lnTo>
                  <a:lnTo>
                    <a:pt x="123" y="619"/>
                  </a:lnTo>
                  <a:lnTo>
                    <a:pt x="122" y="617"/>
                  </a:lnTo>
                  <a:lnTo>
                    <a:pt x="122" y="614"/>
                  </a:lnTo>
                  <a:lnTo>
                    <a:pt x="120" y="598"/>
                  </a:lnTo>
                  <a:lnTo>
                    <a:pt x="120" y="595"/>
                  </a:lnTo>
                  <a:lnTo>
                    <a:pt x="119" y="593"/>
                  </a:lnTo>
                  <a:lnTo>
                    <a:pt x="118" y="587"/>
                  </a:lnTo>
                  <a:lnTo>
                    <a:pt x="115" y="576"/>
                  </a:lnTo>
                  <a:lnTo>
                    <a:pt x="113" y="572"/>
                  </a:lnTo>
                  <a:lnTo>
                    <a:pt x="112" y="569"/>
                  </a:lnTo>
                  <a:lnTo>
                    <a:pt x="110" y="565"/>
                  </a:lnTo>
                  <a:lnTo>
                    <a:pt x="108" y="562"/>
                  </a:lnTo>
                  <a:lnTo>
                    <a:pt x="107" y="560"/>
                  </a:lnTo>
                  <a:lnTo>
                    <a:pt x="105" y="559"/>
                  </a:lnTo>
                  <a:lnTo>
                    <a:pt x="104" y="557"/>
                  </a:lnTo>
                  <a:lnTo>
                    <a:pt x="102" y="556"/>
                  </a:lnTo>
                  <a:lnTo>
                    <a:pt x="96" y="554"/>
                  </a:lnTo>
                  <a:lnTo>
                    <a:pt x="95" y="553"/>
                  </a:lnTo>
                  <a:lnTo>
                    <a:pt x="94" y="552"/>
                  </a:lnTo>
                  <a:lnTo>
                    <a:pt x="93" y="550"/>
                  </a:lnTo>
                  <a:lnTo>
                    <a:pt x="92" y="549"/>
                  </a:lnTo>
                  <a:lnTo>
                    <a:pt x="88" y="545"/>
                  </a:lnTo>
                  <a:lnTo>
                    <a:pt x="87" y="543"/>
                  </a:lnTo>
                  <a:lnTo>
                    <a:pt x="87" y="541"/>
                  </a:lnTo>
                  <a:lnTo>
                    <a:pt x="86" y="538"/>
                  </a:lnTo>
                  <a:lnTo>
                    <a:pt x="86" y="532"/>
                  </a:lnTo>
                  <a:lnTo>
                    <a:pt x="85" y="530"/>
                  </a:lnTo>
                  <a:lnTo>
                    <a:pt x="84" y="526"/>
                  </a:lnTo>
                  <a:lnTo>
                    <a:pt x="84" y="524"/>
                  </a:lnTo>
                  <a:lnTo>
                    <a:pt x="84" y="523"/>
                  </a:lnTo>
                  <a:lnTo>
                    <a:pt x="85" y="519"/>
                  </a:lnTo>
                  <a:lnTo>
                    <a:pt x="86" y="514"/>
                  </a:lnTo>
                  <a:lnTo>
                    <a:pt x="87" y="507"/>
                  </a:lnTo>
                  <a:lnTo>
                    <a:pt x="88" y="502"/>
                  </a:lnTo>
                  <a:lnTo>
                    <a:pt x="89" y="499"/>
                  </a:lnTo>
                  <a:lnTo>
                    <a:pt x="89" y="497"/>
                  </a:lnTo>
                  <a:lnTo>
                    <a:pt x="88" y="494"/>
                  </a:lnTo>
                  <a:lnTo>
                    <a:pt x="88" y="491"/>
                  </a:lnTo>
                  <a:lnTo>
                    <a:pt x="87" y="488"/>
                  </a:lnTo>
                  <a:lnTo>
                    <a:pt x="85" y="485"/>
                  </a:lnTo>
                  <a:lnTo>
                    <a:pt x="84" y="483"/>
                  </a:lnTo>
                  <a:lnTo>
                    <a:pt x="83" y="481"/>
                  </a:lnTo>
                  <a:lnTo>
                    <a:pt x="82" y="480"/>
                  </a:lnTo>
                  <a:lnTo>
                    <a:pt x="80" y="479"/>
                  </a:lnTo>
                  <a:lnTo>
                    <a:pt x="78" y="477"/>
                  </a:lnTo>
                  <a:lnTo>
                    <a:pt x="76" y="476"/>
                  </a:lnTo>
                  <a:lnTo>
                    <a:pt x="66" y="472"/>
                  </a:lnTo>
                  <a:lnTo>
                    <a:pt x="63" y="471"/>
                  </a:lnTo>
                  <a:lnTo>
                    <a:pt x="60" y="470"/>
                  </a:lnTo>
                  <a:lnTo>
                    <a:pt x="53" y="465"/>
                  </a:lnTo>
                  <a:lnTo>
                    <a:pt x="41" y="459"/>
                  </a:lnTo>
                  <a:lnTo>
                    <a:pt x="36" y="455"/>
                  </a:lnTo>
                  <a:lnTo>
                    <a:pt x="34" y="454"/>
                  </a:lnTo>
                  <a:lnTo>
                    <a:pt x="31" y="452"/>
                  </a:lnTo>
                  <a:lnTo>
                    <a:pt x="29" y="450"/>
                  </a:lnTo>
                  <a:lnTo>
                    <a:pt x="27" y="448"/>
                  </a:lnTo>
                  <a:lnTo>
                    <a:pt x="26" y="447"/>
                  </a:lnTo>
                  <a:lnTo>
                    <a:pt x="24" y="445"/>
                  </a:lnTo>
                  <a:lnTo>
                    <a:pt x="22" y="442"/>
                  </a:lnTo>
                  <a:lnTo>
                    <a:pt x="20" y="440"/>
                  </a:lnTo>
                  <a:lnTo>
                    <a:pt x="16" y="435"/>
                  </a:lnTo>
                  <a:lnTo>
                    <a:pt x="11" y="425"/>
                  </a:lnTo>
                  <a:lnTo>
                    <a:pt x="5" y="416"/>
                  </a:lnTo>
                  <a:lnTo>
                    <a:pt x="3" y="413"/>
                  </a:lnTo>
                  <a:lnTo>
                    <a:pt x="2" y="409"/>
                  </a:lnTo>
                  <a:lnTo>
                    <a:pt x="1" y="405"/>
                  </a:lnTo>
                  <a:lnTo>
                    <a:pt x="1" y="402"/>
                  </a:lnTo>
                  <a:lnTo>
                    <a:pt x="0" y="399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8" name="Freeform 91">
              <a:extLst>
                <a:ext uri="{FF2B5EF4-FFF2-40B4-BE49-F238E27FC236}">
                  <a16:creationId xmlns:a16="http://schemas.microsoft.com/office/drawing/2014/main" id="{0A3A5AB4-6315-43D5-98F0-D3D869DF9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" y="2091"/>
              <a:ext cx="712" cy="399"/>
            </a:xfrm>
            <a:custGeom>
              <a:avLst/>
              <a:gdLst>
                <a:gd name="T0" fmla="*/ 2 w 712"/>
                <a:gd name="T1" fmla="*/ 389 h 399"/>
                <a:gd name="T2" fmla="*/ 10 w 712"/>
                <a:gd name="T3" fmla="*/ 379 h 399"/>
                <a:gd name="T4" fmla="*/ 39 w 712"/>
                <a:gd name="T5" fmla="*/ 359 h 399"/>
                <a:gd name="T6" fmla="*/ 47 w 712"/>
                <a:gd name="T7" fmla="*/ 351 h 399"/>
                <a:gd name="T8" fmla="*/ 52 w 712"/>
                <a:gd name="T9" fmla="*/ 325 h 399"/>
                <a:gd name="T10" fmla="*/ 62 w 712"/>
                <a:gd name="T11" fmla="*/ 297 h 399"/>
                <a:gd name="T12" fmla="*/ 73 w 712"/>
                <a:gd name="T13" fmla="*/ 285 h 399"/>
                <a:gd name="T14" fmla="*/ 87 w 712"/>
                <a:gd name="T15" fmla="*/ 262 h 399"/>
                <a:gd name="T16" fmla="*/ 105 w 712"/>
                <a:gd name="T17" fmla="*/ 232 h 399"/>
                <a:gd name="T18" fmla="*/ 121 w 712"/>
                <a:gd name="T19" fmla="*/ 219 h 399"/>
                <a:gd name="T20" fmla="*/ 150 w 712"/>
                <a:gd name="T21" fmla="*/ 226 h 399"/>
                <a:gd name="T22" fmla="*/ 160 w 712"/>
                <a:gd name="T23" fmla="*/ 221 h 399"/>
                <a:gd name="T24" fmla="*/ 176 w 712"/>
                <a:gd name="T25" fmla="*/ 212 h 399"/>
                <a:gd name="T26" fmla="*/ 190 w 712"/>
                <a:gd name="T27" fmla="*/ 212 h 399"/>
                <a:gd name="T28" fmla="*/ 203 w 712"/>
                <a:gd name="T29" fmla="*/ 221 h 399"/>
                <a:gd name="T30" fmla="*/ 210 w 712"/>
                <a:gd name="T31" fmla="*/ 230 h 399"/>
                <a:gd name="T32" fmla="*/ 214 w 712"/>
                <a:gd name="T33" fmla="*/ 229 h 399"/>
                <a:gd name="T34" fmla="*/ 218 w 712"/>
                <a:gd name="T35" fmla="*/ 221 h 399"/>
                <a:gd name="T36" fmla="*/ 230 w 712"/>
                <a:gd name="T37" fmla="*/ 211 h 399"/>
                <a:gd name="T38" fmla="*/ 239 w 712"/>
                <a:gd name="T39" fmla="*/ 203 h 399"/>
                <a:gd name="T40" fmla="*/ 253 w 712"/>
                <a:gd name="T41" fmla="*/ 198 h 399"/>
                <a:gd name="T42" fmla="*/ 278 w 712"/>
                <a:gd name="T43" fmla="*/ 191 h 399"/>
                <a:gd name="T44" fmla="*/ 298 w 712"/>
                <a:gd name="T45" fmla="*/ 187 h 399"/>
                <a:gd name="T46" fmla="*/ 310 w 712"/>
                <a:gd name="T47" fmla="*/ 186 h 399"/>
                <a:gd name="T48" fmla="*/ 324 w 712"/>
                <a:gd name="T49" fmla="*/ 190 h 399"/>
                <a:gd name="T50" fmla="*/ 351 w 712"/>
                <a:gd name="T51" fmla="*/ 198 h 399"/>
                <a:gd name="T52" fmla="*/ 367 w 712"/>
                <a:gd name="T53" fmla="*/ 198 h 399"/>
                <a:gd name="T54" fmla="*/ 382 w 712"/>
                <a:gd name="T55" fmla="*/ 197 h 399"/>
                <a:gd name="T56" fmla="*/ 399 w 712"/>
                <a:gd name="T57" fmla="*/ 202 h 399"/>
                <a:gd name="T58" fmla="*/ 411 w 712"/>
                <a:gd name="T59" fmla="*/ 200 h 399"/>
                <a:gd name="T60" fmla="*/ 426 w 712"/>
                <a:gd name="T61" fmla="*/ 187 h 399"/>
                <a:gd name="T62" fmla="*/ 435 w 712"/>
                <a:gd name="T63" fmla="*/ 166 h 399"/>
                <a:gd name="T64" fmla="*/ 435 w 712"/>
                <a:gd name="T65" fmla="*/ 153 h 399"/>
                <a:gd name="T66" fmla="*/ 439 w 712"/>
                <a:gd name="T67" fmla="*/ 145 h 399"/>
                <a:gd name="T68" fmla="*/ 460 w 712"/>
                <a:gd name="T69" fmla="*/ 136 h 399"/>
                <a:gd name="T70" fmla="*/ 477 w 712"/>
                <a:gd name="T71" fmla="*/ 126 h 399"/>
                <a:gd name="T72" fmla="*/ 510 w 712"/>
                <a:gd name="T73" fmla="*/ 105 h 399"/>
                <a:gd name="T74" fmla="*/ 528 w 712"/>
                <a:gd name="T75" fmla="*/ 88 h 399"/>
                <a:gd name="T76" fmla="*/ 536 w 712"/>
                <a:gd name="T77" fmla="*/ 84 h 399"/>
                <a:gd name="T78" fmla="*/ 552 w 712"/>
                <a:gd name="T79" fmla="*/ 86 h 399"/>
                <a:gd name="T80" fmla="*/ 577 w 712"/>
                <a:gd name="T81" fmla="*/ 89 h 399"/>
                <a:gd name="T82" fmla="*/ 592 w 712"/>
                <a:gd name="T83" fmla="*/ 96 h 399"/>
                <a:gd name="T84" fmla="*/ 612 w 712"/>
                <a:gd name="T85" fmla="*/ 111 h 399"/>
                <a:gd name="T86" fmla="*/ 624 w 712"/>
                <a:gd name="T87" fmla="*/ 119 h 399"/>
                <a:gd name="T88" fmla="*/ 633 w 712"/>
                <a:gd name="T89" fmla="*/ 119 h 399"/>
                <a:gd name="T90" fmla="*/ 639 w 712"/>
                <a:gd name="T91" fmla="*/ 111 h 399"/>
                <a:gd name="T92" fmla="*/ 644 w 712"/>
                <a:gd name="T93" fmla="*/ 85 h 399"/>
                <a:gd name="T94" fmla="*/ 644 w 712"/>
                <a:gd name="T95" fmla="*/ 70 h 399"/>
                <a:gd name="T96" fmla="*/ 648 w 712"/>
                <a:gd name="T97" fmla="*/ 65 h 399"/>
                <a:gd name="T98" fmla="*/ 669 w 712"/>
                <a:gd name="T99" fmla="*/ 58 h 399"/>
                <a:gd name="T100" fmla="*/ 682 w 712"/>
                <a:gd name="T101" fmla="*/ 50 h 399"/>
                <a:gd name="T102" fmla="*/ 687 w 712"/>
                <a:gd name="T103" fmla="*/ 42 h 399"/>
                <a:gd name="T104" fmla="*/ 686 w 712"/>
                <a:gd name="T105" fmla="*/ 35 h 399"/>
                <a:gd name="T106" fmla="*/ 682 w 712"/>
                <a:gd name="T107" fmla="*/ 26 h 399"/>
                <a:gd name="T108" fmla="*/ 685 w 712"/>
                <a:gd name="T109" fmla="*/ 14 h 399"/>
                <a:gd name="T110" fmla="*/ 691 w 712"/>
                <a:gd name="T111" fmla="*/ 5 h 399"/>
                <a:gd name="T112" fmla="*/ 698 w 712"/>
                <a:gd name="T113" fmla="*/ 3 h 399"/>
                <a:gd name="T114" fmla="*/ 710 w 712"/>
                <a:gd name="T115" fmla="*/ 2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12" h="399">
                  <a:moveTo>
                    <a:pt x="0" y="399"/>
                  </a:moveTo>
                  <a:lnTo>
                    <a:pt x="0" y="396"/>
                  </a:lnTo>
                  <a:lnTo>
                    <a:pt x="1" y="393"/>
                  </a:lnTo>
                  <a:lnTo>
                    <a:pt x="1" y="391"/>
                  </a:lnTo>
                  <a:lnTo>
                    <a:pt x="2" y="389"/>
                  </a:lnTo>
                  <a:lnTo>
                    <a:pt x="3" y="387"/>
                  </a:lnTo>
                  <a:lnTo>
                    <a:pt x="4" y="384"/>
                  </a:lnTo>
                  <a:lnTo>
                    <a:pt x="6" y="382"/>
                  </a:lnTo>
                  <a:lnTo>
                    <a:pt x="8" y="380"/>
                  </a:lnTo>
                  <a:lnTo>
                    <a:pt x="10" y="379"/>
                  </a:lnTo>
                  <a:lnTo>
                    <a:pt x="15" y="375"/>
                  </a:lnTo>
                  <a:lnTo>
                    <a:pt x="21" y="371"/>
                  </a:lnTo>
                  <a:lnTo>
                    <a:pt x="34" y="363"/>
                  </a:lnTo>
                  <a:lnTo>
                    <a:pt x="37" y="361"/>
                  </a:lnTo>
                  <a:lnTo>
                    <a:pt x="39" y="359"/>
                  </a:lnTo>
                  <a:lnTo>
                    <a:pt x="41" y="357"/>
                  </a:lnTo>
                  <a:lnTo>
                    <a:pt x="44" y="356"/>
                  </a:lnTo>
                  <a:lnTo>
                    <a:pt x="45" y="354"/>
                  </a:lnTo>
                  <a:lnTo>
                    <a:pt x="47" y="352"/>
                  </a:lnTo>
                  <a:lnTo>
                    <a:pt x="47" y="351"/>
                  </a:lnTo>
                  <a:lnTo>
                    <a:pt x="48" y="349"/>
                  </a:lnTo>
                  <a:lnTo>
                    <a:pt x="49" y="346"/>
                  </a:lnTo>
                  <a:lnTo>
                    <a:pt x="49" y="339"/>
                  </a:lnTo>
                  <a:lnTo>
                    <a:pt x="51" y="330"/>
                  </a:lnTo>
                  <a:lnTo>
                    <a:pt x="52" y="325"/>
                  </a:lnTo>
                  <a:lnTo>
                    <a:pt x="57" y="308"/>
                  </a:lnTo>
                  <a:lnTo>
                    <a:pt x="58" y="305"/>
                  </a:lnTo>
                  <a:lnTo>
                    <a:pt x="59" y="301"/>
                  </a:lnTo>
                  <a:lnTo>
                    <a:pt x="60" y="299"/>
                  </a:lnTo>
                  <a:lnTo>
                    <a:pt x="62" y="297"/>
                  </a:lnTo>
                  <a:lnTo>
                    <a:pt x="64" y="295"/>
                  </a:lnTo>
                  <a:lnTo>
                    <a:pt x="69" y="291"/>
                  </a:lnTo>
                  <a:lnTo>
                    <a:pt x="71" y="289"/>
                  </a:lnTo>
                  <a:lnTo>
                    <a:pt x="71" y="289"/>
                  </a:lnTo>
                  <a:lnTo>
                    <a:pt x="73" y="285"/>
                  </a:lnTo>
                  <a:lnTo>
                    <a:pt x="77" y="277"/>
                  </a:lnTo>
                  <a:lnTo>
                    <a:pt x="79" y="275"/>
                  </a:lnTo>
                  <a:lnTo>
                    <a:pt x="83" y="269"/>
                  </a:lnTo>
                  <a:lnTo>
                    <a:pt x="85" y="266"/>
                  </a:lnTo>
                  <a:lnTo>
                    <a:pt x="87" y="262"/>
                  </a:lnTo>
                  <a:lnTo>
                    <a:pt x="94" y="250"/>
                  </a:lnTo>
                  <a:lnTo>
                    <a:pt x="97" y="244"/>
                  </a:lnTo>
                  <a:lnTo>
                    <a:pt x="99" y="241"/>
                  </a:lnTo>
                  <a:lnTo>
                    <a:pt x="103" y="236"/>
                  </a:lnTo>
                  <a:lnTo>
                    <a:pt x="105" y="232"/>
                  </a:lnTo>
                  <a:lnTo>
                    <a:pt x="112" y="224"/>
                  </a:lnTo>
                  <a:lnTo>
                    <a:pt x="115" y="221"/>
                  </a:lnTo>
                  <a:lnTo>
                    <a:pt x="117" y="219"/>
                  </a:lnTo>
                  <a:lnTo>
                    <a:pt x="117" y="218"/>
                  </a:lnTo>
                  <a:lnTo>
                    <a:pt x="121" y="219"/>
                  </a:lnTo>
                  <a:lnTo>
                    <a:pt x="131" y="221"/>
                  </a:lnTo>
                  <a:lnTo>
                    <a:pt x="143" y="225"/>
                  </a:lnTo>
                  <a:lnTo>
                    <a:pt x="147" y="226"/>
                  </a:lnTo>
                  <a:lnTo>
                    <a:pt x="149" y="226"/>
                  </a:lnTo>
                  <a:lnTo>
                    <a:pt x="150" y="226"/>
                  </a:lnTo>
                  <a:lnTo>
                    <a:pt x="152" y="225"/>
                  </a:lnTo>
                  <a:lnTo>
                    <a:pt x="154" y="225"/>
                  </a:lnTo>
                  <a:lnTo>
                    <a:pt x="156" y="224"/>
                  </a:lnTo>
                  <a:lnTo>
                    <a:pt x="158" y="223"/>
                  </a:lnTo>
                  <a:lnTo>
                    <a:pt x="160" y="221"/>
                  </a:lnTo>
                  <a:lnTo>
                    <a:pt x="164" y="218"/>
                  </a:lnTo>
                  <a:lnTo>
                    <a:pt x="167" y="216"/>
                  </a:lnTo>
                  <a:lnTo>
                    <a:pt x="170" y="215"/>
                  </a:lnTo>
                  <a:lnTo>
                    <a:pt x="173" y="213"/>
                  </a:lnTo>
                  <a:lnTo>
                    <a:pt x="176" y="212"/>
                  </a:lnTo>
                  <a:lnTo>
                    <a:pt x="179" y="211"/>
                  </a:lnTo>
                  <a:lnTo>
                    <a:pt x="183" y="211"/>
                  </a:lnTo>
                  <a:lnTo>
                    <a:pt x="185" y="211"/>
                  </a:lnTo>
                  <a:lnTo>
                    <a:pt x="187" y="211"/>
                  </a:lnTo>
                  <a:lnTo>
                    <a:pt x="190" y="212"/>
                  </a:lnTo>
                  <a:lnTo>
                    <a:pt x="193" y="213"/>
                  </a:lnTo>
                  <a:lnTo>
                    <a:pt x="196" y="214"/>
                  </a:lnTo>
                  <a:lnTo>
                    <a:pt x="198" y="216"/>
                  </a:lnTo>
                  <a:lnTo>
                    <a:pt x="200" y="218"/>
                  </a:lnTo>
                  <a:lnTo>
                    <a:pt x="203" y="221"/>
                  </a:lnTo>
                  <a:lnTo>
                    <a:pt x="204" y="222"/>
                  </a:lnTo>
                  <a:lnTo>
                    <a:pt x="208" y="226"/>
                  </a:lnTo>
                  <a:lnTo>
                    <a:pt x="209" y="228"/>
                  </a:lnTo>
                  <a:lnTo>
                    <a:pt x="209" y="229"/>
                  </a:lnTo>
                  <a:lnTo>
                    <a:pt x="210" y="230"/>
                  </a:lnTo>
                  <a:lnTo>
                    <a:pt x="211" y="230"/>
                  </a:lnTo>
                  <a:lnTo>
                    <a:pt x="212" y="230"/>
                  </a:lnTo>
                  <a:lnTo>
                    <a:pt x="213" y="230"/>
                  </a:lnTo>
                  <a:lnTo>
                    <a:pt x="213" y="229"/>
                  </a:lnTo>
                  <a:lnTo>
                    <a:pt x="214" y="229"/>
                  </a:lnTo>
                  <a:lnTo>
                    <a:pt x="214" y="228"/>
                  </a:lnTo>
                  <a:lnTo>
                    <a:pt x="215" y="227"/>
                  </a:lnTo>
                  <a:lnTo>
                    <a:pt x="216" y="223"/>
                  </a:lnTo>
                  <a:lnTo>
                    <a:pt x="218" y="221"/>
                  </a:lnTo>
                  <a:lnTo>
                    <a:pt x="218" y="221"/>
                  </a:lnTo>
                  <a:lnTo>
                    <a:pt x="219" y="219"/>
                  </a:lnTo>
                  <a:lnTo>
                    <a:pt x="220" y="218"/>
                  </a:lnTo>
                  <a:lnTo>
                    <a:pt x="223" y="216"/>
                  </a:lnTo>
                  <a:lnTo>
                    <a:pt x="225" y="214"/>
                  </a:lnTo>
                  <a:lnTo>
                    <a:pt x="230" y="211"/>
                  </a:lnTo>
                  <a:lnTo>
                    <a:pt x="233" y="210"/>
                  </a:lnTo>
                  <a:lnTo>
                    <a:pt x="234" y="209"/>
                  </a:lnTo>
                  <a:lnTo>
                    <a:pt x="235" y="208"/>
                  </a:lnTo>
                  <a:lnTo>
                    <a:pt x="238" y="204"/>
                  </a:lnTo>
                  <a:lnTo>
                    <a:pt x="239" y="203"/>
                  </a:lnTo>
                  <a:lnTo>
                    <a:pt x="240" y="202"/>
                  </a:lnTo>
                  <a:lnTo>
                    <a:pt x="242" y="201"/>
                  </a:lnTo>
                  <a:lnTo>
                    <a:pt x="244" y="200"/>
                  </a:lnTo>
                  <a:lnTo>
                    <a:pt x="250" y="198"/>
                  </a:lnTo>
                  <a:lnTo>
                    <a:pt x="253" y="198"/>
                  </a:lnTo>
                  <a:lnTo>
                    <a:pt x="257" y="197"/>
                  </a:lnTo>
                  <a:lnTo>
                    <a:pt x="263" y="194"/>
                  </a:lnTo>
                  <a:lnTo>
                    <a:pt x="265" y="193"/>
                  </a:lnTo>
                  <a:lnTo>
                    <a:pt x="269" y="192"/>
                  </a:lnTo>
                  <a:lnTo>
                    <a:pt x="278" y="191"/>
                  </a:lnTo>
                  <a:lnTo>
                    <a:pt x="280" y="191"/>
                  </a:lnTo>
                  <a:lnTo>
                    <a:pt x="286" y="190"/>
                  </a:lnTo>
                  <a:lnTo>
                    <a:pt x="287" y="190"/>
                  </a:lnTo>
                  <a:lnTo>
                    <a:pt x="290" y="189"/>
                  </a:lnTo>
                  <a:lnTo>
                    <a:pt x="298" y="187"/>
                  </a:lnTo>
                  <a:lnTo>
                    <a:pt x="299" y="186"/>
                  </a:lnTo>
                  <a:lnTo>
                    <a:pt x="302" y="186"/>
                  </a:lnTo>
                  <a:lnTo>
                    <a:pt x="304" y="185"/>
                  </a:lnTo>
                  <a:lnTo>
                    <a:pt x="306" y="185"/>
                  </a:lnTo>
                  <a:lnTo>
                    <a:pt x="310" y="186"/>
                  </a:lnTo>
                  <a:lnTo>
                    <a:pt x="312" y="186"/>
                  </a:lnTo>
                  <a:lnTo>
                    <a:pt x="314" y="187"/>
                  </a:lnTo>
                  <a:lnTo>
                    <a:pt x="317" y="187"/>
                  </a:lnTo>
                  <a:lnTo>
                    <a:pt x="321" y="188"/>
                  </a:lnTo>
                  <a:lnTo>
                    <a:pt x="324" y="190"/>
                  </a:lnTo>
                  <a:lnTo>
                    <a:pt x="336" y="193"/>
                  </a:lnTo>
                  <a:lnTo>
                    <a:pt x="339" y="194"/>
                  </a:lnTo>
                  <a:lnTo>
                    <a:pt x="347" y="197"/>
                  </a:lnTo>
                  <a:lnTo>
                    <a:pt x="349" y="198"/>
                  </a:lnTo>
                  <a:lnTo>
                    <a:pt x="351" y="198"/>
                  </a:lnTo>
                  <a:lnTo>
                    <a:pt x="354" y="198"/>
                  </a:lnTo>
                  <a:lnTo>
                    <a:pt x="356" y="198"/>
                  </a:lnTo>
                  <a:lnTo>
                    <a:pt x="360" y="198"/>
                  </a:lnTo>
                  <a:lnTo>
                    <a:pt x="363" y="198"/>
                  </a:lnTo>
                  <a:lnTo>
                    <a:pt x="367" y="198"/>
                  </a:lnTo>
                  <a:lnTo>
                    <a:pt x="372" y="198"/>
                  </a:lnTo>
                  <a:lnTo>
                    <a:pt x="375" y="197"/>
                  </a:lnTo>
                  <a:lnTo>
                    <a:pt x="377" y="197"/>
                  </a:lnTo>
                  <a:lnTo>
                    <a:pt x="379" y="197"/>
                  </a:lnTo>
                  <a:lnTo>
                    <a:pt x="382" y="197"/>
                  </a:lnTo>
                  <a:lnTo>
                    <a:pt x="385" y="198"/>
                  </a:lnTo>
                  <a:lnTo>
                    <a:pt x="388" y="198"/>
                  </a:lnTo>
                  <a:lnTo>
                    <a:pt x="395" y="201"/>
                  </a:lnTo>
                  <a:lnTo>
                    <a:pt x="398" y="202"/>
                  </a:lnTo>
                  <a:lnTo>
                    <a:pt x="399" y="202"/>
                  </a:lnTo>
                  <a:lnTo>
                    <a:pt x="401" y="202"/>
                  </a:lnTo>
                  <a:lnTo>
                    <a:pt x="403" y="202"/>
                  </a:lnTo>
                  <a:lnTo>
                    <a:pt x="405" y="202"/>
                  </a:lnTo>
                  <a:lnTo>
                    <a:pt x="408" y="201"/>
                  </a:lnTo>
                  <a:lnTo>
                    <a:pt x="411" y="200"/>
                  </a:lnTo>
                  <a:lnTo>
                    <a:pt x="414" y="198"/>
                  </a:lnTo>
                  <a:lnTo>
                    <a:pt x="417" y="196"/>
                  </a:lnTo>
                  <a:lnTo>
                    <a:pt x="420" y="194"/>
                  </a:lnTo>
                  <a:lnTo>
                    <a:pt x="424" y="190"/>
                  </a:lnTo>
                  <a:lnTo>
                    <a:pt x="426" y="187"/>
                  </a:lnTo>
                  <a:lnTo>
                    <a:pt x="428" y="185"/>
                  </a:lnTo>
                  <a:lnTo>
                    <a:pt x="430" y="182"/>
                  </a:lnTo>
                  <a:lnTo>
                    <a:pt x="431" y="181"/>
                  </a:lnTo>
                  <a:lnTo>
                    <a:pt x="432" y="179"/>
                  </a:lnTo>
                  <a:lnTo>
                    <a:pt x="435" y="166"/>
                  </a:lnTo>
                  <a:lnTo>
                    <a:pt x="435" y="164"/>
                  </a:lnTo>
                  <a:lnTo>
                    <a:pt x="435" y="163"/>
                  </a:lnTo>
                  <a:lnTo>
                    <a:pt x="435" y="155"/>
                  </a:lnTo>
                  <a:lnTo>
                    <a:pt x="435" y="153"/>
                  </a:lnTo>
                  <a:lnTo>
                    <a:pt x="435" y="153"/>
                  </a:lnTo>
                  <a:lnTo>
                    <a:pt x="435" y="151"/>
                  </a:lnTo>
                  <a:lnTo>
                    <a:pt x="435" y="150"/>
                  </a:lnTo>
                  <a:lnTo>
                    <a:pt x="436" y="148"/>
                  </a:lnTo>
                  <a:lnTo>
                    <a:pt x="437" y="147"/>
                  </a:lnTo>
                  <a:lnTo>
                    <a:pt x="439" y="145"/>
                  </a:lnTo>
                  <a:lnTo>
                    <a:pt x="442" y="144"/>
                  </a:lnTo>
                  <a:lnTo>
                    <a:pt x="444" y="143"/>
                  </a:lnTo>
                  <a:lnTo>
                    <a:pt x="450" y="141"/>
                  </a:lnTo>
                  <a:lnTo>
                    <a:pt x="458" y="137"/>
                  </a:lnTo>
                  <a:lnTo>
                    <a:pt x="460" y="136"/>
                  </a:lnTo>
                  <a:lnTo>
                    <a:pt x="465" y="132"/>
                  </a:lnTo>
                  <a:lnTo>
                    <a:pt x="467" y="131"/>
                  </a:lnTo>
                  <a:lnTo>
                    <a:pt x="469" y="130"/>
                  </a:lnTo>
                  <a:lnTo>
                    <a:pt x="475" y="128"/>
                  </a:lnTo>
                  <a:lnTo>
                    <a:pt x="477" y="126"/>
                  </a:lnTo>
                  <a:lnTo>
                    <a:pt x="489" y="119"/>
                  </a:lnTo>
                  <a:lnTo>
                    <a:pt x="494" y="115"/>
                  </a:lnTo>
                  <a:lnTo>
                    <a:pt x="499" y="112"/>
                  </a:lnTo>
                  <a:lnTo>
                    <a:pt x="503" y="108"/>
                  </a:lnTo>
                  <a:lnTo>
                    <a:pt x="510" y="105"/>
                  </a:lnTo>
                  <a:lnTo>
                    <a:pt x="512" y="104"/>
                  </a:lnTo>
                  <a:lnTo>
                    <a:pt x="515" y="101"/>
                  </a:lnTo>
                  <a:lnTo>
                    <a:pt x="519" y="96"/>
                  </a:lnTo>
                  <a:lnTo>
                    <a:pt x="525" y="92"/>
                  </a:lnTo>
                  <a:lnTo>
                    <a:pt x="528" y="88"/>
                  </a:lnTo>
                  <a:lnTo>
                    <a:pt x="529" y="86"/>
                  </a:lnTo>
                  <a:lnTo>
                    <a:pt x="531" y="85"/>
                  </a:lnTo>
                  <a:lnTo>
                    <a:pt x="533" y="85"/>
                  </a:lnTo>
                  <a:lnTo>
                    <a:pt x="535" y="84"/>
                  </a:lnTo>
                  <a:lnTo>
                    <a:pt x="536" y="84"/>
                  </a:lnTo>
                  <a:lnTo>
                    <a:pt x="537" y="83"/>
                  </a:lnTo>
                  <a:lnTo>
                    <a:pt x="538" y="83"/>
                  </a:lnTo>
                  <a:lnTo>
                    <a:pt x="540" y="84"/>
                  </a:lnTo>
                  <a:lnTo>
                    <a:pt x="547" y="85"/>
                  </a:lnTo>
                  <a:lnTo>
                    <a:pt x="552" y="86"/>
                  </a:lnTo>
                  <a:lnTo>
                    <a:pt x="555" y="87"/>
                  </a:lnTo>
                  <a:lnTo>
                    <a:pt x="563" y="87"/>
                  </a:lnTo>
                  <a:lnTo>
                    <a:pt x="572" y="88"/>
                  </a:lnTo>
                  <a:lnTo>
                    <a:pt x="574" y="88"/>
                  </a:lnTo>
                  <a:lnTo>
                    <a:pt x="577" y="89"/>
                  </a:lnTo>
                  <a:lnTo>
                    <a:pt x="583" y="91"/>
                  </a:lnTo>
                  <a:lnTo>
                    <a:pt x="584" y="92"/>
                  </a:lnTo>
                  <a:lnTo>
                    <a:pt x="586" y="93"/>
                  </a:lnTo>
                  <a:lnTo>
                    <a:pt x="588" y="94"/>
                  </a:lnTo>
                  <a:lnTo>
                    <a:pt x="592" y="96"/>
                  </a:lnTo>
                  <a:lnTo>
                    <a:pt x="595" y="98"/>
                  </a:lnTo>
                  <a:lnTo>
                    <a:pt x="600" y="103"/>
                  </a:lnTo>
                  <a:lnTo>
                    <a:pt x="601" y="104"/>
                  </a:lnTo>
                  <a:lnTo>
                    <a:pt x="605" y="106"/>
                  </a:lnTo>
                  <a:lnTo>
                    <a:pt x="612" y="111"/>
                  </a:lnTo>
                  <a:lnTo>
                    <a:pt x="616" y="114"/>
                  </a:lnTo>
                  <a:lnTo>
                    <a:pt x="618" y="116"/>
                  </a:lnTo>
                  <a:lnTo>
                    <a:pt x="620" y="117"/>
                  </a:lnTo>
                  <a:lnTo>
                    <a:pt x="622" y="118"/>
                  </a:lnTo>
                  <a:lnTo>
                    <a:pt x="624" y="119"/>
                  </a:lnTo>
                  <a:lnTo>
                    <a:pt x="627" y="119"/>
                  </a:lnTo>
                  <a:lnTo>
                    <a:pt x="628" y="119"/>
                  </a:lnTo>
                  <a:lnTo>
                    <a:pt x="630" y="119"/>
                  </a:lnTo>
                  <a:lnTo>
                    <a:pt x="631" y="119"/>
                  </a:lnTo>
                  <a:lnTo>
                    <a:pt x="633" y="119"/>
                  </a:lnTo>
                  <a:lnTo>
                    <a:pt x="635" y="118"/>
                  </a:lnTo>
                  <a:lnTo>
                    <a:pt x="636" y="117"/>
                  </a:lnTo>
                  <a:lnTo>
                    <a:pt x="637" y="115"/>
                  </a:lnTo>
                  <a:lnTo>
                    <a:pt x="638" y="113"/>
                  </a:lnTo>
                  <a:lnTo>
                    <a:pt x="639" y="111"/>
                  </a:lnTo>
                  <a:lnTo>
                    <a:pt x="640" y="108"/>
                  </a:lnTo>
                  <a:lnTo>
                    <a:pt x="643" y="94"/>
                  </a:lnTo>
                  <a:lnTo>
                    <a:pt x="644" y="90"/>
                  </a:lnTo>
                  <a:lnTo>
                    <a:pt x="644" y="87"/>
                  </a:lnTo>
                  <a:lnTo>
                    <a:pt x="644" y="85"/>
                  </a:lnTo>
                  <a:lnTo>
                    <a:pt x="644" y="80"/>
                  </a:lnTo>
                  <a:lnTo>
                    <a:pt x="644" y="77"/>
                  </a:lnTo>
                  <a:lnTo>
                    <a:pt x="643" y="73"/>
                  </a:lnTo>
                  <a:lnTo>
                    <a:pt x="643" y="72"/>
                  </a:lnTo>
                  <a:lnTo>
                    <a:pt x="644" y="70"/>
                  </a:lnTo>
                  <a:lnTo>
                    <a:pt x="644" y="68"/>
                  </a:lnTo>
                  <a:lnTo>
                    <a:pt x="645" y="67"/>
                  </a:lnTo>
                  <a:lnTo>
                    <a:pt x="646" y="66"/>
                  </a:lnTo>
                  <a:lnTo>
                    <a:pt x="647" y="65"/>
                  </a:lnTo>
                  <a:lnTo>
                    <a:pt x="648" y="65"/>
                  </a:lnTo>
                  <a:lnTo>
                    <a:pt x="651" y="63"/>
                  </a:lnTo>
                  <a:lnTo>
                    <a:pt x="655" y="62"/>
                  </a:lnTo>
                  <a:lnTo>
                    <a:pt x="657" y="62"/>
                  </a:lnTo>
                  <a:lnTo>
                    <a:pt x="662" y="61"/>
                  </a:lnTo>
                  <a:lnTo>
                    <a:pt x="669" y="58"/>
                  </a:lnTo>
                  <a:lnTo>
                    <a:pt x="672" y="56"/>
                  </a:lnTo>
                  <a:lnTo>
                    <a:pt x="674" y="55"/>
                  </a:lnTo>
                  <a:lnTo>
                    <a:pt x="677" y="52"/>
                  </a:lnTo>
                  <a:lnTo>
                    <a:pt x="680" y="51"/>
                  </a:lnTo>
                  <a:lnTo>
                    <a:pt x="682" y="50"/>
                  </a:lnTo>
                  <a:lnTo>
                    <a:pt x="684" y="49"/>
                  </a:lnTo>
                  <a:lnTo>
                    <a:pt x="685" y="47"/>
                  </a:lnTo>
                  <a:lnTo>
                    <a:pt x="685" y="45"/>
                  </a:lnTo>
                  <a:lnTo>
                    <a:pt x="686" y="44"/>
                  </a:lnTo>
                  <a:lnTo>
                    <a:pt x="687" y="42"/>
                  </a:lnTo>
                  <a:lnTo>
                    <a:pt x="687" y="40"/>
                  </a:lnTo>
                  <a:lnTo>
                    <a:pt x="687" y="39"/>
                  </a:lnTo>
                  <a:lnTo>
                    <a:pt x="687" y="39"/>
                  </a:lnTo>
                  <a:lnTo>
                    <a:pt x="687" y="36"/>
                  </a:lnTo>
                  <a:lnTo>
                    <a:pt x="686" y="35"/>
                  </a:lnTo>
                  <a:lnTo>
                    <a:pt x="685" y="33"/>
                  </a:lnTo>
                  <a:lnTo>
                    <a:pt x="683" y="30"/>
                  </a:lnTo>
                  <a:lnTo>
                    <a:pt x="683" y="28"/>
                  </a:lnTo>
                  <a:lnTo>
                    <a:pt x="682" y="28"/>
                  </a:lnTo>
                  <a:lnTo>
                    <a:pt x="682" y="26"/>
                  </a:lnTo>
                  <a:lnTo>
                    <a:pt x="682" y="24"/>
                  </a:lnTo>
                  <a:lnTo>
                    <a:pt x="682" y="22"/>
                  </a:lnTo>
                  <a:lnTo>
                    <a:pt x="682" y="20"/>
                  </a:lnTo>
                  <a:lnTo>
                    <a:pt x="683" y="17"/>
                  </a:lnTo>
                  <a:lnTo>
                    <a:pt x="685" y="14"/>
                  </a:lnTo>
                  <a:lnTo>
                    <a:pt x="686" y="10"/>
                  </a:lnTo>
                  <a:lnTo>
                    <a:pt x="687" y="8"/>
                  </a:lnTo>
                  <a:lnTo>
                    <a:pt x="688" y="7"/>
                  </a:lnTo>
                  <a:lnTo>
                    <a:pt x="689" y="6"/>
                  </a:lnTo>
                  <a:lnTo>
                    <a:pt x="691" y="5"/>
                  </a:lnTo>
                  <a:lnTo>
                    <a:pt x="693" y="5"/>
                  </a:lnTo>
                  <a:lnTo>
                    <a:pt x="696" y="4"/>
                  </a:lnTo>
                  <a:lnTo>
                    <a:pt x="697" y="3"/>
                  </a:lnTo>
                  <a:lnTo>
                    <a:pt x="697" y="3"/>
                  </a:lnTo>
                  <a:lnTo>
                    <a:pt x="698" y="3"/>
                  </a:lnTo>
                  <a:lnTo>
                    <a:pt x="699" y="3"/>
                  </a:lnTo>
                  <a:lnTo>
                    <a:pt x="700" y="3"/>
                  </a:lnTo>
                  <a:lnTo>
                    <a:pt x="704" y="3"/>
                  </a:lnTo>
                  <a:lnTo>
                    <a:pt x="709" y="2"/>
                  </a:lnTo>
                  <a:lnTo>
                    <a:pt x="710" y="2"/>
                  </a:lnTo>
                  <a:lnTo>
                    <a:pt x="710" y="1"/>
                  </a:lnTo>
                  <a:lnTo>
                    <a:pt x="711" y="0"/>
                  </a:lnTo>
                  <a:lnTo>
                    <a:pt x="712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9" name="Freeform 92">
              <a:extLst>
                <a:ext uri="{FF2B5EF4-FFF2-40B4-BE49-F238E27FC236}">
                  <a16:creationId xmlns:a16="http://schemas.microsoft.com/office/drawing/2014/main" id="{F7D49A8A-1A42-41FF-AC8F-8E83420B0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" y="1660"/>
              <a:ext cx="908" cy="661"/>
            </a:xfrm>
            <a:custGeom>
              <a:avLst/>
              <a:gdLst>
                <a:gd name="T0" fmla="*/ 626 w 908"/>
                <a:gd name="T1" fmla="*/ 48 h 661"/>
                <a:gd name="T2" fmla="*/ 679 w 908"/>
                <a:gd name="T3" fmla="*/ 81 h 661"/>
                <a:gd name="T4" fmla="*/ 745 w 908"/>
                <a:gd name="T5" fmla="*/ 94 h 661"/>
                <a:gd name="T6" fmla="*/ 762 w 908"/>
                <a:gd name="T7" fmla="*/ 124 h 661"/>
                <a:gd name="T8" fmla="*/ 785 w 908"/>
                <a:gd name="T9" fmla="*/ 129 h 661"/>
                <a:gd name="T10" fmla="*/ 844 w 908"/>
                <a:gd name="T11" fmla="*/ 130 h 661"/>
                <a:gd name="T12" fmla="*/ 861 w 908"/>
                <a:gd name="T13" fmla="*/ 164 h 661"/>
                <a:gd name="T14" fmla="*/ 852 w 908"/>
                <a:gd name="T15" fmla="*/ 221 h 661"/>
                <a:gd name="T16" fmla="*/ 857 w 908"/>
                <a:gd name="T17" fmla="*/ 267 h 661"/>
                <a:gd name="T18" fmla="*/ 871 w 908"/>
                <a:gd name="T19" fmla="*/ 303 h 661"/>
                <a:gd name="T20" fmla="*/ 893 w 908"/>
                <a:gd name="T21" fmla="*/ 360 h 661"/>
                <a:gd name="T22" fmla="*/ 887 w 908"/>
                <a:gd name="T23" fmla="*/ 385 h 661"/>
                <a:gd name="T24" fmla="*/ 859 w 908"/>
                <a:gd name="T25" fmla="*/ 393 h 661"/>
                <a:gd name="T26" fmla="*/ 891 w 908"/>
                <a:gd name="T27" fmla="*/ 409 h 661"/>
                <a:gd name="T28" fmla="*/ 898 w 908"/>
                <a:gd name="T29" fmla="*/ 441 h 661"/>
                <a:gd name="T30" fmla="*/ 899 w 908"/>
                <a:gd name="T31" fmla="*/ 471 h 661"/>
                <a:gd name="T32" fmla="*/ 863 w 908"/>
                <a:gd name="T33" fmla="*/ 494 h 661"/>
                <a:gd name="T34" fmla="*/ 852 w 908"/>
                <a:gd name="T35" fmla="*/ 539 h 661"/>
                <a:gd name="T36" fmla="*/ 828 w 908"/>
                <a:gd name="T37" fmla="*/ 545 h 661"/>
                <a:gd name="T38" fmla="*/ 767 w 908"/>
                <a:gd name="T39" fmla="*/ 518 h 661"/>
                <a:gd name="T40" fmla="*/ 724 w 908"/>
                <a:gd name="T41" fmla="*/ 535 h 661"/>
                <a:gd name="T42" fmla="*/ 654 w 908"/>
                <a:gd name="T43" fmla="*/ 575 h 661"/>
                <a:gd name="T44" fmla="*/ 640 w 908"/>
                <a:gd name="T45" fmla="*/ 616 h 661"/>
                <a:gd name="T46" fmla="*/ 597 w 908"/>
                <a:gd name="T47" fmla="*/ 629 h 661"/>
                <a:gd name="T48" fmla="*/ 548 w 908"/>
                <a:gd name="T49" fmla="*/ 624 h 661"/>
                <a:gd name="T50" fmla="*/ 492 w 908"/>
                <a:gd name="T51" fmla="*/ 622 h 661"/>
                <a:gd name="T52" fmla="*/ 445 w 908"/>
                <a:gd name="T53" fmla="*/ 641 h 661"/>
                <a:gd name="T54" fmla="*/ 423 w 908"/>
                <a:gd name="T55" fmla="*/ 661 h 661"/>
                <a:gd name="T56" fmla="*/ 391 w 908"/>
                <a:gd name="T57" fmla="*/ 642 h 661"/>
                <a:gd name="T58" fmla="*/ 343 w 908"/>
                <a:gd name="T59" fmla="*/ 652 h 661"/>
                <a:gd name="T60" fmla="*/ 292 w 908"/>
                <a:gd name="T61" fmla="*/ 617 h 661"/>
                <a:gd name="T62" fmla="*/ 279 w 908"/>
                <a:gd name="T63" fmla="*/ 586 h 661"/>
                <a:gd name="T64" fmla="*/ 274 w 908"/>
                <a:gd name="T65" fmla="*/ 553 h 661"/>
                <a:gd name="T66" fmla="*/ 239 w 908"/>
                <a:gd name="T67" fmla="*/ 538 h 661"/>
                <a:gd name="T68" fmla="*/ 189 w 908"/>
                <a:gd name="T69" fmla="*/ 503 h 661"/>
                <a:gd name="T70" fmla="*/ 149 w 908"/>
                <a:gd name="T71" fmla="*/ 469 h 661"/>
                <a:gd name="T72" fmla="*/ 119 w 908"/>
                <a:gd name="T73" fmla="*/ 444 h 661"/>
                <a:gd name="T74" fmla="*/ 91 w 908"/>
                <a:gd name="T75" fmla="*/ 411 h 661"/>
                <a:gd name="T76" fmla="*/ 69 w 908"/>
                <a:gd name="T77" fmla="*/ 369 h 661"/>
                <a:gd name="T78" fmla="*/ 73 w 908"/>
                <a:gd name="T79" fmla="*/ 306 h 661"/>
                <a:gd name="T80" fmla="*/ 36 w 908"/>
                <a:gd name="T81" fmla="*/ 254 h 661"/>
                <a:gd name="T82" fmla="*/ 2 w 908"/>
                <a:gd name="T83" fmla="*/ 232 h 661"/>
                <a:gd name="T84" fmla="*/ 17 w 908"/>
                <a:gd name="T85" fmla="*/ 205 h 661"/>
                <a:gd name="T86" fmla="*/ 19 w 908"/>
                <a:gd name="T87" fmla="*/ 165 h 661"/>
                <a:gd name="T88" fmla="*/ 33 w 908"/>
                <a:gd name="T89" fmla="*/ 146 h 661"/>
                <a:gd name="T90" fmla="*/ 74 w 908"/>
                <a:gd name="T91" fmla="*/ 165 h 661"/>
                <a:gd name="T92" fmla="*/ 96 w 908"/>
                <a:gd name="T93" fmla="*/ 207 h 661"/>
                <a:gd name="T94" fmla="*/ 116 w 908"/>
                <a:gd name="T95" fmla="*/ 230 h 661"/>
                <a:gd name="T96" fmla="*/ 134 w 908"/>
                <a:gd name="T97" fmla="*/ 260 h 661"/>
                <a:gd name="T98" fmla="*/ 137 w 908"/>
                <a:gd name="T99" fmla="*/ 304 h 661"/>
                <a:gd name="T100" fmla="*/ 166 w 908"/>
                <a:gd name="T101" fmla="*/ 325 h 661"/>
                <a:gd name="T102" fmla="*/ 172 w 908"/>
                <a:gd name="T103" fmla="*/ 286 h 661"/>
                <a:gd name="T104" fmla="*/ 188 w 908"/>
                <a:gd name="T105" fmla="*/ 246 h 661"/>
                <a:gd name="T106" fmla="*/ 204 w 908"/>
                <a:gd name="T107" fmla="*/ 205 h 661"/>
                <a:gd name="T108" fmla="*/ 237 w 908"/>
                <a:gd name="T109" fmla="*/ 155 h 661"/>
                <a:gd name="T110" fmla="*/ 283 w 908"/>
                <a:gd name="T111" fmla="*/ 120 h 661"/>
                <a:gd name="T112" fmla="*/ 311 w 908"/>
                <a:gd name="T113" fmla="*/ 80 h 661"/>
                <a:gd name="T114" fmla="*/ 394 w 908"/>
                <a:gd name="T115" fmla="*/ 51 h 661"/>
                <a:gd name="T116" fmla="*/ 460 w 908"/>
                <a:gd name="T117" fmla="*/ 62 h 661"/>
                <a:gd name="T118" fmla="*/ 516 w 908"/>
                <a:gd name="T119" fmla="*/ 20 h 661"/>
                <a:gd name="T120" fmla="*/ 545 w 908"/>
                <a:gd name="T121" fmla="*/ 2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8" h="661">
                  <a:moveTo>
                    <a:pt x="556" y="1"/>
                  </a:moveTo>
                  <a:lnTo>
                    <a:pt x="559" y="3"/>
                  </a:lnTo>
                  <a:lnTo>
                    <a:pt x="564" y="6"/>
                  </a:lnTo>
                  <a:lnTo>
                    <a:pt x="567" y="7"/>
                  </a:lnTo>
                  <a:lnTo>
                    <a:pt x="579" y="17"/>
                  </a:lnTo>
                  <a:lnTo>
                    <a:pt x="591" y="25"/>
                  </a:lnTo>
                  <a:lnTo>
                    <a:pt x="598" y="29"/>
                  </a:lnTo>
                  <a:lnTo>
                    <a:pt x="602" y="31"/>
                  </a:lnTo>
                  <a:lnTo>
                    <a:pt x="608" y="37"/>
                  </a:lnTo>
                  <a:lnTo>
                    <a:pt x="613" y="40"/>
                  </a:lnTo>
                  <a:lnTo>
                    <a:pt x="614" y="42"/>
                  </a:lnTo>
                  <a:lnTo>
                    <a:pt x="616" y="43"/>
                  </a:lnTo>
                  <a:lnTo>
                    <a:pt x="622" y="46"/>
                  </a:lnTo>
                  <a:lnTo>
                    <a:pt x="623" y="46"/>
                  </a:lnTo>
                  <a:lnTo>
                    <a:pt x="626" y="48"/>
                  </a:lnTo>
                  <a:lnTo>
                    <a:pt x="630" y="51"/>
                  </a:lnTo>
                  <a:lnTo>
                    <a:pt x="636" y="57"/>
                  </a:lnTo>
                  <a:lnTo>
                    <a:pt x="639" y="60"/>
                  </a:lnTo>
                  <a:lnTo>
                    <a:pt x="643" y="63"/>
                  </a:lnTo>
                  <a:lnTo>
                    <a:pt x="645" y="65"/>
                  </a:lnTo>
                  <a:lnTo>
                    <a:pt x="646" y="66"/>
                  </a:lnTo>
                  <a:lnTo>
                    <a:pt x="647" y="67"/>
                  </a:lnTo>
                  <a:lnTo>
                    <a:pt x="647" y="67"/>
                  </a:lnTo>
                  <a:lnTo>
                    <a:pt x="648" y="67"/>
                  </a:lnTo>
                  <a:lnTo>
                    <a:pt x="658" y="74"/>
                  </a:lnTo>
                  <a:lnTo>
                    <a:pt x="662" y="75"/>
                  </a:lnTo>
                  <a:lnTo>
                    <a:pt x="665" y="77"/>
                  </a:lnTo>
                  <a:lnTo>
                    <a:pt x="668" y="78"/>
                  </a:lnTo>
                  <a:lnTo>
                    <a:pt x="672" y="79"/>
                  </a:lnTo>
                  <a:lnTo>
                    <a:pt x="679" y="81"/>
                  </a:lnTo>
                  <a:lnTo>
                    <a:pt x="684" y="82"/>
                  </a:lnTo>
                  <a:lnTo>
                    <a:pt x="689" y="83"/>
                  </a:lnTo>
                  <a:lnTo>
                    <a:pt x="697" y="83"/>
                  </a:lnTo>
                  <a:lnTo>
                    <a:pt x="701" y="84"/>
                  </a:lnTo>
                  <a:lnTo>
                    <a:pt x="704" y="85"/>
                  </a:lnTo>
                  <a:lnTo>
                    <a:pt x="712" y="86"/>
                  </a:lnTo>
                  <a:lnTo>
                    <a:pt x="717" y="88"/>
                  </a:lnTo>
                  <a:lnTo>
                    <a:pt x="720" y="88"/>
                  </a:lnTo>
                  <a:lnTo>
                    <a:pt x="726" y="89"/>
                  </a:lnTo>
                  <a:lnTo>
                    <a:pt x="729" y="89"/>
                  </a:lnTo>
                  <a:lnTo>
                    <a:pt x="734" y="90"/>
                  </a:lnTo>
                  <a:lnTo>
                    <a:pt x="738" y="91"/>
                  </a:lnTo>
                  <a:lnTo>
                    <a:pt x="739" y="92"/>
                  </a:lnTo>
                  <a:lnTo>
                    <a:pt x="741" y="92"/>
                  </a:lnTo>
                  <a:lnTo>
                    <a:pt x="745" y="94"/>
                  </a:lnTo>
                  <a:lnTo>
                    <a:pt x="752" y="98"/>
                  </a:lnTo>
                  <a:lnTo>
                    <a:pt x="755" y="99"/>
                  </a:lnTo>
                  <a:lnTo>
                    <a:pt x="756" y="101"/>
                  </a:lnTo>
                  <a:lnTo>
                    <a:pt x="758" y="102"/>
                  </a:lnTo>
                  <a:lnTo>
                    <a:pt x="759" y="103"/>
                  </a:lnTo>
                  <a:lnTo>
                    <a:pt x="760" y="104"/>
                  </a:lnTo>
                  <a:lnTo>
                    <a:pt x="761" y="106"/>
                  </a:lnTo>
                  <a:lnTo>
                    <a:pt x="761" y="107"/>
                  </a:lnTo>
                  <a:lnTo>
                    <a:pt x="761" y="108"/>
                  </a:lnTo>
                  <a:lnTo>
                    <a:pt x="761" y="110"/>
                  </a:lnTo>
                  <a:lnTo>
                    <a:pt x="762" y="112"/>
                  </a:lnTo>
                  <a:lnTo>
                    <a:pt x="762" y="119"/>
                  </a:lnTo>
                  <a:lnTo>
                    <a:pt x="762" y="121"/>
                  </a:lnTo>
                  <a:lnTo>
                    <a:pt x="762" y="123"/>
                  </a:lnTo>
                  <a:lnTo>
                    <a:pt x="762" y="124"/>
                  </a:lnTo>
                  <a:lnTo>
                    <a:pt x="763" y="125"/>
                  </a:lnTo>
                  <a:lnTo>
                    <a:pt x="764" y="126"/>
                  </a:lnTo>
                  <a:lnTo>
                    <a:pt x="765" y="127"/>
                  </a:lnTo>
                  <a:lnTo>
                    <a:pt x="766" y="128"/>
                  </a:lnTo>
                  <a:lnTo>
                    <a:pt x="767" y="129"/>
                  </a:lnTo>
                  <a:lnTo>
                    <a:pt x="768" y="130"/>
                  </a:lnTo>
                  <a:lnTo>
                    <a:pt x="770" y="130"/>
                  </a:lnTo>
                  <a:lnTo>
                    <a:pt x="771" y="130"/>
                  </a:lnTo>
                  <a:lnTo>
                    <a:pt x="772" y="131"/>
                  </a:lnTo>
                  <a:lnTo>
                    <a:pt x="773" y="131"/>
                  </a:lnTo>
                  <a:lnTo>
                    <a:pt x="774" y="131"/>
                  </a:lnTo>
                  <a:lnTo>
                    <a:pt x="775" y="131"/>
                  </a:lnTo>
                  <a:lnTo>
                    <a:pt x="778" y="130"/>
                  </a:lnTo>
                  <a:lnTo>
                    <a:pt x="783" y="130"/>
                  </a:lnTo>
                  <a:lnTo>
                    <a:pt x="785" y="129"/>
                  </a:lnTo>
                  <a:lnTo>
                    <a:pt x="787" y="129"/>
                  </a:lnTo>
                  <a:lnTo>
                    <a:pt x="790" y="129"/>
                  </a:lnTo>
                  <a:lnTo>
                    <a:pt x="793" y="129"/>
                  </a:lnTo>
                  <a:lnTo>
                    <a:pt x="796" y="129"/>
                  </a:lnTo>
                  <a:lnTo>
                    <a:pt x="806" y="130"/>
                  </a:lnTo>
                  <a:lnTo>
                    <a:pt x="811" y="130"/>
                  </a:lnTo>
                  <a:lnTo>
                    <a:pt x="816" y="131"/>
                  </a:lnTo>
                  <a:lnTo>
                    <a:pt x="823" y="131"/>
                  </a:lnTo>
                  <a:lnTo>
                    <a:pt x="826" y="131"/>
                  </a:lnTo>
                  <a:lnTo>
                    <a:pt x="828" y="131"/>
                  </a:lnTo>
                  <a:lnTo>
                    <a:pt x="838" y="130"/>
                  </a:lnTo>
                  <a:lnTo>
                    <a:pt x="840" y="130"/>
                  </a:lnTo>
                  <a:lnTo>
                    <a:pt x="840" y="130"/>
                  </a:lnTo>
                  <a:lnTo>
                    <a:pt x="842" y="130"/>
                  </a:lnTo>
                  <a:lnTo>
                    <a:pt x="844" y="130"/>
                  </a:lnTo>
                  <a:lnTo>
                    <a:pt x="845" y="131"/>
                  </a:lnTo>
                  <a:lnTo>
                    <a:pt x="847" y="132"/>
                  </a:lnTo>
                  <a:lnTo>
                    <a:pt x="849" y="134"/>
                  </a:lnTo>
                  <a:lnTo>
                    <a:pt x="851" y="135"/>
                  </a:lnTo>
                  <a:lnTo>
                    <a:pt x="852" y="137"/>
                  </a:lnTo>
                  <a:lnTo>
                    <a:pt x="853" y="139"/>
                  </a:lnTo>
                  <a:lnTo>
                    <a:pt x="855" y="142"/>
                  </a:lnTo>
                  <a:lnTo>
                    <a:pt x="856" y="144"/>
                  </a:lnTo>
                  <a:lnTo>
                    <a:pt x="858" y="147"/>
                  </a:lnTo>
                  <a:lnTo>
                    <a:pt x="860" y="152"/>
                  </a:lnTo>
                  <a:lnTo>
                    <a:pt x="861" y="153"/>
                  </a:lnTo>
                  <a:lnTo>
                    <a:pt x="861" y="155"/>
                  </a:lnTo>
                  <a:lnTo>
                    <a:pt x="861" y="158"/>
                  </a:lnTo>
                  <a:lnTo>
                    <a:pt x="862" y="161"/>
                  </a:lnTo>
                  <a:lnTo>
                    <a:pt x="861" y="164"/>
                  </a:lnTo>
                  <a:lnTo>
                    <a:pt x="861" y="168"/>
                  </a:lnTo>
                  <a:lnTo>
                    <a:pt x="860" y="170"/>
                  </a:lnTo>
                  <a:lnTo>
                    <a:pt x="858" y="177"/>
                  </a:lnTo>
                  <a:lnTo>
                    <a:pt x="857" y="179"/>
                  </a:lnTo>
                  <a:lnTo>
                    <a:pt x="857" y="181"/>
                  </a:lnTo>
                  <a:lnTo>
                    <a:pt x="857" y="184"/>
                  </a:lnTo>
                  <a:lnTo>
                    <a:pt x="857" y="186"/>
                  </a:lnTo>
                  <a:lnTo>
                    <a:pt x="857" y="194"/>
                  </a:lnTo>
                  <a:lnTo>
                    <a:pt x="857" y="196"/>
                  </a:lnTo>
                  <a:lnTo>
                    <a:pt x="857" y="198"/>
                  </a:lnTo>
                  <a:lnTo>
                    <a:pt x="856" y="199"/>
                  </a:lnTo>
                  <a:lnTo>
                    <a:pt x="855" y="205"/>
                  </a:lnTo>
                  <a:lnTo>
                    <a:pt x="852" y="213"/>
                  </a:lnTo>
                  <a:lnTo>
                    <a:pt x="852" y="217"/>
                  </a:lnTo>
                  <a:lnTo>
                    <a:pt x="852" y="221"/>
                  </a:lnTo>
                  <a:lnTo>
                    <a:pt x="852" y="223"/>
                  </a:lnTo>
                  <a:lnTo>
                    <a:pt x="852" y="225"/>
                  </a:lnTo>
                  <a:lnTo>
                    <a:pt x="853" y="227"/>
                  </a:lnTo>
                  <a:lnTo>
                    <a:pt x="855" y="232"/>
                  </a:lnTo>
                  <a:lnTo>
                    <a:pt x="856" y="235"/>
                  </a:lnTo>
                  <a:lnTo>
                    <a:pt x="857" y="242"/>
                  </a:lnTo>
                  <a:lnTo>
                    <a:pt x="858" y="245"/>
                  </a:lnTo>
                  <a:lnTo>
                    <a:pt x="858" y="249"/>
                  </a:lnTo>
                  <a:lnTo>
                    <a:pt x="858" y="253"/>
                  </a:lnTo>
                  <a:lnTo>
                    <a:pt x="858" y="255"/>
                  </a:lnTo>
                  <a:lnTo>
                    <a:pt x="857" y="261"/>
                  </a:lnTo>
                  <a:lnTo>
                    <a:pt x="857" y="262"/>
                  </a:lnTo>
                  <a:lnTo>
                    <a:pt x="857" y="264"/>
                  </a:lnTo>
                  <a:lnTo>
                    <a:pt x="857" y="266"/>
                  </a:lnTo>
                  <a:lnTo>
                    <a:pt x="857" y="267"/>
                  </a:lnTo>
                  <a:lnTo>
                    <a:pt x="858" y="269"/>
                  </a:lnTo>
                  <a:lnTo>
                    <a:pt x="859" y="270"/>
                  </a:lnTo>
                  <a:lnTo>
                    <a:pt x="860" y="272"/>
                  </a:lnTo>
                  <a:lnTo>
                    <a:pt x="862" y="274"/>
                  </a:lnTo>
                  <a:lnTo>
                    <a:pt x="864" y="278"/>
                  </a:lnTo>
                  <a:lnTo>
                    <a:pt x="866" y="279"/>
                  </a:lnTo>
                  <a:lnTo>
                    <a:pt x="868" y="281"/>
                  </a:lnTo>
                  <a:lnTo>
                    <a:pt x="869" y="283"/>
                  </a:lnTo>
                  <a:lnTo>
                    <a:pt x="869" y="285"/>
                  </a:lnTo>
                  <a:lnTo>
                    <a:pt x="870" y="289"/>
                  </a:lnTo>
                  <a:lnTo>
                    <a:pt x="870" y="291"/>
                  </a:lnTo>
                  <a:lnTo>
                    <a:pt x="870" y="299"/>
                  </a:lnTo>
                  <a:lnTo>
                    <a:pt x="870" y="300"/>
                  </a:lnTo>
                  <a:lnTo>
                    <a:pt x="870" y="302"/>
                  </a:lnTo>
                  <a:lnTo>
                    <a:pt x="871" y="303"/>
                  </a:lnTo>
                  <a:lnTo>
                    <a:pt x="872" y="305"/>
                  </a:lnTo>
                  <a:lnTo>
                    <a:pt x="876" y="311"/>
                  </a:lnTo>
                  <a:lnTo>
                    <a:pt x="878" y="314"/>
                  </a:lnTo>
                  <a:lnTo>
                    <a:pt x="882" y="320"/>
                  </a:lnTo>
                  <a:lnTo>
                    <a:pt x="884" y="323"/>
                  </a:lnTo>
                  <a:lnTo>
                    <a:pt x="887" y="334"/>
                  </a:lnTo>
                  <a:lnTo>
                    <a:pt x="889" y="339"/>
                  </a:lnTo>
                  <a:lnTo>
                    <a:pt x="890" y="343"/>
                  </a:lnTo>
                  <a:lnTo>
                    <a:pt x="892" y="349"/>
                  </a:lnTo>
                  <a:lnTo>
                    <a:pt x="893" y="354"/>
                  </a:lnTo>
                  <a:lnTo>
                    <a:pt x="893" y="355"/>
                  </a:lnTo>
                  <a:lnTo>
                    <a:pt x="893" y="357"/>
                  </a:lnTo>
                  <a:lnTo>
                    <a:pt x="893" y="357"/>
                  </a:lnTo>
                  <a:lnTo>
                    <a:pt x="893" y="359"/>
                  </a:lnTo>
                  <a:lnTo>
                    <a:pt x="893" y="360"/>
                  </a:lnTo>
                  <a:lnTo>
                    <a:pt x="892" y="362"/>
                  </a:lnTo>
                  <a:lnTo>
                    <a:pt x="891" y="363"/>
                  </a:lnTo>
                  <a:lnTo>
                    <a:pt x="889" y="367"/>
                  </a:lnTo>
                  <a:lnTo>
                    <a:pt x="888" y="368"/>
                  </a:lnTo>
                  <a:lnTo>
                    <a:pt x="888" y="369"/>
                  </a:lnTo>
                  <a:lnTo>
                    <a:pt x="888" y="370"/>
                  </a:lnTo>
                  <a:lnTo>
                    <a:pt x="888" y="372"/>
                  </a:lnTo>
                  <a:lnTo>
                    <a:pt x="890" y="377"/>
                  </a:lnTo>
                  <a:lnTo>
                    <a:pt x="890" y="380"/>
                  </a:lnTo>
                  <a:lnTo>
                    <a:pt x="890" y="381"/>
                  </a:lnTo>
                  <a:lnTo>
                    <a:pt x="890" y="382"/>
                  </a:lnTo>
                  <a:lnTo>
                    <a:pt x="890" y="383"/>
                  </a:lnTo>
                  <a:lnTo>
                    <a:pt x="889" y="384"/>
                  </a:lnTo>
                  <a:lnTo>
                    <a:pt x="888" y="385"/>
                  </a:lnTo>
                  <a:lnTo>
                    <a:pt x="887" y="385"/>
                  </a:lnTo>
                  <a:lnTo>
                    <a:pt x="885" y="385"/>
                  </a:lnTo>
                  <a:lnTo>
                    <a:pt x="879" y="384"/>
                  </a:lnTo>
                  <a:lnTo>
                    <a:pt x="875" y="383"/>
                  </a:lnTo>
                  <a:lnTo>
                    <a:pt x="873" y="383"/>
                  </a:lnTo>
                  <a:lnTo>
                    <a:pt x="872" y="383"/>
                  </a:lnTo>
                  <a:lnTo>
                    <a:pt x="870" y="384"/>
                  </a:lnTo>
                  <a:lnTo>
                    <a:pt x="868" y="384"/>
                  </a:lnTo>
                  <a:lnTo>
                    <a:pt x="866" y="385"/>
                  </a:lnTo>
                  <a:lnTo>
                    <a:pt x="864" y="386"/>
                  </a:lnTo>
                  <a:lnTo>
                    <a:pt x="863" y="387"/>
                  </a:lnTo>
                  <a:lnTo>
                    <a:pt x="863" y="388"/>
                  </a:lnTo>
                  <a:lnTo>
                    <a:pt x="862" y="389"/>
                  </a:lnTo>
                  <a:lnTo>
                    <a:pt x="860" y="391"/>
                  </a:lnTo>
                  <a:lnTo>
                    <a:pt x="859" y="392"/>
                  </a:lnTo>
                  <a:lnTo>
                    <a:pt x="859" y="393"/>
                  </a:lnTo>
                  <a:lnTo>
                    <a:pt x="860" y="394"/>
                  </a:lnTo>
                  <a:lnTo>
                    <a:pt x="860" y="395"/>
                  </a:lnTo>
                  <a:lnTo>
                    <a:pt x="861" y="396"/>
                  </a:lnTo>
                  <a:lnTo>
                    <a:pt x="862" y="397"/>
                  </a:lnTo>
                  <a:lnTo>
                    <a:pt x="863" y="398"/>
                  </a:lnTo>
                  <a:lnTo>
                    <a:pt x="865" y="400"/>
                  </a:lnTo>
                  <a:lnTo>
                    <a:pt x="867" y="401"/>
                  </a:lnTo>
                  <a:lnTo>
                    <a:pt x="868" y="401"/>
                  </a:lnTo>
                  <a:lnTo>
                    <a:pt x="878" y="402"/>
                  </a:lnTo>
                  <a:lnTo>
                    <a:pt x="880" y="403"/>
                  </a:lnTo>
                  <a:lnTo>
                    <a:pt x="882" y="404"/>
                  </a:lnTo>
                  <a:lnTo>
                    <a:pt x="885" y="405"/>
                  </a:lnTo>
                  <a:lnTo>
                    <a:pt x="886" y="406"/>
                  </a:lnTo>
                  <a:lnTo>
                    <a:pt x="888" y="407"/>
                  </a:lnTo>
                  <a:lnTo>
                    <a:pt x="891" y="409"/>
                  </a:lnTo>
                  <a:lnTo>
                    <a:pt x="893" y="411"/>
                  </a:lnTo>
                  <a:lnTo>
                    <a:pt x="894" y="413"/>
                  </a:lnTo>
                  <a:lnTo>
                    <a:pt x="899" y="420"/>
                  </a:lnTo>
                  <a:lnTo>
                    <a:pt x="901" y="423"/>
                  </a:lnTo>
                  <a:lnTo>
                    <a:pt x="903" y="425"/>
                  </a:lnTo>
                  <a:lnTo>
                    <a:pt x="904" y="427"/>
                  </a:lnTo>
                  <a:lnTo>
                    <a:pt x="906" y="430"/>
                  </a:lnTo>
                  <a:lnTo>
                    <a:pt x="907" y="435"/>
                  </a:lnTo>
                  <a:lnTo>
                    <a:pt x="908" y="435"/>
                  </a:lnTo>
                  <a:lnTo>
                    <a:pt x="905" y="436"/>
                  </a:lnTo>
                  <a:lnTo>
                    <a:pt x="903" y="436"/>
                  </a:lnTo>
                  <a:lnTo>
                    <a:pt x="901" y="437"/>
                  </a:lnTo>
                  <a:lnTo>
                    <a:pt x="900" y="438"/>
                  </a:lnTo>
                  <a:lnTo>
                    <a:pt x="899" y="439"/>
                  </a:lnTo>
                  <a:lnTo>
                    <a:pt x="898" y="441"/>
                  </a:lnTo>
                  <a:lnTo>
                    <a:pt x="897" y="445"/>
                  </a:lnTo>
                  <a:lnTo>
                    <a:pt x="895" y="448"/>
                  </a:lnTo>
                  <a:lnTo>
                    <a:pt x="894" y="451"/>
                  </a:lnTo>
                  <a:lnTo>
                    <a:pt x="894" y="453"/>
                  </a:lnTo>
                  <a:lnTo>
                    <a:pt x="894" y="455"/>
                  </a:lnTo>
                  <a:lnTo>
                    <a:pt x="894" y="457"/>
                  </a:lnTo>
                  <a:lnTo>
                    <a:pt x="894" y="459"/>
                  </a:lnTo>
                  <a:lnTo>
                    <a:pt x="895" y="459"/>
                  </a:lnTo>
                  <a:lnTo>
                    <a:pt x="895" y="461"/>
                  </a:lnTo>
                  <a:lnTo>
                    <a:pt x="897" y="464"/>
                  </a:lnTo>
                  <a:lnTo>
                    <a:pt x="898" y="466"/>
                  </a:lnTo>
                  <a:lnTo>
                    <a:pt x="899" y="467"/>
                  </a:lnTo>
                  <a:lnTo>
                    <a:pt x="899" y="470"/>
                  </a:lnTo>
                  <a:lnTo>
                    <a:pt x="899" y="470"/>
                  </a:lnTo>
                  <a:lnTo>
                    <a:pt x="899" y="471"/>
                  </a:lnTo>
                  <a:lnTo>
                    <a:pt x="899" y="473"/>
                  </a:lnTo>
                  <a:lnTo>
                    <a:pt x="898" y="475"/>
                  </a:lnTo>
                  <a:lnTo>
                    <a:pt x="897" y="476"/>
                  </a:lnTo>
                  <a:lnTo>
                    <a:pt x="897" y="478"/>
                  </a:lnTo>
                  <a:lnTo>
                    <a:pt x="896" y="480"/>
                  </a:lnTo>
                  <a:lnTo>
                    <a:pt x="894" y="481"/>
                  </a:lnTo>
                  <a:lnTo>
                    <a:pt x="892" y="482"/>
                  </a:lnTo>
                  <a:lnTo>
                    <a:pt x="889" y="483"/>
                  </a:lnTo>
                  <a:lnTo>
                    <a:pt x="886" y="486"/>
                  </a:lnTo>
                  <a:lnTo>
                    <a:pt x="884" y="487"/>
                  </a:lnTo>
                  <a:lnTo>
                    <a:pt x="881" y="489"/>
                  </a:lnTo>
                  <a:lnTo>
                    <a:pt x="874" y="492"/>
                  </a:lnTo>
                  <a:lnTo>
                    <a:pt x="869" y="493"/>
                  </a:lnTo>
                  <a:lnTo>
                    <a:pt x="867" y="493"/>
                  </a:lnTo>
                  <a:lnTo>
                    <a:pt x="863" y="494"/>
                  </a:lnTo>
                  <a:lnTo>
                    <a:pt x="860" y="496"/>
                  </a:lnTo>
                  <a:lnTo>
                    <a:pt x="859" y="496"/>
                  </a:lnTo>
                  <a:lnTo>
                    <a:pt x="858" y="497"/>
                  </a:lnTo>
                  <a:lnTo>
                    <a:pt x="857" y="498"/>
                  </a:lnTo>
                  <a:lnTo>
                    <a:pt x="856" y="499"/>
                  </a:lnTo>
                  <a:lnTo>
                    <a:pt x="856" y="501"/>
                  </a:lnTo>
                  <a:lnTo>
                    <a:pt x="855" y="503"/>
                  </a:lnTo>
                  <a:lnTo>
                    <a:pt x="855" y="504"/>
                  </a:lnTo>
                  <a:lnTo>
                    <a:pt x="856" y="508"/>
                  </a:lnTo>
                  <a:lnTo>
                    <a:pt x="856" y="511"/>
                  </a:lnTo>
                  <a:lnTo>
                    <a:pt x="856" y="516"/>
                  </a:lnTo>
                  <a:lnTo>
                    <a:pt x="856" y="518"/>
                  </a:lnTo>
                  <a:lnTo>
                    <a:pt x="856" y="521"/>
                  </a:lnTo>
                  <a:lnTo>
                    <a:pt x="855" y="525"/>
                  </a:lnTo>
                  <a:lnTo>
                    <a:pt x="852" y="539"/>
                  </a:lnTo>
                  <a:lnTo>
                    <a:pt x="851" y="542"/>
                  </a:lnTo>
                  <a:lnTo>
                    <a:pt x="850" y="544"/>
                  </a:lnTo>
                  <a:lnTo>
                    <a:pt x="849" y="546"/>
                  </a:lnTo>
                  <a:lnTo>
                    <a:pt x="848" y="548"/>
                  </a:lnTo>
                  <a:lnTo>
                    <a:pt x="847" y="549"/>
                  </a:lnTo>
                  <a:lnTo>
                    <a:pt x="845" y="550"/>
                  </a:lnTo>
                  <a:lnTo>
                    <a:pt x="843" y="550"/>
                  </a:lnTo>
                  <a:lnTo>
                    <a:pt x="842" y="550"/>
                  </a:lnTo>
                  <a:lnTo>
                    <a:pt x="840" y="550"/>
                  </a:lnTo>
                  <a:lnTo>
                    <a:pt x="839" y="550"/>
                  </a:lnTo>
                  <a:lnTo>
                    <a:pt x="836" y="550"/>
                  </a:lnTo>
                  <a:lnTo>
                    <a:pt x="834" y="549"/>
                  </a:lnTo>
                  <a:lnTo>
                    <a:pt x="832" y="548"/>
                  </a:lnTo>
                  <a:lnTo>
                    <a:pt x="830" y="547"/>
                  </a:lnTo>
                  <a:lnTo>
                    <a:pt x="828" y="545"/>
                  </a:lnTo>
                  <a:lnTo>
                    <a:pt x="824" y="542"/>
                  </a:lnTo>
                  <a:lnTo>
                    <a:pt x="817" y="537"/>
                  </a:lnTo>
                  <a:lnTo>
                    <a:pt x="813" y="535"/>
                  </a:lnTo>
                  <a:lnTo>
                    <a:pt x="812" y="534"/>
                  </a:lnTo>
                  <a:lnTo>
                    <a:pt x="807" y="529"/>
                  </a:lnTo>
                  <a:lnTo>
                    <a:pt x="804" y="527"/>
                  </a:lnTo>
                  <a:lnTo>
                    <a:pt x="800" y="525"/>
                  </a:lnTo>
                  <a:lnTo>
                    <a:pt x="798" y="524"/>
                  </a:lnTo>
                  <a:lnTo>
                    <a:pt x="796" y="523"/>
                  </a:lnTo>
                  <a:lnTo>
                    <a:pt x="795" y="522"/>
                  </a:lnTo>
                  <a:lnTo>
                    <a:pt x="789" y="520"/>
                  </a:lnTo>
                  <a:lnTo>
                    <a:pt x="786" y="519"/>
                  </a:lnTo>
                  <a:lnTo>
                    <a:pt x="784" y="519"/>
                  </a:lnTo>
                  <a:lnTo>
                    <a:pt x="775" y="518"/>
                  </a:lnTo>
                  <a:lnTo>
                    <a:pt x="767" y="518"/>
                  </a:lnTo>
                  <a:lnTo>
                    <a:pt x="764" y="517"/>
                  </a:lnTo>
                  <a:lnTo>
                    <a:pt x="759" y="516"/>
                  </a:lnTo>
                  <a:lnTo>
                    <a:pt x="752" y="515"/>
                  </a:lnTo>
                  <a:lnTo>
                    <a:pt x="750" y="514"/>
                  </a:lnTo>
                  <a:lnTo>
                    <a:pt x="749" y="514"/>
                  </a:lnTo>
                  <a:lnTo>
                    <a:pt x="748" y="515"/>
                  </a:lnTo>
                  <a:lnTo>
                    <a:pt x="747" y="515"/>
                  </a:lnTo>
                  <a:lnTo>
                    <a:pt x="745" y="516"/>
                  </a:lnTo>
                  <a:lnTo>
                    <a:pt x="743" y="516"/>
                  </a:lnTo>
                  <a:lnTo>
                    <a:pt x="741" y="517"/>
                  </a:lnTo>
                  <a:lnTo>
                    <a:pt x="740" y="519"/>
                  </a:lnTo>
                  <a:lnTo>
                    <a:pt x="737" y="523"/>
                  </a:lnTo>
                  <a:lnTo>
                    <a:pt x="731" y="527"/>
                  </a:lnTo>
                  <a:lnTo>
                    <a:pt x="727" y="532"/>
                  </a:lnTo>
                  <a:lnTo>
                    <a:pt x="724" y="535"/>
                  </a:lnTo>
                  <a:lnTo>
                    <a:pt x="722" y="536"/>
                  </a:lnTo>
                  <a:lnTo>
                    <a:pt x="715" y="539"/>
                  </a:lnTo>
                  <a:lnTo>
                    <a:pt x="711" y="543"/>
                  </a:lnTo>
                  <a:lnTo>
                    <a:pt x="706" y="546"/>
                  </a:lnTo>
                  <a:lnTo>
                    <a:pt x="701" y="550"/>
                  </a:lnTo>
                  <a:lnTo>
                    <a:pt x="689" y="557"/>
                  </a:lnTo>
                  <a:lnTo>
                    <a:pt x="687" y="559"/>
                  </a:lnTo>
                  <a:lnTo>
                    <a:pt x="681" y="561"/>
                  </a:lnTo>
                  <a:lnTo>
                    <a:pt x="679" y="562"/>
                  </a:lnTo>
                  <a:lnTo>
                    <a:pt x="677" y="563"/>
                  </a:lnTo>
                  <a:lnTo>
                    <a:pt x="672" y="567"/>
                  </a:lnTo>
                  <a:lnTo>
                    <a:pt x="670" y="568"/>
                  </a:lnTo>
                  <a:lnTo>
                    <a:pt x="662" y="572"/>
                  </a:lnTo>
                  <a:lnTo>
                    <a:pt x="656" y="574"/>
                  </a:lnTo>
                  <a:lnTo>
                    <a:pt x="654" y="575"/>
                  </a:lnTo>
                  <a:lnTo>
                    <a:pt x="651" y="576"/>
                  </a:lnTo>
                  <a:lnTo>
                    <a:pt x="649" y="578"/>
                  </a:lnTo>
                  <a:lnTo>
                    <a:pt x="648" y="579"/>
                  </a:lnTo>
                  <a:lnTo>
                    <a:pt x="647" y="581"/>
                  </a:lnTo>
                  <a:lnTo>
                    <a:pt x="647" y="582"/>
                  </a:lnTo>
                  <a:lnTo>
                    <a:pt x="647" y="584"/>
                  </a:lnTo>
                  <a:lnTo>
                    <a:pt x="647" y="584"/>
                  </a:lnTo>
                  <a:lnTo>
                    <a:pt x="647" y="586"/>
                  </a:lnTo>
                  <a:lnTo>
                    <a:pt x="647" y="594"/>
                  </a:lnTo>
                  <a:lnTo>
                    <a:pt x="647" y="595"/>
                  </a:lnTo>
                  <a:lnTo>
                    <a:pt x="647" y="597"/>
                  </a:lnTo>
                  <a:lnTo>
                    <a:pt x="644" y="610"/>
                  </a:lnTo>
                  <a:lnTo>
                    <a:pt x="643" y="612"/>
                  </a:lnTo>
                  <a:lnTo>
                    <a:pt x="642" y="613"/>
                  </a:lnTo>
                  <a:lnTo>
                    <a:pt x="640" y="616"/>
                  </a:lnTo>
                  <a:lnTo>
                    <a:pt x="638" y="618"/>
                  </a:lnTo>
                  <a:lnTo>
                    <a:pt x="636" y="621"/>
                  </a:lnTo>
                  <a:lnTo>
                    <a:pt x="632" y="625"/>
                  </a:lnTo>
                  <a:lnTo>
                    <a:pt x="629" y="627"/>
                  </a:lnTo>
                  <a:lnTo>
                    <a:pt x="626" y="629"/>
                  </a:lnTo>
                  <a:lnTo>
                    <a:pt x="623" y="631"/>
                  </a:lnTo>
                  <a:lnTo>
                    <a:pt x="620" y="632"/>
                  </a:lnTo>
                  <a:lnTo>
                    <a:pt x="617" y="633"/>
                  </a:lnTo>
                  <a:lnTo>
                    <a:pt x="615" y="633"/>
                  </a:lnTo>
                  <a:lnTo>
                    <a:pt x="613" y="633"/>
                  </a:lnTo>
                  <a:lnTo>
                    <a:pt x="611" y="633"/>
                  </a:lnTo>
                  <a:lnTo>
                    <a:pt x="610" y="633"/>
                  </a:lnTo>
                  <a:lnTo>
                    <a:pt x="607" y="632"/>
                  </a:lnTo>
                  <a:lnTo>
                    <a:pt x="600" y="629"/>
                  </a:lnTo>
                  <a:lnTo>
                    <a:pt x="597" y="629"/>
                  </a:lnTo>
                  <a:lnTo>
                    <a:pt x="594" y="628"/>
                  </a:lnTo>
                  <a:lnTo>
                    <a:pt x="591" y="628"/>
                  </a:lnTo>
                  <a:lnTo>
                    <a:pt x="589" y="628"/>
                  </a:lnTo>
                  <a:lnTo>
                    <a:pt x="587" y="628"/>
                  </a:lnTo>
                  <a:lnTo>
                    <a:pt x="584" y="629"/>
                  </a:lnTo>
                  <a:lnTo>
                    <a:pt x="579" y="629"/>
                  </a:lnTo>
                  <a:lnTo>
                    <a:pt x="575" y="629"/>
                  </a:lnTo>
                  <a:lnTo>
                    <a:pt x="572" y="629"/>
                  </a:lnTo>
                  <a:lnTo>
                    <a:pt x="568" y="629"/>
                  </a:lnTo>
                  <a:lnTo>
                    <a:pt x="566" y="629"/>
                  </a:lnTo>
                  <a:lnTo>
                    <a:pt x="563" y="629"/>
                  </a:lnTo>
                  <a:lnTo>
                    <a:pt x="561" y="629"/>
                  </a:lnTo>
                  <a:lnTo>
                    <a:pt x="559" y="628"/>
                  </a:lnTo>
                  <a:lnTo>
                    <a:pt x="551" y="625"/>
                  </a:lnTo>
                  <a:lnTo>
                    <a:pt x="548" y="624"/>
                  </a:lnTo>
                  <a:lnTo>
                    <a:pt x="536" y="621"/>
                  </a:lnTo>
                  <a:lnTo>
                    <a:pt x="533" y="619"/>
                  </a:lnTo>
                  <a:lnTo>
                    <a:pt x="529" y="618"/>
                  </a:lnTo>
                  <a:lnTo>
                    <a:pt x="526" y="618"/>
                  </a:lnTo>
                  <a:lnTo>
                    <a:pt x="524" y="617"/>
                  </a:lnTo>
                  <a:lnTo>
                    <a:pt x="522" y="617"/>
                  </a:lnTo>
                  <a:lnTo>
                    <a:pt x="518" y="616"/>
                  </a:lnTo>
                  <a:lnTo>
                    <a:pt x="516" y="616"/>
                  </a:lnTo>
                  <a:lnTo>
                    <a:pt x="514" y="617"/>
                  </a:lnTo>
                  <a:lnTo>
                    <a:pt x="511" y="617"/>
                  </a:lnTo>
                  <a:lnTo>
                    <a:pt x="510" y="618"/>
                  </a:lnTo>
                  <a:lnTo>
                    <a:pt x="502" y="620"/>
                  </a:lnTo>
                  <a:lnTo>
                    <a:pt x="499" y="621"/>
                  </a:lnTo>
                  <a:lnTo>
                    <a:pt x="498" y="621"/>
                  </a:lnTo>
                  <a:lnTo>
                    <a:pt x="492" y="622"/>
                  </a:lnTo>
                  <a:lnTo>
                    <a:pt x="490" y="622"/>
                  </a:lnTo>
                  <a:lnTo>
                    <a:pt x="481" y="623"/>
                  </a:lnTo>
                  <a:lnTo>
                    <a:pt x="477" y="624"/>
                  </a:lnTo>
                  <a:lnTo>
                    <a:pt x="475" y="625"/>
                  </a:lnTo>
                  <a:lnTo>
                    <a:pt x="469" y="628"/>
                  </a:lnTo>
                  <a:lnTo>
                    <a:pt x="465" y="629"/>
                  </a:lnTo>
                  <a:lnTo>
                    <a:pt x="462" y="629"/>
                  </a:lnTo>
                  <a:lnTo>
                    <a:pt x="456" y="631"/>
                  </a:lnTo>
                  <a:lnTo>
                    <a:pt x="454" y="632"/>
                  </a:lnTo>
                  <a:lnTo>
                    <a:pt x="452" y="633"/>
                  </a:lnTo>
                  <a:lnTo>
                    <a:pt x="451" y="634"/>
                  </a:lnTo>
                  <a:lnTo>
                    <a:pt x="450" y="635"/>
                  </a:lnTo>
                  <a:lnTo>
                    <a:pt x="447" y="639"/>
                  </a:lnTo>
                  <a:lnTo>
                    <a:pt x="446" y="640"/>
                  </a:lnTo>
                  <a:lnTo>
                    <a:pt x="445" y="641"/>
                  </a:lnTo>
                  <a:lnTo>
                    <a:pt x="442" y="642"/>
                  </a:lnTo>
                  <a:lnTo>
                    <a:pt x="437" y="645"/>
                  </a:lnTo>
                  <a:lnTo>
                    <a:pt x="435" y="647"/>
                  </a:lnTo>
                  <a:lnTo>
                    <a:pt x="432" y="649"/>
                  </a:lnTo>
                  <a:lnTo>
                    <a:pt x="431" y="650"/>
                  </a:lnTo>
                  <a:lnTo>
                    <a:pt x="430" y="652"/>
                  </a:lnTo>
                  <a:lnTo>
                    <a:pt x="430" y="652"/>
                  </a:lnTo>
                  <a:lnTo>
                    <a:pt x="428" y="654"/>
                  </a:lnTo>
                  <a:lnTo>
                    <a:pt x="427" y="658"/>
                  </a:lnTo>
                  <a:lnTo>
                    <a:pt x="426" y="659"/>
                  </a:lnTo>
                  <a:lnTo>
                    <a:pt x="426" y="660"/>
                  </a:lnTo>
                  <a:lnTo>
                    <a:pt x="425" y="660"/>
                  </a:lnTo>
                  <a:lnTo>
                    <a:pt x="425" y="661"/>
                  </a:lnTo>
                  <a:lnTo>
                    <a:pt x="424" y="661"/>
                  </a:lnTo>
                  <a:lnTo>
                    <a:pt x="423" y="661"/>
                  </a:lnTo>
                  <a:lnTo>
                    <a:pt x="422" y="661"/>
                  </a:lnTo>
                  <a:lnTo>
                    <a:pt x="421" y="660"/>
                  </a:lnTo>
                  <a:lnTo>
                    <a:pt x="421" y="659"/>
                  </a:lnTo>
                  <a:lnTo>
                    <a:pt x="420" y="657"/>
                  </a:lnTo>
                  <a:lnTo>
                    <a:pt x="416" y="653"/>
                  </a:lnTo>
                  <a:lnTo>
                    <a:pt x="415" y="652"/>
                  </a:lnTo>
                  <a:lnTo>
                    <a:pt x="412" y="649"/>
                  </a:lnTo>
                  <a:lnTo>
                    <a:pt x="410" y="647"/>
                  </a:lnTo>
                  <a:lnTo>
                    <a:pt x="408" y="645"/>
                  </a:lnTo>
                  <a:lnTo>
                    <a:pt x="405" y="644"/>
                  </a:lnTo>
                  <a:lnTo>
                    <a:pt x="402" y="643"/>
                  </a:lnTo>
                  <a:lnTo>
                    <a:pt x="399" y="642"/>
                  </a:lnTo>
                  <a:lnTo>
                    <a:pt x="397" y="642"/>
                  </a:lnTo>
                  <a:lnTo>
                    <a:pt x="395" y="642"/>
                  </a:lnTo>
                  <a:lnTo>
                    <a:pt x="391" y="642"/>
                  </a:lnTo>
                  <a:lnTo>
                    <a:pt x="388" y="643"/>
                  </a:lnTo>
                  <a:lnTo>
                    <a:pt x="385" y="644"/>
                  </a:lnTo>
                  <a:lnTo>
                    <a:pt x="382" y="646"/>
                  </a:lnTo>
                  <a:lnTo>
                    <a:pt x="379" y="647"/>
                  </a:lnTo>
                  <a:lnTo>
                    <a:pt x="376" y="649"/>
                  </a:lnTo>
                  <a:lnTo>
                    <a:pt x="372" y="652"/>
                  </a:lnTo>
                  <a:lnTo>
                    <a:pt x="370" y="654"/>
                  </a:lnTo>
                  <a:lnTo>
                    <a:pt x="368" y="655"/>
                  </a:lnTo>
                  <a:lnTo>
                    <a:pt x="366" y="656"/>
                  </a:lnTo>
                  <a:lnTo>
                    <a:pt x="364" y="656"/>
                  </a:lnTo>
                  <a:lnTo>
                    <a:pt x="362" y="657"/>
                  </a:lnTo>
                  <a:lnTo>
                    <a:pt x="361" y="657"/>
                  </a:lnTo>
                  <a:lnTo>
                    <a:pt x="359" y="657"/>
                  </a:lnTo>
                  <a:lnTo>
                    <a:pt x="355" y="656"/>
                  </a:lnTo>
                  <a:lnTo>
                    <a:pt x="343" y="652"/>
                  </a:lnTo>
                  <a:lnTo>
                    <a:pt x="333" y="650"/>
                  </a:lnTo>
                  <a:lnTo>
                    <a:pt x="329" y="649"/>
                  </a:lnTo>
                  <a:lnTo>
                    <a:pt x="329" y="648"/>
                  </a:lnTo>
                  <a:lnTo>
                    <a:pt x="329" y="646"/>
                  </a:lnTo>
                  <a:lnTo>
                    <a:pt x="328" y="644"/>
                  </a:lnTo>
                  <a:lnTo>
                    <a:pt x="327" y="641"/>
                  </a:lnTo>
                  <a:lnTo>
                    <a:pt x="326" y="640"/>
                  </a:lnTo>
                  <a:lnTo>
                    <a:pt x="324" y="638"/>
                  </a:lnTo>
                  <a:lnTo>
                    <a:pt x="321" y="635"/>
                  </a:lnTo>
                  <a:lnTo>
                    <a:pt x="319" y="633"/>
                  </a:lnTo>
                  <a:lnTo>
                    <a:pt x="317" y="631"/>
                  </a:lnTo>
                  <a:lnTo>
                    <a:pt x="315" y="629"/>
                  </a:lnTo>
                  <a:lnTo>
                    <a:pt x="309" y="626"/>
                  </a:lnTo>
                  <a:lnTo>
                    <a:pt x="306" y="624"/>
                  </a:lnTo>
                  <a:lnTo>
                    <a:pt x="292" y="617"/>
                  </a:lnTo>
                  <a:lnTo>
                    <a:pt x="287" y="614"/>
                  </a:lnTo>
                  <a:lnTo>
                    <a:pt x="283" y="610"/>
                  </a:lnTo>
                  <a:lnTo>
                    <a:pt x="281" y="608"/>
                  </a:lnTo>
                  <a:lnTo>
                    <a:pt x="279" y="606"/>
                  </a:lnTo>
                  <a:lnTo>
                    <a:pt x="278" y="606"/>
                  </a:lnTo>
                  <a:lnTo>
                    <a:pt x="277" y="605"/>
                  </a:lnTo>
                  <a:lnTo>
                    <a:pt x="276" y="602"/>
                  </a:lnTo>
                  <a:lnTo>
                    <a:pt x="275" y="601"/>
                  </a:lnTo>
                  <a:lnTo>
                    <a:pt x="275" y="599"/>
                  </a:lnTo>
                  <a:lnTo>
                    <a:pt x="275" y="597"/>
                  </a:lnTo>
                  <a:lnTo>
                    <a:pt x="275" y="595"/>
                  </a:lnTo>
                  <a:lnTo>
                    <a:pt x="275" y="594"/>
                  </a:lnTo>
                  <a:lnTo>
                    <a:pt x="276" y="591"/>
                  </a:lnTo>
                  <a:lnTo>
                    <a:pt x="277" y="589"/>
                  </a:lnTo>
                  <a:lnTo>
                    <a:pt x="279" y="586"/>
                  </a:lnTo>
                  <a:lnTo>
                    <a:pt x="282" y="582"/>
                  </a:lnTo>
                  <a:lnTo>
                    <a:pt x="283" y="578"/>
                  </a:lnTo>
                  <a:lnTo>
                    <a:pt x="283" y="576"/>
                  </a:lnTo>
                  <a:lnTo>
                    <a:pt x="283" y="574"/>
                  </a:lnTo>
                  <a:lnTo>
                    <a:pt x="284" y="572"/>
                  </a:lnTo>
                  <a:lnTo>
                    <a:pt x="284" y="570"/>
                  </a:lnTo>
                  <a:lnTo>
                    <a:pt x="284" y="568"/>
                  </a:lnTo>
                  <a:lnTo>
                    <a:pt x="284" y="567"/>
                  </a:lnTo>
                  <a:lnTo>
                    <a:pt x="283" y="565"/>
                  </a:lnTo>
                  <a:lnTo>
                    <a:pt x="283" y="563"/>
                  </a:lnTo>
                  <a:lnTo>
                    <a:pt x="283" y="561"/>
                  </a:lnTo>
                  <a:lnTo>
                    <a:pt x="282" y="561"/>
                  </a:lnTo>
                  <a:lnTo>
                    <a:pt x="281" y="559"/>
                  </a:lnTo>
                  <a:lnTo>
                    <a:pt x="279" y="558"/>
                  </a:lnTo>
                  <a:lnTo>
                    <a:pt x="274" y="553"/>
                  </a:lnTo>
                  <a:lnTo>
                    <a:pt x="271" y="550"/>
                  </a:lnTo>
                  <a:lnTo>
                    <a:pt x="268" y="549"/>
                  </a:lnTo>
                  <a:lnTo>
                    <a:pt x="267" y="548"/>
                  </a:lnTo>
                  <a:lnTo>
                    <a:pt x="265" y="547"/>
                  </a:lnTo>
                  <a:lnTo>
                    <a:pt x="262" y="546"/>
                  </a:lnTo>
                  <a:lnTo>
                    <a:pt x="260" y="546"/>
                  </a:lnTo>
                  <a:lnTo>
                    <a:pt x="257" y="546"/>
                  </a:lnTo>
                  <a:lnTo>
                    <a:pt x="251" y="546"/>
                  </a:lnTo>
                  <a:lnTo>
                    <a:pt x="249" y="545"/>
                  </a:lnTo>
                  <a:lnTo>
                    <a:pt x="247" y="545"/>
                  </a:lnTo>
                  <a:lnTo>
                    <a:pt x="245" y="544"/>
                  </a:lnTo>
                  <a:lnTo>
                    <a:pt x="243" y="543"/>
                  </a:lnTo>
                  <a:lnTo>
                    <a:pt x="242" y="542"/>
                  </a:lnTo>
                  <a:lnTo>
                    <a:pt x="241" y="541"/>
                  </a:lnTo>
                  <a:lnTo>
                    <a:pt x="239" y="538"/>
                  </a:lnTo>
                  <a:lnTo>
                    <a:pt x="238" y="536"/>
                  </a:lnTo>
                  <a:lnTo>
                    <a:pt x="237" y="534"/>
                  </a:lnTo>
                  <a:lnTo>
                    <a:pt x="235" y="533"/>
                  </a:lnTo>
                  <a:lnTo>
                    <a:pt x="230" y="530"/>
                  </a:lnTo>
                  <a:lnTo>
                    <a:pt x="223" y="525"/>
                  </a:lnTo>
                  <a:lnTo>
                    <a:pt x="219" y="523"/>
                  </a:lnTo>
                  <a:lnTo>
                    <a:pt x="216" y="519"/>
                  </a:lnTo>
                  <a:lnTo>
                    <a:pt x="215" y="518"/>
                  </a:lnTo>
                  <a:lnTo>
                    <a:pt x="213" y="517"/>
                  </a:lnTo>
                  <a:lnTo>
                    <a:pt x="207" y="515"/>
                  </a:lnTo>
                  <a:lnTo>
                    <a:pt x="205" y="514"/>
                  </a:lnTo>
                  <a:lnTo>
                    <a:pt x="203" y="512"/>
                  </a:lnTo>
                  <a:lnTo>
                    <a:pt x="196" y="508"/>
                  </a:lnTo>
                  <a:lnTo>
                    <a:pt x="193" y="506"/>
                  </a:lnTo>
                  <a:lnTo>
                    <a:pt x="189" y="503"/>
                  </a:lnTo>
                  <a:lnTo>
                    <a:pt x="180" y="493"/>
                  </a:lnTo>
                  <a:lnTo>
                    <a:pt x="178" y="493"/>
                  </a:lnTo>
                  <a:lnTo>
                    <a:pt x="176" y="491"/>
                  </a:lnTo>
                  <a:lnTo>
                    <a:pt x="174" y="490"/>
                  </a:lnTo>
                  <a:lnTo>
                    <a:pt x="172" y="489"/>
                  </a:lnTo>
                  <a:lnTo>
                    <a:pt x="167" y="486"/>
                  </a:lnTo>
                  <a:lnTo>
                    <a:pt x="165" y="486"/>
                  </a:lnTo>
                  <a:lnTo>
                    <a:pt x="164" y="485"/>
                  </a:lnTo>
                  <a:lnTo>
                    <a:pt x="162" y="483"/>
                  </a:lnTo>
                  <a:lnTo>
                    <a:pt x="160" y="481"/>
                  </a:lnTo>
                  <a:lnTo>
                    <a:pt x="158" y="478"/>
                  </a:lnTo>
                  <a:lnTo>
                    <a:pt x="154" y="473"/>
                  </a:lnTo>
                  <a:lnTo>
                    <a:pt x="153" y="471"/>
                  </a:lnTo>
                  <a:lnTo>
                    <a:pt x="151" y="470"/>
                  </a:lnTo>
                  <a:lnTo>
                    <a:pt x="149" y="469"/>
                  </a:lnTo>
                  <a:lnTo>
                    <a:pt x="146" y="466"/>
                  </a:lnTo>
                  <a:lnTo>
                    <a:pt x="142" y="465"/>
                  </a:lnTo>
                  <a:lnTo>
                    <a:pt x="139" y="463"/>
                  </a:lnTo>
                  <a:lnTo>
                    <a:pt x="131" y="461"/>
                  </a:lnTo>
                  <a:lnTo>
                    <a:pt x="128" y="460"/>
                  </a:lnTo>
                  <a:lnTo>
                    <a:pt x="124" y="458"/>
                  </a:lnTo>
                  <a:lnTo>
                    <a:pt x="123" y="457"/>
                  </a:lnTo>
                  <a:lnTo>
                    <a:pt x="122" y="456"/>
                  </a:lnTo>
                  <a:lnTo>
                    <a:pt x="121" y="455"/>
                  </a:lnTo>
                  <a:lnTo>
                    <a:pt x="120" y="454"/>
                  </a:lnTo>
                  <a:lnTo>
                    <a:pt x="119" y="453"/>
                  </a:lnTo>
                  <a:lnTo>
                    <a:pt x="119" y="451"/>
                  </a:lnTo>
                  <a:lnTo>
                    <a:pt x="119" y="450"/>
                  </a:lnTo>
                  <a:lnTo>
                    <a:pt x="118" y="449"/>
                  </a:lnTo>
                  <a:lnTo>
                    <a:pt x="119" y="444"/>
                  </a:lnTo>
                  <a:lnTo>
                    <a:pt x="119" y="442"/>
                  </a:lnTo>
                  <a:lnTo>
                    <a:pt x="118" y="439"/>
                  </a:lnTo>
                  <a:lnTo>
                    <a:pt x="118" y="437"/>
                  </a:lnTo>
                  <a:lnTo>
                    <a:pt x="117" y="436"/>
                  </a:lnTo>
                  <a:lnTo>
                    <a:pt x="114" y="432"/>
                  </a:lnTo>
                  <a:lnTo>
                    <a:pt x="113" y="428"/>
                  </a:lnTo>
                  <a:lnTo>
                    <a:pt x="109" y="424"/>
                  </a:lnTo>
                  <a:lnTo>
                    <a:pt x="107" y="422"/>
                  </a:lnTo>
                  <a:lnTo>
                    <a:pt x="104" y="419"/>
                  </a:lnTo>
                  <a:lnTo>
                    <a:pt x="103" y="418"/>
                  </a:lnTo>
                  <a:lnTo>
                    <a:pt x="101" y="416"/>
                  </a:lnTo>
                  <a:lnTo>
                    <a:pt x="100" y="415"/>
                  </a:lnTo>
                  <a:lnTo>
                    <a:pt x="95" y="414"/>
                  </a:lnTo>
                  <a:lnTo>
                    <a:pt x="92" y="412"/>
                  </a:lnTo>
                  <a:lnTo>
                    <a:pt x="91" y="411"/>
                  </a:lnTo>
                  <a:lnTo>
                    <a:pt x="87" y="408"/>
                  </a:lnTo>
                  <a:lnTo>
                    <a:pt x="82" y="405"/>
                  </a:lnTo>
                  <a:lnTo>
                    <a:pt x="80" y="403"/>
                  </a:lnTo>
                  <a:lnTo>
                    <a:pt x="79" y="402"/>
                  </a:lnTo>
                  <a:lnTo>
                    <a:pt x="78" y="401"/>
                  </a:lnTo>
                  <a:lnTo>
                    <a:pt x="76" y="399"/>
                  </a:lnTo>
                  <a:lnTo>
                    <a:pt x="75" y="397"/>
                  </a:lnTo>
                  <a:lnTo>
                    <a:pt x="73" y="395"/>
                  </a:lnTo>
                  <a:lnTo>
                    <a:pt x="72" y="392"/>
                  </a:lnTo>
                  <a:lnTo>
                    <a:pt x="71" y="389"/>
                  </a:lnTo>
                  <a:lnTo>
                    <a:pt x="70" y="384"/>
                  </a:lnTo>
                  <a:lnTo>
                    <a:pt x="69" y="381"/>
                  </a:lnTo>
                  <a:lnTo>
                    <a:pt x="69" y="378"/>
                  </a:lnTo>
                  <a:lnTo>
                    <a:pt x="69" y="373"/>
                  </a:lnTo>
                  <a:lnTo>
                    <a:pt x="69" y="369"/>
                  </a:lnTo>
                  <a:lnTo>
                    <a:pt x="69" y="365"/>
                  </a:lnTo>
                  <a:lnTo>
                    <a:pt x="70" y="362"/>
                  </a:lnTo>
                  <a:lnTo>
                    <a:pt x="71" y="359"/>
                  </a:lnTo>
                  <a:lnTo>
                    <a:pt x="74" y="347"/>
                  </a:lnTo>
                  <a:lnTo>
                    <a:pt x="77" y="339"/>
                  </a:lnTo>
                  <a:lnTo>
                    <a:pt x="78" y="336"/>
                  </a:lnTo>
                  <a:lnTo>
                    <a:pt x="79" y="333"/>
                  </a:lnTo>
                  <a:lnTo>
                    <a:pt x="79" y="331"/>
                  </a:lnTo>
                  <a:lnTo>
                    <a:pt x="79" y="328"/>
                  </a:lnTo>
                  <a:lnTo>
                    <a:pt x="78" y="324"/>
                  </a:lnTo>
                  <a:lnTo>
                    <a:pt x="78" y="321"/>
                  </a:lnTo>
                  <a:lnTo>
                    <a:pt x="77" y="316"/>
                  </a:lnTo>
                  <a:lnTo>
                    <a:pt x="75" y="312"/>
                  </a:lnTo>
                  <a:lnTo>
                    <a:pt x="74" y="309"/>
                  </a:lnTo>
                  <a:lnTo>
                    <a:pt x="73" y="306"/>
                  </a:lnTo>
                  <a:lnTo>
                    <a:pt x="70" y="299"/>
                  </a:lnTo>
                  <a:lnTo>
                    <a:pt x="68" y="294"/>
                  </a:lnTo>
                  <a:lnTo>
                    <a:pt x="67" y="293"/>
                  </a:lnTo>
                  <a:lnTo>
                    <a:pt x="67" y="291"/>
                  </a:lnTo>
                  <a:lnTo>
                    <a:pt x="63" y="288"/>
                  </a:lnTo>
                  <a:lnTo>
                    <a:pt x="60" y="284"/>
                  </a:lnTo>
                  <a:lnTo>
                    <a:pt x="56" y="279"/>
                  </a:lnTo>
                  <a:lnTo>
                    <a:pt x="54" y="278"/>
                  </a:lnTo>
                  <a:lnTo>
                    <a:pt x="50" y="274"/>
                  </a:lnTo>
                  <a:lnTo>
                    <a:pt x="48" y="272"/>
                  </a:lnTo>
                  <a:lnTo>
                    <a:pt x="46" y="270"/>
                  </a:lnTo>
                  <a:lnTo>
                    <a:pt x="44" y="263"/>
                  </a:lnTo>
                  <a:lnTo>
                    <a:pt x="41" y="260"/>
                  </a:lnTo>
                  <a:lnTo>
                    <a:pt x="39" y="257"/>
                  </a:lnTo>
                  <a:lnTo>
                    <a:pt x="36" y="254"/>
                  </a:lnTo>
                  <a:lnTo>
                    <a:pt x="34" y="253"/>
                  </a:lnTo>
                  <a:lnTo>
                    <a:pt x="33" y="252"/>
                  </a:lnTo>
                  <a:lnTo>
                    <a:pt x="31" y="251"/>
                  </a:lnTo>
                  <a:lnTo>
                    <a:pt x="24" y="249"/>
                  </a:lnTo>
                  <a:lnTo>
                    <a:pt x="21" y="247"/>
                  </a:lnTo>
                  <a:lnTo>
                    <a:pt x="18" y="246"/>
                  </a:lnTo>
                  <a:lnTo>
                    <a:pt x="16" y="245"/>
                  </a:lnTo>
                  <a:lnTo>
                    <a:pt x="14" y="244"/>
                  </a:lnTo>
                  <a:lnTo>
                    <a:pt x="12" y="243"/>
                  </a:lnTo>
                  <a:lnTo>
                    <a:pt x="10" y="241"/>
                  </a:lnTo>
                  <a:lnTo>
                    <a:pt x="9" y="240"/>
                  </a:lnTo>
                  <a:lnTo>
                    <a:pt x="7" y="237"/>
                  </a:lnTo>
                  <a:lnTo>
                    <a:pt x="5" y="235"/>
                  </a:lnTo>
                  <a:lnTo>
                    <a:pt x="3" y="233"/>
                  </a:lnTo>
                  <a:lnTo>
                    <a:pt x="2" y="232"/>
                  </a:lnTo>
                  <a:lnTo>
                    <a:pt x="1" y="230"/>
                  </a:lnTo>
                  <a:lnTo>
                    <a:pt x="0" y="229"/>
                  </a:lnTo>
                  <a:lnTo>
                    <a:pt x="0" y="227"/>
                  </a:lnTo>
                  <a:lnTo>
                    <a:pt x="0" y="226"/>
                  </a:lnTo>
                  <a:lnTo>
                    <a:pt x="0" y="225"/>
                  </a:lnTo>
                  <a:lnTo>
                    <a:pt x="1" y="223"/>
                  </a:lnTo>
                  <a:lnTo>
                    <a:pt x="1" y="221"/>
                  </a:lnTo>
                  <a:lnTo>
                    <a:pt x="2" y="220"/>
                  </a:lnTo>
                  <a:lnTo>
                    <a:pt x="3" y="218"/>
                  </a:lnTo>
                  <a:lnTo>
                    <a:pt x="4" y="217"/>
                  </a:lnTo>
                  <a:lnTo>
                    <a:pt x="6" y="214"/>
                  </a:lnTo>
                  <a:lnTo>
                    <a:pt x="9" y="212"/>
                  </a:lnTo>
                  <a:lnTo>
                    <a:pt x="10" y="210"/>
                  </a:lnTo>
                  <a:lnTo>
                    <a:pt x="15" y="207"/>
                  </a:lnTo>
                  <a:lnTo>
                    <a:pt x="17" y="205"/>
                  </a:lnTo>
                  <a:lnTo>
                    <a:pt x="20" y="203"/>
                  </a:lnTo>
                  <a:lnTo>
                    <a:pt x="21" y="202"/>
                  </a:lnTo>
                  <a:lnTo>
                    <a:pt x="22" y="200"/>
                  </a:lnTo>
                  <a:lnTo>
                    <a:pt x="23" y="198"/>
                  </a:lnTo>
                  <a:lnTo>
                    <a:pt x="24" y="196"/>
                  </a:lnTo>
                  <a:lnTo>
                    <a:pt x="25" y="194"/>
                  </a:lnTo>
                  <a:lnTo>
                    <a:pt x="25" y="193"/>
                  </a:lnTo>
                  <a:lnTo>
                    <a:pt x="25" y="191"/>
                  </a:lnTo>
                  <a:lnTo>
                    <a:pt x="25" y="189"/>
                  </a:lnTo>
                  <a:lnTo>
                    <a:pt x="24" y="188"/>
                  </a:lnTo>
                  <a:lnTo>
                    <a:pt x="23" y="186"/>
                  </a:lnTo>
                  <a:lnTo>
                    <a:pt x="22" y="179"/>
                  </a:lnTo>
                  <a:lnTo>
                    <a:pt x="21" y="176"/>
                  </a:lnTo>
                  <a:lnTo>
                    <a:pt x="20" y="172"/>
                  </a:lnTo>
                  <a:lnTo>
                    <a:pt x="19" y="165"/>
                  </a:lnTo>
                  <a:lnTo>
                    <a:pt x="18" y="163"/>
                  </a:lnTo>
                  <a:lnTo>
                    <a:pt x="17" y="161"/>
                  </a:lnTo>
                  <a:lnTo>
                    <a:pt x="16" y="158"/>
                  </a:lnTo>
                  <a:lnTo>
                    <a:pt x="14" y="156"/>
                  </a:lnTo>
                  <a:lnTo>
                    <a:pt x="11" y="153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0" y="149"/>
                  </a:lnTo>
                  <a:lnTo>
                    <a:pt x="11" y="148"/>
                  </a:lnTo>
                  <a:lnTo>
                    <a:pt x="12" y="148"/>
                  </a:lnTo>
                  <a:lnTo>
                    <a:pt x="14" y="148"/>
                  </a:lnTo>
                  <a:lnTo>
                    <a:pt x="18" y="148"/>
                  </a:lnTo>
                  <a:lnTo>
                    <a:pt x="21" y="148"/>
                  </a:lnTo>
                  <a:lnTo>
                    <a:pt x="23" y="148"/>
                  </a:lnTo>
                  <a:lnTo>
                    <a:pt x="33" y="146"/>
                  </a:lnTo>
                  <a:lnTo>
                    <a:pt x="37" y="146"/>
                  </a:lnTo>
                  <a:lnTo>
                    <a:pt x="43" y="145"/>
                  </a:lnTo>
                  <a:lnTo>
                    <a:pt x="47" y="146"/>
                  </a:lnTo>
                  <a:lnTo>
                    <a:pt x="51" y="146"/>
                  </a:lnTo>
                  <a:lnTo>
                    <a:pt x="55" y="147"/>
                  </a:lnTo>
                  <a:lnTo>
                    <a:pt x="57" y="147"/>
                  </a:lnTo>
                  <a:lnTo>
                    <a:pt x="59" y="148"/>
                  </a:lnTo>
                  <a:lnTo>
                    <a:pt x="61" y="149"/>
                  </a:lnTo>
                  <a:lnTo>
                    <a:pt x="63" y="151"/>
                  </a:lnTo>
                  <a:lnTo>
                    <a:pt x="65" y="152"/>
                  </a:lnTo>
                  <a:lnTo>
                    <a:pt x="67" y="153"/>
                  </a:lnTo>
                  <a:lnTo>
                    <a:pt x="69" y="157"/>
                  </a:lnTo>
                  <a:lnTo>
                    <a:pt x="72" y="160"/>
                  </a:lnTo>
                  <a:lnTo>
                    <a:pt x="73" y="163"/>
                  </a:lnTo>
                  <a:lnTo>
                    <a:pt x="74" y="165"/>
                  </a:lnTo>
                  <a:lnTo>
                    <a:pt x="75" y="167"/>
                  </a:lnTo>
                  <a:lnTo>
                    <a:pt x="76" y="170"/>
                  </a:lnTo>
                  <a:lnTo>
                    <a:pt x="77" y="177"/>
                  </a:lnTo>
                  <a:lnTo>
                    <a:pt x="78" y="181"/>
                  </a:lnTo>
                  <a:lnTo>
                    <a:pt x="79" y="189"/>
                  </a:lnTo>
                  <a:lnTo>
                    <a:pt x="81" y="193"/>
                  </a:lnTo>
                  <a:lnTo>
                    <a:pt x="82" y="196"/>
                  </a:lnTo>
                  <a:lnTo>
                    <a:pt x="83" y="198"/>
                  </a:lnTo>
                  <a:lnTo>
                    <a:pt x="84" y="199"/>
                  </a:lnTo>
                  <a:lnTo>
                    <a:pt x="86" y="201"/>
                  </a:lnTo>
                  <a:lnTo>
                    <a:pt x="88" y="202"/>
                  </a:lnTo>
                  <a:lnTo>
                    <a:pt x="90" y="204"/>
                  </a:lnTo>
                  <a:lnTo>
                    <a:pt x="92" y="205"/>
                  </a:lnTo>
                  <a:lnTo>
                    <a:pt x="94" y="206"/>
                  </a:lnTo>
                  <a:lnTo>
                    <a:pt x="96" y="207"/>
                  </a:lnTo>
                  <a:lnTo>
                    <a:pt x="110" y="211"/>
                  </a:lnTo>
                  <a:lnTo>
                    <a:pt x="112" y="212"/>
                  </a:lnTo>
                  <a:lnTo>
                    <a:pt x="113" y="213"/>
                  </a:lnTo>
                  <a:lnTo>
                    <a:pt x="115" y="215"/>
                  </a:lnTo>
                  <a:lnTo>
                    <a:pt x="117" y="216"/>
                  </a:lnTo>
                  <a:lnTo>
                    <a:pt x="119" y="218"/>
                  </a:lnTo>
                  <a:lnTo>
                    <a:pt x="120" y="220"/>
                  </a:lnTo>
                  <a:lnTo>
                    <a:pt x="121" y="221"/>
                  </a:lnTo>
                  <a:lnTo>
                    <a:pt x="121" y="223"/>
                  </a:lnTo>
                  <a:lnTo>
                    <a:pt x="121" y="224"/>
                  </a:lnTo>
                  <a:lnTo>
                    <a:pt x="121" y="226"/>
                  </a:lnTo>
                  <a:lnTo>
                    <a:pt x="120" y="227"/>
                  </a:lnTo>
                  <a:lnTo>
                    <a:pt x="119" y="228"/>
                  </a:lnTo>
                  <a:lnTo>
                    <a:pt x="118" y="228"/>
                  </a:lnTo>
                  <a:lnTo>
                    <a:pt x="116" y="230"/>
                  </a:lnTo>
                  <a:lnTo>
                    <a:pt x="115" y="231"/>
                  </a:lnTo>
                  <a:lnTo>
                    <a:pt x="114" y="232"/>
                  </a:lnTo>
                  <a:lnTo>
                    <a:pt x="113" y="232"/>
                  </a:lnTo>
                  <a:lnTo>
                    <a:pt x="113" y="234"/>
                  </a:lnTo>
                  <a:lnTo>
                    <a:pt x="113" y="236"/>
                  </a:lnTo>
                  <a:lnTo>
                    <a:pt x="113" y="237"/>
                  </a:lnTo>
                  <a:lnTo>
                    <a:pt x="114" y="239"/>
                  </a:lnTo>
                  <a:lnTo>
                    <a:pt x="115" y="241"/>
                  </a:lnTo>
                  <a:lnTo>
                    <a:pt x="117" y="244"/>
                  </a:lnTo>
                  <a:lnTo>
                    <a:pt x="119" y="246"/>
                  </a:lnTo>
                  <a:lnTo>
                    <a:pt x="121" y="248"/>
                  </a:lnTo>
                  <a:lnTo>
                    <a:pt x="124" y="251"/>
                  </a:lnTo>
                  <a:lnTo>
                    <a:pt x="131" y="256"/>
                  </a:lnTo>
                  <a:lnTo>
                    <a:pt x="133" y="258"/>
                  </a:lnTo>
                  <a:lnTo>
                    <a:pt x="134" y="260"/>
                  </a:lnTo>
                  <a:lnTo>
                    <a:pt x="135" y="262"/>
                  </a:lnTo>
                  <a:lnTo>
                    <a:pt x="138" y="267"/>
                  </a:lnTo>
                  <a:lnTo>
                    <a:pt x="139" y="268"/>
                  </a:lnTo>
                  <a:lnTo>
                    <a:pt x="139" y="269"/>
                  </a:lnTo>
                  <a:lnTo>
                    <a:pt x="140" y="270"/>
                  </a:lnTo>
                  <a:lnTo>
                    <a:pt x="140" y="273"/>
                  </a:lnTo>
                  <a:lnTo>
                    <a:pt x="139" y="278"/>
                  </a:lnTo>
                  <a:lnTo>
                    <a:pt x="138" y="285"/>
                  </a:lnTo>
                  <a:lnTo>
                    <a:pt x="137" y="289"/>
                  </a:lnTo>
                  <a:lnTo>
                    <a:pt x="136" y="295"/>
                  </a:lnTo>
                  <a:lnTo>
                    <a:pt x="136" y="297"/>
                  </a:lnTo>
                  <a:lnTo>
                    <a:pt x="136" y="299"/>
                  </a:lnTo>
                  <a:lnTo>
                    <a:pt x="136" y="300"/>
                  </a:lnTo>
                  <a:lnTo>
                    <a:pt x="136" y="301"/>
                  </a:lnTo>
                  <a:lnTo>
                    <a:pt x="137" y="304"/>
                  </a:lnTo>
                  <a:lnTo>
                    <a:pt x="139" y="308"/>
                  </a:lnTo>
                  <a:lnTo>
                    <a:pt x="141" y="312"/>
                  </a:lnTo>
                  <a:lnTo>
                    <a:pt x="143" y="315"/>
                  </a:lnTo>
                  <a:lnTo>
                    <a:pt x="146" y="318"/>
                  </a:lnTo>
                  <a:lnTo>
                    <a:pt x="147" y="319"/>
                  </a:lnTo>
                  <a:lnTo>
                    <a:pt x="147" y="320"/>
                  </a:lnTo>
                  <a:lnTo>
                    <a:pt x="149" y="322"/>
                  </a:lnTo>
                  <a:lnTo>
                    <a:pt x="150" y="322"/>
                  </a:lnTo>
                  <a:lnTo>
                    <a:pt x="153" y="323"/>
                  </a:lnTo>
                  <a:lnTo>
                    <a:pt x="155" y="324"/>
                  </a:lnTo>
                  <a:lnTo>
                    <a:pt x="158" y="324"/>
                  </a:lnTo>
                  <a:lnTo>
                    <a:pt x="159" y="325"/>
                  </a:lnTo>
                  <a:lnTo>
                    <a:pt x="162" y="325"/>
                  </a:lnTo>
                  <a:lnTo>
                    <a:pt x="164" y="325"/>
                  </a:lnTo>
                  <a:lnTo>
                    <a:pt x="166" y="325"/>
                  </a:lnTo>
                  <a:lnTo>
                    <a:pt x="168" y="325"/>
                  </a:lnTo>
                  <a:lnTo>
                    <a:pt x="169" y="325"/>
                  </a:lnTo>
                  <a:lnTo>
                    <a:pt x="170" y="324"/>
                  </a:lnTo>
                  <a:lnTo>
                    <a:pt x="170" y="323"/>
                  </a:lnTo>
                  <a:lnTo>
                    <a:pt x="170" y="323"/>
                  </a:lnTo>
                  <a:lnTo>
                    <a:pt x="170" y="321"/>
                  </a:lnTo>
                  <a:lnTo>
                    <a:pt x="171" y="315"/>
                  </a:lnTo>
                  <a:lnTo>
                    <a:pt x="173" y="309"/>
                  </a:lnTo>
                  <a:lnTo>
                    <a:pt x="173" y="306"/>
                  </a:lnTo>
                  <a:lnTo>
                    <a:pt x="173" y="303"/>
                  </a:lnTo>
                  <a:lnTo>
                    <a:pt x="173" y="300"/>
                  </a:lnTo>
                  <a:lnTo>
                    <a:pt x="173" y="297"/>
                  </a:lnTo>
                  <a:lnTo>
                    <a:pt x="172" y="291"/>
                  </a:lnTo>
                  <a:lnTo>
                    <a:pt x="172" y="289"/>
                  </a:lnTo>
                  <a:lnTo>
                    <a:pt x="172" y="286"/>
                  </a:lnTo>
                  <a:lnTo>
                    <a:pt x="172" y="282"/>
                  </a:lnTo>
                  <a:lnTo>
                    <a:pt x="172" y="278"/>
                  </a:lnTo>
                  <a:lnTo>
                    <a:pt x="174" y="269"/>
                  </a:lnTo>
                  <a:lnTo>
                    <a:pt x="175" y="262"/>
                  </a:lnTo>
                  <a:lnTo>
                    <a:pt x="175" y="258"/>
                  </a:lnTo>
                  <a:lnTo>
                    <a:pt x="176" y="255"/>
                  </a:lnTo>
                  <a:lnTo>
                    <a:pt x="177" y="254"/>
                  </a:lnTo>
                  <a:lnTo>
                    <a:pt x="178" y="252"/>
                  </a:lnTo>
                  <a:lnTo>
                    <a:pt x="179" y="251"/>
                  </a:lnTo>
                  <a:lnTo>
                    <a:pt x="180" y="250"/>
                  </a:lnTo>
                  <a:lnTo>
                    <a:pt x="181" y="249"/>
                  </a:lnTo>
                  <a:lnTo>
                    <a:pt x="181" y="249"/>
                  </a:lnTo>
                  <a:lnTo>
                    <a:pt x="186" y="247"/>
                  </a:lnTo>
                  <a:lnTo>
                    <a:pt x="187" y="247"/>
                  </a:lnTo>
                  <a:lnTo>
                    <a:pt x="188" y="246"/>
                  </a:lnTo>
                  <a:lnTo>
                    <a:pt x="189" y="245"/>
                  </a:lnTo>
                  <a:lnTo>
                    <a:pt x="190" y="244"/>
                  </a:lnTo>
                  <a:lnTo>
                    <a:pt x="191" y="244"/>
                  </a:lnTo>
                  <a:lnTo>
                    <a:pt x="192" y="242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2" y="232"/>
                  </a:lnTo>
                  <a:lnTo>
                    <a:pt x="192" y="230"/>
                  </a:lnTo>
                  <a:lnTo>
                    <a:pt x="193" y="226"/>
                  </a:lnTo>
                  <a:lnTo>
                    <a:pt x="194" y="223"/>
                  </a:lnTo>
                  <a:lnTo>
                    <a:pt x="195" y="220"/>
                  </a:lnTo>
                  <a:lnTo>
                    <a:pt x="197" y="215"/>
                  </a:lnTo>
                  <a:lnTo>
                    <a:pt x="200" y="210"/>
                  </a:lnTo>
                  <a:lnTo>
                    <a:pt x="202" y="207"/>
                  </a:lnTo>
                  <a:lnTo>
                    <a:pt x="204" y="205"/>
                  </a:lnTo>
                  <a:lnTo>
                    <a:pt x="204" y="202"/>
                  </a:lnTo>
                  <a:lnTo>
                    <a:pt x="208" y="198"/>
                  </a:lnTo>
                  <a:lnTo>
                    <a:pt x="212" y="195"/>
                  </a:lnTo>
                  <a:lnTo>
                    <a:pt x="220" y="187"/>
                  </a:lnTo>
                  <a:lnTo>
                    <a:pt x="222" y="185"/>
                  </a:lnTo>
                  <a:lnTo>
                    <a:pt x="224" y="182"/>
                  </a:lnTo>
                  <a:lnTo>
                    <a:pt x="226" y="179"/>
                  </a:lnTo>
                  <a:lnTo>
                    <a:pt x="227" y="176"/>
                  </a:lnTo>
                  <a:lnTo>
                    <a:pt x="228" y="173"/>
                  </a:lnTo>
                  <a:lnTo>
                    <a:pt x="231" y="165"/>
                  </a:lnTo>
                  <a:lnTo>
                    <a:pt x="233" y="161"/>
                  </a:lnTo>
                  <a:lnTo>
                    <a:pt x="234" y="159"/>
                  </a:lnTo>
                  <a:lnTo>
                    <a:pt x="235" y="158"/>
                  </a:lnTo>
                  <a:lnTo>
                    <a:pt x="236" y="156"/>
                  </a:lnTo>
                  <a:lnTo>
                    <a:pt x="237" y="155"/>
                  </a:lnTo>
                  <a:lnTo>
                    <a:pt x="238" y="153"/>
                  </a:lnTo>
                  <a:lnTo>
                    <a:pt x="240" y="153"/>
                  </a:lnTo>
                  <a:lnTo>
                    <a:pt x="242" y="151"/>
                  </a:lnTo>
                  <a:lnTo>
                    <a:pt x="249" y="147"/>
                  </a:lnTo>
                  <a:lnTo>
                    <a:pt x="251" y="146"/>
                  </a:lnTo>
                  <a:lnTo>
                    <a:pt x="253" y="145"/>
                  </a:lnTo>
                  <a:lnTo>
                    <a:pt x="255" y="143"/>
                  </a:lnTo>
                  <a:lnTo>
                    <a:pt x="257" y="142"/>
                  </a:lnTo>
                  <a:lnTo>
                    <a:pt x="262" y="135"/>
                  </a:lnTo>
                  <a:lnTo>
                    <a:pt x="265" y="131"/>
                  </a:lnTo>
                  <a:lnTo>
                    <a:pt x="269" y="129"/>
                  </a:lnTo>
                  <a:lnTo>
                    <a:pt x="272" y="126"/>
                  </a:lnTo>
                  <a:lnTo>
                    <a:pt x="277" y="123"/>
                  </a:lnTo>
                  <a:lnTo>
                    <a:pt x="281" y="121"/>
                  </a:lnTo>
                  <a:lnTo>
                    <a:pt x="283" y="120"/>
                  </a:lnTo>
                  <a:lnTo>
                    <a:pt x="289" y="119"/>
                  </a:lnTo>
                  <a:lnTo>
                    <a:pt x="291" y="118"/>
                  </a:lnTo>
                  <a:lnTo>
                    <a:pt x="292" y="118"/>
                  </a:lnTo>
                  <a:lnTo>
                    <a:pt x="293" y="117"/>
                  </a:lnTo>
                  <a:lnTo>
                    <a:pt x="295" y="115"/>
                  </a:lnTo>
                  <a:lnTo>
                    <a:pt x="295" y="114"/>
                  </a:lnTo>
                  <a:lnTo>
                    <a:pt x="296" y="113"/>
                  </a:lnTo>
                  <a:lnTo>
                    <a:pt x="297" y="110"/>
                  </a:lnTo>
                  <a:lnTo>
                    <a:pt x="298" y="108"/>
                  </a:lnTo>
                  <a:lnTo>
                    <a:pt x="301" y="101"/>
                  </a:lnTo>
                  <a:lnTo>
                    <a:pt x="302" y="97"/>
                  </a:lnTo>
                  <a:lnTo>
                    <a:pt x="303" y="94"/>
                  </a:lnTo>
                  <a:lnTo>
                    <a:pt x="305" y="90"/>
                  </a:lnTo>
                  <a:lnTo>
                    <a:pt x="308" y="85"/>
                  </a:lnTo>
                  <a:lnTo>
                    <a:pt x="311" y="80"/>
                  </a:lnTo>
                  <a:lnTo>
                    <a:pt x="313" y="78"/>
                  </a:lnTo>
                  <a:lnTo>
                    <a:pt x="315" y="76"/>
                  </a:lnTo>
                  <a:lnTo>
                    <a:pt x="317" y="74"/>
                  </a:lnTo>
                  <a:lnTo>
                    <a:pt x="318" y="73"/>
                  </a:lnTo>
                  <a:lnTo>
                    <a:pt x="321" y="71"/>
                  </a:lnTo>
                  <a:lnTo>
                    <a:pt x="323" y="70"/>
                  </a:lnTo>
                  <a:lnTo>
                    <a:pt x="325" y="69"/>
                  </a:lnTo>
                  <a:lnTo>
                    <a:pt x="329" y="67"/>
                  </a:lnTo>
                  <a:lnTo>
                    <a:pt x="335" y="65"/>
                  </a:lnTo>
                  <a:lnTo>
                    <a:pt x="341" y="63"/>
                  </a:lnTo>
                  <a:lnTo>
                    <a:pt x="352" y="62"/>
                  </a:lnTo>
                  <a:lnTo>
                    <a:pt x="357" y="61"/>
                  </a:lnTo>
                  <a:lnTo>
                    <a:pt x="372" y="57"/>
                  </a:lnTo>
                  <a:lnTo>
                    <a:pt x="385" y="54"/>
                  </a:lnTo>
                  <a:lnTo>
                    <a:pt x="394" y="51"/>
                  </a:lnTo>
                  <a:lnTo>
                    <a:pt x="397" y="51"/>
                  </a:lnTo>
                  <a:lnTo>
                    <a:pt x="400" y="51"/>
                  </a:lnTo>
                  <a:lnTo>
                    <a:pt x="403" y="51"/>
                  </a:lnTo>
                  <a:lnTo>
                    <a:pt x="407" y="50"/>
                  </a:lnTo>
                  <a:lnTo>
                    <a:pt x="411" y="51"/>
                  </a:lnTo>
                  <a:lnTo>
                    <a:pt x="421" y="51"/>
                  </a:lnTo>
                  <a:lnTo>
                    <a:pt x="433" y="52"/>
                  </a:lnTo>
                  <a:lnTo>
                    <a:pt x="437" y="52"/>
                  </a:lnTo>
                  <a:lnTo>
                    <a:pt x="441" y="53"/>
                  </a:lnTo>
                  <a:lnTo>
                    <a:pt x="443" y="54"/>
                  </a:lnTo>
                  <a:lnTo>
                    <a:pt x="446" y="56"/>
                  </a:lnTo>
                  <a:lnTo>
                    <a:pt x="454" y="59"/>
                  </a:lnTo>
                  <a:lnTo>
                    <a:pt x="457" y="61"/>
                  </a:lnTo>
                  <a:lnTo>
                    <a:pt x="458" y="61"/>
                  </a:lnTo>
                  <a:lnTo>
                    <a:pt x="460" y="62"/>
                  </a:lnTo>
                  <a:lnTo>
                    <a:pt x="462" y="62"/>
                  </a:lnTo>
                  <a:lnTo>
                    <a:pt x="463" y="62"/>
                  </a:lnTo>
                  <a:lnTo>
                    <a:pt x="464" y="61"/>
                  </a:lnTo>
                  <a:lnTo>
                    <a:pt x="465" y="60"/>
                  </a:lnTo>
                  <a:lnTo>
                    <a:pt x="466" y="59"/>
                  </a:lnTo>
                  <a:lnTo>
                    <a:pt x="467" y="58"/>
                  </a:lnTo>
                  <a:lnTo>
                    <a:pt x="487" y="38"/>
                  </a:lnTo>
                  <a:lnTo>
                    <a:pt x="489" y="35"/>
                  </a:lnTo>
                  <a:lnTo>
                    <a:pt x="491" y="33"/>
                  </a:lnTo>
                  <a:lnTo>
                    <a:pt x="493" y="31"/>
                  </a:lnTo>
                  <a:lnTo>
                    <a:pt x="497" y="29"/>
                  </a:lnTo>
                  <a:lnTo>
                    <a:pt x="500" y="27"/>
                  </a:lnTo>
                  <a:lnTo>
                    <a:pt x="504" y="25"/>
                  </a:lnTo>
                  <a:lnTo>
                    <a:pt x="510" y="22"/>
                  </a:lnTo>
                  <a:lnTo>
                    <a:pt x="516" y="20"/>
                  </a:lnTo>
                  <a:lnTo>
                    <a:pt x="521" y="18"/>
                  </a:lnTo>
                  <a:lnTo>
                    <a:pt x="523" y="17"/>
                  </a:lnTo>
                  <a:lnTo>
                    <a:pt x="526" y="17"/>
                  </a:lnTo>
                  <a:lnTo>
                    <a:pt x="528" y="17"/>
                  </a:lnTo>
                  <a:lnTo>
                    <a:pt x="530" y="17"/>
                  </a:lnTo>
                  <a:lnTo>
                    <a:pt x="531" y="17"/>
                  </a:lnTo>
                  <a:lnTo>
                    <a:pt x="532" y="17"/>
                  </a:lnTo>
                  <a:lnTo>
                    <a:pt x="534" y="18"/>
                  </a:lnTo>
                  <a:lnTo>
                    <a:pt x="539" y="20"/>
                  </a:lnTo>
                  <a:lnTo>
                    <a:pt x="541" y="21"/>
                  </a:lnTo>
                  <a:lnTo>
                    <a:pt x="542" y="21"/>
                  </a:lnTo>
                  <a:lnTo>
                    <a:pt x="543" y="21"/>
                  </a:lnTo>
                  <a:lnTo>
                    <a:pt x="544" y="21"/>
                  </a:lnTo>
                  <a:lnTo>
                    <a:pt x="544" y="20"/>
                  </a:lnTo>
                  <a:lnTo>
                    <a:pt x="545" y="20"/>
                  </a:lnTo>
                  <a:lnTo>
                    <a:pt x="545" y="19"/>
                  </a:lnTo>
                  <a:lnTo>
                    <a:pt x="546" y="18"/>
                  </a:lnTo>
                  <a:lnTo>
                    <a:pt x="547" y="17"/>
                  </a:lnTo>
                  <a:lnTo>
                    <a:pt x="552" y="7"/>
                  </a:lnTo>
                  <a:lnTo>
                    <a:pt x="554" y="0"/>
                  </a:lnTo>
                  <a:lnTo>
                    <a:pt x="555" y="0"/>
                  </a:lnTo>
                  <a:lnTo>
                    <a:pt x="556" y="1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0" name="Freeform 93">
              <a:extLst>
                <a:ext uri="{FF2B5EF4-FFF2-40B4-BE49-F238E27FC236}">
                  <a16:creationId xmlns:a16="http://schemas.microsoft.com/office/drawing/2014/main" id="{5891980D-5327-4321-97B3-31DFAE0EE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977"/>
              <a:ext cx="1290" cy="1142"/>
            </a:xfrm>
            <a:custGeom>
              <a:avLst/>
              <a:gdLst>
                <a:gd name="T0" fmla="*/ 1096 w 1290"/>
                <a:gd name="T1" fmla="*/ 31 h 1142"/>
                <a:gd name="T2" fmla="*/ 1149 w 1290"/>
                <a:gd name="T3" fmla="*/ 29 h 1142"/>
                <a:gd name="T4" fmla="*/ 1180 w 1290"/>
                <a:gd name="T5" fmla="*/ 20 h 1142"/>
                <a:gd name="T6" fmla="*/ 1209 w 1290"/>
                <a:gd name="T7" fmla="*/ 55 h 1142"/>
                <a:gd name="T8" fmla="*/ 1250 w 1290"/>
                <a:gd name="T9" fmla="*/ 93 h 1142"/>
                <a:gd name="T10" fmla="*/ 1231 w 1290"/>
                <a:gd name="T11" fmla="*/ 156 h 1142"/>
                <a:gd name="T12" fmla="*/ 1278 w 1290"/>
                <a:gd name="T13" fmla="*/ 155 h 1142"/>
                <a:gd name="T14" fmla="*/ 1282 w 1290"/>
                <a:gd name="T15" fmla="*/ 193 h 1142"/>
                <a:gd name="T16" fmla="*/ 1234 w 1290"/>
                <a:gd name="T17" fmla="*/ 262 h 1142"/>
                <a:gd name="T18" fmla="*/ 1211 w 1290"/>
                <a:gd name="T19" fmla="*/ 304 h 1142"/>
                <a:gd name="T20" fmla="*/ 1158 w 1290"/>
                <a:gd name="T21" fmla="*/ 287 h 1142"/>
                <a:gd name="T22" fmla="*/ 1140 w 1290"/>
                <a:gd name="T23" fmla="*/ 325 h 1142"/>
                <a:gd name="T24" fmla="*/ 1119 w 1290"/>
                <a:gd name="T25" fmla="*/ 368 h 1142"/>
                <a:gd name="T26" fmla="*/ 1085 w 1290"/>
                <a:gd name="T27" fmla="*/ 404 h 1142"/>
                <a:gd name="T28" fmla="*/ 1063 w 1290"/>
                <a:gd name="T29" fmla="*/ 459 h 1142"/>
                <a:gd name="T30" fmla="*/ 1084 w 1290"/>
                <a:gd name="T31" fmla="*/ 524 h 1142"/>
                <a:gd name="T32" fmla="*/ 1131 w 1290"/>
                <a:gd name="T33" fmla="*/ 615 h 1142"/>
                <a:gd name="T34" fmla="*/ 1164 w 1290"/>
                <a:gd name="T35" fmla="*/ 651 h 1142"/>
                <a:gd name="T36" fmla="*/ 1148 w 1290"/>
                <a:gd name="T37" fmla="*/ 671 h 1142"/>
                <a:gd name="T38" fmla="*/ 1145 w 1290"/>
                <a:gd name="T39" fmla="*/ 713 h 1142"/>
                <a:gd name="T40" fmla="*/ 1105 w 1290"/>
                <a:gd name="T41" fmla="*/ 745 h 1142"/>
                <a:gd name="T42" fmla="*/ 1075 w 1290"/>
                <a:gd name="T43" fmla="*/ 752 h 1142"/>
                <a:gd name="T44" fmla="*/ 1076 w 1290"/>
                <a:gd name="T45" fmla="*/ 817 h 1142"/>
                <a:gd name="T46" fmla="*/ 1043 w 1290"/>
                <a:gd name="T47" fmla="*/ 828 h 1142"/>
                <a:gd name="T48" fmla="*/ 980 w 1290"/>
                <a:gd name="T49" fmla="*/ 852 h 1142"/>
                <a:gd name="T50" fmla="*/ 910 w 1290"/>
                <a:gd name="T51" fmla="*/ 852 h 1142"/>
                <a:gd name="T52" fmla="*/ 803 w 1290"/>
                <a:gd name="T53" fmla="*/ 839 h 1142"/>
                <a:gd name="T54" fmla="*/ 785 w 1290"/>
                <a:gd name="T55" fmla="*/ 874 h 1142"/>
                <a:gd name="T56" fmla="*/ 762 w 1290"/>
                <a:gd name="T57" fmla="*/ 890 h 1142"/>
                <a:gd name="T58" fmla="*/ 716 w 1290"/>
                <a:gd name="T59" fmla="*/ 923 h 1142"/>
                <a:gd name="T60" fmla="*/ 678 w 1290"/>
                <a:gd name="T61" fmla="*/ 951 h 1142"/>
                <a:gd name="T62" fmla="*/ 642 w 1290"/>
                <a:gd name="T63" fmla="*/ 941 h 1142"/>
                <a:gd name="T64" fmla="*/ 594 w 1290"/>
                <a:gd name="T65" fmla="*/ 974 h 1142"/>
                <a:gd name="T66" fmla="*/ 540 w 1290"/>
                <a:gd name="T67" fmla="*/ 968 h 1142"/>
                <a:gd name="T68" fmla="*/ 491 w 1290"/>
                <a:gd name="T69" fmla="*/ 1010 h 1142"/>
                <a:gd name="T70" fmla="*/ 429 w 1290"/>
                <a:gd name="T71" fmla="*/ 1028 h 1142"/>
                <a:gd name="T72" fmla="*/ 402 w 1290"/>
                <a:gd name="T73" fmla="*/ 1071 h 1142"/>
                <a:gd name="T74" fmla="*/ 385 w 1290"/>
                <a:gd name="T75" fmla="*/ 1103 h 1142"/>
                <a:gd name="T76" fmla="*/ 346 w 1290"/>
                <a:gd name="T77" fmla="*/ 1122 h 1142"/>
                <a:gd name="T78" fmla="*/ 317 w 1290"/>
                <a:gd name="T79" fmla="*/ 1142 h 1142"/>
                <a:gd name="T80" fmla="*/ 292 w 1290"/>
                <a:gd name="T81" fmla="*/ 1120 h 1142"/>
                <a:gd name="T82" fmla="*/ 276 w 1290"/>
                <a:gd name="T83" fmla="*/ 1114 h 1142"/>
                <a:gd name="T84" fmla="*/ 247 w 1290"/>
                <a:gd name="T85" fmla="*/ 1096 h 1142"/>
                <a:gd name="T86" fmla="*/ 212 w 1290"/>
                <a:gd name="T87" fmla="*/ 1076 h 1142"/>
                <a:gd name="T88" fmla="*/ 242 w 1290"/>
                <a:gd name="T89" fmla="*/ 1067 h 1142"/>
                <a:gd name="T90" fmla="*/ 246 w 1290"/>
                <a:gd name="T91" fmla="*/ 1038 h 1142"/>
                <a:gd name="T92" fmla="*/ 222 w 1290"/>
                <a:gd name="T93" fmla="*/ 968 h 1142"/>
                <a:gd name="T94" fmla="*/ 211 w 1290"/>
                <a:gd name="T95" fmla="*/ 928 h 1142"/>
                <a:gd name="T96" fmla="*/ 210 w 1290"/>
                <a:gd name="T97" fmla="*/ 864 h 1142"/>
                <a:gd name="T98" fmla="*/ 202 w 1290"/>
                <a:gd name="T99" fmla="*/ 817 h 1142"/>
                <a:gd name="T100" fmla="*/ 140 w 1290"/>
                <a:gd name="T101" fmla="*/ 812 h 1142"/>
                <a:gd name="T102" fmla="*/ 115 w 1290"/>
                <a:gd name="T103" fmla="*/ 806 h 1142"/>
                <a:gd name="T104" fmla="*/ 91 w 1290"/>
                <a:gd name="T105" fmla="*/ 774 h 1142"/>
                <a:gd name="T106" fmla="*/ 11 w 1290"/>
                <a:gd name="T107" fmla="*/ 757 h 1142"/>
                <a:gd name="T108" fmla="*/ 49 w 1290"/>
                <a:gd name="T109" fmla="*/ 707 h 1142"/>
                <a:gd name="T110" fmla="*/ 68 w 1290"/>
                <a:gd name="T111" fmla="*/ 638 h 1142"/>
                <a:gd name="T112" fmla="*/ 118 w 1290"/>
                <a:gd name="T113" fmla="*/ 633 h 1142"/>
                <a:gd name="T114" fmla="*/ 179 w 1290"/>
                <a:gd name="T115" fmla="*/ 635 h 1142"/>
                <a:gd name="T116" fmla="*/ 214 w 1290"/>
                <a:gd name="T117" fmla="*/ 584 h 1142"/>
                <a:gd name="T118" fmla="*/ 239 w 1290"/>
                <a:gd name="T119" fmla="*/ 537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0" h="1142">
                  <a:moveTo>
                    <a:pt x="1035" y="0"/>
                  </a:moveTo>
                  <a:lnTo>
                    <a:pt x="1036" y="0"/>
                  </a:lnTo>
                  <a:lnTo>
                    <a:pt x="1037" y="1"/>
                  </a:lnTo>
                  <a:lnTo>
                    <a:pt x="1041" y="3"/>
                  </a:lnTo>
                  <a:lnTo>
                    <a:pt x="1050" y="9"/>
                  </a:lnTo>
                  <a:lnTo>
                    <a:pt x="1054" y="10"/>
                  </a:lnTo>
                  <a:lnTo>
                    <a:pt x="1057" y="12"/>
                  </a:lnTo>
                  <a:lnTo>
                    <a:pt x="1059" y="13"/>
                  </a:lnTo>
                  <a:lnTo>
                    <a:pt x="1063" y="14"/>
                  </a:lnTo>
                  <a:lnTo>
                    <a:pt x="1072" y="16"/>
                  </a:lnTo>
                  <a:lnTo>
                    <a:pt x="1075" y="17"/>
                  </a:lnTo>
                  <a:lnTo>
                    <a:pt x="1078" y="18"/>
                  </a:lnTo>
                  <a:lnTo>
                    <a:pt x="1080" y="20"/>
                  </a:lnTo>
                  <a:lnTo>
                    <a:pt x="1083" y="21"/>
                  </a:lnTo>
                  <a:lnTo>
                    <a:pt x="1088" y="23"/>
                  </a:lnTo>
                  <a:lnTo>
                    <a:pt x="1090" y="25"/>
                  </a:lnTo>
                  <a:lnTo>
                    <a:pt x="1096" y="31"/>
                  </a:lnTo>
                  <a:lnTo>
                    <a:pt x="1098" y="32"/>
                  </a:lnTo>
                  <a:lnTo>
                    <a:pt x="1100" y="34"/>
                  </a:lnTo>
                  <a:lnTo>
                    <a:pt x="1103" y="35"/>
                  </a:lnTo>
                  <a:lnTo>
                    <a:pt x="1106" y="37"/>
                  </a:lnTo>
                  <a:lnTo>
                    <a:pt x="1109" y="38"/>
                  </a:lnTo>
                  <a:lnTo>
                    <a:pt x="1112" y="38"/>
                  </a:lnTo>
                  <a:lnTo>
                    <a:pt x="1114" y="38"/>
                  </a:lnTo>
                  <a:lnTo>
                    <a:pt x="1117" y="38"/>
                  </a:lnTo>
                  <a:lnTo>
                    <a:pt x="1120" y="38"/>
                  </a:lnTo>
                  <a:lnTo>
                    <a:pt x="1123" y="37"/>
                  </a:lnTo>
                  <a:lnTo>
                    <a:pt x="1126" y="37"/>
                  </a:lnTo>
                  <a:lnTo>
                    <a:pt x="1127" y="36"/>
                  </a:lnTo>
                  <a:lnTo>
                    <a:pt x="1137" y="32"/>
                  </a:lnTo>
                  <a:lnTo>
                    <a:pt x="1140" y="31"/>
                  </a:lnTo>
                  <a:lnTo>
                    <a:pt x="1143" y="30"/>
                  </a:lnTo>
                  <a:lnTo>
                    <a:pt x="1147" y="30"/>
                  </a:lnTo>
                  <a:lnTo>
                    <a:pt x="1149" y="29"/>
                  </a:lnTo>
                  <a:lnTo>
                    <a:pt x="1152" y="30"/>
                  </a:lnTo>
                  <a:lnTo>
                    <a:pt x="1156" y="30"/>
                  </a:lnTo>
                  <a:lnTo>
                    <a:pt x="1161" y="31"/>
                  </a:lnTo>
                  <a:lnTo>
                    <a:pt x="1163" y="31"/>
                  </a:lnTo>
                  <a:lnTo>
                    <a:pt x="1165" y="31"/>
                  </a:lnTo>
                  <a:lnTo>
                    <a:pt x="1168" y="31"/>
                  </a:lnTo>
                  <a:lnTo>
                    <a:pt x="1169" y="31"/>
                  </a:lnTo>
                  <a:lnTo>
                    <a:pt x="1170" y="30"/>
                  </a:lnTo>
                  <a:lnTo>
                    <a:pt x="1171" y="29"/>
                  </a:lnTo>
                  <a:lnTo>
                    <a:pt x="1171" y="28"/>
                  </a:lnTo>
                  <a:lnTo>
                    <a:pt x="1173" y="26"/>
                  </a:lnTo>
                  <a:lnTo>
                    <a:pt x="1176" y="22"/>
                  </a:lnTo>
                  <a:lnTo>
                    <a:pt x="1177" y="20"/>
                  </a:lnTo>
                  <a:lnTo>
                    <a:pt x="1178" y="20"/>
                  </a:lnTo>
                  <a:lnTo>
                    <a:pt x="1179" y="20"/>
                  </a:lnTo>
                  <a:lnTo>
                    <a:pt x="1180" y="20"/>
                  </a:lnTo>
                  <a:lnTo>
                    <a:pt x="1180" y="20"/>
                  </a:lnTo>
                  <a:lnTo>
                    <a:pt x="1181" y="20"/>
                  </a:lnTo>
                  <a:lnTo>
                    <a:pt x="1181" y="21"/>
                  </a:lnTo>
                  <a:lnTo>
                    <a:pt x="1182" y="22"/>
                  </a:lnTo>
                  <a:lnTo>
                    <a:pt x="1182" y="24"/>
                  </a:lnTo>
                  <a:lnTo>
                    <a:pt x="1183" y="28"/>
                  </a:lnTo>
                  <a:lnTo>
                    <a:pt x="1183" y="31"/>
                  </a:lnTo>
                  <a:lnTo>
                    <a:pt x="1184" y="32"/>
                  </a:lnTo>
                  <a:lnTo>
                    <a:pt x="1185" y="34"/>
                  </a:lnTo>
                  <a:lnTo>
                    <a:pt x="1186" y="36"/>
                  </a:lnTo>
                  <a:lnTo>
                    <a:pt x="1187" y="37"/>
                  </a:lnTo>
                  <a:lnTo>
                    <a:pt x="1188" y="39"/>
                  </a:lnTo>
                  <a:lnTo>
                    <a:pt x="1190" y="40"/>
                  </a:lnTo>
                  <a:lnTo>
                    <a:pt x="1193" y="42"/>
                  </a:lnTo>
                  <a:lnTo>
                    <a:pt x="1200" y="47"/>
                  </a:lnTo>
                  <a:lnTo>
                    <a:pt x="1203" y="50"/>
                  </a:lnTo>
                  <a:lnTo>
                    <a:pt x="1207" y="54"/>
                  </a:lnTo>
                  <a:lnTo>
                    <a:pt x="1209" y="55"/>
                  </a:lnTo>
                  <a:lnTo>
                    <a:pt x="1211" y="56"/>
                  </a:lnTo>
                  <a:lnTo>
                    <a:pt x="1214" y="57"/>
                  </a:lnTo>
                  <a:lnTo>
                    <a:pt x="1216" y="57"/>
                  </a:lnTo>
                  <a:lnTo>
                    <a:pt x="1223" y="59"/>
                  </a:lnTo>
                  <a:lnTo>
                    <a:pt x="1225" y="60"/>
                  </a:lnTo>
                  <a:lnTo>
                    <a:pt x="1227" y="61"/>
                  </a:lnTo>
                  <a:lnTo>
                    <a:pt x="1229" y="62"/>
                  </a:lnTo>
                  <a:lnTo>
                    <a:pt x="1231" y="64"/>
                  </a:lnTo>
                  <a:lnTo>
                    <a:pt x="1234" y="66"/>
                  </a:lnTo>
                  <a:lnTo>
                    <a:pt x="1237" y="67"/>
                  </a:lnTo>
                  <a:lnTo>
                    <a:pt x="1239" y="71"/>
                  </a:lnTo>
                  <a:lnTo>
                    <a:pt x="1243" y="77"/>
                  </a:lnTo>
                  <a:lnTo>
                    <a:pt x="1246" y="80"/>
                  </a:lnTo>
                  <a:lnTo>
                    <a:pt x="1248" y="83"/>
                  </a:lnTo>
                  <a:lnTo>
                    <a:pt x="1249" y="86"/>
                  </a:lnTo>
                  <a:lnTo>
                    <a:pt x="1250" y="89"/>
                  </a:lnTo>
                  <a:lnTo>
                    <a:pt x="1250" y="93"/>
                  </a:lnTo>
                  <a:lnTo>
                    <a:pt x="1250" y="97"/>
                  </a:lnTo>
                  <a:lnTo>
                    <a:pt x="1250" y="100"/>
                  </a:lnTo>
                  <a:lnTo>
                    <a:pt x="1249" y="105"/>
                  </a:lnTo>
                  <a:lnTo>
                    <a:pt x="1248" y="111"/>
                  </a:lnTo>
                  <a:lnTo>
                    <a:pt x="1246" y="115"/>
                  </a:lnTo>
                  <a:lnTo>
                    <a:pt x="1244" y="120"/>
                  </a:lnTo>
                  <a:lnTo>
                    <a:pt x="1241" y="128"/>
                  </a:lnTo>
                  <a:lnTo>
                    <a:pt x="1239" y="133"/>
                  </a:lnTo>
                  <a:lnTo>
                    <a:pt x="1235" y="140"/>
                  </a:lnTo>
                  <a:lnTo>
                    <a:pt x="1234" y="143"/>
                  </a:lnTo>
                  <a:lnTo>
                    <a:pt x="1233" y="145"/>
                  </a:lnTo>
                  <a:lnTo>
                    <a:pt x="1232" y="147"/>
                  </a:lnTo>
                  <a:lnTo>
                    <a:pt x="1231" y="151"/>
                  </a:lnTo>
                  <a:lnTo>
                    <a:pt x="1231" y="152"/>
                  </a:lnTo>
                  <a:lnTo>
                    <a:pt x="1231" y="153"/>
                  </a:lnTo>
                  <a:lnTo>
                    <a:pt x="1231" y="155"/>
                  </a:lnTo>
                  <a:lnTo>
                    <a:pt x="1231" y="156"/>
                  </a:lnTo>
                  <a:lnTo>
                    <a:pt x="1232" y="156"/>
                  </a:lnTo>
                  <a:lnTo>
                    <a:pt x="1232" y="157"/>
                  </a:lnTo>
                  <a:lnTo>
                    <a:pt x="1233" y="159"/>
                  </a:lnTo>
                  <a:lnTo>
                    <a:pt x="1234" y="160"/>
                  </a:lnTo>
                  <a:lnTo>
                    <a:pt x="1236" y="161"/>
                  </a:lnTo>
                  <a:lnTo>
                    <a:pt x="1238" y="162"/>
                  </a:lnTo>
                  <a:lnTo>
                    <a:pt x="1239" y="162"/>
                  </a:lnTo>
                  <a:lnTo>
                    <a:pt x="1240" y="163"/>
                  </a:lnTo>
                  <a:lnTo>
                    <a:pt x="1242" y="163"/>
                  </a:lnTo>
                  <a:lnTo>
                    <a:pt x="1244" y="163"/>
                  </a:lnTo>
                  <a:lnTo>
                    <a:pt x="1248" y="162"/>
                  </a:lnTo>
                  <a:lnTo>
                    <a:pt x="1251" y="162"/>
                  </a:lnTo>
                  <a:lnTo>
                    <a:pt x="1256" y="160"/>
                  </a:lnTo>
                  <a:lnTo>
                    <a:pt x="1266" y="156"/>
                  </a:lnTo>
                  <a:lnTo>
                    <a:pt x="1272" y="156"/>
                  </a:lnTo>
                  <a:lnTo>
                    <a:pt x="1275" y="155"/>
                  </a:lnTo>
                  <a:lnTo>
                    <a:pt x="1278" y="155"/>
                  </a:lnTo>
                  <a:lnTo>
                    <a:pt x="1280" y="155"/>
                  </a:lnTo>
                  <a:lnTo>
                    <a:pt x="1282" y="155"/>
                  </a:lnTo>
                  <a:lnTo>
                    <a:pt x="1284" y="155"/>
                  </a:lnTo>
                  <a:lnTo>
                    <a:pt x="1285" y="156"/>
                  </a:lnTo>
                  <a:lnTo>
                    <a:pt x="1286" y="156"/>
                  </a:lnTo>
                  <a:lnTo>
                    <a:pt x="1287" y="156"/>
                  </a:lnTo>
                  <a:lnTo>
                    <a:pt x="1288" y="158"/>
                  </a:lnTo>
                  <a:lnTo>
                    <a:pt x="1289" y="159"/>
                  </a:lnTo>
                  <a:lnTo>
                    <a:pt x="1290" y="161"/>
                  </a:lnTo>
                  <a:lnTo>
                    <a:pt x="1290" y="163"/>
                  </a:lnTo>
                  <a:lnTo>
                    <a:pt x="1290" y="167"/>
                  </a:lnTo>
                  <a:lnTo>
                    <a:pt x="1290" y="169"/>
                  </a:lnTo>
                  <a:lnTo>
                    <a:pt x="1290" y="173"/>
                  </a:lnTo>
                  <a:lnTo>
                    <a:pt x="1289" y="177"/>
                  </a:lnTo>
                  <a:lnTo>
                    <a:pt x="1288" y="179"/>
                  </a:lnTo>
                  <a:lnTo>
                    <a:pt x="1285" y="188"/>
                  </a:lnTo>
                  <a:lnTo>
                    <a:pt x="1282" y="193"/>
                  </a:lnTo>
                  <a:lnTo>
                    <a:pt x="1274" y="215"/>
                  </a:lnTo>
                  <a:lnTo>
                    <a:pt x="1268" y="231"/>
                  </a:lnTo>
                  <a:lnTo>
                    <a:pt x="1267" y="234"/>
                  </a:lnTo>
                  <a:lnTo>
                    <a:pt x="1267" y="235"/>
                  </a:lnTo>
                  <a:lnTo>
                    <a:pt x="1267" y="235"/>
                  </a:lnTo>
                  <a:lnTo>
                    <a:pt x="1267" y="236"/>
                  </a:lnTo>
                  <a:lnTo>
                    <a:pt x="1266" y="237"/>
                  </a:lnTo>
                  <a:lnTo>
                    <a:pt x="1264" y="239"/>
                  </a:lnTo>
                  <a:lnTo>
                    <a:pt x="1262" y="242"/>
                  </a:lnTo>
                  <a:lnTo>
                    <a:pt x="1259" y="245"/>
                  </a:lnTo>
                  <a:lnTo>
                    <a:pt x="1255" y="247"/>
                  </a:lnTo>
                  <a:lnTo>
                    <a:pt x="1251" y="250"/>
                  </a:lnTo>
                  <a:lnTo>
                    <a:pt x="1248" y="252"/>
                  </a:lnTo>
                  <a:lnTo>
                    <a:pt x="1240" y="257"/>
                  </a:lnTo>
                  <a:lnTo>
                    <a:pt x="1238" y="258"/>
                  </a:lnTo>
                  <a:lnTo>
                    <a:pt x="1235" y="261"/>
                  </a:lnTo>
                  <a:lnTo>
                    <a:pt x="1234" y="262"/>
                  </a:lnTo>
                  <a:lnTo>
                    <a:pt x="1233" y="263"/>
                  </a:lnTo>
                  <a:lnTo>
                    <a:pt x="1232" y="265"/>
                  </a:lnTo>
                  <a:lnTo>
                    <a:pt x="1231" y="267"/>
                  </a:lnTo>
                  <a:lnTo>
                    <a:pt x="1230" y="269"/>
                  </a:lnTo>
                  <a:lnTo>
                    <a:pt x="1228" y="273"/>
                  </a:lnTo>
                  <a:lnTo>
                    <a:pt x="1227" y="277"/>
                  </a:lnTo>
                  <a:lnTo>
                    <a:pt x="1223" y="291"/>
                  </a:lnTo>
                  <a:lnTo>
                    <a:pt x="1222" y="293"/>
                  </a:lnTo>
                  <a:lnTo>
                    <a:pt x="1221" y="295"/>
                  </a:lnTo>
                  <a:lnTo>
                    <a:pt x="1220" y="297"/>
                  </a:lnTo>
                  <a:lnTo>
                    <a:pt x="1219" y="298"/>
                  </a:lnTo>
                  <a:lnTo>
                    <a:pt x="1217" y="301"/>
                  </a:lnTo>
                  <a:lnTo>
                    <a:pt x="1217" y="302"/>
                  </a:lnTo>
                  <a:lnTo>
                    <a:pt x="1216" y="303"/>
                  </a:lnTo>
                  <a:lnTo>
                    <a:pt x="1214" y="303"/>
                  </a:lnTo>
                  <a:lnTo>
                    <a:pt x="1213" y="303"/>
                  </a:lnTo>
                  <a:lnTo>
                    <a:pt x="1211" y="304"/>
                  </a:lnTo>
                  <a:lnTo>
                    <a:pt x="1209" y="305"/>
                  </a:lnTo>
                  <a:lnTo>
                    <a:pt x="1206" y="305"/>
                  </a:lnTo>
                  <a:lnTo>
                    <a:pt x="1205" y="305"/>
                  </a:lnTo>
                  <a:lnTo>
                    <a:pt x="1203" y="305"/>
                  </a:lnTo>
                  <a:lnTo>
                    <a:pt x="1200" y="305"/>
                  </a:lnTo>
                  <a:lnTo>
                    <a:pt x="1198" y="304"/>
                  </a:lnTo>
                  <a:lnTo>
                    <a:pt x="1195" y="304"/>
                  </a:lnTo>
                  <a:lnTo>
                    <a:pt x="1192" y="303"/>
                  </a:lnTo>
                  <a:lnTo>
                    <a:pt x="1188" y="301"/>
                  </a:lnTo>
                  <a:lnTo>
                    <a:pt x="1185" y="300"/>
                  </a:lnTo>
                  <a:lnTo>
                    <a:pt x="1178" y="295"/>
                  </a:lnTo>
                  <a:lnTo>
                    <a:pt x="1174" y="292"/>
                  </a:lnTo>
                  <a:lnTo>
                    <a:pt x="1171" y="292"/>
                  </a:lnTo>
                  <a:lnTo>
                    <a:pt x="1166" y="290"/>
                  </a:lnTo>
                  <a:lnTo>
                    <a:pt x="1161" y="288"/>
                  </a:lnTo>
                  <a:lnTo>
                    <a:pt x="1160" y="287"/>
                  </a:lnTo>
                  <a:lnTo>
                    <a:pt x="1158" y="287"/>
                  </a:lnTo>
                  <a:lnTo>
                    <a:pt x="1156" y="287"/>
                  </a:lnTo>
                  <a:lnTo>
                    <a:pt x="1154" y="287"/>
                  </a:lnTo>
                  <a:lnTo>
                    <a:pt x="1151" y="287"/>
                  </a:lnTo>
                  <a:lnTo>
                    <a:pt x="1147" y="288"/>
                  </a:lnTo>
                  <a:lnTo>
                    <a:pt x="1145" y="289"/>
                  </a:lnTo>
                  <a:lnTo>
                    <a:pt x="1143" y="290"/>
                  </a:lnTo>
                  <a:lnTo>
                    <a:pt x="1142" y="291"/>
                  </a:lnTo>
                  <a:lnTo>
                    <a:pt x="1141" y="292"/>
                  </a:lnTo>
                  <a:lnTo>
                    <a:pt x="1141" y="292"/>
                  </a:lnTo>
                  <a:lnTo>
                    <a:pt x="1141" y="294"/>
                  </a:lnTo>
                  <a:lnTo>
                    <a:pt x="1141" y="297"/>
                  </a:lnTo>
                  <a:lnTo>
                    <a:pt x="1142" y="306"/>
                  </a:lnTo>
                  <a:lnTo>
                    <a:pt x="1142" y="310"/>
                  </a:lnTo>
                  <a:lnTo>
                    <a:pt x="1142" y="313"/>
                  </a:lnTo>
                  <a:lnTo>
                    <a:pt x="1142" y="315"/>
                  </a:lnTo>
                  <a:lnTo>
                    <a:pt x="1141" y="322"/>
                  </a:lnTo>
                  <a:lnTo>
                    <a:pt x="1140" y="325"/>
                  </a:lnTo>
                  <a:lnTo>
                    <a:pt x="1140" y="326"/>
                  </a:lnTo>
                  <a:lnTo>
                    <a:pt x="1139" y="327"/>
                  </a:lnTo>
                  <a:lnTo>
                    <a:pt x="1137" y="330"/>
                  </a:lnTo>
                  <a:lnTo>
                    <a:pt x="1136" y="333"/>
                  </a:lnTo>
                  <a:lnTo>
                    <a:pt x="1131" y="337"/>
                  </a:lnTo>
                  <a:lnTo>
                    <a:pt x="1129" y="339"/>
                  </a:lnTo>
                  <a:lnTo>
                    <a:pt x="1128" y="341"/>
                  </a:lnTo>
                  <a:lnTo>
                    <a:pt x="1127" y="344"/>
                  </a:lnTo>
                  <a:lnTo>
                    <a:pt x="1126" y="346"/>
                  </a:lnTo>
                  <a:lnTo>
                    <a:pt x="1125" y="348"/>
                  </a:lnTo>
                  <a:lnTo>
                    <a:pt x="1124" y="350"/>
                  </a:lnTo>
                  <a:lnTo>
                    <a:pt x="1122" y="354"/>
                  </a:lnTo>
                  <a:lnTo>
                    <a:pt x="1121" y="358"/>
                  </a:lnTo>
                  <a:lnTo>
                    <a:pt x="1120" y="361"/>
                  </a:lnTo>
                  <a:lnTo>
                    <a:pt x="1120" y="364"/>
                  </a:lnTo>
                  <a:lnTo>
                    <a:pt x="1119" y="366"/>
                  </a:lnTo>
                  <a:lnTo>
                    <a:pt x="1119" y="368"/>
                  </a:lnTo>
                  <a:lnTo>
                    <a:pt x="1119" y="373"/>
                  </a:lnTo>
                  <a:lnTo>
                    <a:pt x="1118" y="374"/>
                  </a:lnTo>
                  <a:lnTo>
                    <a:pt x="1118" y="375"/>
                  </a:lnTo>
                  <a:lnTo>
                    <a:pt x="1117" y="377"/>
                  </a:lnTo>
                  <a:lnTo>
                    <a:pt x="1116" y="378"/>
                  </a:lnTo>
                  <a:lnTo>
                    <a:pt x="1115" y="378"/>
                  </a:lnTo>
                  <a:lnTo>
                    <a:pt x="1114" y="379"/>
                  </a:lnTo>
                  <a:lnTo>
                    <a:pt x="1111" y="380"/>
                  </a:lnTo>
                  <a:lnTo>
                    <a:pt x="1109" y="382"/>
                  </a:lnTo>
                  <a:lnTo>
                    <a:pt x="1108" y="383"/>
                  </a:lnTo>
                  <a:lnTo>
                    <a:pt x="1102" y="388"/>
                  </a:lnTo>
                  <a:lnTo>
                    <a:pt x="1093" y="394"/>
                  </a:lnTo>
                  <a:lnTo>
                    <a:pt x="1091" y="396"/>
                  </a:lnTo>
                  <a:lnTo>
                    <a:pt x="1089" y="398"/>
                  </a:lnTo>
                  <a:lnTo>
                    <a:pt x="1088" y="400"/>
                  </a:lnTo>
                  <a:lnTo>
                    <a:pt x="1087" y="401"/>
                  </a:lnTo>
                  <a:lnTo>
                    <a:pt x="1085" y="404"/>
                  </a:lnTo>
                  <a:lnTo>
                    <a:pt x="1084" y="406"/>
                  </a:lnTo>
                  <a:lnTo>
                    <a:pt x="1082" y="410"/>
                  </a:lnTo>
                  <a:lnTo>
                    <a:pt x="1081" y="414"/>
                  </a:lnTo>
                  <a:lnTo>
                    <a:pt x="1080" y="417"/>
                  </a:lnTo>
                  <a:lnTo>
                    <a:pt x="1080" y="419"/>
                  </a:lnTo>
                  <a:lnTo>
                    <a:pt x="1079" y="428"/>
                  </a:lnTo>
                  <a:lnTo>
                    <a:pt x="1078" y="429"/>
                  </a:lnTo>
                  <a:lnTo>
                    <a:pt x="1078" y="432"/>
                  </a:lnTo>
                  <a:lnTo>
                    <a:pt x="1077" y="434"/>
                  </a:lnTo>
                  <a:lnTo>
                    <a:pt x="1075" y="437"/>
                  </a:lnTo>
                  <a:lnTo>
                    <a:pt x="1069" y="446"/>
                  </a:lnTo>
                  <a:lnTo>
                    <a:pt x="1067" y="449"/>
                  </a:lnTo>
                  <a:lnTo>
                    <a:pt x="1066" y="451"/>
                  </a:lnTo>
                  <a:lnTo>
                    <a:pt x="1065" y="453"/>
                  </a:lnTo>
                  <a:lnTo>
                    <a:pt x="1065" y="455"/>
                  </a:lnTo>
                  <a:lnTo>
                    <a:pt x="1064" y="457"/>
                  </a:lnTo>
                  <a:lnTo>
                    <a:pt x="1063" y="459"/>
                  </a:lnTo>
                  <a:lnTo>
                    <a:pt x="1063" y="462"/>
                  </a:lnTo>
                  <a:lnTo>
                    <a:pt x="1063" y="463"/>
                  </a:lnTo>
                  <a:lnTo>
                    <a:pt x="1064" y="465"/>
                  </a:lnTo>
                  <a:lnTo>
                    <a:pt x="1064" y="467"/>
                  </a:lnTo>
                  <a:lnTo>
                    <a:pt x="1065" y="469"/>
                  </a:lnTo>
                  <a:lnTo>
                    <a:pt x="1068" y="473"/>
                  </a:lnTo>
                  <a:lnTo>
                    <a:pt x="1068" y="474"/>
                  </a:lnTo>
                  <a:lnTo>
                    <a:pt x="1069" y="478"/>
                  </a:lnTo>
                  <a:lnTo>
                    <a:pt x="1071" y="485"/>
                  </a:lnTo>
                  <a:lnTo>
                    <a:pt x="1072" y="490"/>
                  </a:lnTo>
                  <a:lnTo>
                    <a:pt x="1073" y="494"/>
                  </a:lnTo>
                  <a:lnTo>
                    <a:pt x="1074" y="500"/>
                  </a:lnTo>
                  <a:lnTo>
                    <a:pt x="1075" y="503"/>
                  </a:lnTo>
                  <a:lnTo>
                    <a:pt x="1076" y="506"/>
                  </a:lnTo>
                  <a:lnTo>
                    <a:pt x="1077" y="510"/>
                  </a:lnTo>
                  <a:lnTo>
                    <a:pt x="1080" y="515"/>
                  </a:lnTo>
                  <a:lnTo>
                    <a:pt x="1084" y="524"/>
                  </a:lnTo>
                  <a:lnTo>
                    <a:pt x="1088" y="534"/>
                  </a:lnTo>
                  <a:lnTo>
                    <a:pt x="1090" y="537"/>
                  </a:lnTo>
                  <a:lnTo>
                    <a:pt x="1092" y="541"/>
                  </a:lnTo>
                  <a:lnTo>
                    <a:pt x="1095" y="545"/>
                  </a:lnTo>
                  <a:lnTo>
                    <a:pt x="1096" y="548"/>
                  </a:lnTo>
                  <a:lnTo>
                    <a:pt x="1100" y="553"/>
                  </a:lnTo>
                  <a:lnTo>
                    <a:pt x="1102" y="554"/>
                  </a:lnTo>
                  <a:lnTo>
                    <a:pt x="1103" y="558"/>
                  </a:lnTo>
                  <a:lnTo>
                    <a:pt x="1107" y="564"/>
                  </a:lnTo>
                  <a:lnTo>
                    <a:pt x="1108" y="567"/>
                  </a:lnTo>
                  <a:lnTo>
                    <a:pt x="1110" y="571"/>
                  </a:lnTo>
                  <a:lnTo>
                    <a:pt x="1116" y="587"/>
                  </a:lnTo>
                  <a:lnTo>
                    <a:pt x="1117" y="589"/>
                  </a:lnTo>
                  <a:lnTo>
                    <a:pt x="1118" y="592"/>
                  </a:lnTo>
                  <a:lnTo>
                    <a:pt x="1125" y="604"/>
                  </a:lnTo>
                  <a:lnTo>
                    <a:pt x="1130" y="614"/>
                  </a:lnTo>
                  <a:lnTo>
                    <a:pt x="1131" y="615"/>
                  </a:lnTo>
                  <a:lnTo>
                    <a:pt x="1132" y="617"/>
                  </a:lnTo>
                  <a:lnTo>
                    <a:pt x="1135" y="620"/>
                  </a:lnTo>
                  <a:lnTo>
                    <a:pt x="1137" y="621"/>
                  </a:lnTo>
                  <a:lnTo>
                    <a:pt x="1138" y="622"/>
                  </a:lnTo>
                  <a:lnTo>
                    <a:pt x="1144" y="626"/>
                  </a:lnTo>
                  <a:lnTo>
                    <a:pt x="1148" y="629"/>
                  </a:lnTo>
                  <a:lnTo>
                    <a:pt x="1151" y="632"/>
                  </a:lnTo>
                  <a:lnTo>
                    <a:pt x="1154" y="633"/>
                  </a:lnTo>
                  <a:lnTo>
                    <a:pt x="1156" y="635"/>
                  </a:lnTo>
                  <a:lnTo>
                    <a:pt x="1158" y="638"/>
                  </a:lnTo>
                  <a:lnTo>
                    <a:pt x="1159" y="640"/>
                  </a:lnTo>
                  <a:lnTo>
                    <a:pt x="1160" y="643"/>
                  </a:lnTo>
                  <a:lnTo>
                    <a:pt x="1162" y="645"/>
                  </a:lnTo>
                  <a:lnTo>
                    <a:pt x="1164" y="648"/>
                  </a:lnTo>
                  <a:lnTo>
                    <a:pt x="1165" y="651"/>
                  </a:lnTo>
                  <a:lnTo>
                    <a:pt x="1165" y="652"/>
                  </a:lnTo>
                  <a:lnTo>
                    <a:pt x="1164" y="651"/>
                  </a:lnTo>
                  <a:lnTo>
                    <a:pt x="1163" y="651"/>
                  </a:lnTo>
                  <a:lnTo>
                    <a:pt x="1162" y="651"/>
                  </a:lnTo>
                  <a:lnTo>
                    <a:pt x="1161" y="651"/>
                  </a:lnTo>
                  <a:lnTo>
                    <a:pt x="1160" y="651"/>
                  </a:lnTo>
                  <a:lnTo>
                    <a:pt x="1159" y="652"/>
                  </a:lnTo>
                  <a:lnTo>
                    <a:pt x="1158" y="653"/>
                  </a:lnTo>
                  <a:lnTo>
                    <a:pt x="1157" y="654"/>
                  </a:lnTo>
                  <a:lnTo>
                    <a:pt x="1155" y="655"/>
                  </a:lnTo>
                  <a:lnTo>
                    <a:pt x="1153" y="657"/>
                  </a:lnTo>
                  <a:lnTo>
                    <a:pt x="1152" y="659"/>
                  </a:lnTo>
                  <a:lnTo>
                    <a:pt x="1150" y="661"/>
                  </a:lnTo>
                  <a:lnTo>
                    <a:pt x="1149" y="663"/>
                  </a:lnTo>
                  <a:lnTo>
                    <a:pt x="1149" y="664"/>
                  </a:lnTo>
                  <a:lnTo>
                    <a:pt x="1149" y="666"/>
                  </a:lnTo>
                  <a:lnTo>
                    <a:pt x="1148" y="667"/>
                  </a:lnTo>
                  <a:lnTo>
                    <a:pt x="1148" y="669"/>
                  </a:lnTo>
                  <a:lnTo>
                    <a:pt x="1148" y="671"/>
                  </a:lnTo>
                  <a:lnTo>
                    <a:pt x="1149" y="674"/>
                  </a:lnTo>
                  <a:lnTo>
                    <a:pt x="1151" y="682"/>
                  </a:lnTo>
                  <a:lnTo>
                    <a:pt x="1152" y="687"/>
                  </a:lnTo>
                  <a:lnTo>
                    <a:pt x="1152" y="691"/>
                  </a:lnTo>
                  <a:lnTo>
                    <a:pt x="1153" y="699"/>
                  </a:lnTo>
                  <a:lnTo>
                    <a:pt x="1153" y="700"/>
                  </a:lnTo>
                  <a:lnTo>
                    <a:pt x="1152" y="703"/>
                  </a:lnTo>
                  <a:lnTo>
                    <a:pt x="1152" y="704"/>
                  </a:lnTo>
                  <a:lnTo>
                    <a:pt x="1152" y="706"/>
                  </a:lnTo>
                  <a:lnTo>
                    <a:pt x="1151" y="708"/>
                  </a:lnTo>
                  <a:lnTo>
                    <a:pt x="1150" y="709"/>
                  </a:lnTo>
                  <a:lnTo>
                    <a:pt x="1150" y="711"/>
                  </a:lnTo>
                  <a:lnTo>
                    <a:pt x="1149" y="711"/>
                  </a:lnTo>
                  <a:lnTo>
                    <a:pt x="1148" y="711"/>
                  </a:lnTo>
                  <a:lnTo>
                    <a:pt x="1148" y="712"/>
                  </a:lnTo>
                  <a:lnTo>
                    <a:pt x="1146" y="713"/>
                  </a:lnTo>
                  <a:lnTo>
                    <a:pt x="1145" y="713"/>
                  </a:lnTo>
                  <a:lnTo>
                    <a:pt x="1138" y="715"/>
                  </a:lnTo>
                  <a:lnTo>
                    <a:pt x="1133" y="718"/>
                  </a:lnTo>
                  <a:lnTo>
                    <a:pt x="1125" y="720"/>
                  </a:lnTo>
                  <a:lnTo>
                    <a:pt x="1123" y="720"/>
                  </a:lnTo>
                  <a:lnTo>
                    <a:pt x="1122" y="721"/>
                  </a:lnTo>
                  <a:lnTo>
                    <a:pt x="1120" y="723"/>
                  </a:lnTo>
                  <a:lnTo>
                    <a:pt x="1119" y="723"/>
                  </a:lnTo>
                  <a:lnTo>
                    <a:pt x="1115" y="731"/>
                  </a:lnTo>
                  <a:lnTo>
                    <a:pt x="1113" y="737"/>
                  </a:lnTo>
                  <a:lnTo>
                    <a:pt x="1112" y="739"/>
                  </a:lnTo>
                  <a:lnTo>
                    <a:pt x="1112" y="742"/>
                  </a:lnTo>
                  <a:lnTo>
                    <a:pt x="1111" y="743"/>
                  </a:lnTo>
                  <a:lnTo>
                    <a:pt x="1110" y="744"/>
                  </a:lnTo>
                  <a:lnTo>
                    <a:pt x="1110" y="745"/>
                  </a:lnTo>
                  <a:lnTo>
                    <a:pt x="1109" y="745"/>
                  </a:lnTo>
                  <a:lnTo>
                    <a:pt x="1107" y="745"/>
                  </a:lnTo>
                  <a:lnTo>
                    <a:pt x="1105" y="745"/>
                  </a:lnTo>
                  <a:lnTo>
                    <a:pt x="1103" y="745"/>
                  </a:lnTo>
                  <a:lnTo>
                    <a:pt x="1102" y="745"/>
                  </a:lnTo>
                  <a:lnTo>
                    <a:pt x="1099" y="744"/>
                  </a:lnTo>
                  <a:lnTo>
                    <a:pt x="1096" y="744"/>
                  </a:lnTo>
                  <a:lnTo>
                    <a:pt x="1087" y="740"/>
                  </a:lnTo>
                  <a:lnTo>
                    <a:pt x="1084" y="739"/>
                  </a:lnTo>
                  <a:lnTo>
                    <a:pt x="1083" y="739"/>
                  </a:lnTo>
                  <a:lnTo>
                    <a:pt x="1081" y="739"/>
                  </a:lnTo>
                  <a:lnTo>
                    <a:pt x="1080" y="739"/>
                  </a:lnTo>
                  <a:lnTo>
                    <a:pt x="1080" y="740"/>
                  </a:lnTo>
                  <a:lnTo>
                    <a:pt x="1079" y="740"/>
                  </a:lnTo>
                  <a:lnTo>
                    <a:pt x="1077" y="741"/>
                  </a:lnTo>
                  <a:lnTo>
                    <a:pt x="1076" y="742"/>
                  </a:lnTo>
                  <a:lnTo>
                    <a:pt x="1075" y="743"/>
                  </a:lnTo>
                  <a:lnTo>
                    <a:pt x="1075" y="744"/>
                  </a:lnTo>
                  <a:lnTo>
                    <a:pt x="1075" y="745"/>
                  </a:lnTo>
                  <a:lnTo>
                    <a:pt x="1075" y="752"/>
                  </a:lnTo>
                  <a:lnTo>
                    <a:pt x="1076" y="757"/>
                  </a:lnTo>
                  <a:lnTo>
                    <a:pt x="1076" y="759"/>
                  </a:lnTo>
                  <a:lnTo>
                    <a:pt x="1076" y="762"/>
                  </a:lnTo>
                  <a:lnTo>
                    <a:pt x="1076" y="766"/>
                  </a:lnTo>
                  <a:lnTo>
                    <a:pt x="1076" y="768"/>
                  </a:lnTo>
                  <a:lnTo>
                    <a:pt x="1077" y="769"/>
                  </a:lnTo>
                  <a:lnTo>
                    <a:pt x="1077" y="773"/>
                  </a:lnTo>
                  <a:lnTo>
                    <a:pt x="1079" y="780"/>
                  </a:lnTo>
                  <a:lnTo>
                    <a:pt x="1080" y="783"/>
                  </a:lnTo>
                  <a:lnTo>
                    <a:pt x="1080" y="785"/>
                  </a:lnTo>
                  <a:lnTo>
                    <a:pt x="1080" y="789"/>
                  </a:lnTo>
                  <a:lnTo>
                    <a:pt x="1080" y="791"/>
                  </a:lnTo>
                  <a:lnTo>
                    <a:pt x="1080" y="794"/>
                  </a:lnTo>
                  <a:lnTo>
                    <a:pt x="1080" y="797"/>
                  </a:lnTo>
                  <a:lnTo>
                    <a:pt x="1079" y="799"/>
                  </a:lnTo>
                  <a:lnTo>
                    <a:pt x="1078" y="806"/>
                  </a:lnTo>
                  <a:lnTo>
                    <a:pt x="1076" y="817"/>
                  </a:lnTo>
                  <a:lnTo>
                    <a:pt x="1075" y="819"/>
                  </a:lnTo>
                  <a:lnTo>
                    <a:pt x="1075" y="821"/>
                  </a:lnTo>
                  <a:lnTo>
                    <a:pt x="1074" y="824"/>
                  </a:lnTo>
                  <a:lnTo>
                    <a:pt x="1072" y="826"/>
                  </a:lnTo>
                  <a:lnTo>
                    <a:pt x="1071" y="827"/>
                  </a:lnTo>
                  <a:lnTo>
                    <a:pt x="1070" y="828"/>
                  </a:lnTo>
                  <a:lnTo>
                    <a:pt x="1069" y="829"/>
                  </a:lnTo>
                  <a:lnTo>
                    <a:pt x="1069" y="830"/>
                  </a:lnTo>
                  <a:lnTo>
                    <a:pt x="1067" y="830"/>
                  </a:lnTo>
                  <a:lnTo>
                    <a:pt x="1065" y="831"/>
                  </a:lnTo>
                  <a:lnTo>
                    <a:pt x="1063" y="831"/>
                  </a:lnTo>
                  <a:lnTo>
                    <a:pt x="1061" y="831"/>
                  </a:lnTo>
                  <a:lnTo>
                    <a:pt x="1059" y="831"/>
                  </a:lnTo>
                  <a:lnTo>
                    <a:pt x="1052" y="829"/>
                  </a:lnTo>
                  <a:lnTo>
                    <a:pt x="1049" y="829"/>
                  </a:lnTo>
                  <a:lnTo>
                    <a:pt x="1046" y="828"/>
                  </a:lnTo>
                  <a:lnTo>
                    <a:pt x="1043" y="828"/>
                  </a:lnTo>
                  <a:lnTo>
                    <a:pt x="1032" y="830"/>
                  </a:lnTo>
                  <a:lnTo>
                    <a:pt x="1026" y="831"/>
                  </a:lnTo>
                  <a:lnTo>
                    <a:pt x="1011" y="833"/>
                  </a:lnTo>
                  <a:lnTo>
                    <a:pt x="1008" y="834"/>
                  </a:lnTo>
                  <a:lnTo>
                    <a:pt x="1006" y="835"/>
                  </a:lnTo>
                  <a:lnTo>
                    <a:pt x="1004" y="835"/>
                  </a:lnTo>
                  <a:lnTo>
                    <a:pt x="1002" y="836"/>
                  </a:lnTo>
                  <a:lnTo>
                    <a:pt x="1001" y="837"/>
                  </a:lnTo>
                  <a:lnTo>
                    <a:pt x="998" y="839"/>
                  </a:lnTo>
                  <a:lnTo>
                    <a:pt x="993" y="844"/>
                  </a:lnTo>
                  <a:lnTo>
                    <a:pt x="990" y="847"/>
                  </a:lnTo>
                  <a:lnTo>
                    <a:pt x="989" y="848"/>
                  </a:lnTo>
                  <a:lnTo>
                    <a:pt x="987" y="850"/>
                  </a:lnTo>
                  <a:lnTo>
                    <a:pt x="985" y="851"/>
                  </a:lnTo>
                  <a:lnTo>
                    <a:pt x="983" y="851"/>
                  </a:lnTo>
                  <a:lnTo>
                    <a:pt x="982" y="852"/>
                  </a:lnTo>
                  <a:lnTo>
                    <a:pt x="980" y="852"/>
                  </a:lnTo>
                  <a:lnTo>
                    <a:pt x="978" y="852"/>
                  </a:lnTo>
                  <a:lnTo>
                    <a:pt x="976" y="851"/>
                  </a:lnTo>
                  <a:lnTo>
                    <a:pt x="972" y="851"/>
                  </a:lnTo>
                  <a:lnTo>
                    <a:pt x="963" y="849"/>
                  </a:lnTo>
                  <a:lnTo>
                    <a:pt x="953" y="847"/>
                  </a:lnTo>
                  <a:lnTo>
                    <a:pt x="949" y="847"/>
                  </a:lnTo>
                  <a:lnTo>
                    <a:pt x="943" y="845"/>
                  </a:lnTo>
                  <a:lnTo>
                    <a:pt x="941" y="845"/>
                  </a:lnTo>
                  <a:lnTo>
                    <a:pt x="939" y="845"/>
                  </a:lnTo>
                  <a:lnTo>
                    <a:pt x="937" y="845"/>
                  </a:lnTo>
                  <a:lnTo>
                    <a:pt x="935" y="845"/>
                  </a:lnTo>
                  <a:lnTo>
                    <a:pt x="934" y="846"/>
                  </a:lnTo>
                  <a:lnTo>
                    <a:pt x="929" y="847"/>
                  </a:lnTo>
                  <a:lnTo>
                    <a:pt x="925" y="849"/>
                  </a:lnTo>
                  <a:lnTo>
                    <a:pt x="920" y="850"/>
                  </a:lnTo>
                  <a:lnTo>
                    <a:pt x="915" y="851"/>
                  </a:lnTo>
                  <a:lnTo>
                    <a:pt x="910" y="852"/>
                  </a:lnTo>
                  <a:lnTo>
                    <a:pt x="904" y="852"/>
                  </a:lnTo>
                  <a:lnTo>
                    <a:pt x="898" y="852"/>
                  </a:lnTo>
                  <a:lnTo>
                    <a:pt x="890" y="852"/>
                  </a:lnTo>
                  <a:lnTo>
                    <a:pt x="886" y="851"/>
                  </a:lnTo>
                  <a:lnTo>
                    <a:pt x="870" y="849"/>
                  </a:lnTo>
                  <a:lnTo>
                    <a:pt x="864" y="849"/>
                  </a:lnTo>
                  <a:lnTo>
                    <a:pt x="860" y="848"/>
                  </a:lnTo>
                  <a:lnTo>
                    <a:pt x="854" y="847"/>
                  </a:lnTo>
                  <a:lnTo>
                    <a:pt x="842" y="844"/>
                  </a:lnTo>
                  <a:lnTo>
                    <a:pt x="833" y="841"/>
                  </a:lnTo>
                  <a:lnTo>
                    <a:pt x="829" y="840"/>
                  </a:lnTo>
                  <a:lnTo>
                    <a:pt x="825" y="839"/>
                  </a:lnTo>
                  <a:lnTo>
                    <a:pt x="812" y="838"/>
                  </a:lnTo>
                  <a:lnTo>
                    <a:pt x="809" y="838"/>
                  </a:lnTo>
                  <a:lnTo>
                    <a:pt x="807" y="838"/>
                  </a:lnTo>
                  <a:lnTo>
                    <a:pt x="805" y="838"/>
                  </a:lnTo>
                  <a:lnTo>
                    <a:pt x="803" y="839"/>
                  </a:lnTo>
                  <a:lnTo>
                    <a:pt x="801" y="839"/>
                  </a:lnTo>
                  <a:lnTo>
                    <a:pt x="798" y="841"/>
                  </a:lnTo>
                  <a:lnTo>
                    <a:pt x="796" y="842"/>
                  </a:lnTo>
                  <a:lnTo>
                    <a:pt x="795" y="844"/>
                  </a:lnTo>
                  <a:lnTo>
                    <a:pt x="792" y="846"/>
                  </a:lnTo>
                  <a:lnTo>
                    <a:pt x="791" y="847"/>
                  </a:lnTo>
                  <a:lnTo>
                    <a:pt x="789" y="849"/>
                  </a:lnTo>
                  <a:lnTo>
                    <a:pt x="788" y="851"/>
                  </a:lnTo>
                  <a:lnTo>
                    <a:pt x="786" y="853"/>
                  </a:lnTo>
                  <a:lnTo>
                    <a:pt x="786" y="855"/>
                  </a:lnTo>
                  <a:lnTo>
                    <a:pt x="785" y="856"/>
                  </a:lnTo>
                  <a:lnTo>
                    <a:pt x="785" y="858"/>
                  </a:lnTo>
                  <a:lnTo>
                    <a:pt x="785" y="859"/>
                  </a:lnTo>
                  <a:lnTo>
                    <a:pt x="785" y="862"/>
                  </a:lnTo>
                  <a:lnTo>
                    <a:pt x="785" y="868"/>
                  </a:lnTo>
                  <a:lnTo>
                    <a:pt x="785" y="870"/>
                  </a:lnTo>
                  <a:lnTo>
                    <a:pt x="785" y="874"/>
                  </a:lnTo>
                  <a:lnTo>
                    <a:pt x="785" y="877"/>
                  </a:lnTo>
                  <a:lnTo>
                    <a:pt x="785" y="879"/>
                  </a:lnTo>
                  <a:lnTo>
                    <a:pt x="785" y="880"/>
                  </a:lnTo>
                  <a:lnTo>
                    <a:pt x="784" y="881"/>
                  </a:lnTo>
                  <a:lnTo>
                    <a:pt x="783" y="882"/>
                  </a:lnTo>
                  <a:lnTo>
                    <a:pt x="782" y="883"/>
                  </a:lnTo>
                  <a:lnTo>
                    <a:pt x="781" y="883"/>
                  </a:lnTo>
                  <a:lnTo>
                    <a:pt x="779" y="884"/>
                  </a:lnTo>
                  <a:lnTo>
                    <a:pt x="778" y="884"/>
                  </a:lnTo>
                  <a:lnTo>
                    <a:pt x="775" y="885"/>
                  </a:lnTo>
                  <a:lnTo>
                    <a:pt x="771" y="885"/>
                  </a:lnTo>
                  <a:lnTo>
                    <a:pt x="767" y="886"/>
                  </a:lnTo>
                  <a:lnTo>
                    <a:pt x="765" y="886"/>
                  </a:lnTo>
                  <a:lnTo>
                    <a:pt x="763" y="887"/>
                  </a:lnTo>
                  <a:lnTo>
                    <a:pt x="762" y="888"/>
                  </a:lnTo>
                  <a:lnTo>
                    <a:pt x="762" y="889"/>
                  </a:lnTo>
                  <a:lnTo>
                    <a:pt x="762" y="890"/>
                  </a:lnTo>
                  <a:lnTo>
                    <a:pt x="760" y="893"/>
                  </a:lnTo>
                  <a:lnTo>
                    <a:pt x="760" y="895"/>
                  </a:lnTo>
                  <a:lnTo>
                    <a:pt x="758" y="898"/>
                  </a:lnTo>
                  <a:lnTo>
                    <a:pt x="757" y="900"/>
                  </a:lnTo>
                  <a:lnTo>
                    <a:pt x="755" y="902"/>
                  </a:lnTo>
                  <a:lnTo>
                    <a:pt x="753" y="904"/>
                  </a:lnTo>
                  <a:lnTo>
                    <a:pt x="749" y="908"/>
                  </a:lnTo>
                  <a:lnTo>
                    <a:pt x="747" y="910"/>
                  </a:lnTo>
                  <a:lnTo>
                    <a:pt x="744" y="912"/>
                  </a:lnTo>
                  <a:lnTo>
                    <a:pt x="741" y="914"/>
                  </a:lnTo>
                  <a:lnTo>
                    <a:pt x="738" y="915"/>
                  </a:lnTo>
                  <a:lnTo>
                    <a:pt x="735" y="917"/>
                  </a:lnTo>
                  <a:lnTo>
                    <a:pt x="733" y="918"/>
                  </a:lnTo>
                  <a:lnTo>
                    <a:pt x="730" y="919"/>
                  </a:lnTo>
                  <a:lnTo>
                    <a:pt x="723" y="921"/>
                  </a:lnTo>
                  <a:lnTo>
                    <a:pt x="719" y="922"/>
                  </a:lnTo>
                  <a:lnTo>
                    <a:pt x="716" y="923"/>
                  </a:lnTo>
                  <a:lnTo>
                    <a:pt x="714" y="925"/>
                  </a:lnTo>
                  <a:lnTo>
                    <a:pt x="711" y="926"/>
                  </a:lnTo>
                  <a:lnTo>
                    <a:pt x="708" y="927"/>
                  </a:lnTo>
                  <a:lnTo>
                    <a:pt x="706" y="928"/>
                  </a:lnTo>
                  <a:lnTo>
                    <a:pt x="704" y="930"/>
                  </a:lnTo>
                  <a:lnTo>
                    <a:pt x="702" y="932"/>
                  </a:lnTo>
                  <a:lnTo>
                    <a:pt x="700" y="934"/>
                  </a:lnTo>
                  <a:lnTo>
                    <a:pt x="696" y="938"/>
                  </a:lnTo>
                  <a:lnTo>
                    <a:pt x="692" y="944"/>
                  </a:lnTo>
                  <a:lnTo>
                    <a:pt x="689" y="947"/>
                  </a:lnTo>
                  <a:lnTo>
                    <a:pt x="686" y="949"/>
                  </a:lnTo>
                  <a:lnTo>
                    <a:pt x="685" y="949"/>
                  </a:lnTo>
                  <a:lnTo>
                    <a:pt x="684" y="950"/>
                  </a:lnTo>
                  <a:lnTo>
                    <a:pt x="682" y="951"/>
                  </a:lnTo>
                  <a:lnTo>
                    <a:pt x="682" y="951"/>
                  </a:lnTo>
                  <a:lnTo>
                    <a:pt x="680" y="951"/>
                  </a:lnTo>
                  <a:lnTo>
                    <a:pt x="678" y="951"/>
                  </a:lnTo>
                  <a:lnTo>
                    <a:pt x="677" y="951"/>
                  </a:lnTo>
                  <a:lnTo>
                    <a:pt x="675" y="951"/>
                  </a:lnTo>
                  <a:lnTo>
                    <a:pt x="674" y="951"/>
                  </a:lnTo>
                  <a:lnTo>
                    <a:pt x="672" y="950"/>
                  </a:lnTo>
                  <a:lnTo>
                    <a:pt x="671" y="949"/>
                  </a:lnTo>
                  <a:lnTo>
                    <a:pt x="669" y="947"/>
                  </a:lnTo>
                  <a:lnTo>
                    <a:pt x="664" y="942"/>
                  </a:lnTo>
                  <a:lnTo>
                    <a:pt x="662" y="940"/>
                  </a:lnTo>
                  <a:lnTo>
                    <a:pt x="661" y="939"/>
                  </a:lnTo>
                  <a:lnTo>
                    <a:pt x="659" y="938"/>
                  </a:lnTo>
                  <a:lnTo>
                    <a:pt x="656" y="938"/>
                  </a:lnTo>
                  <a:lnTo>
                    <a:pt x="654" y="937"/>
                  </a:lnTo>
                  <a:lnTo>
                    <a:pt x="651" y="937"/>
                  </a:lnTo>
                  <a:lnTo>
                    <a:pt x="649" y="938"/>
                  </a:lnTo>
                  <a:lnTo>
                    <a:pt x="647" y="938"/>
                  </a:lnTo>
                  <a:lnTo>
                    <a:pt x="645" y="939"/>
                  </a:lnTo>
                  <a:lnTo>
                    <a:pt x="642" y="941"/>
                  </a:lnTo>
                  <a:lnTo>
                    <a:pt x="640" y="943"/>
                  </a:lnTo>
                  <a:lnTo>
                    <a:pt x="637" y="946"/>
                  </a:lnTo>
                  <a:lnTo>
                    <a:pt x="629" y="953"/>
                  </a:lnTo>
                  <a:lnTo>
                    <a:pt x="626" y="957"/>
                  </a:lnTo>
                  <a:lnTo>
                    <a:pt x="624" y="959"/>
                  </a:lnTo>
                  <a:lnTo>
                    <a:pt x="621" y="961"/>
                  </a:lnTo>
                  <a:lnTo>
                    <a:pt x="619" y="961"/>
                  </a:lnTo>
                  <a:lnTo>
                    <a:pt x="618" y="962"/>
                  </a:lnTo>
                  <a:lnTo>
                    <a:pt x="616" y="963"/>
                  </a:lnTo>
                  <a:lnTo>
                    <a:pt x="614" y="964"/>
                  </a:lnTo>
                  <a:lnTo>
                    <a:pt x="612" y="965"/>
                  </a:lnTo>
                  <a:lnTo>
                    <a:pt x="610" y="966"/>
                  </a:lnTo>
                  <a:lnTo>
                    <a:pt x="604" y="971"/>
                  </a:lnTo>
                  <a:lnTo>
                    <a:pt x="603" y="972"/>
                  </a:lnTo>
                  <a:lnTo>
                    <a:pt x="600" y="973"/>
                  </a:lnTo>
                  <a:lnTo>
                    <a:pt x="597" y="974"/>
                  </a:lnTo>
                  <a:lnTo>
                    <a:pt x="594" y="974"/>
                  </a:lnTo>
                  <a:lnTo>
                    <a:pt x="591" y="975"/>
                  </a:lnTo>
                  <a:lnTo>
                    <a:pt x="589" y="975"/>
                  </a:lnTo>
                  <a:lnTo>
                    <a:pt x="585" y="976"/>
                  </a:lnTo>
                  <a:lnTo>
                    <a:pt x="573" y="976"/>
                  </a:lnTo>
                  <a:lnTo>
                    <a:pt x="569" y="976"/>
                  </a:lnTo>
                  <a:lnTo>
                    <a:pt x="566" y="976"/>
                  </a:lnTo>
                  <a:lnTo>
                    <a:pt x="563" y="976"/>
                  </a:lnTo>
                  <a:lnTo>
                    <a:pt x="560" y="975"/>
                  </a:lnTo>
                  <a:lnTo>
                    <a:pt x="556" y="974"/>
                  </a:lnTo>
                  <a:lnTo>
                    <a:pt x="551" y="973"/>
                  </a:lnTo>
                  <a:lnTo>
                    <a:pt x="549" y="972"/>
                  </a:lnTo>
                  <a:lnTo>
                    <a:pt x="548" y="972"/>
                  </a:lnTo>
                  <a:lnTo>
                    <a:pt x="546" y="972"/>
                  </a:lnTo>
                  <a:lnTo>
                    <a:pt x="544" y="970"/>
                  </a:lnTo>
                  <a:lnTo>
                    <a:pt x="542" y="969"/>
                  </a:lnTo>
                  <a:lnTo>
                    <a:pt x="541" y="969"/>
                  </a:lnTo>
                  <a:lnTo>
                    <a:pt x="540" y="968"/>
                  </a:lnTo>
                  <a:lnTo>
                    <a:pt x="539" y="969"/>
                  </a:lnTo>
                  <a:lnTo>
                    <a:pt x="538" y="969"/>
                  </a:lnTo>
                  <a:lnTo>
                    <a:pt x="537" y="969"/>
                  </a:lnTo>
                  <a:lnTo>
                    <a:pt x="535" y="971"/>
                  </a:lnTo>
                  <a:lnTo>
                    <a:pt x="534" y="972"/>
                  </a:lnTo>
                  <a:lnTo>
                    <a:pt x="531" y="973"/>
                  </a:lnTo>
                  <a:lnTo>
                    <a:pt x="520" y="983"/>
                  </a:lnTo>
                  <a:lnTo>
                    <a:pt x="514" y="989"/>
                  </a:lnTo>
                  <a:lnTo>
                    <a:pt x="509" y="994"/>
                  </a:lnTo>
                  <a:lnTo>
                    <a:pt x="508" y="995"/>
                  </a:lnTo>
                  <a:lnTo>
                    <a:pt x="506" y="996"/>
                  </a:lnTo>
                  <a:lnTo>
                    <a:pt x="502" y="1001"/>
                  </a:lnTo>
                  <a:lnTo>
                    <a:pt x="500" y="1004"/>
                  </a:lnTo>
                  <a:lnTo>
                    <a:pt x="497" y="1006"/>
                  </a:lnTo>
                  <a:lnTo>
                    <a:pt x="495" y="1007"/>
                  </a:lnTo>
                  <a:lnTo>
                    <a:pt x="493" y="1009"/>
                  </a:lnTo>
                  <a:lnTo>
                    <a:pt x="491" y="1010"/>
                  </a:lnTo>
                  <a:lnTo>
                    <a:pt x="487" y="1012"/>
                  </a:lnTo>
                  <a:lnTo>
                    <a:pt x="482" y="1014"/>
                  </a:lnTo>
                  <a:lnTo>
                    <a:pt x="478" y="1015"/>
                  </a:lnTo>
                  <a:lnTo>
                    <a:pt x="474" y="1016"/>
                  </a:lnTo>
                  <a:lnTo>
                    <a:pt x="470" y="1017"/>
                  </a:lnTo>
                  <a:lnTo>
                    <a:pt x="467" y="1017"/>
                  </a:lnTo>
                  <a:lnTo>
                    <a:pt x="465" y="1017"/>
                  </a:lnTo>
                  <a:lnTo>
                    <a:pt x="458" y="1016"/>
                  </a:lnTo>
                  <a:lnTo>
                    <a:pt x="455" y="1016"/>
                  </a:lnTo>
                  <a:lnTo>
                    <a:pt x="453" y="1016"/>
                  </a:lnTo>
                  <a:lnTo>
                    <a:pt x="449" y="1017"/>
                  </a:lnTo>
                  <a:lnTo>
                    <a:pt x="446" y="1017"/>
                  </a:lnTo>
                  <a:lnTo>
                    <a:pt x="444" y="1018"/>
                  </a:lnTo>
                  <a:lnTo>
                    <a:pt x="441" y="1019"/>
                  </a:lnTo>
                  <a:lnTo>
                    <a:pt x="438" y="1021"/>
                  </a:lnTo>
                  <a:lnTo>
                    <a:pt x="433" y="1025"/>
                  </a:lnTo>
                  <a:lnTo>
                    <a:pt x="429" y="1028"/>
                  </a:lnTo>
                  <a:lnTo>
                    <a:pt x="427" y="1029"/>
                  </a:lnTo>
                  <a:lnTo>
                    <a:pt x="423" y="1034"/>
                  </a:lnTo>
                  <a:lnTo>
                    <a:pt x="420" y="1037"/>
                  </a:lnTo>
                  <a:lnTo>
                    <a:pt x="417" y="1040"/>
                  </a:lnTo>
                  <a:lnTo>
                    <a:pt x="411" y="1043"/>
                  </a:lnTo>
                  <a:lnTo>
                    <a:pt x="409" y="1045"/>
                  </a:lnTo>
                  <a:lnTo>
                    <a:pt x="408" y="1046"/>
                  </a:lnTo>
                  <a:lnTo>
                    <a:pt x="408" y="1048"/>
                  </a:lnTo>
                  <a:lnTo>
                    <a:pt x="407" y="1049"/>
                  </a:lnTo>
                  <a:lnTo>
                    <a:pt x="406" y="1052"/>
                  </a:lnTo>
                  <a:lnTo>
                    <a:pt x="406" y="1054"/>
                  </a:lnTo>
                  <a:lnTo>
                    <a:pt x="405" y="1060"/>
                  </a:lnTo>
                  <a:lnTo>
                    <a:pt x="405" y="1063"/>
                  </a:lnTo>
                  <a:lnTo>
                    <a:pt x="404" y="1064"/>
                  </a:lnTo>
                  <a:lnTo>
                    <a:pt x="403" y="1068"/>
                  </a:lnTo>
                  <a:lnTo>
                    <a:pt x="403" y="1070"/>
                  </a:lnTo>
                  <a:lnTo>
                    <a:pt x="402" y="1071"/>
                  </a:lnTo>
                  <a:lnTo>
                    <a:pt x="402" y="1075"/>
                  </a:lnTo>
                  <a:lnTo>
                    <a:pt x="402" y="1078"/>
                  </a:lnTo>
                  <a:lnTo>
                    <a:pt x="402" y="1080"/>
                  </a:lnTo>
                  <a:lnTo>
                    <a:pt x="401" y="1082"/>
                  </a:lnTo>
                  <a:lnTo>
                    <a:pt x="400" y="1083"/>
                  </a:lnTo>
                  <a:lnTo>
                    <a:pt x="400" y="1084"/>
                  </a:lnTo>
                  <a:lnTo>
                    <a:pt x="399" y="1084"/>
                  </a:lnTo>
                  <a:lnTo>
                    <a:pt x="398" y="1085"/>
                  </a:lnTo>
                  <a:lnTo>
                    <a:pt x="398" y="1085"/>
                  </a:lnTo>
                  <a:lnTo>
                    <a:pt x="393" y="1087"/>
                  </a:lnTo>
                  <a:lnTo>
                    <a:pt x="392" y="1088"/>
                  </a:lnTo>
                  <a:lnTo>
                    <a:pt x="391" y="1089"/>
                  </a:lnTo>
                  <a:lnTo>
                    <a:pt x="390" y="1091"/>
                  </a:lnTo>
                  <a:lnTo>
                    <a:pt x="389" y="1092"/>
                  </a:lnTo>
                  <a:lnTo>
                    <a:pt x="387" y="1098"/>
                  </a:lnTo>
                  <a:lnTo>
                    <a:pt x="387" y="1100"/>
                  </a:lnTo>
                  <a:lnTo>
                    <a:pt x="385" y="1103"/>
                  </a:lnTo>
                  <a:lnTo>
                    <a:pt x="382" y="1107"/>
                  </a:lnTo>
                  <a:lnTo>
                    <a:pt x="380" y="1108"/>
                  </a:lnTo>
                  <a:lnTo>
                    <a:pt x="379" y="1108"/>
                  </a:lnTo>
                  <a:lnTo>
                    <a:pt x="378" y="1109"/>
                  </a:lnTo>
                  <a:lnTo>
                    <a:pt x="376" y="1110"/>
                  </a:lnTo>
                  <a:lnTo>
                    <a:pt x="375" y="1110"/>
                  </a:lnTo>
                  <a:lnTo>
                    <a:pt x="373" y="1110"/>
                  </a:lnTo>
                  <a:lnTo>
                    <a:pt x="371" y="1111"/>
                  </a:lnTo>
                  <a:lnTo>
                    <a:pt x="366" y="1111"/>
                  </a:lnTo>
                  <a:lnTo>
                    <a:pt x="364" y="1112"/>
                  </a:lnTo>
                  <a:lnTo>
                    <a:pt x="362" y="1112"/>
                  </a:lnTo>
                  <a:lnTo>
                    <a:pt x="359" y="1113"/>
                  </a:lnTo>
                  <a:lnTo>
                    <a:pt x="357" y="1114"/>
                  </a:lnTo>
                  <a:lnTo>
                    <a:pt x="355" y="1115"/>
                  </a:lnTo>
                  <a:lnTo>
                    <a:pt x="353" y="1117"/>
                  </a:lnTo>
                  <a:lnTo>
                    <a:pt x="349" y="1119"/>
                  </a:lnTo>
                  <a:lnTo>
                    <a:pt x="346" y="1122"/>
                  </a:lnTo>
                  <a:lnTo>
                    <a:pt x="343" y="1124"/>
                  </a:lnTo>
                  <a:lnTo>
                    <a:pt x="341" y="1126"/>
                  </a:lnTo>
                  <a:lnTo>
                    <a:pt x="341" y="1128"/>
                  </a:lnTo>
                  <a:lnTo>
                    <a:pt x="340" y="1130"/>
                  </a:lnTo>
                  <a:lnTo>
                    <a:pt x="340" y="1131"/>
                  </a:lnTo>
                  <a:lnTo>
                    <a:pt x="340" y="1131"/>
                  </a:lnTo>
                  <a:lnTo>
                    <a:pt x="338" y="1134"/>
                  </a:lnTo>
                  <a:lnTo>
                    <a:pt x="337" y="1135"/>
                  </a:lnTo>
                  <a:lnTo>
                    <a:pt x="336" y="1136"/>
                  </a:lnTo>
                  <a:lnTo>
                    <a:pt x="333" y="1138"/>
                  </a:lnTo>
                  <a:lnTo>
                    <a:pt x="330" y="1140"/>
                  </a:lnTo>
                  <a:lnTo>
                    <a:pt x="329" y="1141"/>
                  </a:lnTo>
                  <a:lnTo>
                    <a:pt x="328" y="1142"/>
                  </a:lnTo>
                  <a:lnTo>
                    <a:pt x="321" y="1142"/>
                  </a:lnTo>
                  <a:lnTo>
                    <a:pt x="318" y="1142"/>
                  </a:lnTo>
                  <a:lnTo>
                    <a:pt x="318" y="1142"/>
                  </a:lnTo>
                  <a:lnTo>
                    <a:pt x="317" y="1142"/>
                  </a:lnTo>
                  <a:lnTo>
                    <a:pt x="316" y="1142"/>
                  </a:lnTo>
                  <a:lnTo>
                    <a:pt x="315" y="1142"/>
                  </a:lnTo>
                  <a:lnTo>
                    <a:pt x="314" y="1141"/>
                  </a:lnTo>
                  <a:lnTo>
                    <a:pt x="313" y="1140"/>
                  </a:lnTo>
                  <a:lnTo>
                    <a:pt x="312" y="1138"/>
                  </a:lnTo>
                  <a:lnTo>
                    <a:pt x="310" y="1133"/>
                  </a:lnTo>
                  <a:lnTo>
                    <a:pt x="309" y="1131"/>
                  </a:lnTo>
                  <a:lnTo>
                    <a:pt x="307" y="1129"/>
                  </a:lnTo>
                  <a:lnTo>
                    <a:pt x="304" y="1124"/>
                  </a:lnTo>
                  <a:lnTo>
                    <a:pt x="302" y="1119"/>
                  </a:lnTo>
                  <a:lnTo>
                    <a:pt x="300" y="1117"/>
                  </a:lnTo>
                  <a:lnTo>
                    <a:pt x="299" y="1116"/>
                  </a:lnTo>
                  <a:lnTo>
                    <a:pt x="298" y="1117"/>
                  </a:lnTo>
                  <a:lnTo>
                    <a:pt x="296" y="1117"/>
                  </a:lnTo>
                  <a:lnTo>
                    <a:pt x="295" y="1119"/>
                  </a:lnTo>
                  <a:lnTo>
                    <a:pt x="294" y="1119"/>
                  </a:lnTo>
                  <a:lnTo>
                    <a:pt x="292" y="1120"/>
                  </a:lnTo>
                  <a:lnTo>
                    <a:pt x="289" y="1125"/>
                  </a:lnTo>
                  <a:lnTo>
                    <a:pt x="287" y="1127"/>
                  </a:lnTo>
                  <a:lnTo>
                    <a:pt x="286" y="1127"/>
                  </a:lnTo>
                  <a:lnTo>
                    <a:pt x="285" y="1128"/>
                  </a:lnTo>
                  <a:lnTo>
                    <a:pt x="284" y="1128"/>
                  </a:lnTo>
                  <a:lnTo>
                    <a:pt x="284" y="1128"/>
                  </a:lnTo>
                  <a:lnTo>
                    <a:pt x="282" y="1128"/>
                  </a:lnTo>
                  <a:lnTo>
                    <a:pt x="281" y="1127"/>
                  </a:lnTo>
                  <a:lnTo>
                    <a:pt x="280" y="1126"/>
                  </a:lnTo>
                  <a:lnTo>
                    <a:pt x="279" y="1125"/>
                  </a:lnTo>
                  <a:lnTo>
                    <a:pt x="278" y="1123"/>
                  </a:lnTo>
                  <a:lnTo>
                    <a:pt x="278" y="1121"/>
                  </a:lnTo>
                  <a:lnTo>
                    <a:pt x="277" y="1118"/>
                  </a:lnTo>
                  <a:lnTo>
                    <a:pt x="277" y="1116"/>
                  </a:lnTo>
                  <a:lnTo>
                    <a:pt x="277" y="1115"/>
                  </a:lnTo>
                  <a:lnTo>
                    <a:pt x="277" y="1114"/>
                  </a:lnTo>
                  <a:lnTo>
                    <a:pt x="276" y="1114"/>
                  </a:lnTo>
                  <a:lnTo>
                    <a:pt x="275" y="1115"/>
                  </a:lnTo>
                  <a:lnTo>
                    <a:pt x="275" y="1116"/>
                  </a:lnTo>
                  <a:lnTo>
                    <a:pt x="274" y="1116"/>
                  </a:lnTo>
                  <a:lnTo>
                    <a:pt x="269" y="1117"/>
                  </a:lnTo>
                  <a:lnTo>
                    <a:pt x="265" y="1117"/>
                  </a:lnTo>
                  <a:lnTo>
                    <a:pt x="264" y="1117"/>
                  </a:lnTo>
                  <a:lnTo>
                    <a:pt x="263" y="1117"/>
                  </a:lnTo>
                  <a:lnTo>
                    <a:pt x="262" y="1117"/>
                  </a:lnTo>
                  <a:lnTo>
                    <a:pt x="262" y="1117"/>
                  </a:lnTo>
                  <a:lnTo>
                    <a:pt x="261" y="1118"/>
                  </a:lnTo>
                  <a:lnTo>
                    <a:pt x="260" y="1118"/>
                  </a:lnTo>
                  <a:lnTo>
                    <a:pt x="259" y="1113"/>
                  </a:lnTo>
                  <a:lnTo>
                    <a:pt x="257" y="1110"/>
                  </a:lnTo>
                  <a:lnTo>
                    <a:pt x="256" y="1108"/>
                  </a:lnTo>
                  <a:lnTo>
                    <a:pt x="254" y="1106"/>
                  </a:lnTo>
                  <a:lnTo>
                    <a:pt x="252" y="1103"/>
                  </a:lnTo>
                  <a:lnTo>
                    <a:pt x="247" y="1096"/>
                  </a:lnTo>
                  <a:lnTo>
                    <a:pt x="246" y="1094"/>
                  </a:lnTo>
                  <a:lnTo>
                    <a:pt x="244" y="1092"/>
                  </a:lnTo>
                  <a:lnTo>
                    <a:pt x="241" y="1090"/>
                  </a:lnTo>
                  <a:lnTo>
                    <a:pt x="239" y="1089"/>
                  </a:lnTo>
                  <a:lnTo>
                    <a:pt x="238" y="1088"/>
                  </a:lnTo>
                  <a:lnTo>
                    <a:pt x="235" y="1087"/>
                  </a:lnTo>
                  <a:lnTo>
                    <a:pt x="233" y="1086"/>
                  </a:lnTo>
                  <a:lnTo>
                    <a:pt x="231" y="1085"/>
                  </a:lnTo>
                  <a:lnTo>
                    <a:pt x="221" y="1084"/>
                  </a:lnTo>
                  <a:lnTo>
                    <a:pt x="220" y="1084"/>
                  </a:lnTo>
                  <a:lnTo>
                    <a:pt x="218" y="1083"/>
                  </a:lnTo>
                  <a:lnTo>
                    <a:pt x="216" y="1081"/>
                  </a:lnTo>
                  <a:lnTo>
                    <a:pt x="215" y="1080"/>
                  </a:lnTo>
                  <a:lnTo>
                    <a:pt x="214" y="1079"/>
                  </a:lnTo>
                  <a:lnTo>
                    <a:pt x="213" y="1078"/>
                  </a:lnTo>
                  <a:lnTo>
                    <a:pt x="213" y="1077"/>
                  </a:lnTo>
                  <a:lnTo>
                    <a:pt x="212" y="1076"/>
                  </a:lnTo>
                  <a:lnTo>
                    <a:pt x="212" y="1075"/>
                  </a:lnTo>
                  <a:lnTo>
                    <a:pt x="213" y="1074"/>
                  </a:lnTo>
                  <a:lnTo>
                    <a:pt x="215" y="1072"/>
                  </a:lnTo>
                  <a:lnTo>
                    <a:pt x="216" y="1071"/>
                  </a:lnTo>
                  <a:lnTo>
                    <a:pt x="216" y="1070"/>
                  </a:lnTo>
                  <a:lnTo>
                    <a:pt x="217" y="1069"/>
                  </a:lnTo>
                  <a:lnTo>
                    <a:pt x="219" y="1068"/>
                  </a:lnTo>
                  <a:lnTo>
                    <a:pt x="221" y="1067"/>
                  </a:lnTo>
                  <a:lnTo>
                    <a:pt x="223" y="1067"/>
                  </a:lnTo>
                  <a:lnTo>
                    <a:pt x="225" y="1066"/>
                  </a:lnTo>
                  <a:lnTo>
                    <a:pt x="226" y="1066"/>
                  </a:lnTo>
                  <a:lnTo>
                    <a:pt x="228" y="1066"/>
                  </a:lnTo>
                  <a:lnTo>
                    <a:pt x="232" y="1067"/>
                  </a:lnTo>
                  <a:lnTo>
                    <a:pt x="238" y="1068"/>
                  </a:lnTo>
                  <a:lnTo>
                    <a:pt x="240" y="1068"/>
                  </a:lnTo>
                  <a:lnTo>
                    <a:pt x="241" y="1068"/>
                  </a:lnTo>
                  <a:lnTo>
                    <a:pt x="242" y="1067"/>
                  </a:lnTo>
                  <a:lnTo>
                    <a:pt x="243" y="1066"/>
                  </a:lnTo>
                  <a:lnTo>
                    <a:pt x="243" y="1065"/>
                  </a:lnTo>
                  <a:lnTo>
                    <a:pt x="243" y="1064"/>
                  </a:lnTo>
                  <a:lnTo>
                    <a:pt x="243" y="1063"/>
                  </a:lnTo>
                  <a:lnTo>
                    <a:pt x="243" y="1060"/>
                  </a:lnTo>
                  <a:lnTo>
                    <a:pt x="241" y="1055"/>
                  </a:lnTo>
                  <a:lnTo>
                    <a:pt x="241" y="1053"/>
                  </a:lnTo>
                  <a:lnTo>
                    <a:pt x="241" y="1052"/>
                  </a:lnTo>
                  <a:lnTo>
                    <a:pt x="241" y="1051"/>
                  </a:lnTo>
                  <a:lnTo>
                    <a:pt x="242" y="1050"/>
                  </a:lnTo>
                  <a:lnTo>
                    <a:pt x="244" y="1046"/>
                  </a:lnTo>
                  <a:lnTo>
                    <a:pt x="245" y="1045"/>
                  </a:lnTo>
                  <a:lnTo>
                    <a:pt x="246" y="1043"/>
                  </a:lnTo>
                  <a:lnTo>
                    <a:pt x="246" y="1042"/>
                  </a:lnTo>
                  <a:lnTo>
                    <a:pt x="246" y="1040"/>
                  </a:lnTo>
                  <a:lnTo>
                    <a:pt x="246" y="1040"/>
                  </a:lnTo>
                  <a:lnTo>
                    <a:pt x="246" y="1038"/>
                  </a:lnTo>
                  <a:lnTo>
                    <a:pt x="246" y="1037"/>
                  </a:lnTo>
                  <a:lnTo>
                    <a:pt x="245" y="1032"/>
                  </a:lnTo>
                  <a:lnTo>
                    <a:pt x="243" y="1026"/>
                  </a:lnTo>
                  <a:lnTo>
                    <a:pt x="242" y="1022"/>
                  </a:lnTo>
                  <a:lnTo>
                    <a:pt x="240" y="1017"/>
                  </a:lnTo>
                  <a:lnTo>
                    <a:pt x="237" y="1006"/>
                  </a:lnTo>
                  <a:lnTo>
                    <a:pt x="235" y="1003"/>
                  </a:lnTo>
                  <a:lnTo>
                    <a:pt x="231" y="997"/>
                  </a:lnTo>
                  <a:lnTo>
                    <a:pt x="229" y="994"/>
                  </a:lnTo>
                  <a:lnTo>
                    <a:pt x="225" y="988"/>
                  </a:lnTo>
                  <a:lnTo>
                    <a:pt x="224" y="986"/>
                  </a:lnTo>
                  <a:lnTo>
                    <a:pt x="223" y="985"/>
                  </a:lnTo>
                  <a:lnTo>
                    <a:pt x="223" y="983"/>
                  </a:lnTo>
                  <a:lnTo>
                    <a:pt x="223" y="982"/>
                  </a:lnTo>
                  <a:lnTo>
                    <a:pt x="223" y="974"/>
                  </a:lnTo>
                  <a:lnTo>
                    <a:pt x="223" y="972"/>
                  </a:lnTo>
                  <a:lnTo>
                    <a:pt x="222" y="968"/>
                  </a:lnTo>
                  <a:lnTo>
                    <a:pt x="222" y="966"/>
                  </a:lnTo>
                  <a:lnTo>
                    <a:pt x="221" y="964"/>
                  </a:lnTo>
                  <a:lnTo>
                    <a:pt x="219" y="962"/>
                  </a:lnTo>
                  <a:lnTo>
                    <a:pt x="217" y="961"/>
                  </a:lnTo>
                  <a:lnTo>
                    <a:pt x="215" y="957"/>
                  </a:lnTo>
                  <a:lnTo>
                    <a:pt x="213" y="955"/>
                  </a:lnTo>
                  <a:lnTo>
                    <a:pt x="212" y="953"/>
                  </a:lnTo>
                  <a:lnTo>
                    <a:pt x="211" y="952"/>
                  </a:lnTo>
                  <a:lnTo>
                    <a:pt x="210" y="950"/>
                  </a:lnTo>
                  <a:lnTo>
                    <a:pt x="210" y="949"/>
                  </a:lnTo>
                  <a:lnTo>
                    <a:pt x="210" y="947"/>
                  </a:lnTo>
                  <a:lnTo>
                    <a:pt x="210" y="945"/>
                  </a:lnTo>
                  <a:lnTo>
                    <a:pt x="210" y="944"/>
                  </a:lnTo>
                  <a:lnTo>
                    <a:pt x="211" y="938"/>
                  </a:lnTo>
                  <a:lnTo>
                    <a:pt x="211" y="936"/>
                  </a:lnTo>
                  <a:lnTo>
                    <a:pt x="211" y="932"/>
                  </a:lnTo>
                  <a:lnTo>
                    <a:pt x="211" y="928"/>
                  </a:lnTo>
                  <a:lnTo>
                    <a:pt x="210" y="925"/>
                  </a:lnTo>
                  <a:lnTo>
                    <a:pt x="209" y="918"/>
                  </a:lnTo>
                  <a:lnTo>
                    <a:pt x="208" y="915"/>
                  </a:lnTo>
                  <a:lnTo>
                    <a:pt x="206" y="910"/>
                  </a:lnTo>
                  <a:lnTo>
                    <a:pt x="205" y="908"/>
                  </a:lnTo>
                  <a:lnTo>
                    <a:pt x="205" y="906"/>
                  </a:lnTo>
                  <a:lnTo>
                    <a:pt x="205" y="904"/>
                  </a:lnTo>
                  <a:lnTo>
                    <a:pt x="205" y="900"/>
                  </a:lnTo>
                  <a:lnTo>
                    <a:pt x="205" y="896"/>
                  </a:lnTo>
                  <a:lnTo>
                    <a:pt x="208" y="888"/>
                  </a:lnTo>
                  <a:lnTo>
                    <a:pt x="209" y="882"/>
                  </a:lnTo>
                  <a:lnTo>
                    <a:pt x="210" y="881"/>
                  </a:lnTo>
                  <a:lnTo>
                    <a:pt x="210" y="879"/>
                  </a:lnTo>
                  <a:lnTo>
                    <a:pt x="210" y="877"/>
                  </a:lnTo>
                  <a:lnTo>
                    <a:pt x="210" y="869"/>
                  </a:lnTo>
                  <a:lnTo>
                    <a:pt x="210" y="867"/>
                  </a:lnTo>
                  <a:lnTo>
                    <a:pt x="210" y="864"/>
                  </a:lnTo>
                  <a:lnTo>
                    <a:pt x="210" y="862"/>
                  </a:lnTo>
                  <a:lnTo>
                    <a:pt x="211" y="860"/>
                  </a:lnTo>
                  <a:lnTo>
                    <a:pt x="213" y="853"/>
                  </a:lnTo>
                  <a:lnTo>
                    <a:pt x="214" y="851"/>
                  </a:lnTo>
                  <a:lnTo>
                    <a:pt x="214" y="847"/>
                  </a:lnTo>
                  <a:lnTo>
                    <a:pt x="215" y="844"/>
                  </a:lnTo>
                  <a:lnTo>
                    <a:pt x="214" y="841"/>
                  </a:lnTo>
                  <a:lnTo>
                    <a:pt x="214" y="838"/>
                  </a:lnTo>
                  <a:lnTo>
                    <a:pt x="214" y="836"/>
                  </a:lnTo>
                  <a:lnTo>
                    <a:pt x="213" y="835"/>
                  </a:lnTo>
                  <a:lnTo>
                    <a:pt x="211" y="830"/>
                  </a:lnTo>
                  <a:lnTo>
                    <a:pt x="209" y="827"/>
                  </a:lnTo>
                  <a:lnTo>
                    <a:pt x="208" y="825"/>
                  </a:lnTo>
                  <a:lnTo>
                    <a:pt x="206" y="822"/>
                  </a:lnTo>
                  <a:lnTo>
                    <a:pt x="205" y="820"/>
                  </a:lnTo>
                  <a:lnTo>
                    <a:pt x="204" y="818"/>
                  </a:lnTo>
                  <a:lnTo>
                    <a:pt x="202" y="817"/>
                  </a:lnTo>
                  <a:lnTo>
                    <a:pt x="200" y="815"/>
                  </a:lnTo>
                  <a:lnTo>
                    <a:pt x="198" y="814"/>
                  </a:lnTo>
                  <a:lnTo>
                    <a:pt x="197" y="813"/>
                  </a:lnTo>
                  <a:lnTo>
                    <a:pt x="195" y="813"/>
                  </a:lnTo>
                  <a:lnTo>
                    <a:pt x="193" y="813"/>
                  </a:lnTo>
                  <a:lnTo>
                    <a:pt x="193" y="813"/>
                  </a:lnTo>
                  <a:lnTo>
                    <a:pt x="191" y="813"/>
                  </a:lnTo>
                  <a:lnTo>
                    <a:pt x="181" y="814"/>
                  </a:lnTo>
                  <a:lnTo>
                    <a:pt x="179" y="814"/>
                  </a:lnTo>
                  <a:lnTo>
                    <a:pt x="176" y="814"/>
                  </a:lnTo>
                  <a:lnTo>
                    <a:pt x="169" y="814"/>
                  </a:lnTo>
                  <a:lnTo>
                    <a:pt x="164" y="813"/>
                  </a:lnTo>
                  <a:lnTo>
                    <a:pt x="159" y="813"/>
                  </a:lnTo>
                  <a:lnTo>
                    <a:pt x="149" y="812"/>
                  </a:lnTo>
                  <a:lnTo>
                    <a:pt x="146" y="812"/>
                  </a:lnTo>
                  <a:lnTo>
                    <a:pt x="143" y="812"/>
                  </a:lnTo>
                  <a:lnTo>
                    <a:pt x="140" y="812"/>
                  </a:lnTo>
                  <a:lnTo>
                    <a:pt x="138" y="812"/>
                  </a:lnTo>
                  <a:lnTo>
                    <a:pt x="136" y="813"/>
                  </a:lnTo>
                  <a:lnTo>
                    <a:pt x="131" y="813"/>
                  </a:lnTo>
                  <a:lnTo>
                    <a:pt x="128" y="814"/>
                  </a:lnTo>
                  <a:lnTo>
                    <a:pt x="127" y="814"/>
                  </a:lnTo>
                  <a:lnTo>
                    <a:pt x="126" y="814"/>
                  </a:lnTo>
                  <a:lnTo>
                    <a:pt x="125" y="814"/>
                  </a:lnTo>
                  <a:lnTo>
                    <a:pt x="124" y="813"/>
                  </a:lnTo>
                  <a:lnTo>
                    <a:pt x="123" y="813"/>
                  </a:lnTo>
                  <a:lnTo>
                    <a:pt x="121" y="813"/>
                  </a:lnTo>
                  <a:lnTo>
                    <a:pt x="120" y="812"/>
                  </a:lnTo>
                  <a:lnTo>
                    <a:pt x="119" y="811"/>
                  </a:lnTo>
                  <a:lnTo>
                    <a:pt x="118" y="810"/>
                  </a:lnTo>
                  <a:lnTo>
                    <a:pt x="117" y="809"/>
                  </a:lnTo>
                  <a:lnTo>
                    <a:pt x="116" y="808"/>
                  </a:lnTo>
                  <a:lnTo>
                    <a:pt x="115" y="807"/>
                  </a:lnTo>
                  <a:lnTo>
                    <a:pt x="115" y="806"/>
                  </a:lnTo>
                  <a:lnTo>
                    <a:pt x="115" y="804"/>
                  </a:lnTo>
                  <a:lnTo>
                    <a:pt x="115" y="802"/>
                  </a:lnTo>
                  <a:lnTo>
                    <a:pt x="115" y="795"/>
                  </a:lnTo>
                  <a:lnTo>
                    <a:pt x="114" y="793"/>
                  </a:lnTo>
                  <a:lnTo>
                    <a:pt x="114" y="791"/>
                  </a:lnTo>
                  <a:lnTo>
                    <a:pt x="114" y="790"/>
                  </a:lnTo>
                  <a:lnTo>
                    <a:pt x="114" y="789"/>
                  </a:lnTo>
                  <a:lnTo>
                    <a:pt x="113" y="787"/>
                  </a:lnTo>
                  <a:lnTo>
                    <a:pt x="112" y="786"/>
                  </a:lnTo>
                  <a:lnTo>
                    <a:pt x="111" y="785"/>
                  </a:lnTo>
                  <a:lnTo>
                    <a:pt x="109" y="784"/>
                  </a:lnTo>
                  <a:lnTo>
                    <a:pt x="108" y="782"/>
                  </a:lnTo>
                  <a:lnTo>
                    <a:pt x="105" y="781"/>
                  </a:lnTo>
                  <a:lnTo>
                    <a:pt x="98" y="777"/>
                  </a:lnTo>
                  <a:lnTo>
                    <a:pt x="94" y="775"/>
                  </a:lnTo>
                  <a:lnTo>
                    <a:pt x="92" y="775"/>
                  </a:lnTo>
                  <a:lnTo>
                    <a:pt x="91" y="774"/>
                  </a:lnTo>
                  <a:lnTo>
                    <a:pt x="87" y="773"/>
                  </a:lnTo>
                  <a:lnTo>
                    <a:pt x="82" y="772"/>
                  </a:lnTo>
                  <a:lnTo>
                    <a:pt x="79" y="772"/>
                  </a:lnTo>
                  <a:lnTo>
                    <a:pt x="73" y="771"/>
                  </a:lnTo>
                  <a:lnTo>
                    <a:pt x="70" y="771"/>
                  </a:lnTo>
                  <a:lnTo>
                    <a:pt x="65" y="769"/>
                  </a:lnTo>
                  <a:lnTo>
                    <a:pt x="57" y="768"/>
                  </a:lnTo>
                  <a:lnTo>
                    <a:pt x="54" y="767"/>
                  </a:lnTo>
                  <a:lnTo>
                    <a:pt x="50" y="766"/>
                  </a:lnTo>
                  <a:lnTo>
                    <a:pt x="42" y="766"/>
                  </a:lnTo>
                  <a:lnTo>
                    <a:pt x="37" y="765"/>
                  </a:lnTo>
                  <a:lnTo>
                    <a:pt x="32" y="764"/>
                  </a:lnTo>
                  <a:lnTo>
                    <a:pt x="25" y="762"/>
                  </a:lnTo>
                  <a:lnTo>
                    <a:pt x="21" y="761"/>
                  </a:lnTo>
                  <a:lnTo>
                    <a:pt x="18" y="760"/>
                  </a:lnTo>
                  <a:lnTo>
                    <a:pt x="15" y="758"/>
                  </a:lnTo>
                  <a:lnTo>
                    <a:pt x="11" y="757"/>
                  </a:lnTo>
                  <a:lnTo>
                    <a:pt x="1" y="750"/>
                  </a:lnTo>
                  <a:lnTo>
                    <a:pt x="0" y="750"/>
                  </a:lnTo>
                  <a:lnTo>
                    <a:pt x="0" y="749"/>
                  </a:lnTo>
                  <a:lnTo>
                    <a:pt x="0" y="748"/>
                  </a:lnTo>
                  <a:lnTo>
                    <a:pt x="0" y="747"/>
                  </a:lnTo>
                  <a:lnTo>
                    <a:pt x="1" y="746"/>
                  </a:lnTo>
                  <a:lnTo>
                    <a:pt x="3" y="745"/>
                  </a:lnTo>
                  <a:lnTo>
                    <a:pt x="5" y="744"/>
                  </a:lnTo>
                  <a:lnTo>
                    <a:pt x="7" y="743"/>
                  </a:lnTo>
                  <a:lnTo>
                    <a:pt x="17" y="737"/>
                  </a:lnTo>
                  <a:lnTo>
                    <a:pt x="22" y="734"/>
                  </a:lnTo>
                  <a:lnTo>
                    <a:pt x="27" y="731"/>
                  </a:lnTo>
                  <a:lnTo>
                    <a:pt x="29" y="729"/>
                  </a:lnTo>
                  <a:lnTo>
                    <a:pt x="31" y="728"/>
                  </a:lnTo>
                  <a:lnTo>
                    <a:pt x="34" y="723"/>
                  </a:lnTo>
                  <a:lnTo>
                    <a:pt x="46" y="711"/>
                  </a:lnTo>
                  <a:lnTo>
                    <a:pt x="49" y="707"/>
                  </a:lnTo>
                  <a:lnTo>
                    <a:pt x="52" y="703"/>
                  </a:lnTo>
                  <a:lnTo>
                    <a:pt x="54" y="700"/>
                  </a:lnTo>
                  <a:lnTo>
                    <a:pt x="55" y="698"/>
                  </a:lnTo>
                  <a:lnTo>
                    <a:pt x="56" y="695"/>
                  </a:lnTo>
                  <a:lnTo>
                    <a:pt x="57" y="692"/>
                  </a:lnTo>
                  <a:lnTo>
                    <a:pt x="57" y="689"/>
                  </a:lnTo>
                  <a:lnTo>
                    <a:pt x="58" y="676"/>
                  </a:lnTo>
                  <a:lnTo>
                    <a:pt x="58" y="668"/>
                  </a:lnTo>
                  <a:lnTo>
                    <a:pt x="60" y="660"/>
                  </a:lnTo>
                  <a:lnTo>
                    <a:pt x="61" y="657"/>
                  </a:lnTo>
                  <a:lnTo>
                    <a:pt x="62" y="654"/>
                  </a:lnTo>
                  <a:lnTo>
                    <a:pt x="63" y="651"/>
                  </a:lnTo>
                  <a:lnTo>
                    <a:pt x="64" y="647"/>
                  </a:lnTo>
                  <a:lnTo>
                    <a:pt x="65" y="644"/>
                  </a:lnTo>
                  <a:lnTo>
                    <a:pt x="66" y="642"/>
                  </a:lnTo>
                  <a:lnTo>
                    <a:pt x="68" y="639"/>
                  </a:lnTo>
                  <a:lnTo>
                    <a:pt x="68" y="638"/>
                  </a:lnTo>
                  <a:lnTo>
                    <a:pt x="69" y="636"/>
                  </a:lnTo>
                  <a:lnTo>
                    <a:pt x="71" y="635"/>
                  </a:lnTo>
                  <a:lnTo>
                    <a:pt x="72" y="633"/>
                  </a:lnTo>
                  <a:lnTo>
                    <a:pt x="74" y="633"/>
                  </a:lnTo>
                  <a:lnTo>
                    <a:pt x="76" y="632"/>
                  </a:lnTo>
                  <a:lnTo>
                    <a:pt x="78" y="632"/>
                  </a:lnTo>
                  <a:lnTo>
                    <a:pt x="80" y="632"/>
                  </a:lnTo>
                  <a:lnTo>
                    <a:pt x="81" y="632"/>
                  </a:lnTo>
                  <a:lnTo>
                    <a:pt x="90" y="634"/>
                  </a:lnTo>
                  <a:lnTo>
                    <a:pt x="92" y="635"/>
                  </a:lnTo>
                  <a:lnTo>
                    <a:pt x="95" y="635"/>
                  </a:lnTo>
                  <a:lnTo>
                    <a:pt x="99" y="636"/>
                  </a:lnTo>
                  <a:lnTo>
                    <a:pt x="102" y="636"/>
                  </a:lnTo>
                  <a:lnTo>
                    <a:pt x="105" y="635"/>
                  </a:lnTo>
                  <a:lnTo>
                    <a:pt x="108" y="635"/>
                  </a:lnTo>
                  <a:lnTo>
                    <a:pt x="114" y="634"/>
                  </a:lnTo>
                  <a:lnTo>
                    <a:pt x="118" y="633"/>
                  </a:lnTo>
                  <a:lnTo>
                    <a:pt x="122" y="632"/>
                  </a:lnTo>
                  <a:lnTo>
                    <a:pt x="131" y="629"/>
                  </a:lnTo>
                  <a:lnTo>
                    <a:pt x="134" y="628"/>
                  </a:lnTo>
                  <a:lnTo>
                    <a:pt x="137" y="627"/>
                  </a:lnTo>
                  <a:lnTo>
                    <a:pt x="138" y="627"/>
                  </a:lnTo>
                  <a:lnTo>
                    <a:pt x="140" y="627"/>
                  </a:lnTo>
                  <a:lnTo>
                    <a:pt x="142" y="627"/>
                  </a:lnTo>
                  <a:lnTo>
                    <a:pt x="145" y="628"/>
                  </a:lnTo>
                  <a:lnTo>
                    <a:pt x="147" y="629"/>
                  </a:lnTo>
                  <a:lnTo>
                    <a:pt x="152" y="631"/>
                  </a:lnTo>
                  <a:lnTo>
                    <a:pt x="154" y="632"/>
                  </a:lnTo>
                  <a:lnTo>
                    <a:pt x="156" y="632"/>
                  </a:lnTo>
                  <a:lnTo>
                    <a:pt x="165" y="633"/>
                  </a:lnTo>
                  <a:lnTo>
                    <a:pt x="171" y="634"/>
                  </a:lnTo>
                  <a:lnTo>
                    <a:pt x="174" y="634"/>
                  </a:lnTo>
                  <a:lnTo>
                    <a:pt x="176" y="635"/>
                  </a:lnTo>
                  <a:lnTo>
                    <a:pt x="179" y="635"/>
                  </a:lnTo>
                  <a:lnTo>
                    <a:pt x="181" y="634"/>
                  </a:lnTo>
                  <a:lnTo>
                    <a:pt x="182" y="634"/>
                  </a:lnTo>
                  <a:lnTo>
                    <a:pt x="184" y="633"/>
                  </a:lnTo>
                  <a:lnTo>
                    <a:pt x="185" y="633"/>
                  </a:lnTo>
                  <a:lnTo>
                    <a:pt x="187" y="632"/>
                  </a:lnTo>
                  <a:lnTo>
                    <a:pt x="188" y="632"/>
                  </a:lnTo>
                  <a:lnTo>
                    <a:pt x="189" y="631"/>
                  </a:lnTo>
                  <a:lnTo>
                    <a:pt x="191" y="629"/>
                  </a:lnTo>
                  <a:lnTo>
                    <a:pt x="193" y="627"/>
                  </a:lnTo>
                  <a:lnTo>
                    <a:pt x="198" y="618"/>
                  </a:lnTo>
                  <a:lnTo>
                    <a:pt x="200" y="615"/>
                  </a:lnTo>
                  <a:lnTo>
                    <a:pt x="202" y="612"/>
                  </a:lnTo>
                  <a:lnTo>
                    <a:pt x="208" y="599"/>
                  </a:lnTo>
                  <a:lnTo>
                    <a:pt x="209" y="597"/>
                  </a:lnTo>
                  <a:lnTo>
                    <a:pt x="211" y="593"/>
                  </a:lnTo>
                  <a:lnTo>
                    <a:pt x="213" y="587"/>
                  </a:lnTo>
                  <a:lnTo>
                    <a:pt x="214" y="584"/>
                  </a:lnTo>
                  <a:lnTo>
                    <a:pt x="215" y="580"/>
                  </a:lnTo>
                  <a:lnTo>
                    <a:pt x="216" y="573"/>
                  </a:lnTo>
                  <a:lnTo>
                    <a:pt x="216" y="570"/>
                  </a:lnTo>
                  <a:lnTo>
                    <a:pt x="217" y="567"/>
                  </a:lnTo>
                  <a:lnTo>
                    <a:pt x="218" y="564"/>
                  </a:lnTo>
                  <a:lnTo>
                    <a:pt x="223" y="553"/>
                  </a:lnTo>
                  <a:lnTo>
                    <a:pt x="224" y="551"/>
                  </a:lnTo>
                  <a:lnTo>
                    <a:pt x="225" y="549"/>
                  </a:lnTo>
                  <a:lnTo>
                    <a:pt x="227" y="547"/>
                  </a:lnTo>
                  <a:lnTo>
                    <a:pt x="227" y="545"/>
                  </a:lnTo>
                  <a:lnTo>
                    <a:pt x="229" y="543"/>
                  </a:lnTo>
                  <a:lnTo>
                    <a:pt x="231" y="541"/>
                  </a:lnTo>
                  <a:lnTo>
                    <a:pt x="233" y="541"/>
                  </a:lnTo>
                  <a:lnTo>
                    <a:pt x="235" y="539"/>
                  </a:lnTo>
                  <a:lnTo>
                    <a:pt x="237" y="538"/>
                  </a:lnTo>
                  <a:lnTo>
                    <a:pt x="238" y="537"/>
                  </a:lnTo>
                  <a:lnTo>
                    <a:pt x="239" y="537"/>
                  </a:lnTo>
                  <a:lnTo>
                    <a:pt x="241" y="537"/>
                  </a:lnTo>
                  <a:lnTo>
                    <a:pt x="243" y="537"/>
                  </a:lnTo>
                  <a:lnTo>
                    <a:pt x="246" y="537"/>
                  </a:lnTo>
                  <a:lnTo>
                    <a:pt x="248" y="537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1" name="Freeform 94">
              <a:extLst>
                <a:ext uri="{FF2B5EF4-FFF2-40B4-BE49-F238E27FC236}">
                  <a16:creationId xmlns:a16="http://schemas.microsoft.com/office/drawing/2014/main" id="{7989A07F-0AFB-4393-BB8B-43487CCEA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5" y="976"/>
              <a:ext cx="854" cy="549"/>
            </a:xfrm>
            <a:custGeom>
              <a:avLst/>
              <a:gdLst>
                <a:gd name="T0" fmla="*/ 16 w 854"/>
                <a:gd name="T1" fmla="*/ 547 h 549"/>
                <a:gd name="T2" fmla="*/ 30 w 854"/>
                <a:gd name="T3" fmla="*/ 548 h 549"/>
                <a:gd name="T4" fmla="*/ 38 w 854"/>
                <a:gd name="T5" fmla="*/ 542 h 549"/>
                <a:gd name="T6" fmla="*/ 50 w 854"/>
                <a:gd name="T7" fmla="*/ 519 h 549"/>
                <a:gd name="T8" fmla="*/ 73 w 854"/>
                <a:gd name="T9" fmla="*/ 500 h 549"/>
                <a:gd name="T10" fmla="*/ 83 w 854"/>
                <a:gd name="T11" fmla="*/ 477 h 549"/>
                <a:gd name="T12" fmla="*/ 91 w 854"/>
                <a:gd name="T13" fmla="*/ 476 h 549"/>
                <a:gd name="T14" fmla="*/ 109 w 854"/>
                <a:gd name="T15" fmla="*/ 500 h 549"/>
                <a:gd name="T16" fmla="*/ 127 w 854"/>
                <a:gd name="T17" fmla="*/ 516 h 549"/>
                <a:gd name="T18" fmla="*/ 146 w 854"/>
                <a:gd name="T19" fmla="*/ 521 h 549"/>
                <a:gd name="T20" fmla="*/ 157 w 854"/>
                <a:gd name="T21" fmla="*/ 514 h 549"/>
                <a:gd name="T22" fmla="*/ 189 w 854"/>
                <a:gd name="T23" fmla="*/ 481 h 549"/>
                <a:gd name="T24" fmla="*/ 194 w 854"/>
                <a:gd name="T25" fmla="*/ 463 h 549"/>
                <a:gd name="T26" fmla="*/ 204 w 854"/>
                <a:gd name="T27" fmla="*/ 443 h 549"/>
                <a:gd name="T28" fmla="*/ 204 w 854"/>
                <a:gd name="T29" fmla="*/ 418 h 549"/>
                <a:gd name="T30" fmla="*/ 207 w 854"/>
                <a:gd name="T31" fmla="*/ 406 h 549"/>
                <a:gd name="T32" fmla="*/ 221 w 854"/>
                <a:gd name="T33" fmla="*/ 398 h 549"/>
                <a:gd name="T34" fmla="*/ 258 w 854"/>
                <a:gd name="T35" fmla="*/ 395 h 549"/>
                <a:gd name="T36" fmla="*/ 281 w 854"/>
                <a:gd name="T37" fmla="*/ 384 h 549"/>
                <a:gd name="T38" fmla="*/ 299 w 854"/>
                <a:gd name="T39" fmla="*/ 380 h 549"/>
                <a:gd name="T40" fmla="*/ 322 w 854"/>
                <a:gd name="T41" fmla="*/ 388 h 549"/>
                <a:gd name="T42" fmla="*/ 333 w 854"/>
                <a:gd name="T43" fmla="*/ 388 h 549"/>
                <a:gd name="T44" fmla="*/ 362 w 854"/>
                <a:gd name="T45" fmla="*/ 379 h 549"/>
                <a:gd name="T46" fmla="*/ 397 w 854"/>
                <a:gd name="T47" fmla="*/ 377 h 549"/>
                <a:gd name="T48" fmla="*/ 424 w 854"/>
                <a:gd name="T49" fmla="*/ 384 h 549"/>
                <a:gd name="T50" fmla="*/ 447 w 854"/>
                <a:gd name="T51" fmla="*/ 378 h 549"/>
                <a:gd name="T52" fmla="*/ 468 w 854"/>
                <a:gd name="T53" fmla="*/ 366 h 549"/>
                <a:gd name="T54" fmla="*/ 475 w 854"/>
                <a:gd name="T55" fmla="*/ 353 h 549"/>
                <a:gd name="T56" fmla="*/ 476 w 854"/>
                <a:gd name="T57" fmla="*/ 327 h 549"/>
                <a:gd name="T58" fmla="*/ 483 w 854"/>
                <a:gd name="T59" fmla="*/ 314 h 549"/>
                <a:gd name="T60" fmla="*/ 505 w 854"/>
                <a:gd name="T61" fmla="*/ 307 h 549"/>
                <a:gd name="T62" fmla="*/ 529 w 854"/>
                <a:gd name="T63" fmla="*/ 289 h 549"/>
                <a:gd name="T64" fmla="*/ 550 w 854"/>
                <a:gd name="T65" fmla="*/ 282 h 549"/>
                <a:gd name="T66" fmla="*/ 581 w 854"/>
                <a:gd name="T67" fmla="*/ 290 h 549"/>
                <a:gd name="T68" fmla="*/ 610 w 854"/>
                <a:gd name="T69" fmla="*/ 282 h 549"/>
                <a:gd name="T70" fmla="*/ 666 w 854"/>
                <a:gd name="T71" fmla="*/ 253 h 549"/>
                <a:gd name="T72" fmla="*/ 709 w 854"/>
                <a:gd name="T73" fmla="*/ 236 h 549"/>
                <a:gd name="T74" fmla="*/ 730 w 854"/>
                <a:gd name="T75" fmla="*/ 215 h 549"/>
                <a:gd name="T76" fmla="*/ 746 w 854"/>
                <a:gd name="T77" fmla="*/ 198 h 549"/>
                <a:gd name="T78" fmla="*/ 767 w 854"/>
                <a:gd name="T79" fmla="*/ 196 h 549"/>
                <a:gd name="T80" fmla="*/ 793 w 854"/>
                <a:gd name="T81" fmla="*/ 197 h 549"/>
                <a:gd name="T82" fmla="*/ 825 w 854"/>
                <a:gd name="T83" fmla="*/ 188 h 549"/>
                <a:gd name="T84" fmla="*/ 844 w 854"/>
                <a:gd name="T85" fmla="*/ 180 h 549"/>
                <a:gd name="T86" fmla="*/ 853 w 854"/>
                <a:gd name="T87" fmla="*/ 156 h 549"/>
                <a:gd name="T88" fmla="*/ 850 w 854"/>
                <a:gd name="T89" fmla="*/ 145 h 549"/>
                <a:gd name="T90" fmla="*/ 826 w 854"/>
                <a:gd name="T91" fmla="*/ 133 h 549"/>
                <a:gd name="T92" fmla="*/ 798 w 854"/>
                <a:gd name="T93" fmla="*/ 120 h 549"/>
                <a:gd name="T94" fmla="*/ 792 w 854"/>
                <a:gd name="T95" fmla="*/ 108 h 549"/>
                <a:gd name="T96" fmla="*/ 796 w 854"/>
                <a:gd name="T97" fmla="*/ 96 h 549"/>
                <a:gd name="T98" fmla="*/ 793 w 854"/>
                <a:gd name="T99" fmla="*/ 89 h 549"/>
                <a:gd name="T100" fmla="*/ 771 w 854"/>
                <a:gd name="T101" fmla="*/ 87 h 549"/>
                <a:gd name="T102" fmla="*/ 758 w 854"/>
                <a:gd name="T103" fmla="*/ 78 h 549"/>
                <a:gd name="T104" fmla="*/ 756 w 854"/>
                <a:gd name="T105" fmla="*/ 62 h 549"/>
                <a:gd name="T106" fmla="*/ 765 w 854"/>
                <a:gd name="T107" fmla="*/ 41 h 549"/>
                <a:gd name="T108" fmla="*/ 771 w 854"/>
                <a:gd name="T109" fmla="*/ 20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4" h="549">
                  <a:moveTo>
                    <a:pt x="0" y="538"/>
                  </a:moveTo>
                  <a:lnTo>
                    <a:pt x="2" y="539"/>
                  </a:lnTo>
                  <a:lnTo>
                    <a:pt x="5" y="540"/>
                  </a:lnTo>
                  <a:lnTo>
                    <a:pt x="7" y="541"/>
                  </a:lnTo>
                  <a:lnTo>
                    <a:pt x="9" y="542"/>
                  </a:lnTo>
                  <a:lnTo>
                    <a:pt x="14" y="545"/>
                  </a:lnTo>
                  <a:lnTo>
                    <a:pt x="16" y="547"/>
                  </a:lnTo>
                  <a:lnTo>
                    <a:pt x="18" y="548"/>
                  </a:lnTo>
                  <a:lnTo>
                    <a:pt x="21" y="549"/>
                  </a:lnTo>
                  <a:lnTo>
                    <a:pt x="23" y="549"/>
                  </a:lnTo>
                  <a:lnTo>
                    <a:pt x="24" y="549"/>
                  </a:lnTo>
                  <a:lnTo>
                    <a:pt x="25" y="549"/>
                  </a:lnTo>
                  <a:lnTo>
                    <a:pt x="28" y="549"/>
                  </a:lnTo>
                  <a:lnTo>
                    <a:pt x="30" y="548"/>
                  </a:lnTo>
                  <a:lnTo>
                    <a:pt x="31" y="548"/>
                  </a:lnTo>
                  <a:lnTo>
                    <a:pt x="33" y="547"/>
                  </a:lnTo>
                  <a:lnTo>
                    <a:pt x="35" y="546"/>
                  </a:lnTo>
                  <a:lnTo>
                    <a:pt x="36" y="545"/>
                  </a:lnTo>
                  <a:lnTo>
                    <a:pt x="36" y="544"/>
                  </a:lnTo>
                  <a:lnTo>
                    <a:pt x="37" y="543"/>
                  </a:lnTo>
                  <a:lnTo>
                    <a:pt x="38" y="542"/>
                  </a:lnTo>
                  <a:lnTo>
                    <a:pt x="40" y="539"/>
                  </a:lnTo>
                  <a:lnTo>
                    <a:pt x="43" y="531"/>
                  </a:lnTo>
                  <a:lnTo>
                    <a:pt x="44" y="528"/>
                  </a:lnTo>
                  <a:lnTo>
                    <a:pt x="46" y="525"/>
                  </a:lnTo>
                  <a:lnTo>
                    <a:pt x="47" y="523"/>
                  </a:lnTo>
                  <a:lnTo>
                    <a:pt x="48" y="521"/>
                  </a:lnTo>
                  <a:lnTo>
                    <a:pt x="50" y="519"/>
                  </a:lnTo>
                  <a:lnTo>
                    <a:pt x="56" y="515"/>
                  </a:lnTo>
                  <a:lnTo>
                    <a:pt x="58" y="513"/>
                  </a:lnTo>
                  <a:lnTo>
                    <a:pt x="65" y="508"/>
                  </a:lnTo>
                  <a:lnTo>
                    <a:pt x="69" y="505"/>
                  </a:lnTo>
                  <a:lnTo>
                    <a:pt x="70" y="503"/>
                  </a:lnTo>
                  <a:lnTo>
                    <a:pt x="72" y="502"/>
                  </a:lnTo>
                  <a:lnTo>
                    <a:pt x="73" y="500"/>
                  </a:lnTo>
                  <a:lnTo>
                    <a:pt x="75" y="498"/>
                  </a:lnTo>
                  <a:lnTo>
                    <a:pt x="77" y="496"/>
                  </a:lnTo>
                  <a:lnTo>
                    <a:pt x="79" y="492"/>
                  </a:lnTo>
                  <a:lnTo>
                    <a:pt x="80" y="488"/>
                  </a:lnTo>
                  <a:lnTo>
                    <a:pt x="82" y="481"/>
                  </a:lnTo>
                  <a:lnTo>
                    <a:pt x="82" y="478"/>
                  </a:lnTo>
                  <a:lnTo>
                    <a:pt x="83" y="477"/>
                  </a:lnTo>
                  <a:lnTo>
                    <a:pt x="83" y="476"/>
                  </a:lnTo>
                  <a:lnTo>
                    <a:pt x="84" y="475"/>
                  </a:lnTo>
                  <a:lnTo>
                    <a:pt x="85" y="475"/>
                  </a:lnTo>
                  <a:lnTo>
                    <a:pt x="87" y="474"/>
                  </a:lnTo>
                  <a:lnTo>
                    <a:pt x="88" y="475"/>
                  </a:lnTo>
                  <a:lnTo>
                    <a:pt x="90" y="475"/>
                  </a:lnTo>
                  <a:lnTo>
                    <a:pt x="91" y="476"/>
                  </a:lnTo>
                  <a:lnTo>
                    <a:pt x="93" y="477"/>
                  </a:lnTo>
                  <a:lnTo>
                    <a:pt x="93" y="478"/>
                  </a:lnTo>
                  <a:lnTo>
                    <a:pt x="94" y="479"/>
                  </a:lnTo>
                  <a:lnTo>
                    <a:pt x="98" y="483"/>
                  </a:lnTo>
                  <a:lnTo>
                    <a:pt x="102" y="487"/>
                  </a:lnTo>
                  <a:lnTo>
                    <a:pt x="104" y="490"/>
                  </a:lnTo>
                  <a:lnTo>
                    <a:pt x="109" y="500"/>
                  </a:lnTo>
                  <a:lnTo>
                    <a:pt x="112" y="503"/>
                  </a:lnTo>
                  <a:lnTo>
                    <a:pt x="113" y="505"/>
                  </a:lnTo>
                  <a:lnTo>
                    <a:pt x="116" y="508"/>
                  </a:lnTo>
                  <a:lnTo>
                    <a:pt x="117" y="509"/>
                  </a:lnTo>
                  <a:lnTo>
                    <a:pt x="121" y="512"/>
                  </a:lnTo>
                  <a:lnTo>
                    <a:pt x="125" y="514"/>
                  </a:lnTo>
                  <a:lnTo>
                    <a:pt x="127" y="516"/>
                  </a:lnTo>
                  <a:lnTo>
                    <a:pt x="128" y="517"/>
                  </a:lnTo>
                  <a:lnTo>
                    <a:pt x="135" y="520"/>
                  </a:lnTo>
                  <a:lnTo>
                    <a:pt x="139" y="520"/>
                  </a:lnTo>
                  <a:lnTo>
                    <a:pt x="141" y="520"/>
                  </a:lnTo>
                  <a:lnTo>
                    <a:pt x="143" y="521"/>
                  </a:lnTo>
                  <a:lnTo>
                    <a:pt x="144" y="521"/>
                  </a:lnTo>
                  <a:lnTo>
                    <a:pt x="146" y="521"/>
                  </a:lnTo>
                  <a:lnTo>
                    <a:pt x="147" y="520"/>
                  </a:lnTo>
                  <a:lnTo>
                    <a:pt x="149" y="520"/>
                  </a:lnTo>
                  <a:lnTo>
                    <a:pt x="150" y="520"/>
                  </a:lnTo>
                  <a:lnTo>
                    <a:pt x="151" y="519"/>
                  </a:lnTo>
                  <a:lnTo>
                    <a:pt x="153" y="518"/>
                  </a:lnTo>
                  <a:lnTo>
                    <a:pt x="154" y="517"/>
                  </a:lnTo>
                  <a:lnTo>
                    <a:pt x="157" y="514"/>
                  </a:lnTo>
                  <a:lnTo>
                    <a:pt x="161" y="511"/>
                  </a:lnTo>
                  <a:lnTo>
                    <a:pt x="169" y="503"/>
                  </a:lnTo>
                  <a:lnTo>
                    <a:pt x="176" y="495"/>
                  </a:lnTo>
                  <a:lnTo>
                    <a:pt x="185" y="486"/>
                  </a:lnTo>
                  <a:lnTo>
                    <a:pt x="188" y="484"/>
                  </a:lnTo>
                  <a:lnTo>
                    <a:pt x="189" y="483"/>
                  </a:lnTo>
                  <a:lnTo>
                    <a:pt x="189" y="481"/>
                  </a:lnTo>
                  <a:lnTo>
                    <a:pt x="191" y="479"/>
                  </a:lnTo>
                  <a:lnTo>
                    <a:pt x="191" y="476"/>
                  </a:lnTo>
                  <a:lnTo>
                    <a:pt x="192" y="474"/>
                  </a:lnTo>
                  <a:lnTo>
                    <a:pt x="192" y="470"/>
                  </a:lnTo>
                  <a:lnTo>
                    <a:pt x="192" y="467"/>
                  </a:lnTo>
                  <a:lnTo>
                    <a:pt x="193" y="465"/>
                  </a:lnTo>
                  <a:lnTo>
                    <a:pt x="194" y="463"/>
                  </a:lnTo>
                  <a:lnTo>
                    <a:pt x="195" y="461"/>
                  </a:lnTo>
                  <a:lnTo>
                    <a:pt x="196" y="458"/>
                  </a:lnTo>
                  <a:lnTo>
                    <a:pt x="198" y="454"/>
                  </a:lnTo>
                  <a:lnTo>
                    <a:pt x="201" y="449"/>
                  </a:lnTo>
                  <a:lnTo>
                    <a:pt x="203" y="447"/>
                  </a:lnTo>
                  <a:lnTo>
                    <a:pt x="203" y="445"/>
                  </a:lnTo>
                  <a:lnTo>
                    <a:pt x="204" y="443"/>
                  </a:lnTo>
                  <a:lnTo>
                    <a:pt x="205" y="440"/>
                  </a:lnTo>
                  <a:lnTo>
                    <a:pt x="205" y="439"/>
                  </a:lnTo>
                  <a:lnTo>
                    <a:pt x="206" y="437"/>
                  </a:lnTo>
                  <a:lnTo>
                    <a:pt x="206" y="435"/>
                  </a:lnTo>
                  <a:lnTo>
                    <a:pt x="206" y="431"/>
                  </a:lnTo>
                  <a:lnTo>
                    <a:pt x="205" y="426"/>
                  </a:lnTo>
                  <a:lnTo>
                    <a:pt x="204" y="418"/>
                  </a:lnTo>
                  <a:lnTo>
                    <a:pt x="204" y="416"/>
                  </a:lnTo>
                  <a:lnTo>
                    <a:pt x="204" y="413"/>
                  </a:lnTo>
                  <a:lnTo>
                    <a:pt x="204" y="411"/>
                  </a:lnTo>
                  <a:lnTo>
                    <a:pt x="205" y="410"/>
                  </a:lnTo>
                  <a:lnTo>
                    <a:pt x="205" y="408"/>
                  </a:lnTo>
                  <a:lnTo>
                    <a:pt x="207" y="406"/>
                  </a:lnTo>
                  <a:lnTo>
                    <a:pt x="207" y="406"/>
                  </a:lnTo>
                  <a:lnTo>
                    <a:pt x="209" y="404"/>
                  </a:lnTo>
                  <a:lnTo>
                    <a:pt x="210" y="403"/>
                  </a:lnTo>
                  <a:lnTo>
                    <a:pt x="212" y="402"/>
                  </a:lnTo>
                  <a:lnTo>
                    <a:pt x="214" y="401"/>
                  </a:lnTo>
                  <a:lnTo>
                    <a:pt x="216" y="400"/>
                  </a:lnTo>
                  <a:lnTo>
                    <a:pt x="218" y="399"/>
                  </a:lnTo>
                  <a:lnTo>
                    <a:pt x="221" y="398"/>
                  </a:lnTo>
                  <a:lnTo>
                    <a:pt x="224" y="398"/>
                  </a:lnTo>
                  <a:lnTo>
                    <a:pt x="227" y="397"/>
                  </a:lnTo>
                  <a:lnTo>
                    <a:pt x="231" y="397"/>
                  </a:lnTo>
                  <a:lnTo>
                    <a:pt x="245" y="397"/>
                  </a:lnTo>
                  <a:lnTo>
                    <a:pt x="250" y="397"/>
                  </a:lnTo>
                  <a:lnTo>
                    <a:pt x="254" y="396"/>
                  </a:lnTo>
                  <a:lnTo>
                    <a:pt x="258" y="395"/>
                  </a:lnTo>
                  <a:lnTo>
                    <a:pt x="263" y="395"/>
                  </a:lnTo>
                  <a:lnTo>
                    <a:pt x="265" y="394"/>
                  </a:lnTo>
                  <a:lnTo>
                    <a:pt x="267" y="393"/>
                  </a:lnTo>
                  <a:lnTo>
                    <a:pt x="269" y="391"/>
                  </a:lnTo>
                  <a:lnTo>
                    <a:pt x="274" y="388"/>
                  </a:lnTo>
                  <a:lnTo>
                    <a:pt x="277" y="386"/>
                  </a:lnTo>
                  <a:lnTo>
                    <a:pt x="281" y="384"/>
                  </a:lnTo>
                  <a:lnTo>
                    <a:pt x="285" y="383"/>
                  </a:lnTo>
                  <a:lnTo>
                    <a:pt x="286" y="382"/>
                  </a:lnTo>
                  <a:lnTo>
                    <a:pt x="289" y="381"/>
                  </a:lnTo>
                  <a:lnTo>
                    <a:pt x="292" y="381"/>
                  </a:lnTo>
                  <a:lnTo>
                    <a:pt x="295" y="380"/>
                  </a:lnTo>
                  <a:lnTo>
                    <a:pt x="297" y="380"/>
                  </a:lnTo>
                  <a:lnTo>
                    <a:pt x="299" y="380"/>
                  </a:lnTo>
                  <a:lnTo>
                    <a:pt x="302" y="381"/>
                  </a:lnTo>
                  <a:lnTo>
                    <a:pt x="304" y="381"/>
                  </a:lnTo>
                  <a:lnTo>
                    <a:pt x="306" y="382"/>
                  </a:lnTo>
                  <a:lnTo>
                    <a:pt x="309" y="383"/>
                  </a:lnTo>
                  <a:lnTo>
                    <a:pt x="318" y="386"/>
                  </a:lnTo>
                  <a:lnTo>
                    <a:pt x="321" y="388"/>
                  </a:lnTo>
                  <a:lnTo>
                    <a:pt x="322" y="388"/>
                  </a:lnTo>
                  <a:lnTo>
                    <a:pt x="324" y="389"/>
                  </a:lnTo>
                  <a:lnTo>
                    <a:pt x="326" y="389"/>
                  </a:lnTo>
                  <a:lnTo>
                    <a:pt x="328" y="389"/>
                  </a:lnTo>
                  <a:lnTo>
                    <a:pt x="330" y="389"/>
                  </a:lnTo>
                  <a:lnTo>
                    <a:pt x="331" y="389"/>
                  </a:lnTo>
                  <a:lnTo>
                    <a:pt x="332" y="389"/>
                  </a:lnTo>
                  <a:lnTo>
                    <a:pt x="333" y="388"/>
                  </a:lnTo>
                  <a:lnTo>
                    <a:pt x="335" y="387"/>
                  </a:lnTo>
                  <a:lnTo>
                    <a:pt x="339" y="385"/>
                  </a:lnTo>
                  <a:lnTo>
                    <a:pt x="343" y="383"/>
                  </a:lnTo>
                  <a:lnTo>
                    <a:pt x="347" y="382"/>
                  </a:lnTo>
                  <a:lnTo>
                    <a:pt x="350" y="381"/>
                  </a:lnTo>
                  <a:lnTo>
                    <a:pt x="354" y="380"/>
                  </a:lnTo>
                  <a:lnTo>
                    <a:pt x="362" y="379"/>
                  </a:lnTo>
                  <a:lnTo>
                    <a:pt x="372" y="376"/>
                  </a:lnTo>
                  <a:lnTo>
                    <a:pt x="376" y="376"/>
                  </a:lnTo>
                  <a:lnTo>
                    <a:pt x="378" y="376"/>
                  </a:lnTo>
                  <a:lnTo>
                    <a:pt x="384" y="376"/>
                  </a:lnTo>
                  <a:lnTo>
                    <a:pt x="388" y="376"/>
                  </a:lnTo>
                  <a:lnTo>
                    <a:pt x="392" y="376"/>
                  </a:lnTo>
                  <a:lnTo>
                    <a:pt x="397" y="377"/>
                  </a:lnTo>
                  <a:lnTo>
                    <a:pt x="401" y="378"/>
                  </a:lnTo>
                  <a:lnTo>
                    <a:pt x="405" y="379"/>
                  </a:lnTo>
                  <a:lnTo>
                    <a:pt x="409" y="380"/>
                  </a:lnTo>
                  <a:lnTo>
                    <a:pt x="415" y="382"/>
                  </a:lnTo>
                  <a:lnTo>
                    <a:pt x="419" y="383"/>
                  </a:lnTo>
                  <a:lnTo>
                    <a:pt x="422" y="384"/>
                  </a:lnTo>
                  <a:lnTo>
                    <a:pt x="424" y="384"/>
                  </a:lnTo>
                  <a:lnTo>
                    <a:pt x="429" y="384"/>
                  </a:lnTo>
                  <a:lnTo>
                    <a:pt x="433" y="384"/>
                  </a:lnTo>
                  <a:lnTo>
                    <a:pt x="436" y="384"/>
                  </a:lnTo>
                  <a:lnTo>
                    <a:pt x="439" y="383"/>
                  </a:lnTo>
                  <a:lnTo>
                    <a:pt x="443" y="382"/>
                  </a:lnTo>
                  <a:lnTo>
                    <a:pt x="446" y="380"/>
                  </a:lnTo>
                  <a:lnTo>
                    <a:pt x="447" y="378"/>
                  </a:lnTo>
                  <a:lnTo>
                    <a:pt x="452" y="374"/>
                  </a:lnTo>
                  <a:lnTo>
                    <a:pt x="455" y="372"/>
                  </a:lnTo>
                  <a:lnTo>
                    <a:pt x="457" y="372"/>
                  </a:lnTo>
                  <a:lnTo>
                    <a:pt x="463" y="369"/>
                  </a:lnTo>
                  <a:lnTo>
                    <a:pt x="465" y="369"/>
                  </a:lnTo>
                  <a:lnTo>
                    <a:pt x="467" y="368"/>
                  </a:lnTo>
                  <a:lnTo>
                    <a:pt x="468" y="366"/>
                  </a:lnTo>
                  <a:lnTo>
                    <a:pt x="469" y="365"/>
                  </a:lnTo>
                  <a:lnTo>
                    <a:pt x="471" y="363"/>
                  </a:lnTo>
                  <a:lnTo>
                    <a:pt x="472" y="361"/>
                  </a:lnTo>
                  <a:lnTo>
                    <a:pt x="473" y="360"/>
                  </a:lnTo>
                  <a:lnTo>
                    <a:pt x="474" y="358"/>
                  </a:lnTo>
                  <a:lnTo>
                    <a:pt x="475" y="356"/>
                  </a:lnTo>
                  <a:lnTo>
                    <a:pt x="475" y="353"/>
                  </a:lnTo>
                  <a:lnTo>
                    <a:pt x="475" y="350"/>
                  </a:lnTo>
                  <a:lnTo>
                    <a:pt x="474" y="342"/>
                  </a:lnTo>
                  <a:lnTo>
                    <a:pt x="474" y="338"/>
                  </a:lnTo>
                  <a:lnTo>
                    <a:pt x="474" y="335"/>
                  </a:lnTo>
                  <a:lnTo>
                    <a:pt x="475" y="331"/>
                  </a:lnTo>
                  <a:lnTo>
                    <a:pt x="475" y="328"/>
                  </a:lnTo>
                  <a:lnTo>
                    <a:pt x="476" y="327"/>
                  </a:lnTo>
                  <a:lnTo>
                    <a:pt x="477" y="324"/>
                  </a:lnTo>
                  <a:lnTo>
                    <a:pt x="478" y="322"/>
                  </a:lnTo>
                  <a:lnTo>
                    <a:pt x="479" y="319"/>
                  </a:lnTo>
                  <a:lnTo>
                    <a:pt x="480" y="317"/>
                  </a:lnTo>
                  <a:lnTo>
                    <a:pt x="480" y="316"/>
                  </a:lnTo>
                  <a:lnTo>
                    <a:pt x="482" y="315"/>
                  </a:lnTo>
                  <a:lnTo>
                    <a:pt x="483" y="314"/>
                  </a:lnTo>
                  <a:lnTo>
                    <a:pt x="484" y="313"/>
                  </a:lnTo>
                  <a:lnTo>
                    <a:pt x="485" y="312"/>
                  </a:lnTo>
                  <a:lnTo>
                    <a:pt x="487" y="311"/>
                  </a:lnTo>
                  <a:lnTo>
                    <a:pt x="490" y="311"/>
                  </a:lnTo>
                  <a:lnTo>
                    <a:pt x="497" y="309"/>
                  </a:lnTo>
                  <a:lnTo>
                    <a:pt x="501" y="308"/>
                  </a:lnTo>
                  <a:lnTo>
                    <a:pt x="505" y="307"/>
                  </a:lnTo>
                  <a:lnTo>
                    <a:pt x="508" y="305"/>
                  </a:lnTo>
                  <a:lnTo>
                    <a:pt x="512" y="304"/>
                  </a:lnTo>
                  <a:lnTo>
                    <a:pt x="514" y="301"/>
                  </a:lnTo>
                  <a:lnTo>
                    <a:pt x="518" y="298"/>
                  </a:lnTo>
                  <a:lnTo>
                    <a:pt x="524" y="293"/>
                  </a:lnTo>
                  <a:lnTo>
                    <a:pt x="525" y="292"/>
                  </a:lnTo>
                  <a:lnTo>
                    <a:pt x="529" y="289"/>
                  </a:lnTo>
                  <a:lnTo>
                    <a:pt x="533" y="287"/>
                  </a:lnTo>
                  <a:lnTo>
                    <a:pt x="537" y="285"/>
                  </a:lnTo>
                  <a:lnTo>
                    <a:pt x="541" y="283"/>
                  </a:lnTo>
                  <a:lnTo>
                    <a:pt x="544" y="282"/>
                  </a:lnTo>
                  <a:lnTo>
                    <a:pt x="546" y="282"/>
                  </a:lnTo>
                  <a:lnTo>
                    <a:pt x="548" y="282"/>
                  </a:lnTo>
                  <a:lnTo>
                    <a:pt x="550" y="282"/>
                  </a:lnTo>
                  <a:lnTo>
                    <a:pt x="553" y="283"/>
                  </a:lnTo>
                  <a:lnTo>
                    <a:pt x="556" y="284"/>
                  </a:lnTo>
                  <a:lnTo>
                    <a:pt x="562" y="286"/>
                  </a:lnTo>
                  <a:lnTo>
                    <a:pt x="571" y="288"/>
                  </a:lnTo>
                  <a:lnTo>
                    <a:pt x="575" y="289"/>
                  </a:lnTo>
                  <a:lnTo>
                    <a:pt x="578" y="290"/>
                  </a:lnTo>
                  <a:lnTo>
                    <a:pt x="581" y="290"/>
                  </a:lnTo>
                  <a:lnTo>
                    <a:pt x="582" y="289"/>
                  </a:lnTo>
                  <a:lnTo>
                    <a:pt x="591" y="288"/>
                  </a:lnTo>
                  <a:lnTo>
                    <a:pt x="599" y="287"/>
                  </a:lnTo>
                  <a:lnTo>
                    <a:pt x="601" y="286"/>
                  </a:lnTo>
                  <a:lnTo>
                    <a:pt x="604" y="285"/>
                  </a:lnTo>
                  <a:lnTo>
                    <a:pt x="606" y="284"/>
                  </a:lnTo>
                  <a:lnTo>
                    <a:pt x="610" y="282"/>
                  </a:lnTo>
                  <a:lnTo>
                    <a:pt x="612" y="281"/>
                  </a:lnTo>
                  <a:lnTo>
                    <a:pt x="619" y="276"/>
                  </a:lnTo>
                  <a:lnTo>
                    <a:pt x="623" y="273"/>
                  </a:lnTo>
                  <a:lnTo>
                    <a:pt x="628" y="270"/>
                  </a:lnTo>
                  <a:lnTo>
                    <a:pt x="635" y="267"/>
                  </a:lnTo>
                  <a:lnTo>
                    <a:pt x="654" y="259"/>
                  </a:lnTo>
                  <a:lnTo>
                    <a:pt x="666" y="253"/>
                  </a:lnTo>
                  <a:lnTo>
                    <a:pt x="673" y="249"/>
                  </a:lnTo>
                  <a:lnTo>
                    <a:pt x="680" y="248"/>
                  </a:lnTo>
                  <a:lnTo>
                    <a:pt x="694" y="243"/>
                  </a:lnTo>
                  <a:lnTo>
                    <a:pt x="698" y="241"/>
                  </a:lnTo>
                  <a:lnTo>
                    <a:pt x="705" y="238"/>
                  </a:lnTo>
                  <a:lnTo>
                    <a:pt x="707" y="237"/>
                  </a:lnTo>
                  <a:lnTo>
                    <a:pt x="709" y="236"/>
                  </a:lnTo>
                  <a:lnTo>
                    <a:pt x="713" y="234"/>
                  </a:lnTo>
                  <a:lnTo>
                    <a:pt x="718" y="230"/>
                  </a:lnTo>
                  <a:lnTo>
                    <a:pt x="720" y="227"/>
                  </a:lnTo>
                  <a:lnTo>
                    <a:pt x="723" y="225"/>
                  </a:lnTo>
                  <a:lnTo>
                    <a:pt x="725" y="222"/>
                  </a:lnTo>
                  <a:lnTo>
                    <a:pt x="727" y="219"/>
                  </a:lnTo>
                  <a:lnTo>
                    <a:pt x="730" y="215"/>
                  </a:lnTo>
                  <a:lnTo>
                    <a:pt x="734" y="208"/>
                  </a:lnTo>
                  <a:lnTo>
                    <a:pt x="735" y="205"/>
                  </a:lnTo>
                  <a:lnTo>
                    <a:pt x="737" y="203"/>
                  </a:lnTo>
                  <a:lnTo>
                    <a:pt x="739" y="202"/>
                  </a:lnTo>
                  <a:lnTo>
                    <a:pt x="741" y="201"/>
                  </a:lnTo>
                  <a:lnTo>
                    <a:pt x="742" y="200"/>
                  </a:lnTo>
                  <a:lnTo>
                    <a:pt x="746" y="198"/>
                  </a:lnTo>
                  <a:lnTo>
                    <a:pt x="750" y="197"/>
                  </a:lnTo>
                  <a:lnTo>
                    <a:pt x="753" y="196"/>
                  </a:lnTo>
                  <a:lnTo>
                    <a:pt x="756" y="195"/>
                  </a:lnTo>
                  <a:lnTo>
                    <a:pt x="759" y="195"/>
                  </a:lnTo>
                  <a:lnTo>
                    <a:pt x="762" y="195"/>
                  </a:lnTo>
                  <a:lnTo>
                    <a:pt x="764" y="195"/>
                  </a:lnTo>
                  <a:lnTo>
                    <a:pt x="767" y="196"/>
                  </a:lnTo>
                  <a:lnTo>
                    <a:pt x="775" y="197"/>
                  </a:lnTo>
                  <a:lnTo>
                    <a:pt x="778" y="198"/>
                  </a:lnTo>
                  <a:lnTo>
                    <a:pt x="781" y="198"/>
                  </a:lnTo>
                  <a:lnTo>
                    <a:pt x="784" y="198"/>
                  </a:lnTo>
                  <a:lnTo>
                    <a:pt x="787" y="198"/>
                  </a:lnTo>
                  <a:lnTo>
                    <a:pt x="789" y="198"/>
                  </a:lnTo>
                  <a:lnTo>
                    <a:pt x="793" y="197"/>
                  </a:lnTo>
                  <a:lnTo>
                    <a:pt x="801" y="196"/>
                  </a:lnTo>
                  <a:lnTo>
                    <a:pt x="804" y="195"/>
                  </a:lnTo>
                  <a:lnTo>
                    <a:pt x="808" y="194"/>
                  </a:lnTo>
                  <a:lnTo>
                    <a:pt x="812" y="192"/>
                  </a:lnTo>
                  <a:lnTo>
                    <a:pt x="819" y="190"/>
                  </a:lnTo>
                  <a:lnTo>
                    <a:pt x="821" y="189"/>
                  </a:lnTo>
                  <a:lnTo>
                    <a:pt x="825" y="188"/>
                  </a:lnTo>
                  <a:lnTo>
                    <a:pt x="832" y="187"/>
                  </a:lnTo>
                  <a:lnTo>
                    <a:pt x="835" y="186"/>
                  </a:lnTo>
                  <a:lnTo>
                    <a:pt x="838" y="184"/>
                  </a:lnTo>
                  <a:lnTo>
                    <a:pt x="840" y="184"/>
                  </a:lnTo>
                  <a:lnTo>
                    <a:pt x="841" y="183"/>
                  </a:lnTo>
                  <a:lnTo>
                    <a:pt x="843" y="181"/>
                  </a:lnTo>
                  <a:lnTo>
                    <a:pt x="844" y="180"/>
                  </a:lnTo>
                  <a:lnTo>
                    <a:pt x="844" y="179"/>
                  </a:lnTo>
                  <a:lnTo>
                    <a:pt x="845" y="177"/>
                  </a:lnTo>
                  <a:lnTo>
                    <a:pt x="847" y="174"/>
                  </a:lnTo>
                  <a:lnTo>
                    <a:pt x="849" y="168"/>
                  </a:lnTo>
                  <a:lnTo>
                    <a:pt x="852" y="162"/>
                  </a:lnTo>
                  <a:lnTo>
                    <a:pt x="853" y="157"/>
                  </a:lnTo>
                  <a:lnTo>
                    <a:pt x="853" y="156"/>
                  </a:lnTo>
                  <a:lnTo>
                    <a:pt x="854" y="154"/>
                  </a:lnTo>
                  <a:lnTo>
                    <a:pt x="854" y="152"/>
                  </a:lnTo>
                  <a:lnTo>
                    <a:pt x="853" y="151"/>
                  </a:lnTo>
                  <a:lnTo>
                    <a:pt x="853" y="149"/>
                  </a:lnTo>
                  <a:lnTo>
                    <a:pt x="852" y="147"/>
                  </a:lnTo>
                  <a:lnTo>
                    <a:pt x="851" y="146"/>
                  </a:lnTo>
                  <a:lnTo>
                    <a:pt x="850" y="145"/>
                  </a:lnTo>
                  <a:lnTo>
                    <a:pt x="849" y="143"/>
                  </a:lnTo>
                  <a:lnTo>
                    <a:pt x="847" y="142"/>
                  </a:lnTo>
                  <a:lnTo>
                    <a:pt x="845" y="141"/>
                  </a:lnTo>
                  <a:lnTo>
                    <a:pt x="844" y="140"/>
                  </a:lnTo>
                  <a:lnTo>
                    <a:pt x="841" y="138"/>
                  </a:lnTo>
                  <a:lnTo>
                    <a:pt x="835" y="136"/>
                  </a:lnTo>
                  <a:lnTo>
                    <a:pt x="826" y="133"/>
                  </a:lnTo>
                  <a:lnTo>
                    <a:pt x="820" y="130"/>
                  </a:lnTo>
                  <a:lnTo>
                    <a:pt x="808" y="125"/>
                  </a:lnTo>
                  <a:lnTo>
                    <a:pt x="805" y="124"/>
                  </a:lnTo>
                  <a:lnTo>
                    <a:pt x="802" y="123"/>
                  </a:lnTo>
                  <a:lnTo>
                    <a:pt x="800" y="122"/>
                  </a:lnTo>
                  <a:lnTo>
                    <a:pt x="799" y="121"/>
                  </a:lnTo>
                  <a:lnTo>
                    <a:pt x="798" y="120"/>
                  </a:lnTo>
                  <a:lnTo>
                    <a:pt x="797" y="119"/>
                  </a:lnTo>
                  <a:lnTo>
                    <a:pt x="796" y="118"/>
                  </a:lnTo>
                  <a:lnTo>
                    <a:pt x="795" y="116"/>
                  </a:lnTo>
                  <a:lnTo>
                    <a:pt x="794" y="114"/>
                  </a:lnTo>
                  <a:lnTo>
                    <a:pt x="793" y="112"/>
                  </a:lnTo>
                  <a:lnTo>
                    <a:pt x="792" y="110"/>
                  </a:lnTo>
                  <a:lnTo>
                    <a:pt x="792" y="108"/>
                  </a:lnTo>
                  <a:lnTo>
                    <a:pt x="791" y="107"/>
                  </a:lnTo>
                  <a:lnTo>
                    <a:pt x="792" y="106"/>
                  </a:lnTo>
                  <a:lnTo>
                    <a:pt x="792" y="105"/>
                  </a:lnTo>
                  <a:lnTo>
                    <a:pt x="792" y="103"/>
                  </a:lnTo>
                  <a:lnTo>
                    <a:pt x="793" y="101"/>
                  </a:lnTo>
                  <a:lnTo>
                    <a:pt x="796" y="97"/>
                  </a:lnTo>
                  <a:lnTo>
                    <a:pt x="796" y="96"/>
                  </a:lnTo>
                  <a:lnTo>
                    <a:pt x="797" y="95"/>
                  </a:lnTo>
                  <a:lnTo>
                    <a:pt x="797" y="94"/>
                  </a:lnTo>
                  <a:lnTo>
                    <a:pt x="797" y="92"/>
                  </a:lnTo>
                  <a:lnTo>
                    <a:pt x="796" y="91"/>
                  </a:lnTo>
                  <a:lnTo>
                    <a:pt x="795" y="90"/>
                  </a:lnTo>
                  <a:lnTo>
                    <a:pt x="794" y="89"/>
                  </a:lnTo>
                  <a:lnTo>
                    <a:pt x="793" y="89"/>
                  </a:lnTo>
                  <a:lnTo>
                    <a:pt x="792" y="89"/>
                  </a:lnTo>
                  <a:lnTo>
                    <a:pt x="790" y="89"/>
                  </a:lnTo>
                  <a:lnTo>
                    <a:pt x="787" y="88"/>
                  </a:lnTo>
                  <a:lnTo>
                    <a:pt x="780" y="89"/>
                  </a:lnTo>
                  <a:lnTo>
                    <a:pt x="776" y="88"/>
                  </a:lnTo>
                  <a:lnTo>
                    <a:pt x="773" y="88"/>
                  </a:lnTo>
                  <a:lnTo>
                    <a:pt x="771" y="87"/>
                  </a:lnTo>
                  <a:lnTo>
                    <a:pt x="769" y="87"/>
                  </a:lnTo>
                  <a:lnTo>
                    <a:pt x="767" y="86"/>
                  </a:lnTo>
                  <a:lnTo>
                    <a:pt x="764" y="84"/>
                  </a:lnTo>
                  <a:lnTo>
                    <a:pt x="763" y="83"/>
                  </a:lnTo>
                  <a:lnTo>
                    <a:pt x="761" y="81"/>
                  </a:lnTo>
                  <a:lnTo>
                    <a:pt x="759" y="80"/>
                  </a:lnTo>
                  <a:lnTo>
                    <a:pt x="758" y="78"/>
                  </a:lnTo>
                  <a:lnTo>
                    <a:pt x="757" y="78"/>
                  </a:lnTo>
                  <a:lnTo>
                    <a:pt x="756" y="76"/>
                  </a:lnTo>
                  <a:lnTo>
                    <a:pt x="756" y="74"/>
                  </a:lnTo>
                  <a:lnTo>
                    <a:pt x="756" y="73"/>
                  </a:lnTo>
                  <a:lnTo>
                    <a:pt x="755" y="69"/>
                  </a:lnTo>
                  <a:lnTo>
                    <a:pt x="756" y="64"/>
                  </a:lnTo>
                  <a:lnTo>
                    <a:pt x="756" y="62"/>
                  </a:lnTo>
                  <a:lnTo>
                    <a:pt x="756" y="60"/>
                  </a:lnTo>
                  <a:lnTo>
                    <a:pt x="757" y="58"/>
                  </a:lnTo>
                  <a:lnTo>
                    <a:pt x="758" y="56"/>
                  </a:lnTo>
                  <a:lnTo>
                    <a:pt x="762" y="49"/>
                  </a:lnTo>
                  <a:lnTo>
                    <a:pt x="763" y="47"/>
                  </a:lnTo>
                  <a:lnTo>
                    <a:pt x="764" y="44"/>
                  </a:lnTo>
                  <a:lnTo>
                    <a:pt x="765" y="41"/>
                  </a:lnTo>
                  <a:lnTo>
                    <a:pt x="766" y="38"/>
                  </a:lnTo>
                  <a:lnTo>
                    <a:pt x="767" y="35"/>
                  </a:lnTo>
                  <a:lnTo>
                    <a:pt x="768" y="33"/>
                  </a:lnTo>
                  <a:lnTo>
                    <a:pt x="769" y="25"/>
                  </a:lnTo>
                  <a:lnTo>
                    <a:pt x="770" y="22"/>
                  </a:lnTo>
                  <a:lnTo>
                    <a:pt x="771" y="21"/>
                  </a:lnTo>
                  <a:lnTo>
                    <a:pt x="771" y="20"/>
                  </a:lnTo>
                  <a:lnTo>
                    <a:pt x="772" y="18"/>
                  </a:lnTo>
                  <a:lnTo>
                    <a:pt x="774" y="15"/>
                  </a:lnTo>
                  <a:lnTo>
                    <a:pt x="782" y="4"/>
                  </a:lnTo>
                  <a:lnTo>
                    <a:pt x="785" y="2"/>
                  </a:lnTo>
                  <a:lnTo>
                    <a:pt x="786" y="0"/>
                  </a:lnTo>
                  <a:lnTo>
                    <a:pt x="787" y="1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2" name="Freeform 95">
              <a:extLst>
                <a:ext uri="{FF2B5EF4-FFF2-40B4-BE49-F238E27FC236}">
                  <a16:creationId xmlns:a16="http://schemas.microsoft.com/office/drawing/2014/main" id="{53C99D53-18BD-4495-A883-7B22069D7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0" y="1017"/>
              <a:ext cx="961" cy="646"/>
            </a:xfrm>
            <a:custGeom>
              <a:avLst/>
              <a:gdLst>
                <a:gd name="T0" fmla="*/ 537 w 961"/>
                <a:gd name="T1" fmla="*/ 6 h 646"/>
                <a:gd name="T2" fmla="*/ 568 w 961"/>
                <a:gd name="T3" fmla="*/ 31 h 646"/>
                <a:gd name="T4" fmla="*/ 591 w 961"/>
                <a:gd name="T5" fmla="*/ 30 h 646"/>
                <a:gd name="T6" fmla="*/ 614 w 961"/>
                <a:gd name="T7" fmla="*/ 14 h 646"/>
                <a:gd name="T8" fmla="*/ 633 w 961"/>
                <a:gd name="T9" fmla="*/ 43 h 646"/>
                <a:gd name="T10" fmla="*/ 668 w 961"/>
                <a:gd name="T11" fmla="*/ 37 h 646"/>
                <a:gd name="T12" fmla="*/ 701 w 961"/>
                <a:gd name="T13" fmla="*/ 84 h 646"/>
                <a:gd name="T14" fmla="*/ 697 w 961"/>
                <a:gd name="T15" fmla="*/ 148 h 646"/>
                <a:gd name="T16" fmla="*/ 731 w 961"/>
                <a:gd name="T17" fmla="*/ 193 h 646"/>
                <a:gd name="T18" fmla="*/ 768 w 961"/>
                <a:gd name="T19" fmla="*/ 250 h 646"/>
                <a:gd name="T20" fmla="*/ 780 w 961"/>
                <a:gd name="T21" fmla="*/ 286 h 646"/>
                <a:gd name="T22" fmla="*/ 815 w 961"/>
                <a:gd name="T23" fmla="*/ 259 h 646"/>
                <a:gd name="T24" fmla="*/ 879 w 961"/>
                <a:gd name="T25" fmla="*/ 281 h 646"/>
                <a:gd name="T26" fmla="*/ 899 w 961"/>
                <a:gd name="T27" fmla="*/ 309 h 646"/>
                <a:gd name="T28" fmla="*/ 914 w 961"/>
                <a:gd name="T29" fmla="*/ 396 h 646"/>
                <a:gd name="T30" fmla="*/ 924 w 961"/>
                <a:gd name="T31" fmla="*/ 457 h 646"/>
                <a:gd name="T32" fmla="*/ 927 w 961"/>
                <a:gd name="T33" fmla="*/ 515 h 646"/>
                <a:gd name="T34" fmla="*/ 960 w 961"/>
                <a:gd name="T35" fmla="*/ 577 h 646"/>
                <a:gd name="T36" fmla="*/ 934 w 961"/>
                <a:gd name="T37" fmla="*/ 595 h 646"/>
                <a:gd name="T38" fmla="*/ 892 w 961"/>
                <a:gd name="T39" fmla="*/ 596 h 646"/>
                <a:gd name="T40" fmla="*/ 857 w 961"/>
                <a:gd name="T41" fmla="*/ 569 h 646"/>
                <a:gd name="T42" fmla="*/ 824 w 961"/>
                <a:gd name="T43" fmla="*/ 596 h 646"/>
                <a:gd name="T44" fmla="*/ 814 w 961"/>
                <a:gd name="T45" fmla="*/ 632 h 646"/>
                <a:gd name="T46" fmla="*/ 785 w 961"/>
                <a:gd name="T47" fmla="*/ 635 h 646"/>
                <a:gd name="T48" fmla="*/ 766 w 961"/>
                <a:gd name="T49" fmla="*/ 616 h 646"/>
                <a:gd name="T50" fmla="*/ 714 w 961"/>
                <a:gd name="T51" fmla="*/ 596 h 646"/>
                <a:gd name="T52" fmla="*/ 682 w 961"/>
                <a:gd name="T53" fmla="*/ 601 h 646"/>
                <a:gd name="T54" fmla="*/ 643 w 961"/>
                <a:gd name="T55" fmla="*/ 617 h 646"/>
                <a:gd name="T56" fmla="*/ 584 w 961"/>
                <a:gd name="T57" fmla="*/ 584 h 646"/>
                <a:gd name="T58" fmla="*/ 550 w 961"/>
                <a:gd name="T59" fmla="*/ 549 h 646"/>
                <a:gd name="T60" fmla="*/ 495 w 961"/>
                <a:gd name="T61" fmla="*/ 503 h 646"/>
                <a:gd name="T62" fmla="*/ 462 w 961"/>
                <a:gd name="T63" fmla="*/ 504 h 646"/>
                <a:gd name="T64" fmla="*/ 431 w 961"/>
                <a:gd name="T65" fmla="*/ 480 h 646"/>
                <a:gd name="T66" fmla="*/ 415 w 961"/>
                <a:gd name="T67" fmla="*/ 514 h 646"/>
                <a:gd name="T68" fmla="*/ 380 w 961"/>
                <a:gd name="T69" fmla="*/ 540 h 646"/>
                <a:gd name="T70" fmla="*/ 359 w 961"/>
                <a:gd name="T71" fmla="*/ 565 h 646"/>
                <a:gd name="T72" fmla="*/ 309 w 961"/>
                <a:gd name="T73" fmla="*/ 559 h 646"/>
                <a:gd name="T74" fmla="*/ 289 w 961"/>
                <a:gd name="T75" fmla="*/ 600 h 646"/>
                <a:gd name="T76" fmla="*/ 248 w 961"/>
                <a:gd name="T77" fmla="*/ 637 h 646"/>
                <a:gd name="T78" fmla="*/ 189 w 961"/>
                <a:gd name="T79" fmla="*/ 646 h 646"/>
                <a:gd name="T80" fmla="*/ 171 w 961"/>
                <a:gd name="T81" fmla="*/ 617 h 646"/>
                <a:gd name="T82" fmla="*/ 147 w 961"/>
                <a:gd name="T83" fmla="*/ 616 h 646"/>
                <a:gd name="T84" fmla="*/ 111 w 961"/>
                <a:gd name="T85" fmla="*/ 616 h 646"/>
                <a:gd name="T86" fmla="*/ 93 w 961"/>
                <a:gd name="T87" fmla="*/ 595 h 646"/>
                <a:gd name="T88" fmla="*/ 47 w 961"/>
                <a:gd name="T89" fmla="*/ 531 h 646"/>
                <a:gd name="T90" fmla="*/ 12 w 961"/>
                <a:gd name="T91" fmla="*/ 463 h 646"/>
                <a:gd name="T92" fmla="*/ 2 w 961"/>
                <a:gd name="T93" fmla="*/ 415 h 646"/>
                <a:gd name="T94" fmla="*/ 22 w 961"/>
                <a:gd name="T95" fmla="*/ 364 h 646"/>
                <a:gd name="T96" fmla="*/ 55 w 961"/>
                <a:gd name="T97" fmla="*/ 334 h 646"/>
                <a:gd name="T98" fmla="*/ 73 w 961"/>
                <a:gd name="T99" fmla="*/ 293 h 646"/>
                <a:gd name="T100" fmla="*/ 80 w 961"/>
                <a:gd name="T101" fmla="*/ 250 h 646"/>
                <a:gd name="T102" fmla="*/ 129 w 961"/>
                <a:gd name="T103" fmla="*/ 263 h 646"/>
                <a:gd name="T104" fmla="*/ 157 w 961"/>
                <a:gd name="T105" fmla="*/ 257 h 646"/>
                <a:gd name="T106" fmla="*/ 188 w 961"/>
                <a:gd name="T107" fmla="*/ 210 h 646"/>
                <a:gd name="T108" fmla="*/ 264 w 961"/>
                <a:gd name="T109" fmla="*/ 218 h 646"/>
                <a:gd name="T110" fmla="*/ 317 w 961"/>
                <a:gd name="T111" fmla="*/ 238 h 646"/>
                <a:gd name="T112" fmla="*/ 352 w 961"/>
                <a:gd name="T113" fmla="*/ 199 h 646"/>
                <a:gd name="T114" fmla="*/ 400 w 961"/>
                <a:gd name="T115" fmla="*/ 177 h 646"/>
                <a:gd name="T116" fmla="*/ 465 w 961"/>
                <a:gd name="T117" fmla="*/ 185 h 646"/>
                <a:gd name="T118" fmla="*/ 488 w 961"/>
                <a:gd name="T119" fmla="*/ 167 h 646"/>
                <a:gd name="T120" fmla="*/ 499 w 961"/>
                <a:gd name="T121" fmla="*/ 83 h 646"/>
                <a:gd name="T122" fmla="*/ 483 w 961"/>
                <a:gd name="T123" fmla="*/ 47 h 646"/>
                <a:gd name="T124" fmla="*/ 476 w 961"/>
                <a:gd name="T125" fmla="*/ 25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61" h="646">
                  <a:moveTo>
                    <a:pt x="506" y="0"/>
                  </a:moveTo>
                  <a:lnTo>
                    <a:pt x="506" y="1"/>
                  </a:lnTo>
                  <a:lnTo>
                    <a:pt x="513" y="4"/>
                  </a:lnTo>
                  <a:lnTo>
                    <a:pt x="515" y="5"/>
                  </a:lnTo>
                  <a:lnTo>
                    <a:pt x="517" y="7"/>
                  </a:lnTo>
                  <a:lnTo>
                    <a:pt x="519" y="7"/>
                  </a:lnTo>
                  <a:lnTo>
                    <a:pt x="521" y="8"/>
                  </a:lnTo>
                  <a:lnTo>
                    <a:pt x="523" y="8"/>
                  </a:lnTo>
                  <a:lnTo>
                    <a:pt x="525" y="8"/>
                  </a:lnTo>
                  <a:lnTo>
                    <a:pt x="527" y="8"/>
                  </a:lnTo>
                  <a:lnTo>
                    <a:pt x="528" y="8"/>
                  </a:lnTo>
                  <a:lnTo>
                    <a:pt x="529" y="8"/>
                  </a:lnTo>
                  <a:lnTo>
                    <a:pt x="534" y="6"/>
                  </a:lnTo>
                  <a:lnTo>
                    <a:pt x="535" y="6"/>
                  </a:lnTo>
                  <a:lnTo>
                    <a:pt x="537" y="6"/>
                  </a:lnTo>
                  <a:lnTo>
                    <a:pt x="540" y="6"/>
                  </a:lnTo>
                  <a:lnTo>
                    <a:pt x="541" y="6"/>
                  </a:lnTo>
                  <a:lnTo>
                    <a:pt x="546" y="8"/>
                  </a:lnTo>
                  <a:lnTo>
                    <a:pt x="555" y="11"/>
                  </a:lnTo>
                  <a:lnTo>
                    <a:pt x="559" y="13"/>
                  </a:lnTo>
                  <a:lnTo>
                    <a:pt x="561" y="14"/>
                  </a:lnTo>
                  <a:lnTo>
                    <a:pt x="563" y="14"/>
                  </a:lnTo>
                  <a:lnTo>
                    <a:pt x="563" y="16"/>
                  </a:lnTo>
                  <a:lnTo>
                    <a:pt x="564" y="17"/>
                  </a:lnTo>
                  <a:lnTo>
                    <a:pt x="565" y="18"/>
                  </a:lnTo>
                  <a:lnTo>
                    <a:pt x="565" y="20"/>
                  </a:lnTo>
                  <a:lnTo>
                    <a:pt x="565" y="24"/>
                  </a:lnTo>
                  <a:lnTo>
                    <a:pt x="566" y="26"/>
                  </a:lnTo>
                  <a:lnTo>
                    <a:pt x="566" y="28"/>
                  </a:lnTo>
                  <a:lnTo>
                    <a:pt x="568" y="31"/>
                  </a:lnTo>
                  <a:lnTo>
                    <a:pt x="569" y="32"/>
                  </a:lnTo>
                  <a:lnTo>
                    <a:pt x="571" y="34"/>
                  </a:lnTo>
                  <a:lnTo>
                    <a:pt x="573" y="35"/>
                  </a:lnTo>
                  <a:lnTo>
                    <a:pt x="574" y="35"/>
                  </a:lnTo>
                  <a:lnTo>
                    <a:pt x="576" y="36"/>
                  </a:lnTo>
                  <a:lnTo>
                    <a:pt x="579" y="36"/>
                  </a:lnTo>
                  <a:lnTo>
                    <a:pt x="581" y="36"/>
                  </a:lnTo>
                  <a:lnTo>
                    <a:pt x="583" y="36"/>
                  </a:lnTo>
                  <a:lnTo>
                    <a:pt x="585" y="36"/>
                  </a:lnTo>
                  <a:lnTo>
                    <a:pt x="586" y="36"/>
                  </a:lnTo>
                  <a:lnTo>
                    <a:pt x="587" y="35"/>
                  </a:lnTo>
                  <a:lnTo>
                    <a:pt x="588" y="34"/>
                  </a:lnTo>
                  <a:lnTo>
                    <a:pt x="589" y="33"/>
                  </a:lnTo>
                  <a:lnTo>
                    <a:pt x="590" y="32"/>
                  </a:lnTo>
                  <a:lnTo>
                    <a:pt x="591" y="30"/>
                  </a:lnTo>
                  <a:lnTo>
                    <a:pt x="594" y="26"/>
                  </a:lnTo>
                  <a:lnTo>
                    <a:pt x="596" y="23"/>
                  </a:lnTo>
                  <a:lnTo>
                    <a:pt x="597" y="19"/>
                  </a:lnTo>
                  <a:lnTo>
                    <a:pt x="600" y="17"/>
                  </a:lnTo>
                  <a:lnTo>
                    <a:pt x="601" y="16"/>
                  </a:lnTo>
                  <a:lnTo>
                    <a:pt x="602" y="15"/>
                  </a:lnTo>
                  <a:lnTo>
                    <a:pt x="604" y="14"/>
                  </a:lnTo>
                  <a:lnTo>
                    <a:pt x="605" y="14"/>
                  </a:lnTo>
                  <a:lnTo>
                    <a:pt x="606" y="14"/>
                  </a:lnTo>
                  <a:lnTo>
                    <a:pt x="608" y="13"/>
                  </a:lnTo>
                  <a:lnTo>
                    <a:pt x="608" y="13"/>
                  </a:lnTo>
                  <a:lnTo>
                    <a:pt x="610" y="13"/>
                  </a:lnTo>
                  <a:lnTo>
                    <a:pt x="612" y="13"/>
                  </a:lnTo>
                  <a:lnTo>
                    <a:pt x="613" y="14"/>
                  </a:lnTo>
                  <a:lnTo>
                    <a:pt x="614" y="14"/>
                  </a:lnTo>
                  <a:lnTo>
                    <a:pt x="615" y="14"/>
                  </a:lnTo>
                  <a:lnTo>
                    <a:pt x="616" y="16"/>
                  </a:lnTo>
                  <a:lnTo>
                    <a:pt x="617" y="18"/>
                  </a:lnTo>
                  <a:lnTo>
                    <a:pt x="618" y="21"/>
                  </a:lnTo>
                  <a:lnTo>
                    <a:pt x="619" y="24"/>
                  </a:lnTo>
                  <a:lnTo>
                    <a:pt x="621" y="33"/>
                  </a:lnTo>
                  <a:lnTo>
                    <a:pt x="622" y="35"/>
                  </a:lnTo>
                  <a:lnTo>
                    <a:pt x="623" y="37"/>
                  </a:lnTo>
                  <a:lnTo>
                    <a:pt x="624" y="38"/>
                  </a:lnTo>
                  <a:lnTo>
                    <a:pt x="626" y="40"/>
                  </a:lnTo>
                  <a:lnTo>
                    <a:pt x="627" y="41"/>
                  </a:lnTo>
                  <a:lnTo>
                    <a:pt x="629" y="42"/>
                  </a:lnTo>
                  <a:lnTo>
                    <a:pt x="631" y="43"/>
                  </a:lnTo>
                  <a:lnTo>
                    <a:pt x="631" y="43"/>
                  </a:lnTo>
                  <a:lnTo>
                    <a:pt x="633" y="43"/>
                  </a:lnTo>
                  <a:lnTo>
                    <a:pt x="635" y="42"/>
                  </a:lnTo>
                  <a:lnTo>
                    <a:pt x="636" y="42"/>
                  </a:lnTo>
                  <a:lnTo>
                    <a:pt x="643" y="39"/>
                  </a:lnTo>
                  <a:lnTo>
                    <a:pt x="645" y="37"/>
                  </a:lnTo>
                  <a:lnTo>
                    <a:pt x="652" y="36"/>
                  </a:lnTo>
                  <a:lnTo>
                    <a:pt x="654" y="35"/>
                  </a:lnTo>
                  <a:lnTo>
                    <a:pt x="656" y="35"/>
                  </a:lnTo>
                  <a:lnTo>
                    <a:pt x="659" y="34"/>
                  </a:lnTo>
                  <a:lnTo>
                    <a:pt x="661" y="34"/>
                  </a:lnTo>
                  <a:lnTo>
                    <a:pt x="662" y="34"/>
                  </a:lnTo>
                  <a:lnTo>
                    <a:pt x="664" y="35"/>
                  </a:lnTo>
                  <a:lnTo>
                    <a:pt x="665" y="35"/>
                  </a:lnTo>
                  <a:lnTo>
                    <a:pt x="665" y="36"/>
                  </a:lnTo>
                  <a:lnTo>
                    <a:pt x="666" y="36"/>
                  </a:lnTo>
                  <a:lnTo>
                    <a:pt x="668" y="37"/>
                  </a:lnTo>
                  <a:lnTo>
                    <a:pt x="673" y="42"/>
                  </a:lnTo>
                  <a:lnTo>
                    <a:pt x="676" y="45"/>
                  </a:lnTo>
                  <a:lnTo>
                    <a:pt x="678" y="47"/>
                  </a:lnTo>
                  <a:lnTo>
                    <a:pt x="684" y="50"/>
                  </a:lnTo>
                  <a:lnTo>
                    <a:pt x="687" y="52"/>
                  </a:lnTo>
                  <a:lnTo>
                    <a:pt x="689" y="54"/>
                  </a:lnTo>
                  <a:lnTo>
                    <a:pt x="691" y="56"/>
                  </a:lnTo>
                  <a:lnTo>
                    <a:pt x="692" y="58"/>
                  </a:lnTo>
                  <a:lnTo>
                    <a:pt x="693" y="60"/>
                  </a:lnTo>
                  <a:lnTo>
                    <a:pt x="695" y="62"/>
                  </a:lnTo>
                  <a:lnTo>
                    <a:pt x="699" y="73"/>
                  </a:lnTo>
                  <a:lnTo>
                    <a:pt x="700" y="77"/>
                  </a:lnTo>
                  <a:lnTo>
                    <a:pt x="701" y="80"/>
                  </a:lnTo>
                  <a:lnTo>
                    <a:pt x="701" y="82"/>
                  </a:lnTo>
                  <a:lnTo>
                    <a:pt x="701" y="84"/>
                  </a:lnTo>
                  <a:lnTo>
                    <a:pt x="701" y="87"/>
                  </a:lnTo>
                  <a:lnTo>
                    <a:pt x="700" y="89"/>
                  </a:lnTo>
                  <a:lnTo>
                    <a:pt x="699" y="92"/>
                  </a:lnTo>
                  <a:lnTo>
                    <a:pt x="695" y="103"/>
                  </a:lnTo>
                  <a:lnTo>
                    <a:pt x="694" y="107"/>
                  </a:lnTo>
                  <a:lnTo>
                    <a:pt x="693" y="110"/>
                  </a:lnTo>
                  <a:lnTo>
                    <a:pt x="693" y="114"/>
                  </a:lnTo>
                  <a:lnTo>
                    <a:pt x="692" y="117"/>
                  </a:lnTo>
                  <a:lnTo>
                    <a:pt x="692" y="121"/>
                  </a:lnTo>
                  <a:lnTo>
                    <a:pt x="692" y="125"/>
                  </a:lnTo>
                  <a:lnTo>
                    <a:pt x="693" y="128"/>
                  </a:lnTo>
                  <a:lnTo>
                    <a:pt x="693" y="133"/>
                  </a:lnTo>
                  <a:lnTo>
                    <a:pt x="694" y="138"/>
                  </a:lnTo>
                  <a:lnTo>
                    <a:pt x="696" y="142"/>
                  </a:lnTo>
                  <a:lnTo>
                    <a:pt x="697" y="148"/>
                  </a:lnTo>
                  <a:lnTo>
                    <a:pt x="699" y="152"/>
                  </a:lnTo>
                  <a:lnTo>
                    <a:pt x="699" y="156"/>
                  </a:lnTo>
                  <a:lnTo>
                    <a:pt x="701" y="160"/>
                  </a:lnTo>
                  <a:lnTo>
                    <a:pt x="704" y="164"/>
                  </a:lnTo>
                  <a:lnTo>
                    <a:pt x="707" y="170"/>
                  </a:lnTo>
                  <a:lnTo>
                    <a:pt x="710" y="173"/>
                  </a:lnTo>
                  <a:lnTo>
                    <a:pt x="712" y="177"/>
                  </a:lnTo>
                  <a:lnTo>
                    <a:pt x="715" y="180"/>
                  </a:lnTo>
                  <a:lnTo>
                    <a:pt x="718" y="184"/>
                  </a:lnTo>
                  <a:lnTo>
                    <a:pt x="720" y="185"/>
                  </a:lnTo>
                  <a:lnTo>
                    <a:pt x="722" y="187"/>
                  </a:lnTo>
                  <a:lnTo>
                    <a:pt x="723" y="188"/>
                  </a:lnTo>
                  <a:lnTo>
                    <a:pt x="725" y="190"/>
                  </a:lnTo>
                  <a:lnTo>
                    <a:pt x="728" y="191"/>
                  </a:lnTo>
                  <a:lnTo>
                    <a:pt x="731" y="193"/>
                  </a:lnTo>
                  <a:lnTo>
                    <a:pt x="734" y="195"/>
                  </a:lnTo>
                  <a:lnTo>
                    <a:pt x="743" y="198"/>
                  </a:lnTo>
                  <a:lnTo>
                    <a:pt x="745" y="199"/>
                  </a:lnTo>
                  <a:lnTo>
                    <a:pt x="749" y="201"/>
                  </a:lnTo>
                  <a:lnTo>
                    <a:pt x="752" y="204"/>
                  </a:lnTo>
                  <a:lnTo>
                    <a:pt x="755" y="207"/>
                  </a:lnTo>
                  <a:lnTo>
                    <a:pt x="757" y="209"/>
                  </a:lnTo>
                  <a:lnTo>
                    <a:pt x="759" y="213"/>
                  </a:lnTo>
                  <a:lnTo>
                    <a:pt x="762" y="218"/>
                  </a:lnTo>
                  <a:lnTo>
                    <a:pt x="764" y="222"/>
                  </a:lnTo>
                  <a:lnTo>
                    <a:pt x="765" y="227"/>
                  </a:lnTo>
                  <a:lnTo>
                    <a:pt x="767" y="232"/>
                  </a:lnTo>
                  <a:lnTo>
                    <a:pt x="768" y="237"/>
                  </a:lnTo>
                  <a:lnTo>
                    <a:pt x="768" y="241"/>
                  </a:lnTo>
                  <a:lnTo>
                    <a:pt x="768" y="250"/>
                  </a:lnTo>
                  <a:lnTo>
                    <a:pt x="768" y="261"/>
                  </a:lnTo>
                  <a:lnTo>
                    <a:pt x="768" y="263"/>
                  </a:lnTo>
                  <a:lnTo>
                    <a:pt x="768" y="266"/>
                  </a:lnTo>
                  <a:lnTo>
                    <a:pt x="769" y="272"/>
                  </a:lnTo>
                  <a:lnTo>
                    <a:pt x="769" y="275"/>
                  </a:lnTo>
                  <a:lnTo>
                    <a:pt x="770" y="277"/>
                  </a:lnTo>
                  <a:lnTo>
                    <a:pt x="771" y="279"/>
                  </a:lnTo>
                  <a:lnTo>
                    <a:pt x="771" y="280"/>
                  </a:lnTo>
                  <a:lnTo>
                    <a:pt x="772" y="282"/>
                  </a:lnTo>
                  <a:lnTo>
                    <a:pt x="773" y="283"/>
                  </a:lnTo>
                  <a:lnTo>
                    <a:pt x="774" y="284"/>
                  </a:lnTo>
                  <a:lnTo>
                    <a:pt x="776" y="285"/>
                  </a:lnTo>
                  <a:lnTo>
                    <a:pt x="778" y="286"/>
                  </a:lnTo>
                  <a:lnTo>
                    <a:pt x="779" y="286"/>
                  </a:lnTo>
                  <a:lnTo>
                    <a:pt x="780" y="286"/>
                  </a:lnTo>
                  <a:lnTo>
                    <a:pt x="782" y="286"/>
                  </a:lnTo>
                  <a:lnTo>
                    <a:pt x="784" y="285"/>
                  </a:lnTo>
                  <a:lnTo>
                    <a:pt x="785" y="284"/>
                  </a:lnTo>
                  <a:lnTo>
                    <a:pt x="787" y="283"/>
                  </a:lnTo>
                  <a:lnTo>
                    <a:pt x="789" y="282"/>
                  </a:lnTo>
                  <a:lnTo>
                    <a:pt x="790" y="281"/>
                  </a:lnTo>
                  <a:lnTo>
                    <a:pt x="792" y="279"/>
                  </a:lnTo>
                  <a:lnTo>
                    <a:pt x="796" y="275"/>
                  </a:lnTo>
                  <a:lnTo>
                    <a:pt x="804" y="266"/>
                  </a:lnTo>
                  <a:lnTo>
                    <a:pt x="807" y="263"/>
                  </a:lnTo>
                  <a:lnTo>
                    <a:pt x="810" y="262"/>
                  </a:lnTo>
                  <a:lnTo>
                    <a:pt x="811" y="261"/>
                  </a:lnTo>
                  <a:lnTo>
                    <a:pt x="813" y="261"/>
                  </a:lnTo>
                  <a:lnTo>
                    <a:pt x="814" y="260"/>
                  </a:lnTo>
                  <a:lnTo>
                    <a:pt x="815" y="259"/>
                  </a:lnTo>
                  <a:lnTo>
                    <a:pt x="817" y="259"/>
                  </a:lnTo>
                  <a:lnTo>
                    <a:pt x="819" y="259"/>
                  </a:lnTo>
                  <a:lnTo>
                    <a:pt x="821" y="258"/>
                  </a:lnTo>
                  <a:lnTo>
                    <a:pt x="822" y="258"/>
                  </a:lnTo>
                  <a:lnTo>
                    <a:pt x="824" y="259"/>
                  </a:lnTo>
                  <a:lnTo>
                    <a:pt x="828" y="259"/>
                  </a:lnTo>
                  <a:lnTo>
                    <a:pt x="832" y="261"/>
                  </a:lnTo>
                  <a:lnTo>
                    <a:pt x="836" y="263"/>
                  </a:lnTo>
                  <a:lnTo>
                    <a:pt x="841" y="264"/>
                  </a:lnTo>
                  <a:lnTo>
                    <a:pt x="849" y="269"/>
                  </a:lnTo>
                  <a:lnTo>
                    <a:pt x="855" y="271"/>
                  </a:lnTo>
                  <a:lnTo>
                    <a:pt x="860" y="274"/>
                  </a:lnTo>
                  <a:lnTo>
                    <a:pt x="871" y="278"/>
                  </a:lnTo>
                  <a:lnTo>
                    <a:pt x="875" y="280"/>
                  </a:lnTo>
                  <a:lnTo>
                    <a:pt x="879" y="281"/>
                  </a:lnTo>
                  <a:lnTo>
                    <a:pt x="886" y="286"/>
                  </a:lnTo>
                  <a:lnTo>
                    <a:pt x="888" y="286"/>
                  </a:lnTo>
                  <a:lnTo>
                    <a:pt x="889" y="286"/>
                  </a:lnTo>
                  <a:lnTo>
                    <a:pt x="890" y="287"/>
                  </a:lnTo>
                  <a:lnTo>
                    <a:pt x="891" y="287"/>
                  </a:lnTo>
                  <a:lnTo>
                    <a:pt x="891" y="286"/>
                  </a:lnTo>
                  <a:lnTo>
                    <a:pt x="891" y="287"/>
                  </a:lnTo>
                  <a:lnTo>
                    <a:pt x="891" y="288"/>
                  </a:lnTo>
                  <a:lnTo>
                    <a:pt x="891" y="289"/>
                  </a:lnTo>
                  <a:lnTo>
                    <a:pt x="892" y="292"/>
                  </a:lnTo>
                  <a:lnTo>
                    <a:pt x="892" y="294"/>
                  </a:lnTo>
                  <a:lnTo>
                    <a:pt x="893" y="297"/>
                  </a:lnTo>
                  <a:lnTo>
                    <a:pt x="894" y="301"/>
                  </a:lnTo>
                  <a:lnTo>
                    <a:pt x="897" y="306"/>
                  </a:lnTo>
                  <a:lnTo>
                    <a:pt x="899" y="309"/>
                  </a:lnTo>
                  <a:lnTo>
                    <a:pt x="902" y="313"/>
                  </a:lnTo>
                  <a:lnTo>
                    <a:pt x="908" y="322"/>
                  </a:lnTo>
                  <a:lnTo>
                    <a:pt x="911" y="328"/>
                  </a:lnTo>
                  <a:lnTo>
                    <a:pt x="913" y="331"/>
                  </a:lnTo>
                  <a:lnTo>
                    <a:pt x="914" y="333"/>
                  </a:lnTo>
                  <a:lnTo>
                    <a:pt x="915" y="335"/>
                  </a:lnTo>
                  <a:lnTo>
                    <a:pt x="915" y="337"/>
                  </a:lnTo>
                  <a:lnTo>
                    <a:pt x="915" y="341"/>
                  </a:lnTo>
                  <a:lnTo>
                    <a:pt x="915" y="344"/>
                  </a:lnTo>
                  <a:lnTo>
                    <a:pt x="915" y="348"/>
                  </a:lnTo>
                  <a:lnTo>
                    <a:pt x="914" y="358"/>
                  </a:lnTo>
                  <a:lnTo>
                    <a:pt x="913" y="362"/>
                  </a:lnTo>
                  <a:lnTo>
                    <a:pt x="913" y="365"/>
                  </a:lnTo>
                  <a:lnTo>
                    <a:pt x="914" y="378"/>
                  </a:lnTo>
                  <a:lnTo>
                    <a:pt x="914" y="396"/>
                  </a:lnTo>
                  <a:lnTo>
                    <a:pt x="915" y="399"/>
                  </a:lnTo>
                  <a:lnTo>
                    <a:pt x="915" y="403"/>
                  </a:lnTo>
                  <a:lnTo>
                    <a:pt x="915" y="409"/>
                  </a:lnTo>
                  <a:lnTo>
                    <a:pt x="917" y="415"/>
                  </a:lnTo>
                  <a:lnTo>
                    <a:pt x="918" y="422"/>
                  </a:lnTo>
                  <a:lnTo>
                    <a:pt x="921" y="431"/>
                  </a:lnTo>
                  <a:lnTo>
                    <a:pt x="922" y="434"/>
                  </a:lnTo>
                  <a:lnTo>
                    <a:pt x="922" y="436"/>
                  </a:lnTo>
                  <a:lnTo>
                    <a:pt x="922" y="439"/>
                  </a:lnTo>
                  <a:lnTo>
                    <a:pt x="922" y="445"/>
                  </a:lnTo>
                  <a:lnTo>
                    <a:pt x="922" y="448"/>
                  </a:lnTo>
                  <a:lnTo>
                    <a:pt x="922" y="451"/>
                  </a:lnTo>
                  <a:lnTo>
                    <a:pt x="922" y="453"/>
                  </a:lnTo>
                  <a:lnTo>
                    <a:pt x="923" y="456"/>
                  </a:lnTo>
                  <a:lnTo>
                    <a:pt x="924" y="457"/>
                  </a:lnTo>
                  <a:lnTo>
                    <a:pt x="929" y="468"/>
                  </a:lnTo>
                  <a:lnTo>
                    <a:pt x="932" y="474"/>
                  </a:lnTo>
                  <a:lnTo>
                    <a:pt x="933" y="477"/>
                  </a:lnTo>
                  <a:lnTo>
                    <a:pt x="934" y="479"/>
                  </a:lnTo>
                  <a:lnTo>
                    <a:pt x="934" y="480"/>
                  </a:lnTo>
                  <a:lnTo>
                    <a:pt x="935" y="482"/>
                  </a:lnTo>
                  <a:lnTo>
                    <a:pt x="935" y="483"/>
                  </a:lnTo>
                  <a:lnTo>
                    <a:pt x="934" y="485"/>
                  </a:lnTo>
                  <a:lnTo>
                    <a:pt x="934" y="488"/>
                  </a:lnTo>
                  <a:lnTo>
                    <a:pt x="933" y="490"/>
                  </a:lnTo>
                  <a:lnTo>
                    <a:pt x="930" y="501"/>
                  </a:lnTo>
                  <a:lnTo>
                    <a:pt x="928" y="505"/>
                  </a:lnTo>
                  <a:lnTo>
                    <a:pt x="927" y="510"/>
                  </a:lnTo>
                  <a:lnTo>
                    <a:pt x="927" y="513"/>
                  </a:lnTo>
                  <a:lnTo>
                    <a:pt x="927" y="515"/>
                  </a:lnTo>
                  <a:lnTo>
                    <a:pt x="927" y="518"/>
                  </a:lnTo>
                  <a:lnTo>
                    <a:pt x="927" y="520"/>
                  </a:lnTo>
                  <a:lnTo>
                    <a:pt x="927" y="522"/>
                  </a:lnTo>
                  <a:lnTo>
                    <a:pt x="928" y="524"/>
                  </a:lnTo>
                  <a:lnTo>
                    <a:pt x="932" y="531"/>
                  </a:lnTo>
                  <a:lnTo>
                    <a:pt x="935" y="537"/>
                  </a:lnTo>
                  <a:lnTo>
                    <a:pt x="940" y="547"/>
                  </a:lnTo>
                  <a:lnTo>
                    <a:pt x="941" y="549"/>
                  </a:lnTo>
                  <a:lnTo>
                    <a:pt x="946" y="555"/>
                  </a:lnTo>
                  <a:lnTo>
                    <a:pt x="952" y="563"/>
                  </a:lnTo>
                  <a:lnTo>
                    <a:pt x="956" y="569"/>
                  </a:lnTo>
                  <a:lnTo>
                    <a:pt x="958" y="571"/>
                  </a:lnTo>
                  <a:lnTo>
                    <a:pt x="959" y="573"/>
                  </a:lnTo>
                  <a:lnTo>
                    <a:pt x="959" y="575"/>
                  </a:lnTo>
                  <a:lnTo>
                    <a:pt x="960" y="577"/>
                  </a:lnTo>
                  <a:lnTo>
                    <a:pt x="960" y="579"/>
                  </a:lnTo>
                  <a:lnTo>
                    <a:pt x="961" y="581"/>
                  </a:lnTo>
                  <a:lnTo>
                    <a:pt x="960" y="583"/>
                  </a:lnTo>
                  <a:lnTo>
                    <a:pt x="960" y="584"/>
                  </a:lnTo>
                  <a:lnTo>
                    <a:pt x="959" y="586"/>
                  </a:lnTo>
                  <a:lnTo>
                    <a:pt x="958" y="587"/>
                  </a:lnTo>
                  <a:lnTo>
                    <a:pt x="957" y="588"/>
                  </a:lnTo>
                  <a:lnTo>
                    <a:pt x="955" y="589"/>
                  </a:lnTo>
                  <a:lnTo>
                    <a:pt x="953" y="591"/>
                  </a:lnTo>
                  <a:lnTo>
                    <a:pt x="951" y="592"/>
                  </a:lnTo>
                  <a:lnTo>
                    <a:pt x="948" y="592"/>
                  </a:lnTo>
                  <a:lnTo>
                    <a:pt x="943" y="594"/>
                  </a:lnTo>
                  <a:lnTo>
                    <a:pt x="941" y="594"/>
                  </a:lnTo>
                  <a:lnTo>
                    <a:pt x="938" y="595"/>
                  </a:lnTo>
                  <a:lnTo>
                    <a:pt x="934" y="595"/>
                  </a:lnTo>
                  <a:lnTo>
                    <a:pt x="933" y="595"/>
                  </a:lnTo>
                  <a:lnTo>
                    <a:pt x="932" y="595"/>
                  </a:lnTo>
                  <a:lnTo>
                    <a:pt x="929" y="595"/>
                  </a:lnTo>
                  <a:lnTo>
                    <a:pt x="926" y="593"/>
                  </a:lnTo>
                  <a:lnTo>
                    <a:pt x="922" y="592"/>
                  </a:lnTo>
                  <a:lnTo>
                    <a:pt x="918" y="592"/>
                  </a:lnTo>
                  <a:lnTo>
                    <a:pt x="915" y="592"/>
                  </a:lnTo>
                  <a:lnTo>
                    <a:pt x="914" y="592"/>
                  </a:lnTo>
                  <a:lnTo>
                    <a:pt x="911" y="592"/>
                  </a:lnTo>
                  <a:lnTo>
                    <a:pt x="907" y="593"/>
                  </a:lnTo>
                  <a:lnTo>
                    <a:pt x="900" y="595"/>
                  </a:lnTo>
                  <a:lnTo>
                    <a:pt x="897" y="596"/>
                  </a:lnTo>
                  <a:lnTo>
                    <a:pt x="895" y="596"/>
                  </a:lnTo>
                  <a:lnTo>
                    <a:pt x="893" y="596"/>
                  </a:lnTo>
                  <a:lnTo>
                    <a:pt x="892" y="596"/>
                  </a:lnTo>
                  <a:lnTo>
                    <a:pt x="891" y="596"/>
                  </a:lnTo>
                  <a:lnTo>
                    <a:pt x="887" y="595"/>
                  </a:lnTo>
                  <a:lnTo>
                    <a:pt x="884" y="594"/>
                  </a:lnTo>
                  <a:lnTo>
                    <a:pt x="881" y="592"/>
                  </a:lnTo>
                  <a:lnTo>
                    <a:pt x="878" y="591"/>
                  </a:lnTo>
                  <a:lnTo>
                    <a:pt x="876" y="590"/>
                  </a:lnTo>
                  <a:lnTo>
                    <a:pt x="874" y="588"/>
                  </a:lnTo>
                  <a:lnTo>
                    <a:pt x="872" y="586"/>
                  </a:lnTo>
                  <a:lnTo>
                    <a:pt x="870" y="583"/>
                  </a:lnTo>
                  <a:lnTo>
                    <a:pt x="867" y="580"/>
                  </a:lnTo>
                  <a:lnTo>
                    <a:pt x="863" y="573"/>
                  </a:lnTo>
                  <a:lnTo>
                    <a:pt x="862" y="572"/>
                  </a:lnTo>
                  <a:lnTo>
                    <a:pt x="860" y="571"/>
                  </a:lnTo>
                  <a:lnTo>
                    <a:pt x="859" y="569"/>
                  </a:lnTo>
                  <a:lnTo>
                    <a:pt x="857" y="569"/>
                  </a:lnTo>
                  <a:lnTo>
                    <a:pt x="855" y="569"/>
                  </a:lnTo>
                  <a:lnTo>
                    <a:pt x="854" y="569"/>
                  </a:lnTo>
                  <a:lnTo>
                    <a:pt x="853" y="569"/>
                  </a:lnTo>
                  <a:lnTo>
                    <a:pt x="852" y="569"/>
                  </a:lnTo>
                  <a:lnTo>
                    <a:pt x="851" y="569"/>
                  </a:lnTo>
                  <a:lnTo>
                    <a:pt x="850" y="571"/>
                  </a:lnTo>
                  <a:lnTo>
                    <a:pt x="848" y="574"/>
                  </a:lnTo>
                  <a:lnTo>
                    <a:pt x="847" y="575"/>
                  </a:lnTo>
                  <a:lnTo>
                    <a:pt x="841" y="580"/>
                  </a:lnTo>
                  <a:lnTo>
                    <a:pt x="836" y="584"/>
                  </a:lnTo>
                  <a:lnTo>
                    <a:pt x="831" y="589"/>
                  </a:lnTo>
                  <a:lnTo>
                    <a:pt x="828" y="591"/>
                  </a:lnTo>
                  <a:lnTo>
                    <a:pt x="826" y="592"/>
                  </a:lnTo>
                  <a:lnTo>
                    <a:pt x="825" y="594"/>
                  </a:lnTo>
                  <a:lnTo>
                    <a:pt x="824" y="596"/>
                  </a:lnTo>
                  <a:lnTo>
                    <a:pt x="824" y="598"/>
                  </a:lnTo>
                  <a:lnTo>
                    <a:pt x="824" y="600"/>
                  </a:lnTo>
                  <a:lnTo>
                    <a:pt x="824" y="603"/>
                  </a:lnTo>
                  <a:lnTo>
                    <a:pt x="824" y="604"/>
                  </a:lnTo>
                  <a:lnTo>
                    <a:pt x="824" y="607"/>
                  </a:lnTo>
                  <a:lnTo>
                    <a:pt x="825" y="615"/>
                  </a:lnTo>
                  <a:lnTo>
                    <a:pt x="825" y="617"/>
                  </a:lnTo>
                  <a:lnTo>
                    <a:pt x="825" y="618"/>
                  </a:lnTo>
                  <a:lnTo>
                    <a:pt x="825" y="620"/>
                  </a:lnTo>
                  <a:lnTo>
                    <a:pt x="824" y="623"/>
                  </a:lnTo>
                  <a:lnTo>
                    <a:pt x="823" y="626"/>
                  </a:lnTo>
                  <a:lnTo>
                    <a:pt x="822" y="627"/>
                  </a:lnTo>
                  <a:lnTo>
                    <a:pt x="821" y="628"/>
                  </a:lnTo>
                  <a:lnTo>
                    <a:pt x="819" y="629"/>
                  </a:lnTo>
                  <a:lnTo>
                    <a:pt x="814" y="632"/>
                  </a:lnTo>
                  <a:lnTo>
                    <a:pt x="813" y="633"/>
                  </a:lnTo>
                  <a:lnTo>
                    <a:pt x="810" y="636"/>
                  </a:lnTo>
                  <a:lnTo>
                    <a:pt x="808" y="637"/>
                  </a:lnTo>
                  <a:lnTo>
                    <a:pt x="806" y="637"/>
                  </a:lnTo>
                  <a:lnTo>
                    <a:pt x="802" y="638"/>
                  </a:lnTo>
                  <a:lnTo>
                    <a:pt x="801" y="638"/>
                  </a:lnTo>
                  <a:lnTo>
                    <a:pt x="797" y="638"/>
                  </a:lnTo>
                  <a:lnTo>
                    <a:pt x="795" y="638"/>
                  </a:lnTo>
                  <a:lnTo>
                    <a:pt x="793" y="638"/>
                  </a:lnTo>
                  <a:lnTo>
                    <a:pt x="791" y="638"/>
                  </a:lnTo>
                  <a:lnTo>
                    <a:pt x="790" y="637"/>
                  </a:lnTo>
                  <a:lnTo>
                    <a:pt x="789" y="637"/>
                  </a:lnTo>
                  <a:lnTo>
                    <a:pt x="788" y="637"/>
                  </a:lnTo>
                  <a:lnTo>
                    <a:pt x="786" y="636"/>
                  </a:lnTo>
                  <a:lnTo>
                    <a:pt x="785" y="635"/>
                  </a:lnTo>
                  <a:lnTo>
                    <a:pt x="783" y="633"/>
                  </a:lnTo>
                  <a:lnTo>
                    <a:pt x="782" y="631"/>
                  </a:lnTo>
                  <a:lnTo>
                    <a:pt x="781" y="629"/>
                  </a:lnTo>
                  <a:lnTo>
                    <a:pt x="781" y="627"/>
                  </a:lnTo>
                  <a:lnTo>
                    <a:pt x="780" y="626"/>
                  </a:lnTo>
                  <a:lnTo>
                    <a:pt x="779" y="622"/>
                  </a:lnTo>
                  <a:lnTo>
                    <a:pt x="778" y="620"/>
                  </a:lnTo>
                  <a:lnTo>
                    <a:pt x="778" y="619"/>
                  </a:lnTo>
                  <a:lnTo>
                    <a:pt x="777" y="617"/>
                  </a:lnTo>
                  <a:lnTo>
                    <a:pt x="776" y="617"/>
                  </a:lnTo>
                  <a:lnTo>
                    <a:pt x="775" y="616"/>
                  </a:lnTo>
                  <a:lnTo>
                    <a:pt x="774" y="616"/>
                  </a:lnTo>
                  <a:lnTo>
                    <a:pt x="772" y="616"/>
                  </a:lnTo>
                  <a:lnTo>
                    <a:pt x="768" y="616"/>
                  </a:lnTo>
                  <a:lnTo>
                    <a:pt x="766" y="616"/>
                  </a:lnTo>
                  <a:lnTo>
                    <a:pt x="764" y="616"/>
                  </a:lnTo>
                  <a:lnTo>
                    <a:pt x="762" y="615"/>
                  </a:lnTo>
                  <a:lnTo>
                    <a:pt x="757" y="614"/>
                  </a:lnTo>
                  <a:lnTo>
                    <a:pt x="753" y="612"/>
                  </a:lnTo>
                  <a:lnTo>
                    <a:pt x="750" y="610"/>
                  </a:lnTo>
                  <a:lnTo>
                    <a:pt x="744" y="607"/>
                  </a:lnTo>
                  <a:lnTo>
                    <a:pt x="742" y="605"/>
                  </a:lnTo>
                  <a:lnTo>
                    <a:pt x="740" y="605"/>
                  </a:lnTo>
                  <a:lnTo>
                    <a:pt x="738" y="604"/>
                  </a:lnTo>
                  <a:lnTo>
                    <a:pt x="734" y="603"/>
                  </a:lnTo>
                  <a:lnTo>
                    <a:pt x="732" y="603"/>
                  </a:lnTo>
                  <a:lnTo>
                    <a:pt x="727" y="602"/>
                  </a:lnTo>
                  <a:lnTo>
                    <a:pt x="724" y="601"/>
                  </a:lnTo>
                  <a:lnTo>
                    <a:pt x="720" y="599"/>
                  </a:lnTo>
                  <a:lnTo>
                    <a:pt x="714" y="596"/>
                  </a:lnTo>
                  <a:lnTo>
                    <a:pt x="711" y="595"/>
                  </a:lnTo>
                  <a:lnTo>
                    <a:pt x="708" y="594"/>
                  </a:lnTo>
                  <a:lnTo>
                    <a:pt x="705" y="593"/>
                  </a:lnTo>
                  <a:lnTo>
                    <a:pt x="702" y="592"/>
                  </a:lnTo>
                  <a:lnTo>
                    <a:pt x="700" y="592"/>
                  </a:lnTo>
                  <a:lnTo>
                    <a:pt x="699" y="592"/>
                  </a:lnTo>
                  <a:lnTo>
                    <a:pt x="696" y="592"/>
                  </a:lnTo>
                  <a:lnTo>
                    <a:pt x="694" y="592"/>
                  </a:lnTo>
                  <a:lnTo>
                    <a:pt x="692" y="593"/>
                  </a:lnTo>
                  <a:lnTo>
                    <a:pt x="691" y="593"/>
                  </a:lnTo>
                  <a:lnTo>
                    <a:pt x="690" y="594"/>
                  </a:lnTo>
                  <a:lnTo>
                    <a:pt x="688" y="595"/>
                  </a:lnTo>
                  <a:lnTo>
                    <a:pt x="687" y="596"/>
                  </a:lnTo>
                  <a:lnTo>
                    <a:pt x="684" y="599"/>
                  </a:lnTo>
                  <a:lnTo>
                    <a:pt x="682" y="601"/>
                  </a:lnTo>
                  <a:lnTo>
                    <a:pt x="677" y="605"/>
                  </a:lnTo>
                  <a:lnTo>
                    <a:pt x="673" y="612"/>
                  </a:lnTo>
                  <a:lnTo>
                    <a:pt x="670" y="615"/>
                  </a:lnTo>
                  <a:lnTo>
                    <a:pt x="668" y="617"/>
                  </a:lnTo>
                  <a:lnTo>
                    <a:pt x="666" y="618"/>
                  </a:lnTo>
                  <a:lnTo>
                    <a:pt x="665" y="619"/>
                  </a:lnTo>
                  <a:lnTo>
                    <a:pt x="664" y="620"/>
                  </a:lnTo>
                  <a:lnTo>
                    <a:pt x="661" y="620"/>
                  </a:lnTo>
                  <a:lnTo>
                    <a:pt x="660" y="620"/>
                  </a:lnTo>
                  <a:lnTo>
                    <a:pt x="658" y="620"/>
                  </a:lnTo>
                  <a:lnTo>
                    <a:pt x="655" y="620"/>
                  </a:lnTo>
                  <a:lnTo>
                    <a:pt x="654" y="620"/>
                  </a:lnTo>
                  <a:lnTo>
                    <a:pt x="651" y="619"/>
                  </a:lnTo>
                  <a:lnTo>
                    <a:pt x="647" y="618"/>
                  </a:lnTo>
                  <a:lnTo>
                    <a:pt x="643" y="617"/>
                  </a:lnTo>
                  <a:lnTo>
                    <a:pt x="640" y="615"/>
                  </a:lnTo>
                  <a:lnTo>
                    <a:pt x="636" y="614"/>
                  </a:lnTo>
                  <a:lnTo>
                    <a:pt x="632" y="612"/>
                  </a:lnTo>
                  <a:lnTo>
                    <a:pt x="629" y="610"/>
                  </a:lnTo>
                  <a:lnTo>
                    <a:pt x="619" y="604"/>
                  </a:lnTo>
                  <a:lnTo>
                    <a:pt x="613" y="602"/>
                  </a:lnTo>
                  <a:lnTo>
                    <a:pt x="608" y="598"/>
                  </a:lnTo>
                  <a:lnTo>
                    <a:pt x="605" y="596"/>
                  </a:lnTo>
                  <a:lnTo>
                    <a:pt x="602" y="594"/>
                  </a:lnTo>
                  <a:lnTo>
                    <a:pt x="601" y="592"/>
                  </a:lnTo>
                  <a:lnTo>
                    <a:pt x="600" y="592"/>
                  </a:lnTo>
                  <a:lnTo>
                    <a:pt x="600" y="592"/>
                  </a:lnTo>
                  <a:lnTo>
                    <a:pt x="597" y="590"/>
                  </a:lnTo>
                  <a:lnTo>
                    <a:pt x="595" y="589"/>
                  </a:lnTo>
                  <a:lnTo>
                    <a:pt x="584" y="584"/>
                  </a:lnTo>
                  <a:lnTo>
                    <a:pt x="579" y="581"/>
                  </a:lnTo>
                  <a:lnTo>
                    <a:pt x="575" y="580"/>
                  </a:lnTo>
                  <a:lnTo>
                    <a:pt x="574" y="579"/>
                  </a:lnTo>
                  <a:lnTo>
                    <a:pt x="572" y="577"/>
                  </a:lnTo>
                  <a:lnTo>
                    <a:pt x="570" y="576"/>
                  </a:lnTo>
                  <a:lnTo>
                    <a:pt x="568" y="574"/>
                  </a:lnTo>
                  <a:lnTo>
                    <a:pt x="566" y="572"/>
                  </a:lnTo>
                  <a:lnTo>
                    <a:pt x="565" y="571"/>
                  </a:lnTo>
                  <a:lnTo>
                    <a:pt x="563" y="569"/>
                  </a:lnTo>
                  <a:lnTo>
                    <a:pt x="560" y="561"/>
                  </a:lnTo>
                  <a:lnTo>
                    <a:pt x="559" y="558"/>
                  </a:lnTo>
                  <a:lnTo>
                    <a:pt x="556" y="555"/>
                  </a:lnTo>
                  <a:lnTo>
                    <a:pt x="554" y="553"/>
                  </a:lnTo>
                  <a:lnTo>
                    <a:pt x="553" y="552"/>
                  </a:lnTo>
                  <a:lnTo>
                    <a:pt x="550" y="549"/>
                  </a:lnTo>
                  <a:lnTo>
                    <a:pt x="545" y="546"/>
                  </a:lnTo>
                  <a:lnTo>
                    <a:pt x="541" y="543"/>
                  </a:lnTo>
                  <a:lnTo>
                    <a:pt x="539" y="541"/>
                  </a:lnTo>
                  <a:lnTo>
                    <a:pt x="536" y="540"/>
                  </a:lnTo>
                  <a:lnTo>
                    <a:pt x="534" y="539"/>
                  </a:lnTo>
                  <a:lnTo>
                    <a:pt x="529" y="537"/>
                  </a:lnTo>
                  <a:lnTo>
                    <a:pt x="526" y="536"/>
                  </a:lnTo>
                  <a:lnTo>
                    <a:pt x="524" y="535"/>
                  </a:lnTo>
                  <a:lnTo>
                    <a:pt x="522" y="534"/>
                  </a:lnTo>
                  <a:lnTo>
                    <a:pt x="521" y="533"/>
                  </a:lnTo>
                  <a:lnTo>
                    <a:pt x="519" y="531"/>
                  </a:lnTo>
                  <a:lnTo>
                    <a:pt x="515" y="525"/>
                  </a:lnTo>
                  <a:lnTo>
                    <a:pt x="505" y="514"/>
                  </a:lnTo>
                  <a:lnTo>
                    <a:pt x="497" y="506"/>
                  </a:lnTo>
                  <a:lnTo>
                    <a:pt x="495" y="503"/>
                  </a:lnTo>
                  <a:lnTo>
                    <a:pt x="492" y="501"/>
                  </a:lnTo>
                  <a:lnTo>
                    <a:pt x="491" y="501"/>
                  </a:lnTo>
                  <a:lnTo>
                    <a:pt x="490" y="501"/>
                  </a:lnTo>
                  <a:lnTo>
                    <a:pt x="488" y="500"/>
                  </a:lnTo>
                  <a:lnTo>
                    <a:pt x="485" y="499"/>
                  </a:lnTo>
                  <a:lnTo>
                    <a:pt x="479" y="498"/>
                  </a:lnTo>
                  <a:lnTo>
                    <a:pt x="476" y="498"/>
                  </a:lnTo>
                  <a:lnTo>
                    <a:pt x="475" y="498"/>
                  </a:lnTo>
                  <a:lnTo>
                    <a:pt x="473" y="498"/>
                  </a:lnTo>
                  <a:lnTo>
                    <a:pt x="472" y="499"/>
                  </a:lnTo>
                  <a:lnTo>
                    <a:pt x="470" y="500"/>
                  </a:lnTo>
                  <a:lnTo>
                    <a:pt x="467" y="501"/>
                  </a:lnTo>
                  <a:lnTo>
                    <a:pt x="465" y="502"/>
                  </a:lnTo>
                  <a:lnTo>
                    <a:pt x="463" y="503"/>
                  </a:lnTo>
                  <a:lnTo>
                    <a:pt x="462" y="504"/>
                  </a:lnTo>
                  <a:lnTo>
                    <a:pt x="461" y="504"/>
                  </a:lnTo>
                  <a:lnTo>
                    <a:pt x="460" y="504"/>
                  </a:lnTo>
                  <a:lnTo>
                    <a:pt x="459" y="504"/>
                  </a:lnTo>
                  <a:lnTo>
                    <a:pt x="457" y="503"/>
                  </a:lnTo>
                  <a:lnTo>
                    <a:pt x="455" y="502"/>
                  </a:lnTo>
                  <a:lnTo>
                    <a:pt x="454" y="501"/>
                  </a:lnTo>
                  <a:lnTo>
                    <a:pt x="453" y="501"/>
                  </a:lnTo>
                  <a:lnTo>
                    <a:pt x="450" y="498"/>
                  </a:lnTo>
                  <a:lnTo>
                    <a:pt x="449" y="497"/>
                  </a:lnTo>
                  <a:lnTo>
                    <a:pt x="447" y="495"/>
                  </a:lnTo>
                  <a:lnTo>
                    <a:pt x="442" y="491"/>
                  </a:lnTo>
                  <a:lnTo>
                    <a:pt x="439" y="489"/>
                  </a:lnTo>
                  <a:lnTo>
                    <a:pt x="437" y="487"/>
                  </a:lnTo>
                  <a:lnTo>
                    <a:pt x="433" y="482"/>
                  </a:lnTo>
                  <a:lnTo>
                    <a:pt x="431" y="480"/>
                  </a:lnTo>
                  <a:lnTo>
                    <a:pt x="429" y="479"/>
                  </a:lnTo>
                  <a:lnTo>
                    <a:pt x="427" y="479"/>
                  </a:lnTo>
                  <a:lnTo>
                    <a:pt x="427" y="479"/>
                  </a:lnTo>
                  <a:lnTo>
                    <a:pt x="426" y="479"/>
                  </a:lnTo>
                  <a:lnTo>
                    <a:pt x="425" y="479"/>
                  </a:lnTo>
                  <a:lnTo>
                    <a:pt x="424" y="484"/>
                  </a:lnTo>
                  <a:lnTo>
                    <a:pt x="423" y="487"/>
                  </a:lnTo>
                  <a:lnTo>
                    <a:pt x="422" y="489"/>
                  </a:lnTo>
                  <a:lnTo>
                    <a:pt x="419" y="495"/>
                  </a:lnTo>
                  <a:lnTo>
                    <a:pt x="418" y="499"/>
                  </a:lnTo>
                  <a:lnTo>
                    <a:pt x="417" y="501"/>
                  </a:lnTo>
                  <a:lnTo>
                    <a:pt x="416" y="508"/>
                  </a:lnTo>
                  <a:lnTo>
                    <a:pt x="416" y="510"/>
                  </a:lnTo>
                  <a:lnTo>
                    <a:pt x="415" y="513"/>
                  </a:lnTo>
                  <a:lnTo>
                    <a:pt x="415" y="514"/>
                  </a:lnTo>
                  <a:lnTo>
                    <a:pt x="413" y="516"/>
                  </a:lnTo>
                  <a:lnTo>
                    <a:pt x="412" y="517"/>
                  </a:lnTo>
                  <a:lnTo>
                    <a:pt x="411" y="519"/>
                  </a:lnTo>
                  <a:lnTo>
                    <a:pt x="409" y="520"/>
                  </a:lnTo>
                  <a:lnTo>
                    <a:pt x="406" y="521"/>
                  </a:lnTo>
                  <a:lnTo>
                    <a:pt x="397" y="525"/>
                  </a:lnTo>
                  <a:lnTo>
                    <a:pt x="392" y="528"/>
                  </a:lnTo>
                  <a:lnTo>
                    <a:pt x="390" y="530"/>
                  </a:lnTo>
                  <a:lnTo>
                    <a:pt x="387" y="532"/>
                  </a:lnTo>
                  <a:lnTo>
                    <a:pt x="385" y="534"/>
                  </a:lnTo>
                  <a:lnTo>
                    <a:pt x="383" y="535"/>
                  </a:lnTo>
                  <a:lnTo>
                    <a:pt x="382" y="535"/>
                  </a:lnTo>
                  <a:lnTo>
                    <a:pt x="381" y="537"/>
                  </a:lnTo>
                  <a:lnTo>
                    <a:pt x="381" y="538"/>
                  </a:lnTo>
                  <a:lnTo>
                    <a:pt x="380" y="540"/>
                  </a:lnTo>
                  <a:lnTo>
                    <a:pt x="380" y="543"/>
                  </a:lnTo>
                  <a:lnTo>
                    <a:pt x="378" y="548"/>
                  </a:lnTo>
                  <a:lnTo>
                    <a:pt x="378" y="550"/>
                  </a:lnTo>
                  <a:lnTo>
                    <a:pt x="377" y="551"/>
                  </a:lnTo>
                  <a:lnTo>
                    <a:pt x="376" y="553"/>
                  </a:lnTo>
                  <a:lnTo>
                    <a:pt x="375" y="555"/>
                  </a:lnTo>
                  <a:lnTo>
                    <a:pt x="374" y="556"/>
                  </a:lnTo>
                  <a:lnTo>
                    <a:pt x="372" y="558"/>
                  </a:lnTo>
                  <a:lnTo>
                    <a:pt x="370" y="559"/>
                  </a:lnTo>
                  <a:lnTo>
                    <a:pt x="369" y="560"/>
                  </a:lnTo>
                  <a:lnTo>
                    <a:pt x="367" y="561"/>
                  </a:lnTo>
                  <a:lnTo>
                    <a:pt x="365" y="563"/>
                  </a:lnTo>
                  <a:lnTo>
                    <a:pt x="363" y="564"/>
                  </a:lnTo>
                  <a:lnTo>
                    <a:pt x="361" y="564"/>
                  </a:lnTo>
                  <a:lnTo>
                    <a:pt x="359" y="565"/>
                  </a:lnTo>
                  <a:lnTo>
                    <a:pt x="358" y="565"/>
                  </a:lnTo>
                  <a:lnTo>
                    <a:pt x="356" y="565"/>
                  </a:lnTo>
                  <a:lnTo>
                    <a:pt x="355" y="565"/>
                  </a:lnTo>
                  <a:lnTo>
                    <a:pt x="352" y="564"/>
                  </a:lnTo>
                  <a:lnTo>
                    <a:pt x="348" y="563"/>
                  </a:lnTo>
                  <a:lnTo>
                    <a:pt x="339" y="560"/>
                  </a:lnTo>
                  <a:lnTo>
                    <a:pt x="334" y="559"/>
                  </a:lnTo>
                  <a:lnTo>
                    <a:pt x="328" y="558"/>
                  </a:lnTo>
                  <a:lnTo>
                    <a:pt x="324" y="557"/>
                  </a:lnTo>
                  <a:lnTo>
                    <a:pt x="320" y="557"/>
                  </a:lnTo>
                  <a:lnTo>
                    <a:pt x="317" y="557"/>
                  </a:lnTo>
                  <a:lnTo>
                    <a:pt x="314" y="557"/>
                  </a:lnTo>
                  <a:lnTo>
                    <a:pt x="313" y="557"/>
                  </a:lnTo>
                  <a:lnTo>
                    <a:pt x="311" y="558"/>
                  </a:lnTo>
                  <a:lnTo>
                    <a:pt x="309" y="559"/>
                  </a:lnTo>
                  <a:lnTo>
                    <a:pt x="308" y="559"/>
                  </a:lnTo>
                  <a:lnTo>
                    <a:pt x="306" y="561"/>
                  </a:lnTo>
                  <a:lnTo>
                    <a:pt x="305" y="565"/>
                  </a:lnTo>
                  <a:lnTo>
                    <a:pt x="304" y="566"/>
                  </a:lnTo>
                  <a:lnTo>
                    <a:pt x="304" y="569"/>
                  </a:lnTo>
                  <a:lnTo>
                    <a:pt x="303" y="579"/>
                  </a:lnTo>
                  <a:lnTo>
                    <a:pt x="302" y="582"/>
                  </a:lnTo>
                  <a:lnTo>
                    <a:pt x="301" y="585"/>
                  </a:lnTo>
                  <a:lnTo>
                    <a:pt x="301" y="588"/>
                  </a:lnTo>
                  <a:lnTo>
                    <a:pt x="300" y="589"/>
                  </a:lnTo>
                  <a:lnTo>
                    <a:pt x="299" y="591"/>
                  </a:lnTo>
                  <a:lnTo>
                    <a:pt x="298" y="592"/>
                  </a:lnTo>
                  <a:lnTo>
                    <a:pt x="296" y="594"/>
                  </a:lnTo>
                  <a:lnTo>
                    <a:pt x="294" y="595"/>
                  </a:lnTo>
                  <a:lnTo>
                    <a:pt x="289" y="600"/>
                  </a:lnTo>
                  <a:lnTo>
                    <a:pt x="287" y="601"/>
                  </a:lnTo>
                  <a:lnTo>
                    <a:pt x="286" y="602"/>
                  </a:lnTo>
                  <a:lnTo>
                    <a:pt x="284" y="603"/>
                  </a:lnTo>
                  <a:lnTo>
                    <a:pt x="283" y="605"/>
                  </a:lnTo>
                  <a:lnTo>
                    <a:pt x="278" y="613"/>
                  </a:lnTo>
                  <a:lnTo>
                    <a:pt x="276" y="615"/>
                  </a:lnTo>
                  <a:lnTo>
                    <a:pt x="274" y="617"/>
                  </a:lnTo>
                  <a:lnTo>
                    <a:pt x="272" y="619"/>
                  </a:lnTo>
                  <a:lnTo>
                    <a:pt x="269" y="622"/>
                  </a:lnTo>
                  <a:lnTo>
                    <a:pt x="260" y="628"/>
                  </a:lnTo>
                  <a:lnTo>
                    <a:pt x="255" y="634"/>
                  </a:lnTo>
                  <a:lnTo>
                    <a:pt x="254" y="635"/>
                  </a:lnTo>
                  <a:lnTo>
                    <a:pt x="252" y="636"/>
                  </a:lnTo>
                  <a:lnTo>
                    <a:pt x="250" y="636"/>
                  </a:lnTo>
                  <a:lnTo>
                    <a:pt x="248" y="637"/>
                  </a:lnTo>
                  <a:lnTo>
                    <a:pt x="232" y="637"/>
                  </a:lnTo>
                  <a:lnTo>
                    <a:pt x="229" y="637"/>
                  </a:lnTo>
                  <a:lnTo>
                    <a:pt x="224" y="638"/>
                  </a:lnTo>
                  <a:lnTo>
                    <a:pt x="222" y="638"/>
                  </a:lnTo>
                  <a:lnTo>
                    <a:pt x="216" y="639"/>
                  </a:lnTo>
                  <a:lnTo>
                    <a:pt x="213" y="639"/>
                  </a:lnTo>
                  <a:lnTo>
                    <a:pt x="211" y="639"/>
                  </a:lnTo>
                  <a:lnTo>
                    <a:pt x="202" y="642"/>
                  </a:lnTo>
                  <a:lnTo>
                    <a:pt x="200" y="643"/>
                  </a:lnTo>
                  <a:lnTo>
                    <a:pt x="197" y="645"/>
                  </a:lnTo>
                  <a:lnTo>
                    <a:pt x="195" y="646"/>
                  </a:lnTo>
                  <a:lnTo>
                    <a:pt x="194" y="646"/>
                  </a:lnTo>
                  <a:lnTo>
                    <a:pt x="192" y="646"/>
                  </a:lnTo>
                  <a:lnTo>
                    <a:pt x="191" y="646"/>
                  </a:lnTo>
                  <a:lnTo>
                    <a:pt x="189" y="646"/>
                  </a:lnTo>
                  <a:lnTo>
                    <a:pt x="188" y="645"/>
                  </a:lnTo>
                  <a:lnTo>
                    <a:pt x="185" y="645"/>
                  </a:lnTo>
                  <a:lnTo>
                    <a:pt x="183" y="644"/>
                  </a:lnTo>
                  <a:lnTo>
                    <a:pt x="181" y="643"/>
                  </a:lnTo>
                  <a:lnTo>
                    <a:pt x="180" y="642"/>
                  </a:lnTo>
                  <a:lnTo>
                    <a:pt x="179" y="641"/>
                  </a:lnTo>
                  <a:lnTo>
                    <a:pt x="178" y="640"/>
                  </a:lnTo>
                  <a:lnTo>
                    <a:pt x="177" y="638"/>
                  </a:lnTo>
                  <a:lnTo>
                    <a:pt x="176" y="637"/>
                  </a:lnTo>
                  <a:lnTo>
                    <a:pt x="176" y="635"/>
                  </a:lnTo>
                  <a:lnTo>
                    <a:pt x="175" y="633"/>
                  </a:lnTo>
                  <a:lnTo>
                    <a:pt x="174" y="630"/>
                  </a:lnTo>
                  <a:lnTo>
                    <a:pt x="173" y="626"/>
                  </a:lnTo>
                  <a:lnTo>
                    <a:pt x="171" y="620"/>
                  </a:lnTo>
                  <a:lnTo>
                    <a:pt x="171" y="617"/>
                  </a:lnTo>
                  <a:lnTo>
                    <a:pt x="170" y="615"/>
                  </a:lnTo>
                  <a:lnTo>
                    <a:pt x="169" y="614"/>
                  </a:lnTo>
                  <a:lnTo>
                    <a:pt x="168" y="612"/>
                  </a:lnTo>
                  <a:lnTo>
                    <a:pt x="167" y="611"/>
                  </a:lnTo>
                  <a:lnTo>
                    <a:pt x="166" y="611"/>
                  </a:lnTo>
                  <a:lnTo>
                    <a:pt x="165" y="610"/>
                  </a:lnTo>
                  <a:lnTo>
                    <a:pt x="164" y="610"/>
                  </a:lnTo>
                  <a:lnTo>
                    <a:pt x="163" y="610"/>
                  </a:lnTo>
                  <a:lnTo>
                    <a:pt x="161" y="611"/>
                  </a:lnTo>
                  <a:lnTo>
                    <a:pt x="158" y="612"/>
                  </a:lnTo>
                  <a:lnTo>
                    <a:pt x="155" y="613"/>
                  </a:lnTo>
                  <a:lnTo>
                    <a:pt x="154" y="614"/>
                  </a:lnTo>
                  <a:lnTo>
                    <a:pt x="150" y="615"/>
                  </a:lnTo>
                  <a:lnTo>
                    <a:pt x="149" y="615"/>
                  </a:lnTo>
                  <a:lnTo>
                    <a:pt x="147" y="616"/>
                  </a:lnTo>
                  <a:lnTo>
                    <a:pt x="144" y="616"/>
                  </a:lnTo>
                  <a:lnTo>
                    <a:pt x="143" y="616"/>
                  </a:lnTo>
                  <a:lnTo>
                    <a:pt x="142" y="615"/>
                  </a:lnTo>
                  <a:lnTo>
                    <a:pt x="139" y="615"/>
                  </a:lnTo>
                  <a:lnTo>
                    <a:pt x="137" y="615"/>
                  </a:lnTo>
                  <a:lnTo>
                    <a:pt x="131" y="612"/>
                  </a:lnTo>
                  <a:lnTo>
                    <a:pt x="129" y="611"/>
                  </a:lnTo>
                  <a:lnTo>
                    <a:pt x="127" y="611"/>
                  </a:lnTo>
                  <a:lnTo>
                    <a:pt x="125" y="611"/>
                  </a:lnTo>
                  <a:lnTo>
                    <a:pt x="123" y="611"/>
                  </a:lnTo>
                  <a:lnTo>
                    <a:pt x="120" y="612"/>
                  </a:lnTo>
                  <a:lnTo>
                    <a:pt x="119" y="613"/>
                  </a:lnTo>
                  <a:lnTo>
                    <a:pt x="115" y="615"/>
                  </a:lnTo>
                  <a:lnTo>
                    <a:pt x="113" y="616"/>
                  </a:lnTo>
                  <a:lnTo>
                    <a:pt x="111" y="616"/>
                  </a:lnTo>
                  <a:lnTo>
                    <a:pt x="109" y="616"/>
                  </a:lnTo>
                  <a:lnTo>
                    <a:pt x="108" y="616"/>
                  </a:lnTo>
                  <a:lnTo>
                    <a:pt x="108" y="616"/>
                  </a:lnTo>
                  <a:lnTo>
                    <a:pt x="106" y="615"/>
                  </a:lnTo>
                  <a:lnTo>
                    <a:pt x="105" y="615"/>
                  </a:lnTo>
                  <a:lnTo>
                    <a:pt x="104" y="614"/>
                  </a:lnTo>
                  <a:lnTo>
                    <a:pt x="103" y="613"/>
                  </a:lnTo>
                  <a:lnTo>
                    <a:pt x="102" y="612"/>
                  </a:lnTo>
                  <a:lnTo>
                    <a:pt x="102" y="611"/>
                  </a:lnTo>
                  <a:lnTo>
                    <a:pt x="101" y="608"/>
                  </a:lnTo>
                  <a:lnTo>
                    <a:pt x="99" y="605"/>
                  </a:lnTo>
                  <a:lnTo>
                    <a:pt x="97" y="603"/>
                  </a:lnTo>
                  <a:lnTo>
                    <a:pt x="96" y="600"/>
                  </a:lnTo>
                  <a:lnTo>
                    <a:pt x="95" y="598"/>
                  </a:lnTo>
                  <a:lnTo>
                    <a:pt x="93" y="595"/>
                  </a:lnTo>
                  <a:lnTo>
                    <a:pt x="91" y="593"/>
                  </a:lnTo>
                  <a:lnTo>
                    <a:pt x="88" y="592"/>
                  </a:lnTo>
                  <a:lnTo>
                    <a:pt x="85" y="589"/>
                  </a:lnTo>
                  <a:lnTo>
                    <a:pt x="81" y="586"/>
                  </a:lnTo>
                  <a:lnTo>
                    <a:pt x="75" y="582"/>
                  </a:lnTo>
                  <a:lnTo>
                    <a:pt x="74" y="581"/>
                  </a:lnTo>
                  <a:lnTo>
                    <a:pt x="72" y="580"/>
                  </a:lnTo>
                  <a:lnTo>
                    <a:pt x="69" y="577"/>
                  </a:lnTo>
                  <a:lnTo>
                    <a:pt x="68" y="575"/>
                  </a:lnTo>
                  <a:lnTo>
                    <a:pt x="67" y="574"/>
                  </a:lnTo>
                  <a:lnTo>
                    <a:pt x="62" y="564"/>
                  </a:lnTo>
                  <a:lnTo>
                    <a:pt x="55" y="552"/>
                  </a:lnTo>
                  <a:lnTo>
                    <a:pt x="54" y="549"/>
                  </a:lnTo>
                  <a:lnTo>
                    <a:pt x="53" y="547"/>
                  </a:lnTo>
                  <a:lnTo>
                    <a:pt x="47" y="531"/>
                  </a:lnTo>
                  <a:lnTo>
                    <a:pt x="45" y="527"/>
                  </a:lnTo>
                  <a:lnTo>
                    <a:pt x="44" y="524"/>
                  </a:lnTo>
                  <a:lnTo>
                    <a:pt x="40" y="518"/>
                  </a:lnTo>
                  <a:lnTo>
                    <a:pt x="39" y="514"/>
                  </a:lnTo>
                  <a:lnTo>
                    <a:pt x="37" y="513"/>
                  </a:lnTo>
                  <a:lnTo>
                    <a:pt x="33" y="508"/>
                  </a:lnTo>
                  <a:lnTo>
                    <a:pt x="32" y="505"/>
                  </a:lnTo>
                  <a:lnTo>
                    <a:pt x="29" y="501"/>
                  </a:lnTo>
                  <a:lnTo>
                    <a:pt x="27" y="497"/>
                  </a:lnTo>
                  <a:lnTo>
                    <a:pt x="25" y="494"/>
                  </a:lnTo>
                  <a:lnTo>
                    <a:pt x="21" y="484"/>
                  </a:lnTo>
                  <a:lnTo>
                    <a:pt x="17" y="475"/>
                  </a:lnTo>
                  <a:lnTo>
                    <a:pt x="14" y="470"/>
                  </a:lnTo>
                  <a:lnTo>
                    <a:pt x="13" y="466"/>
                  </a:lnTo>
                  <a:lnTo>
                    <a:pt x="12" y="463"/>
                  </a:lnTo>
                  <a:lnTo>
                    <a:pt x="11" y="460"/>
                  </a:lnTo>
                  <a:lnTo>
                    <a:pt x="10" y="454"/>
                  </a:lnTo>
                  <a:lnTo>
                    <a:pt x="9" y="450"/>
                  </a:lnTo>
                  <a:lnTo>
                    <a:pt x="8" y="445"/>
                  </a:lnTo>
                  <a:lnTo>
                    <a:pt x="6" y="438"/>
                  </a:lnTo>
                  <a:lnTo>
                    <a:pt x="5" y="434"/>
                  </a:lnTo>
                  <a:lnTo>
                    <a:pt x="5" y="433"/>
                  </a:lnTo>
                  <a:lnTo>
                    <a:pt x="2" y="429"/>
                  </a:lnTo>
                  <a:lnTo>
                    <a:pt x="1" y="427"/>
                  </a:lnTo>
                  <a:lnTo>
                    <a:pt x="1" y="425"/>
                  </a:lnTo>
                  <a:lnTo>
                    <a:pt x="0" y="423"/>
                  </a:lnTo>
                  <a:lnTo>
                    <a:pt x="0" y="422"/>
                  </a:lnTo>
                  <a:lnTo>
                    <a:pt x="0" y="419"/>
                  </a:lnTo>
                  <a:lnTo>
                    <a:pt x="1" y="417"/>
                  </a:lnTo>
                  <a:lnTo>
                    <a:pt x="2" y="415"/>
                  </a:lnTo>
                  <a:lnTo>
                    <a:pt x="2" y="413"/>
                  </a:lnTo>
                  <a:lnTo>
                    <a:pt x="3" y="411"/>
                  </a:lnTo>
                  <a:lnTo>
                    <a:pt x="4" y="409"/>
                  </a:lnTo>
                  <a:lnTo>
                    <a:pt x="6" y="406"/>
                  </a:lnTo>
                  <a:lnTo>
                    <a:pt x="12" y="397"/>
                  </a:lnTo>
                  <a:lnTo>
                    <a:pt x="14" y="394"/>
                  </a:lnTo>
                  <a:lnTo>
                    <a:pt x="15" y="392"/>
                  </a:lnTo>
                  <a:lnTo>
                    <a:pt x="15" y="389"/>
                  </a:lnTo>
                  <a:lnTo>
                    <a:pt x="16" y="388"/>
                  </a:lnTo>
                  <a:lnTo>
                    <a:pt x="17" y="379"/>
                  </a:lnTo>
                  <a:lnTo>
                    <a:pt x="17" y="377"/>
                  </a:lnTo>
                  <a:lnTo>
                    <a:pt x="18" y="374"/>
                  </a:lnTo>
                  <a:lnTo>
                    <a:pt x="19" y="370"/>
                  </a:lnTo>
                  <a:lnTo>
                    <a:pt x="21" y="366"/>
                  </a:lnTo>
                  <a:lnTo>
                    <a:pt x="22" y="364"/>
                  </a:lnTo>
                  <a:lnTo>
                    <a:pt x="24" y="361"/>
                  </a:lnTo>
                  <a:lnTo>
                    <a:pt x="25" y="360"/>
                  </a:lnTo>
                  <a:lnTo>
                    <a:pt x="26" y="358"/>
                  </a:lnTo>
                  <a:lnTo>
                    <a:pt x="28" y="356"/>
                  </a:lnTo>
                  <a:lnTo>
                    <a:pt x="30" y="354"/>
                  </a:lnTo>
                  <a:lnTo>
                    <a:pt x="39" y="348"/>
                  </a:lnTo>
                  <a:lnTo>
                    <a:pt x="45" y="343"/>
                  </a:lnTo>
                  <a:lnTo>
                    <a:pt x="46" y="342"/>
                  </a:lnTo>
                  <a:lnTo>
                    <a:pt x="48" y="340"/>
                  </a:lnTo>
                  <a:lnTo>
                    <a:pt x="51" y="339"/>
                  </a:lnTo>
                  <a:lnTo>
                    <a:pt x="52" y="338"/>
                  </a:lnTo>
                  <a:lnTo>
                    <a:pt x="53" y="338"/>
                  </a:lnTo>
                  <a:lnTo>
                    <a:pt x="54" y="337"/>
                  </a:lnTo>
                  <a:lnTo>
                    <a:pt x="55" y="335"/>
                  </a:lnTo>
                  <a:lnTo>
                    <a:pt x="55" y="334"/>
                  </a:lnTo>
                  <a:lnTo>
                    <a:pt x="56" y="333"/>
                  </a:lnTo>
                  <a:lnTo>
                    <a:pt x="56" y="328"/>
                  </a:lnTo>
                  <a:lnTo>
                    <a:pt x="56" y="326"/>
                  </a:lnTo>
                  <a:lnTo>
                    <a:pt x="57" y="324"/>
                  </a:lnTo>
                  <a:lnTo>
                    <a:pt x="57" y="321"/>
                  </a:lnTo>
                  <a:lnTo>
                    <a:pt x="58" y="318"/>
                  </a:lnTo>
                  <a:lnTo>
                    <a:pt x="59" y="314"/>
                  </a:lnTo>
                  <a:lnTo>
                    <a:pt x="61" y="310"/>
                  </a:lnTo>
                  <a:lnTo>
                    <a:pt x="62" y="308"/>
                  </a:lnTo>
                  <a:lnTo>
                    <a:pt x="63" y="306"/>
                  </a:lnTo>
                  <a:lnTo>
                    <a:pt x="64" y="304"/>
                  </a:lnTo>
                  <a:lnTo>
                    <a:pt x="65" y="301"/>
                  </a:lnTo>
                  <a:lnTo>
                    <a:pt x="66" y="299"/>
                  </a:lnTo>
                  <a:lnTo>
                    <a:pt x="68" y="297"/>
                  </a:lnTo>
                  <a:lnTo>
                    <a:pt x="73" y="293"/>
                  </a:lnTo>
                  <a:lnTo>
                    <a:pt x="74" y="290"/>
                  </a:lnTo>
                  <a:lnTo>
                    <a:pt x="76" y="287"/>
                  </a:lnTo>
                  <a:lnTo>
                    <a:pt x="77" y="286"/>
                  </a:lnTo>
                  <a:lnTo>
                    <a:pt x="77" y="285"/>
                  </a:lnTo>
                  <a:lnTo>
                    <a:pt x="78" y="282"/>
                  </a:lnTo>
                  <a:lnTo>
                    <a:pt x="79" y="275"/>
                  </a:lnTo>
                  <a:lnTo>
                    <a:pt x="79" y="273"/>
                  </a:lnTo>
                  <a:lnTo>
                    <a:pt x="79" y="270"/>
                  </a:lnTo>
                  <a:lnTo>
                    <a:pt x="79" y="266"/>
                  </a:lnTo>
                  <a:lnTo>
                    <a:pt x="78" y="257"/>
                  </a:lnTo>
                  <a:lnTo>
                    <a:pt x="78" y="254"/>
                  </a:lnTo>
                  <a:lnTo>
                    <a:pt x="78" y="252"/>
                  </a:lnTo>
                  <a:lnTo>
                    <a:pt x="78" y="252"/>
                  </a:lnTo>
                  <a:lnTo>
                    <a:pt x="79" y="251"/>
                  </a:lnTo>
                  <a:lnTo>
                    <a:pt x="80" y="250"/>
                  </a:lnTo>
                  <a:lnTo>
                    <a:pt x="82" y="249"/>
                  </a:lnTo>
                  <a:lnTo>
                    <a:pt x="84" y="248"/>
                  </a:lnTo>
                  <a:lnTo>
                    <a:pt x="88" y="247"/>
                  </a:lnTo>
                  <a:lnTo>
                    <a:pt x="91" y="247"/>
                  </a:lnTo>
                  <a:lnTo>
                    <a:pt x="93" y="247"/>
                  </a:lnTo>
                  <a:lnTo>
                    <a:pt x="95" y="247"/>
                  </a:lnTo>
                  <a:lnTo>
                    <a:pt x="97" y="247"/>
                  </a:lnTo>
                  <a:lnTo>
                    <a:pt x="98" y="248"/>
                  </a:lnTo>
                  <a:lnTo>
                    <a:pt x="103" y="250"/>
                  </a:lnTo>
                  <a:lnTo>
                    <a:pt x="108" y="252"/>
                  </a:lnTo>
                  <a:lnTo>
                    <a:pt x="111" y="252"/>
                  </a:lnTo>
                  <a:lnTo>
                    <a:pt x="115" y="255"/>
                  </a:lnTo>
                  <a:lnTo>
                    <a:pt x="122" y="260"/>
                  </a:lnTo>
                  <a:lnTo>
                    <a:pt x="125" y="261"/>
                  </a:lnTo>
                  <a:lnTo>
                    <a:pt x="129" y="263"/>
                  </a:lnTo>
                  <a:lnTo>
                    <a:pt x="132" y="264"/>
                  </a:lnTo>
                  <a:lnTo>
                    <a:pt x="135" y="264"/>
                  </a:lnTo>
                  <a:lnTo>
                    <a:pt x="137" y="265"/>
                  </a:lnTo>
                  <a:lnTo>
                    <a:pt x="140" y="265"/>
                  </a:lnTo>
                  <a:lnTo>
                    <a:pt x="142" y="265"/>
                  </a:lnTo>
                  <a:lnTo>
                    <a:pt x="143" y="265"/>
                  </a:lnTo>
                  <a:lnTo>
                    <a:pt x="146" y="265"/>
                  </a:lnTo>
                  <a:lnTo>
                    <a:pt x="148" y="264"/>
                  </a:lnTo>
                  <a:lnTo>
                    <a:pt x="150" y="263"/>
                  </a:lnTo>
                  <a:lnTo>
                    <a:pt x="151" y="263"/>
                  </a:lnTo>
                  <a:lnTo>
                    <a:pt x="153" y="263"/>
                  </a:lnTo>
                  <a:lnTo>
                    <a:pt x="154" y="262"/>
                  </a:lnTo>
                  <a:lnTo>
                    <a:pt x="154" y="261"/>
                  </a:lnTo>
                  <a:lnTo>
                    <a:pt x="156" y="258"/>
                  </a:lnTo>
                  <a:lnTo>
                    <a:pt x="157" y="257"/>
                  </a:lnTo>
                  <a:lnTo>
                    <a:pt x="158" y="255"/>
                  </a:lnTo>
                  <a:lnTo>
                    <a:pt x="159" y="253"/>
                  </a:lnTo>
                  <a:lnTo>
                    <a:pt x="160" y="251"/>
                  </a:lnTo>
                  <a:lnTo>
                    <a:pt x="164" y="237"/>
                  </a:lnTo>
                  <a:lnTo>
                    <a:pt x="165" y="233"/>
                  </a:lnTo>
                  <a:lnTo>
                    <a:pt x="167" y="229"/>
                  </a:lnTo>
                  <a:lnTo>
                    <a:pt x="168" y="227"/>
                  </a:lnTo>
                  <a:lnTo>
                    <a:pt x="169" y="225"/>
                  </a:lnTo>
                  <a:lnTo>
                    <a:pt x="170" y="223"/>
                  </a:lnTo>
                  <a:lnTo>
                    <a:pt x="171" y="222"/>
                  </a:lnTo>
                  <a:lnTo>
                    <a:pt x="172" y="221"/>
                  </a:lnTo>
                  <a:lnTo>
                    <a:pt x="175" y="218"/>
                  </a:lnTo>
                  <a:lnTo>
                    <a:pt x="177" y="217"/>
                  </a:lnTo>
                  <a:lnTo>
                    <a:pt x="185" y="212"/>
                  </a:lnTo>
                  <a:lnTo>
                    <a:pt x="188" y="210"/>
                  </a:lnTo>
                  <a:lnTo>
                    <a:pt x="192" y="207"/>
                  </a:lnTo>
                  <a:lnTo>
                    <a:pt x="196" y="205"/>
                  </a:lnTo>
                  <a:lnTo>
                    <a:pt x="199" y="202"/>
                  </a:lnTo>
                  <a:lnTo>
                    <a:pt x="201" y="199"/>
                  </a:lnTo>
                  <a:lnTo>
                    <a:pt x="203" y="197"/>
                  </a:lnTo>
                  <a:lnTo>
                    <a:pt x="204" y="196"/>
                  </a:lnTo>
                  <a:lnTo>
                    <a:pt x="204" y="195"/>
                  </a:lnTo>
                  <a:lnTo>
                    <a:pt x="204" y="195"/>
                  </a:lnTo>
                  <a:lnTo>
                    <a:pt x="207" y="195"/>
                  </a:lnTo>
                  <a:lnTo>
                    <a:pt x="219" y="200"/>
                  </a:lnTo>
                  <a:lnTo>
                    <a:pt x="231" y="205"/>
                  </a:lnTo>
                  <a:lnTo>
                    <a:pt x="236" y="207"/>
                  </a:lnTo>
                  <a:lnTo>
                    <a:pt x="243" y="209"/>
                  </a:lnTo>
                  <a:lnTo>
                    <a:pt x="256" y="215"/>
                  </a:lnTo>
                  <a:lnTo>
                    <a:pt x="264" y="218"/>
                  </a:lnTo>
                  <a:lnTo>
                    <a:pt x="267" y="219"/>
                  </a:lnTo>
                  <a:lnTo>
                    <a:pt x="269" y="220"/>
                  </a:lnTo>
                  <a:lnTo>
                    <a:pt x="272" y="222"/>
                  </a:lnTo>
                  <a:lnTo>
                    <a:pt x="275" y="225"/>
                  </a:lnTo>
                  <a:lnTo>
                    <a:pt x="279" y="229"/>
                  </a:lnTo>
                  <a:lnTo>
                    <a:pt x="280" y="229"/>
                  </a:lnTo>
                  <a:lnTo>
                    <a:pt x="282" y="231"/>
                  </a:lnTo>
                  <a:lnTo>
                    <a:pt x="284" y="232"/>
                  </a:lnTo>
                  <a:lnTo>
                    <a:pt x="286" y="232"/>
                  </a:lnTo>
                  <a:lnTo>
                    <a:pt x="289" y="233"/>
                  </a:lnTo>
                  <a:lnTo>
                    <a:pt x="295" y="234"/>
                  </a:lnTo>
                  <a:lnTo>
                    <a:pt x="299" y="234"/>
                  </a:lnTo>
                  <a:lnTo>
                    <a:pt x="310" y="237"/>
                  </a:lnTo>
                  <a:lnTo>
                    <a:pt x="314" y="237"/>
                  </a:lnTo>
                  <a:lnTo>
                    <a:pt x="317" y="238"/>
                  </a:lnTo>
                  <a:lnTo>
                    <a:pt x="321" y="238"/>
                  </a:lnTo>
                  <a:lnTo>
                    <a:pt x="324" y="238"/>
                  </a:lnTo>
                  <a:lnTo>
                    <a:pt x="326" y="237"/>
                  </a:lnTo>
                  <a:lnTo>
                    <a:pt x="329" y="236"/>
                  </a:lnTo>
                  <a:lnTo>
                    <a:pt x="331" y="235"/>
                  </a:lnTo>
                  <a:lnTo>
                    <a:pt x="333" y="234"/>
                  </a:lnTo>
                  <a:lnTo>
                    <a:pt x="334" y="233"/>
                  </a:lnTo>
                  <a:lnTo>
                    <a:pt x="336" y="232"/>
                  </a:lnTo>
                  <a:lnTo>
                    <a:pt x="336" y="230"/>
                  </a:lnTo>
                  <a:lnTo>
                    <a:pt x="338" y="229"/>
                  </a:lnTo>
                  <a:lnTo>
                    <a:pt x="340" y="225"/>
                  </a:lnTo>
                  <a:lnTo>
                    <a:pt x="342" y="220"/>
                  </a:lnTo>
                  <a:lnTo>
                    <a:pt x="347" y="209"/>
                  </a:lnTo>
                  <a:lnTo>
                    <a:pt x="349" y="205"/>
                  </a:lnTo>
                  <a:lnTo>
                    <a:pt x="352" y="199"/>
                  </a:lnTo>
                  <a:lnTo>
                    <a:pt x="356" y="193"/>
                  </a:lnTo>
                  <a:lnTo>
                    <a:pt x="358" y="189"/>
                  </a:lnTo>
                  <a:lnTo>
                    <a:pt x="359" y="187"/>
                  </a:lnTo>
                  <a:lnTo>
                    <a:pt x="360" y="185"/>
                  </a:lnTo>
                  <a:lnTo>
                    <a:pt x="362" y="184"/>
                  </a:lnTo>
                  <a:lnTo>
                    <a:pt x="363" y="184"/>
                  </a:lnTo>
                  <a:lnTo>
                    <a:pt x="365" y="183"/>
                  </a:lnTo>
                  <a:lnTo>
                    <a:pt x="366" y="182"/>
                  </a:lnTo>
                  <a:lnTo>
                    <a:pt x="368" y="182"/>
                  </a:lnTo>
                  <a:lnTo>
                    <a:pt x="370" y="181"/>
                  </a:lnTo>
                  <a:lnTo>
                    <a:pt x="381" y="179"/>
                  </a:lnTo>
                  <a:lnTo>
                    <a:pt x="391" y="177"/>
                  </a:lnTo>
                  <a:lnTo>
                    <a:pt x="394" y="176"/>
                  </a:lnTo>
                  <a:lnTo>
                    <a:pt x="397" y="176"/>
                  </a:lnTo>
                  <a:lnTo>
                    <a:pt x="400" y="177"/>
                  </a:lnTo>
                  <a:lnTo>
                    <a:pt x="407" y="178"/>
                  </a:lnTo>
                  <a:lnTo>
                    <a:pt x="409" y="178"/>
                  </a:lnTo>
                  <a:lnTo>
                    <a:pt x="412" y="178"/>
                  </a:lnTo>
                  <a:lnTo>
                    <a:pt x="418" y="178"/>
                  </a:lnTo>
                  <a:lnTo>
                    <a:pt x="421" y="178"/>
                  </a:lnTo>
                  <a:lnTo>
                    <a:pt x="424" y="179"/>
                  </a:lnTo>
                  <a:lnTo>
                    <a:pt x="427" y="179"/>
                  </a:lnTo>
                  <a:lnTo>
                    <a:pt x="433" y="181"/>
                  </a:lnTo>
                  <a:lnTo>
                    <a:pt x="448" y="184"/>
                  </a:lnTo>
                  <a:lnTo>
                    <a:pt x="451" y="185"/>
                  </a:lnTo>
                  <a:lnTo>
                    <a:pt x="454" y="185"/>
                  </a:lnTo>
                  <a:lnTo>
                    <a:pt x="457" y="186"/>
                  </a:lnTo>
                  <a:lnTo>
                    <a:pt x="461" y="186"/>
                  </a:lnTo>
                  <a:lnTo>
                    <a:pt x="463" y="186"/>
                  </a:lnTo>
                  <a:lnTo>
                    <a:pt x="465" y="185"/>
                  </a:lnTo>
                  <a:lnTo>
                    <a:pt x="468" y="185"/>
                  </a:lnTo>
                  <a:lnTo>
                    <a:pt x="471" y="184"/>
                  </a:lnTo>
                  <a:lnTo>
                    <a:pt x="474" y="184"/>
                  </a:lnTo>
                  <a:lnTo>
                    <a:pt x="477" y="183"/>
                  </a:lnTo>
                  <a:lnTo>
                    <a:pt x="480" y="182"/>
                  </a:lnTo>
                  <a:lnTo>
                    <a:pt x="482" y="180"/>
                  </a:lnTo>
                  <a:lnTo>
                    <a:pt x="483" y="180"/>
                  </a:lnTo>
                  <a:lnTo>
                    <a:pt x="483" y="178"/>
                  </a:lnTo>
                  <a:lnTo>
                    <a:pt x="484" y="177"/>
                  </a:lnTo>
                  <a:lnTo>
                    <a:pt x="485" y="176"/>
                  </a:lnTo>
                  <a:lnTo>
                    <a:pt x="486" y="174"/>
                  </a:lnTo>
                  <a:lnTo>
                    <a:pt x="487" y="173"/>
                  </a:lnTo>
                  <a:lnTo>
                    <a:pt x="487" y="172"/>
                  </a:lnTo>
                  <a:lnTo>
                    <a:pt x="488" y="169"/>
                  </a:lnTo>
                  <a:lnTo>
                    <a:pt x="488" y="167"/>
                  </a:lnTo>
                  <a:lnTo>
                    <a:pt x="488" y="164"/>
                  </a:lnTo>
                  <a:lnTo>
                    <a:pt x="489" y="152"/>
                  </a:lnTo>
                  <a:lnTo>
                    <a:pt x="490" y="140"/>
                  </a:lnTo>
                  <a:lnTo>
                    <a:pt x="490" y="138"/>
                  </a:lnTo>
                  <a:lnTo>
                    <a:pt x="489" y="131"/>
                  </a:lnTo>
                  <a:lnTo>
                    <a:pt x="488" y="127"/>
                  </a:lnTo>
                  <a:lnTo>
                    <a:pt x="488" y="123"/>
                  </a:lnTo>
                  <a:lnTo>
                    <a:pt x="488" y="121"/>
                  </a:lnTo>
                  <a:lnTo>
                    <a:pt x="489" y="117"/>
                  </a:lnTo>
                  <a:lnTo>
                    <a:pt x="490" y="115"/>
                  </a:lnTo>
                  <a:lnTo>
                    <a:pt x="495" y="100"/>
                  </a:lnTo>
                  <a:lnTo>
                    <a:pt x="496" y="96"/>
                  </a:lnTo>
                  <a:lnTo>
                    <a:pt x="498" y="93"/>
                  </a:lnTo>
                  <a:lnTo>
                    <a:pt x="498" y="88"/>
                  </a:lnTo>
                  <a:lnTo>
                    <a:pt x="499" y="83"/>
                  </a:lnTo>
                  <a:lnTo>
                    <a:pt x="500" y="70"/>
                  </a:lnTo>
                  <a:lnTo>
                    <a:pt x="500" y="66"/>
                  </a:lnTo>
                  <a:lnTo>
                    <a:pt x="500" y="64"/>
                  </a:lnTo>
                  <a:lnTo>
                    <a:pt x="500" y="62"/>
                  </a:lnTo>
                  <a:lnTo>
                    <a:pt x="499" y="60"/>
                  </a:lnTo>
                  <a:lnTo>
                    <a:pt x="498" y="59"/>
                  </a:lnTo>
                  <a:lnTo>
                    <a:pt x="498" y="57"/>
                  </a:lnTo>
                  <a:lnTo>
                    <a:pt x="497" y="55"/>
                  </a:lnTo>
                  <a:lnTo>
                    <a:pt x="496" y="53"/>
                  </a:lnTo>
                  <a:lnTo>
                    <a:pt x="495" y="52"/>
                  </a:lnTo>
                  <a:lnTo>
                    <a:pt x="495" y="51"/>
                  </a:lnTo>
                  <a:lnTo>
                    <a:pt x="493" y="50"/>
                  </a:lnTo>
                  <a:lnTo>
                    <a:pt x="491" y="49"/>
                  </a:lnTo>
                  <a:lnTo>
                    <a:pt x="489" y="48"/>
                  </a:lnTo>
                  <a:lnTo>
                    <a:pt x="483" y="47"/>
                  </a:lnTo>
                  <a:lnTo>
                    <a:pt x="482" y="46"/>
                  </a:lnTo>
                  <a:lnTo>
                    <a:pt x="480" y="45"/>
                  </a:lnTo>
                  <a:lnTo>
                    <a:pt x="478" y="44"/>
                  </a:lnTo>
                  <a:lnTo>
                    <a:pt x="476" y="42"/>
                  </a:lnTo>
                  <a:lnTo>
                    <a:pt x="475" y="41"/>
                  </a:lnTo>
                  <a:lnTo>
                    <a:pt x="474" y="39"/>
                  </a:lnTo>
                  <a:lnTo>
                    <a:pt x="473" y="38"/>
                  </a:lnTo>
                  <a:lnTo>
                    <a:pt x="473" y="37"/>
                  </a:lnTo>
                  <a:lnTo>
                    <a:pt x="473" y="36"/>
                  </a:lnTo>
                  <a:lnTo>
                    <a:pt x="473" y="35"/>
                  </a:lnTo>
                  <a:lnTo>
                    <a:pt x="473" y="33"/>
                  </a:lnTo>
                  <a:lnTo>
                    <a:pt x="473" y="31"/>
                  </a:lnTo>
                  <a:lnTo>
                    <a:pt x="474" y="29"/>
                  </a:lnTo>
                  <a:lnTo>
                    <a:pt x="475" y="26"/>
                  </a:lnTo>
                  <a:lnTo>
                    <a:pt x="476" y="25"/>
                  </a:lnTo>
                  <a:lnTo>
                    <a:pt x="478" y="23"/>
                  </a:lnTo>
                  <a:lnTo>
                    <a:pt x="479" y="21"/>
                  </a:lnTo>
                  <a:lnTo>
                    <a:pt x="481" y="19"/>
                  </a:lnTo>
                  <a:lnTo>
                    <a:pt x="483" y="16"/>
                  </a:lnTo>
                  <a:lnTo>
                    <a:pt x="486" y="14"/>
                  </a:lnTo>
                  <a:lnTo>
                    <a:pt x="497" y="6"/>
                  </a:lnTo>
                  <a:lnTo>
                    <a:pt x="502" y="3"/>
                  </a:lnTo>
                  <a:lnTo>
                    <a:pt x="504" y="1"/>
                  </a:lnTo>
                  <a:lnTo>
                    <a:pt x="505" y="0"/>
                  </a:lnTo>
                  <a:lnTo>
                    <a:pt x="506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3" name="Freeform 96">
              <a:extLst>
                <a:ext uri="{FF2B5EF4-FFF2-40B4-BE49-F238E27FC236}">
                  <a16:creationId xmlns:a16="http://schemas.microsoft.com/office/drawing/2014/main" id="{68BF6EC5-ADA8-4855-AC26-0E20F17767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" y="1303"/>
              <a:ext cx="1116" cy="865"/>
            </a:xfrm>
            <a:custGeom>
              <a:avLst/>
              <a:gdLst>
                <a:gd name="T0" fmla="*/ 420 w 1116"/>
                <a:gd name="T1" fmla="*/ 31 h 865"/>
                <a:gd name="T2" fmla="*/ 496 w 1116"/>
                <a:gd name="T3" fmla="*/ 40 h 865"/>
                <a:gd name="T4" fmla="*/ 541 w 1116"/>
                <a:gd name="T5" fmla="*/ 61 h 865"/>
                <a:gd name="T6" fmla="*/ 577 w 1116"/>
                <a:gd name="T7" fmla="*/ 121 h 865"/>
                <a:gd name="T8" fmla="*/ 646 w 1116"/>
                <a:gd name="T9" fmla="*/ 107 h 865"/>
                <a:gd name="T10" fmla="*/ 674 w 1116"/>
                <a:gd name="T11" fmla="*/ 169 h 865"/>
                <a:gd name="T12" fmla="*/ 672 w 1116"/>
                <a:gd name="T13" fmla="*/ 201 h 865"/>
                <a:gd name="T14" fmla="*/ 711 w 1116"/>
                <a:gd name="T15" fmla="*/ 182 h 865"/>
                <a:gd name="T16" fmla="*/ 762 w 1116"/>
                <a:gd name="T17" fmla="*/ 140 h 865"/>
                <a:gd name="T18" fmla="*/ 817 w 1116"/>
                <a:gd name="T19" fmla="*/ 169 h 865"/>
                <a:gd name="T20" fmla="*/ 844 w 1116"/>
                <a:gd name="T21" fmla="*/ 131 h 865"/>
                <a:gd name="T22" fmla="*/ 895 w 1116"/>
                <a:gd name="T23" fmla="*/ 131 h 865"/>
                <a:gd name="T24" fmla="*/ 966 w 1116"/>
                <a:gd name="T25" fmla="*/ 180 h 865"/>
                <a:gd name="T26" fmla="*/ 989 w 1116"/>
                <a:gd name="T27" fmla="*/ 238 h 865"/>
                <a:gd name="T28" fmla="*/ 958 w 1116"/>
                <a:gd name="T29" fmla="*/ 299 h 865"/>
                <a:gd name="T30" fmla="*/ 909 w 1116"/>
                <a:gd name="T31" fmla="*/ 323 h 865"/>
                <a:gd name="T32" fmla="*/ 863 w 1116"/>
                <a:gd name="T33" fmla="*/ 354 h 865"/>
                <a:gd name="T34" fmla="*/ 839 w 1116"/>
                <a:gd name="T35" fmla="*/ 386 h 865"/>
                <a:gd name="T36" fmla="*/ 824 w 1116"/>
                <a:gd name="T37" fmla="*/ 408 h 865"/>
                <a:gd name="T38" fmla="*/ 857 w 1116"/>
                <a:gd name="T39" fmla="*/ 441 h 865"/>
                <a:gd name="T40" fmla="*/ 892 w 1116"/>
                <a:gd name="T41" fmla="*/ 473 h 865"/>
                <a:gd name="T42" fmla="*/ 941 w 1116"/>
                <a:gd name="T43" fmla="*/ 473 h 865"/>
                <a:gd name="T44" fmla="*/ 975 w 1116"/>
                <a:gd name="T45" fmla="*/ 530 h 865"/>
                <a:gd name="T46" fmla="*/ 1039 w 1116"/>
                <a:gd name="T47" fmla="*/ 589 h 865"/>
                <a:gd name="T48" fmla="*/ 1094 w 1116"/>
                <a:gd name="T49" fmla="*/ 655 h 865"/>
                <a:gd name="T50" fmla="*/ 1115 w 1116"/>
                <a:gd name="T51" fmla="*/ 738 h 865"/>
                <a:gd name="T52" fmla="*/ 1066 w 1116"/>
                <a:gd name="T53" fmla="*/ 724 h 865"/>
                <a:gd name="T54" fmla="*/ 1035 w 1116"/>
                <a:gd name="T55" fmla="*/ 739 h 865"/>
                <a:gd name="T56" fmla="*/ 977 w 1116"/>
                <a:gd name="T57" fmla="*/ 779 h 865"/>
                <a:gd name="T58" fmla="*/ 939 w 1116"/>
                <a:gd name="T59" fmla="*/ 820 h 865"/>
                <a:gd name="T60" fmla="*/ 922 w 1116"/>
                <a:gd name="T61" fmla="*/ 854 h 865"/>
                <a:gd name="T62" fmla="*/ 892 w 1116"/>
                <a:gd name="T63" fmla="*/ 859 h 865"/>
                <a:gd name="T64" fmla="*/ 838 w 1116"/>
                <a:gd name="T65" fmla="*/ 865 h 865"/>
                <a:gd name="T66" fmla="*/ 779 w 1116"/>
                <a:gd name="T67" fmla="*/ 837 h 865"/>
                <a:gd name="T68" fmla="*/ 720 w 1116"/>
                <a:gd name="T69" fmla="*/ 793 h 865"/>
                <a:gd name="T70" fmla="*/ 680 w 1116"/>
                <a:gd name="T71" fmla="*/ 756 h 865"/>
                <a:gd name="T72" fmla="*/ 620 w 1116"/>
                <a:gd name="T73" fmla="*/ 724 h 865"/>
                <a:gd name="T74" fmla="*/ 565 w 1116"/>
                <a:gd name="T75" fmla="*/ 751 h 865"/>
                <a:gd name="T76" fmla="*/ 530 w 1116"/>
                <a:gd name="T77" fmla="*/ 750 h 865"/>
                <a:gd name="T78" fmla="*/ 497 w 1116"/>
                <a:gd name="T79" fmla="*/ 721 h 865"/>
                <a:gd name="T80" fmla="*/ 466 w 1116"/>
                <a:gd name="T81" fmla="*/ 757 h 865"/>
                <a:gd name="T82" fmla="*/ 409 w 1116"/>
                <a:gd name="T83" fmla="*/ 762 h 865"/>
                <a:gd name="T84" fmla="*/ 354 w 1116"/>
                <a:gd name="T85" fmla="*/ 754 h 865"/>
                <a:gd name="T86" fmla="*/ 318 w 1116"/>
                <a:gd name="T87" fmla="*/ 765 h 865"/>
                <a:gd name="T88" fmla="*/ 279 w 1116"/>
                <a:gd name="T89" fmla="*/ 797 h 865"/>
                <a:gd name="T90" fmla="*/ 248 w 1116"/>
                <a:gd name="T91" fmla="*/ 792 h 865"/>
                <a:gd name="T92" fmla="*/ 227 w 1116"/>
                <a:gd name="T93" fmla="*/ 761 h 865"/>
                <a:gd name="T94" fmla="*/ 191 w 1116"/>
                <a:gd name="T95" fmla="*/ 732 h 865"/>
                <a:gd name="T96" fmla="*/ 215 w 1116"/>
                <a:gd name="T97" fmla="*/ 685 h 865"/>
                <a:gd name="T98" fmla="*/ 199 w 1116"/>
                <a:gd name="T99" fmla="*/ 632 h 865"/>
                <a:gd name="T100" fmla="*/ 185 w 1116"/>
                <a:gd name="T101" fmla="*/ 577 h 865"/>
                <a:gd name="T102" fmla="*/ 126 w 1116"/>
                <a:gd name="T103" fmla="*/ 581 h 865"/>
                <a:gd name="T104" fmla="*/ 77 w 1116"/>
                <a:gd name="T105" fmla="*/ 570 h 865"/>
                <a:gd name="T106" fmla="*/ 56 w 1116"/>
                <a:gd name="T107" fmla="*/ 530 h 865"/>
                <a:gd name="T108" fmla="*/ 17 w 1116"/>
                <a:gd name="T109" fmla="*/ 512 h 865"/>
                <a:gd name="T110" fmla="*/ 1 w 1116"/>
                <a:gd name="T111" fmla="*/ 476 h 865"/>
                <a:gd name="T112" fmla="*/ 31 w 1116"/>
                <a:gd name="T113" fmla="*/ 437 h 865"/>
                <a:gd name="T114" fmla="*/ 18 w 1116"/>
                <a:gd name="T115" fmla="*/ 382 h 865"/>
                <a:gd name="T116" fmla="*/ 9 w 1116"/>
                <a:gd name="T117" fmla="*/ 324 h 865"/>
                <a:gd name="T118" fmla="*/ 65 w 1116"/>
                <a:gd name="T119" fmla="*/ 329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16" h="865">
                  <a:moveTo>
                    <a:pt x="325" y="0"/>
                  </a:moveTo>
                  <a:lnTo>
                    <a:pt x="329" y="1"/>
                  </a:lnTo>
                  <a:lnTo>
                    <a:pt x="344" y="2"/>
                  </a:lnTo>
                  <a:lnTo>
                    <a:pt x="351" y="3"/>
                  </a:lnTo>
                  <a:lnTo>
                    <a:pt x="356" y="4"/>
                  </a:lnTo>
                  <a:lnTo>
                    <a:pt x="362" y="5"/>
                  </a:lnTo>
                  <a:lnTo>
                    <a:pt x="367" y="7"/>
                  </a:lnTo>
                  <a:lnTo>
                    <a:pt x="369" y="8"/>
                  </a:lnTo>
                  <a:lnTo>
                    <a:pt x="372" y="9"/>
                  </a:lnTo>
                  <a:lnTo>
                    <a:pt x="375" y="10"/>
                  </a:lnTo>
                  <a:lnTo>
                    <a:pt x="383" y="15"/>
                  </a:lnTo>
                  <a:lnTo>
                    <a:pt x="389" y="18"/>
                  </a:lnTo>
                  <a:lnTo>
                    <a:pt x="397" y="21"/>
                  </a:lnTo>
                  <a:lnTo>
                    <a:pt x="409" y="25"/>
                  </a:lnTo>
                  <a:lnTo>
                    <a:pt x="412" y="27"/>
                  </a:lnTo>
                  <a:lnTo>
                    <a:pt x="416" y="29"/>
                  </a:lnTo>
                  <a:lnTo>
                    <a:pt x="420" y="31"/>
                  </a:lnTo>
                  <a:lnTo>
                    <a:pt x="422" y="33"/>
                  </a:lnTo>
                  <a:lnTo>
                    <a:pt x="425" y="34"/>
                  </a:lnTo>
                  <a:lnTo>
                    <a:pt x="434" y="41"/>
                  </a:lnTo>
                  <a:lnTo>
                    <a:pt x="436" y="42"/>
                  </a:lnTo>
                  <a:lnTo>
                    <a:pt x="439" y="43"/>
                  </a:lnTo>
                  <a:lnTo>
                    <a:pt x="442" y="45"/>
                  </a:lnTo>
                  <a:lnTo>
                    <a:pt x="444" y="45"/>
                  </a:lnTo>
                  <a:lnTo>
                    <a:pt x="447" y="46"/>
                  </a:lnTo>
                  <a:lnTo>
                    <a:pt x="449" y="46"/>
                  </a:lnTo>
                  <a:lnTo>
                    <a:pt x="452" y="46"/>
                  </a:lnTo>
                  <a:lnTo>
                    <a:pt x="454" y="47"/>
                  </a:lnTo>
                  <a:lnTo>
                    <a:pt x="463" y="47"/>
                  </a:lnTo>
                  <a:lnTo>
                    <a:pt x="467" y="47"/>
                  </a:lnTo>
                  <a:lnTo>
                    <a:pt x="469" y="46"/>
                  </a:lnTo>
                  <a:lnTo>
                    <a:pt x="472" y="46"/>
                  </a:lnTo>
                  <a:lnTo>
                    <a:pt x="478" y="45"/>
                  </a:lnTo>
                  <a:lnTo>
                    <a:pt x="496" y="40"/>
                  </a:lnTo>
                  <a:lnTo>
                    <a:pt x="500" y="38"/>
                  </a:lnTo>
                  <a:lnTo>
                    <a:pt x="510" y="34"/>
                  </a:lnTo>
                  <a:lnTo>
                    <a:pt x="512" y="34"/>
                  </a:lnTo>
                  <a:lnTo>
                    <a:pt x="515" y="34"/>
                  </a:lnTo>
                  <a:lnTo>
                    <a:pt x="519" y="34"/>
                  </a:lnTo>
                  <a:lnTo>
                    <a:pt x="522" y="34"/>
                  </a:lnTo>
                  <a:lnTo>
                    <a:pt x="522" y="34"/>
                  </a:lnTo>
                  <a:lnTo>
                    <a:pt x="524" y="34"/>
                  </a:lnTo>
                  <a:lnTo>
                    <a:pt x="526" y="35"/>
                  </a:lnTo>
                  <a:lnTo>
                    <a:pt x="528" y="36"/>
                  </a:lnTo>
                  <a:lnTo>
                    <a:pt x="529" y="37"/>
                  </a:lnTo>
                  <a:lnTo>
                    <a:pt x="532" y="40"/>
                  </a:lnTo>
                  <a:lnTo>
                    <a:pt x="534" y="43"/>
                  </a:lnTo>
                  <a:lnTo>
                    <a:pt x="535" y="45"/>
                  </a:lnTo>
                  <a:lnTo>
                    <a:pt x="536" y="47"/>
                  </a:lnTo>
                  <a:lnTo>
                    <a:pt x="537" y="50"/>
                  </a:lnTo>
                  <a:lnTo>
                    <a:pt x="541" y="61"/>
                  </a:lnTo>
                  <a:lnTo>
                    <a:pt x="543" y="66"/>
                  </a:lnTo>
                  <a:lnTo>
                    <a:pt x="545" y="72"/>
                  </a:lnTo>
                  <a:lnTo>
                    <a:pt x="553" y="87"/>
                  </a:lnTo>
                  <a:lnTo>
                    <a:pt x="556" y="95"/>
                  </a:lnTo>
                  <a:lnTo>
                    <a:pt x="560" y="104"/>
                  </a:lnTo>
                  <a:lnTo>
                    <a:pt x="561" y="108"/>
                  </a:lnTo>
                  <a:lnTo>
                    <a:pt x="564" y="112"/>
                  </a:lnTo>
                  <a:lnTo>
                    <a:pt x="566" y="115"/>
                  </a:lnTo>
                  <a:lnTo>
                    <a:pt x="567" y="116"/>
                  </a:lnTo>
                  <a:lnTo>
                    <a:pt x="568" y="117"/>
                  </a:lnTo>
                  <a:lnTo>
                    <a:pt x="568" y="118"/>
                  </a:lnTo>
                  <a:lnTo>
                    <a:pt x="569" y="119"/>
                  </a:lnTo>
                  <a:lnTo>
                    <a:pt x="570" y="119"/>
                  </a:lnTo>
                  <a:lnTo>
                    <a:pt x="572" y="120"/>
                  </a:lnTo>
                  <a:lnTo>
                    <a:pt x="573" y="121"/>
                  </a:lnTo>
                  <a:lnTo>
                    <a:pt x="575" y="121"/>
                  </a:lnTo>
                  <a:lnTo>
                    <a:pt x="577" y="121"/>
                  </a:lnTo>
                  <a:lnTo>
                    <a:pt x="579" y="121"/>
                  </a:lnTo>
                  <a:lnTo>
                    <a:pt x="580" y="121"/>
                  </a:lnTo>
                  <a:lnTo>
                    <a:pt x="582" y="120"/>
                  </a:lnTo>
                  <a:lnTo>
                    <a:pt x="586" y="119"/>
                  </a:lnTo>
                  <a:lnTo>
                    <a:pt x="591" y="118"/>
                  </a:lnTo>
                  <a:lnTo>
                    <a:pt x="603" y="113"/>
                  </a:lnTo>
                  <a:lnTo>
                    <a:pt x="610" y="112"/>
                  </a:lnTo>
                  <a:lnTo>
                    <a:pt x="616" y="109"/>
                  </a:lnTo>
                  <a:lnTo>
                    <a:pt x="620" y="108"/>
                  </a:lnTo>
                  <a:lnTo>
                    <a:pt x="624" y="107"/>
                  </a:lnTo>
                  <a:lnTo>
                    <a:pt x="627" y="106"/>
                  </a:lnTo>
                  <a:lnTo>
                    <a:pt x="631" y="105"/>
                  </a:lnTo>
                  <a:lnTo>
                    <a:pt x="634" y="105"/>
                  </a:lnTo>
                  <a:lnTo>
                    <a:pt x="636" y="105"/>
                  </a:lnTo>
                  <a:lnTo>
                    <a:pt x="639" y="105"/>
                  </a:lnTo>
                  <a:lnTo>
                    <a:pt x="643" y="106"/>
                  </a:lnTo>
                  <a:lnTo>
                    <a:pt x="646" y="107"/>
                  </a:lnTo>
                  <a:lnTo>
                    <a:pt x="648" y="108"/>
                  </a:lnTo>
                  <a:lnTo>
                    <a:pt x="651" y="110"/>
                  </a:lnTo>
                  <a:lnTo>
                    <a:pt x="653" y="112"/>
                  </a:lnTo>
                  <a:lnTo>
                    <a:pt x="656" y="113"/>
                  </a:lnTo>
                  <a:lnTo>
                    <a:pt x="657" y="115"/>
                  </a:lnTo>
                  <a:lnTo>
                    <a:pt x="659" y="117"/>
                  </a:lnTo>
                  <a:lnTo>
                    <a:pt x="660" y="120"/>
                  </a:lnTo>
                  <a:lnTo>
                    <a:pt x="662" y="123"/>
                  </a:lnTo>
                  <a:lnTo>
                    <a:pt x="663" y="125"/>
                  </a:lnTo>
                  <a:lnTo>
                    <a:pt x="664" y="127"/>
                  </a:lnTo>
                  <a:lnTo>
                    <a:pt x="666" y="133"/>
                  </a:lnTo>
                  <a:lnTo>
                    <a:pt x="668" y="138"/>
                  </a:lnTo>
                  <a:lnTo>
                    <a:pt x="669" y="143"/>
                  </a:lnTo>
                  <a:lnTo>
                    <a:pt x="670" y="147"/>
                  </a:lnTo>
                  <a:lnTo>
                    <a:pt x="671" y="155"/>
                  </a:lnTo>
                  <a:lnTo>
                    <a:pt x="673" y="166"/>
                  </a:lnTo>
                  <a:lnTo>
                    <a:pt x="674" y="169"/>
                  </a:lnTo>
                  <a:lnTo>
                    <a:pt x="674" y="170"/>
                  </a:lnTo>
                  <a:lnTo>
                    <a:pt x="674" y="172"/>
                  </a:lnTo>
                  <a:lnTo>
                    <a:pt x="674" y="173"/>
                  </a:lnTo>
                  <a:lnTo>
                    <a:pt x="673" y="174"/>
                  </a:lnTo>
                  <a:lnTo>
                    <a:pt x="673" y="176"/>
                  </a:lnTo>
                  <a:lnTo>
                    <a:pt x="672" y="178"/>
                  </a:lnTo>
                  <a:lnTo>
                    <a:pt x="669" y="184"/>
                  </a:lnTo>
                  <a:lnTo>
                    <a:pt x="667" y="188"/>
                  </a:lnTo>
                  <a:lnTo>
                    <a:pt x="667" y="190"/>
                  </a:lnTo>
                  <a:lnTo>
                    <a:pt x="666" y="191"/>
                  </a:lnTo>
                  <a:lnTo>
                    <a:pt x="666" y="193"/>
                  </a:lnTo>
                  <a:lnTo>
                    <a:pt x="666" y="193"/>
                  </a:lnTo>
                  <a:lnTo>
                    <a:pt x="667" y="195"/>
                  </a:lnTo>
                  <a:lnTo>
                    <a:pt x="668" y="197"/>
                  </a:lnTo>
                  <a:lnTo>
                    <a:pt x="670" y="198"/>
                  </a:lnTo>
                  <a:lnTo>
                    <a:pt x="670" y="200"/>
                  </a:lnTo>
                  <a:lnTo>
                    <a:pt x="672" y="201"/>
                  </a:lnTo>
                  <a:lnTo>
                    <a:pt x="674" y="202"/>
                  </a:lnTo>
                  <a:lnTo>
                    <a:pt x="677" y="203"/>
                  </a:lnTo>
                  <a:lnTo>
                    <a:pt x="680" y="204"/>
                  </a:lnTo>
                  <a:lnTo>
                    <a:pt x="682" y="204"/>
                  </a:lnTo>
                  <a:lnTo>
                    <a:pt x="684" y="204"/>
                  </a:lnTo>
                  <a:lnTo>
                    <a:pt x="686" y="204"/>
                  </a:lnTo>
                  <a:lnTo>
                    <a:pt x="689" y="203"/>
                  </a:lnTo>
                  <a:lnTo>
                    <a:pt x="692" y="201"/>
                  </a:lnTo>
                  <a:lnTo>
                    <a:pt x="695" y="199"/>
                  </a:lnTo>
                  <a:lnTo>
                    <a:pt x="702" y="194"/>
                  </a:lnTo>
                  <a:lnTo>
                    <a:pt x="704" y="193"/>
                  </a:lnTo>
                  <a:lnTo>
                    <a:pt x="704" y="192"/>
                  </a:lnTo>
                  <a:lnTo>
                    <a:pt x="705" y="191"/>
                  </a:lnTo>
                  <a:lnTo>
                    <a:pt x="707" y="190"/>
                  </a:lnTo>
                  <a:lnTo>
                    <a:pt x="708" y="188"/>
                  </a:lnTo>
                  <a:lnTo>
                    <a:pt x="709" y="186"/>
                  </a:lnTo>
                  <a:lnTo>
                    <a:pt x="711" y="182"/>
                  </a:lnTo>
                  <a:lnTo>
                    <a:pt x="716" y="172"/>
                  </a:lnTo>
                  <a:lnTo>
                    <a:pt x="719" y="167"/>
                  </a:lnTo>
                  <a:lnTo>
                    <a:pt x="722" y="162"/>
                  </a:lnTo>
                  <a:lnTo>
                    <a:pt x="725" y="158"/>
                  </a:lnTo>
                  <a:lnTo>
                    <a:pt x="728" y="154"/>
                  </a:lnTo>
                  <a:lnTo>
                    <a:pt x="732" y="149"/>
                  </a:lnTo>
                  <a:lnTo>
                    <a:pt x="735" y="147"/>
                  </a:lnTo>
                  <a:lnTo>
                    <a:pt x="738" y="145"/>
                  </a:lnTo>
                  <a:lnTo>
                    <a:pt x="740" y="142"/>
                  </a:lnTo>
                  <a:lnTo>
                    <a:pt x="743" y="141"/>
                  </a:lnTo>
                  <a:lnTo>
                    <a:pt x="745" y="139"/>
                  </a:lnTo>
                  <a:lnTo>
                    <a:pt x="748" y="139"/>
                  </a:lnTo>
                  <a:lnTo>
                    <a:pt x="750" y="138"/>
                  </a:lnTo>
                  <a:lnTo>
                    <a:pt x="754" y="138"/>
                  </a:lnTo>
                  <a:lnTo>
                    <a:pt x="757" y="139"/>
                  </a:lnTo>
                  <a:lnTo>
                    <a:pt x="760" y="139"/>
                  </a:lnTo>
                  <a:lnTo>
                    <a:pt x="762" y="140"/>
                  </a:lnTo>
                  <a:lnTo>
                    <a:pt x="766" y="142"/>
                  </a:lnTo>
                  <a:lnTo>
                    <a:pt x="777" y="147"/>
                  </a:lnTo>
                  <a:lnTo>
                    <a:pt x="780" y="148"/>
                  </a:lnTo>
                  <a:lnTo>
                    <a:pt x="784" y="150"/>
                  </a:lnTo>
                  <a:lnTo>
                    <a:pt x="786" y="152"/>
                  </a:lnTo>
                  <a:lnTo>
                    <a:pt x="790" y="155"/>
                  </a:lnTo>
                  <a:lnTo>
                    <a:pt x="794" y="158"/>
                  </a:lnTo>
                  <a:lnTo>
                    <a:pt x="801" y="164"/>
                  </a:lnTo>
                  <a:lnTo>
                    <a:pt x="803" y="166"/>
                  </a:lnTo>
                  <a:lnTo>
                    <a:pt x="805" y="167"/>
                  </a:lnTo>
                  <a:lnTo>
                    <a:pt x="806" y="168"/>
                  </a:lnTo>
                  <a:lnTo>
                    <a:pt x="807" y="169"/>
                  </a:lnTo>
                  <a:lnTo>
                    <a:pt x="809" y="169"/>
                  </a:lnTo>
                  <a:lnTo>
                    <a:pt x="811" y="169"/>
                  </a:lnTo>
                  <a:lnTo>
                    <a:pt x="813" y="169"/>
                  </a:lnTo>
                  <a:lnTo>
                    <a:pt x="815" y="169"/>
                  </a:lnTo>
                  <a:lnTo>
                    <a:pt x="817" y="169"/>
                  </a:lnTo>
                  <a:lnTo>
                    <a:pt x="819" y="168"/>
                  </a:lnTo>
                  <a:lnTo>
                    <a:pt x="821" y="167"/>
                  </a:lnTo>
                  <a:lnTo>
                    <a:pt x="823" y="166"/>
                  </a:lnTo>
                  <a:lnTo>
                    <a:pt x="825" y="165"/>
                  </a:lnTo>
                  <a:lnTo>
                    <a:pt x="826" y="163"/>
                  </a:lnTo>
                  <a:lnTo>
                    <a:pt x="827" y="162"/>
                  </a:lnTo>
                  <a:lnTo>
                    <a:pt x="828" y="161"/>
                  </a:lnTo>
                  <a:lnTo>
                    <a:pt x="829" y="159"/>
                  </a:lnTo>
                  <a:lnTo>
                    <a:pt x="830" y="158"/>
                  </a:lnTo>
                  <a:lnTo>
                    <a:pt x="831" y="154"/>
                  </a:lnTo>
                  <a:lnTo>
                    <a:pt x="835" y="146"/>
                  </a:lnTo>
                  <a:lnTo>
                    <a:pt x="837" y="141"/>
                  </a:lnTo>
                  <a:lnTo>
                    <a:pt x="840" y="137"/>
                  </a:lnTo>
                  <a:lnTo>
                    <a:pt x="841" y="136"/>
                  </a:lnTo>
                  <a:lnTo>
                    <a:pt x="841" y="134"/>
                  </a:lnTo>
                  <a:lnTo>
                    <a:pt x="842" y="132"/>
                  </a:lnTo>
                  <a:lnTo>
                    <a:pt x="844" y="131"/>
                  </a:lnTo>
                  <a:lnTo>
                    <a:pt x="845" y="130"/>
                  </a:lnTo>
                  <a:lnTo>
                    <a:pt x="847" y="129"/>
                  </a:lnTo>
                  <a:lnTo>
                    <a:pt x="848" y="128"/>
                  </a:lnTo>
                  <a:lnTo>
                    <a:pt x="850" y="127"/>
                  </a:lnTo>
                  <a:lnTo>
                    <a:pt x="852" y="127"/>
                  </a:lnTo>
                  <a:lnTo>
                    <a:pt x="854" y="126"/>
                  </a:lnTo>
                  <a:lnTo>
                    <a:pt x="857" y="126"/>
                  </a:lnTo>
                  <a:lnTo>
                    <a:pt x="860" y="126"/>
                  </a:lnTo>
                  <a:lnTo>
                    <a:pt x="863" y="126"/>
                  </a:lnTo>
                  <a:lnTo>
                    <a:pt x="867" y="126"/>
                  </a:lnTo>
                  <a:lnTo>
                    <a:pt x="870" y="127"/>
                  </a:lnTo>
                  <a:lnTo>
                    <a:pt x="873" y="127"/>
                  </a:lnTo>
                  <a:lnTo>
                    <a:pt x="882" y="130"/>
                  </a:lnTo>
                  <a:lnTo>
                    <a:pt x="885" y="130"/>
                  </a:lnTo>
                  <a:lnTo>
                    <a:pt x="887" y="131"/>
                  </a:lnTo>
                  <a:lnTo>
                    <a:pt x="890" y="131"/>
                  </a:lnTo>
                  <a:lnTo>
                    <a:pt x="895" y="131"/>
                  </a:lnTo>
                  <a:lnTo>
                    <a:pt x="903" y="131"/>
                  </a:lnTo>
                  <a:lnTo>
                    <a:pt x="906" y="131"/>
                  </a:lnTo>
                  <a:lnTo>
                    <a:pt x="909" y="132"/>
                  </a:lnTo>
                  <a:lnTo>
                    <a:pt x="913" y="132"/>
                  </a:lnTo>
                  <a:lnTo>
                    <a:pt x="916" y="133"/>
                  </a:lnTo>
                  <a:lnTo>
                    <a:pt x="919" y="135"/>
                  </a:lnTo>
                  <a:lnTo>
                    <a:pt x="920" y="136"/>
                  </a:lnTo>
                  <a:lnTo>
                    <a:pt x="923" y="137"/>
                  </a:lnTo>
                  <a:lnTo>
                    <a:pt x="927" y="140"/>
                  </a:lnTo>
                  <a:lnTo>
                    <a:pt x="932" y="146"/>
                  </a:lnTo>
                  <a:lnTo>
                    <a:pt x="938" y="149"/>
                  </a:lnTo>
                  <a:lnTo>
                    <a:pt x="940" y="151"/>
                  </a:lnTo>
                  <a:lnTo>
                    <a:pt x="943" y="156"/>
                  </a:lnTo>
                  <a:lnTo>
                    <a:pt x="950" y="162"/>
                  </a:lnTo>
                  <a:lnTo>
                    <a:pt x="957" y="170"/>
                  </a:lnTo>
                  <a:lnTo>
                    <a:pt x="961" y="175"/>
                  </a:lnTo>
                  <a:lnTo>
                    <a:pt x="966" y="180"/>
                  </a:lnTo>
                  <a:lnTo>
                    <a:pt x="975" y="187"/>
                  </a:lnTo>
                  <a:lnTo>
                    <a:pt x="980" y="193"/>
                  </a:lnTo>
                  <a:lnTo>
                    <a:pt x="985" y="198"/>
                  </a:lnTo>
                  <a:lnTo>
                    <a:pt x="989" y="203"/>
                  </a:lnTo>
                  <a:lnTo>
                    <a:pt x="991" y="206"/>
                  </a:lnTo>
                  <a:lnTo>
                    <a:pt x="993" y="210"/>
                  </a:lnTo>
                  <a:lnTo>
                    <a:pt x="995" y="214"/>
                  </a:lnTo>
                  <a:lnTo>
                    <a:pt x="996" y="217"/>
                  </a:lnTo>
                  <a:lnTo>
                    <a:pt x="996" y="220"/>
                  </a:lnTo>
                  <a:lnTo>
                    <a:pt x="996" y="222"/>
                  </a:lnTo>
                  <a:lnTo>
                    <a:pt x="996" y="223"/>
                  </a:lnTo>
                  <a:lnTo>
                    <a:pt x="996" y="226"/>
                  </a:lnTo>
                  <a:lnTo>
                    <a:pt x="995" y="228"/>
                  </a:lnTo>
                  <a:lnTo>
                    <a:pt x="994" y="229"/>
                  </a:lnTo>
                  <a:lnTo>
                    <a:pt x="993" y="231"/>
                  </a:lnTo>
                  <a:lnTo>
                    <a:pt x="991" y="234"/>
                  </a:lnTo>
                  <a:lnTo>
                    <a:pt x="989" y="238"/>
                  </a:lnTo>
                  <a:lnTo>
                    <a:pt x="983" y="242"/>
                  </a:lnTo>
                  <a:lnTo>
                    <a:pt x="982" y="244"/>
                  </a:lnTo>
                  <a:lnTo>
                    <a:pt x="980" y="246"/>
                  </a:lnTo>
                  <a:lnTo>
                    <a:pt x="979" y="248"/>
                  </a:lnTo>
                  <a:lnTo>
                    <a:pt x="978" y="250"/>
                  </a:lnTo>
                  <a:lnTo>
                    <a:pt x="976" y="258"/>
                  </a:lnTo>
                  <a:lnTo>
                    <a:pt x="975" y="262"/>
                  </a:lnTo>
                  <a:lnTo>
                    <a:pt x="973" y="265"/>
                  </a:lnTo>
                  <a:lnTo>
                    <a:pt x="969" y="272"/>
                  </a:lnTo>
                  <a:lnTo>
                    <a:pt x="967" y="274"/>
                  </a:lnTo>
                  <a:lnTo>
                    <a:pt x="967" y="277"/>
                  </a:lnTo>
                  <a:lnTo>
                    <a:pt x="966" y="283"/>
                  </a:lnTo>
                  <a:lnTo>
                    <a:pt x="966" y="286"/>
                  </a:lnTo>
                  <a:lnTo>
                    <a:pt x="965" y="289"/>
                  </a:lnTo>
                  <a:lnTo>
                    <a:pt x="963" y="292"/>
                  </a:lnTo>
                  <a:lnTo>
                    <a:pt x="961" y="295"/>
                  </a:lnTo>
                  <a:lnTo>
                    <a:pt x="958" y="299"/>
                  </a:lnTo>
                  <a:lnTo>
                    <a:pt x="955" y="302"/>
                  </a:lnTo>
                  <a:lnTo>
                    <a:pt x="946" y="312"/>
                  </a:lnTo>
                  <a:lnTo>
                    <a:pt x="943" y="316"/>
                  </a:lnTo>
                  <a:lnTo>
                    <a:pt x="941" y="317"/>
                  </a:lnTo>
                  <a:lnTo>
                    <a:pt x="939" y="318"/>
                  </a:lnTo>
                  <a:lnTo>
                    <a:pt x="937" y="319"/>
                  </a:lnTo>
                  <a:lnTo>
                    <a:pt x="935" y="320"/>
                  </a:lnTo>
                  <a:lnTo>
                    <a:pt x="933" y="321"/>
                  </a:lnTo>
                  <a:lnTo>
                    <a:pt x="932" y="322"/>
                  </a:lnTo>
                  <a:lnTo>
                    <a:pt x="929" y="322"/>
                  </a:lnTo>
                  <a:lnTo>
                    <a:pt x="927" y="323"/>
                  </a:lnTo>
                  <a:lnTo>
                    <a:pt x="924" y="322"/>
                  </a:lnTo>
                  <a:lnTo>
                    <a:pt x="918" y="322"/>
                  </a:lnTo>
                  <a:lnTo>
                    <a:pt x="914" y="322"/>
                  </a:lnTo>
                  <a:lnTo>
                    <a:pt x="913" y="322"/>
                  </a:lnTo>
                  <a:lnTo>
                    <a:pt x="911" y="322"/>
                  </a:lnTo>
                  <a:lnTo>
                    <a:pt x="909" y="323"/>
                  </a:lnTo>
                  <a:lnTo>
                    <a:pt x="909" y="323"/>
                  </a:lnTo>
                  <a:lnTo>
                    <a:pt x="908" y="324"/>
                  </a:lnTo>
                  <a:lnTo>
                    <a:pt x="906" y="326"/>
                  </a:lnTo>
                  <a:lnTo>
                    <a:pt x="905" y="327"/>
                  </a:lnTo>
                  <a:lnTo>
                    <a:pt x="900" y="331"/>
                  </a:lnTo>
                  <a:lnTo>
                    <a:pt x="895" y="338"/>
                  </a:lnTo>
                  <a:lnTo>
                    <a:pt x="892" y="340"/>
                  </a:lnTo>
                  <a:lnTo>
                    <a:pt x="890" y="341"/>
                  </a:lnTo>
                  <a:lnTo>
                    <a:pt x="888" y="343"/>
                  </a:lnTo>
                  <a:lnTo>
                    <a:pt x="886" y="344"/>
                  </a:lnTo>
                  <a:lnTo>
                    <a:pt x="883" y="345"/>
                  </a:lnTo>
                  <a:lnTo>
                    <a:pt x="878" y="346"/>
                  </a:lnTo>
                  <a:lnTo>
                    <a:pt x="876" y="347"/>
                  </a:lnTo>
                  <a:lnTo>
                    <a:pt x="875" y="348"/>
                  </a:lnTo>
                  <a:lnTo>
                    <a:pt x="872" y="350"/>
                  </a:lnTo>
                  <a:lnTo>
                    <a:pt x="866" y="352"/>
                  </a:lnTo>
                  <a:lnTo>
                    <a:pt x="863" y="354"/>
                  </a:lnTo>
                  <a:lnTo>
                    <a:pt x="863" y="355"/>
                  </a:lnTo>
                  <a:lnTo>
                    <a:pt x="861" y="356"/>
                  </a:lnTo>
                  <a:lnTo>
                    <a:pt x="858" y="361"/>
                  </a:lnTo>
                  <a:lnTo>
                    <a:pt x="856" y="363"/>
                  </a:lnTo>
                  <a:lnTo>
                    <a:pt x="854" y="363"/>
                  </a:lnTo>
                  <a:lnTo>
                    <a:pt x="850" y="366"/>
                  </a:lnTo>
                  <a:lnTo>
                    <a:pt x="849" y="368"/>
                  </a:lnTo>
                  <a:lnTo>
                    <a:pt x="847" y="369"/>
                  </a:lnTo>
                  <a:lnTo>
                    <a:pt x="844" y="374"/>
                  </a:lnTo>
                  <a:lnTo>
                    <a:pt x="842" y="374"/>
                  </a:lnTo>
                  <a:lnTo>
                    <a:pt x="842" y="376"/>
                  </a:lnTo>
                  <a:lnTo>
                    <a:pt x="841" y="377"/>
                  </a:lnTo>
                  <a:lnTo>
                    <a:pt x="841" y="381"/>
                  </a:lnTo>
                  <a:lnTo>
                    <a:pt x="841" y="383"/>
                  </a:lnTo>
                  <a:lnTo>
                    <a:pt x="841" y="385"/>
                  </a:lnTo>
                  <a:lnTo>
                    <a:pt x="840" y="385"/>
                  </a:lnTo>
                  <a:lnTo>
                    <a:pt x="839" y="386"/>
                  </a:lnTo>
                  <a:lnTo>
                    <a:pt x="838" y="386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2" y="388"/>
                  </a:lnTo>
                  <a:lnTo>
                    <a:pt x="831" y="388"/>
                  </a:lnTo>
                  <a:lnTo>
                    <a:pt x="829" y="389"/>
                  </a:lnTo>
                  <a:lnTo>
                    <a:pt x="829" y="390"/>
                  </a:lnTo>
                  <a:lnTo>
                    <a:pt x="828" y="391"/>
                  </a:lnTo>
                  <a:lnTo>
                    <a:pt x="827" y="392"/>
                  </a:lnTo>
                  <a:lnTo>
                    <a:pt x="826" y="394"/>
                  </a:lnTo>
                  <a:lnTo>
                    <a:pt x="825" y="396"/>
                  </a:lnTo>
                  <a:lnTo>
                    <a:pt x="824" y="397"/>
                  </a:lnTo>
                  <a:lnTo>
                    <a:pt x="824" y="399"/>
                  </a:lnTo>
                  <a:lnTo>
                    <a:pt x="823" y="401"/>
                  </a:lnTo>
                  <a:lnTo>
                    <a:pt x="823" y="403"/>
                  </a:lnTo>
                  <a:lnTo>
                    <a:pt x="824" y="406"/>
                  </a:lnTo>
                  <a:lnTo>
                    <a:pt x="824" y="408"/>
                  </a:lnTo>
                  <a:lnTo>
                    <a:pt x="825" y="408"/>
                  </a:lnTo>
                  <a:lnTo>
                    <a:pt x="826" y="411"/>
                  </a:lnTo>
                  <a:lnTo>
                    <a:pt x="829" y="419"/>
                  </a:lnTo>
                  <a:lnTo>
                    <a:pt x="832" y="423"/>
                  </a:lnTo>
                  <a:lnTo>
                    <a:pt x="833" y="425"/>
                  </a:lnTo>
                  <a:lnTo>
                    <a:pt x="835" y="427"/>
                  </a:lnTo>
                  <a:lnTo>
                    <a:pt x="836" y="428"/>
                  </a:lnTo>
                  <a:lnTo>
                    <a:pt x="837" y="429"/>
                  </a:lnTo>
                  <a:lnTo>
                    <a:pt x="839" y="429"/>
                  </a:lnTo>
                  <a:lnTo>
                    <a:pt x="841" y="430"/>
                  </a:lnTo>
                  <a:lnTo>
                    <a:pt x="846" y="431"/>
                  </a:lnTo>
                  <a:lnTo>
                    <a:pt x="848" y="432"/>
                  </a:lnTo>
                  <a:lnTo>
                    <a:pt x="849" y="433"/>
                  </a:lnTo>
                  <a:lnTo>
                    <a:pt x="852" y="435"/>
                  </a:lnTo>
                  <a:lnTo>
                    <a:pt x="855" y="437"/>
                  </a:lnTo>
                  <a:lnTo>
                    <a:pt x="856" y="439"/>
                  </a:lnTo>
                  <a:lnTo>
                    <a:pt x="857" y="441"/>
                  </a:lnTo>
                  <a:lnTo>
                    <a:pt x="862" y="447"/>
                  </a:lnTo>
                  <a:lnTo>
                    <a:pt x="863" y="449"/>
                  </a:lnTo>
                  <a:lnTo>
                    <a:pt x="867" y="453"/>
                  </a:lnTo>
                  <a:lnTo>
                    <a:pt x="868" y="455"/>
                  </a:lnTo>
                  <a:lnTo>
                    <a:pt x="870" y="458"/>
                  </a:lnTo>
                  <a:lnTo>
                    <a:pt x="874" y="464"/>
                  </a:lnTo>
                  <a:lnTo>
                    <a:pt x="875" y="465"/>
                  </a:lnTo>
                  <a:lnTo>
                    <a:pt x="877" y="468"/>
                  </a:lnTo>
                  <a:lnTo>
                    <a:pt x="880" y="470"/>
                  </a:lnTo>
                  <a:lnTo>
                    <a:pt x="881" y="472"/>
                  </a:lnTo>
                  <a:lnTo>
                    <a:pt x="883" y="473"/>
                  </a:lnTo>
                  <a:lnTo>
                    <a:pt x="885" y="474"/>
                  </a:lnTo>
                  <a:lnTo>
                    <a:pt x="886" y="474"/>
                  </a:lnTo>
                  <a:lnTo>
                    <a:pt x="887" y="474"/>
                  </a:lnTo>
                  <a:lnTo>
                    <a:pt x="889" y="474"/>
                  </a:lnTo>
                  <a:lnTo>
                    <a:pt x="891" y="474"/>
                  </a:lnTo>
                  <a:lnTo>
                    <a:pt x="892" y="473"/>
                  </a:lnTo>
                  <a:lnTo>
                    <a:pt x="899" y="469"/>
                  </a:lnTo>
                  <a:lnTo>
                    <a:pt x="902" y="468"/>
                  </a:lnTo>
                  <a:lnTo>
                    <a:pt x="904" y="467"/>
                  </a:lnTo>
                  <a:lnTo>
                    <a:pt x="906" y="467"/>
                  </a:lnTo>
                  <a:lnTo>
                    <a:pt x="909" y="466"/>
                  </a:lnTo>
                  <a:lnTo>
                    <a:pt x="912" y="466"/>
                  </a:lnTo>
                  <a:lnTo>
                    <a:pt x="916" y="465"/>
                  </a:lnTo>
                  <a:lnTo>
                    <a:pt x="919" y="465"/>
                  </a:lnTo>
                  <a:lnTo>
                    <a:pt x="922" y="466"/>
                  </a:lnTo>
                  <a:lnTo>
                    <a:pt x="926" y="466"/>
                  </a:lnTo>
                  <a:lnTo>
                    <a:pt x="930" y="467"/>
                  </a:lnTo>
                  <a:lnTo>
                    <a:pt x="932" y="468"/>
                  </a:lnTo>
                  <a:lnTo>
                    <a:pt x="934" y="469"/>
                  </a:lnTo>
                  <a:lnTo>
                    <a:pt x="937" y="470"/>
                  </a:lnTo>
                  <a:lnTo>
                    <a:pt x="939" y="471"/>
                  </a:lnTo>
                  <a:lnTo>
                    <a:pt x="940" y="472"/>
                  </a:lnTo>
                  <a:lnTo>
                    <a:pt x="941" y="473"/>
                  </a:lnTo>
                  <a:lnTo>
                    <a:pt x="943" y="476"/>
                  </a:lnTo>
                  <a:lnTo>
                    <a:pt x="944" y="478"/>
                  </a:lnTo>
                  <a:lnTo>
                    <a:pt x="945" y="482"/>
                  </a:lnTo>
                  <a:lnTo>
                    <a:pt x="947" y="486"/>
                  </a:lnTo>
                  <a:lnTo>
                    <a:pt x="949" y="496"/>
                  </a:lnTo>
                  <a:lnTo>
                    <a:pt x="950" y="499"/>
                  </a:lnTo>
                  <a:lnTo>
                    <a:pt x="952" y="502"/>
                  </a:lnTo>
                  <a:lnTo>
                    <a:pt x="954" y="507"/>
                  </a:lnTo>
                  <a:lnTo>
                    <a:pt x="955" y="510"/>
                  </a:lnTo>
                  <a:lnTo>
                    <a:pt x="958" y="514"/>
                  </a:lnTo>
                  <a:lnTo>
                    <a:pt x="960" y="517"/>
                  </a:lnTo>
                  <a:lnTo>
                    <a:pt x="962" y="519"/>
                  </a:lnTo>
                  <a:lnTo>
                    <a:pt x="964" y="522"/>
                  </a:lnTo>
                  <a:lnTo>
                    <a:pt x="966" y="524"/>
                  </a:lnTo>
                  <a:lnTo>
                    <a:pt x="969" y="526"/>
                  </a:lnTo>
                  <a:lnTo>
                    <a:pt x="972" y="528"/>
                  </a:lnTo>
                  <a:lnTo>
                    <a:pt x="975" y="530"/>
                  </a:lnTo>
                  <a:lnTo>
                    <a:pt x="977" y="531"/>
                  </a:lnTo>
                  <a:lnTo>
                    <a:pt x="978" y="531"/>
                  </a:lnTo>
                  <a:lnTo>
                    <a:pt x="987" y="532"/>
                  </a:lnTo>
                  <a:lnTo>
                    <a:pt x="990" y="533"/>
                  </a:lnTo>
                  <a:lnTo>
                    <a:pt x="993" y="533"/>
                  </a:lnTo>
                  <a:lnTo>
                    <a:pt x="996" y="534"/>
                  </a:lnTo>
                  <a:lnTo>
                    <a:pt x="999" y="536"/>
                  </a:lnTo>
                  <a:lnTo>
                    <a:pt x="1001" y="538"/>
                  </a:lnTo>
                  <a:lnTo>
                    <a:pt x="1004" y="540"/>
                  </a:lnTo>
                  <a:lnTo>
                    <a:pt x="1007" y="544"/>
                  </a:lnTo>
                  <a:lnTo>
                    <a:pt x="1011" y="548"/>
                  </a:lnTo>
                  <a:lnTo>
                    <a:pt x="1016" y="555"/>
                  </a:lnTo>
                  <a:lnTo>
                    <a:pt x="1021" y="561"/>
                  </a:lnTo>
                  <a:lnTo>
                    <a:pt x="1023" y="566"/>
                  </a:lnTo>
                  <a:lnTo>
                    <a:pt x="1030" y="576"/>
                  </a:lnTo>
                  <a:lnTo>
                    <a:pt x="1034" y="583"/>
                  </a:lnTo>
                  <a:lnTo>
                    <a:pt x="1039" y="589"/>
                  </a:lnTo>
                  <a:lnTo>
                    <a:pt x="1045" y="596"/>
                  </a:lnTo>
                  <a:lnTo>
                    <a:pt x="1046" y="599"/>
                  </a:lnTo>
                  <a:lnTo>
                    <a:pt x="1048" y="601"/>
                  </a:lnTo>
                  <a:lnTo>
                    <a:pt x="1056" y="608"/>
                  </a:lnTo>
                  <a:lnTo>
                    <a:pt x="1065" y="619"/>
                  </a:lnTo>
                  <a:lnTo>
                    <a:pt x="1068" y="623"/>
                  </a:lnTo>
                  <a:lnTo>
                    <a:pt x="1070" y="625"/>
                  </a:lnTo>
                  <a:lnTo>
                    <a:pt x="1072" y="627"/>
                  </a:lnTo>
                  <a:lnTo>
                    <a:pt x="1079" y="633"/>
                  </a:lnTo>
                  <a:lnTo>
                    <a:pt x="1081" y="635"/>
                  </a:lnTo>
                  <a:lnTo>
                    <a:pt x="1083" y="636"/>
                  </a:lnTo>
                  <a:lnTo>
                    <a:pt x="1085" y="639"/>
                  </a:lnTo>
                  <a:lnTo>
                    <a:pt x="1088" y="642"/>
                  </a:lnTo>
                  <a:lnTo>
                    <a:pt x="1090" y="645"/>
                  </a:lnTo>
                  <a:lnTo>
                    <a:pt x="1091" y="648"/>
                  </a:lnTo>
                  <a:lnTo>
                    <a:pt x="1092" y="651"/>
                  </a:lnTo>
                  <a:lnTo>
                    <a:pt x="1094" y="655"/>
                  </a:lnTo>
                  <a:lnTo>
                    <a:pt x="1096" y="660"/>
                  </a:lnTo>
                  <a:lnTo>
                    <a:pt x="1097" y="664"/>
                  </a:lnTo>
                  <a:lnTo>
                    <a:pt x="1097" y="669"/>
                  </a:lnTo>
                  <a:lnTo>
                    <a:pt x="1098" y="680"/>
                  </a:lnTo>
                  <a:lnTo>
                    <a:pt x="1099" y="686"/>
                  </a:lnTo>
                  <a:lnTo>
                    <a:pt x="1099" y="691"/>
                  </a:lnTo>
                  <a:lnTo>
                    <a:pt x="1101" y="698"/>
                  </a:lnTo>
                  <a:lnTo>
                    <a:pt x="1102" y="704"/>
                  </a:lnTo>
                  <a:lnTo>
                    <a:pt x="1102" y="709"/>
                  </a:lnTo>
                  <a:lnTo>
                    <a:pt x="1102" y="711"/>
                  </a:lnTo>
                  <a:lnTo>
                    <a:pt x="1103" y="714"/>
                  </a:lnTo>
                  <a:lnTo>
                    <a:pt x="1105" y="718"/>
                  </a:lnTo>
                  <a:lnTo>
                    <a:pt x="1108" y="722"/>
                  </a:lnTo>
                  <a:lnTo>
                    <a:pt x="1113" y="731"/>
                  </a:lnTo>
                  <a:lnTo>
                    <a:pt x="1114" y="734"/>
                  </a:lnTo>
                  <a:lnTo>
                    <a:pt x="1114" y="736"/>
                  </a:lnTo>
                  <a:lnTo>
                    <a:pt x="1115" y="738"/>
                  </a:lnTo>
                  <a:lnTo>
                    <a:pt x="1116" y="740"/>
                  </a:lnTo>
                  <a:lnTo>
                    <a:pt x="1116" y="741"/>
                  </a:lnTo>
                  <a:lnTo>
                    <a:pt x="1116" y="742"/>
                  </a:lnTo>
                  <a:lnTo>
                    <a:pt x="1116" y="743"/>
                  </a:lnTo>
                  <a:lnTo>
                    <a:pt x="1115" y="743"/>
                  </a:lnTo>
                  <a:lnTo>
                    <a:pt x="1114" y="744"/>
                  </a:lnTo>
                  <a:lnTo>
                    <a:pt x="1114" y="744"/>
                  </a:lnTo>
                  <a:lnTo>
                    <a:pt x="1111" y="743"/>
                  </a:lnTo>
                  <a:lnTo>
                    <a:pt x="1107" y="743"/>
                  </a:lnTo>
                  <a:lnTo>
                    <a:pt x="1103" y="741"/>
                  </a:lnTo>
                  <a:lnTo>
                    <a:pt x="1100" y="740"/>
                  </a:lnTo>
                  <a:lnTo>
                    <a:pt x="1088" y="736"/>
                  </a:lnTo>
                  <a:lnTo>
                    <a:pt x="1083" y="734"/>
                  </a:lnTo>
                  <a:lnTo>
                    <a:pt x="1078" y="731"/>
                  </a:lnTo>
                  <a:lnTo>
                    <a:pt x="1073" y="728"/>
                  </a:lnTo>
                  <a:lnTo>
                    <a:pt x="1068" y="725"/>
                  </a:lnTo>
                  <a:lnTo>
                    <a:pt x="1066" y="724"/>
                  </a:lnTo>
                  <a:lnTo>
                    <a:pt x="1063" y="722"/>
                  </a:lnTo>
                  <a:lnTo>
                    <a:pt x="1060" y="721"/>
                  </a:lnTo>
                  <a:lnTo>
                    <a:pt x="1058" y="720"/>
                  </a:lnTo>
                  <a:lnTo>
                    <a:pt x="1057" y="720"/>
                  </a:lnTo>
                  <a:lnTo>
                    <a:pt x="1055" y="720"/>
                  </a:lnTo>
                  <a:lnTo>
                    <a:pt x="1054" y="719"/>
                  </a:lnTo>
                  <a:lnTo>
                    <a:pt x="1052" y="720"/>
                  </a:lnTo>
                  <a:lnTo>
                    <a:pt x="1050" y="720"/>
                  </a:lnTo>
                  <a:lnTo>
                    <a:pt x="1049" y="720"/>
                  </a:lnTo>
                  <a:lnTo>
                    <a:pt x="1048" y="721"/>
                  </a:lnTo>
                  <a:lnTo>
                    <a:pt x="1046" y="722"/>
                  </a:lnTo>
                  <a:lnTo>
                    <a:pt x="1045" y="723"/>
                  </a:lnTo>
                  <a:lnTo>
                    <a:pt x="1044" y="724"/>
                  </a:lnTo>
                  <a:lnTo>
                    <a:pt x="1042" y="725"/>
                  </a:lnTo>
                  <a:lnTo>
                    <a:pt x="1041" y="727"/>
                  </a:lnTo>
                  <a:lnTo>
                    <a:pt x="1040" y="729"/>
                  </a:lnTo>
                  <a:lnTo>
                    <a:pt x="1035" y="739"/>
                  </a:lnTo>
                  <a:lnTo>
                    <a:pt x="1034" y="742"/>
                  </a:lnTo>
                  <a:lnTo>
                    <a:pt x="1033" y="744"/>
                  </a:lnTo>
                  <a:lnTo>
                    <a:pt x="1031" y="747"/>
                  </a:lnTo>
                  <a:lnTo>
                    <a:pt x="1029" y="748"/>
                  </a:lnTo>
                  <a:lnTo>
                    <a:pt x="1027" y="751"/>
                  </a:lnTo>
                  <a:lnTo>
                    <a:pt x="1024" y="753"/>
                  </a:lnTo>
                  <a:lnTo>
                    <a:pt x="1021" y="756"/>
                  </a:lnTo>
                  <a:lnTo>
                    <a:pt x="1017" y="758"/>
                  </a:lnTo>
                  <a:lnTo>
                    <a:pt x="1014" y="759"/>
                  </a:lnTo>
                  <a:lnTo>
                    <a:pt x="1008" y="762"/>
                  </a:lnTo>
                  <a:lnTo>
                    <a:pt x="1003" y="765"/>
                  </a:lnTo>
                  <a:lnTo>
                    <a:pt x="1001" y="766"/>
                  </a:lnTo>
                  <a:lnTo>
                    <a:pt x="999" y="769"/>
                  </a:lnTo>
                  <a:lnTo>
                    <a:pt x="997" y="770"/>
                  </a:lnTo>
                  <a:lnTo>
                    <a:pt x="989" y="772"/>
                  </a:lnTo>
                  <a:lnTo>
                    <a:pt x="983" y="776"/>
                  </a:lnTo>
                  <a:lnTo>
                    <a:pt x="977" y="779"/>
                  </a:lnTo>
                  <a:lnTo>
                    <a:pt x="976" y="780"/>
                  </a:lnTo>
                  <a:lnTo>
                    <a:pt x="973" y="782"/>
                  </a:lnTo>
                  <a:lnTo>
                    <a:pt x="966" y="787"/>
                  </a:lnTo>
                  <a:lnTo>
                    <a:pt x="961" y="790"/>
                  </a:lnTo>
                  <a:lnTo>
                    <a:pt x="958" y="792"/>
                  </a:lnTo>
                  <a:lnTo>
                    <a:pt x="952" y="795"/>
                  </a:lnTo>
                  <a:lnTo>
                    <a:pt x="949" y="797"/>
                  </a:lnTo>
                  <a:lnTo>
                    <a:pt x="946" y="799"/>
                  </a:lnTo>
                  <a:lnTo>
                    <a:pt x="944" y="802"/>
                  </a:lnTo>
                  <a:lnTo>
                    <a:pt x="943" y="804"/>
                  </a:lnTo>
                  <a:lnTo>
                    <a:pt x="941" y="805"/>
                  </a:lnTo>
                  <a:lnTo>
                    <a:pt x="940" y="808"/>
                  </a:lnTo>
                  <a:lnTo>
                    <a:pt x="940" y="809"/>
                  </a:lnTo>
                  <a:lnTo>
                    <a:pt x="939" y="811"/>
                  </a:lnTo>
                  <a:lnTo>
                    <a:pt x="939" y="813"/>
                  </a:lnTo>
                  <a:lnTo>
                    <a:pt x="939" y="819"/>
                  </a:lnTo>
                  <a:lnTo>
                    <a:pt x="939" y="820"/>
                  </a:lnTo>
                  <a:lnTo>
                    <a:pt x="938" y="822"/>
                  </a:lnTo>
                  <a:lnTo>
                    <a:pt x="937" y="824"/>
                  </a:lnTo>
                  <a:lnTo>
                    <a:pt x="937" y="826"/>
                  </a:lnTo>
                  <a:lnTo>
                    <a:pt x="935" y="827"/>
                  </a:lnTo>
                  <a:lnTo>
                    <a:pt x="933" y="829"/>
                  </a:lnTo>
                  <a:lnTo>
                    <a:pt x="931" y="831"/>
                  </a:lnTo>
                  <a:lnTo>
                    <a:pt x="926" y="835"/>
                  </a:lnTo>
                  <a:lnTo>
                    <a:pt x="924" y="837"/>
                  </a:lnTo>
                  <a:lnTo>
                    <a:pt x="923" y="838"/>
                  </a:lnTo>
                  <a:lnTo>
                    <a:pt x="922" y="839"/>
                  </a:lnTo>
                  <a:lnTo>
                    <a:pt x="921" y="840"/>
                  </a:lnTo>
                  <a:lnTo>
                    <a:pt x="920" y="842"/>
                  </a:lnTo>
                  <a:lnTo>
                    <a:pt x="920" y="843"/>
                  </a:lnTo>
                  <a:lnTo>
                    <a:pt x="920" y="845"/>
                  </a:lnTo>
                  <a:lnTo>
                    <a:pt x="920" y="846"/>
                  </a:lnTo>
                  <a:lnTo>
                    <a:pt x="920" y="849"/>
                  </a:lnTo>
                  <a:lnTo>
                    <a:pt x="922" y="854"/>
                  </a:lnTo>
                  <a:lnTo>
                    <a:pt x="923" y="856"/>
                  </a:lnTo>
                  <a:lnTo>
                    <a:pt x="923" y="858"/>
                  </a:lnTo>
                  <a:lnTo>
                    <a:pt x="923" y="859"/>
                  </a:lnTo>
                  <a:lnTo>
                    <a:pt x="922" y="860"/>
                  </a:lnTo>
                  <a:lnTo>
                    <a:pt x="922" y="861"/>
                  </a:lnTo>
                  <a:lnTo>
                    <a:pt x="921" y="861"/>
                  </a:lnTo>
                  <a:lnTo>
                    <a:pt x="920" y="861"/>
                  </a:lnTo>
                  <a:lnTo>
                    <a:pt x="918" y="862"/>
                  </a:lnTo>
                  <a:lnTo>
                    <a:pt x="916" y="862"/>
                  </a:lnTo>
                  <a:lnTo>
                    <a:pt x="913" y="862"/>
                  </a:lnTo>
                  <a:lnTo>
                    <a:pt x="911" y="862"/>
                  </a:lnTo>
                  <a:lnTo>
                    <a:pt x="909" y="861"/>
                  </a:lnTo>
                  <a:lnTo>
                    <a:pt x="903" y="861"/>
                  </a:lnTo>
                  <a:lnTo>
                    <a:pt x="899" y="860"/>
                  </a:lnTo>
                  <a:lnTo>
                    <a:pt x="897" y="859"/>
                  </a:lnTo>
                  <a:lnTo>
                    <a:pt x="895" y="859"/>
                  </a:lnTo>
                  <a:lnTo>
                    <a:pt x="892" y="859"/>
                  </a:lnTo>
                  <a:lnTo>
                    <a:pt x="887" y="860"/>
                  </a:lnTo>
                  <a:lnTo>
                    <a:pt x="880" y="861"/>
                  </a:lnTo>
                  <a:lnTo>
                    <a:pt x="876" y="861"/>
                  </a:lnTo>
                  <a:lnTo>
                    <a:pt x="874" y="861"/>
                  </a:lnTo>
                  <a:lnTo>
                    <a:pt x="872" y="861"/>
                  </a:lnTo>
                  <a:lnTo>
                    <a:pt x="870" y="861"/>
                  </a:lnTo>
                  <a:lnTo>
                    <a:pt x="868" y="860"/>
                  </a:lnTo>
                  <a:lnTo>
                    <a:pt x="864" y="858"/>
                  </a:lnTo>
                  <a:lnTo>
                    <a:pt x="863" y="857"/>
                  </a:lnTo>
                  <a:lnTo>
                    <a:pt x="863" y="857"/>
                  </a:lnTo>
                  <a:lnTo>
                    <a:pt x="861" y="857"/>
                  </a:lnTo>
                  <a:lnTo>
                    <a:pt x="860" y="858"/>
                  </a:lnTo>
                  <a:lnTo>
                    <a:pt x="853" y="861"/>
                  </a:lnTo>
                  <a:lnTo>
                    <a:pt x="852" y="861"/>
                  </a:lnTo>
                  <a:lnTo>
                    <a:pt x="850" y="862"/>
                  </a:lnTo>
                  <a:lnTo>
                    <a:pt x="842" y="864"/>
                  </a:lnTo>
                  <a:lnTo>
                    <a:pt x="838" y="865"/>
                  </a:lnTo>
                  <a:lnTo>
                    <a:pt x="835" y="865"/>
                  </a:lnTo>
                  <a:lnTo>
                    <a:pt x="831" y="865"/>
                  </a:lnTo>
                  <a:lnTo>
                    <a:pt x="829" y="865"/>
                  </a:lnTo>
                  <a:lnTo>
                    <a:pt x="828" y="864"/>
                  </a:lnTo>
                  <a:lnTo>
                    <a:pt x="826" y="864"/>
                  </a:lnTo>
                  <a:lnTo>
                    <a:pt x="824" y="863"/>
                  </a:lnTo>
                  <a:lnTo>
                    <a:pt x="822" y="861"/>
                  </a:lnTo>
                  <a:lnTo>
                    <a:pt x="819" y="860"/>
                  </a:lnTo>
                  <a:lnTo>
                    <a:pt x="809" y="851"/>
                  </a:lnTo>
                  <a:lnTo>
                    <a:pt x="806" y="850"/>
                  </a:lnTo>
                  <a:lnTo>
                    <a:pt x="804" y="849"/>
                  </a:lnTo>
                  <a:lnTo>
                    <a:pt x="800" y="847"/>
                  </a:lnTo>
                  <a:lnTo>
                    <a:pt x="795" y="844"/>
                  </a:lnTo>
                  <a:lnTo>
                    <a:pt x="790" y="842"/>
                  </a:lnTo>
                  <a:lnTo>
                    <a:pt x="784" y="839"/>
                  </a:lnTo>
                  <a:lnTo>
                    <a:pt x="781" y="839"/>
                  </a:lnTo>
                  <a:lnTo>
                    <a:pt x="779" y="837"/>
                  </a:lnTo>
                  <a:lnTo>
                    <a:pt x="776" y="835"/>
                  </a:lnTo>
                  <a:lnTo>
                    <a:pt x="773" y="833"/>
                  </a:lnTo>
                  <a:lnTo>
                    <a:pt x="767" y="827"/>
                  </a:lnTo>
                  <a:lnTo>
                    <a:pt x="764" y="826"/>
                  </a:lnTo>
                  <a:lnTo>
                    <a:pt x="762" y="824"/>
                  </a:lnTo>
                  <a:lnTo>
                    <a:pt x="760" y="822"/>
                  </a:lnTo>
                  <a:lnTo>
                    <a:pt x="758" y="821"/>
                  </a:lnTo>
                  <a:lnTo>
                    <a:pt x="749" y="817"/>
                  </a:lnTo>
                  <a:lnTo>
                    <a:pt x="745" y="816"/>
                  </a:lnTo>
                  <a:lnTo>
                    <a:pt x="741" y="814"/>
                  </a:lnTo>
                  <a:lnTo>
                    <a:pt x="738" y="813"/>
                  </a:lnTo>
                  <a:lnTo>
                    <a:pt x="736" y="810"/>
                  </a:lnTo>
                  <a:lnTo>
                    <a:pt x="733" y="808"/>
                  </a:lnTo>
                  <a:lnTo>
                    <a:pt x="731" y="805"/>
                  </a:lnTo>
                  <a:lnTo>
                    <a:pt x="726" y="798"/>
                  </a:lnTo>
                  <a:lnTo>
                    <a:pt x="723" y="794"/>
                  </a:lnTo>
                  <a:lnTo>
                    <a:pt x="720" y="793"/>
                  </a:lnTo>
                  <a:lnTo>
                    <a:pt x="719" y="792"/>
                  </a:lnTo>
                  <a:lnTo>
                    <a:pt x="717" y="791"/>
                  </a:lnTo>
                  <a:lnTo>
                    <a:pt x="715" y="789"/>
                  </a:lnTo>
                  <a:lnTo>
                    <a:pt x="712" y="788"/>
                  </a:lnTo>
                  <a:lnTo>
                    <a:pt x="708" y="786"/>
                  </a:lnTo>
                  <a:lnTo>
                    <a:pt x="700" y="784"/>
                  </a:lnTo>
                  <a:lnTo>
                    <a:pt x="696" y="782"/>
                  </a:lnTo>
                  <a:lnTo>
                    <a:pt x="693" y="782"/>
                  </a:lnTo>
                  <a:lnTo>
                    <a:pt x="692" y="781"/>
                  </a:lnTo>
                  <a:lnTo>
                    <a:pt x="690" y="780"/>
                  </a:lnTo>
                  <a:lnTo>
                    <a:pt x="689" y="779"/>
                  </a:lnTo>
                  <a:lnTo>
                    <a:pt x="688" y="777"/>
                  </a:lnTo>
                  <a:lnTo>
                    <a:pt x="686" y="775"/>
                  </a:lnTo>
                  <a:lnTo>
                    <a:pt x="685" y="772"/>
                  </a:lnTo>
                  <a:lnTo>
                    <a:pt x="683" y="768"/>
                  </a:lnTo>
                  <a:lnTo>
                    <a:pt x="681" y="759"/>
                  </a:lnTo>
                  <a:lnTo>
                    <a:pt x="680" y="756"/>
                  </a:lnTo>
                  <a:lnTo>
                    <a:pt x="679" y="753"/>
                  </a:lnTo>
                  <a:lnTo>
                    <a:pt x="678" y="751"/>
                  </a:lnTo>
                  <a:lnTo>
                    <a:pt x="677" y="750"/>
                  </a:lnTo>
                  <a:lnTo>
                    <a:pt x="675" y="748"/>
                  </a:lnTo>
                  <a:lnTo>
                    <a:pt x="673" y="747"/>
                  </a:lnTo>
                  <a:lnTo>
                    <a:pt x="669" y="741"/>
                  </a:lnTo>
                  <a:lnTo>
                    <a:pt x="667" y="739"/>
                  </a:lnTo>
                  <a:lnTo>
                    <a:pt x="665" y="737"/>
                  </a:lnTo>
                  <a:lnTo>
                    <a:pt x="663" y="737"/>
                  </a:lnTo>
                  <a:lnTo>
                    <a:pt x="660" y="735"/>
                  </a:lnTo>
                  <a:lnTo>
                    <a:pt x="657" y="734"/>
                  </a:lnTo>
                  <a:lnTo>
                    <a:pt x="652" y="732"/>
                  </a:lnTo>
                  <a:lnTo>
                    <a:pt x="644" y="729"/>
                  </a:lnTo>
                  <a:lnTo>
                    <a:pt x="635" y="727"/>
                  </a:lnTo>
                  <a:lnTo>
                    <a:pt x="629" y="725"/>
                  </a:lnTo>
                  <a:lnTo>
                    <a:pt x="623" y="725"/>
                  </a:lnTo>
                  <a:lnTo>
                    <a:pt x="620" y="724"/>
                  </a:lnTo>
                  <a:lnTo>
                    <a:pt x="616" y="724"/>
                  </a:lnTo>
                  <a:lnTo>
                    <a:pt x="615" y="724"/>
                  </a:lnTo>
                  <a:lnTo>
                    <a:pt x="613" y="724"/>
                  </a:lnTo>
                  <a:lnTo>
                    <a:pt x="609" y="725"/>
                  </a:lnTo>
                  <a:lnTo>
                    <a:pt x="602" y="727"/>
                  </a:lnTo>
                  <a:lnTo>
                    <a:pt x="599" y="728"/>
                  </a:lnTo>
                  <a:lnTo>
                    <a:pt x="596" y="730"/>
                  </a:lnTo>
                  <a:lnTo>
                    <a:pt x="594" y="732"/>
                  </a:lnTo>
                  <a:lnTo>
                    <a:pt x="592" y="733"/>
                  </a:lnTo>
                  <a:lnTo>
                    <a:pt x="585" y="739"/>
                  </a:lnTo>
                  <a:lnTo>
                    <a:pt x="583" y="741"/>
                  </a:lnTo>
                  <a:lnTo>
                    <a:pt x="582" y="742"/>
                  </a:lnTo>
                  <a:lnTo>
                    <a:pt x="580" y="743"/>
                  </a:lnTo>
                  <a:lnTo>
                    <a:pt x="578" y="745"/>
                  </a:lnTo>
                  <a:lnTo>
                    <a:pt x="570" y="748"/>
                  </a:lnTo>
                  <a:lnTo>
                    <a:pt x="568" y="749"/>
                  </a:lnTo>
                  <a:lnTo>
                    <a:pt x="565" y="751"/>
                  </a:lnTo>
                  <a:lnTo>
                    <a:pt x="559" y="755"/>
                  </a:lnTo>
                  <a:lnTo>
                    <a:pt x="556" y="757"/>
                  </a:lnTo>
                  <a:lnTo>
                    <a:pt x="553" y="759"/>
                  </a:lnTo>
                  <a:lnTo>
                    <a:pt x="551" y="759"/>
                  </a:lnTo>
                  <a:lnTo>
                    <a:pt x="550" y="759"/>
                  </a:lnTo>
                  <a:lnTo>
                    <a:pt x="548" y="759"/>
                  </a:lnTo>
                  <a:lnTo>
                    <a:pt x="547" y="759"/>
                  </a:lnTo>
                  <a:lnTo>
                    <a:pt x="545" y="759"/>
                  </a:lnTo>
                  <a:lnTo>
                    <a:pt x="542" y="759"/>
                  </a:lnTo>
                  <a:lnTo>
                    <a:pt x="540" y="759"/>
                  </a:lnTo>
                  <a:lnTo>
                    <a:pt x="538" y="758"/>
                  </a:lnTo>
                  <a:lnTo>
                    <a:pt x="537" y="757"/>
                  </a:lnTo>
                  <a:lnTo>
                    <a:pt x="535" y="756"/>
                  </a:lnTo>
                  <a:lnTo>
                    <a:pt x="534" y="755"/>
                  </a:lnTo>
                  <a:lnTo>
                    <a:pt x="532" y="754"/>
                  </a:lnTo>
                  <a:lnTo>
                    <a:pt x="531" y="752"/>
                  </a:lnTo>
                  <a:lnTo>
                    <a:pt x="530" y="750"/>
                  </a:lnTo>
                  <a:lnTo>
                    <a:pt x="528" y="748"/>
                  </a:lnTo>
                  <a:lnTo>
                    <a:pt x="527" y="745"/>
                  </a:lnTo>
                  <a:lnTo>
                    <a:pt x="524" y="737"/>
                  </a:lnTo>
                  <a:lnTo>
                    <a:pt x="522" y="734"/>
                  </a:lnTo>
                  <a:lnTo>
                    <a:pt x="522" y="730"/>
                  </a:lnTo>
                  <a:lnTo>
                    <a:pt x="519" y="726"/>
                  </a:lnTo>
                  <a:lnTo>
                    <a:pt x="517" y="723"/>
                  </a:lnTo>
                  <a:lnTo>
                    <a:pt x="515" y="722"/>
                  </a:lnTo>
                  <a:lnTo>
                    <a:pt x="514" y="720"/>
                  </a:lnTo>
                  <a:lnTo>
                    <a:pt x="512" y="719"/>
                  </a:lnTo>
                  <a:lnTo>
                    <a:pt x="511" y="717"/>
                  </a:lnTo>
                  <a:lnTo>
                    <a:pt x="509" y="715"/>
                  </a:lnTo>
                  <a:lnTo>
                    <a:pt x="508" y="715"/>
                  </a:lnTo>
                  <a:lnTo>
                    <a:pt x="507" y="715"/>
                  </a:lnTo>
                  <a:lnTo>
                    <a:pt x="505" y="716"/>
                  </a:lnTo>
                  <a:lnTo>
                    <a:pt x="501" y="718"/>
                  </a:lnTo>
                  <a:lnTo>
                    <a:pt x="497" y="721"/>
                  </a:lnTo>
                  <a:lnTo>
                    <a:pt x="494" y="723"/>
                  </a:lnTo>
                  <a:lnTo>
                    <a:pt x="491" y="725"/>
                  </a:lnTo>
                  <a:lnTo>
                    <a:pt x="488" y="726"/>
                  </a:lnTo>
                  <a:lnTo>
                    <a:pt x="486" y="729"/>
                  </a:lnTo>
                  <a:lnTo>
                    <a:pt x="485" y="731"/>
                  </a:lnTo>
                  <a:lnTo>
                    <a:pt x="483" y="733"/>
                  </a:lnTo>
                  <a:lnTo>
                    <a:pt x="482" y="734"/>
                  </a:lnTo>
                  <a:lnTo>
                    <a:pt x="481" y="736"/>
                  </a:lnTo>
                  <a:lnTo>
                    <a:pt x="479" y="739"/>
                  </a:lnTo>
                  <a:lnTo>
                    <a:pt x="477" y="745"/>
                  </a:lnTo>
                  <a:lnTo>
                    <a:pt x="476" y="748"/>
                  </a:lnTo>
                  <a:lnTo>
                    <a:pt x="475" y="749"/>
                  </a:lnTo>
                  <a:lnTo>
                    <a:pt x="473" y="750"/>
                  </a:lnTo>
                  <a:lnTo>
                    <a:pt x="472" y="752"/>
                  </a:lnTo>
                  <a:lnTo>
                    <a:pt x="470" y="754"/>
                  </a:lnTo>
                  <a:lnTo>
                    <a:pt x="468" y="756"/>
                  </a:lnTo>
                  <a:lnTo>
                    <a:pt x="466" y="757"/>
                  </a:lnTo>
                  <a:lnTo>
                    <a:pt x="464" y="758"/>
                  </a:lnTo>
                  <a:lnTo>
                    <a:pt x="461" y="759"/>
                  </a:lnTo>
                  <a:lnTo>
                    <a:pt x="454" y="760"/>
                  </a:lnTo>
                  <a:lnTo>
                    <a:pt x="451" y="762"/>
                  </a:lnTo>
                  <a:lnTo>
                    <a:pt x="447" y="763"/>
                  </a:lnTo>
                  <a:lnTo>
                    <a:pt x="441" y="767"/>
                  </a:lnTo>
                  <a:lnTo>
                    <a:pt x="438" y="768"/>
                  </a:lnTo>
                  <a:lnTo>
                    <a:pt x="436" y="768"/>
                  </a:lnTo>
                  <a:lnTo>
                    <a:pt x="433" y="769"/>
                  </a:lnTo>
                  <a:lnTo>
                    <a:pt x="431" y="769"/>
                  </a:lnTo>
                  <a:lnTo>
                    <a:pt x="429" y="768"/>
                  </a:lnTo>
                  <a:lnTo>
                    <a:pt x="426" y="768"/>
                  </a:lnTo>
                  <a:lnTo>
                    <a:pt x="423" y="767"/>
                  </a:lnTo>
                  <a:lnTo>
                    <a:pt x="417" y="764"/>
                  </a:lnTo>
                  <a:lnTo>
                    <a:pt x="413" y="763"/>
                  </a:lnTo>
                  <a:lnTo>
                    <a:pt x="411" y="762"/>
                  </a:lnTo>
                  <a:lnTo>
                    <a:pt x="409" y="762"/>
                  </a:lnTo>
                  <a:lnTo>
                    <a:pt x="408" y="762"/>
                  </a:lnTo>
                  <a:lnTo>
                    <a:pt x="403" y="762"/>
                  </a:lnTo>
                  <a:lnTo>
                    <a:pt x="400" y="762"/>
                  </a:lnTo>
                  <a:lnTo>
                    <a:pt x="397" y="761"/>
                  </a:lnTo>
                  <a:lnTo>
                    <a:pt x="392" y="760"/>
                  </a:lnTo>
                  <a:lnTo>
                    <a:pt x="388" y="760"/>
                  </a:lnTo>
                  <a:lnTo>
                    <a:pt x="386" y="760"/>
                  </a:lnTo>
                  <a:lnTo>
                    <a:pt x="378" y="760"/>
                  </a:lnTo>
                  <a:lnTo>
                    <a:pt x="375" y="759"/>
                  </a:lnTo>
                  <a:lnTo>
                    <a:pt x="373" y="760"/>
                  </a:lnTo>
                  <a:lnTo>
                    <a:pt x="369" y="760"/>
                  </a:lnTo>
                  <a:lnTo>
                    <a:pt x="367" y="760"/>
                  </a:lnTo>
                  <a:lnTo>
                    <a:pt x="366" y="760"/>
                  </a:lnTo>
                  <a:lnTo>
                    <a:pt x="363" y="759"/>
                  </a:lnTo>
                  <a:lnTo>
                    <a:pt x="361" y="759"/>
                  </a:lnTo>
                  <a:lnTo>
                    <a:pt x="359" y="757"/>
                  </a:lnTo>
                  <a:lnTo>
                    <a:pt x="354" y="754"/>
                  </a:lnTo>
                  <a:lnTo>
                    <a:pt x="353" y="753"/>
                  </a:lnTo>
                  <a:lnTo>
                    <a:pt x="352" y="752"/>
                  </a:lnTo>
                  <a:lnTo>
                    <a:pt x="352" y="751"/>
                  </a:lnTo>
                  <a:lnTo>
                    <a:pt x="350" y="751"/>
                  </a:lnTo>
                  <a:lnTo>
                    <a:pt x="349" y="751"/>
                  </a:lnTo>
                  <a:lnTo>
                    <a:pt x="348" y="751"/>
                  </a:lnTo>
                  <a:lnTo>
                    <a:pt x="347" y="751"/>
                  </a:lnTo>
                  <a:lnTo>
                    <a:pt x="346" y="752"/>
                  </a:lnTo>
                  <a:lnTo>
                    <a:pt x="337" y="756"/>
                  </a:lnTo>
                  <a:lnTo>
                    <a:pt x="335" y="757"/>
                  </a:lnTo>
                  <a:lnTo>
                    <a:pt x="332" y="758"/>
                  </a:lnTo>
                  <a:lnTo>
                    <a:pt x="329" y="759"/>
                  </a:lnTo>
                  <a:lnTo>
                    <a:pt x="326" y="759"/>
                  </a:lnTo>
                  <a:lnTo>
                    <a:pt x="323" y="760"/>
                  </a:lnTo>
                  <a:lnTo>
                    <a:pt x="320" y="762"/>
                  </a:lnTo>
                  <a:lnTo>
                    <a:pt x="318" y="763"/>
                  </a:lnTo>
                  <a:lnTo>
                    <a:pt x="318" y="765"/>
                  </a:lnTo>
                  <a:lnTo>
                    <a:pt x="316" y="766"/>
                  </a:lnTo>
                  <a:lnTo>
                    <a:pt x="315" y="768"/>
                  </a:lnTo>
                  <a:lnTo>
                    <a:pt x="314" y="769"/>
                  </a:lnTo>
                  <a:lnTo>
                    <a:pt x="313" y="771"/>
                  </a:lnTo>
                  <a:lnTo>
                    <a:pt x="310" y="776"/>
                  </a:lnTo>
                  <a:lnTo>
                    <a:pt x="309" y="777"/>
                  </a:lnTo>
                  <a:lnTo>
                    <a:pt x="308" y="779"/>
                  </a:lnTo>
                  <a:lnTo>
                    <a:pt x="306" y="781"/>
                  </a:lnTo>
                  <a:lnTo>
                    <a:pt x="303" y="783"/>
                  </a:lnTo>
                  <a:lnTo>
                    <a:pt x="300" y="785"/>
                  </a:lnTo>
                  <a:lnTo>
                    <a:pt x="297" y="787"/>
                  </a:lnTo>
                  <a:lnTo>
                    <a:pt x="294" y="789"/>
                  </a:lnTo>
                  <a:lnTo>
                    <a:pt x="292" y="790"/>
                  </a:lnTo>
                  <a:lnTo>
                    <a:pt x="287" y="793"/>
                  </a:lnTo>
                  <a:lnTo>
                    <a:pt x="284" y="794"/>
                  </a:lnTo>
                  <a:lnTo>
                    <a:pt x="282" y="796"/>
                  </a:lnTo>
                  <a:lnTo>
                    <a:pt x="279" y="797"/>
                  </a:lnTo>
                  <a:lnTo>
                    <a:pt x="276" y="798"/>
                  </a:lnTo>
                  <a:lnTo>
                    <a:pt x="273" y="799"/>
                  </a:lnTo>
                  <a:lnTo>
                    <a:pt x="271" y="800"/>
                  </a:lnTo>
                  <a:lnTo>
                    <a:pt x="269" y="801"/>
                  </a:lnTo>
                  <a:lnTo>
                    <a:pt x="266" y="801"/>
                  </a:lnTo>
                  <a:lnTo>
                    <a:pt x="264" y="801"/>
                  </a:lnTo>
                  <a:lnTo>
                    <a:pt x="261" y="801"/>
                  </a:lnTo>
                  <a:lnTo>
                    <a:pt x="260" y="801"/>
                  </a:lnTo>
                  <a:lnTo>
                    <a:pt x="258" y="801"/>
                  </a:lnTo>
                  <a:lnTo>
                    <a:pt x="256" y="800"/>
                  </a:lnTo>
                  <a:lnTo>
                    <a:pt x="254" y="799"/>
                  </a:lnTo>
                  <a:lnTo>
                    <a:pt x="252" y="798"/>
                  </a:lnTo>
                  <a:lnTo>
                    <a:pt x="250" y="797"/>
                  </a:lnTo>
                  <a:lnTo>
                    <a:pt x="249" y="795"/>
                  </a:lnTo>
                  <a:lnTo>
                    <a:pt x="248" y="793"/>
                  </a:lnTo>
                  <a:lnTo>
                    <a:pt x="248" y="793"/>
                  </a:lnTo>
                  <a:lnTo>
                    <a:pt x="248" y="792"/>
                  </a:lnTo>
                  <a:lnTo>
                    <a:pt x="249" y="788"/>
                  </a:lnTo>
                  <a:lnTo>
                    <a:pt x="249" y="785"/>
                  </a:lnTo>
                  <a:lnTo>
                    <a:pt x="249" y="782"/>
                  </a:lnTo>
                  <a:lnTo>
                    <a:pt x="249" y="782"/>
                  </a:lnTo>
                  <a:lnTo>
                    <a:pt x="249" y="780"/>
                  </a:lnTo>
                  <a:lnTo>
                    <a:pt x="249" y="779"/>
                  </a:lnTo>
                  <a:lnTo>
                    <a:pt x="248" y="777"/>
                  </a:lnTo>
                  <a:lnTo>
                    <a:pt x="247" y="776"/>
                  </a:lnTo>
                  <a:lnTo>
                    <a:pt x="247" y="775"/>
                  </a:lnTo>
                  <a:lnTo>
                    <a:pt x="246" y="773"/>
                  </a:lnTo>
                  <a:lnTo>
                    <a:pt x="245" y="772"/>
                  </a:lnTo>
                  <a:lnTo>
                    <a:pt x="242" y="771"/>
                  </a:lnTo>
                  <a:lnTo>
                    <a:pt x="239" y="768"/>
                  </a:lnTo>
                  <a:lnTo>
                    <a:pt x="233" y="764"/>
                  </a:lnTo>
                  <a:lnTo>
                    <a:pt x="230" y="762"/>
                  </a:lnTo>
                  <a:lnTo>
                    <a:pt x="228" y="761"/>
                  </a:lnTo>
                  <a:lnTo>
                    <a:pt x="227" y="761"/>
                  </a:lnTo>
                  <a:lnTo>
                    <a:pt x="224" y="760"/>
                  </a:lnTo>
                  <a:lnTo>
                    <a:pt x="217" y="759"/>
                  </a:lnTo>
                  <a:lnTo>
                    <a:pt x="215" y="759"/>
                  </a:lnTo>
                  <a:lnTo>
                    <a:pt x="211" y="758"/>
                  </a:lnTo>
                  <a:lnTo>
                    <a:pt x="203" y="755"/>
                  </a:lnTo>
                  <a:lnTo>
                    <a:pt x="194" y="752"/>
                  </a:lnTo>
                  <a:lnTo>
                    <a:pt x="192" y="751"/>
                  </a:lnTo>
                  <a:lnTo>
                    <a:pt x="191" y="750"/>
                  </a:lnTo>
                  <a:lnTo>
                    <a:pt x="190" y="749"/>
                  </a:lnTo>
                  <a:lnTo>
                    <a:pt x="189" y="748"/>
                  </a:lnTo>
                  <a:lnTo>
                    <a:pt x="189" y="748"/>
                  </a:lnTo>
                  <a:lnTo>
                    <a:pt x="189" y="747"/>
                  </a:lnTo>
                  <a:lnTo>
                    <a:pt x="191" y="741"/>
                  </a:lnTo>
                  <a:lnTo>
                    <a:pt x="192" y="739"/>
                  </a:lnTo>
                  <a:lnTo>
                    <a:pt x="192" y="738"/>
                  </a:lnTo>
                  <a:lnTo>
                    <a:pt x="192" y="736"/>
                  </a:lnTo>
                  <a:lnTo>
                    <a:pt x="191" y="732"/>
                  </a:lnTo>
                  <a:lnTo>
                    <a:pt x="191" y="731"/>
                  </a:lnTo>
                  <a:lnTo>
                    <a:pt x="191" y="729"/>
                  </a:lnTo>
                  <a:lnTo>
                    <a:pt x="191" y="728"/>
                  </a:lnTo>
                  <a:lnTo>
                    <a:pt x="192" y="726"/>
                  </a:lnTo>
                  <a:lnTo>
                    <a:pt x="194" y="723"/>
                  </a:lnTo>
                  <a:lnTo>
                    <a:pt x="197" y="720"/>
                  </a:lnTo>
                  <a:lnTo>
                    <a:pt x="201" y="715"/>
                  </a:lnTo>
                  <a:lnTo>
                    <a:pt x="203" y="714"/>
                  </a:lnTo>
                  <a:lnTo>
                    <a:pt x="205" y="708"/>
                  </a:lnTo>
                  <a:lnTo>
                    <a:pt x="208" y="704"/>
                  </a:lnTo>
                  <a:lnTo>
                    <a:pt x="209" y="702"/>
                  </a:lnTo>
                  <a:lnTo>
                    <a:pt x="210" y="700"/>
                  </a:lnTo>
                  <a:lnTo>
                    <a:pt x="213" y="694"/>
                  </a:lnTo>
                  <a:lnTo>
                    <a:pt x="214" y="691"/>
                  </a:lnTo>
                  <a:lnTo>
                    <a:pt x="214" y="690"/>
                  </a:lnTo>
                  <a:lnTo>
                    <a:pt x="215" y="688"/>
                  </a:lnTo>
                  <a:lnTo>
                    <a:pt x="215" y="685"/>
                  </a:lnTo>
                  <a:lnTo>
                    <a:pt x="215" y="683"/>
                  </a:lnTo>
                  <a:lnTo>
                    <a:pt x="215" y="681"/>
                  </a:lnTo>
                  <a:lnTo>
                    <a:pt x="215" y="680"/>
                  </a:lnTo>
                  <a:lnTo>
                    <a:pt x="214" y="676"/>
                  </a:lnTo>
                  <a:lnTo>
                    <a:pt x="212" y="674"/>
                  </a:lnTo>
                  <a:lnTo>
                    <a:pt x="210" y="669"/>
                  </a:lnTo>
                  <a:lnTo>
                    <a:pt x="209" y="668"/>
                  </a:lnTo>
                  <a:lnTo>
                    <a:pt x="204" y="661"/>
                  </a:lnTo>
                  <a:lnTo>
                    <a:pt x="203" y="657"/>
                  </a:lnTo>
                  <a:lnTo>
                    <a:pt x="201" y="654"/>
                  </a:lnTo>
                  <a:lnTo>
                    <a:pt x="201" y="652"/>
                  </a:lnTo>
                  <a:lnTo>
                    <a:pt x="200" y="650"/>
                  </a:lnTo>
                  <a:lnTo>
                    <a:pt x="200" y="646"/>
                  </a:lnTo>
                  <a:lnTo>
                    <a:pt x="199" y="643"/>
                  </a:lnTo>
                  <a:lnTo>
                    <a:pt x="199" y="638"/>
                  </a:lnTo>
                  <a:lnTo>
                    <a:pt x="199" y="635"/>
                  </a:lnTo>
                  <a:lnTo>
                    <a:pt x="199" y="632"/>
                  </a:lnTo>
                  <a:lnTo>
                    <a:pt x="199" y="630"/>
                  </a:lnTo>
                  <a:lnTo>
                    <a:pt x="201" y="623"/>
                  </a:lnTo>
                  <a:lnTo>
                    <a:pt x="202" y="619"/>
                  </a:lnTo>
                  <a:lnTo>
                    <a:pt x="202" y="615"/>
                  </a:lnTo>
                  <a:lnTo>
                    <a:pt x="201" y="607"/>
                  </a:lnTo>
                  <a:lnTo>
                    <a:pt x="201" y="602"/>
                  </a:lnTo>
                  <a:lnTo>
                    <a:pt x="200" y="599"/>
                  </a:lnTo>
                  <a:lnTo>
                    <a:pt x="200" y="596"/>
                  </a:lnTo>
                  <a:lnTo>
                    <a:pt x="199" y="593"/>
                  </a:lnTo>
                  <a:lnTo>
                    <a:pt x="198" y="590"/>
                  </a:lnTo>
                  <a:lnTo>
                    <a:pt x="197" y="589"/>
                  </a:lnTo>
                  <a:lnTo>
                    <a:pt x="196" y="587"/>
                  </a:lnTo>
                  <a:lnTo>
                    <a:pt x="194" y="585"/>
                  </a:lnTo>
                  <a:lnTo>
                    <a:pt x="193" y="583"/>
                  </a:lnTo>
                  <a:lnTo>
                    <a:pt x="191" y="581"/>
                  </a:lnTo>
                  <a:lnTo>
                    <a:pt x="188" y="578"/>
                  </a:lnTo>
                  <a:lnTo>
                    <a:pt x="185" y="577"/>
                  </a:lnTo>
                  <a:lnTo>
                    <a:pt x="183" y="576"/>
                  </a:lnTo>
                  <a:lnTo>
                    <a:pt x="181" y="575"/>
                  </a:lnTo>
                  <a:lnTo>
                    <a:pt x="181" y="575"/>
                  </a:lnTo>
                  <a:lnTo>
                    <a:pt x="179" y="574"/>
                  </a:lnTo>
                  <a:lnTo>
                    <a:pt x="177" y="574"/>
                  </a:lnTo>
                  <a:lnTo>
                    <a:pt x="175" y="575"/>
                  </a:lnTo>
                  <a:lnTo>
                    <a:pt x="173" y="575"/>
                  </a:lnTo>
                  <a:lnTo>
                    <a:pt x="170" y="576"/>
                  </a:lnTo>
                  <a:lnTo>
                    <a:pt x="167" y="577"/>
                  </a:lnTo>
                  <a:lnTo>
                    <a:pt x="160" y="579"/>
                  </a:lnTo>
                  <a:lnTo>
                    <a:pt x="152" y="582"/>
                  </a:lnTo>
                  <a:lnTo>
                    <a:pt x="149" y="583"/>
                  </a:lnTo>
                  <a:lnTo>
                    <a:pt x="147" y="583"/>
                  </a:lnTo>
                  <a:lnTo>
                    <a:pt x="144" y="583"/>
                  </a:lnTo>
                  <a:lnTo>
                    <a:pt x="141" y="583"/>
                  </a:lnTo>
                  <a:lnTo>
                    <a:pt x="133" y="582"/>
                  </a:lnTo>
                  <a:lnTo>
                    <a:pt x="126" y="581"/>
                  </a:lnTo>
                  <a:lnTo>
                    <a:pt x="116" y="579"/>
                  </a:lnTo>
                  <a:lnTo>
                    <a:pt x="113" y="579"/>
                  </a:lnTo>
                  <a:lnTo>
                    <a:pt x="111" y="579"/>
                  </a:lnTo>
                  <a:lnTo>
                    <a:pt x="99" y="581"/>
                  </a:lnTo>
                  <a:lnTo>
                    <a:pt x="97" y="581"/>
                  </a:lnTo>
                  <a:lnTo>
                    <a:pt x="95" y="581"/>
                  </a:lnTo>
                  <a:lnTo>
                    <a:pt x="93" y="581"/>
                  </a:lnTo>
                  <a:lnTo>
                    <a:pt x="91" y="581"/>
                  </a:lnTo>
                  <a:lnTo>
                    <a:pt x="90" y="580"/>
                  </a:lnTo>
                  <a:lnTo>
                    <a:pt x="87" y="579"/>
                  </a:lnTo>
                  <a:lnTo>
                    <a:pt x="85" y="578"/>
                  </a:lnTo>
                  <a:lnTo>
                    <a:pt x="84" y="578"/>
                  </a:lnTo>
                  <a:lnTo>
                    <a:pt x="82" y="576"/>
                  </a:lnTo>
                  <a:lnTo>
                    <a:pt x="80" y="575"/>
                  </a:lnTo>
                  <a:lnTo>
                    <a:pt x="79" y="573"/>
                  </a:lnTo>
                  <a:lnTo>
                    <a:pt x="78" y="572"/>
                  </a:lnTo>
                  <a:lnTo>
                    <a:pt x="77" y="570"/>
                  </a:lnTo>
                  <a:lnTo>
                    <a:pt x="76" y="569"/>
                  </a:lnTo>
                  <a:lnTo>
                    <a:pt x="75" y="567"/>
                  </a:lnTo>
                  <a:lnTo>
                    <a:pt x="75" y="565"/>
                  </a:lnTo>
                  <a:lnTo>
                    <a:pt x="74" y="563"/>
                  </a:lnTo>
                  <a:lnTo>
                    <a:pt x="73" y="560"/>
                  </a:lnTo>
                  <a:lnTo>
                    <a:pt x="73" y="557"/>
                  </a:lnTo>
                  <a:lnTo>
                    <a:pt x="73" y="551"/>
                  </a:lnTo>
                  <a:lnTo>
                    <a:pt x="73" y="549"/>
                  </a:lnTo>
                  <a:lnTo>
                    <a:pt x="72" y="547"/>
                  </a:lnTo>
                  <a:lnTo>
                    <a:pt x="71" y="545"/>
                  </a:lnTo>
                  <a:lnTo>
                    <a:pt x="70" y="544"/>
                  </a:lnTo>
                  <a:lnTo>
                    <a:pt x="69" y="543"/>
                  </a:lnTo>
                  <a:lnTo>
                    <a:pt x="66" y="539"/>
                  </a:lnTo>
                  <a:lnTo>
                    <a:pt x="62" y="536"/>
                  </a:lnTo>
                  <a:lnTo>
                    <a:pt x="58" y="533"/>
                  </a:lnTo>
                  <a:lnTo>
                    <a:pt x="56" y="532"/>
                  </a:lnTo>
                  <a:lnTo>
                    <a:pt x="56" y="530"/>
                  </a:lnTo>
                  <a:lnTo>
                    <a:pt x="53" y="526"/>
                  </a:lnTo>
                  <a:lnTo>
                    <a:pt x="52" y="525"/>
                  </a:lnTo>
                  <a:lnTo>
                    <a:pt x="50" y="523"/>
                  </a:lnTo>
                  <a:lnTo>
                    <a:pt x="48" y="522"/>
                  </a:lnTo>
                  <a:lnTo>
                    <a:pt x="45" y="521"/>
                  </a:lnTo>
                  <a:lnTo>
                    <a:pt x="43" y="520"/>
                  </a:lnTo>
                  <a:lnTo>
                    <a:pt x="41" y="520"/>
                  </a:lnTo>
                  <a:lnTo>
                    <a:pt x="38" y="519"/>
                  </a:lnTo>
                  <a:lnTo>
                    <a:pt x="32" y="519"/>
                  </a:lnTo>
                  <a:lnTo>
                    <a:pt x="29" y="518"/>
                  </a:lnTo>
                  <a:lnTo>
                    <a:pt x="27" y="518"/>
                  </a:lnTo>
                  <a:lnTo>
                    <a:pt x="25" y="517"/>
                  </a:lnTo>
                  <a:lnTo>
                    <a:pt x="23" y="516"/>
                  </a:lnTo>
                  <a:lnTo>
                    <a:pt x="22" y="516"/>
                  </a:lnTo>
                  <a:lnTo>
                    <a:pt x="21" y="515"/>
                  </a:lnTo>
                  <a:lnTo>
                    <a:pt x="19" y="513"/>
                  </a:lnTo>
                  <a:lnTo>
                    <a:pt x="17" y="512"/>
                  </a:lnTo>
                  <a:lnTo>
                    <a:pt x="15" y="510"/>
                  </a:lnTo>
                  <a:lnTo>
                    <a:pt x="13" y="509"/>
                  </a:lnTo>
                  <a:lnTo>
                    <a:pt x="12" y="507"/>
                  </a:lnTo>
                  <a:lnTo>
                    <a:pt x="11" y="505"/>
                  </a:lnTo>
                  <a:lnTo>
                    <a:pt x="11" y="503"/>
                  </a:lnTo>
                  <a:lnTo>
                    <a:pt x="10" y="501"/>
                  </a:lnTo>
                  <a:lnTo>
                    <a:pt x="8" y="497"/>
                  </a:lnTo>
                  <a:lnTo>
                    <a:pt x="7" y="495"/>
                  </a:lnTo>
                  <a:lnTo>
                    <a:pt x="6" y="493"/>
                  </a:lnTo>
                  <a:lnTo>
                    <a:pt x="3" y="487"/>
                  </a:lnTo>
                  <a:lnTo>
                    <a:pt x="2" y="486"/>
                  </a:lnTo>
                  <a:lnTo>
                    <a:pt x="1" y="484"/>
                  </a:lnTo>
                  <a:lnTo>
                    <a:pt x="0" y="482"/>
                  </a:lnTo>
                  <a:lnTo>
                    <a:pt x="0" y="480"/>
                  </a:lnTo>
                  <a:lnTo>
                    <a:pt x="0" y="478"/>
                  </a:lnTo>
                  <a:lnTo>
                    <a:pt x="0" y="476"/>
                  </a:lnTo>
                  <a:lnTo>
                    <a:pt x="1" y="476"/>
                  </a:lnTo>
                  <a:lnTo>
                    <a:pt x="2" y="474"/>
                  </a:lnTo>
                  <a:lnTo>
                    <a:pt x="3" y="472"/>
                  </a:lnTo>
                  <a:lnTo>
                    <a:pt x="5" y="470"/>
                  </a:lnTo>
                  <a:lnTo>
                    <a:pt x="6" y="469"/>
                  </a:lnTo>
                  <a:lnTo>
                    <a:pt x="8" y="468"/>
                  </a:lnTo>
                  <a:lnTo>
                    <a:pt x="13" y="465"/>
                  </a:lnTo>
                  <a:lnTo>
                    <a:pt x="15" y="464"/>
                  </a:lnTo>
                  <a:lnTo>
                    <a:pt x="17" y="463"/>
                  </a:lnTo>
                  <a:lnTo>
                    <a:pt x="17" y="462"/>
                  </a:lnTo>
                  <a:lnTo>
                    <a:pt x="18" y="461"/>
                  </a:lnTo>
                  <a:lnTo>
                    <a:pt x="19" y="459"/>
                  </a:lnTo>
                  <a:lnTo>
                    <a:pt x="22" y="452"/>
                  </a:lnTo>
                  <a:lnTo>
                    <a:pt x="22" y="449"/>
                  </a:lnTo>
                  <a:lnTo>
                    <a:pt x="24" y="447"/>
                  </a:lnTo>
                  <a:lnTo>
                    <a:pt x="28" y="441"/>
                  </a:lnTo>
                  <a:lnTo>
                    <a:pt x="30" y="439"/>
                  </a:lnTo>
                  <a:lnTo>
                    <a:pt x="31" y="437"/>
                  </a:lnTo>
                  <a:lnTo>
                    <a:pt x="32" y="433"/>
                  </a:lnTo>
                  <a:lnTo>
                    <a:pt x="33" y="430"/>
                  </a:lnTo>
                  <a:lnTo>
                    <a:pt x="33" y="427"/>
                  </a:lnTo>
                  <a:lnTo>
                    <a:pt x="33" y="423"/>
                  </a:lnTo>
                  <a:lnTo>
                    <a:pt x="33" y="421"/>
                  </a:lnTo>
                  <a:lnTo>
                    <a:pt x="32" y="417"/>
                  </a:lnTo>
                  <a:lnTo>
                    <a:pt x="29" y="408"/>
                  </a:lnTo>
                  <a:lnTo>
                    <a:pt x="28" y="405"/>
                  </a:lnTo>
                  <a:lnTo>
                    <a:pt x="26" y="402"/>
                  </a:lnTo>
                  <a:lnTo>
                    <a:pt x="25" y="400"/>
                  </a:lnTo>
                  <a:lnTo>
                    <a:pt x="24" y="397"/>
                  </a:lnTo>
                  <a:lnTo>
                    <a:pt x="22" y="394"/>
                  </a:lnTo>
                  <a:lnTo>
                    <a:pt x="21" y="392"/>
                  </a:lnTo>
                  <a:lnTo>
                    <a:pt x="20" y="390"/>
                  </a:lnTo>
                  <a:lnTo>
                    <a:pt x="19" y="388"/>
                  </a:lnTo>
                  <a:lnTo>
                    <a:pt x="18" y="385"/>
                  </a:lnTo>
                  <a:lnTo>
                    <a:pt x="18" y="382"/>
                  </a:lnTo>
                  <a:lnTo>
                    <a:pt x="18" y="371"/>
                  </a:lnTo>
                  <a:lnTo>
                    <a:pt x="18" y="364"/>
                  </a:lnTo>
                  <a:lnTo>
                    <a:pt x="18" y="363"/>
                  </a:lnTo>
                  <a:lnTo>
                    <a:pt x="18" y="363"/>
                  </a:lnTo>
                  <a:lnTo>
                    <a:pt x="18" y="360"/>
                  </a:lnTo>
                  <a:lnTo>
                    <a:pt x="15" y="354"/>
                  </a:lnTo>
                  <a:lnTo>
                    <a:pt x="13" y="349"/>
                  </a:lnTo>
                  <a:lnTo>
                    <a:pt x="12" y="346"/>
                  </a:lnTo>
                  <a:lnTo>
                    <a:pt x="11" y="342"/>
                  </a:lnTo>
                  <a:lnTo>
                    <a:pt x="9" y="337"/>
                  </a:lnTo>
                  <a:lnTo>
                    <a:pt x="8" y="334"/>
                  </a:lnTo>
                  <a:lnTo>
                    <a:pt x="7" y="332"/>
                  </a:lnTo>
                  <a:lnTo>
                    <a:pt x="7" y="330"/>
                  </a:lnTo>
                  <a:lnTo>
                    <a:pt x="7" y="329"/>
                  </a:lnTo>
                  <a:lnTo>
                    <a:pt x="7" y="328"/>
                  </a:lnTo>
                  <a:lnTo>
                    <a:pt x="8" y="326"/>
                  </a:lnTo>
                  <a:lnTo>
                    <a:pt x="9" y="324"/>
                  </a:lnTo>
                  <a:lnTo>
                    <a:pt x="11" y="321"/>
                  </a:lnTo>
                  <a:lnTo>
                    <a:pt x="12" y="319"/>
                  </a:lnTo>
                  <a:lnTo>
                    <a:pt x="14" y="317"/>
                  </a:lnTo>
                  <a:lnTo>
                    <a:pt x="20" y="311"/>
                  </a:lnTo>
                  <a:lnTo>
                    <a:pt x="23" y="307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6" y="306"/>
                  </a:lnTo>
                  <a:lnTo>
                    <a:pt x="27" y="308"/>
                  </a:lnTo>
                  <a:lnTo>
                    <a:pt x="30" y="310"/>
                  </a:lnTo>
                  <a:lnTo>
                    <a:pt x="33" y="312"/>
                  </a:lnTo>
                  <a:lnTo>
                    <a:pt x="38" y="316"/>
                  </a:lnTo>
                  <a:lnTo>
                    <a:pt x="44" y="318"/>
                  </a:lnTo>
                  <a:lnTo>
                    <a:pt x="54" y="324"/>
                  </a:lnTo>
                  <a:lnTo>
                    <a:pt x="57" y="326"/>
                  </a:lnTo>
                  <a:lnTo>
                    <a:pt x="61" y="328"/>
                  </a:lnTo>
                  <a:lnTo>
                    <a:pt x="65" y="329"/>
                  </a:lnTo>
                  <a:lnTo>
                    <a:pt x="68" y="331"/>
                  </a:lnTo>
                  <a:lnTo>
                    <a:pt x="72" y="332"/>
                  </a:lnTo>
                  <a:lnTo>
                    <a:pt x="76" y="333"/>
                  </a:lnTo>
                  <a:lnTo>
                    <a:pt x="79" y="334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4" name="Freeform 97">
              <a:extLst>
                <a:ext uri="{FF2B5EF4-FFF2-40B4-BE49-F238E27FC236}">
                  <a16:creationId xmlns:a16="http://schemas.microsoft.com/office/drawing/2014/main" id="{BFB37D28-7C6E-4F4D-93FC-F84472CD9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4" y="1303"/>
              <a:ext cx="307" cy="352"/>
            </a:xfrm>
            <a:custGeom>
              <a:avLst/>
              <a:gdLst>
                <a:gd name="T0" fmla="*/ 6 w 307"/>
                <a:gd name="T1" fmla="*/ 334 h 352"/>
                <a:gd name="T2" fmla="*/ 12 w 307"/>
                <a:gd name="T3" fmla="*/ 332 h 352"/>
                <a:gd name="T4" fmla="*/ 23 w 307"/>
                <a:gd name="T5" fmla="*/ 319 h 352"/>
                <a:gd name="T6" fmla="*/ 34 w 307"/>
                <a:gd name="T7" fmla="*/ 309 h 352"/>
                <a:gd name="T8" fmla="*/ 40 w 307"/>
                <a:gd name="T9" fmla="*/ 306 h 352"/>
                <a:gd name="T10" fmla="*/ 48 w 307"/>
                <a:gd name="T11" fmla="*/ 306 h 352"/>
                <a:gd name="T12" fmla="*/ 60 w 307"/>
                <a:gd name="T13" fmla="*/ 310 h 352"/>
                <a:gd name="T14" fmla="*/ 78 w 307"/>
                <a:gd name="T15" fmla="*/ 317 h 352"/>
                <a:gd name="T16" fmla="*/ 88 w 307"/>
                <a:gd name="T17" fmla="*/ 319 h 352"/>
                <a:gd name="T18" fmla="*/ 103 w 307"/>
                <a:gd name="T19" fmla="*/ 328 h 352"/>
                <a:gd name="T20" fmla="*/ 114 w 307"/>
                <a:gd name="T21" fmla="*/ 330 h 352"/>
                <a:gd name="T22" fmla="*/ 122 w 307"/>
                <a:gd name="T23" fmla="*/ 331 h 352"/>
                <a:gd name="T24" fmla="*/ 125 w 307"/>
                <a:gd name="T25" fmla="*/ 336 h 352"/>
                <a:gd name="T26" fmla="*/ 128 w 307"/>
                <a:gd name="T27" fmla="*/ 345 h 352"/>
                <a:gd name="T28" fmla="*/ 134 w 307"/>
                <a:gd name="T29" fmla="*/ 351 h 352"/>
                <a:gd name="T30" fmla="*/ 139 w 307"/>
                <a:gd name="T31" fmla="*/ 352 h 352"/>
                <a:gd name="T32" fmla="*/ 148 w 307"/>
                <a:gd name="T33" fmla="*/ 352 h 352"/>
                <a:gd name="T34" fmla="*/ 159 w 307"/>
                <a:gd name="T35" fmla="*/ 347 h 352"/>
                <a:gd name="T36" fmla="*/ 168 w 307"/>
                <a:gd name="T37" fmla="*/ 341 h 352"/>
                <a:gd name="T38" fmla="*/ 171 w 307"/>
                <a:gd name="T39" fmla="*/ 332 h 352"/>
                <a:gd name="T40" fmla="*/ 170 w 307"/>
                <a:gd name="T41" fmla="*/ 318 h 352"/>
                <a:gd name="T42" fmla="*/ 170 w 307"/>
                <a:gd name="T43" fmla="*/ 310 h 352"/>
                <a:gd name="T44" fmla="*/ 177 w 307"/>
                <a:gd name="T45" fmla="*/ 303 h 352"/>
                <a:gd name="T46" fmla="*/ 194 w 307"/>
                <a:gd name="T47" fmla="*/ 288 h 352"/>
                <a:gd name="T48" fmla="*/ 199 w 307"/>
                <a:gd name="T49" fmla="*/ 283 h 352"/>
                <a:gd name="T50" fmla="*/ 205 w 307"/>
                <a:gd name="T51" fmla="*/ 283 h 352"/>
                <a:gd name="T52" fmla="*/ 213 w 307"/>
                <a:gd name="T53" fmla="*/ 294 h 352"/>
                <a:gd name="T54" fmla="*/ 222 w 307"/>
                <a:gd name="T55" fmla="*/ 304 h 352"/>
                <a:gd name="T56" fmla="*/ 233 w 307"/>
                <a:gd name="T57" fmla="*/ 309 h 352"/>
                <a:gd name="T58" fmla="*/ 241 w 307"/>
                <a:gd name="T59" fmla="*/ 310 h 352"/>
                <a:gd name="T60" fmla="*/ 257 w 307"/>
                <a:gd name="T61" fmla="*/ 306 h 352"/>
                <a:gd name="T62" fmla="*/ 268 w 307"/>
                <a:gd name="T63" fmla="*/ 306 h 352"/>
                <a:gd name="T64" fmla="*/ 279 w 307"/>
                <a:gd name="T65" fmla="*/ 309 h 352"/>
                <a:gd name="T66" fmla="*/ 289 w 307"/>
                <a:gd name="T67" fmla="*/ 308 h 352"/>
                <a:gd name="T68" fmla="*/ 301 w 307"/>
                <a:gd name="T69" fmla="*/ 303 h 352"/>
                <a:gd name="T70" fmla="*/ 306 w 307"/>
                <a:gd name="T71" fmla="*/ 298 h 352"/>
                <a:gd name="T72" fmla="*/ 306 w 307"/>
                <a:gd name="T73" fmla="*/ 291 h 352"/>
                <a:gd name="T74" fmla="*/ 302 w 307"/>
                <a:gd name="T75" fmla="*/ 283 h 352"/>
                <a:gd name="T76" fmla="*/ 286 w 307"/>
                <a:gd name="T77" fmla="*/ 261 h 352"/>
                <a:gd name="T78" fmla="*/ 273 w 307"/>
                <a:gd name="T79" fmla="*/ 236 h 352"/>
                <a:gd name="T80" fmla="*/ 273 w 307"/>
                <a:gd name="T81" fmla="*/ 227 h 352"/>
                <a:gd name="T82" fmla="*/ 279 w 307"/>
                <a:gd name="T83" fmla="*/ 204 h 352"/>
                <a:gd name="T84" fmla="*/ 281 w 307"/>
                <a:gd name="T85" fmla="*/ 196 h 352"/>
                <a:gd name="T86" fmla="*/ 278 w 307"/>
                <a:gd name="T87" fmla="*/ 188 h 352"/>
                <a:gd name="T88" fmla="*/ 268 w 307"/>
                <a:gd name="T89" fmla="*/ 167 h 352"/>
                <a:gd name="T90" fmla="*/ 268 w 307"/>
                <a:gd name="T91" fmla="*/ 153 h 352"/>
                <a:gd name="T92" fmla="*/ 264 w 307"/>
                <a:gd name="T93" fmla="*/ 136 h 352"/>
                <a:gd name="T94" fmla="*/ 261 w 307"/>
                <a:gd name="T95" fmla="*/ 113 h 352"/>
                <a:gd name="T96" fmla="*/ 259 w 307"/>
                <a:gd name="T97" fmla="*/ 76 h 352"/>
                <a:gd name="T98" fmla="*/ 261 w 307"/>
                <a:gd name="T99" fmla="*/ 55 h 352"/>
                <a:gd name="T100" fmla="*/ 259 w 307"/>
                <a:gd name="T101" fmla="*/ 45 h 352"/>
                <a:gd name="T102" fmla="*/ 245 w 307"/>
                <a:gd name="T103" fmla="*/ 23 h 352"/>
                <a:gd name="T104" fmla="*/ 238 w 307"/>
                <a:gd name="T105" fmla="*/ 8 h 352"/>
                <a:gd name="T106" fmla="*/ 237 w 307"/>
                <a:gd name="T107" fmla="*/ 1 h 352"/>
                <a:gd name="T108" fmla="*/ 246 w 307"/>
                <a:gd name="T109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7" h="352">
                  <a:moveTo>
                    <a:pt x="0" y="334"/>
                  </a:moveTo>
                  <a:lnTo>
                    <a:pt x="1" y="334"/>
                  </a:lnTo>
                  <a:lnTo>
                    <a:pt x="4" y="334"/>
                  </a:lnTo>
                  <a:lnTo>
                    <a:pt x="6" y="334"/>
                  </a:lnTo>
                  <a:lnTo>
                    <a:pt x="7" y="334"/>
                  </a:lnTo>
                  <a:lnTo>
                    <a:pt x="10" y="334"/>
                  </a:lnTo>
                  <a:lnTo>
                    <a:pt x="11" y="333"/>
                  </a:lnTo>
                  <a:lnTo>
                    <a:pt x="12" y="332"/>
                  </a:lnTo>
                  <a:lnTo>
                    <a:pt x="14" y="331"/>
                  </a:lnTo>
                  <a:lnTo>
                    <a:pt x="16" y="329"/>
                  </a:lnTo>
                  <a:lnTo>
                    <a:pt x="19" y="326"/>
                  </a:lnTo>
                  <a:lnTo>
                    <a:pt x="23" y="319"/>
                  </a:lnTo>
                  <a:lnTo>
                    <a:pt x="28" y="315"/>
                  </a:lnTo>
                  <a:lnTo>
                    <a:pt x="30" y="313"/>
                  </a:lnTo>
                  <a:lnTo>
                    <a:pt x="33" y="310"/>
                  </a:lnTo>
                  <a:lnTo>
                    <a:pt x="34" y="309"/>
                  </a:lnTo>
                  <a:lnTo>
                    <a:pt x="36" y="308"/>
                  </a:lnTo>
                  <a:lnTo>
                    <a:pt x="37" y="307"/>
                  </a:lnTo>
                  <a:lnTo>
                    <a:pt x="38" y="307"/>
                  </a:lnTo>
                  <a:lnTo>
                    <a:pt x="40" y="306"/>
                  </a:lnTo>
                  <a:lnTo>
                    <a:pt x="42" y="306"/>
                  </a:lnTo>
                  <a:lnTo>
                    <a:pt x="45" y="306"/>
                  </a:lnTo>
                  <a:lnTo>
                    <a:pt x="46" y="306"/>
                  </a:lnTo>
                  <a:lnTo>
                    <a:pt x="48" y="306"/>
                  </a:lnTo>
                  <a:lnTo>
                    <a:pt x="51" y="307"/>
                  </a:lnTo>
                  <a:lnTo>
                    <a:pt x="54" y="308"/>
                  </a:lnTo>
                  <a:lnTo>
                    <a:pt x="57" y="309"/>
                  </a:lnTo>
                  <a:lnTo>
                    <a:pt x="60" y="310"/>
                  </a:lnTo>
                  <a:lnTo>
                    <a:pt x="66" y="313"/>
                  </a:lnTo>
                  <a:lnTo>
                    <a:pt x="70" y="315"/>
                  </a:lnTo>
                  <a:lnTo>
                    <a:pt x="73" y="316"/>
                  </a:lnTo>
                  <a:lnTo>
                    <a:pt x="78" y="317"/>
                  </a:lnTo>
                  <a:lnTo>
                    <a:pt x="80" y="317"/>
                  </a:lnTo>
                  <a:lnTo>
                    <a:pt x="84" y="318"/>
                  </a:lnTo>
                  <a:lnTo>
                    <a:pt x="86" y="319"/>
                  </a:lnTo>
                  <a:lnTo>
                    <a:pt x="88" y="319"/>
                  </a:lnTo>
                  <a:lnTo>
                    <a:pt x="90" y="321"/>
                  </a:lnTo>
                  <a:lnTo>
                    <a:pt x="96" y="324"/>
                  </a:lnTo>
                  <a:lnTo>
                    <a:pt x="99" y="326"/>
                  </a:lnTo>
                  <a:lnTo>
                    <a:pt x="103" y="328"/>
                  </a:lnTo>
                  <a:lnTo>
                    <a:pt x="108" y="329"/>
                  </a:lnTo>
                  <a:lnTo>
                    <a:pt x="110" y="330"/>
                  </a:lnTo>
                  <a:lnTo>
                    <a:pt x="112" y="330"/>
                  </a:lnTo>
                  <a:lnTo>
                    <a:pt x="114" y="330"/>
                  </a:lnTo>
                  <a:lnTo>
                    <a:pt x="118" y="330"/>
                  </a:lnTo>
                  <a:lnTo>
                    <a:pt x="120" y="330"/>
                  </a:lnTo>
                  <a:lnTo>
                    <a:pt x="121" y="330"/>
                  </a:lnTo>
                  <a:lnTo>
                    <a:pt x="122" y="331"/>
                  </a:lnTo>
                  <a:lnTo>
                    <a:pt x="123" y="331"/>
                  </a:lnTo>
                  <a:lnTo>
                    <a:pt x="124" y="333"/>
                  </a:lnTo>
                  <a:lnTo>
                    <a:pt x="124" y="334"/>
                  </a:lnTo>
                  <a:lnTo>
                    <a:pt x="125" y="336"/>
                  </a:lnTo>
                  <a:lnTo>
                    <a:pt x="126" y="340"/>
                  </a:lnTo>
                  <a:lnTo>
                    <a:pt x="127" y="341"/>
                  </a:lnTo>
                  <a:lnTo>
                    <a:pt x="127" y="343"/>
                  </a:lnTo>
                  <a:lnTo>
                    <a:pt x="128" y="345"/>
                  </a:lnTo>
                  <a:lnTo>
                    <a:pt x="129" y="347"/>
                  </a:lnTo>
                  <a:lnTo>
                    <a:pt x="131" y="349"/>
                  </a:lnTo>
                  <a:lnTo>
                    <a:pt x="132" y="350"/>
                  </a:lnTo>
                  <a:lnTo>
                    <a:pt x="134" y="351"/>
                  </a:lnTo>
                  <a:lnTo>
                    <a:pt x="135" y="351"/>
                  </a:lnTo>
                  <a:lnTo>
                    <a:pt x="136" y="351"/>
                  </a:lnTo>
                  <a:lnTo>
                    <a:pt x="137" y="352"/>
                  </a:lnTo>
                  <a:lnTo>
                    <a:pt x="139" y="352"/>
                  </a:lnTo>
                  <a:lnTo>
                    <a:pt x="141" y="352"/>
                  </a:lnTo>
                  <a:lnTo>
                    <a:pt x="143" y="352"/>
                  </a:lnTo>
                  <a:lnTo>
                    <a:pt x="147" y="352"/>
                  </a:lnTo>
                  <a:lnTo>
                    <a:pt x="148" y="352"/>
                  </a:lnTo>
                  <a:lnTo>
                    <a:pt x="152" y="351"/>
                  </a:lnTo>
                  <a:lnTo>
                    <a:pt x="154" y="351"/>
                  </a:lnTo>
                  <a:lnTo>
                    <a:pt x="156" y="350"/>
                  </a:lnTo>
                  <a:lnTo>
                    <a:pt x="159" y="347"/>
                  </a:lnTo>
                  <a:lnTo>
                    <a:pt x="160" y="346"/>
                  </a:lnTo>
                  <a:lnTo>
                    <a:pt x="165" y="343"/>
                  </a:lnTo>
                  <a:lnTo>
                    <a:pt x="167" y="342"/>
                  </a:lnTo>
                  <a:lnTo>
                    <a:pt x="168" y="341"/>
                  </a:lnTo>
                  <a:lnTo>
                    <a:pt x="169" y="340"/>
                  </a:lnTo>
                  <a:lnTo>
                    <a:pt x="170" y="337"/>
                  </a:lnTo>
                  <a:lnTo>
                    <a:pt x="171" y="334"/>
                  </a:lnTo>
                  <a:lnTo>
                    <a:pt x="171" y="332"/>
                  </a:lnTo>
                  <a:lnTo>
                    <a:pt x="171" y="331"/>
                  </a:lnTo>
                  <a:lnTo>
                    <a:pt x="171" y="329"/>
                  </a:lnTo>
                  <a:lnTo>
                    <a:pt x="170" y="321"/>
                  </a:lnTo>
                  <a:lnTo>
                    <a:pt x="170" y="318"/>
                  </a:lnTo>
                  <a:lnTo>
                    <a:pt x="170" y="317"/>
                  </a:lnTo>
                  <a:lnTo>
                    <a:pt x="170" y="314"/>
                  </a:lnTo>
                  <a:lnTo>
                    <a:pt x="170" y="312"/>
                  </a:lnTo>
                  <a:lnTo>
                    <a:pt x="170" y="310"/>
                  </a:lnTo>
                  <a:lnTo>
                    <a:pt x="171" y="308"/>
                  </a:lnTo>
                  <a:lnTo>
                    <a:pt x="172" y="306"/>
                  </a:lnTo>
                  <a:lnTo>
                    <a:pt x="174" y="305"/>
                  </a:lnTo>
                  <a:lnTo>
                    <a:pt x="177" y="303"/>
                  </a:lnTo>
                  <a:lnTo>
                    <a:pt x="182" y="298"/>
                  </a:lnTo>
                  <a:lnTo>
                    <a:pt x="187" y="294"/>
                  </a:lnTo>
                  <a:lnTo>
                    <a:pt x="193" y="289"/>
                  </a:lnTo>
                  <a:lnTo>
                    <a:pt x="194" y="288"/>
                  </a:lnTo>
                  <a:lnTo>
                    <a:pt x="196" y="285"/>
                  </a:lnTo>
                  <a:lnTo>
                    <a:pt x="197" y="283"/>
                  </a:lnTo>
                  <a:lnTo>
                    <a:pt x="198" y="283"/>
                  </a:lnTo>
                  <a:lnTo>
                    <a:pt x="199" y="283"/>
                  </a:lnTo>
                  <a:lnTo>
                    <a:pt x="200" y="283"/>
                  </a:lnTo>
                  <a:lnTo>
                    <a:pt x="201" y="283"/>
                  </a:lnTo>
                  <a:lnTo>
                    <a:pt x="203" y="283"/>
                  </a:lnTo>
                  <a:lnTo>
                    <a:pt x="205" y="283"/>
                  </a:lnTo>
                  <a:lnTo>
                    <a:pt x="206" y="285"/>
                  </a:lnTo>
                  <a:lnTo>
                    <a:pt x="208" y="286"/>
                  </a:lnTo>
                  <a:lnTo>
                    <a:pt x="209" y="287"/>
                  </a:lnTo>
                  <a:lnTo>
                    <a:pt x="213" y="294"/>
                  </a:lnTo>
                  <a:lnTo>
                    <a:pt x="216" y="297"/>
                  </a:lnTo>
                  <a:lnTo>
                    <a:pt x="218" y="300"/>
                  </a:lnTo>
                  <a:lnTo>
                    <a:pt x="220" y="302"/>
                  </a:lnTo>
                  <a:lnTo>
                    <a:pt x="222" y="304"/>
                  </a:lnTo>
                  <a:lnTo>
                    <a:pt x="224" y="305"/>
                  </a:lnTo>
                  <a:lnTo>
                    <a:pt x="227" y="306"/>
                  </a:lnTo>
                  <a:lnTo>
                    <a:pt x="230" y="308"/>
                  </a:lnTo>
                  <a:lnTo>
                    <a:pt x="233" y="309"/>
                  </a:lnTo>
                  <a:lnTo>
                    <a:pt x="237" y="310"/>
                  </a:lnTo>
                  <a:lnTo>
                    <a:pt x="238" y="310"/>
                  </a:lnTo>
                  <a:lnTo>
                    <a:pt x="239" y="310"/>
                  </a:lnTo>
                  <a:lnTo>
                    <a:pt x="241" y="310"/>
                  </a:lnTo>
                  <a:lnTo>
                    <a:pt x="243" y="310"/>
                  </a:lnTo>
                  <a:lnTo>
                    <a:pt x="246" y="309"/>
                  </a:lnTo>
                  <a:lnTo>
                    <a:pt x="253" y="307"/>
                  </a:lnTo>
                  <a:lnTo>
                    <a:pt x="257" y="306"/>
                  </a:lnTo>
                  <a:lnTo>
                    <a:pt x="260" y="306"/>
                  </a:lnTo>
                  <a:lnTo>
                    <a:pt x="261" y="306"/>
                  </a:lnTo>
                  <a:lnTo>
                    <a:pt x="264" y="306"/>
                  </a:lnTo>
                  <a:lnTo>
                    <a:pt x="268" y="306"/>
                  </a:lnTo>
                  <a:lnTo>
                    <a:pt x="272" y="307"/>
                  </a:lnTo>
                  <a:lnTo>
                    <a:pt x="275" y="309"/>
                  </a:lnTo>
                  <a:lnTo>
                    <a:pt x="278" y="309"/>
                  </a:lnTo>
                  <a:lnTo>
                    <a:pt x="279" y="309"/>
                  </a:lnTo>
                  <a:lnTo>
                    <a:pt x="280" y="309"/>
                  </a:lnTo>
                  <a:lnTo>
                    <a:pt x="284" y="309"/>
                  </a:lnTo>
                  <a:lnTo>
                    <a:pt x="287" y="308"/>
                  </a:lnTo>
                  <a:lnTo>
                    <a:pt x="289" y="308"/>
                  </a:lnTo>
                  <a:lnTo>
                    <a:pt x="294" y="306"/>
                  </a:lnTo>
                  <a:lnTo>
                    <a:pt x="297" y="306"/>
                  </a:lnTo>
                  <a:lnTo>
                    <a:pt x="299" y="305"/>
                  </a:lnTo>
                  <a:lnTo>
                    <a:pt x="301" y="303"/>
                  </a:lnTo>
                  <a:lnTo>
                    <a:pt x="303" y="302"/>
                  </a:lnTo>
                  <a:lnTo>
                    <a:pt x="304" y="301"/>
                  </a:lnTo>
                  <a:lnTo>
                    <a:pt x="305" y="300"/>
                  </a:lnTo>
                  <a:lnTo>
                    <a:pt x="306" y="298"/>
                  </a:lnTo>
                  <a:lnTo>
                    <a:pt x="306" y="297"/>
                  </a:lnTo>
                  <a:lnTo>
                    <a:pt x="307" y="295"/>
                  </a:lnTo>
                  <a:lnTo>
                    <a:pt x="306" y="293"/>
                  </a:lnTo>
                  <a:lnTo>
                    <a:pt x="306" y="291"/>
                  </a:lnTo>
                  <a:lnTo>
                    <a:pt x="305" y="289"/>
                  </a:lnTo>
                  <a:lnTo>
                    <a:pt x="305" y="287"/>
                  </a:lnTo>
                  <a:lnTo>
                    <a:pt x="304" y="285"/>
                  </a:lnTo>
                  <a:lnTo>
                    <a:pt x="302" y="283"/>
                  </a:lnTo>
                  <a:lnTo>
                    <a:pt x="298" y="277"/>
                  </a:lnTo>
                  <a:lnTo>
                    <a:pt x="292" y="269"/>
                  </a:lnTo>
                  <a:lnTo>
                    <a:pt x="287" y="263"/>
                  </a:lnTo>
                  <a:lnTo>
                    <a:pt x="286" y="261"/>
                  </a:lnTo>
                  <a:lnTo>
                    <a:pt x="281" y="251"/>
                  </a:lnTo>
                  <a:lnTo>
                    <a:pt x="278" y="245"/>
                  </a:lnTo>
                  <a:lnTo>
                    <a:pt x="274" y="238"/>
                  </a:lnTo>
                  <a:lnTo>
                    <a:pt x="273" y="236"/>
                  </a:lnTo>
                  <a:lnTo>
                    <a:pt x="273" y="234"/>
                  </a:lnTo>
                  <a:lnTo>
                    <a:pt x="273" y="232"/>
                  </a:lnTo>
                  <a:lnTo>
                    <a:pt x="273" y="229"/>
                  </a:lnTo>
                  <a:lnTo>
                    <a:pt x="273" y="227"/>
                  </a:lnTo>
                  <a:lnTo>
                    <a:pt x="273" y="224"/>
                  </a:lnTo>
                  <a:lnTo>
                    <a:pt x="274" y="219"/>
                  </a:lnTo>
                  <a:lnTo>
                    <a:pt x="276" y="215"/>
                  </a:lnTo>
                  <a:lnTo>
                    <a:pt x="279" y="204"/>
                  </a:lnTo>
                  <a:lnTo>
                    <a:pt x="280" y="202"/>
                  </a:lnTo>
                  <a:lnTo>
                    <a:pt x="280" y="199"/>
                  </a:lnTo>
                  <a:lnTo>
                    <a:pt x="281" y="197"/>
                  </a:lnTo>
                  <a:lnTo>
                    <a:pt x="281" y="196"/>
                  </a:lnTo>
                  <a:lnTo>
                    <a:pt x="280" y="194"/>
                  </a:lnTo>
                  <a:lnTo>
                    <a:pt x="280" y="193"/>
                  </a:lnTo>
                  <a:lnTo>
                    <a:pt x="279" y="191"/>
                  </a:lnTo>
                  <a:lnTo>
                    <a:pt x="278" y="188"/>
                  </a:lnTo>
                  <a:lnTo>
                    <a:pt x="275" y="182"/>
                  </a:lnTo>
                  <a:lnTo>
                    <a:pt x="270" y="171"/>
                  </a:lnTo>
                  <a:lnTo>
                    <a:pt x="269" y="170"/>
                  </a:lnTo>
                  <a:lnTo>
                    <a:pt x="268" y="167"/>
                  </a:lnTo>
                  <a:lnTo>
                    <a:pt x="268" y="165"/>
                  </a:lnTo>
                  <a:lnTo>
                    <a:pt x="268" y="162"/>
                  </a:lnTo>
                  <a:lnTo>
                    <a:pt x="268" y="159"/>
                  </a:lnTo>
                  <a:lnTo>
                    <a:pt x="268" y="153"/>
                  </a:lnTo>
                  <a:lnTo>
                    <a:pt x="268" y="150"/>
                  </a:lnTo>
                  <a:lnTo>
                    <a:pt x="268" y="148"/>
                  </a:lnTo>
                  <a:lnTo>
                    <a:pt x="267" y="145"/>
                  </a:lnTo>
                  <a:lnTo>
                    <a:pt x="264" y="136"/>
                  </a:lnTo>
                  <a:lnTo>
                    <a:pt x="263" y="129"/>
                  </a:lnTo>
                  <a:lnTo>
                    <a:pt x="261" y="123"/>
                  </a:lnTo>
                  <a:lnTo>
                    <a:pt x="261" y="117"/>
                  </a:lnTo>
                  <a:lnTo>
                    <a:pt x="261" y="113"/>
                  </a:lnTo>
                  <a:lnTo>
                    <a:pt x="260" y="110"/>
                  </a:lnTo>
                  <a:lnTo>
                    <a:pt x="260" y="92"/>
                  </a:lnTo>
                  <a:lnTo>
                    <a:pt x="259" y="79"/>
                  </a:lnTo>
                  <a:lnTo>
                    <a:pt x="259" y="76"/>
                  </a:lnTo>
                  <a:lnTo>
                    <a:pt x="260" y="72"/>
                  </a:lnTo>
                  <a:lnTo>
                    <a:pt x="261" y="62"/>
                  </a:lnTo>
                  <a:lnTo>
                    <a:pt x="261" y="58"/>
                  </a:lnTo>
                  <a:lnTo>
                    <a:pt x="261" y="55"/>
                  </a:lnTo>
                  <a:lnTo>
                    <a:pt x="261" y="51"/>
                  </a:lnTo>
                  <a:lnTo>
                    <a:pt x="261" y="49"/>
                  </a:lnTo>
                  <a:lnTo>
                    <a:pt x="260" y="47"/>
                  </a:lnTo>
                  <a:lnTo>
                    <a:pt x="259" y="45"/>
                  </a:lnTo>
                  <a:lnTo>
                    <a:pt x="257" y="42"/>
                  </a:lnTo>
                  <a:lnTo>
                    <a:pt x="254" y="36"/>
                  </a:lnTo>
                  <a:lnTo>
                    <a:pt x="248" y="27"/>
                  </a:lnTo>
                  <a:lnTo>
                    <a:pt x="245" y="23"/>
                  </a:lnTo>
                  <a:lnTo>
                    <a:pt x="243" y="20"/>
                  </a:lnTo>
                  <a:lnTo>
                    <a:pt x="240" y="15"/>
                  </a:lnTo>
                  <a:lnTo>
                    <a:pt x="239" y="11"/>
                  </a:lnTo>
                  <a:lnTo>
                    <a:pt x="238" y="8"/>
                  </a:lnTo>
                  <a:lnTo>
                    <a:pt x="238" y="6"/>
                  </a:lnTo>
                  <a:lnTo>
                    <a:pt x="237" y="3"/>
                  </a:lnTo>
                  <a:lnTo>
                    <a:pt x="237" y="2"/>
                  </a:lnTo>
                  <a:lnTo>
                    <a:pt x="237" y="1"/>
                  </a:lnTo>
                  <a:lnTo>
                    <a:pt x="237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6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5" name="Freeform 98">
              <a:extLst>
                <a:ext uri="{FF2B5EF4-FFF2-40B4-BE49-F238E27FC236}">
                  <a16:creationId xmlns:a16="http://schemas.microsoft.com/office/drawing/2014/main" id="{C61F97E2-B7F6-4E7B-BEA9-6A444107C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4" y="1972"/>
              <a:ext cx="1131" cy="743"/>
            </a:xfrm>
            <a:custGeom>
              <a:avLst/>
              <a:gdLst>
                <a:gd name="T0" fmla="*/ 335 w 1131"/>
                <a:gd name="T1" fmla="*/ 86 h 743"/>
                <a:gd name="T2" fmla="*/ 379 w 1131"/>
                <a:gd name="T3" fmla="*/ 76 h 743"/>
                <a:gd name="T4" fmla="*/ 436 w 1131"/>
                <a:gd name="T5" fmla="*/ 58 h 743"/>
                <a:gd name="T6" fmla="*/ 486 w 1131"/>
                <a:gd name="T7" fmla="*/ 103 h 743"/>
                <a:gd name="T8" fmla="*/ 532 w 1131"/>
                <a:gd name="T9" fmla="*/ 136 h 743"/>
                <a:gd name="T10" fmla="*/ 591 w 1131"/>
                <a:gd name="T11" fmla="*/ 173 h 743"/>
                <a:gd name="T12" fmla="*/ 653 w 1131"/>
                <a:gd name="T13" fmla="*/ 192 h 743"/>
                <a:gd name="T14" fmla="*/ 700 w 1131"/>
                <a:gd name="T15" fmla="*/ 191 h 743"/>
                <a:gd name="T16" fmla="*/ 721 w 1131"/>
                <a:gd name="T17" fmla="*/ 176 h 743"/>
                <a:gd name="T18" fmla="*/ 740 w 1131"/>
                <a:gd name="T19" fmla="*/ 142 h 743"/>
                <a:gd name="T20" fmla="*/ 798 w 1131"/>
                <a:gd name="T21" fmla="*/ 101 h 743"/>
                <a:gd name="T22" fmla="*/ 843 w 1131"/>
                <a:gd name="T23" fmla="*/ 56 h 743"/>
                <a:gd name="T24" fmla="*/ 879 w 1131"/>
                <a:gd name="T25" fmla="*/ 62 h 743"/>
                <a:gd name="T26" fmla="*/ 937 w 1131"/>
                <a:gd name="T27" fmla="*/ 86 h 743"/>
                <a:gd name="T28" fmla="*/ 1006 w 1131"/>
                <a:gd name="T29" fmla="*/ 122 h 743"/>
                <a:gd name="T30" fmla="*/ 1056 w 1131"/>
                <a:gd name="T31" fmla="*/ 76 h 743"/>
                <a:gd name="T32" fmla="*/ 1097 w 1131"/>
                <a:gd name="T33" fmla="*/ 12 h 743"/>
                <a:gd name="T34" fmla="*/ 1131 w 1131"/>
                <a:gd name="T35" fmla="*/ 4 h 743"/>
                <a:gd name="T36" fmla="*/ 1097 w 1131"/>
                <a:gd name="T37" fmla="*/ 107 h 743"/>
                <a:gd name="T38" fmla="*/ 1092 w 1131"/>
                <a:gd name="T39" fmla="*/ 159 h 743"/>
                <a:gd name="T40" fmla="*/ 1072 w 1131"/>
                <a:gd name="T41" fmla="*/ 215 h 743"/>
                <a:gd name="T42" fmla="*/ 1030 w 1131"/>
                <a:gd name="T43" fmla="*/ 243 h 743"/>
                <a:gd name="T44" fmla="*/ 1050 w 1131"/>
                <a:gd name="T45" fmla="*/ 322 h 743"/>
                <a:gd name="T46" fmla="*/ 1051 w 1131"/>
                <a:gd name="T47" fmla="*/ 401 h 743"/>
                <a:gd name="T48" fmla="*/ 1056 w 1131"/>
                <a:gd name="T49" fmla="*/ 453 h 743"/>
                <a:gd name="T50" fmla="*/ 1093 w 1131"/>
                <a:gd name="T51" fmla="*/ 516 h 743"/>
                <a:gd name="T52" fmla="*/ 1097 w 1131"/>
                <a:gd name="T53" fmla="*/ 557 h 743"/>
                <a:gd name="T54" fmla="*/ 1130 w 1131"/>
                <a:gd name="T55" fmla="*/ 580 h 743"/>
                <a:gd name="T56" fmla="*/ 1105 w 1131"/>
                <a:gd name="T57" fmla="*/ 646 h 743"/>
                <a:gd name="T58" fmla="*/ 1102 w 1131"/>
                <a:gd name="T59" fmla="*/ 710 h 743"/>
                <a:gd name="T60" fmla="*/ 1030 w 1131"/>
                <a:gd name="T61" fmla="*/ 689 h 743"/>
                <a:gd name="T62" fmla="*/ 971 w 1131"/>
                <a:gd name="T63" fmla="*/ 682 h 743"/>
                <a:gd name="T64" fmla="*/ 912 w 1131"/>
                <a:gd name="T65" fmla="*/ 681 h 743"/>
                <a:gd name="T66" fmla="*/ 874 w 1131"/>
                <a:gd name="T67" fmla="*/ 725 h 743"/>
                <a:gd name="T68" fmla="*/ 821 w 1131"/>
                <a:gd name="T69" fmla="*/ 723 h 743"/>
                <a:gd name="T70" fmla="*/ 788 w 1131"/>
                <a:gd name="T71" fmla="*/ 743 h 743"/>
                <a:gd name="T72" fmla="*/ 712 w 1131"/>
                <a:gd name="T73" fmla="*/ 694 h 743"/>
                <a:gd name="T74" fmla="*/ 654 w 1131"/>
                <a:gd name="T75" fmla="*/ 644 h 743"/>
                <a:gd name="T76" fmla="*/ 565 w 1131"/>
                <a:gd name="T77" fmla="*/ 617 h 743"/>
                <a:gd name="T78" fmla="*/ 517 w 1131"/>
                <a:gd name="T79" fmla="*/ 587 h 743"/>
                <a:gd name="T80" fmla="*/ 480 w 1131"/>
                <a:gd name="T81" fmla="*/ 566 h 743"/>
                <a:gd name="T82" fmla="*/ 444 w 1131"/>
                <a:gd name="T83" fmla="*/ 616 h 743"/>
                <a:gd name="T84" fmla="*/ 380 w 1131"/>
                <a:gd name="T85" fmla="*/ 597 h 743"/>
                <a:gd name="T86" fmla="*/ 374 w 1131"/>
                <a:gd name="T87" fmla="*/ 559 h 743"/>
                <a:gd name="T88" fmla="*/ 319 w 1131"/>
                <a:gd name="T89" fmla="*/ 537 h 743"/>
                <a:gd name="T90" fmla="*/ 292 w 1131"/>
                <a:gd name="T91" fmla="*/ 511 h 743"/>
                <a:gd name="T92" fmla="*/ 239 w 1131"/>
                <a:gd name="T93" fmla="*/ 480 h 743"/>
                <a:gd name="T94" fmla="*/ 197 w 1131"/>
                <a:gd name="T95" fmla="*/ 476 h 743"/>
                <a:gd name="T96" fmla="*/ 121 w 1131"/>
                <a:gd name="T97" fmla="*/ 437 h 743"/>
                <a:gd name="T98" fmla="*/ 116 w 1131"/>
                <a:gd name="T99" fmla="*/ 352 h 743"/>
                <a:gd name="T100" fmla="*/ 118 w 1131"/>
                <a:gd name="T101" fmla="*/ 304 h 743"/>
                <a:gd name="T102" fmla="*/ 75 w 1131"/>
                <a:gd name="T103" fmla="*/ 270 h 743"/>
                <a:gd name="T104" fmla="*/ 61 w 1131"/>
                <a:gd name="T105" fmla="*/ 245 h 743"/>
                <a:gd name="T106" fmla="*/ 16 w 1131"/>
                <a:gd name="T107" fmla="*/ 227 h 743"/>
                <a:gd name="T108" fmla="*/ 5 w 1131"/>
                <a:gd name="T109" fmla="*/ 202 h 743"/>
                <a:gd name="T110" fmla="*/ 13 w 1131"/>
                <a:gd name="T111" fmla="*/ 184 h 743"/>
                <a:gd name="T112" fmla="*/ 32 w 1131"/>
                <a:gd name="T113" fmla="*/ 147 h 743"/>
                <a:gd name="T114" fmla="*/ 41 w 1131"/>
                <a:gd name="T115" fmla="*/ 129 h 743"/>
                <a:gd name="T116" fmla="*/ 65 w 1131"/>
                <a:gd name="T117" fmla="*/ 132 h 743"/>
                <a:gd name="T118" fmla="*/ 110 w 1131"/>
                <a:gd name="T119" fmla="*/ 108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1" h="743">
                  <a:moveTo>
                    <a:pt x="309" y="46"/>
                  </a:moveTo>
                  <a:lnTo>
                    <a:pt x="310" y="46"/>
                  </a:lnTo>
                  <a:lnTo>
                    <a:pt x="312" y="48"/>
                  </a:lnTo>
                  <a:lnTo>
                    <a:pt x="313" y="50"/>
                  </a:lnTo>
                  <a:lnTo>
                    <a:pt x="315" y="51"/>
                  </a:lnTo>
                  <a:lnTo>
                    <a:pt x="316" y="53"/>
                  </a:lnTo>
                  <a:lnTo>
                    <a:pt x="318" y="54"/>
                  </a:lnTo>
                  <a:lnTo>
                    <a:pt x="320" y="57"/>
                  </a:lnTo>
                  <a:lnTo>
                    <a:pt x="323" y="61"/>
                  </a:lnTo>
                  <a:lnTo>
                    <a:pt x="323" y="65"/>
                  </a:lnTo>
                  <a:lnTo>
                    <a:pt x="325" y="68"/>
                  </a:lnTo>
                  <a:lnTo>
                    <a:pt x="328" y="76"/>
                  </a:lnTo>
                  <a:lnTo>
                    <a:pt x="329" y="79"/>
                  </a:lnTo>
                  <a:lnTo>
                    <a:pt x="331" y="81"/>
                  </a:lnTo>
                  <a:lnTo>
                    <a:pt x="332" y="83"/>
                  </a:lnTo>
                  <a:lnTo>
                    <a:pt x="333" y="85"/>
                  </a:lnTo>
                  <a:lnTo>
                    <a:pt x="335" y="86"/>
                  </a:lnTo>
                  <a:lnTo>
                    <a:pt x="336" y="87"/>
                  </a:lnTo>
                  <a:lnTo>
                    <a:pt x="338" y="88"/>
                  </a:lnTo>
                  <a:lnTo>
                    <a:pt x="339" y="89"/>
                  </a:lnTo>
                  <a:lnTo>
                    <a:pt x="341" y="90"/>
                  </a:lnTo>
                  <a:lnTo>
                    <a:pt x="343" y="90"/>
                  </a:lnTo>
                  <a:lnTo>
                    <a:pt x="346" y="90"/>
                  </a:lnTo>
                  <a:lnTo>
                    <a:pt x="348" y="90"/>
                  </a:lnTo>
                  <a:lnTo>
                    <a:pt x="349" y="90"/>
                  </a:lnTo>
                  <a:lnTo>
                    <a:pt x="351" y="90"/>
                  </a:lnTo>
                  <a:lnTo>
                    <a:pt x="352" y="90"/>
                  </a:lnTo>
                  <a:lnTo>
                    <a:pt x="354" y="90"/>
                  </a:lnTo>
                  <a:lnTo>
                    <a:pt x="357" y="88"/>
                  </a:lnTo>
                  <a:lnTo>
                    <a:pt x="360" y="86"/>
                  </a:lnTo>
                  <a:lnTo>
                    <a:pt x="366" y="82"/>
                  </a:lnTo>
                  <a:lnTo>
                    <a:pt x="369" y="80"/>
                  </a:lnTo>
                  <a:lnTo>
                    <a:pt x="371" y="79"/>
                  </a:lnTo>
                  <a:lnTo>
                    <a:pt x="379" y="76"/>
                  </a:lnTo>
                  <a:lnTo>
                    <a:pt x="381" y="74"/>
                  </a:lnTo>
                  <a:lnTo>
                    <a:pt x="383" y="73"/>
                  </a:lnTo>
                  <a:lnTo>
                    <a:pt x="384" y="72"/>
                  </a:lnTo>
                  <a:lnTo>
                    <a:pt x="386" y="70"/>
                  </a:lnTo>
                  <a:lnTo>
                    <a:pt x="393" y="64"/>
                  </a:lnTo>
                  <a:lnTo>
                    <a:pt x="395" y="63"/>
                  </a:lnTo>
                  <a:lnTo>
                    <a:pt x="397" y="61"/>
                  </a:lnTo>
                  <a:lnTo>
                    <a:pt x="400" y="59"/>
                  </a:lnTo>
                  <a:lnTo>
                    <a:pt x="403" y="58"/>
                  </a:lnTo>
                  <a:lnTo>
                    <a:pt x="410" y="56"/>
                  </a:lnTo>
                  <a:lnTo>
                    <a:pt x="414" y="55"/>
                  </a:lnTo>
                  <a:lnTo>
                    <a:pt x="416" y="55"/>
                  </a:lnTo>
                  <a:lnTo>
                    <a:pt x="417" y="55"/>
                  </a:lnTo>
                  <a:lnTo>
                    <a:pt x="421" y="55"/>
                  </a:lnTo>
                  <a:lnTo>
                    <a:pt x="424" y="56"/>
                  </a:lnTo>
                  <a:lnTo>
                    <a:pt x="430" y="56"/>
                  </a:lnTo>
                  <a:lnTo>
                    <a:pt x="436" y="58"/>
                  </a:lnTo>
                  <a:lnTo>
                    <a:pt x="445" y="60"/>
                  </a:lnTo>
                  <a:lnTo>
                    <a:pt x="453" y="63"/>
                  </a:lnTo>
                  <a:lnTo>
                    <a:pt x="458" y="65"/>
                  </a:lnTo>
                  <a:lnTo>
                    <a:pt x="461" y="66"/>
                  </a:lnTo>
                  <a:lnTo>
                    <a:pt x="464" y="68"/>
                  </a:lnTo>
                  <a:lnTo>
                    <a:pt x="466" y="68"/>
                  </a:lnTo>
                  <a:lnTo>
                    <a:pt x="468" y="70"/>
                  </a:lnTo>
                  <a:lnTo>
                    <a:pt x="470" y="72"/>
                  </a:lnTo>
                  <a:lnTo>
                    <a:pt x="474" y="78"/>
                  </a:lnTo>
                  <a:lnTo>
                    <a:pt x="476" y="79"/>
                  </a:lnTo>
                  <a:lnTo>
                    <a:pt x="478" y="81"/>
                  </a:lnTo>
                  <a:lnTo>
                    <a:pt x="479" y="82"/>
                  </a:lnTo>
                  <a:lnTo>
                    <a:pt x="480" y="84"/>
                  </a:lnTo>
                  <a:lnTo>
                    <a:pt x="481" y="87"/>
                  </a:lnTo>
                  <a:lnTo>
                    <a:pt x="482" y="90"/>
                  </a:lnTo>
                  <a:lnTo>
                    <a:pt x="484" y="99"/>
                  </a:lnTo>
                  <a:lnTo>
                    <a:pt x="486" y="103"/>
                  </a:lnTo>
                  <a:lnTo>
                    <a:pt x="487" y="106"/>
                  </a:lnTo>
                  <a:lnTo>
                    <a:pt x="489" y="108"/>
                  </a:lnTo>
                  <a:lnTo>
                    <a:pt x="490" y="110"/>
                  </a:lnTo>
                  <a:lnTo>
                    <a:pt x="491" y="111"/>
                  </a:lnTo>
                  <a:lnTo>
                    <a:pt x="493" y="112"/>
                  </a:lnTo>
                  <a:lnTo>
                    <a:pt x="494" y="113"/>
                  </a:lnTo>
                  <a:lnTo>
                    <a:pt x="497" y="113"/>
                  </a:lnTo>
                  <a:lnTo>
                    <a:pt x="501" y="115"/>
                  </a:lnTo>
                  <a:lnTo>
                    <a:pt x="509" y="117"/>
                  </a:lnTo>
                  <a:lnTo>
                    <a:pt x="513" y="119"/>
                  </a:lnTo>
                  <a:lnTo>
                    <a:pt x="516" y="120"/>
                  </a:lnTo>
                  <a:lnTo>
                    <a:pt x="518" y="122"/>
                  </a:lnTo>
                  <a:lnTo>
                    <a:pt x="520" y="123"/>
                  </a:lnTo>
                  <a:lnTo>
                    <a:pt x="521" y="124"/>
                  </a:lnTo>
                  <a:lnTo>
                    <a:pt x="524" y="125"/>
                  </a:lnTo>
                  <a:lnTo>
                    <a:pt x="527" y="129"/>
                  </a:lnTo>
                  <a:lnTo>
                    <a:pt x="532" y="136"/>
                  </a:lnTo>
                  <a:lnTo>
                    <a:pt x="534" y="139"/>
                  </a:lnTo>
                  <a:lnTo>
                    <a:pt x="537" y="141"/>
                  </a:lnTo>
                  <a:lnTo>
                    <a:pt x="539" y="144"/>
                  </a:lnTo>
                  <a:lnTo>
                    <a:pt x="542" y="145"/>
                  </a:lnTo>
                  <a:lnTo>
                    <a:pt x="546" y="147"/>
                  </a:lnTo>
                  <a:lnTo>
                    <a:pt x="550" y="148"/>
                  </a:lnTo>
                  <a:lnTo>
                    <a:pt x="559" y="152"/>
                  </a:lnTo>
                  <a:lnTo>
                    <a:pt x="561" y="153"/>
                  </a:lnTo>
                  <a:lnTo>
                    <a:pt x="563" y="155"/>
                  </a:lnTo>
                  <a:lnTo>
                    <a:pt x="565" y="157"/>
                  </a:lnTo>
                  <a:lnTo>
                    <a:pt x="568" y="158"/>
                  </a:lnTo>
                  <a:lnTo>
                    <a:pt x="574" y="164"/>
                  </a:lnTo>
                  <a:lnTo>
                    <a:pt x="577" y="166"/>
                  </a:lnTo>
                  <a:lnTo>
                    <a:pt x="580" y="168"/>
                  </a:lnTo>
                  <a:lnTo>
                    <a:pt x="582" y="170"/>
                  </a:lnTo>
                  <a:lnTo>
                    <a:pt x="585" y="170"/>
                  </a:lnTo>
                  <a:lnTo>
                    <a:pt x="591" y="173"/>
                  </a:lnTo>
                  <a:lnTo>
                    <a:pt x="596" y="175"/>
                  </a:lnTo>
                  <a:lnTo>
                    <a:pt x="601" y="178"/>
                  </a:lnTo>
                  <a:lnTo>
                    <a:pt x="605" y="180"/>
                  </a:lnTo>
                  <a:lnTo>
                    <a:pt x="607" y="181"/>
                  </a:lnTo>
                  <a:lnTo>
                    <a:pt x="610" y="182"/>
                  </a:lnTo>
                  <a:lnTo>
                    <a:pt x="620" y="191"/>
                  </a:lnTo>
                  <a:lnTo>
                    <a:pt x="623" y="192"/>
                  </a:lnTo>
                  <a:lnTo>
                    <a:pt x="625" y="194"/>
                  </a:lnTo>
                  <a:lnTo>
                    <a:pt x="627" y="195"/>
                  </a:lnTo>
                  <a:lnTo>
                    <a:pt x="629" y="195"/>
                  </a:lnTo>
                  <a:lnTo>
                    <a:pt x="630" y="196"/>
                  </a:lnTo>
                  <a:lnTo>
                    <a:pt x="632" y="196"/>
                  </a:lnTo>
                  <a:lnTo>
                    <a:pt x="636" y="196"/>
                  </a:lnTo>
                  <a:lnTo>
                    <a:pt x="639" y="196"/>
                  </a:lnTo>
                  <a:lnTo>
                    <a:pt x="643" y="195"/>
                  </a:lnTo>
                  <a:lnTo>
                    <a:pt x="651" y="193"/>
                  </a:lnTo>
                  <a:lnTo>
                    <a:pt x="653" y="192"/>
                  </a:lnTo>
                  <a:lnTo>
                    <a:pt x="654" y="192"/>
                  </a:lnTo>
                  <a:lnTo>
                    <a:pt x="661" y="189"/>
                  </a:lnTo>
                  <a:lnTo>
                    <a:pt x="662" y="188"/>
                  </a:lnTo>
                  <a:lnTo>
                    <a:pt x="664" y="188"/>
                  </a:lnTo>
                  <a:lnTo>
                    <a:pt x="664" y="188"/>
                  </a:lnTo>
                  <a:lnTo>
                    <a:pt x="665" y="189"/>
                  </a:lnTo>
                  <a:lnTo>
                    <a:pt x="669" y="191"/>
                  </a:lnTo>
                  <a:lnTo>
                    <a:pt x="671" y="192"/>
                  </a:lnTo>
                  <a:lnTo>
                    <a:pt x="673" y="192"/>
                  </a:lnTo>
                  <a:lnTo>
                    <a:pt x="675" y="192"/>
                  </a:lnTo>
                  <a:lnTo>
                    <a:pt x="677" y="192"/>
                  </a:lnTo>
                  <a:lnTo>
                    <a:pt x="681" y="192"/>
                  </a:lnTo>
                  <a:lnTo>
                    <a:pt x="688" y="191"/>
                  </a:lnTo>
                  <a:lnTo>
                    <a:pt x="693" y="190"/>
                  </a:lnTo>
                  <a:lnTo>
                    <a:pt x="696" y="190"/>
                  </a:lnTo>
                  <a:lnTo>
                    <a:pt x="698" y="190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10" y="192"/>
                  </a:lnTo>
                  <a:lnTo>
                    <a:pt x="712" y="193"/>
                  </a:lnTo>
                  <a:lnTo>
                    <a:pt x="714" y="193"/>
                  </a:lnTo>
                  <a:lnTo>
                    <a:pt x="717" y="193"/>
                  </a:lnTo>
                  <a:lnTo>
                    <a:pt x="719" y="193"/>
                  </a:lnTo>
                  <a:lnTo>
                    <a:pt x="721" y="192"/>
                  </a:lnTo>
                  <a:lnTo>
                    <a:pt x="722" y="192"/>
                  </a:lnTo>
                  <a:lnTo>
                    <a:pt x="723" y="192"/>
                  </a:lnTo>
                  <a:lnTo>
                    <a:pt x="723" y="191"/>
                  </a:lnTo>
                  <a:lnTo>
                    <a:pt x="724" y="190"/>
                  </a:lnTo>
                  <a:lnTo>
                    <a:pt x="724" y="189"/>
                  </a:lnTo>
                  <a:lnTo>
                    <a:pt x="724" y="187"/>
                  </a:lnTo>
                  <a:lnTo>
                    <a:pt x="723" y="185"/>
                  </a:lnTo>
                  <a:lnTo>
                    <a:pt x="721" y="180"/>
                  </a:lnTo>
                  <a:lnTo>
                    <a:pt x="721" y="177"/>
                  </a:lnTo>
                  <a:lnTo>
                    <a:pt x="721" y="176"/>
                  </a:lnTo>
                  <a:lnTo>
                    <a:pt x="721" y="174"/>
                  </a:lnTo>
                  <a:lnTo>
                    <a:pt x="721" y="173"/>
                  </a:lnTo>
                  <a:lnTo>
                    <a:pt x="722" y="171"/>
                  </a:lnTo>
                  <a:lnTo>
                    <a:pt x="723" y="170"/>
                  </a:lnTo>
                  <a:lnTo>
                    <a:pt x="724" y="169"/>
                  </a:lnTo>
                  <a:lnTo>
                    <a:pt x="725" y="168"/>
                  </a:lnTo>
                  <a:lnTo>
                    <a:pt x="727" y="166"/>
                  </a:lnTo>
                  <a:lnTo>
                    <a:pt x="732" y="162"/>
                  </a:lnTo>
                  <a:lnTo>
                    <a:pt x="734" y="160"/>
                  </a:lnTo>
                  <a:lnTo>
                    <a:pt x="736" y="158"/>
                  </a:lnTo>
                  <a:lnTo>
                    <a:pt x="738" y="157"/>
                  </a:lnTo>
                  <a:lnTo>
                    <a:pt x="738" y="155"/>
                  </a:lnTo>
                  <a:lnTo>
                    <a:pt x="739" y="153"/>
                  </a:lnTo>
                  <a:lnTo>
                    <a:pt x="740" y="151"/>
                  </a:lnTo>
                  <a:lnTo>
                    <a:pt x="740" y="150"/>
                  </a:lnTo>
                  <a:lnTo>
                    <a:pt x="740" y="144"/>
                  </a:lnTo>
                  <a:lnTo>
                    <a:pt x="740" y="142"/>
                  </a:lnTo>
                  <a:lnTo>
                    <a:pt x="741" y="140"/>
                  </a:lnTo>
                  <a:lnTo>
                    <a:pt x="741" y="139"/>
                  </a:lnTo>
                  <a:lnTo>
                    <a:pt x="742" y="136"/>
                  </a:lnTo>
                  <a:lnTo>
                    <a:pt x="744" y="135"/>
                  </a:lnTo>
                  <a:lnTo>
                    <a:pt x="745" y="133"/>
                  </a:lnTo>
                  <a:lnTo>
                    <a:pt x="747" y="130"/>
                  </a:lnTo>
                  <a:lnTo>
                    <a:pt x="750" y="128"/>
                  </a:lnTo>
                  <a:lnTo>
                    <a:pt x="753" y="126"/>
                  </a:lnTo>
                  <a:lnTo>
                    <a:pt x="759" y="123"/>
                  </a:lnTo>
                  <a:lnTo>
                    <a:pt x="762" y="121"/>
                  </a:lnTo>
                  <a:lnTo>
                    <a:pt x="767" y="118"/>
                  </a:lnTo>
                  <a:lnTo>
                    <a:pt x="774" y="113"/>
                  </a:lnTo>
                  <a:lnTo>
                    <a:pt x="777" y="111"/>
                  </a:lnTo>
                  <a:lnTo>
                    <a:pt x="778" y="110"/>
                  </a:lnTo>
                  <a:lnTo>
                    <a:pt x="784" y="107"/>
                  </a:lnTo>
                  <a:lnTo>
                    <a:pt x="790" y="103"/>
                  </a:lnTo>
                  <a:lnTo>
                    <a:pt x="798" y="101"/>
                  </a:lnTo>
                  <a:lnTo>
                    <a:pt x="800" y="100"/>
                  </a:lnTo>
                  <a:lnTo>
                    <a:pt x="802" y="97"/>
                  </a:lnTo>
                  <a:lnTo>
                    <a:pt x="804" y="96"/>
                  </a:lnTo>
                  <a:lnTo>
                    <a:pt x="809" y="93"/>
                  </a:lnTo>
                  <a:lnTo>
                    <a:pt x="815" y="90"/>
                  </a:lnTo>
                  <a:lnTo>
                    <a:pt x="818" y="89"/>
                  </a:lnTo>
                  <a:lnTo>
                    <a:pt x="822" y="87"/>
                  </a:lnTo>
                  <a:lnTo>
                    <a:pt x="825" y="84"/>
                  </a:lnTo>
                  <a:lnTo>
                    <a:pt x="828" y="82"/>
                  </a:lnTo>
                  <a:lnTo>
                    <a:pt x="830" y="79"/>
                  </a:lnTo>
                  <a:lnTo>
                    <a:pt x="832" y="78"/>
                  </a:lnTo>
                  <a:lnTo>
                    <a:pt x="834" y="75"/>
                  </a:lnTo>
                  <a:lnTo>
                    <a:pt x="835" y="73"/>
                  </a:lnTo>
                  <a:lnTo>
                    <a:pt x="836" y="70"/>
                  </a:lnTo>
                  <a:lnTo>
                    <a:pt x="841" y="60"/>
                  </a:lnTo>
                  <a:lnTo>
                    <a:pt x="842" y="58"/>
                  </a:lnTo>
                  <a:lnTo>
                    <a:pt x="843" y="56"/>
                  </a:lnTo>
                  <a:lnTo>
                    <a:pt x="845" y="55"/>
                  </a:lnTo>
                  <a:lnTo>
                    <a:pt x="846" y="54"/>
                  </a:lnTo>
                  <a:lnTo>
                    <a:pt x="847" y="53"/>
                  </a:lnTo>
                  <a:lnTo>
                    <a:pt x="849" y="52"/>
                  </a:lnTo>
                  <a:lnTo>
                    <a:pt x="850" y="51"/>
                  </a:lnTo>
                  <a:lnTo>
                    <a:pt x="851" y="51"/>
                  </a:lnTo>
                  <a:lnTo>
                    <a:pt x="853" y="51"/>
                  </a:lnTo>
                  <a:lnTo>
                    <a:pt x="855" y="50"/>
                  </a:lnTo>
                  <a:lnTo>
                    <a:pt x="856" y="51"/>
                  </a:lnTo>
                  <a:lnTo>
                    <a:pt x="858" y="51"/>
                  </a:lnTo>
                  <a:lnTo>
                    <a:pt x="859" y="51"/>
                  </a:lnTo>
                  <a:lnTo>
                    <a:pt x="861" y="52"/>
                  </a:lnTo>
                  <a:lnTo>
                    <a:pt x="864" y="53"/>
                  </a:lnTo>
                  <a:lnTo>
                    <a:pt x="867" y="55"/>
                  </a:lnTo>
                  <a:lnTo>
                    <a:pt x="869" y="56"/>
                  </a:lnTo>
                  <a:lnTo>
                    <a:pt x="874" y="59"/>
                  </a:lnTo>
                  <a:lnTo>
                    <a:pt x="879" y="62"/>
                  </a:lnTo>
                  <a:lnTo>
                    <a:pt x="884" y="65"/>
                  </a:lnTo>
                  <a:lnTo>
                    <a:pt x="889" y="67"/>
                  </a:lnTo>
                  <a:lnTo>
                    <a:pt x="901" y="71"/>
                  </a:lnTo>
                  <a:lnTo>
                    <a:pt x="904" y="72"/>
                  </a:lnTo>
                  <a:lnTo>
                    <a:pt x="908" y="74"/>
                  </a:lnTo>
                  <a:lnTo>
                    <a:pt x="912" y="74"/>
                  </a:lnTo>
                  <a:lnTo>
                    <a:pt x="915" y="75"/>
                  </a:lnTo>
                  <a:lnTo>
                    <a:pt x="915" y="75"/>
                  </a:lnTo>
                  <a:lnTo>
                    <a:pt x="916" y="74"/>
                  </a:lnTo>
                  <a:lnTo>
                    <a:pt x="917" y="74"/>
                  </a:lnTo>
                  <a:lnTo>
                    <a:pt x="918" y="74"/>
                  </a:lnTo>
                  <a:lnTo>
                    <a:pt x="920" y="75"/>
                  </a:lnTo>
                  <a:lnTo>
                    <a:pt x="922" y="76"/>
                  </a:lnTo>
                  <a:lnTo>
                    <a:pt x="926" y="78"/>
                  </a:lnTo>
                  <a:lnTo>
                    <a:pt x="929" y="80"/>
                  </a:lnTo>
                  <a:lnTo>
                    <a:pt x="933" y="83"/>
                  </a:lnTo>
                  <a:lnTo>
                    <a:pt x="937" y="86"/>
                  </a:lnTo>
                  <a:lnTo>
                    <a:pt x="938" y="89"/>
                  </a:lnTo>
                  <a:lnTo>
                    <a:pt x="947" y="96"/>
                  </a:lnTo>
                  <a:lnTo>
                    <a:pt x="949" y="99"/>
                  </a:lnTo>
                  <a:lnTo>
                    <a:pt x="954" y="102"/>
                  </a:lnTo>
                  <a:lnTo>
                    <a:pt x="957" y="104"/>
                  </a:lnTo>
                  <a:lnTo>
                    <a:pt x="959" y="106"/>
                  </a:lnTo>
                  <a:lnTo>
                    <a:pt x="961" y="107"/>
                  </a:lnTo>
                  <a:lnTo>
                    <a:pt x="964" y="109"/>
                  </a:lnTo>
                  <a:lnTo>
                    <a:pt x="968" y="111"/>
                  </a:lnTo>
                  <a:lnTo>
                    <a:pt x="971" y="113"/>
                  </a:lnTo>
                  <a:lnTo>
                    <a:pt x="982" y="116"/>
                  </a:lnTo>
                  <a:lnTo>
                    <a:pt x="989" y="119"/>
                  </a:lnTo>
                  <a:lnTo>
                    <a:pt x="996" y="121"/>
                  </a:lnTo>
                  <a:lnTo>
                    <a:pt x="998" y="121"/>
                  </a:lnTo>
                  <a:lnTo>
                    <a:pt x="1001" y="122"/>
                  </a:lnTo>
                  <a:lnTo>
                    <a:pt x="1003" y="122"/>
                  </a:lnTo>
                  <a:lnTo>
                    <a:pt x="1006" y="122"/>
                  </a:lnTo>
                  <a:lnTo>
                    <a:pt x="1007" y="122"/>
                  </a:lnTo>
                  <a:lnTo>
                    <a:pt x="1009" y="122"/>
                  </a:lnTo>
                  <a:lnTo>
                    <a:pt x="1011" y="121"/>
                  </a:lnTo>
                  <a:lnTo>
                    <a:pt x="1013" y="121"/>
                  </a:lnTo>
                  <a:lnTo>
                    <a:pt x="1015" y="120"/>
                  </a:lnTo>
                  <a:lnTo>
                    <a:pt x="1017" y="119"/>
                  </a:lnTo>
                  <a:lnTo>
                    <a:pt x="1019" y="117"/>
                  </a:lnTo>
                  <a:lnTo>
                    <a:pt x="1021" y="115"/>
                  </a:lnTo>
                  <a:lnTo>
                    <a:pt x="1024" y="113"/>
                  </a:lnTo>
                  <a:lnTo>
                    <a:pt x="1026" y="111"/>
                  </a:lnTo>
                  <a:lnTo>
                    <a:pt x="1028" y="108"/>
                  </a:lnTo>
                  <a:lnTo>
                    <a:pt x="1038" y="94"/>
                  </a:lnTo>
                  <a:lnTo>
                    <a:pt x="1040" y="90"/>
                  </a:lnTo>
                  <a:lnTo>
                    <a:pt x="1043" y="87"/>
                  </a:lnTo>
                  <a:lnTo>
                    <a:pt x="1045" y="85"/>
                  </a:lnTo>
                  <a:lnTo>
                    <a:pt x="1048" y="83"/>
                  </a:lnTo>
                  <a:lnTo>
                    <a:pt x="1056" y="76"/>
                  </a:lnTo>
                  <a:lnTo>
                    <a:pt x="1061" y="72"/>
                  </a:lnTo>
                  <a:lnTo>
                    <a:pt x="1064" y="68"/>
                  </a:lnTo>
                  <a:lnTo>
                    <a:pt x="1067" y="65"/>
                  </a:lnTo>
                  <a:lnTo>
                    <a:pt x="1069" y="62"/>
                  </a:lnTo>
                  <a:lnTo>
                    <a:pt x="1072" y="57"/>
                  </a:lnTo>
                  <a:lnTo>
                    <a:pt x="1074" y="53"/>
                  </a:lnTo>
                  <a:lnTo>
                    <a:pt x="1076" y="49"/>
                  </a:lnTo>
                  <a:lnTo>
                    <a:pt x="1078" y="46"/>
                  </a:lnTo>
                  <a:lnTo>
                    <a:pt x="1079" y="43"/>
                  </a:lnTo>
                  <a:lnTo>
                    <a:pt x="1085" y="30"/>
                  </a:lnTo>
                  <a:lnTo>
                    <a:pt x="1085" y="27"/>
                  </a:lnTo>
                  <a:lnTo>
                    <a:pt x="1087" y="25"/>
                  </a:lnTo>
                  <a:lnTo>
                    <a:pt x="1089" y="22"/>
                  </a:lnTo>
                  <a:lnTo>
                    <a:pt x="1091" y="19"/>
                  </a:lnTo>
                  <a:lnTo>
                    <a:pt x="1093" y="17"/>
                  </a:lnTo>
                  <a:lnTo>
                    <a:pt x="1095" y="14"/>
                  </a:lnTo>
                  <a:lnTo>
                    <a:pt x="1097" y="12"/>
                  </a:lnTo>
                  <a:lnTo>
                    <a:pt x="1100" y="10"/>
                  </a:lnTo>
                  <a:lnTo>
                    <a:pt x="1103" y="8"/>
                  </a:lnTo>
                  <a:lnTo>
                    <a:pt x="1106" y="6"/>
                  </a:lnTo>
                  <a:lnTo>
                    <a:pt x="1108" y="4"/>
                  </a:lnTo>
                  <a:lnTo>
                    <a:pt x="1112" y="3"/>
                  </a:lnTo>
                  <a:lnTo>
                    <a:pt x="1114" y="1"/>
                  </a:lnTo>
                  <a:lnTo>
                    <a:pt x="1117" y="0"/>
                  </a:lnTo>
                  <a:lnTo>
                    <a:pt x="1119" y="0"/>
                  </a:lnTo>
                  <a:lnTo>
                    <a:pt x="1120" y="0"/>
                  </a:lnTo>
                  <a:lnTo>
                    <a:pt x="1123" y="0"/>
                  </a:lnTo>
                  <a:lnTo>
                    <a:pt x="1125" y="0"/>
                  </a:lnTo>
                  <a:lnTo>
                    <a:pt x="1127" y="0"/>
                  </a:lnTo>
                  <a:lnTo>
                    <a:pt x="1129" y="1"/>
                  </a:lnTo>
                  <a:lnTo>
                    <a:pt x="1130" y="2"/>
                  </a:lnTo>
                  <a:lnTo>
                    <a:pt x="1130" y="3"/>
                  </a:lnTo>
                  <a:lnTo>
                    <a:pt x="1131" y="3"/>
                  </a:lnTo>
                  <a:lnTo>
                    <a:pt x="1131" y="4"/>
                  </a:lnTo>
                  <a:lnTo>
                    <a:pt x="1131" y="7"/>
                  </a:lnTo>
                  <a:lnTo>
                    <a:pt x="1131" y="11"/>
                  </a:lnTo>
                  <a:lnTo>
                    <a:pt x="1131" y="13"/>
                  </a:lnTo>
                  <a:lnTo>
                    <a:pt x="1131" y="18"/>
                  </a:lnTo>
                  <a:lnTo>
                    <a:pt x="1130" y="22"/>
                  </a:lnTo>
                  <a:lnTo>
                    <a:pt x="1129" y="25"/>
                  </a:lnTo>
                  <a:lnTo>
                    <a:pt x="1128" y="29"/>
                  </a:lnTo>
                  <a:lnTo>
                    <a:pt x="1126" y="33"/>
                  </a:lnTo>
                  <a:lnTo>
                    <a:pt x="1122" y="43"/>
                  </a:lnTo>
                  <a:lnTo>
                    <a:pt x="1119" y="51"/>
                  </a:lnTo>
                  <a:lnTo>
                    <a:pt x="1112" y="72"/>
                  </a:lnTo>
                  <a:lnTo>
                    <a:pt x="1109" y="80"/>
                  </a:lnTo>
                  <a:lnTo>
                    <a:pt x="1108" y="84"/>
                  </a:lnTo>
                  <a:lnTo>
                    <a:pt x="1105" y="90"/>
                  </a:lnTo>
                  <a:lnTo>
                    <a:pt x="1101" y="100"/>
                  </a:lnTo>
                  <a:lnTo>
                    <a:pt x="1099" y="102"/>
                  </a:lnTo>
                  <a:lnTo>
                    <a:pt x="1097" y="107"/>
                  </a:lnTo>
                  <a:lnTo>
                    <a:pt x="1096" y="109"/>
                  </a:lnTo>
                  <a:lnTo>
                    <a:pt x="1095" y="111"/>
                  </a:lnTo>
                  <a:lnTo>
                    <a:pt x="1095" y="113"/>
                  </a:lnTo>
                  <a:lnTo>
                    <a:pt x="1094" y="115"/>
                  </a:lnTo>
                  <a:lnTo>
                    <a:pt x="1095" y="118"/>
                  </a:lnTo>
                  <a:lnTo>
                    <a:pt x="1095" y="121"/>
                  </a:lnTo>
                  <a:lnTo>
                    <a:pt x="1096" y="131"/>
                  </a:lnTo>
                  <a:lnTo>
                    <a:pt x="1097" y="134"/>
                  </a:lnTo>
                  <a:lnTo>
                    <a:pt x="1097" y="136"/>
                  </a:lnTo>
                  <a:lnTo>
                    <a:pt x="1097" y="137"/>
                  </a:lnTo>
                  <a:lnTo>
                    <a:pt x="1096" y="140"/>
                  </a:lnTo>
                  <a:lnTo>
                    <a:pt x="1093" y="147"/>
                  </a:lnTo>
                  <a:lnTo>
                    <a:pt x="1092" y="150"/>
                  </a:lnTo>
                  <a:lnTo>
                    <a:pt x="1092" y="153"/>
                  </a:lnTo>
                  <a:lnTo>
                    <a:pt x="1091" y="155"/>
                  </a:lnTo>
                  <a:lnTo>
                    <a:pt x="1091" y="158"/>
                  </a:lnTo>
                  <a:lnTo>
                    <a:pt x="1092" y="159"/>
                  </a:lnTo>
                  <a:lnTo>
                    <a:pt x="1092" y="162"/>
                  </a:lnTo>
                  <a:lnTo>
                    <a:pt x="1093" y="168"/>
                  </a:lnTo>
                  <a:lnTo>
                    <a:pt x="1094" y="170"/>
                  </a:lnTo>
                  <a:lnTo>
                    <a:pt x="1095" y="181"/>
                  </a:lnTo>
                  <a:lnTo>
                    <a:pt x="1095" y="183"/>
                  </a:lnTo>
                  <a:lnTo>
                    <a:pt x="1095" y="186"/>
                  </a:lnTo>
                  <a:lnTo>
                    <a:pt x="1094" y="188"/>
                  </a:lnTo>
                  <a:lnTo>
                    <a:pt x="1093" y="191"/>
                  </a:lnTo>
                  <a:lnTo>
                    <a:pt x="1092" y="194"/>
                  </a:lnTo>
                  <a:lnTo>
                    <a:pt x="1091" y="196"/>
                  </a:lnTo>
                  <a:lnTo>
                    <a:pt x="1090" y="198"/>
                  </a:lnTo>
                  <a:lnTo>
                    <a:pt x="1089" y="200"/>
                  </a:lnTo>
                  <a:lnTo>
                    <a:pt x="1087" y="202"/>
                  </a:lnTo>
                  <a:lnTo>
                    <a:pt x="1085" y="204"/>
                  </a:lnTo>
                  <a:lnTo>
                    <a:pt x="1083" y="206"/>
                  </a:lnTo>
                  <a:lnTo>
                    <a:pt x="1074" y="213"/>
                  </a:lnTo>
                  <a:lnTo>
                    <a:pt x="1072" y="215"/>
                  </a:lnTo>
                  <a:lnTo>
                    <a:pt x="1066" y="222"/>
                  </a:lnTo>
                  <a:lnTo>
                    <a:pt x="1064" y="224"/>
                  </a:lnTo>
                  <a:lnTo>
                    <a:pt x="1062" y="227"/>
                  </a:lnTo>
                  <a:lnTo>
                    <a:pt x="1060" y="229"/>
                  </a:lnTo>
                  <a:lnTo>
                    <a:pt x="1058" y="231"/>
                  </a:lnTo>
                  <a:lnTo>
                    <a:pt x="1055" y="234"/>
                  </a:lnTo>
                  <a:lnTo>
                    <a:pt x="1053" y="235"/>
                  </a:lnTo>
                  <a:lnTo>
                    <a:pt x="1051" y="236"/>
                  </a:lnTo>
                  <a:lnTo>
                    <a:pt x="1051" y="237"/>
                  </a:lnTo>
                  <a:lnTo>
                    <a:pt x="1049" y="238"/>
                  </a:lnTo>
                  <a:lnTo>
                    <a:pt x="1046" y="238"/>
                  </a:lnTo>
                  <a:lnTo>
                    <a:pt x="1040" y="239"/>
                  </a:lnTo>
                  <a:lnTo>
                    <a:pt x="1037" y="240"/>
                  </a:lnTo>
                  <a:lnTo>
                    <a:pt x="1034" y="241"/>
                  </a:lnTo>
                  <a:lnTo>
                    <a:pt x="1032" y="242"/>
                  </a:lnTo>
                  <a:lnTo>
                    <a:pt x="1031" y="243"/>
                  </a:lnTo>
                  <a:lnTo>
                    <a:pt x="1030" y="243"/>
                  </a:lnTo>
                  <a:lnTo>
                    <a:pt x="1029" y="244"/>
                  </a:lnTo>
                  <a:lnTo>
                    <a:pt x="1028" y="245"/>
                  </a:lnTo>
                  <a:lnTo>
                    <a:pt x="1028" y="246"/>
                  </a:lnTo>
                  <a:lnTo>
                    <a:pt x="1028" y="247"/>
                  </a:lnTo>
                  <a:lnTo>
                    <a:pt x="1028" y="249"/>
                  </a:lnTo>
                  <a:lnTo>
                    <a:pt x="1028" y="249"/>
                  </a:lnTo>
                  <a:lnTo>
                    <a:pt x="1028" y="252"/>
                  </a:lnTo>
                  <a:lnTo>
                    <a:pt x="1028" y="256"/>
                  </a:lnTo>
                  <a:lnTo>
                    <a:pt x="1029" y="259"/>
                  </a:lnTo>
                  <a:lnTo>
                    <a:pt x="1033" y="268"/>
                  </a:lnTo>
                  <a:lnTo>
                    <a:pt x="1035" y="276"/>
                  </a:lnTo>
                  <a:lnTo>
                    <a:pt x="1037" y="281"/>
                  </a:lnTo>
                  <a:lnTo>
                    <a:pt x="1040" y="294"/>
                  </a:lnTo>
                  <a:lnTo>
                    <a:pt x="1040" y="299"/>
                  </a:lnTo>
                  <a:lnTo>
                    <a:pt x="1042" y="303"/>
                  </a:lnTo>
                  <a:lnTo>
                    <a:pt x="1044" y="309"/>
                  </a:lnTo>
                  <a:lnTo>
                    <a:pt x="1050" y="322"/>
                  </a:lnTo>
                  <a:lnTo>
                    <a:pt x="1053" y="333"/>
                  </a:lnTo>
                  <a:lnTo>
                    <a:pt x="1054" y="337"/>
                  </a:lnTo>
                  <a:lnTo>
                    <a:pt x="1055" y="341"/>
                  </a:lnTo>
                  <a:lnTo>
                    <a:pt x="1055" y="345"/>
                  </a:lnTo>
                  <a:lnTo>
                    <a:pt x="1056" y="355"/>
                  </a:lnTo>
                  <a:lnTo>
                    <a:pt x="1057" y="362"/>
                  </a:lnTo>
                  <a:lnTo>
                    <a:pt x="1057" y="366"/>
                  </a:lnTo>
                  <a:lnTo>
                    <a:pt x="1058" y="370"/>
                  </a:lnTo>
                  <a:lnTo>
                    <a:pt x="1060" y="378"/>
                  </a:lnTo>
                  <a:lnTo>
                    <a:pt x="1060" y="382"/>
                  </a:lnTo>
                  <a:lnTo>
                    <a:pt x="1060" y="385"/>
                  </a:lnTo>
                  <a:lnTo>
                    <a:pt x="1060" y="386"/>
                  </a:lnTo>
                  <a:lnTo>
                    <a:pt x="1060" y="389"/>
                  </a:lnTo>
                  <a:lnTo>
                    <a:pt x="1059" y="391"/>
                  </a:lnTo>
                  <a:lnTo>
                    <a:pt x="1058" y="393"/>
                  </a:lnTo>
                  <a:lnTo>
                    <a:pt x="1057" y="395"/>
                  </a:lnTo>
                  <a:lnTo>
                    <a:pt x="1051" y="401"/>
                  </a:lnTo>
                  <a:lnTo>
                    <a:pt x="1050" y="405"/>
                  </a:lnTo>
                  <a:lnTo>
                    <a:pt x="1049" y="407"/>
                  </a:lnTo>
                  <a:lnTo>
                    <a:pt x="1048" y="408"/>
                  </a:lnTo>
                  <a:lnTo>
                    <a:pt x="1047" y="411"/>
                  </a:lnTo>
                  <a:lnTo>
                    <a:pt x="1046" y="414"/>
                  </a:lnTo>
                  <a:lnTo>
                    <a:pt x="1046" y="417"/>
                  </a:lnTo>
                  <a:lnTo>
                    <a:pt x="1045" y="419"/>
                  </a:lnTo>
                  <a:lnTo>
                    <a:pt x="1045" y="422"/>
                  </a:lnTo>
                  <a:lnTo>
                    <a:pt x="1045" y="424"/>
                  </a:lnTo>
                  <a:lnTo>
                    <a:pt x="1045" y="428"/>
                  </a:lnTo>
                  <a:lnTo>
                    <a:pt x="1046" y="431"/>
                  </a:lnTo>
                  <a:lnTo>
                    <a:pt x="1046" y="434"/>
                  </a:lnTo>
                  <a:lnTo>
                    <a:pt x="1047" y="437"/>
                  </a:lnTo>
                  <a:lnTo>
                    <a:pt x="1048" y="440"/>
                  </a:lnTo>
                  <a:lnTo>
                    <a:pt x="1049" y="442"/>
                  </a:lnTo>
                  <a:lnTo>
                    <a:pt x="1054" y="451"/>
                  </a:lnTo>
                  <a:lnTo>
                    <a:pt x="1056" y="453"/>
                  </a:lnTo>
                  <a:lnTo>
                    <a:pt x="1057" y="455"/>
                  </a:lnTo>
                  <a:lnTo>
                    <a:pt x="1058" y="457"/>
                  </a:lnTo>
                  <a:lnTo>
                    <a:pt x="1059" y="460"/>
                  </a:lnTo>
                  <a:lnTo>
                    <a:pt x="1062" y="469"/>
                  </a:lnTo>
                  <a:lnTo>
                    <a:pt x="1063" y="472"/>
                  </a:lnTo>
                  <a:lnTo>
                    <a:pt x="1066" y="478"/>
                  </a:lnTo>
                  <a:lnTo>
                    <a:pt x="1069" y="483"/>
                  </a:lnTo>
                  <a:lnTo>
                    <a:pt x="1070" y="486"/>
                  </a:lnTo>
                  <a:lnTo>
                    <a:pt x="1072" y="487"/>
                  </a:lnTo>
                  <a:lnTo>
                    <a:pt x="1077" y="494"/>
                  </a:lnTo>
                  <a:lnTo>
                    <a:pt x="1081" y="498"/>
                  </a:lnTo>
                  <a:lnTo>
                    <a:pt x="1087" y="506"/>
                  </a:lnTo>
                  <a:lnTo>
                    <a:pt x="1088" y="508"/>
                  </a:lnTo>
                  <a:lnTo>
                    <a:pt x="1090" y="510"/>
                  </a:lnTo>
                  <a:lnTo>
                    <a:pt x="1091" y="512"/>
                  </a:lnTo>
                  <a:lnTo>
                    <a:pt x="1092" y="514"/>
                  </a:lnTo>
                  <a:lnTo>
                    <a:pt x="1093" y="516"/>
                  </a:lnTo>
                  <a:lnTo>
                    <a:pt x="1094" y="523"/>
                  </a:lnTo>
                  <a:lnTo>
                    <a:pt x="1094" y="525"/>
                  </a:lnTo>
                  <a:lnTo>
                    <a:pt x="1095" y="527"/>
                  </a:lnTo>
                  <a:lnTo>
                    <a:pt x="1097" y="534"/>
                  </a:lnTo>
                  <a:lnTo>
                    <a:pt x="1097" y="536"/>
                  </a:lnTo>
                  <a:lnTo>
                    <a:pt x="1097" y="537"/>
                  </a:lnTo>
                  <a:lnTo>
                    <a:pt x="1097" y="540"/>
                  </a:lnTo>
                  <a:lnTo>
                    <a:pt x="1097" y="543"/>
                  </a:lnTo>
                  <a:lnTo>
                    <a:pt x="1097" y="544"/>
                  </a:lnTo>
                  <a:lnTo>
                    <a:pt x="1096" y="549"/>
                  </a:lnTo>
                  <a:lnTo>
                    <a:pt x="1095" y="552"/>
                  </a:lnTo>
                  <a:lnTo>
                    <a:pt x="1095" y="554"/>
                  </a:lnTo>
                  <a:lnTo>
                    <a:pt x="1095" y="555"/>
                  </a:lnTo>
                  <a:lnTo>
                    <a:pt x="1096" y="555"/>
                  </a:lnTo>
                  <a:lnTo>
                    <a:pt x="1096" y="556"/>
                  </a:lnTo>
                  <a:lnTo>
                    <a:pt x="1097" y="556"/>
                  </a:lnTo>
                  <a:lnTo>
                    <a:pt x="1097" y="557"/>
                  </a:lnTo>
                  <a:lnTo>
                    <a:pt x="1097" y="557"/>
                  </a:lnTo>
                  <a:lnTo>
                    <a:pt x="1099" y="558"/>
                  </a:lnTo>
                  <a:lnTo>
                    <a:pt x="1103" y="558"/>
                  </a:lnTo>
                  <a:lnTo>
                    <a:pt x="1106" y="558"/>
                  </a:lnTo>
                  <a:lnTo>
                    <a:pt x="1113" y="560"/>
                  </a:lnTo>
                  <a:lnTo>
                    <a:pt x="1115" y="561"/>
                  </a:lnTo>
                  <a:lnTo>
                    <a:pt x="1117" y="562"/>
                  </a:lnTo>
                  <a:lnTo>
                    <a:pt x="1119" y="563"/>
                  </a:lnTo>
                  <a:lnTo>
                    <a:pt x="1120" y="564"/>
                  </a:lnTo>
                  <a:lnTo>
                    <a:pt x="1122" y="566"/>
                  </a:lnTo>
                  <a:lnTo>
                    <a:pt x="1124" y="567"/>
                  </a:lnTo>
                  <a:lnTo>
                    <a:pt x="1125" y="568"/>
                  </a:lnTo>
                  <a:lnTo>
                    <a:pt x="1127" y="570"/>
                  </a:lnTo>
                  <a:lnTo>
                    <a:pt x="1128" y="573"/>
                  </a:lnTo>
                  <a:lnTo>
                    <a:pt x="1129" y="575"/>
                  </a:lnTo>
                  <a:lnTo>
                    <a:pt x="1130" y="578"/>
                  </a:lnTo>
                  <a:lnTo>
                    <a:pt x="1130" y="580"/>
                  </a:lnTo>
                  <a:lnTo>
                    <a:pt x="1131" y="589"/>
                  </a:lnTo>
                  <a:lnTo>
                    <a:pt x="1131" y="593"/>
                  </a:lnTo>
                  <a:lnTo>
                    <a:pt x="1131" y="596"/>
                  </a:lnTo>
                  <a:lnTo>
                    <a:pt x="1131" y="600"/>
                  </a:lnTo>
                  <a:lnTo>
                    <a:pt x="1131" y="605"/>
                  </a:lnTo>
                  <a:lnTo>
                    <a:pt x="1130" y="609"/>
                  </a:lnTo>
                  <a:lnTo>
                    <a:pt x="1128" y="612"/>
                  </a:lnTo>
                  <a:lnTo>
                    <a:pt x="1128" y="615"/>
                  </a:lnTo>
                  <a:lnTo>
                    <a:pt x="1126" y="617"/>
                  </a:lnTo>
                  <a:lnTo>
                    <a:pt x="1125" y="620"/>
                  </a:lnTo>
                  <a:lnTo>
                    <a:pt x="1124" y="622"/>
                  </a:lnTo>
                  <a:lnTo>
                    <a:pt x="1118" y="630"/>
                  </a:lnTo>
                  <a:lnTo>
                    <a:pt x="1111" y="637"/>
                  </a:lnTo>
                  <a:lnTo>
                    <a:pt x="1109" y="639"/>
                  </a:lnTo>
                  <a:lnTo>
                    <a:pt x="1108" y="641"/>
                  </a:lnTo>
                  <a:lnTo>
                    <a:pt x="1107" y="644"/>
                  </a:lnTo>
                  <a:lnTo>
                    <a:pt x="1105" y="646"/>
                  </a:lnTo>
                  <a:lnTo>
                    <a:pt x="1104" y="649"/>
                  </a:lnTo>
                  <a:lnTo>
                    <a:pt x="1104" y="652"/>
                  </a:lnTo>
                  <a:lnTo>
                    <a:pt x="1103" y="655"/>
                  </a:lnTo>
                  <a:lnTo>
                    <a:pt x="1103" y="658"/>
                  </a:lnTo>
                  <a:lnTo>
                    <a:pt x="1103" y="661"/>
                  </a:lnTo>
                  <a:lnTo>
                    <a:pt x="1103" y="663"/>
                  </a:lnTo>
                  <a:lnTo>
                    <a:pt x="1104" y="666"/>
                  </a:lnTo>
                  <a:lnTo>
                    <a:pt x="1105" y="668"/>
                  </a:lnTo>
                  <a:lnTo>
                    <a:pt x="1108" y="678"/>
                  </a:lnTo>
                  <a:lnTo>
                    <a:pt x="1108" y="679"/>
                  </a:lnTo>
                  <a:lnTo>
                    <a:pt x="1108" y="680"/>
                  </a:lnTo>
                  <a:lnTo>
                    <a:pt x="1108" y="683"/>
                  </a:lnTo>
                  <a:lnTo>
                    <a:pt x="1108" y="687"/>
                  </a:lnTo>
                  <a:lnTo>
                    <a:pt x="1106" y="693"/>
                  </a:lnTo>
                  <a:lnTo>
                    <a:pt x="1104" y="701"/>
                  </a:lnTo>
                  <a:lnTo>
                    <a:pt x="1103" y="704"/>
                  </a:lnTo>
                  <a:lnTo>
                    <a:pt x="1102" y="710"/>
                  </a:lnTo>
                  <a:lnTo>
                    <a:pt x="1102" y="712"/>
                  </a:lnTo>
                  <a:lnTo>
                    <a:pt x="1102" y="713"/>
                  </a:lnTo>
                  <a:lnTo>
                    <a:pt x="1101" y="713"/>
                  </a:lnTo>
                  <a:lnTo>
                    <a:pt x="1097" y="713"/>
                  </a:lnTo>
                  <a:lnTo>
                    <a:pt x="1094" y="713"/>
                  </a:lnTo>
                  <a:lnTo>
                    <a:pt x="1090" y="713"/>
                  </a:lnTo>
                  <a:lnTo>
                    <a:pt x="1086" y="713"/>
                  </a:lnTo>
                  <a:lnTo>
                    <a:pt x="1083" y="712"/>
                  </a:lnTo>
                  <a:lnTo>
                    <a:pt x="1079" y="711"/>
                  </a:lnTo>
                  <a:lnTo>
                    <a:pt x="1074" y="709"/>
                  </a:lnTo>
                  <a:lnTo>
                    <a:pt x="1070" y="708"/>
                  </a:lnTo>
                  <a:lnTo>
                    <a:pt x="1066" y="706"/>
                  </a:lnTo>
                  <a:lnTo>
                    <a:pt x="1062" y="704"/>
                  </a:lnTo>
                  <a:lnTo>
                    <a:pt x="1057" y="702"/>
                  </a:lnTo>
                  <a:lnTo>
                    <a:pt x="1040" y="693"/>
                  </a:lnTo>
                  <a:lnTo>
                    <a:pt x="1033" y="691"/>
                  </a:lnTo>
                  <a:lnTo>
                    <a:pt x="1030" y="689"/>
                  </a:lnTo>
                  <a:lnTo>
                    <a:pt x="1027" y="688"/>
                  </a:lnTo>
                  <a:lnTo>
                    <a:pt x="1024" y="687"/>
                  </a:lnTo>
                  <a:lnTo>
                    <a:pt x="1019" y="686"/>
                  </a:lnTo>
                  <a:lnTo>
                    <a:pt x="1017" y="685"/>
                  </a:lnTo>
                  <a:lnTo>
                    <a:pt x="1015" y="685"/>
                  </a:lnTo>
                  <a:lnTo>
                    <a:pt x="1007" y="684"/>
                  </a:lnTo>
                  <a:lnTo>
                    <a:pt x="1002" y="683"/>
                  </a:lnTo>
                  <a:lnTo>
                    <a:pt x="999" y="683"/>
                  </a:lnTo>
                  <a:lnTo>
                    <a:pt x="997" y="683"/>
                  </a:lnTo>
                  <a:lnTo>
                    <a:pt x="994" y="684"/>
                  </a:lnTo>
                  <a:lnTo>
                    <a:pt x="987" y="685"/>
                  </a:lnTo>
                  <a:lnTo>
                    <a:pt x="985" y="685"/>
                  </a:lnTo>
                  <a:lnTo>
                    <a:pt x="983" y="685"/>
                  </a:lnTo>
                  <a:lnTo>
                    <a:pt x="982" y="685"/>
                  </a:lnTo>
                  <a:lnTo>
                    <a:pt x="980" y="685"/>
                  </a:lnTo>
                  <a:lnTo>
                    <a:pt x="973" y="682"/>
                  </a:lnTo>
                  <a:lnTo>
                    <a:pt x="971" y="682"/>
                  </a:lnTo>
                  <a:lnTo>
                    <a:pt x="967" y="681"/>
                  </a:lnTo>
                  <a:lnTo>
                    <a:pt x="964" y="681"/>
                  </a:lnTo>
                  <a:lnTo>
                    <a:pt x="963" y="681"/>
                  </a:lnTo>
                  <a:lnTo>
                    <a:pt x="961" y="681"/>
                  </a:lnTo>
                  <a:lnTo>
                    <a:pt x="954" y="684"/>
                  </a:lnTo>
                  <a:lnTo>
                    <a:pt x="950" y="685"/>
                  </a:lnTo>
                  <a:lnTo>
                    <a:pt x="947" y="685"/>
                  </a:lnTo>
                  <a:lnTo>
                    <a:pt x="942" y="685"/>
                  </a:lnTo>
                  <a:lnTo>
                    <a:pt x="935" y="685"/>
                  </a:lnTo>
                  <a:lnTo>
                    <a:pt x="930" y="684"/>
                  </a:lnTo>
                  <a:lnTo>
                    <a:pt x="926" y="683"/>
                  </a:lnTo>
                  <a:lnTo>
                    <a:pt x="919" y="681"/>
                  </a:lnTo>
                  <a:lnTo>
                    <a:pt x="915" y="680"/>
                  </a:lnTo>
                  <a:lnTo>
                    <a:pt x="915" y="680"/>
                  </a:lnTo>
                  <a:lnTo>
                    <a:pt x="914" y="680"/>
                  </a:lnTo>
                  <a:lnTo>
                    <a:pt x="913" y="680"/>
                  </a:lnTo>
                  <a:lnTo>
                    <a:pt x="912" y="681"/>
                  </a:lnTo>
                  <a:lnTo>
                    <a:pt x="911" y="683"/>
                  </a:lnTo>
                  <a:lnTo>
                    <a:pt x="910" y="687"/>
                  </a:lnTo>
                  <a:lnTo>
                    <a:pt x="908" y="692"/>
                  </a:lnTo>
                  <a:lnTo>
                    <a:pt x="903" y="713"/>
                  </a:lnTo>
                  <a:lnTo>
                    <a:pt x="902" y="715"/>
                  </a:lnTo>
                  <a:lnTo>
                    <a:pt x="901" y="719"/>
                  </a:lnTo>
                  <a:lnTo>
                    <a:pt x="900" y="721"/>
                  </a:lnTo>
                  <a:lnTo>
                    <a:pt x="899" y="722"/>
                  </a:lnTo>
                  <a:lnTo>
                    <a:pt x="898" y="724"/>
                  </a:lnTo>
                  <a:lnTo>
                    <a:pt x="896" y="725"/>
                  </a:lnTo>
                  <a:lnTo>
                    <a:pt x="895" y="725"/>
                  </a:lnTo>
                  <a:lnTo>
                    <a:pt x="893" y="725"/>
                  </a:lnTo>
                  <a:lnTo>
                    <a:pt x="890" y="725"/>
                  </a:lnTo>
                  <a:lnTo>
                    <a:pt x="886" y="726"/>
                  </a:lnTo>
                  <a:lnTo>
                    <a:pt x="881" y="726"/>
                  </a:lnTo>
                  <a:lnTo>
                    <a:pt x="878" y="725"/>
                  </a:lnTo>
                  <a:lnTo>
                    <a:pt x="874" y="725"/>
                  </a:lnTo>
                  <a:lnTo>
                    <a:pt x="863" y="723"/>
                  </a:lnTo>
                  <a:lnTo>
                    <a:pt x="861" y="723"/>
                  </a:lnTo>
                  <a:lnTo>
                    <a:pt x="858" y="723"/>
                  </a:lnTo>
                  <a:lnTo>
                    <a:pt x="857" y="723"/>
                  </a:lnTo>
                  <a:lnTo>
                    <a:pt x="855" y="724"/>
                  </a:lnTo>
                  <a:lnTo>
                    <a:pt x="847" y="725"/>
                  </a:lnTo>
                  <a:lnTo>
                    <a:pt x="843" y="725"/>
                  </a:lnTo>
                  <a:lnTo>
                    <a:pt x="837" y="726"/>
                  </a:lnTo>
                  <a:lnTo>
                    <a:pt x="835" y="726"/>
                  </a:lnTo>
                  <a:lnTo>
                    <a:pt x="833" y="726"/>
                  </a:lnTo>
                  <a:lnTo>
                    <a:pt x="831" y="725"/>
                  </a:lnTo>
                  <a:lnTo>
                    <a:pt x="829" y="725"/>
                  </a:lnTo>
                  <a:lnTo>
                    <a:pt x="826" y="724"/>
                  </a:lnTo>
                  <a:lnTo>
                    <a:pt x="824" y="723"/>
                  </a:lnTo>
                  <a:lnTo>
                    <a:pt x="824" y="723"/>
                  </a:lnTo>
                  <a:lnTo>
                    <a:pt x="822" y="723"/>
                  </a:lnTo>
                  <a:lnTo>
                    <a:pt x="821" y="723"/>
                  </a:lnTo>
                  <a:lnTo>
                    <a:pt x="819" y="723"/>
                  </a:lnTo>
                  <a:lnTo>
                    <a:pt x="817" y="724"/>
                  </a:lnTo>
                  <a:lnTo>
                    <a:pt x="814" y="725"/>
                  </a:lnTo>
                  <a:lnTo>
                    <a:pt x="811" y="725"/>
                  </a:lnTo>
                  <a:lnTo>
                    <a:pt x="809" y="727"/>
                  </a:lnTo>
                  <a:lnTo>
                    <a:pt x="808" y="728"/>
                  </a:lnTo>
                  <a:lnTo>
                    <a:pt x="807" y="729"/>
                  </a:lnTo>
                  <a:lnTo>
                    <a:pt x="802" y="735"/>
                  </a:lnTo>
                  <a:lnTo>
                    <a:pt x="801" y="736"/>
                  </a:lnTo>
                  <a:lnTo>
                    <a:pt x="797" y="740"/>
                  </a:lnTo>
                  <a:lnTo>
                    <a:pt x="795" y="741"/>
                  </a:lnTo>
                  <a:lnTo>
                    <a:pt x="793" y="742"/>
                  </a:lnTo>
                  <a:lnTo>
                    <a:pt x="792" y="743"/>
                  </a:lnTo>
                  <a:lnTo>
                    <a:pt x="791" y="743"/>
                  </a:lnTo>
                  <a:lnTo>
                    <a:pt x="790" y="743"/>
                  </a:lnTo>
                  <a:lnTo>
                    <a:pt x="790" y="743"/>
                  </a:lnTo>
                  <a:lnTo>
                    <a:pt x="788" y="743"/>
                  </a:lnTo>
                  <a:lnTo>
                    <a:pt x="787" y="743"/>
                  </a:lnTo>
                  <a:lnTo>
                    <a:pt x="787" y="742"/>
                  </a:lnTo>
                  <a:lnTo>
                    <a:pt x="786" y="742"/>
                  </a:lnTo>
                  <a:lnTo>
                    <a:pt x="775" y="727"/>
                  </a:lnTo>
                  <a:lnTo>
                    <a:pt x="772" y="724"/>
                  </a:lnTo>
                  <a:lnTo>
                    <a:pt x="770" y="721"/>
                  </a:lnTo>
                  <a:lnTo>
                    <a:pt x="767" y="719"/>
                  </a:lnTo>
                  <a:lnTo>
                    <a:pt x="765" y="717"/>
                  </a:lnTo>
                  <a:lnTo>
                    <a:pt x="758" y="713"/>
                  </a:lnTo>
                  <a:lnTo>
                    <a:pt x="750" y="707"/>
                  </a:lnTo>
                  <a:lnTo>
                    <a:pt x="746" y="705"/>
                  </a:lnTo>
                  <a:lnTo>
                    <a:pt x="743" y="703"/>
                  </a:lnTo>
                  <a:lnTo>
                    <a:pt x="739" y="702"/>
                  </a:lnTo>
                  <a:lnTo>
                    <a:pt x="730" y="699"/>
                  </a:lnTo>
                  <a:lnTo>
                    <a:pt x="720" y="696"/>
                  </a:lnTo>
                  <a:lnTo>
                    <a:pt x="717" y="695"/>
                  </a:lnTo>
                  <a:lnTo>
                    <a:pt x="712" y="694"/>
                  </a:lnTo>
                  <a:lnTo>
                    <a:pt x="710" y="693"/>
                  </a:lnTo>
                  <a:lnTo>
                    <a:pt x="708" y="692"/>
                  </a:lnTo>
                  <a:lnTo>
                    <a:pt x="706" y="691"/>
                  </a:lnTo>
                  <a:lnTo>
                    <a:pt x="703" y="690"/>
                  </a:lnTo>
                  <a:lnTo>
                    <a:pt x="699" y="687"/>
                  </a:lnTo>
                  <a:lnTo>
                    <a:pt x="696" y="683"/>
                  </a:lnTo>
                  <a:lnTo>
                    <a:pt x="694" y="681"/>
                  </a:lnTo>
                  <a:lnTo>
                    <a:pt x="690" y="676"/>
                  </a:lnTo>
                  <a:lnTo>
                    <a:pt x="688" y="673"/>
                  </a:lnTo>
                  <a:lnTo>
                    <a:pt x="685" y="668"/>
                  </a:lnTo>
                  <a:lnTo>
                    <a:pt x="675" y="658"/>
                  </a:lnTo>
                  <a:lnTo>
                    <a:pt x="672" y="656"/>
                  </a:lnTo>
                  <a:lnTo>
                    <a:pt x="668" y="653"/>
                  </a:lnTo>
                  <a:lnTo>
                    <a:pt x="665" y="650"/>
                  </a:lnTo>
                  <a:lnTo>
                    <a:pt x="662" y="648"/>
                  </a:lnTo>
                  <a:lnTo>
                    <a:pt x="658" y="646"/>
                  </a:lnTo>
                  <a:lnTo>
                    <a:pt x="654" y="644"/>
                  </a:lnTo>
                  <a:lnTo>
                    <a:pt x="643" y="639"/>
                  </a:lnTo>
                  <a:lnTo>
                    <a:pt x="633" y="634"/>
                  </a:lnTo>
                  <a:lnTo>
                    <a:pt x="631" y="633"/>
                  </a:lnTo>
                  <a:lnTo>
                    <a:pt x="630" y="632"/>
                  </a:lnTo>
                  <a:lnTo>
                    <a:pt x="622" y="630"/>
                  </a:lnTo>
                  <a:lnTo>
                    <a:pt x="612" y="627"/>
                  </a:lnTo>
                  <a:lnTo>
                    <a:pt x="602" y="624"/>
                  </a:lnTo>
                  <a:lnTo>
                    <a:pt x="600" y="623"/>
                  </a:lnTo>
                  <a:lnTo>
                    <a:pt x="593" y="621"/>
                  </a:lnTo>
                  <a:lnTo>
                    <a:pt x="591" y="620"/>
                  </a:lnTo>
                  <a:lnTo>
                    <a:pt x="589" y="619"/>
                  </a:lnTo>
                  <a:lnTo>
                    <a:pt x="586" y="619"/>
                  </a:lnTo>
                  <a:lnTo>
                    <a:pt x="585" y="619"/>
                  </a:lnTo>
                  <a:lnTo>
                    <a:pt x="573" y="618"/>
                  </a:lnTo>
                  <a:lnTo>
                    <a:pt x="569" y="618"/>
                  </a:lnTo>
                  <a:lnTo>
                    <a:pt x="567" y="617"/>
                  </a:lnTo>
                  <a:lnTo>
                    <a:pt x="565" y="617"/>
                  </a:lnTo>
                  <a:lnTo>
                    <a:pt x="563" y="616"/>
                  </a:lnTo>
                  <a:lnTo>
                    <a:pt x="562" y="616"/>
                  </a:lnTo>
                  <a:lnTo>
                    <a:pt x="562" y="615"/>
                  </a:lnTo>
                  <a:lnTo>
                    <a:pt x="560" y="614"/>
                  </a:lnTo>
                  <a:lnTo>
                    <a:pt x="557" y="612"/>
                  </a:lnTo>
                  <a:lnTo>
                    <a:pt x="553" y="609"/>
                  </a:lnTo>
                  <a:lnTo>
                    <a:pt x="549" y="602"/>
                  </a:lnTo>
                  <a:lnTo>
                    <a:pt x="546" y="600"/>
                  </a:lnTo>
                  <a:lnTo>
                    <a:pt x="542" y="596"/>
                  </a:lnTo>
                  <a:lnTo>
                    <a:pt x="540" y="595"/>
                  </a:lnTo>
                  <a:lnTo>
                    <a:pt x="539" y="593"/>
                  </a:lnTo>
                  <a:lnTo>
                    <a:pt x="536" y="592"/>
                  </a:lnTo>
                  <a:lnTo>
                    <a:pt x="534" y="591"/>
                  </a:lnTo>
                  <a:lnTo>
                    <a:pt x="532" y="590"/>
                  </a:lnTo>
                  <a:lnTo>
                    <a:pt x="529" y="589"/>
                  </a:lnTo>
                  <a:lnTo>
                    <a:pt x="526" y="588"/>
                  </a:lnTo>
                  <a:lnTo>
                    <a:pt x="517" y="587"/>
                  </a:lnTo>
                  <a:lnTo>
                    <a:pt x="514" y="585"/>
                  </a:lnTo>
                  <a:lnTo>
                    <a:pt x="510" y="584"/>
                  </a:lnTo>
                  <a:lnTo>
                    <a:pt x="506" y="583"/>
                  </a:lnTo>
                  <a:lnTo>
                    <a:pt x="504" y="581"/>
                  </a:lnTo>
                  <a:lnTo>
                    <a:pt x="502" y="580"/>
                  </a:lnTo>
                  <a:lnTo>
                    <a:pt x="500" y="579"/>
                  </a:lnTo>
                  <a:lnTo>
                    <a:pt x="498" y="578"/>
                  </a:lnTo>
                  <a:lnTo>
                    <a:pt x="496" y="578"/>
                  </a:lnTo>
                  <a:lnTo>
                    <a:pt x="495" y="576"/>
                  </a:lnTo>
                  <a:lnTo>
                    <a:pt x="493" y="573"/>
                  </a:lnTo>
                  <a:lnTo>
                    <a:pt x="489" y="569"/>
                  </a:lnTo>
                  <a:lnTo>
                    <a:pt x="487" y="566"/>
                  </a:lnTo>
                  <a:lnTo>
                    <a:pt x="486" y="566"/>
                  </a:lnTo>
                  <a:lnTo>
                    <a:pt x="484" y="565"/>
                  </a:lnTo>
                  <a:lnTo>
                    <a:pt x="483" y="565"/>
                  </a:lnTo>
                  <a:lnTo>
                    <a:pt x="482" y="565"/>
                  </a:lnTo>
                  <a:lnTo>
                    <a:pt x="480" y="566"/>
                  </a:lnTo>
                  <a:lnTo>
                    <a:pt x="479" y="566"/>
                  </a:lnTo>
                  <a:lnTo>
                    <a:pt x="477" y="567"/>
                  </a:lnTo>
                  <a:lnTo>
                    <a:pt x="474" y="569"/>
                  </a:lnTo>
                  <a:lnTo>
                    <a:pt x="471" y="573"/>
                  </a:lnTo>
                  <a:lnTo>
                    <a:pt x="470" y="575"/>
                  </a:lnTo>
                  <a:lnTo>
                    <a:pt x="467" y="578"/>
                  </a:lnTo>
                  <a:lnTo>
                    <a:pt x="464" y="583"/>
                  </a:lnTo>
                  <a:lnTo>
                    <a:pt x="462" y="587"/>
                  </a:lnTo>
                  <a:lnTo>
                    <a:pt x="459" y="595"/>
                  </a:lnTo>
                  <a:lnTo>
                    <a:pt x="459" y="597"/>
                  </a:lnTo>
                  <a:lnTo>
                    <a:pt x="457" y="599"/>
                  </a:lnTo>
                  <a:lnTo>
                    <a:pt x="455" y="601"/>
                  </a:lnTo>
                  <a:lnTo>
                    <a:pt x="451" y="606"/>
                  </a:lnTo>
                  <a:lnTo>
                    <a:pt x="448" y="612"/>
                  </a:lnTo>
                  <a:lnTo>
                    <a:pt x="446" y="613"/>
                  </a:lnTo>
                  <a:lnTo>
                    <a:pt x="445" y="615"/>
                  </a:lnTo>
                  <a:lnTo>
                    <a:pt x="444" y="616"/>
                  </a:lnTo>
                  <a:lnTo>
                    <a:pt x="442" y="617"/>
                  </a:lnTo>
                  <a:lnTo>
                    <a:pt x="439" y="618"/>
                  </a:lnTo>
                  <a:lnTo>
                    <a:pt x="437" y="618"/>
                  </a:lnTo>
                  <a:lnTo>
                    <a:pt x="437" y="619"/>
                  </a:lnTo>
                  <a:lnTo>
                    <a:pt x="432" y="619"/>
                  </a:lnTo>
                  <a:lnTo>
                    <a:pt x="427" y="619"/>
                  </a:lnTo>
                  <a:lnTo>
                    <a:pt x="426" y="619"/>
                  </a:lnTo>
                  <a:lnTo>
                    <a:pt x="424" y="619"/>
                  </a:lnTo>
                  <a:lnTo>
                    <a:pt x="421" y="618"/>
                  </a:lnTo>
                  <a:lnTo>
                    <a:pt x="419" y="617"/>
                  </a:lnTo>
                  <a:lnTo>
                    <a:pt x="417" y="616"/>
                  </a:lnTo>
                  <a:lnTo>
                    <a:pt x="414" y="614"/>
                  </a:lnTo>
                  <a:lnTo>
                    <a:pt x="405" y="611"/>
                  </a:lnTo>
                  <a:lnTo>
                    <a:pt x="390" y="602"/>
                  </a:lnTo>
                  <a:lnTo>
                    <a:pt x="386" y="600"/>
                  </a:lnTo>
                  <a:lnTo>
                    <a:pt x="383" y="599"/>
                  </a:lnTo>
                  <a:lnTo>
                    <a:pt x="380" y="597"/>
                  </a:lnTo>
                  <a:lnTo>
                    <a:pt x="379" y="595"/>
                  </a:lnTo>
                  <a:lnTo>
                    <a:pt x="377" y="593"/>
                  </a:lnTo>
                  <a:lnTo>
                    <a:pt x="375" y="590"/>
                  </a:lnTo>
                  <a:lnTo>
                    <a:pt x="374" y="588"/>
                  </a:lnTo>
                  <a:lnTo>
                    <a:pt x="373" y="585"/>
                  </a:lnTo>
                  <a:lnTo>
                    <a:pt x="373" y="582"/>
                  </a:lnTo>
                  <a:lnTo>
                    <a:pt x="373" y="580"/>
                  </a:lnTo>
                  <a:lnTo>
                    <a:pt x="373" y="578"/>
                  </a:lnTo>
                  <a:lnTo>
                    <a:pt x="374" y="574"/>
                  </a:lnTo>
                  <a:lnTo>
                    <a:pt x="376" y="568"/>
                  </a:lnTo>
                  <a:lnTo>
                    <a:pt x="376" y="566"/>
                  </a:lnTo>
                  <a:lnTo>
                    <a:pt x="377" y="566"/>
                  </a:lnTo>
                  <a:lnTo>
                    <a:pt x="377" y="564"/>
                  </a:lnTo>
                  <a:lnTo>
                    <a:pt x="376" y="562"/>
                  </a:lnTo>
                  <a:lnTo>
                    <a:pt x="376" y="560"/>
                  </a:lnTo>
                  <a:lnTo>
                    <a:pt x="375" y="559"/>
                  </a:lnTo>
                  <a:lnTo>
                    <a:pt x="374" y="559"/>
                  </a:lnTo>
                  <a:lnTo>
                    <a:pt x="372" y="558"/>
                  </a:lnTo>
                  <a:lnTo>
                    <a:pt x="368" y="557"/>
                  </a:lnTo>
                  <a:lnTo>
                    <a:pt x="366" y="557"/>
                  </a:lnTo>
                  <a:lnTo>
                    <a:pt x="362" y="555"/>
                  </a:lnTo>
                  <a:lnTo>
                    <a:pt x="358" y="555"/>
                  </a:lnTo>
                  <a:lnTo>
                    <a:pt x="356" y="554"/>
                  </a:lnTo>
                  <a:lnTo>
                    <a:pt x="353" y="552"/>
                  </a:lnTo>
                  <a:lnTo>
                    <a:pt x="351" y="551"/>
                  </a:lnTo>
                  <a:lnTo>
                    <a:pt x="346" y="547"/>
                  </a:lnTo>
                  <a:lnTo>
                    <a:pt x="343" y="545"/>
                  </a:lnTo>
                  <a:lnTo>
                    <a:pt x="339" y="544"/>
                  </a:lnTo>
                  <a:lnTo>
                    <a:pt x="336" y="542"/>
                  </a:lnTo>
                  <a:lnTo>
                    <a:pt x="333" y="541"/>
                  </a:lnTo>
                  <a:lnTo>
                    <a:pt x="328" y="539"/>
                  </a:lnTo>
                  <a:lnTo>
                    <a:pt x="325" y="538"/>
                  </a:lnTo>
                  <a:lnTo>
                    <a:pt x="322" y="537"/>
                  </a:lnTo>
                  <a:lnTo>
                    <a:pt x="319" y="537"/>
                  </a:lnTo>
                  <a:lnTo>
                    <a:pt x="317" y="536"/>
                  </a:lnTo>
                  <a:lnTo>
                    <a:pt x="316" y="535"/>
                  </a:lnTo>
                  <a:lnTo>
                    <a:pt x="314" y="534"/>
                  </a:lnTo>
                  <a:lnTo>
                    <a:pt x="313" y="533"/>
                  </a:lnTo>
                  <a:lnTo>
                    <a:pt x="312" y="532"/>
                  </a:lnTo>
                  <a:lnTo>
                    <a:pt x="312" y="531"/>
                  </a:lnTo>
                  <a:lnTo>
                    <a:pt x="312" y="528"/>
                  </a:lnTo>
                  <a:lnTo>
                    <a:pt x="310" y="521"/>
                  </a:lnTo>
                  <a:lnTo>
                    <a:pt x="309" y="521"/>
                  </a:lnTo>
                  <a:lnTo>
                    <a:pt x="309" y="519"/>
                  </a:lnTo>
                  <a:lnTo>
                    <a:pt x="308" y="518"/>
                  </a:lnTo>
                  <a:lnTo>
                    <a:pt x="307" y="517"/>
                  </a:lnTo>
                  <a:lnTo>
                    <a:pt x="306" y="516"/>
                  </a:lnTo>
                  <a:lnTo>
                    <a:pt x="304" y="515"/>
                  </a:lnTo>
                  <a:lnTo>
                    <a:pt x="302" y="514"/>
                  </a:lnTo>
                  <a:lnTo>
                    <a:pt x="296" y="512"/>
                  </a:lnTo>
                  <a:lnTo>
                    <a:pt x="292" y="511"/>
                  </a:lnTo>
                  <a:lnTo>
                    <a:pt x="286" y="510"/>
                  </a:lnTo>
                  <a:lnTo>
                    <a:pt x="283" y="509"/>
                  </a:lnTo>
                  <a:lnTo>
                    <a:pt x="280" y="508"/>
                  </a:lnTo>
                  <a:lnTo>
                    <a:pt x="278" y="507"/>
                  </a:lnTo>
                  <a:lnTo>
                    <a:pt x="276" y="505"/>
                  </a:lnTo>
                  <a:lnTo>
                    <a:pt x="272" y="503"/>
                  </a:lnTo>
                  <a:lnTo>
                    <a:pt x="270" y="501"/>
                  </a:lnTo>
                  <a:lnTo>
                    <a:pt x="268" y="500"/>
                  </a:lnTo>
                  <a:lnTo>
                    <a:pt x="267" y="498"/>
                  </a:lnTo>
                  <a:lnTo>
                    <a:pt x="259" y="491"/>
                  </a:lnTo>
                  <a:lnTo>
                    <a:pt x="258" y="490"/>
                  </a:lnTo>
                  <a:lnTo>
                    <a:pt x="256" y="489"/>
                  </a:lnTo>
                  <a:lnTo>
                    <a:pt x="255" y="488"/>
                  </a:lnTo>
                  <a:lnTo>
                    <a:pt x="251" y="487"/>
                  </a:lnTo>
                  <a:lnTo>
                    <a:pt x="244" y="483"/>
                  </a:lnTo>
                  <a:lnTo>
                    <a:pt x="243" y="482"/>
                  </a:lnTo>
                  <a:lnTo>
                    <a:pt x="239" y="480"/>
                  </a:lnTo>
                  <a:lnTo>
                    <a:pt x="238" y="479"/>
                  </a:lnTo>
                  <a:lnTo>
                    <a:pt x="236" y="478"/>
                  </a:lnTo>
                  <a:lnTo>
                    <a:pt x="234" y="477"/>
                  </a:lnTo>
                  <a:lnTo>
                    <a:pt x="228" y="476"/>
                  </a:lnTo>
                  <a:lnTo>
                    <a:pt x="226" y="476"/>
                  </a:lnTo>
                  <a:lnTo>
                    <a:pt x="224" y="476"/>
                  </a:lnTo>
                  <a:lnTo>
                    <a:pt x="222" y="476"/>
                  </a:lnTo>
                  <a:lnTo>
                    <a:pt x="221" y="476"/>
                  </a:lnTo>
                  <a:lnTo>
                    <a:pt x="217" y="476"/>
                  </a:lnTo>
                  <a:lnTo>
                    <a:pt x="215" y="477"/>
                  </a:lnTo>
                  <a:lnTo>
                    <a:pt x="213" y="477"/>
                  </a:lnTo>
                  <a:lnTo>
                    <a:pt x="211" y="477"/>
                  </a:lnTo>
                  <a:lnTo>
                    <a:pt x="209" y="477"/>
                  </a:lnTo>
                  <a:lnTo>
                    <a:pt x="203" y="476"/>
                  </a:lnTo>
                  <a:lnTo>
                    <a:pt x="201" y="476"/>
                  </a:lnTo>
                  <a:lnTo>
                    <a:pt x="200" y="476"/>
                  </a:lnTo>
                  <a:lnTo>
                    <a:pt x="197" y="476"/>
                  </a:lnTo>
                  <a:lnTo>
                    <a:pt x="187" y="476"/>
                  </a:lnTo>
                  <a:lnTo>
                    <a:pt x="185" y="476"/>
                  </a:lnTo>
                  <a:lnTo>
                    <a:pt x="182" y="476"/>
                  </a:lnTo>
                  <a:lnTo>
                    <a:pt x="178" y="476"/>
                  </a:lnTo>
                  <a:lnTo>
                    <a:pt x="176" y="476"/>
                  </a:lnTo>
                  <a:lnTo>
                    <a:pt x="174" y="476"/>
                  </a:lnTo>
                  <a:lnTo>
                    <a:pt x="172" y="475"/>
                  </a:lnTo>
                  <a:lnTo>
                    <a:pt x="170" y="474"/>
                  </a:lnTo>
                  <a:lnTo>
                    <a:pt x="169" y="473"/>
                  </a:lnTo>
                  <a:lnTo>
                    <a:pt x="165" y="470"/>
                  </a:lnTo>
                  <a:lnTo>
                    <a:pt x="161" y="466"/>
                  </a:lnTo>
                  <a:lnTo>
                    <a:pt x="158" y="464"/>
                  </a:lnTo>
                  <a:lnTo>
                    <a:pt x="153" y="460"/>
                  </a:lnTo>
                  <a:lnTo>
                    <a:pt x="152" y="458"/>
                  </a:lnTo>
                  <a:lnTo>
                    <a:pt x="133" y="445"/>
                  </a:lnTo>
                  <a:lnTo>
                    <a:pt x="125" y="440"/>
                  </a:lnTo>
                  <a:lnTo>
                    <a:pt x="121" y="437"/>
                  </a:lnTo>
                  <a:lnTo>
                    <a:pt x="107" y="426"/>
                  </a:lnTo>
                  <a:lnTo>
                    <a:pt x="96" y="418"/>
                  </a:lnTo>
                  <a:lnTo>
                    <a:pt x="96" y="417"/>
                  </a:lnTo>
                  <a:lnTo>
                    <a:pt x="96" y="411"/>
                  </a:lnTo>
                  <a:lnTo>
                    <a:pt x="98" y="402"/>
                  </a:lnTo>
                  <a:lnTo>
                    <a:pt x="99" y="393"/>
                  </a:lnTo>
                  <a:lnTo>
                    <a:pt x="100" y="385"/>
                  </a:lnTo>
                  <a:lnTo>
                    <a:pt x="100" y="383"/>
                  </a:lnTo>
                  <a:lnTo>
                    <a:pt x="101" y="380"/>
                  </a:lnTo>
                  <a:lnTo>
                    <a:pt x="102" y="378"/>
                  </a:lnTo>
                  <a:lnTo>
                    <a:pt x="102" y="377"/>
                  </a:lnTo>
                  <a:lnTo>
                    <a:pt x="104" y="375"/>
                  </a:lnTo>
                  <a:lnTo>
                    <a:pt x="107" y="370"/>
                  </a:lnTo>
                  <a:lnTo>
                    <a:pt x="109" y="368"/>
                  </a:lnTo>
                  <a:lnTo>
                    <a:pt x="110" y="366"/>
                  </a:lnTo>
                  <a:lnTo>
                    <a:pt x="114" y="356"/>
                  </a:lnTo>
                  <a:lnTo>
                    <a:pt x="116" y="352"/>
                  </a:lnTo>
                  <a:lnTo>
                    <a:pt x="118" y="348"/>
                  </a:lnTo>
                  <a:lnTo>
                    <a:pt x="119" y="345"/>
                  </a:lnTo>
                  <a:lnTo>
                    <a:pt x="119" y="342"/>
                  </a:lnTo>
                  <a:lnTo>
                    <a:pt x="119" y="340"/>
                  </a:lnTo>
                  <a:lnTo>
                    <a:pt x="119" y="337"/>
                  </a:lnTo>
                  <a:lnTo>
                    <a:pt x="119" y="335"/>
                  </a:lnTo>
                  <a:lnTo>
                    <a:pt x="117" y="328"/>
                  </a:lnTo>
                  <a:lnTo>
                    <a:pt x="117" y="326"/>
                  </a:lnTo>
                  <a:lnTo>
                    <a:pt x="117" y="324"/>
                  </a:lnTo>
                  <a:lnTo>
                    <a:pt x="117" y="323"/>
                  </a:lnTo>
                  <a:lnTo>
                    <a:pt x="117" y="321"/>
                  </a:lnTo>
                  <a:lnTo>
                    <a:pt x="117" y="319"/>
                  </a:lnTo>
                  <a:lnTo>
                    <a:pt x="119" y="314"/>
                  </a:lnTo>
                  <a:lnTo>
                    <a:pt x="119" y="310"/>
                  </a:lnTo>
                  <a:lnTo>
                    <a:pt x="119" y="308"/>
                  </a:lnTo>
                  <a:lnTo>
                    <a:pt x="119" y="306"/>
                  </a:lnTo>
                  <a:lnTo>
                    <a:pt x="118" y="304"/>
                  </a:lnTo>
                  <a:lnTo>
                    <a:pt x="117" y="303"/>
                  </a:lnTo>
                  <a:lnTo>
                    <a:pt x="116" y="301"/>
                  </a:lnTo>
                  <a:lnTo>
                    <a:pt x="115" y="299"/>
                  </a:lnTo>
                  <a:lnTo>
                    <a:pt x="113" y="297"/>
                  </a:lnTo>
                  <a:lnTo>
                    <a:pt x="109" y="294"/>
                  </a:lnTo>
                  <a:lnTo>
                    <a:pt x="107" y="294"/>
                  </a:lnTo>
                  <a:lnTo>
                    <a:pt x="105" y="292"/>
                  </a:lnTo>
                  <a:lnTo>
                    <a:pt x="98" y="288"/>
                  </a:lnTo>
                  <a:lnTo>
                    <a:pt x="96" y="287"/>
                  </a:lnTo>
                  <a:lnTo>
                    <a:pt x="91" y="284"/>
                  </a:lnTo>
                  <a:lnTo>
                    <a:pt x="86" y="282"/>
                  </a:lnTo>
                  <a:lnTo>
                    <a:pt x="84" y="279"/>
                  </a:lnTo>
                  <a:lnTo>
                    <a:pt x="81" y="276"/>
                  </a:lnTo>
                  <a:lnTo>
                    <a:pt x="79" y="274"/>
                  </a:lnTo>
                  <a:lnTo>
                    <a:pt x="77" y="272"/>
                  </a:lnTo>
                  <a:lnTo>
                    <a:pt x="76" y="271"/>
                  </a:lnTo>
                  <a:lnTo>
                    <a:pt x="75" y="270"/>
                  </a:lnTo>
                  <a:lnTo>
                    <a:pt x="75" y="268"/>
                  </a:lnTo>
                  <a:lnTo>
                    <a:pt x="74" y="267"/>
                  </a:lnTo>
                  <a:lnTo>
                    <a:pt x="74" y="265"/>
                  </a:lnTo>
                  <a:lnTo>
                    <a:pt x="73" y="260"/>
                  </a:lnTo>
                  <a:lnTo>
                    <a:pt x="73" y="256"/>
                  </a:lnTo>
                  <a:lnTo>
                    <a:pt x="73" y="255"/>
                  </a:lnTo>
                  <a:lnTo>
                    <a:pt x="73" y="254"/>
                  </a:lnTo>
                  <a:lnTo>
                    <a:pt x="73" y="252"/>
                  </a:lnTo>
                  <a:lnTo>
                    <a:pt x="72" y="252"/>
                  </a:lnTo>
                  <a:lnTo>
                    <a:pt x="71" y="251"/>
                  </a:lnTo>
                  <a:lnTo>
                    <a:pt x="68" y="251"/>
                  </a:lnTo>
                  <a:lnTo>
                    <a:pt x="67" y="250"/>
                  </a:lnTo>
                  <a:lnTo>
                    <a:pt x="65" y="249"/>
                  </a:lnTo>
                  <a:lnTo>
                    <a:pt x="63" y="247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59" y="245"/>
                  </a:lnTo>
                  <a:lnTo>
                    <a:pt x="55" y="244"/>
                  </a:lnTo>
                  <a:lnTo>
                    <a:pt x="52" y="244"/>
                  </a:lnTo>
                  <a:lnTo>
                    <a:pt x="48" y="242"/>
                  </a:lnTo>
                  <a:lnTo>
                    <a:pt x="45" y="241"/>
                  </a:lnTo>
                  <a:lnTo>
                    <a:pt x="43" y="240"/>
                  </a:lnTo>
                  <a:lnTo>
                    <a:pt x="41" y="239"/>
                  </a:lnTo>
                  <a:lnTo>
                    <a:pt x="40" y="238"/>
                  </a:lnTo>
                  <a:lnTo>
                    <a:pt x="39" y="237"/>
                  </a:lnTo>
                  <a:lnTo>
                    <a:pt x="38" y="236"/>
                  </a:lnTo>
                  <a:lnTo>
                    <a:pt x="35" y="234"/>
                  </a:lnTo>
                  <a:lnTo>
                    <a:pt x="32" y="232"/>
                  </a:lnTo>
                  <a:lnTo>
                    <a:pt x="29" y="231"/>
                  </a:lnTo>
                  <a:lnTo>
                    <a:pt x="28" y="231"/>
                  </a:lnTo>
                  <a:lnTo>
                    <a:pt x="22" y="229"/>
                  </a:lnTo>
                  <a:lnTo>
                    <a:pt x="18" y="228"/>
                  </a:lnTo>
                  <a:lnTo>
                    <a:pt x="16" y="227"/>
                  </a:lnTo>
                  <a:lnTo>
                    <a:pt x="12" y="226"/>
                  </a:lnTo>
                  <a:lnTo>
                    <a:pt x="10" y="224"/>
                  </a:lnTo>
                  <a:lnTo>
                    <a:pt x="7" y="222"/>
                  </a:lnTo>
                  <a:lnTo>
                    <a:pt x="5" y="221"/>
                  </a:lnTo>
                  <a:lnTo>
                    <a:pt x="5" y="219"/>
                  </a:lnTo>
                  <a:lnTo>
                    <a:pt x="3" y="217"/>
                  </a:lnTo>
                  <a:lnTo>
                    <a:pt x="2" y="215"/>
                  </a:lnTo>
                  <a:lnTo>
                    <a:pt x="1" y="213"/>
                  </a:lnTo>
                  <a:lnTo>
                    <a:pt x="0" y="211"/>
                  </a:lnTo>
                  <a:lnTo>
                    <a:pt x="0" y="209"/>
                  </a:lnTo>
                  <a:lnTo>
                    <a:pt x="0" y="208"/>
                  </a:lnTo>
                  <a:lnTo>
                    <a:pt x="0" y="207"/>
                  </a:lnTo>
                  <a:lnTo>
                    <a:pt x="1" y="206"/>
                  </a:lnTo>
                  <a:lnTo>
                    <a:pt x="1" y="205"/>
                  </a:lnTo>
                  <a:lnTo>
                    <a:pt x="3" y="204"/>
                  </a:lnTo>
                  <a:lnTo>
                    <a:pt x="4" y="203"/>
                  </a:lnTo>
                  <a:lnTo>
                    <a:pt x="5" y="202"/>
                  </a:lnTo>
                  <a:lnTo>
                    <a:pt x="6" y="202"/>
                  </a:lnTo>
                  <a:lnTo>
                    <a:pt x="10" y="200"/>
                  </a:lnTo>
                  <a:lnTo>
                    <a:pt x="13" y="199"/>
                  </a:lnTo>
                  <a:lnTo>
                    <a:pt x="15" y="198"/>
                  </a:lnTo>
                  <a:lnTo>
                    <a:pt x="15" y="197"/>
                  </a:lnTo>
                  <a:lnTo>
                    <a:pt x="16" y="196"/>
                  </a:lnTo>
                  <a:lnTo>
                    <a:pt x="16" y="195"/>
                  </a:lnTo>
                  <a:lnTo>
                    <a:pt x="15" y="195"/>
                  </a:lnTo>
                  <a:lnTo>
                    <a:pt x="14" y="193"/>
                  </a:lnTo>
                  <a:lnTo>
                    <a:pt x="12" y="191"/>
                  </a:lnTo>
                  <a:lnTo>
                    <a:pt x="11" y="191"/>
                  </a:lnTo>
                  <a:lnTo>
                    <a:pt x="10" y="190"/>
                  </a:lnTo>
                  <a:lnTo>
                    <a:pt x="10" y="189"/>
                  </a:lnTo>
                  <a:lnTo>
                    <a:pt x="10" y="188"/>
                  </a:lnTo>
                  <a:lnTo>
                    <a:pt x="10" y="187"/>
                  </a:lnTo>
                  <a:lnTo>
                    <a:pt x="11" y="186"/>
                  </a:lnTo>
                  <a:lnTo>
                    <a:pt x="13" y="184"/>
                  </a:lnTo>
                  <a:lnTo>
                    <a:pt x="19" y="180"/>
                  </a:lnTo>
                  <a:lnTo>
                    <a:pt x="21" y="178"/>
                  </a:lnTo>
                  <a:lnTo>
                    <a:pt x="22" y="177"/>
                  </a:lnTo>
                  <a:lnTo>
                    <a:pt x="24" y="176"/>
                  </a:lnTo>
                  <a:lnTo>
                    <a:pt x="25" y="174"/>
                  </a:lnTo>
                  <a:lnTo>
                    <a:pt x="25" y="173"/>
                  </a:lnTo>
                  <a:lnTo>
                    <a:pt x="26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8" y="160"/>
                  </a:lnTo>
                  <a:lnTo>
                    <a:pt x="28" y="157"/>
                  </a:lnTo>
                  <a:lnTo>
                    <a:pt x="29" y="156"/>
                  </a:lnTo>
                  <a:lnTo>
                    <a:pt x="29" y="154"/>
                  </a:lnTo>
                  <a:lnTo>
                    <a:pt x="32" y="150"/>
                  </a:lnTo>
                  <a:lnTo>
                    <a:pt x="32" y="149"/>
                  </a:lnTo>
                  <a:lnTo>
                    <a:pt x="32" y="148"/>
                  </a:lnTo>
                  <a:lnTo>
                    <a:pt x="32" y="147"/>
                  </a:lnTo>
                  <a:lnTo>
                    <a:pt x="31" y="147"/>
                  </a:lnTo>
                  <a:lnTo>
                    <a:pt x="30" y="145"/>
                  </a:lnTo>
                  <a:lnTo>
                    <a:pt x="28" y="143"/>
                  </a:lnTo>
                  <a:lnTo>
                    <a:pt x="28" y="142"/>
                  </a:lnTo>
                  <a:lnTo>
                    <a:pt x="27" y="140"/>
                  </a:lnTo>
                  <a:lnTo>
                    <a:pt x="27" y="139"/>
                  </a:lnTo>
                  <a:lnTo>
                    <a:pt x="27" y="138"/>
                  </a:lnTo>
                  <a:lnTo>
                    <a:pt x="27" y="137"/>
                  </a:lnTo>
                  <a:lnTo>
                    <a:pt x="27" y="136"/>
                  </a:lnTo>
                  <a:lnTo>
                    <a:pt x="28" y="136"/>
                  </a:lnTo>
                  <a:lnTo>
                    <a:pt x="28" y="135"/>
                  </a:lnTo>
                  <a:lnTo>
                    <a:pt x="29" y="134"/>
                  </a:lnTo>
                  <a:lnTo>
                    <a:pt x="30" y="133"/>
                  </a:lnTo>
                  <a:lnTo>
                    <a:pt x="32" y="132"/>
                  </a:lnTo>
                  <a:lnTo>
                    <a:pt x="34" y="131"/>
                  </a:lnTo>
                  <a:lnTo>
                    <a:pt x="39" y="130"/>
                  </a:lnTo>
                  <a:lnTo>
                    <a:pt x="41" y="129"/>
                  </a:lnTo>
                  <a:lnTo>
                    <a:pt x="43" y="129"/>
                  </a:lnTo>
                  <a:lnTo>
                    <a:pt x="44" y="128"/>
                  </a:lnTo>
                  <a:lnTo>
                    <a:pt x="46" y="127"/>
                  </a:lnTo>
                  <a:lnTo>
                    <a:pt x="47" y="126"/>
                  </a:lnTo>
                  <a:lnTo>
                    <a:pt x="48" y="125"/>
                  </a:lnTo>
                  <a:lnTo>
                    <a:pt x="48" y="124"/>
                  </a:lnTo>
                  <a:lnTo>
                    <a:pt x="49" y="124"/>
                  </a:lnTo>
                  <a:lnTo>
                    <a:pt x="49" y="124"/>
                  </a:lnTo>
                  <a:lnTo>
                    <a:pt x="50" y="126"/>
                  </a:lnTo>
                  <a:lnTo>
                    <a:pt x="51" y="128"/>
                  </a:lnTo>
                  <a:lnTo>
                    <a:pt x="53" y="129"/>
                  </a:lnTo>
                  <a:lnTo>
                    <a:pt x="55" y="130"/>
                  </a:lnTo>
                  <a:lnTo>
                    <a:pt x="57" y="131"/>
                  </a:lnTo>
                  <a:lnTo>
                    <a:pt x="59" y="132"/>
                  </a:lnTo>
                  <a:lnTo>
                    <a:pt x="61" y="132"/>
                  </a:lnTo>
                  <a:lnTo>
                    <a:pt x="62" y="132"/>
                  </a:lnTo>
                  <a:lnTo>
                    <a:pt x="65" y="132"/>
                  </a:lnTo>
                  <a:lnTo>
                    <a:pt x="67" y="132"/>
                  </a:lnTo>
                  <a:lnTo>
                    <a:pt x="70" y="132"/>
                  </a:lnTo>
                  <a:lnTo>
                    <a:pt x="72" y="131"/>
                  </a:lnTo>
                  <a:lnTo>
                    <a:pt x="74" y="130"/>
                  </a:lnTo>
                  <a:lnTo>
                    <a:pt x="77" y="129"/>
                  </a:lnTo>
                  <a:lnTo>
                    <a:pt x="80" y="128"/>
                  </a:lnTo>
                  <a:lnTo>
                    <a:pt x="83" y="127"/>
                  </a:lnTo>
                  <a:lnTo>
                    <a:pt x="85" y="125"/>
                  </a:lnTo>
                  <a:lnTo>
                    <a:pt x="88" y="124"/>
                  </a:lnTo>
                  <a:lnTo>
                    <a:pt x="93" y="121"/>
                  </a:lnTo>
                  <a:lnTo>
                    <a:pt x="95" y="120"/>
                  </a:lnTo>
                  <a:lnTo>
                    <a:pt x="98" y="118"/>
                  </a:lnTo>
                  <a:lnTo>
                    <a:pt x="101" y="116"/>
                  </a:lnTo>
                  <a:lnTo>
                    <a:pt x="104" y="114"/>
                  </a:lnTo>
                  <a:lnTo>
                    <a:pt x="107" y="112"/>
                  </a:lnTo>
                  <a:lnTo>
                    <a:pt x="109" y="110"/>
                  </a:lnTo>
                  <a:lnTo>
                    <a:pt x="110" y="108"/>
                  </a:lnTo>
                  <a:lnTo>
                    <a:pt x="111" y="107"/>
                  </a:lnTo>
                  <a:lnTo>
                    <a:pt x="114" y="102"/>
                  </a:lnTo>
                  <a:lnTo>
                    <a:pt x="115" y="100"/>
                  </a:lnTo>
                  <a:lnTo>
                    <a:pt x="116" y="99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6" name="Freeform 99">
              <a:extLst>
                <a:ext uri="{FF2B5EF4-FFF2-40B4-BE49-F238E27FC236}">
                  <a16:creationId xmlns:a16="http://schemas.microsoft.com/office/drawing/2014/main" id="{3907BA23-B355-4872-9447-E84ED5795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0" y="2018"/>
              <a:ext cx="193" cy="54"/>
            </a:xfrm>
            <a:custGeom>
              <a:avLst/>
              <a:gdLst>
                <a:gd name="T0" fmla="*/ 1 w 193"/>
                <a:gd name="T1" fmla="*/ 51 h 54"/>
                <a:gd name="T2" fmla="*/ 3 w 193"/>
                <a:gd name="T3" fmla="*/ 48 h 54"/>
                <a:gd name="T4" fmla="*/ 8 w 193"/>
                <a:gd name="T5" fmla="*/ 45 h 54"/>
                <a:gd name="T6" fmla="*/ 14 w 193"/>
                <a:gd name="T7" fmla="*/ 44 h 54"/>
                <a:gd name="T8" fmla="*/ 20 w 193"/>
                <a:gd name="T9" fmla="*/ 42 h 54"/>
                <a:gd name="T10" fmla="*/ 31 w 193"/>
                <a:gd name="T11" fmla="*/ 37 h 54"/>
                <a:gd name="T12" fmla="*/ 33 w 193"/>
                <a:gd name="T13" fmla="*/ 36 h 54"/>
                <a:gd name="T14" fmla="*/ 35 w 193"/>
                <a:gd name="T15" fmla="*/ 36 h 54"/>
                <a:gd name="T16" fmla="*/ 37 w 193"/>
                <a:gd name="T17" fmla="*/ 37 h 54"/>
                <a:gd name="T18" fmla="*/ 39 w 193"/>
                <a:gd name="T19" fmla="*/ 39 h 54"/>
                <a:gd name="T20" fmla="*/ 46 w 193"/>
                <a:gd name="T21" fmla="*/ 44 h 54"/>
                <a:gd name="T22" fmla="*/ 51 w 193"/>
                <a:gd name="T23" fmla="*/ 45 h 54"/>
                <a:gd name="T24" fmla="*/ 54 w 193"/>
                <a:gd name="T25" fmla="*/ 45 h 54"/>
                <a:gd name="T26" fmla="*/ 60 w 193"/>
                <a:gd name="T27" fmla="*/ 44 h 54"/>
                <a:gd name="T28" fmla="*/ 71 w 193"/>
                <a:gd name="T29" fmla="*/ 45 h 54"/>
                <a:gd name="T30" fmla="*/ 77 w 193"/>
                <a:gd name="T31" fmla="*/ 45 h 54"/>
                <a:gd name="T32" fmla="*/ 85 w 193"/>
                <a:gd name="T33" fmla="*/ 47 h 54"/>
                <a:gd name="T34" fmla="*/ 93 w 193"/>
                <a:gd name="T35" fmla="*/ 47 h 54"/>
                <a:gd name="T36" fmla="*/ 96 w 193"/>
                <a:gd name="T37" fmla="*/ 47 h 54"/>
                <a:gd name="T38" fmla="*/ 102 w 193"/>
                <a:gd name="T39" fmla="*/ 49 h 54"/>
                <a:gd name="T40" fmla="*/ 111 w 193"/>
                <a:gd name="T41" fmla="*/ 53 h 54"/>
                <a:gd name="T42" fmla="*/ 116 w 193"/>
                <a:gd name="T43" fmla="*/ 54 h 54"/>
                <a:gd name="T44" fmla="*/ 121 w 193"/>
                <a:gd name="T45" fmla="*/ 53 h 54"/>
                <a:gd name="T46" fmla="*/ 126 w 193"/>
                <a:gd name="T47" fmla="*/ 52 h 54"/>
                <a:gd name="T48" fmla="*/ 136 w 193"/>
                <a:gd name="T49" fmla="*/ 47 h 54"/>
                <a:gd name="T50" fmla="*/ 146 w 193"/>
                <a:gd name="T51" fmla="*/ 44 h 54"/>
                <a:gd name="T52" fmla="*/ 151 w 193"/>
                <a:gd name="T53" fmla="*/ 42 h 54"/>
                <a:gd name="T54" fmla="*/ 155 w 193"/>
                <a:gd name="T55" fmla="*/ 39 h 54"/>
                <a:gd name="T56" fmla="*/ 158 w 193"/>
                <a:gd name="T57" fmla="*/ 35 h 54"/>
                <a:gd name="T58" fmla="*/ 161 w 193"/>
                <a:gd name="T59" fmla="*/ 33 h 54"/>
                <a:gd name="T60" fmla="*/ 164 w 193"/>
                <a:gd name="T61" fmla="*/ 24 h 54"/>
                <a:gd name="T62" fmla="*/ 167 w 193"/>
                <a:gd name="T63" fmla="*/ 19 h 54"/>
                <a:gd name="T64" fmla="*/ 170 w 193"/>
                <a:gd name="T65" fmla="*/ 16 h 54"/>
                <a:gd name="T66" fmla="*/ 173 w 193"/>
                <a:gd name="T67" fmla="*/ 11 h 54"/>
                <a:gd name="T68" fmla="*/ 179 w 193"/>
                <a:gd name="T69" fmla="*/ 8 h 54"/>
                <a:gd name="T70" fmla="*/ 186 w 193"/>
                <a:gd name="T71" fmla="*/ 3 h 54"/>
                <a:gd name="T72" fmla="*/ 192 w 193"/>
                <a:gd name="T7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3" h="54">
                  <a:moveTo>
                    <a:pt x="0" y="53"/>
                  </a:moveTo>
                  <a:lnTo>
                    <a:pt x="1" y="51"/>
                  </a:lnTo>
                  <a:lnTo>
                    <a:pt x="3" y="50"/>
                  </a:lnTo>
                  <a:lnTo>
                    <a:pt x="3" y="48"/>
                  </a:lnTo>
                  <a:lnTo>
                    <a:pt x="5" y="47"/>
                  </a:lnTo>
                  <a:lnTo>
                    <a:pt x="8" y="45"/>
                  </a:lnTo>
                  <a:lnTo>
                    <a:pt x="11" y="44"/>
                  </a:lnTo>
                  <a:lnTo>
                    <a:pt x="14" y="44"/>
                  </a:lnTo>
                  <a:lnTo>
                    <a:pt x="17" y="43"/>
                  </a:lnTo>
                  <a:lnTo>
                    <a:pt x="20" y="42"/>
                  </a:lnTo>
                  <a:lnTo>
                    <a:pt x="22" y="41"/>
                  </a:lnTo>
                  <a:lnTo>
                    <a:pt x="31" y="37"/>
                  </a:lnTo>
                  <a:lnTo>
                    <a:pt x="32" y="36"/>
                  </a:lnTo>
                  <a:lnTo>
                    <a:pt x="33" y="36"/>
                  </a:lnTo>
                  <a:lnTo>
                    <a:pt x="34" y="36"/>
                  </a:lnTo>
                  <a:lnTo>
                    <a:pt x="35" y="36"/>
                  </a:lnTo>
                  <a:lnTo>
                    <a:pt x="37" y="36"/>
                  </a:lnTo>
                  <a:lnTo>
                    <a:pt x="37" y="37"/>
                  </a:lnTo>
                  <a:lnTo>
                    <a:pt x="38" y="38"/>
                  </a:lnTo>
                  <a:lnTo>
                    <a:pt x="39" y="39"/>
                  </a:lnTo>
                  <a:lnTo>
                    <a:pt x="44" y="42"/>
                  </a:lnTo>
                  <a:lnTo>
                    <a:pt x="46" y="44"/>
                  </a:lnTo>
                  <a:lnTo>
                    <a:pt x="48" y="44"/>
                  </a:lnTo>
                  <a:lnTo>
                    <a:pt x="51" y="45"/>
                  </a:lnTo>
                  <a:lnTo>
                    <a:pt x="52" y="45"/>
                  </a:lnTo>
                  <a:lnTo>
                    <a:pt x="54" y="45"/>
                  </a:lnTo>
                  <a:lnTo>
                    <a:pt x="58" y="45"/>
                  </a:lnTo>
                  <a:lnTo>
                    <a:pt x="60" y="44"/>
                  </a:lnTo>
                  <a:lnTo>
                    <a:pt x="63" y="45"/>
                  </a:lnTo>
                  <a:lnTo>
                    <a:pt x="71" y="45"/>
                  </a:lnTo>
                  <a:lnTo>
                    <a:pt x="73" y="45"/>
                  </a:lnTo>
                  <a:lnTo>
                    <a:pt x="77" y="45"/>
                  </a:lnTo>
                  <a:lnTo>
                    <a:pt x="82" y="46"/>
                  </a:lnTo>
                  <a:lnTo>
                    <a:pt x="85" y="47"/>
                  </a:lnTo>
                  <a:lnTo>
                    <a:pt x="88" y="47"/>
                  </a:lnTo>
                  <a:lnTo>
                    <a:pt x="93" y="47"/>
                  </a:lnTo>
                  <a:lnTo>
                    <a:pt x="94" y="47"/>
                  </a:lnTo>
                  <a:lnTo>
                    <a:pt x="96" y="47"/>
                  </a:lnTo>
                  <a:lnTo>
                    <a:pt x="98" y="48"/>
                  </a:lnTo>
                  <a:lnTo>
                    <a:pt x="102" y="49"/>
                  </a:lnTo>
                  <a:lnTo>
                    <a:pt x="108" y="52"/>
                  </a:lnTo>
                  <a:lnTo>
                    <a:pt x="111" y="53"/>
                  </a:lnTo>
                  <a:lnTo>
                    <a:pt x="114" y="53"/>
                  </a:lnTo>
                  <a:lnTo>
                    <a:pt x="116" y="54"/>
                  </a:lnTo>
                  <a:lnTo>
                    <a:pt x="118" y="54"/>
                  </a:lnTo>
                  <a:lnTo>
                    <a:pt x="121" y="53"/>
                  </a:lnTo>
                  <a:lnTo>
                    <a:pt x="123" y="53"/>
                  </a:lnTo>
                  <a:lnTo>
                    <a:pt x="126" y="52"/>
                  </a:lnTo>
                  <a:lnTo>
                    <a:pt x="132" y="48"/>
                  </a:lnTo>
                  <a:lnTo>
                    <a:pt x="136" y="47"/>
                  </a:lnTo>
                  <a:lnTo>
                    <a:pt x="139" y="45"/>
                  </a:lnTo>
                  <a:lnTo>
                    <a:pt x="146" y="44"/>
                  </a:lnTo>
                  <a:lnTo>
                    <a:pt x="149" y="43"/>
                  </a:lnTo>
                  <a:lnTo>
                    <a:pt x="151" y="42"/>
                  </a:lnTo>
                  <a:lnTo>
                    <a:pt x="153" y="41"/>
                  </a:lnTo>
                  <a:lnTo>
                    <a:pt x="155" y="39"/>
                  </a:lnTo>
                  <a:lnTo>
                    <a:pt x="157" y="37"/>
                  </a:lnTo>
                  <a:lnTo>
                    <a:pt x="158" y="35"/>
                  </a:lnTo>
                  <a:lnTo>
                    <a:pt x="160" y="34"/>
                  </a:lnTo>
                  <a:lnTo>
                    <a:pt x="161" y="33"/>
                  </a:lnTo>
                  <a:lnTo>
                    <a:pt x="162" y="30"/>
                  </a:lnTo>
                  <a:lnTo>
                    <a:pt x="164" y="24"/>
                  </a:lnTo>
                  <a:lnTo>
                    <a:pt x="166" y="21"/>
                  </a:lnTo>
                  <a:lnTo>
                    <a:pt x="167" y="19"/>
                  </a:lnTo>
                  <a:lnTo>
                    <a:pt x="168" y="18"/>
                  </a:lnTo>
                  <a:lnTo>
                    <a:pt x="170" y="16"/>
                  </a:lnTo>
                  <a:lnTo>
                    <a:pt x="171" y="14"/>
                  </a:lnTo>
                  <a:lnTo>
                    <a:pt x="173" y="11"/>
                  </a:lnTo>
                  <a:lnTo>
                    <a:pt x="176" y="10"/>
                  </a:lnTo>
                  <a:lnTo>
                    <a:pt x="179" y="8"/>
                  </a:lnTo>
                  <a:lnTo>
                    <a:pt x="182" y="6"/>
                  </a:lnTo>
                  <a:lnTo>
                    <a:pt x="186" y="3"/>
                  </a:lnTo>
                  <a:lnTo>
                    <a:pt x="190" y="1"/>
                  </a:lnTo>
                  <a:lnTo>
                    <a:pt x="192" y="0"/>
                  </a:lnTo>
                  <a:lnTo>
                    <a:pt x="193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7" name="Freeform 100">
              <a:extLst>
                <a:ext uri="{FF2B5EF4-FFF2-40B4-BE49-F238E27FC236}">
                  <a16:creationId xmlns:a16="http://schemas.microsoft.com/office/drawing/2014/main" id="{2767DB2E-BC7B-404D-845D-151892AAF9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6" y="2398"/>
              <a:ext cx="1020" cy="1077"/>
            </a:xfrm>
            <a:custGeom>
              <a:avLst/>
              <a:gdLst>
                <a:gd name="T0" fmla="*/ 403 w 1020"/>
                <a:gd name="T1" fmla="*/ 50 h 1077"/>
                <a:gd name="T2" fmla="*/ 454 w 1020"/>
                <a:gd name="T3" fmla="*/ 52 h 1077"/>
                <a:gd name="T4" fmla="*/ 501 w 1020"/>
                <a:gd name="T5" fmla="*/ 83 h 1077"/>
                <a:gd name="T6" fmla="*/ 534 w 1020"/>
                <a:gd name="T7" fmla="*/ 109 h 1077"/>
                <a:gd name="T8" fmla="*/ 586 w 1020"/>
                <a:gd name="T9" fmla="*/ 131 h 1077"/>
                <a:gd name="T10" fmla="*/ 595 w 1020"/>
                <a:gd name="T11" fmla="*/ 167 h 1077"/>
                <a:gd name="T12" fmla="*/ 657 w 1020"/>
                <a:gd name="T13" fmla="*/ 192 h 1077"/>
                <a:gd name="T14" fmla="*/ 695 w 1020"/>
                <a:gd name="T15" fmla="*/ 141 h 1077"/>
                <a:gd name="T16" fmla="*/ 728 w 1020"/>
                <a:gd name="T17" fmla="*/ 158 h 1077"/>
                <a:gd name="T18" fmla="*/ 780 w 1020"/>
                <a:gd name="T19" fmla="*/ 190 h 1077"/>
                <a:gd name="T20" fmla="*/ 851 w 1020"/>
                <a:gd name="T21" fmla="*/ 208 h 1077"/>
                <a:gd name="T22" fmla="*/ 926 w 1020"/>
                <a:gd name="T23" fmla="*/ 266 h 1077"/>
                <a:gd name="T24" fmla="*/ 1005 w 1020"/>
                <a:gd name="T25" fmla="*/ 316 h 1077"/>
                <a:gd name="T26" fmla="*/ 1005 w 1020"/>
                <a:gd name="T27" fmla="*/ 362 h 1077"/>
                <a:gd name="T28" fmla="*/ 1017 w 1020"/>
                <a:gd name="T29" fmla="*/ 395 h 1077"/>
                <a:gd name="T30" fmla="*/ 984 w 1020"/>
                <a:gd name="T31" fmla="*/ 416 h 1077"/>
                <a:gd name="T32" fmla="*/ 998 w 1020"/>
                <a:gd name="T33" fmla="*/ 449 h 1077"/>
                <a:gd name="T34" fmla="*/ 976 w 1020"/>
                <a:gd name="T35" fmla="*/ 460 h 1077"/>
                <a:gd name="T36" fmla="*/ 946 w 1020"/>
                <a:gd name="T37" fmla="*/ 457 h 1077"/>
                <a:gd name="T38" fmla="*/ 958 w 1020"/>
                <a:gd name="T39" fmla="*/ 480 h 1077"/>
                <a:gd name="T40" fmla="*/ 918 w 1020"/>
                <a:gd name="T41" fmla="*/ 497 h 1077"/>
                <a:gd name="T42" fmla="*/ 885 w 1020"/>
                <a:gd name="T43" fmla="*/ 542 h 1077"/>
                <a:gd name="T44" fmla="*/ 906 w 1020"/>
                <a:gd name="T45" fmla="*/ 605 h 1077"/>
                <a:gd name="T46" fmla="*/ 908 w 1020"/>
                <a:gd name="T47" fmla="*/ 622 h 1077"/>
                <a:gd name="T48" fmla="*/ 924 w 1020"/>
                <a:gd name="T49" fmla="*/ 646 h 1077"/>
                <a:gd name="T50" fmla="*/ 923 w 1020"/>
                <a:gd name="T51" fmla="*/ 690 h 1077"/>
                <a:gd name="T52" fmla="*/ 897 w 1020"/>
                <a:gd name="T53" fmla="*/ 724 h 1077"/>
                <a:gd name="T54" fmla="*/ 910 w 1020"/>
                <a:gd name="T55" fmla="*/ 762 h 1077"/>
                <a:gd name="T56" fmla="*/ 907 w 1020"/>
                <a:gd name="T57" fmla="*/ 794 h 1077"/>
                <a:gd name="T58" fmla="*/ 893 w 1020"/>
                <a:gd name="T59" fmla="*/ 828 h 1077"/>
                <a:gd name="T60" fmla="*/ 875 w 1020"/>
                <a:gd name="T61" fmla="*/ 845 h 1077"/>
                <a:gd name="T62" fmla="*/ 898 w 1020"/>
                <a:gd name="T63" fmla="*/ 882 h 1077"/>
                <a:gd name="T64" fmla="*/ 872 w 1020"/>
                <a:gd name="T65" fmla="*/ 914 h 1077"/>
                <a:gd name="T66" fmla="*/ 817 w 1020"/>
                <a:gd name="T67" fmla="*/ 934 h 1077"/>
                <a:gd name="T68" fmla="*/ 778 w 1020"/>
                <a:gd name="T69" fmla="*/ 963 h 1077"/>
                <a:gd name="T70" fmla="*/ 723 w 1020"/>
                <a:gd name="T71" fmla="*/ 967 h 1077"/>
                <a:gd name="T72" fmla="*/ 682 w 1020"/>
                <a:gd name="T73" fmla="*/ 948 h 1077"/>
                <a:gd name="T74" fmla="*/ 648 w 1020"/>
                <a:gd name="T75" fmla="*/ 966 h 1077"/>
                <a:gd name="T76" fmla="*/ 621 w 1020"/>
                <a:gd name="T77" fmla="*/ 974 h 1077"/>
                <a:gd name="T78" fmla="*/ 574 w 1020"/>
                <a:gd name="T79" fmla="*/ 999 h 1077"/>
                <a:gd name="T80" fmla="*/ 526 w 1020"/>
                <a:gd name="T81" fmla="*/ 1038 h 1077"/>
                <a:gd name="T82" fmla="*/ 488 w 1020"/>
                <a:gd name="T83" fmla="*/ 1056 h 1077"/>
                <a:gd name="T84" fmla="*/ 443 w 1020"/>
                <a:gd name="T85" fmla="*/ 1069 h 1077"/>
                <a:gd name="T86" fmla="*/ 409 w 1020"/>
                <a:gd name="T87" fmla="*/ 1066 h 1077"/>
                <a:gd name="T88" fmla="*/ 382 w 1020"/>
                <a:gd name="T89" fmla="*/ 1058 h 1077"/>
                <a:gd name="T90" fmla="*/ 339 w 1020"/>
                <a:gd name="T91" fmla="*/ 1023 h 1077"/>
                <a:gd name="T92" fmla="*/ 319 w 1020"/>
                <a:gd name="T93" fmla="*/ 1009 h 1077"/>
                <a:gd name="T94" fmla="*/ 354 w 1020"/>
                <a:gd name="T95" fmla="*/ 956 h 1077"/>
                <a:gd name="T96" fmla="*/ 384 w 1020"/>
                <a:gd name="T97" fmla="*/ 922 h 1077"/>
                <a:gd name="T98" fmla="*/ 385 w 1020"/>
                <a:gd name="T99" fmla="*/ 888 h 1077"/>
                <a:gd name="T100" fmla="*/ 369 w 1020"/>
                <a:gd name="T101" fmla="*/ 861 h 1077"/>
                <a:gd name="T102" fmla="*/ 334 w 1020"/>
                <a:gd name="T103" fmla="*/ 860 h 1077"/>
                <a:gd name="T104" fmla="*/ 271 w 1020"/>
                <a:gd name="T105" fmla="*/ 862 h 1077"/>
                <a:gd name="T106" fmla="*/ 210 w 1020"/>
                <a:gd name="T107" fmla="*/ 828 h 1077"/>
                <a:gd name="T108" fmla="*/ 200 w 1020"/>
                <a:gd name="T109" fmla="*/ 772 h 1077"/>
                <a:gd name="T110" fmla="*/ 160 w 1020"/>
                <a:gd name="T111" fmla="*/ 757 h 1077"/>
                <a:gd name="T112" fmla="*/ 91 w 1020"/>
                <a:gd name="T113" fmla="*/ 741 h 1077"/>
                <a:gd name="T114" fmla="*/ 48 w 1020"/>
                <a:gd name="T115" fmla="*/ 746 h 1077"/>
                <a:gd name="T116" fmla="*/ 7 w 1020"/>
                <a:gd name="T117" fmla="*/ 720 h 1077"/>
                <a:gd name="T118" fmla="*/ 10 w 1020"/>
                <a:gd name="T119" fmla="*/ 70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20" h="1077">
                  <a:moveTo>
                    <a:pt x="325" y="0"/>
                  </a:moveTo>
                  <a:lnTo>
                    <a:pt x="339" y="11"/>
                  </a:lnTo>
                  <a:lnTo>
                    <a:pt x="343" y="14"/>
                  </a:lnTo>
                  <a:lnTo>
                    <a:pt x="351" y="19"/>
                  </a:lnTo>
                  <a:lnTo>
                    <a:pt x="370" y="32"/>
                  </a:lnTo>
                  <a:lnTo>
                    <a:pt x="371" y="34"/>
                  </a:lnTo>
                  <a:lnTo>
                    <a:pt x="376" y="38"/>
                  </a:lnTo>
                  <a:lnTo>
                    <a:pt x="379" y="40"/>
                  </a:lnTo>
                  <a:lnTo>
                    <a:pt x="383" y="44"/>
                  </a:lnTo>
                  <a:lnTo>
                    <a:pt x="387" y="47"/>
                  </a:lnTo>
                  <a:lnTo>
                    <a:pt x="388" y="48"/>
                  </a:lnTo>
                  <a:lnTo>
                    <a:pt x="390" y="49"/>
                  </a:lnTo>
                  <a:lnTo>
                    <a:pt x="392" y="50"/>
                  </a:lnTo>
                  <a:lnTo>
                    <a:pt x="394" y="50"/>
                  </a:lnTo>
                  <a:lnTo>
                    <a:pt x="396" y="50"/>
                  </a:lnTo>
                  <a:lnTo>
                    <a:pt x="400" y="50"/>
                  </a:lnTo>
                  <a:lnTo>
                    <a:pt x="403" y="50"/>
                  </a:lnTo>
                  <a:lnTo>
                    <a:pt x="405" y="50"/>
                  </a:lnTo>
                  <a:lnTo>
                    <a:pt x="415" y="50"/>
                  </a:lnTo>
                  <a:lnTo>
                    <a:pt x="418" y="50"/>
                  </a:lnTo>
                  <a:lnTo>
                    <a:pt x="419" y="50"/>
                  </a:lnTo>
                  <a:lnTo>
                    <a:pt x="421" y="50"/>
                  </a:lnTo>
                  <a:lnTo>
                    <a:pt x="427" y="51"/>
                  </a:lnTo>
                  <a:lnTo>
                    <a:pt x="429" y="51"/>
                  </a:lnTo>
                  <a:lnTo>
                    <a:pt x="431" y="51"/>
                  </a:lnTo>
                  <a:lnTo>
                    <a:pt x="433" y="51"/>
                  </a:lnTo>
                  <a:lnTo>
                    <a:pt x="435" y="50"/>
                  </a:lnTo>
                  <a:lnTo>
                    <a:pt x="439" y="50"/>
                  </a:lnTo>
                  <a:lnTo>
                    <a:pt x="440" y="50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6" y="50"/>
                  </a:lnTo>
                  <a:lnTo>
                    <a:pt x="452" y="51"/>
                  </a:lnTo>
                  <a:lnTo>
                    <a:pt x="454" y="52"/>
                  </a:lnTo>
                  <a:lnTo>
                    <a:pt x="456" y="53"/>
                  </a:lnTo>
                  <a:lnTo>
                    <a:pt x="457" y="54"/>
                  </a:lnTo>
                  <a:lnTo>
                    <a:pt x="461" y="56"/>
                  </a:lnTo>
                  <a:lnTo>
                    <a:pt x="462" y="57"/>
                  </a:lnTo>
                  <a:lnTo>
                    <a:pt x="469" y="61"/>
                  </a:lnTo>
                  <a:lnTo>
                    <a:pt x="473" y="62"/>
                  </a:lnTo>
                  <a:lnTo>
                    <a:pt x="474" y="63"/>
                  </a:lnTo>
                  <a:lnTo>
                    <a:pt x="476" y="64"/>
                  </a:lnTo>
                  <a:lnTo>
                    <a:pt x="477" y="65"/>
                  </a:lnTo>
                  <a:lnTo>
                    <a:pt x="485" y="72"/>
                  </a:lnTo>
                  <a:lnTo>
                    <a:pt x="486" y="74"/>
                  </a:lnTo>
                  <a:lnTo>
                    <a:pt x="488" y="75"/>
                  </a:lnTo>
                  <a:lnTo>
                    <a:pt x="490" y="77"/>
                  </a:lnTo>
                  <a:lnTo>
                    <a:pt x="494" y="79"/>
                  </a:lnTo>
                  <a:lnTo>
                    <a:pt x="496" y="81"/>
                  </a:lnTo>
                  <a:lnTo>
                    <a:pt x="498" y="82"/>
                  </a:lnTo>
                  <a:lnTo>
                    <a:pt x="501" y="83"/>
                  </a:lnTo>
                  <a:lnTo>
                    <a:pt x="504" y="84"/>
                  </a:lnTo>
                  <a:lnTo>
                    <a:pt x="510" y="85"/>
                  </a:lnTo>
                  <a:lnTo>
                    <a:pt x="514" y="86"/>
                  </a:lnTo>
                  <a:lnTo>
                    <a:pt x="520" y="88"/>
                  </a:lnTo>
                  <a:lnTo>
                    <a:pt x="522" y="89"/>
                  </a:lnTo>
                  <a:lnTo>
                    <a:pt x="524" y="90"/>
                  </a:lnTo>
                  <a:lnTo>
                    <a:pt x="525" y="91"/>
                  </a:lnTo>
                  <a:lnTo>
                    <a:pt x="526" y="92"/>
                  </a:lnTo>
                  <a:lnTo>
                    <a:pt x="527" y="93"/>
                  </a:lnTo>
                  <a:lnTo>
                    <a:pt x="527" y="95"/>
                  </a:lnTo>
                  <a:lnTo>
                    <a:pt x="528" y="95"/>
                  </a:lnTo>
                  <a:lnTo>
                    <a:pt x="530" y="102"/>
                  </a:lnTo>
                  <a:lnTo>
                    <a:pt x="530" y="105"/>
                  </a:lnTo>
                  <a:lnTo>
                    <a:pt x="530" y="106"/>
                  </a:lnTo>
                  <a:lnTo>
                    <a:pt x="531" y="107"/>
                  </a:lnTo>
                  <a:lnTo>
                    <a:pt x="532" y="108"/>
                  </a:lnTo>
                  <a:lnTo>
                    <a:pt x="534" y="109"/>
                  </a:lnTo>
                  <a:lnTo>
                    <a:pt x="535" y="110"/>
                  </a:lnTo>
                  <a:lnTo>
                    <a:pt x="537" y="111"/>
                  </a:lnTo>
                  <a:lnTo>
                    <a:pt x="540" y="111"/>
                  </a:lnTo>
                  <a:lnTo>
                    <a:pt x="543" y="112"/>
                  </a:lnTo>
                  <a:lnTo>
                    <a:pt x="546" y="113"/>
                  </a:lnTo>
                  <a:lnTo>
                    <a:pt x="551" y="115"/>
                  </a:lnTo>
                  <a:lnTo>
                    <a:pt x="554" y="116"/>
                  </a:lnTo>
                  <a:lnTo>
                    <a:pt x="557" y="118"/>
                  </a:lnTo>
                  <a:lnTo>
                    <a:pt x="561" y="119"/>
                  </a:lnTo>
                  <a:lnTo>
                    <a:pt x="564" y="121"/>
                  </a:lnTo>
                  <a:lnTo>
                    <a:pt x="569" y="125"/>
                  </a:lnTo>
                  <a:lnTo>
                    <a:pt x="571" y="126"/>
                  </a:lnTo>
                  <a:lnTo>
                    <a:pt x="574" y="128"/>
                  </a:lnTo>
                  <a:lnTo>
                    <a:pt x="576" y="129"/>
                  </a:lnTo>
                  <a:lnTo>
                    <a:pt x="580" y="129"/>
                  </a:lnTo>
                  <a:lnTo>
                    <a:pt x="584" y="131"/>
                  </a:lnTo>
                  <a:lnTo>
                    <a:pt x="586" y="131"/>
                  </a:lnTo>
                  <a:lnTo>
                    <a:pt x="590" y="132"/>
                  </a:lnTo>
                  <a:lnTo>
                    <a:pt x="592" y="133"/>
                  </a:lnTo>
                  <a:lnTo>
                    <a:pt x="593" y="133"/>
                  </a:lnTo>
                  <a:lnTo>
                    <a:pt x="594" y="134"/>
                  </a:lnTo>
                  <a:lnTo>
                    <a:pt x="594" y="136"/>
                  </a:lnTo>
                  <a:lnTo>
                    <a:pt x="595" y="138"/>
                  </a:lnTo>
                  <a:lnTo>
                    <a:pt x="595" y="140"/>
                  </a:lnTo>
                  <a:lnTo>
                    <a:pt x="594" y="140"/>
                  </a:lnTo>
                  <a:lnTo>
                    <a:pt x="594" y="142"/>
                  </a:lnTo>
                  <a:lnTo>
                    <a:pt x="592" y="148"/>
                  </a:lnTo>
                  <a:lnTo>
                    <a:pt x="591" y="152"/>
                  </a:lnTo>
                  <a:lnTo>
                    <a:pt x="591" y="154"/>
                  </a:lnTo>
                  <a:lnTo>
                    <a:pt x="591" y="156"/>
                  </a:lnTo>
                  <a:lnTo>
                    <a:pt x="591" y="159"/>
                  </a:lnTo>
                  <a:lnTo>
                    <a:pt x="592" y="162"/>
                  </a:lnTo>
                  <a:lnTo>
                    <a:pt x="593" y="164"/>
                  </a:lnTo>
                  <a:lnTo>
                    <a:pt x="595" y="167"/>
                  </a:lnTo>
                  <a:lnTo>
                    <a:pt x="597" y="169"/>
                  </a:lnTo>
                  <a:lnTo>
                    <a:pt x="598" y="171"/>
                  </a:lnTo>
                  <a:lnTo>
                    <a:pt x="601" y="173"/>
                  </a:lnTo>
                  <a:lnTo>
                    <a:pt x="604" y="174"/>
                  </a:lnTo>
                  <a:lnTo>
                    <a:pt x="608" y="176"/>
                  </a:lnTo>
                  <a:lnTo>
                    <a:pt x="623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7" y="191"/>
                  </a:lnTo>
                  <a:lnTo>
                    <a:pt x="639" y="192"/>
                  </a:lnTo>
                  <a:lnTo>
                    <a:pt x="642" y="193"/>
                  </a:lnTo>
                  <a:lnTo>
                    <a:pt x="644" y="193"/>
                  </a:lnTo>
                  <a:lnTo>
                    <a:pt x="645" y="193"/>
                  </a:lnTo>
                  <a:lnTo>
                    <a:pt x="650" y="193"/>
                  </a:lnTo>
                  <a:lnTo>
                    <a:pt x="655" y="193"/>
                  </a:lnTo>
                  <a:lnTo>
                    <a:pt x="655" y="192"/>
                  </a:lnTo>
                  <a:lnTo>
                    <a:pt x="657" y="192"/>
                  </a:lnTo>
                  <a:lnTo>
                    <a:pt x="660" y="191"/>
                  </a:lnTo>
                  <a:lnTo>
                    <a:pt x="662" y="190"/>
                  </a:lnTo>
                  <a:lnTo>
                    <a:pt x="663" y="189"/>
                  </a:lnTo>
                  <a:lnTo>
                    <a:pt x="664" y="187"/>
                  </a:lnTo>
                  <a:lnTo>
                    <a:pt x="666" y="186"/>
                  </a:lnTo>
                  <a:lnTo>
                    <a:pt x="669" y="180"/>
                  </a:lnTo>
                  <a:lnTo>
                    <a:pt x="673" y="175"/>
                  </a:lnTo>
                  <a:lnTo>
                    <a:pt x="675" y="173"/>
                  </a:lnTo>
                  <a:lnTo>
                    <a:pt x="677" y="171"/>
                  </a:lnTo>
                  <a:lnTo>
                    <a:pt x="677" y="169"/>
                  </a:lnTo>
                  <a:lnTo>
                    <a:pt x="680" y="161"/>
                  </a:lnTo>
                  <a:lnTo>
                    <a:pt x="682" y="157"/>
                  </a:lnTo>
                  <a:lnTo>
                    <a:pt x="685" y="152"/>
                  </a:lnTo>
                  <a:lnTo>
                    <a:pt x="688" y="149"/>
                  </a:lnTo>
                  <a:lnTo>
                    <a:pt x="689" y="147"/>
                  </a:lnTo>
                  <a:lnTo>
                    <a:pt x="692" y="143"/>
                  </a:lnTo>
                  <a:lnTo>
                    <a:pt x="695" y="141"/>
                  </a:lnTo>
                  <a:lnTo>
                    <a:pt x="697" y="140"/>
                  </a:lnTo>
                  <a:lnTo>
                    <a:pt x="698" y="140"/>
                  </a:lnTo>
                  <a:lnTo>
                    <a:pt x="700" y="139"/>
                  </a:lnTo>
                  <a:lnTo>
                    <a:pt x="701" y="139"/>
                  </a:lnTo>
                  <a:lnTo>
                    <a:pt x="702" y="139"/>
                  </a:lnTo>
                  <a:lnTo>
                    <a:pt x="704" y="140"/>
                  </a:lnTo>
                  <a:lnTo>
                    <a:pt x="705" y="140"/>
                  </a:lnTo>
                  <a:lnTo>
                    <a:pt x="707" y="143"/>
                  </a:lnTo>
                  <a:lnTo>
                    <a:pt x="711" y="147"/>
                  </a:lnTo>
                  <a:lnTo>
                    <a:pt x="713" y="150"/>
                  </a:lnTo>
                  <a:lnTo>
                    <a:pt x="714" y="152"/>
                  </a:lnTo>
                  <a:lnTo>
                    <a:pt x="716" y="152"/>
                  </a:lnTo>
                  <a:lnTo>
                    <a:pt x="718" y="153"/>
                  </a:lnTo>
                  <a:lnTo>
                    <a:pt x="720" y="154"/>
                  </a:lnTo>
                  <a:lnTo>
                    <a:pt x="722" y="155"/>
                  </a:lnTo>
                  <a:lnTo>
                    <a:pt x="724" y="157"/>
                  </a:lnTo>
                  <a:lnTo>
                    <a:pt x="728" y="158"/>
                  </a:lnTo>
                  <a:lnTo>
                    <a:pt x="732" y="159"/>
                  </a:lnTo>
                  <a:lnTo>
                    <a:pt x="735" y="161"/>
                  </a:lnTo>
                  <a:lnTo>
                    <a:pt x="744" y="162"/>
                  </a:lnTo>
                  <a:lnTo>
                    <a:pt x="747" y="163"/>
                  </a:lnTo>
                  <a:lnTo>
                    <a:pt x="750" y="164"/>
                  </a:lnTo>
                  <a:lnTo>
                    <a:pt x="752" y="165"/>
                  </a:lnTo>
                  <a:lnTo>
                    <a:pt x="754" y="166"/>
                  </a:lnTo>
                  <a:lnTo>
                    <a:pt x="757" y="167"/>
                  </a:lnTo>
                  <a:lnTo>
                    <a:pt x="758" y="169"/>
                  </a:lnTo>
                  <a:lnTo>
                    <a:pt x="760" y="170"/>
                  </a:lnTo>
                  <a:lnTo>
                    <a:pt x="764" y="174"/>
                  </a:lnTo>
                  <a:lnTo>
                    <a:pt x="767" y="176"/>
                  </a:lnTo>
                  <a:lnTo>
                    <a:pt x="771" y="183"/>
                  </a:lnTo>
                  <a:lnTo>
                    <a:pt x="775" y="186"/>
                  </a:lnTo>
                  <a:lnTo>
                    <a:pt x="778" y="188"/>
                  </a:lnTo>
                  <a:lnTo>
                    <a:pt x="780" y="189"/>
                  </a:lnTo>
                  <a:lnTo>
                    <a:pt x="780" y="190"/>
                  </a:lnTo>
                  <a:lnTo>
                    <a:pt x="781" y="190"/>
                  </a:lnTo>
                  <a:lnTo>
                    <a:pt x="783" y="191"/>
                  </a:lnTo>
                  <a:lnTo>
                    <a:pt x="785" y="191"/>
                  </a:lnTo>
                  <a:lnTo>
                    <a:pt x="787" y="192"/>
                  </a:lnTo>
                  <a:lnTo>
                    <a:pt x="791" y="192"/>
                  </a:lnTo>
                  <a:lnTo>
                    <a:pt x="803" y="193"/>
                  </a:lnTo>
                  <a:lnTo>
                    <a:pt x="804" y="193"/>
                  </a:lnTo>
                  <a:lnTo>
                    <a:pt x="807" y="193"/>
                  </a:lnTo>
                  <a:lnTo>
                    <a:pt x="809" y="194"/>
                  </a:lnTo>
                  <a:lnTo>
                    <a:pt x="811" y="195"/>
                  </a:lnTo>
                  <a:lnTo>
                    <a:pt x="818" y="197"/>
                  </a:lnTo>
                  <a:lnTo>
                    <a:pt x="820" y="198"/>
                  </a:lnTo>
                  <a:lnTo>
                    <a:pt x="830" y="201"/>
                  </a:lnTo>
                  <a:lnTo>
                    <a:pt x="840" y="204"/>
                  </a:lnTo>
                  <a:lnTo>
                    <a:pt x="848" y="206"/>
                  </a:lnTo>
                  <a:lnTo>
                    <a:pt x="849" y="207"/>
                  </a:lnTo>
                  <a:lnTo>
                    <a:pt x="851" y="208"/>
                  </a:lnTo>
                  <a:lnTo>
                    <a:pt x="861" y="213"/>
                  </a:lnTo>
                  <a:lnTo>
                    <a:pt x="872" y="218"/>
                  </a:lnTo>
                  <a:lnTo>
                    <a:pt x="876" y="220"/>
                  </a:lnTo>
                  <a:lnTo>
                    <a:pt x="880" y="222"/>
                  </a:lnTo>
                  <a:lnTo>
                    <a:pt x="883" y="224"/>
                  </a:lnTo>
                  <a:lnTo>
                    <a:pt x="886" y="227"/>
                  </a:lnTo>
                  <a:lnTo>
                    <a:pt x="890" y="230"/>
                  </a:lnTo>
                  <a:lnTo>
                    <a:pt x="893" y="232"/>
                  </a:lnTo>
                  <a:lnTo>
                    <a:pt x="903" y="242"/>
                  </a:lnTo>
                  <a:lnTo>
                    <a:pt x="906" y="247"/>
                  </a:lnTo>
                  <a:lnTo>
                    <a:pt x="908" y="250"/>
                  </a:lnTo>
                  <a:lnTo>
                    <a:pt x="912" y="255"/>
                  </a:lnTo>
                  <a:lnTo>
                    <a:pt x="914" y="257"/>
                  </a:lnTo>
                  <a:lnTo>
                    <a:pt x="917" y="261"/>
                  </a:lnTo>
                  <a:lnTo>
                    <a:pt x="921" y="264"/>
                  </a:lnTo>
                  <a:lnTo>
                    <a:pt x="924" y="265"/>
                  </a:lnTo>
                  <a:lnTo>
                    <a:pt x="926" y="266"/>
                  </a:lnTo>
                  <a:lnTo>
                    <a:pt x="928" y="267"/>
                  </a:lnTo>
                  <a:lnTo>
                    <a:pt x="930" y="268"/>
                  </a:lnTo>
                  <a:lnTo>
                    <a:pt x="935" y="269"/>
                  </a:lnTo>
                  <a:lnTo>
                    <a:pt x="938" y="270"/>
                  </a:lnTo>
                  <a:lnTo>
                    <a:pt x="948" y="273"/>
                  </a:lnTo>
                  <a:lnTo>
                    <a:pt x="957" y="276"/>
                  </a:lnTo>
                  <a:lnTo>
                    <a:pt x="961" y="277"/>
                  </a:lnTo>
                  <a:lnTo>
                    <a:pt x="964" y="279"/>
                  </a:lnTo>
                  <a:lnTo>
                    <a:pt x="968" y="281"/>
                  </a:lnTo>
                  <a:lnTo>
                    <a:pt x="976" y="287"/>
                  </a:lnTo>
                  <a:lnTo>
                    <a:pt x="983" y="291"/>
                  </a:lnTo>
                  <a:lnTo>
                    <a:pt x="985" y="293"/>
                  </a:lnTo>
                  <a:lnTo>
                    <a:pt x="988" y="295"/>
                  </a:lnTo>
                  <a:lnTo>
                    <a:pt x="990" y="298"/>
                  </a:lnTo>
                  <a:lnTo>
                    <a:pt x="993" y="301"/>
                  </a:lnTo>
                  <a:lnTo>
                    <a:pt x="1004" y="316"/>
                  </a:lnTo>
                  <a:lnTo>
                    <a:pt x="1005" y="316"/>
                  </a:lnTo>
                  <a:lnTo>
                    <a:pt x="1004" y="319"/>
                  </a:lnTo>
                  <a:lnTo>
                    <a:pt x="1004" y="321"/>
                  </a:lnTo>
                  <a:lnTo>
                    <a:pt x="1003" y="324"/>
                  </a:lnTo>
                  <a:lnTo>
                    <a:pt x="1002" y="328"/>
                  </a:lnTo>
                  <a:lnTo>
                    <a:pt x="1001" y="333"/>
                  </a:lnTo>
                  <a:lnTo>
                    <a:pt x="996" y="344"/>
                  </a:lnTo>
                  <a:lnTo>
                    <a:pt x="996" y="346"/>
                  </a:lnTo>
                  <a:lnTo>
                    <a:pt x="996" y="347"/>
                  </a:lnTo>
                  <a:lnTo>
                    <a:pt x="996" y="349"/>
                  </a:lnTo>
                  <a:lnTo>
                    <a:pt x="996" y="350"/>
                  </a:lnTo>
                  <a:lnTo>
                    <a:pt x="996" y="352"/>
                  </a:lnTo>
                  <a:lnTo>
                    <a:pt x="996" y="354"/>
                  </a:lnTo>
                  <a:lnTo>
                    <a:pt x="997" y="355"/>
                  </a:lnTo>
                  <a:lnTo>
                    <a:pt x="999" y="357"/>
                  </a:lnTo>
                  <a:lnTo>
                    <a:pt x="1001" y="359"/>
                  </a:lnTo>
                  <a:lnTo>
                    <a:pt x="1003" y="361"/>
                  </a:lnTo>
                  <a:lnTo>
                    <a:pt x="1005" y="362"/>
                  </a:lnTo>
                  <a:lnTo>
                    <a:pt x="1010" y="366"/>
                  </a:lnTo>
                  <a:lnTo>
                    <a:pt x="1013" y="367"/>
                  </a:lnTo>
                  <a:lnTo>
                    <a:pt x="1015" y="368"/>
                  </a:lnTo>
                  <a:lnTo>
                    <a:pt x="1017" y="370"/>
                  </a:lnTo>
                  <a:lnTo>
                    <a:pt x="1018" y="372"/>
                  </a:lnTo>
                  <a:lnTo>
                    <a:pt x="1019" y="373"/>
                  </a:lnTo>
                  <a:lnTo>
                    <a:pt x="1019" y="375"/>
                  </a:lnTo>
                  <a:lnTo>
                    <a:pt x="1019" y="377"/>
                  </a:lnTo>
                  <a:lnTo>
                    <a:pt x="1020" y="378"/>
                  </a:lnTo>
                  <a:lnTo>
                    <a:pt x="1020" y="379"/>
                  </a:lnTo>
                  <a:lnTo>
                    <a:pt x="1020" y="381"/>
                  </a:lnTo>
                  <a:lnTo>
                    <a:pt x="1020" y="383"/>
                  </a:lnTo>
                  <a:lnTo>
                    <a:pt x="1020" y="385"/>
                  </a:lnTo>
                  <a:lnTo>
                    <a:pt x="1020" y="386"/>
                  </a:lnTo>
                  <a:lnTo>
                    <a:pt x="1019" y="389"/>
                  </a:lnTo>
                  <a:lnTo>
                    <a:pt x="1018" y="392"/>
                  </a:lnTo>
                  <a:lnTo>
                    <a:pt x="1017" y="395"/>
                  </a:lnTo>
                  <a:lnTo>
                    <a:pt x="1014" y="399"/>
                  </a:lnTo>
                  <a:lnTo>
                    <a:pt x="1011" y="402"/>
                  </a:lnTo>
                  <a:lnTo>
                    <a:pt x="1008" y="406"/>
                  </a:lnTo>
                  <a:lnTo>
                    <a:pt x="1006" y="409"/>
                  </a:lnTo>
                  <a:lnTo>
                    <a:pt x="1003" y="411"/>
                  </a:lnTo>
                  <a:lnTo>
                    <a:pt x="1001" y="412"/>
                  </a:lnTo>
                  <a:lnTo>
                    <a:pt x="999" y="413"/>
                  </a:lnTo>
                  <a:lnTo>
                    <a:pt x="996" y="413"/>
                  </a:lnTo>
                  <a:lnTo>
                    <a:pt x="995" y="414"/>
                  </a:lnTo>
                  <a:lnTo>
                    <a:pt x="993" y="414"/>
                  </a:lnTo>
                  <a:lnTo>
                    <a:pt x="991" y="414"/>
                  </a:lnTo>
                  <a:lnTo>
                    <a:pt x="987" y="414"/>
                  </a:lnTo>
                  <a:lnTo>
                    <a:pt x="985" y="414"/>
                  </a:lnTo>
                  <a:lnTo>
                    <a:pt x="985" y="414"/>
                  </a:lnTo>
                  <a:lnTo>
                    <a:pt x="984" y="414"/>
                  </a:lnTo>
                  <a:lnTo>
                    <a:pt x="984" y="415"/>
                  </a:lnTo>
                  <a:lnTo>
                    <a:pt x="984" y="416"/>
                  </a:lnTo>
                  <a:lnTo>
                    <a:pt x="984" y="418"/>
                  </a:lnTo>
                  <a:lnTo>
                    <a:pt x="985" y="420"/>
                  </a:lnTo>
                  <a:lnTo>
                    <a:pt x="985" y="422"/>
                  </a:lnTo>
                  <a:lnTo>
                    <a:pt x="986" y="423"/>
                  </a:lnTo>
                  <a:lnTo>
                    <a:pt x="988" y="425"/>
                  </a:lnTo>
                  <a:lnTo>
                    <a:pt x="990" y="427"/>
                  </a:lnTo>
                  <a:lnTo>
                    <a:pt x="993" y="431"/>
                  </a:lnTo>
                  <a:lnTo>
                    <a:pt x="995" y="433"/>
                  </a:lnTo>
                  <a:lnTo>
                    <a:pt x="996" y="435"/>
                  </a:lnTo>
                  <a:lnTo>
                    <a:pt x="997" y="439"/>
                  </a:lnTo>
                  <a:lnTo>
                    <a:pt x="998" y="441"/>
                  </a:lnTo>
                  <a:lnTo>
                    <a:pt x="999" y="442"/>
                  </a:lnTo>
                  <a:lnTo>
                    <a:pt x="999" y="444"/>
                  </a:lnTo>
                  <a:lnTo>
                    <a:pt x="999" y="445"/>
                  </a:lnTo>
                  <a:lnTo>
                    <a:pt x="999" y="446"/>
                  </a:lnTo>
                  <a:lnTo>
                    <a:pt x="999" y="447"/>
                  </a:lnTo>
                  <a:lnTo>
                    <a:pt x="998" y="449"/>
                  </a:lnTo>
                  <a:lnTo>
                    <a:pt x="996" y="454"/>
                  </a:lnTo>
                  <a:lnTo>
                    <a:pt x="996" y="459"/>
                  </a:lnTo>
                  <a:lnTo>
                    <a:pt x="995" y="461"/>
                  </a:lnTo>
                  <a:lnTo>
                    <a:pt x="994" y="462"/>
                  </a:lnTo>
                  <a:lnTo>
                    <a:pt x="993" y="464"/>
                  </a:lnTo>
                  <a:lnTo>
                    <a:pt x="991" y="465"/>
                  </a:lnTo>
                  <a:lnTo>
                    <a:pt x="990" y="466"/>
                  </a:lnTo>
                  <a:lnTo>
                    <a:pt x="988" y="466"/>
                  </a:lnTo>
                  <a:lnTo>
                    <a:pt x="987" y="466"/>
                  </a:lnTo>
                  <a:lnTo>
                    <a:pt x="985" y="466"/>
                  </a:lnTo>
                  <a:lnTo>
                    <a:pt x="983" y="466"/>
                  </a:lnTo>
                  <a:lnTo>
                    <a:pt x="982" y="466"/>
                  </a:lnTo>
                  <a:lnTo>
                    <a:pt x="980" y="465"/>
                  </a:lnTo>
                  <a:lnTo>
                    <a:pt x="979" y="465"/>
                  </a:lnTo>
                  <a:lnTo>
                    <a:pt x="978" y="464"/>
                  </a:lnTo>
                  <a:lnTo>
                    <a:pt x="977" y="462"/>
                  </a:lnTo>
                  <a:lnTo>
                    <a:pt x="976" y="460"/>
                  </a:lnTo>
                  <a:lnTo>
                    <a:pt x="974" y="459"/>
                  </a:lnTo>
                  <a:lnTo>
                    <a:pt x="973" y="456"/>
                  </a:lnTo>
                  <a:lnTo>
                    <a:pt x="972" y="453"/>
                  </a:lnTo>
                  <a:lnTo>
                    <a:pt x="971" y="452"/>
                  </a:lnTo>
                  <a:lnTo>
                    <a:pt x="970" y="452"/>
                  </a:lnTo>
                  <a:lnTo>
                    <a:pt x="969" y="451"/>
                  </a:lnTo>
                  <a:lnTo>
                    <a:pt x="968" y="450"/>
                  </a:lnTo>
                  <a:lnTo>
                    <a:pt x="966" y="450"/>
                  </a:lnTo>
                  <a:lnTo>
                    <a:pt x="963" y="450"/>
                  </a:lnTo>
                  <a:lnTo>
                    <a:pt x="962" y="449"/>
                  </a:lnTo>
                  <a:lnTo>
                    <a:pt x="959" y="450"/>
                  </a:lnTo>
                  <a:lnTo>
                    <a:pt x="957" y="451"/>
                  </a:lnTo>
                  <a:lnTo>
                    <a:pt x="954" y="452"/>
                  </a:lnTo>
                  <a:lnTo>
                    <a:pt x="951" y="453"/>
                  </a:lnTo>
                  <a:lnTo>
                    <a:pt x="950" y="455"/>
                  </a:lnTo>
                  <a:lnTo>
                    <a:pt x="948" y="456"/>
                  </a:lnTo>
                  <a:lnTo>
                    <a:pt x="946" y="457"/>
                  </a:lnTo>
                  <a:lnTo>
                    <a:pt x="943" y="461"/>
                  </a:lnTo>
                  <a:lnTo>
                    <a:pt x="940" y="464"/>
                  </a:lnTo>
                  <a:lnTo>
                    <a:pt x="939" y="465"/>
                  </a:lnTo>
                  <a:lnTo>
                    <a:pt x="939" y="467"/>
                  </a:lnTo>
                  <a:lnTo>
                    <a:pt x="939" y="468"/>
                  </a:lnTo>
                  <a:lnTo>
                    <a:pt x="939" y="469"/>
                  </a:lnTo>
                  <a:lnTo>
                    <a:pt x="939" y="469"/>
                  </a:lnTo>
                  <a:lnTo>
                    <a:pt x="939" y="470"/>
                  </a:lnTo>
                  <a:lnTo>
                    <a:pt x="942" y="471"/>
                  </a:lnTo>
                  <a:lnTo>
                    <a:pt x="949" y="473"/>
                  </a:lnTo>
                  <a:lnTo>
                    <a:pt x="951" y="474"/>
                  </a:lnTo>
                  <a:lnTo>
                    <a:pt x="952" y="475"/>
                  </a:lnTo>
                  <a:lnTo>
                    <a:pt x="954" y="475"/>
                  </a:lnTo>
                  <a:lnTo>
                    <a:pt x="955" y="476"/>
                  </a:lnTo>
                  <a:lnTo>
                    <a:pt x="956" y="477"/>
                  </a:lnTo>
                  <a:lnTo>
                    <a:pt x="957" y="478"/>
                  </a:lnTo>
                  <a:lnTo>
                    <a:pt x="958" y="480"/>
                  </a:lnTo>
                  <a:lnTo>
                    <a:pt x="958" y="480"/>
                  </a:lnTo>
                  <a:lnTo>
                    <a:pt x="958" y="481"/>
                  </a:lnTo>
                  <a:lnTo>
                    <a:pt x="958" y="483"/>
                  </a:lnTo>
                  <a:lnTo>
                    <a:pt x="957" y="484"/>
                  </a:lnTo>
                  <a:lnTo>
                    <a:pt x="957" y="486"/>
                  </a:lnTo>
                  <a:lnTo>
                    <a:pt x="956" y="487"/>
                  </a:lnTo>
                  <a:lnTo>
                    <a:pt x="954" y="489"/>
                  </a:lnTo>
                  <a:lnTo>
                    <a:pt x="953" y="490"/>
                  </a:lnTo>
                  <a:lnTo>
                    <a:pt x="951" y="491"/>
                  </a:lnTo>
                  <a:lnTo>
                    <a:pt x="949" y="491"/>
                  </a:lnTo>
                  <a:lnTo>
                    <a:pt x="945" y="492"/>
                  </a:lnTo>
                  <a:lnTo>
                    <a:pt x="939" y="493"/>
                  </a:lnTo>
                  <a:lnTo>
                    <a:pt x="935" y="494"/>
                  </a:lnTo>
                  <a:lnTo>
                    <a:pt x="928" y="494"/>
                  </a:lnTo>
                  <a:lnTo>
                    <a:pt x="924" y="495"/>
                  </a:lnTo>
                  <a:lnTo>
                    <a:pt x="921" y="496"/>
                  </a:lnTo>
                  <a:lnTo>
                    <a:pt x="918" y="497"/>
                  </a:lnTo>
                  <a:lnTo>
                    <a:pt x="916" y="499"/>
                  </a:lnTo>
                  <a:lnTo>
                    <a:pt x="914" y="501"/>
                  </a:lnTo>
                  <a:lnTo>
                    <a:pt x="912" y="502"/>
                  </a:lnTo>
                  <a:lnTo>
                    <a:pt x="911" y="503"/>
                  </a:lnTo>
                  <a:lnTo>
                    <a:pt x="909" y="504"/>
                  </a:lnTo>
                  <a:lnTo>
                    <a:pt x="908" y="506"/>
                  </a:lnTo>
                  <a:lnTo>
                    <a:pt x="906" y="508"/>
                  </a:lnTo>
                  <a:lnTo>
                    <a:pt x="905" y="511"/>
                  </a:lnTo>
                  <a:lnTo>
                    <a:pt x="901" y="519"/>
                  </a:lnTo>
                  <a:lnTo>
                    <a:pt x="900" y="521"/>
                  </a:lnTo>
                  <a:lnTo>
                    <a:pt x="897" y="524"/>
                  </a:lnTo>
                  <a:lnTo>
                    <a:pt x="893" y="529"/>
                  </a:lnTo>
                  <a:lnTo>
                    <a:pt x="891" y="532"/>
                  </a:lnTo>
                  <a:lnTo>
                    <a:pt x="889" y="536"/>
                  </a:lnTo>
                  <a:lnTo>
                    <a:pt x="887" y="538"/>
                  </a:lnTo>
                  <a:lnTo>
                    <a:pt x="886" y="540"/>
                  </a:lnTo>
                  <a:lnTo>
                    <a:pt x="885" y="542"/>
                  </a:lnTo>
                  <a:lnTo>
                    <a:pt x="885" y="546"/>
                  </a:lnTo>
                  <a:lnTo>
                    <a:pt x="885" y="553"/>
                  </a:lnTo>
                  <a:lnTo>
                    <a:pt x="884" y="559"/>
                  </a:lnTo>
                  <a:lnTo>
                    <a:pt x="884" y="562"/>
                  </a:lnTo>
                  <a:lnTo>
                    <a:pt x="882" y="568"/>
                  </a:lnTo>
                  <a:lnTo>
                    <a:pt x="881" y="576"/>
                  </a:lnTo>
                  <a:lnTo>
                    <a:pt x="881" y="579"/>
                  </a:lnTo>
                  <a:lnTo>
                    <a:pt x="881" y="581"/>
                  </a:lnTo>
                  <a:lnTo>
                    <a:pt x="881" y="582"/>
                  </a:lnTo>
                  <a:lnTo>
                    <a:pt x="881" y="584"/>
                  </a:lnTo>
                  <a:lnTo>
                    <a:pt x="882" y="585"/>
                  </a:lnTo>
                  <a:lnTo>
                    <a:pt x="882" y="587"/>
                  </a:lnTo>
                  <a:lnTo>
                    <a:pt x="882" y="588"/>
                  </a:lnTo>
                  <a:lnTo>
                    <a:pt x="884" y="589"/>
                  </a:lnTo>
                  <a:lnTo>
                    <a:pt x="885" y="591"/>
                  </a:lnTo>
                  <a:lnTo>
                    <a:pt x="894" y="597"/>
                  </a:lnTo>
                  <a:lnTo>
                    <a:pt x="906" y="605"/>
                  </a:lnTo>
                  <a:lnTo>
                    <a:pt x="907" y="606"/>
                  </a:lnTo>
                  <a:lnTo>
                    <a:pt x="908" y="607"/>
                  </a:lnTo>
                  <a:lnTo>
                    <a:pt x="908" y="608"/>
                  </a:lnTo>
                  <a:lnTo>
                    <a:pt x="909" y="609"/>
                  </a:lnTo>
                  <a:lnTo>
                    <a:pt x="908" y="609"/>
                  </a:lnTo>
                  <a:lnTo>
                    <a:pt x="908" y="610"/>
                  </a:lnTo>
                  <a:lnTo>
                    <a:pt x="907" y="611"/>
                  </a:lnTo>
                  <a:lnTo>
                    <a:pt x="905" y="613"/>
                  </a:lnTo>
                  <a:lnTo>
                    <a:pt x="904" y="614"/>
                  </a:lnTo>
                  <a:lnTo>
                    <a:pt x="903" y="615"/>
                  </a:lnTo>
                  <a:lnTo>
                    <a:pt x="903" y="616"/>
                  </a:lnTo>
                  <a:lnTo>
                    <a:pt x="903" y="617"/>
                  </a:lnTo>
                  <a:lnTo>
                    <a:pt x="903" y="618"/>
                  </a:lnTo>
                  <a:lnTo>
                    <a:pt x="904" y="619"/>
                  </a:lnTo>
                  <a:lnTo>
                    <a:pt x="905" y="620"/>
                  </a:lnTo>
                  <a:lnTo>
                    <a:pt x="906" y="621"/>
                  </a:lnTo>
                  <a:lnTo>
                    <a:pt x="908" y="622"/>
                  </a:lnTo>
                  <a:lnTo>
                    <a:pt x="910" y="623"/>
                  </a:lnTo>
                  <a:lnTo>
                    <a:pt x="913" y="624"/>
                  </a:lnTo>
                  <a:lnTo>
                    <a:pt x="916" y="625"/>
                  </a:lnTo>
                  <a:lnTo>
                    <a:pt x="922" y="627"/>
                  </a:lnTo>
                  <a:lnTo>
                    <a:pt x="923" y="627"/>
                  </a:lnTo>
                  <a:lnTo>
                    <a:pt x="925" y="627"/>
                  </a:lnTo>
                  <a:lnTo>
                    <a:pt x="926" y="628"/>
                  </a:lnTo>
                  <a:lnTo>
                    <a:pt x="927" y="629"/>
                  </a:lnTo>
                  <a:lnTo>
                    <a:pt x="927" y="630"/>
                  </a:lnTo>
                  <a:lnTo>
                    <a:pt x="928" y="633"/>
                  </a:lnTo>
                  <a:lnTo>
                    <a:pt x="928" y="634"/>
                  </a:lnTo>
                  <a:lnTo>
                    <a:pt x="928" y="635"/>
                  </a:lnTo>
                  <a:lnTo>
                    <a:pt x="928" y="637"/>
                  </a:lnTo>
                  <a:lnTo>
                    <a:pt x="928" y="639"/>
                  </a:lnTo>
                  <a:lnTo>
                    <a:pt x="927" y="640"/>
                  </a:lnTo>
                  <a:lnTo>
                    <a:pt x="926" y="642"/>
                  </a:lnTo>
                  <a:lnTo>
                    <a:pt x="924" y="646"/>
                  </a:lnTo>
                  <a:lnTo>
                    <a:pt x="922" y="650"/>
                  </a:lnTo>
                  <a:lnTo>
                    <a:pt x="916" y="658"/>
                  </a:lnTo>
                  <a:lnTo>
                    <a:pt x="914" y="661"/>
                  </a:lnTo>
                  <a:lnTo>
                    <a:pt x="913" y="661"/>
                  </a:lnTo>
                  <a:lnTo>
                    <a:pt x="912" y="663"/>
                  </a:lnTo>
                  <a:lnTo>
                    <a:pt x="912" y="665"/>
                  </a:lnTo>
                  <a:lnTo>
                    <a:pt x="912" y="667"/>
                  </a:lnTo>
                  <a:lnTo>
                    <a:pt x="912" y="669"/>
                  </a:lnTo>
                  <a:lnTo>
                    <a:pt x="912" y="672"/>
                  </a:lnTo>
                  <a:lnTo>
                    <a:pt x="912" y="673"/>
                  </a:lnTo>
                  <a:lnTo>
                    <a:pt x="913" y="675"/>
                  </a:lnTo>
                  <a:lnTo>
                    <a:pt x="914" y="677"/>
                  </a:lnTo>
                  <a:lnTo>
                    <a:pt x="916" y="679"/>
                  </a:lnTo>
                  <a:lnTo>
                    <a:pt x="919" y="684"/>
                  </a:lnTo>
                  <a:lnTo>
                    <a:pt x="921" y="686"/>
                  </a:lnTo>
                  <a:lnTo>
                    <a:pt x="922" y="688"/>
                  </a:lnTo>
                  <a:lnTo>
                    <a:pt x="923" y="690"/>
                  </a:lnTo>
                  <a:lnTo>
                    <a:pt x="923" y="692"/>
                  </a:lnTo>
                  <a:lnTo>
                    <a:pt x="924" y="693"/>
                  </a:lnTo>
                  <a:lnTo>
                    <a:pt x="924" y="695"/>
                  </a:lnTo>
                  <a:lnTo>
                    <a:pt x="923" y="695"/>
                  </a:lnTo>
                  <a:lnTo>
                    <a:pt x="923" y="697"/>
                  </a:lnTo>
                  <a:lnTo>
                    <a:pt x="922" y="698"/>
                  </a:lnTo>
                  <a:lnTo>
                    <a:pt x="921" y="699"/>
                  </a:lnTo>
                  <a:lnTo>
                    <a:pt x="920" y="700"/>
                  </a:lnTo>
                  <a:lnTo>
                    <a:pt x="917" y="702"/>
                  </a:lnTo>
                  <a:lnTo>
                    <a:pt x="911" y="706"/>
                  </a:lnTo>
                  <a:lnTo>
                    <a:pt x="908" y="708"/>
                  </a:lnTo>
                  <a:lnTo>
                    <a:pt x="906" y="710"/>
                  </a:lnTo>
                  <a:lnTo>
                    <a:pt x="904" y="713"/>
                  </a:lnTo>
                  <a:lnTo>
                    <a:pt x="902" y="716"/>
                  </a:lnTo>
                  <a:lnTo>
                    <a:pt x="900" y="718"/>
                  </a:lnTo>
                  <a:lnTo>
                    <a:pt x="899" y="721"/>
                  </a:lnTo>
                  <a:lnTo>
                    <a:pt x="897" y="724"/>
                  </a:lnTo>
                  <a:lnTo>
                    <a:pt x="896" y="727"/>
                  </a:lnTo>
                  <a:lnTo>
                    <a:pt x="895" y="730"/>
                  </a:lnTo>
                  <a:lnTo>
                    <a:pt x="894" y="732"/>
                  </a:lnTo>
                  <a:lnTo>
                    <a:pt x="894" y="735"/>
                  </a:lnTo>
                  <a:lnTo>
                    <a:pt x="894" y="737"/>
                  </a:lnTo>
                  <a:lnTo>
                    <a:pt x="894" y="740"/>
                  </a:lnTo>
                  <a:lnTo>
                    <a:pt x="894" y="741"/>
                  </a:lnTo>
                  <a:lnTo>
                    <a:pt x="894" y="743"/>
                  </a:lnTo>
                  <a:lnTo>
                    <a:pt x="894" y="745"/>
                  </a:lnTo>
                  <a:lnTo>
                    <a:pt x="894" y="747"/>
                  </a:lnTo>
                  <a:lnTo>
                    <a:pt x="895" y="748"/>
                  </a:lnTo>
                  <a:lnTo>
                    <a:pt x="895" y="750"/>
                  </a:lnTo>
                  <a:lnTo>
                    <a:pt x="897" y="751"/>
                  </a:lnTo>
                  <a:lnTo>
                    <a:pt x="899" y="752"/>
                  </a:lnTo>
                  <a:lnTo>
                    <a:pt x="902" y="755"/>
                  </a:lnTo>
                  <a:lnTo>
                    <a:pt x="907" y="759"/>
                  </a:lnTo>
                  <a:lnTo>
                    <a:pt x="910" y="762"/>
                  </a:lnTo>
                  <a:lnTo>
                    <a:pt x="912" y="763"/>
                  </a:lnTo>
                  <a:lnTo>
                    <a:pt x="913" y="763"/>
                  </a:lnTo>
                  <a:lnTo>
                    <a:pt x="914" y="765"/>
                  </a:lnTo>
                  <a:lnTo>
                    <a:pt x="915" y="767"/>
                  </a:lnTo>
                  <a:lnTo>
                    <a:pt x="916" y="769"/>
                  </a:lnTo>
                  <a:lnTo>
                    <a:pt x="916" y="770"/>
                  </a:lnTo>
                  <a:lnTo>
                    <a:pt x="917" y="772"/>
                  </a:lnTo>
                  <a:lnTo>
                    <a:pt x="917" y="774"/>
                  </a:lnTo>
                  <a:lnTo>
                    <a:pt x="917" y="778"/>
                  </a:lnTo>
                  <a:lnTo>
                    <a:pt x="917" y="780"/>
                  </a:lnTo>
                  <a:lnTo>
                    <a:pt x="917" y="783"/>
                  </a:lnTo>
                  <a:lnTo>
                    <a:pt x="917" y="785"/>
                  </a:lnTo>
                  <a:lnTo>
                    <a:pt x="916" y="786"/>
                  </a:lnTo>
                  <a:lnTo>
                    <a:pt x="915" y="788"/>
                  </a:lnTo>
                  <a:lnTo>
                    <a:pt x="913" y="790"/>
                  </a:lnTo>
                  <a:lnTo>
                    <a:pt x="910" y="792"/>
                  </a:lnTo>
                  <a:lnTo>
                    <a:pt x="907" y="794"/>
                  </a:lnTo>
                  <a:lnTo>
                    <a:pt x="905" y="796"/>
                  </a:lnTo>
                  <a:lnTo>
                    <a:pt x="899" y="797"/>
                  </a:lnTo>
                  <a:lnTo>
                    <a:pt x="897" y="799"/>
                  </a:lnTo>
                  <a:lnTo>
                    <a:pt x="895" y="800"/>
                  </a:lnTo>
                  <a:lnTo>
                    <a:pt x="894" y="801"/>
                  </a:lnTo>
                  <a:lnTo>
                    <a:pt x="894" y="802"/>
                  </a:lnTo>
                  <a:lnTo>
                    <a:pt x="893" y="804"/>
                  </a:lnTo>
                  <a:lnTo>
                    <a:pt x="892" y="805"/>
                  </a:lnTo>
                  <a:lnTo>
                    <a:pt x="891" y="808"/>
                  </a:lnTo>
                  <a:lnTo>
                    <a:pt x="890" y="809"/>
                  </a:lnTo>
                  <a:lnTo>
                    <a:pt x="890" y="811"/>
                  </a:lnTo>
                  <a:lnTo>
                    <a:pt x="890" y="813"/>
                  </a:lnTo>
                  <a:lnTo>
                    <a:pt x="890" y="815"/>
                  </a:lnTo>
                  <a:lnTo>
                    <a:pt x="892" y="821"/>
                  </a:lnTo>
                  <a:lnTo>
                    <a:pt x="893" y="823"/>
                  </a:lnTo>
                  <a:lnTo>
                    <a:pt x="893" y="826"/>
                  </a:lnTo>
                  <a:lnTo>
                    <a:pt x="893" y="828"/>
                  </a:lnTo>
                  <a:lnTo>
                    <a:pt x="893" y="829"/>
                  </a:lnTo>
                  <a:lnTo>
                    <a:pt x="893" y="831"/>
                  </a:lnTo>
                  <a:lnTo>
                    <a:pt x="892" y="831"/>
                  </a:lnTo>
                  <a:lnTo>
                    <a:pt x="891" y="833"/>
                  </a:lnTo>
                  <a:lnTo>
                    <a:pt x="890" y="835"/>
                  </a:lnTo>
                  <a:lnTo>
                    <a:pt x="889" y="836"/>
                  </a:lnTo>
                  <a:lnTo>
                    <a:pt x="887" y="838"/>
                  </a:lnTo>
                  <a:lnTo>
                    <a:pt x="885" y="839"/>
                  </a:lnTo>
                  <a:lnTo>
                    <a:pt x="883" y="840"/>
                  </a:lnTo>
                  <a:lnTo>
                    <a:pt x="882" y="841"/>
                  </a:lnTo>
                  <a:lnTo>
                    <a:pt x="878" y="842"/>
                  </a:lnTo>
                  <a:lnTo>
                    <a:pt x="877" y="843"/>
                  </a:lnTo>
                  <a:lnTo>
                    <a:pt x="876" y="843"/>
                  </a:lnTo>
                  <a:lnTo>
                    <a:pt x="876" y="843"/>
                  </a:lnTo>
                  <a:lnTo>
                    <a:pt x="875" y="843"/>
                  </a:lnTo>
                  <a:lnTo>
                    <a:pt x="875" y="844"/>
                  </a:lnTo>
                  <a:lnTo>
                    <a:pt x="875" y="845"/>
                  </a:lnTo>
                  <a:lnTo>
                    <a:pt x="875" y="847"/>
                  </a:lnTo>
                  <a:lnTo>
                    <a:pt x="876" y="849"/>
                  </a:lnTo>
                  <a:lnTo>
                    <a:pt x="877" y="851"/>
                  </a:lnTo>
                  <a:lnTo>
                    <a:pt x="879" y="853"/>
                  </a:lnTo>
                  <a:lnTo>
                    <a:pt x="882" y="855"/>
                  </a:lnTo>
                  <a:lnTo>
                    <a:pt x="885" y="858"/>
                  </a:lnTo>
                  <a:lnTo>
                    <a:pt x="893" y="865"/>
                  </a:lnTo>
                  <a:lnTo>
                    <a:pt x="894" y="867"/>
                  </a:lnTo>
                  <a:lnTo>
                    <a:pt x="896" y="869"/>
                  </a:lnTo>
                  <a:lnTo>
                    <a:pt x="898" y="871"/>
                  </a:lnTo>
                  <a:lnTo>
                    <a:pt x="899" y="873"/>
                  </a:lnTo>
                  <a:lnTo>
                    <a:pt x="900" y="875"/>
                  </a:lnTo>
                  <a:lnTo>
                    <a:pt x="900" y="877"/>
                  </a:lnTo>
                  <a:lnTo>
                    <a:pt x="900" y="877"/>
                  </a:lnTo>
                  <a:lnTo>
                    <a:pt x="900" y="879"/>
                  </a:lnTo>
                  <a:lnTo>
                    <a:pt x="899" y="880"/>
                  </a:lnTo>
                  <a:lnTo>
                    <a:pt x="898" y="882"/>
                  </a:lnTo>
                  <a:lnTo>
                    <a:pt x="897" y="883"/>
                  </a:lnTo>
                  <a:lnTo>
                    <a:pt x="896" y="885"/>
                  </a:lnTo>
                  <a:lnTo>
                    <a:pt x="894" y="887"/>
                  </a:lnTo>
                  <a:lnTo>
                    <a:pt x="890" y="890"/>
                  </a:lnTo>
                  <a:lnTo>
                    <a:pt x="888" y="892"/>
                  </a:lnTo>
                  <a:lnTo>
                    <a:pt x="887" y="893"/>
                  </a:lnTo>
                  <a:lnTo>
                    <a:pt x="886" y="895"/>
                  </a:lnTo>
                  <a:lnTo>
                    <a:pt x="885" y="897"/>
                  </a:lnTo>
                  <a:lnTo>
                    <a:pt x="883" y="901"/>
                  </a:lnTo>
                  <a:lnTo>
                    <a:pt x="882" y="903"/>
                  </a:lnTo>
                  <a:lnTo>
                    <a:pt x="881" y="905"/>
                  </a:lnTo>
                  <a:lnTo>
                    <a:pt x="880" y="908"/>
                  </a:lnTo>
                  <a:lnTo>
                    <a:pt x="878" y="910"/>
                  </a:lnTo>
                  <a:lnTo>
                    <a:pt x="877" y="911"/>
                  </a:lnTo>
                  <a:lnTo>
                    <a:pt x="875" y="911"/>
                  </a:lnTo>
                  <a:lnTo>
                    <a:pt x="874" y="913"/>
                  </a:lnTo>
                  <a:lnTo>
                    <a:pt x="872" y="914"/>
                  </a:lnTo>
                  <a:lnTo>
                    <a:pt x="871" y="914"/>
                  </a:lnTo>
                  <a:lnTo>
                    <a:pt x="870" y="915"/>
                  </a:lnTo>
                  <a:lnTo>
                    <a:pt x="868" y="916"/>
                  </a:lnTo>
                  <a:lnTo>
                    <a:pt x="863" y="917"/>
                  </a:lnTo>
                  <a:lnTo>
                    <a:pt x="858" y="918"/>
                  </a:lnTo>
                  <a:lnTo>
                    <a:pt x="849" y="920"/>
                  </a:lnTo>
                  <a:lnTo>
                    <a:pt x="841" y="921"/>
                  </a:lnTo>
                  <a:lnTo>
                    <a:pt x="837" y="921"/>
                  </a:lnTo>
                  <a:lnTo>
                    <a:pt x="833" y="922"/>
                  </a:lnTo>
                  <a:lnTo>
                    <a:pt x="829" y="923"/>
                  </a:lnTo>
                  <a:lnTo>
                    <a:pt x="827" y="924"/>
                  </a:lnTo>
                  <a:lnTo>
                    <a:pt x="825" y="925"/>
                  </a:lnTo>
                  <a:lnTo>
                    <a:pt x="823" y="926"/>
                  </a:lnTo>
                  <a:lnTo>
                    <a:pt x="821" y="928"/>
                  </a:lnTo>
                  <a:lnTo>
                    <a:pt x="819" y="930"/>
                  </a:lnTo>
                  <a:lnTo>
                    <a:pt x="818" y="932"/>
                  </a:lnTo>
                  <a:lnTo>
                    <a:pt x="817" y="934"/>
                  </a:lnTo>
                  <a:lnTo>
                    <a:pt x="817" y="936"/>
                  </a:lnTo>
                  <a:lnTo>
                    <a:pt x="817" y="938"/>
                  </a:lnTo>
                  <a:lnTo>
                    <a:pt x="817" y="944"/>
                  </a:lnTo>
                  <a:lnTo>
                    <a:pt x="817" y="945"/>
                  </a:lnTo>
                  <a:lnTo>
                    <a:pt x="817" y="946"/>
                  </a:lnTo>
                  <a:lnTo>
                    <a:pt x="816" y="947"/>
                  </a:lnTo>
                  <a:lnTo>
                    <a:pt x="816" y="948"/>
                  </a:lnTo>
                  <a:lnTo>
                    <a:pt x="815" y="950"/>
                  </a:lnTo>
                  <a:lnTo>
                    <a:pt x="814" y="951"/>
                  </a:lnTo>
                  <a:lnTo>
                    <a:pt x="813" y="952"/>
                  </a:lnTo>
                  <a:lnTo>
                    <a:pt x="805" y="956"/>
                  </a:lnTo>
                  <a:lnTo>
                    <a:pt x="803" y="957"/>
                  </a:lnTo>
                  <a:lnTo>
                    <a:pt x="802" y="958"/>
                  </a:lnTo>
                  <a:lnTo>
                    <a:pt x="799" y="958"/>
                  </a:lnTo>
                  <a:lnTo>
                    <a:pt x="793" y="959"/>
                  </a:lnTo>
                  <a:lnTo>
                    <a:pt x="783" y="961"/>
                  </a:lnTo>
                  <a:lnTo>
                    <a:pt x="778" y="963"/>
                  </a:lnTo>
                  <a:lnTo>
                    <a:pt x="776" y="963"/>
                  </a:lnTo>
                  <a:lnTo>
                    <a:pt x="773" y="963"/>
                  </a:lnTo>
                  <a:lnTo>
                    <a:pt x="768" y="962"/>
                  </a:lnTo>
                  <a:lnTo>
                    <a:pt x="762" y="961"/>
                  </a:lnTo>
                  <a:lnTo>
                    <a:pt x="759" y="960"/>
                  </a:lnTo>
                  <a:lnTo>
                    <a:pt x="754" y="959"/>
                  </a:lnTo>
                  <a:lnTo>
                    <a:pt x="751" y="958"/>
                  </a:lnTo>
                  <a:lnTo>
                    <a:pt x="746" y="957"/>
                  </a:lnTo>
                  <a:lnTo>
                    <a:pt x="743" y="957"/>
                  </a:lnTo>
                  <a:lnTo>
                    <a:pt x="741" y="957"/>
                  </a:lnTo>
                  <a:lnTo>
                    <a:pt x="739" y="957"/>
                  </a:lnTo>
                  <a:lnTo>
                    <a:pt x="737" y="958"/>
                  </a:lnTo>
                  <a:lnTo>
                    <a:pt x="736" y="959"/>
                  </a:lnTo>
                  <a:lnTo>
                    <a:pt x="733" y="962"/>
                  </a:lnTo>
                  <a:lnTo>
                    <a:pt x="731" y="964"/>
                  </a:lnTo>
                  <a:lnTo>
                    <a:pt x="726" y="967"/>
                  </a:lnTo>
                  <a:lnTo>
                    <a:pt x="723" y="967"/>
                  </a:lnTo>
                  <a:lnTo>
                    <a:pt x="721" y="968"/>
                  </a:lnTo>
                  <a:lnTo>
                    <a:pt x="717" y="969"/>
                  </a:lnTo>
                  <a:lnTo>
                    <a:pt x="713" y="969"/>
                  </a:lnTo>
                  <a:lnTo>
                    <a:pt x="711" y="969"/>
                  </a:lnTo>
                  <a:lnTo>
                    <a:pt x="709" y="969"/>
                  </a:lnTo>
                  <a:lnTo>
                    <a:pt x="707" y="968"/>
                  </a:lnTo>
                  <a:lnTo>
                    <a:pt x="705" y="967"/>
                  </a:lnTo>
                  <a:lnTo>
                    <a:pt x="702" y="967"/>
                  </a:lnTo>
                  <a:lnTo>
                    <a:pt x="700" y="965"/>
                  </a:lnTo>
                  <a:lnTo>
                    <a:pt x="693" y="961"/>
                  </a:lnTo>
                  <a:lnTo>
                    <a:pt x="691" y="959"/>
                  </a:lnTo>
                  <a:lnTo>
                    <a:pt x="690" y="957"/>
                  </a:lnTo>
                  <a:lnTo>
                    <a:pt x="689" y="956"/>
                  </a:lnTo>
                  <a:lnTo>
                    <a:pt x="687" y="953"/>
                  </a:lnTo>
                  <a:lnTo>
                    <a:pt x="685" y="950"/>
                  </a:lnTo>
                  <a:lnTo>
                    <a:pt x="683" y="949"/>
                  </a:lnTo>
                  <a:lnTo>
                    <a:pt x="682" y="948"/>
                  </a:lnTo>
                  <a:lnTo>
                    <a:pt x="681" y="947"/>
                  </a:lnTo>
                  <a:lnTo>
                    <a:pt x="680" y="946"/>
                  </a:lnTo>
                  <a:lnTo>
                    <a:pt x="679" y="946"/>
                  </a:lnTo>
                  <a:lnTo>
                    <a:pt x="678" y="946"/>
                  </a:lnTo>
                  <a:lnTo>
                    <a:pt x="675" y="946"/>
                  </a:lnTo>
                  <a:lnTo>
                    <a:pt x="673" y="947"/>
                  </a:lnTo>
                  <a:lnTo>
                    <a:pt x="670" y="948"/>
                  </a:lnTo>
                  <a:lnTo>
                    <a:pt x="666" y="950"/>
                  </a:lnTo>
                  <a:lnTo>
                    <a:pt x="665" y="951"/>
                  </a:lnTo>
                  <a:lnTo>
                    <a:pt x="663" y="952"/>
                  </a:lnTo>
                  <a:lnTo>
                    <a:pt x="662" y="953"/>
                  </a:lnTo>
                  <a:lnTo>
                    <a:pt x="661" y="954"/>
                  </a:lnTo>
                  <a:lnTo>
                    <a:pt x="656" y="959"/>
                  </a:lnTo>
                  <a:lnTo>
                    <a:pt x="654" y="962"/>
                  </a:lnTo>
                  <a:lnTo>
                    <a:pt x="652" y="963"/>
                  </a:lnTo>
                  <a:lnTo>
                    <a:pt x="650" y="965"/>
                  </a:lnTo>
                  <a:lnTo>
                    <a:pt x="648" y="966"/>
                  </a:lnTo>
                  <a:lnTo>
                    <a:pt x="647" y="967"/>
                  </a:lnTo>
                  <a:lnTo>
                    <a:pt x="645" y="967"/>
                  </a:lnTo>
                  <a:lnTo>
                    <a:pt x="644" y="967"/>
                  </a:lnTo>
                  <a:lnTo>
                    <a:pt x="643" y="967"/>
                  </a:lnTo>
                  <a:lnTo>
                    <a:pt x="641" y="967"/>
                  </a:lnTo>
                  <a:lnTo>
                    <a:pt x="639" y="967"/>
                  </a:lnTo>
                  <a:lnTo>
                    <a:pt x="633" y="967"/>
                  </a:lnTo>
                  <a:lnTo>
                    <a:pt x="632" y="967"/>
                  </a:lnTo>
                  <a:lnTo>
                    <a:pt x="630" y="967"/>
                  </a:lnTo>
                  <a:lnTo>
                    <a:pt x="629" y="967"/>
                  </a:lnTo>
                  <a:lnTo>
                    <a:pt x="628" y="967"/>
                  </a:lnTo>
                  <a:lnTo>
                    <a:pt x="627" y="967"/>
                  </a:lnTo>
                  <a:lnTo>
                    <a:pt x="626" y="968"/>
                  </a:lnTo>
                  <a:lnTo>
                    <a:pt x="624" y="969"/>
                  </a:lnTo>
                  <a:lnTo>
                    <a:pt x="623" y="970"/>
                  </a:lnTo>
                  <a:lnTo>
                    <a:pt x="622" y="972"/>
                  </a:lnTo>
                  <a:lnTo>
                    <a:pt x="621" y="974"/>
                  </a:lnTo>
                  <a:lnTo>
                    <a:pt x="620" y="979"/>
                  </a:lnTo>
                  <a:lnTo>
                    <a:pt x="617" y="984"/>
                  </a:lnTo>
                  <a:lnTo>
                    <a:pt x="616" y="987"/>
                  </a:lnTo>
                  <a:lnTo>
                    <a:pt x="615" y="988"/>
                  </a:lnTo>
                  <a:lnTo>
                    <a:pt x="614" y="990"/>
                  </a:lnTo>
                  <a:lnTo>
                    <a:pt x="612" y="991"/>
                  </a:lnTo>
                  <a:lnTo>
                    <a:pt x="611" y="992"/>
                  </a:lnTo>
                  <a:lnTo>
                    <a:pt x="610" y="993"/>
                  </a:lnTo>
                  <a:lnTo>
                    <a:pt x="609" y="993"/>
                  </a:lnTo>
                  <a:lnTo>
                    <a:pt x="607" y="994"/>
                  </a:lnTo>
                  <a:lnTo>
                    <a:pt x="604" y="994"/>
                  </a:lnTo>
                  <a:lnTo>
                    <a:pt x="598" y="994"/>
                  </a:lnTo>
                  <a:lnTo>
                    <a:pt x="595" y="994"/>
                  </a:lnTo>
                  <a:lnTo>
                    <a:pt x="589" y="995"/>
                  </a:lnTo>
                  <a:lnTo>
                    <a:pt x="585" y="996"/>
                  </a:lnTo>
                  <a:lnTo>
                    <a:pt x="581" y="997"/>
                  </a:lnTo>
                  <a:lnTo>
                    <a:pt x="574" y="999"/>
                  </a:lnTo>
                  <a:lnTo>
                    <a:pt x="571" y="1001"/>
                  </a:lnTo>
                  <a:lnTo>
                    <a:pt x="567" y="1002"/>
                  </a:lnTo>
                  <a:lnTo>
                    <a:pt x="564" y="1005"/>
                  </a:lnTo>
                  <a:lnTo>
                    <a:pt x="562" y="1007"/>
                  </a:lnTo>
                  <a:lnTo>
                    <a:pt x="561" y="1008"/>
                  </a:lnTo>
                  <a:lnTo>
                    <a:pt x="559" y="1010"/>
                  </a:lnTo>
                  <a:lnTo>
                    <a:pt x="556" y="1014"/>
                  </a:lnTo>
                  <a:lnTo>
                    <a:pt x="554" y="1017"/>
                  </a:lnTo>
                  <a:lnTo>
                    <a:pt x="550" y="1022"/>
                  </a:lnTo>
                  <a:lnTo>
                    <a:pt x="547" y="1024"/>
                  </a:lnTo>
                  <a:lnTo>
                    <a:pt x="544" y="1026"/>
                  </a:lnTo>
                  <a:lnTo>
                    <a:pt x="541" y="1029"/>
                  </a:lnTo>
                  <a:lnTo>
                    <a:pt x="539" y="1030"/>
                  </a:lnTo>
                  <a:lnTo>
                    <a:pt x="532" y="1034"/>
                  </a:lnTo>
                  <a:lnTo>
                    <a:pt x="530" y="1035"/>
                  </a:lnTo>
                  <a:lnTo>
                    <a:pt x="528" y="1036"/>
                  </a:lnTo>
                  <a:lnTo>
                    <a:pt x="526" y="1038"/>
                  </a:lnTo>
                  <a:lnTo>
                    <a:pt x="524" y="1040"/>
                  </a:lnTo>
                  <a:lnTo>
                    <a:pt x="519" y="1045"/>
                  </a:lnTo>
                  <a:lnTo>
                    <a:pt x="516" y="1048"/>
                  </a:lnTo>
                  <a:lnTo>
                    <a:pt x="515" y="1050"/>
                  </a:lnTo>
                  <a:lnTo>
                    <a:pt x="512" y="1053"/>
                  </a:lnTo>
                  <a:lnTo>
                    <a:pt x="508" y="1058"/>
                  </a:lnTo>
                  <a:lnTo>
                    <a:pt x="507" y="1060"/>
                  </a:lnTo>
                  <a:lnTo>
                    <a:pt x="506" y="1061"/>
                  </a:lnTo>
                  <a:lnTo>
                    <a:pt x="505" y="1062"/>
                  </a:lnTo>
                  <a:lnTo>
                    <a:pt x="503" y="1063"/>
                  </a:lnTo>
                  <a:lnTo>
                    <a:pt x="502" y="1063"/>
                  </a:lnTo>
                  <a:lnTo>
                    <a:pt x="500" y="1062"/>
                  </a:lnTo>
                  <a:lnTo>
                    <a:pt x="499" y="1062"/>
                  </a:lnTo>
                  <a:lnTo>
                    <a:pt x="497" y="1061"/>
                  </a:lnTo>
                  <a:lnTo>
                    <a:pt x="496" y="1060"/>
                  </a:lnTo>
                  <a:lnTo>
                    <a:pt x="491" y="1057"/>
                  </a:lnTo>
                  <a:lnTo>
                    <a:pt x="488" y="1056"/>
                  </a:lnTo>
                  <a:lnTo>
                    <a:pt x="485" y="1054"/>
                  </a:lnTo>
                  <a:lnTo>
                    <a:pt x="482" y="1053"/>
                  </a:lnTo>
                  <a:lnTo>
                    <a:pt x="480" y="1052"/>
                  </a:lnTo>
                  <a:lnTo>
                    <a:pt x="477" y="1051"/>
                  </a:lnTo>
                  <a:lnTo>
                    <a:pt x="474" y="1051"/>
                  </a:lnTo>
                  <a:lnTo>
                    <a:pt x="472" y="1051"/>
                  </a:lnTo>
                  <a:lnTo>
                    <a:pt x="462" y="1053"/>
                  </a:lnTo>
                  <a:lnTo>
                    <a:pt x="459" y="1053"/>
                  </a:lnTo>
                  <a:lnTo>
                    <a:pt x="457" y="1054"/>
                  </a:lnTo>
                  <a:lnTo>
                    <a:pt x="456" y="1054"/>
                  </a:lnTo>
                  <a:lnTo>
                    <a:pt x="455" y="1055"/>
                  </a:lnTo>
                  <a:lnTo>
                    <a:pt x="454" y="1056"/>
                  </a:lnTo>
                  <a:lnTo>
                    <a:pt x="452" y="1057"/>
                  </a:lnTo>
                  <a:lnTo>
                    <a:pt x="451" y="1058"/>
                  </a:lnTo>
                  <a:lnTo>
                    <a:pt x="448" y="1064"/>
                  </a:lnTo>
                  <a:lnTo>
                    <a:pt x="444" y="1068"/>
                  </a:lnTo>
                  <a:lnTo>
                    <a:pt x="443" y="1069"/>
                  </a:lnTo>
                  <a:lnTo>
                    <a:pt x="441" y="1071"/>
                  </a:lnTo>
                  <a:lnTo>
                    <a:pt x="439" y="1073"/>
                  </a:lnTo>
                  <a:lnTo>
                    <a:pt x="439" y="1075"/>
                  </a:lnTo>
                  <a:lnTo>
                    <a:pt x="437" y="1076"/>
                  </a:lnTo>
                  <a:lnTo>
                    <a:pt x="435" y="1077"/>
                  </a:lnTo>
                  <a:lnTo>
                    <a:pt x="434" y="1077"/>
                  </a:lnTo>
                  <a:lnTo>
                    <a:pt x="433" y="1077"/>
                  </a:lnTo>
                  <a:lnTo>
                    <a:pt x="430" y="1077"/>
                  </a:lnTo>
                  <a:lnTo>
                    <a:pt x="428" y="1076"/>
                  </a:lnTo>
                  <a:lnTo>
                    <a:pt x="425" y="1076"/>
                  </a:lnTo>
                  <a:lnTo>
                    <a:pt x="423" y="1075"/>
                  </a:lnTo>
                  <a:lnTo>
                    <a:pt x="421" y="1074"/>
                  </a:lnTo>
                  <a:lnTo>
                    <a:pt x="420" y="1073"/>
                  </a:lnTo>
                  <a:lnTo>
                    <a:pt x="416" y="1069"/>
                  </a:lnTo>
                  <a:lnTo>
                    <a:pt x="413" y="1068"/>
                  </a:lnTo>
                  <a:lnTo>
                    <a:pt x="411" y="1067"/>
                  </a:lnTo>
                  <a:lnTo>
                    <a:pt x="409" y="1066"/>
                  </a:lnTo>
                  <a:lnTo>
                    <a:pt x="407" y="1066"/>
                  </a:lnTo>
                  <a:lnTo>
                    <a:pt x="405" y="1066"/>
                  </a:lnTo>
                  <a:lnTo>
                    <a:pt x="403" y="1066"/>
                  </a:lnTo>
                  <a:lnTo>
                    <a:pt x="401" y="1066"/>
                  </a:lnTo>
                  <a:lnTo>
                    <a:pt x="397" y="1067"/>
                  </a:lnTo>
                  <a:lnTo>
                    <a:pt x="395" y="1068"/>
                  </a:lnTo>
                  <a:lnTo>
                    <a:pt x="394" y="1069"/>
                  </a:lnTo>
                  <a:lnTo>
                    <a:pt x="392" y="1069"/>
                  </a:lnTo>
                  <a:lnTo>
                    <a:pt x="391" y="1070"/>
                  </a:lnTo>
                  <a:lnTo>
                    <a:pt x="391" y="1071"/>
                  </a:lnTo>
                  <a:lnTo>
                    <a:pt x="391" y="1072"/>
                  </a:lnTo>
                  <a:lnTo>
                    <a:pt x="390" y="1071"/>
                  </a:lnTo>
                  <a:lnTo>
                    <a:pt x="389" y="1069"/>
                  </a:lnTo>
                  <a:lnTo>
                    <a:pt x="388" y="1068"/>
                  </a:lnTo>
                  <a:lnTo>
                    <a:pt x="385" y="1062"/>
                  </a:lnTo>
                  <a:lnTo>
                    <a:pt x="384" y="1060"/>
                  </a:lnTo>
                  <a:lnTo>
                    <a:pt x="382" y="1058"/>
                  </a:lnTo>
                  <a:lnTo>
                    <a:pt x="382" y="1057"/>
                  </a:lnTo>
                  <a:lnTo>
                    <a:pt x="380" y="1055"/>
                  </a:lnTo>
                  <a:lnTo>
                    <a:pt x="378" y="1053"/>
                  </a:lnTo>
                  <a:lnTo>
                    <a:pt x="376" y="1051"/>
                  </a:lnTo>
                  <a:lnTo>
                    <a:pt x="372" y="1048"/>
                  </a:lnTo>
                  <a:lnTo>
                    <a:pt x="370" y="1047"/>
                  </a:lnTo>
                  <a:lnTo>
                    <a:pt x="367" y="1046"/>
                  </a:lnTo>
                  <a:lnTo>
                    <a:pt x="363" y="1043"/>
                  </a:lnTo>
                  <a:lnTo>
                    <a:pt x="357" y="1040"/>
                  </a:lnTo>
                  <a:lnTo>
                    <a:pt x="353" y="1039"/>
                  </a:lnTo>
                  <a:lnTo>
                    <a:pt x="350" y="1037"/>
                  </a:lnTo>
                  <a:lnTo>
                    <a:pt x="348" y="1035"/>
                  </a:lnTo>
                  <a:lnTo>
                    <a:pt x="347" y="1034"/>
                  </a:lnTo>
                  <a:lnTo>
                    <a:pt x="345" y="1032"/>
                  </a:lnTo>
                  <a:lnTo>
                    <a:pt x="344" y="1030"/>
                  </a:lnTo>
                  <a:lnTo>
                    <a:pt x="340" y="1024"/>
                  </a:lnTo>
                  <a:lnTo>
                    <a:pt x="339" y="1023"/>
                  </a:lnTo>
                  <a:lnTo>
                    <a:pt x="337" y="1021"/>
                  </a:lnTo>
                  <a:lnTo>
                    <a:pt x="337" y="1020"/>
                  </a:lnTo>
                  <a:lnTo>
                    <a:pt x="335" y="1019"/>
                  </a:lnTo>
                  <a:lnTo>
                    <a:pt x="334" y="1018"/>
                  </a:lnTo>
                  <a:lnTo>
                    <a:pt x="332" y="1018"/>
                  </a:lnTo>
                  <a:lnTo>
                    <a:pt x="331" y="1017"/>
                  </a:lnTo>
                  <a:lnTo>
                    <a:pt x="328" y="1017"/>
                  </a:lnTo>
                  <a:lnTo>
                    <a:pt x="324" y="1016"/>
                  </a:lnTo>
                  <a:lnTo>
                    <a:pt x="322" y="1016"/>
                  </a:lnTo>
                  <a:lnTo>
                    <a:pt x="321" y="1016"/>
                  </a:lnTo>
                  <a:lnTo>
                    <a:pt x="320" y="1015"/>
                  </a:lnTo>
                  <a:lnTo>
                    <a:pt x="319" y="1014"/>
                  </a:lnTo>
                  <a:lnTo>
                    <a:pt x="319" y="1013"/>
                  </a:lnTo>
                  <a:lnTo>
                    <a:pt x="319" y="1013"/>
                  </a:lnTo>
                  <a:lnTo>
                    <a:pt x="319" y="1012"/>
                  </a:lnTo>
                  <a:lnTo>
                    <a:pt x="319" y="1011"/>
                  </a:lnTo>
                  <a:lnTo>
                    <a:pt x="319" y="1009"/>
                  </a:lnTo>
                  <a:lnTo>
                    <a:pt x="320" y="1007"/>
                  </a:lnTo>
                  <a:lnTo>
                    <a:pt x="321" y="1005"/>
                  </a:lnTo>
                  <a:lnTo>
                    <a:pt x="323" y="1002"/>
                  </a:lnTo>
                  <a:lnTo>
                    <a:pt x="325" y="999"/>
                  </a:lnTo>
                  <a:lnTo>
                    <a:pt x="329" y="995"/>
                  </a:lnTo>
                  <a:lnTo>
                    <a:pt x="330" y="993"/>
                  </a:lnTo>
                  <a:lnTo>
                    <a:pt x="334" y="990"/>
                  </a:lnTo>
                  <a:lnTo>
                    <a:pt x="339" y="983"/>
                  </a:lnTo>
                  <a:lnTo>
                    <a:pt x="341" y="981"/>
                  </a:lnTo>
                  <a:lnTo>
                    <a:pt x="343" y="979"/>
                  </a:lnTo>
                  <a:lnTo>
                    <a:pt x="344" y="978"/>
                  </a:lnTo>
                  <a:lnTo>
                    <a:pt x="345" y="975"/>
                  </a:lnTo>
                  <a:lnTo>
                    <a:pt x="347" y="968"/>
                  </a:lnTo>
                  <a:lnTo>
                    <a:pt x="348" y="967"/>
                  </a:lnTo>
                  <a:lnTo>
                    <a:pt x="348" y="965"/>
                  </a:lnTo>
                  <a:lnTo>
                    <a:pt x="353" y="958"/>
                  </a:lnTo>
                  <a:lnTo>
                    <a:pt x="354" y="956"/>
                  </a:lnTo>
                  <a:lnTo>
                    <a:pt x="355" y="955"/>
                  </a:lnTo>
                  <a:lnTo>
                    <a:pt x="356" y="953"/>
                  </a:lnTo>
                  <a:lnTo>
                    <a:pt x="356" y="951"/>
                  </a:lnTo>
                  <a:lnTo>
                    <a:pt x="357" y="946"/>
                  </a:lnTo>
                  <a:lnTo>
                    <a:pt x="358" y="944"/>
                  </a:lnTo>
                  <a:lnTo>
                    <a:pt x="359" y="941"/>
                  </a:lnTo>
                  <a:lnTo>
                    <a:pt x="360" y="938"/>
                  </a:lnTo>
                  <a:lnTo>
                    <a:pt x="362" y="934"/>
                  </a:lnTo>
                  <a:lnTo>
                    <a:pt x="365" y="930"/>
                  </a:lnTo>
                  <a:lnTo>
                    <a:pt x="367" y="928"/>
                  </a:lnTo>
                  <a:lnTo>
                    <a:pt x="368" y="927"/>
                  </a:lnTo>
                  <a:lnTo>
                    <a:pt x="369" y="926"/>
                  </a:lnTo>
                  <a:lnTo>
                    <a:pt x="370" y="925"/>
                  </a:lnTo>
                  <a:lnTo>
                    <a:pt x="371" y="924"/>
                  </a:lnTo>
                  <a:lnTo>
                    <a:pt x="373" y="924"/>
                  </a:lnTo>
                  <a:lnTo>
                    <a:pt x="379" y="922"/>
                  </a:lnTo>
                  <a:lnTo>
                    <a:pt x="384" y="922"/>
                  </a:lnTo>
                  <a:lnTo>
                    <a:pt x="387" y="921"/>
                  </a:lnTo>
                  <a:lnTo>
                    <a:pt x="389" y="920"/>
                  </a:lnTo>
                  <a:lnTo>
                    <a:pt x="391" y="919"/>
                  </a:lnTo>
                  <a:lnTo>
                    <a:pt x="392" y="918"/>
                  </a:lnTo>
                  <a:lnTo>
                    <a:pt x="393" y="917"/>
                  </a:lnTo>
                  <a:lnTo>
                    <a:pt x="394" y="916"/>
                  </a:lnTo>
                  <a:lnTo>
                    <a:pt x="394" y="913"/>
                  </a:lnTo>
                  <a:lnTo>
                    <a:pt x="395" y="910"/>
                  </a:lnTo>
                  <a:lnTo>
                    <a:pt x="396" y="908"/>
                  </a:lnTo>
                  <a:lnTo>
                    <a:pt x="396" y="906"/>
                  </a:lnTo>
                  <a:lnTo>
                    <a:pt x="396" y="904"/>
                  </a:lnTo>
                  <a:lnTo>
                    <a:pt x="395" y="903"/>
                  </a:lnTo>
                  <a:lnTo>
                    <a:pt x="394" y="901"/>
                  </a:lnTo>
                  <a:lnTo>
                    <a:pt x="394" y="899"/>
                  </a:lnTo>
                  <a:lnTo>
                    <a:pt x="388" y="891"/>
                  </a:lnTo>
                  <a:lnTo>
                    <a:pt x="387" y="889"/>
                  </a:lnTo>
                  <a:lnTo>
                    <a:pt x="385" y="888"/>
                  </a:lnTo>
                  <a:lnTo>
                    <a:pt x="383" y="887"/>
                  </a:lnTo>
                  <a:lnTo>
                    <a:pt x="379" y="884"/>
                  </a:lnTo>
                  <a:lnTo>
                    <a:pt x="376" y="882"/>
                  </a:lnTo>
                  <a:lnTo>
                    <a:pt x="374" y="880"/>
                  </a:lnTo>
                  <a:lnTo>
                    <a:pt x="372" y="878"/>
                  </a:lnTo>
                  <a:lnTo>
                    <a:pt x="371" y="877"/>
                  </a:lnTo>
                  <a:lnTo>
                    <a:pt x="371" y="877"/>
                  </a:lnTo>
                  <a:lnTo>
                    <a:pt x="370" y="875"/>
                  </a:lnTo>
                  <a:lnTo>
                    <a:pt x="370" y="873"/>
                  </a:lnTo>
                  <a:lnTo>
                    <a:pt x="370" y="872"/>
                  </a:lnTo>
                  <a:lnTo>
                    <a:pt x="371" y="869"/>
                  </a:lnTo>
                  <a:lnTo>
                    <a:pt x="371" y="867"/>
                  </a:lnTo>
                  <a:lnTo>
                    <a:pt x="371" y="866"/>
                  </a:lnTo>
                  <a:lnTo>
                    <a:pt x="371" y="865"/>
                  </a:lnTo>
                  <a:lnTo>
                    <a:pt x="371" y="864"/>
                  </a:lnTo>
                  <a:lnTo>
                    <a:pt x="370" y="862"/>
                  </a:lnTo>
                  <a:lnTo>
                    <a:pt x="369" y="861"/>
                  </a:lnTo>
                  <a:lnTo>
                    <a:pt x="368" y="860"/>
                  </a:lnTo>
                  <a:lnTo>
                    <a:pt x="367" y="859"/>
                  </a:lnTo>
                  <a:lnTo>
                    <a:pt x="364" y="857"/>
                  </a:lnTo>
                  <a:lnTo>
                    <a:pt x="362" y="856"/>
                  </a:lnTo>
                  <a:lnTo>
                    <a:pt x="360" y="855"/>
                  </a:lnTo>
                  <a:lnTo>
                    <a:pt x="359" y="854"/>
                  </a:lnTo>
                  <a:lnTo>
                    <a:pt x="358" y="854"/>
                  </a:lnTo>
                  <a:lnTo>
                    <a:pt x="357" y="854"/>
                  </a:lnTo>
                  <a:lnTo>
                    <a:pt x="356" y="854"/>
                  </a:lnTo>
                  <a:lnTo>
                    <a:pt x="354" y="854"/>
                  </a:lnTo>
                  <a:lnTo>
                    <a:pt x="352" y="854"/>
                  </a:lnTo>
                  <a:lnTo>
                    <a:pt x="351" y="855"/>
                  </a:lnTo>
                  <a:lnTo>
                    <a:pt x="348" y="856"/>
                  </a:lnTo>
                  <a:lnTo>
                    <a:pt x="346" y="857"/>
                  </a:lnTo>
                  <a:lnTo>
                    <a:pt x="344" y="858"/>
                  </a:lnTo>
                  <a:lnTo>
                    <a:pt x="337" y="859"/>
                  </a:lnTo>
                  <a:lnTo>
                    <a:pt x="334" y="860"/>
                  </a:lnTo>
                  <a:lnTo>
                    <a:pt x="331" y="861"/>
                  </a:lnTo>
                  <a:lnTo>
                    <a:pt x="325" y="864"/>
                  </a:lnTo>
                  <a:lnTo>
                    <a:pt x="322" y="865"/>
                  </a:lnTo>
                  <a:lnTo>
                    <a:pt x="319" y="865"/>
                  </a:lnTo>
                  <a:lnTo>
                    <a:pt x="315" y="865"/>
                  </a:lnTo>
                  <a:lnTo>
                    <a:pt x="312" y="865"/>
                  </a:lnTo>
                  <a:lnTo>
                    <a:pt x="306" y="865"/>
                  </a:lnTo>
                  <a:lnTo>
                    <a:pt x="300" y="865"/>
                  </a:lnTo>
                  <a:lnTo>
                    <a:pt x="296" y="865"/>
                  </a:lnTo>
                  <a:lnTo>
                    <a:pt x="293" y="865"/>
                  </a:lnTo>
                  <a:lnTo>
                    <a:pt x="291" y="865"/>
                  </a:lnTo>
                  <a:lnTo>
                    <a:pt x="282" y="862"/>
                  </a:lnTo>
                  <a:lnTo>
                    <a:pt x="280" y="862"/>
                  </a:lnTo>
                  <a:lnTo>
                    <a:pt x="279" y="861"/>
                  </a:lnTo>
                  <a:lnTo>
                    <a:pt x="277" y="861"/>
                  </a:lnTo>
                  <a:lnTo>
                    <a:pt x="274" y="861"/>
                  </a:lnTo>
                  <a:lnTo>
                    <a:pt x="271" y="862"/>
                  </a:lnTo>
                  <a:lnTo>
                    <a:pt x="269" y="862"/>
                  </a:lnTo>
                  <a:lnTo>
                    <a:pt x="266" y="864"/>
                  </a:lnTo>
                  <a:lnTo>
                    <a:pt x="265" y="864"/>
                  </a:lnTo>
                  <a:lnTo>
                    <a:pt x="264" y="864"/>
                  </a:lnTo>
                  <a:lnTo>
                    <a:pt x="262" y="864"/>
                  </a:lnTo>
                  <a:lnTo>
                    <a:pt x="261" y="864"/>
                  </a:lnTo>
                  <a:lnTo>
                    <a:pt x="260" y="864"/>
                  </a:lnTo>
                  <a:lnTo>
                    <a:pt x="259" y="863"/>
                  </a:lnTo>
                  <a:lnTo>
                    <a:pt x="253" y="860"/>
                  </a:lnTo>
                  <a:lnTo>
                    <a:pt x="241" y="853"/>
                  </a:lnTo>
                  <a:lnTo>
                    <a:pt x="236" y="850"/>
                  </a:lnTo>
                  <a:lnTo>
                    <a:pt x="233" y="848"/>
                  </a:lnTo>
                  <a:lnTo>
                    <a:pt x="230" y="845"/>
                  </a:lnTo>
                  <a:lnTo>
                    <a:pt x="223" y="839"/>
                  </a:lnTo>
                  <a:lnTo>
                    <a:pt x="217" y="834"/>
                  </a:lnTo>
                  <a:lnTo>
                    <a:pt x="214" y="831"/>
                  </a:lnTo>
                  <a:lnTo>
                    <a:pt x="210" y="828"/>
                  </a:lnTo>
                  <a:lnTo>
                    <a:pt x="208" y="826"/>
                  </a:lnTo>
                  <a:lnTo>
                    <a:pt x="206" y="824"/>
                  </a:lnTo>
                  <a:lnTo>
                    <a:pt x="205" y="822"/>
                  </a:lnTo>
                  <a:lnTo>
                    <a:pt x="203" y="819"/>
                  </a:lnTo>
                  <a:lnTo>
                    <a:pt x="201" y="815"/>
                  </a:lnTo>
                  <a:lnTo>
                    <a:pt x="200" y="812"/>
                  </a:lnTo>
                  <a:lnTo>
                    <a:pt x="200" y="809"/>
                  </a:lnTo>
                  <a:lnTo>
                    <a:pt x="200" y="807"/>
                  </a:lnTo>
                  <a:lnTo>
                    <a:pt x="200" y="802"/>
                  </a:lnTo>
                  <a:lnTo>
                    <a:pt x="200" y="798"/>
                  </a:lnTo>
                  <a:lnTo>
                    <a:pt x="201" y="791"/>
                  </a:lnTo>
                  <a:lnTo>
                    <a:pt x="202" y="786"/>
                  </a:lnTo>
                  <a:lnTo>
                    <a:pt x="202" y="783"/>
                  </a:lnTo>
                  <a:lnTo>
                    <a:pt x="202" y="780"/>
                  </a:lnTo>
                  <a:lnTo>
                    <a:pt x="201" y="777"/>
                  </a:lnTo>
                  <a:lnTo>
                    <a:pt x="201" y="775"/>
                  </a:lnTo>
                  <a:lnTo>
                    <a:pt x="200" y="772"/>
                  </a:lnTo>
                  <a:lnTo>
                    <a:pt x="200" y="767"/>
                  </a:lnTo>
                  <a:lnTo>
                    <a:pt x="199" y="764"/>
                  </a:lnTo>
                  <a:lnTo>
                    <a:pt x="198" y="763"/>
                  </a:lnTo>
                  <a:lnTo>
                    <a:pt x="197" y="761"/>
                  </a:lnTo>
                  <a:lnTo>
                    <a:pt x="196" y="759"/>
                  </a:lnTo>
                  <a:lnTo>
                    <a:pt x="194" y="758"/>
                  </a:lnTo>
                  <a:lnTo>
                    <a:pt x="193" y="757"/>
                  </a:lnTo>
                  <a:lnTo>
                    <a:pt x="191" y="756"/>
                  </a:lnTo>
                  <a:lnTo>
                    <a:pt x="190" y="755"/>
                  </a:lnTo>
                  <a:lnTo>
                    <a:pt x="187" y="755"/>
                  </a:lnTo>
                  <a:lnTo>
                    <a:pt x="185" y="754"/>
                  </a:lnTo>
                  <a:lnTo>
                    <a:pt x="183" y="754"/>
                  </a:lnTo>
                  <a:lnTo>
                    <a:pt x="179" y="754"/>
                  </a:lnTo>
                  <a:lnTo>
                    <a:pt x="177" y="754"/>
                  </a:lnTo>
                  <a:lnTo>
                    <a:pt x="170" y="755"/>
                  </a:lnTo>
                  <a:lnTo>
                    <a:pt x="163" y="756"/>
                  </a:lnTo>
                  <a:lnTo>
                    <a:pt x="160" y="757"/>
                  </a:lnTo>
                  <a:lnTo>
                    <a:pt x="156" y="757"/>
                  </a:lnTo>
                  <a:lnTo>
                    <a:pt x="150" y="759"/>
                  </a:lnTo>
                  <a:lnTo>
                    <a:pt x="147" y="760"/>
                  </a:lnTo>
                  <a:lnTo>
                    <a:pt x="137" y="761"/>
                  </a:lnTo>
                  <a:lnTo>
                    <a:pt x="136" y="761"/>
                  </a:lnTo>
                  <a:lnTo>
                    <a:pt x="134" y="761"/>
                  </a:lnTo>
                  <a:lnTo>
                    <a:pt x="133" y="760"/>
                  </a:lnTo>
                  <a:lnTo>
                    <a:pt x="132" y="759"/>
                  </a:lnTo>
                  <a:lnTo>
                    <a:pt x="131" y="758"/>
                  </a:lnTo>
                  <a:lnTo>
                    <a:pt x="127" y="754"/>
                  </a:lnTo>
                  <a:lnTo>
                    <a:pt x="126" y="753"/>
                  </a:lnTo>
                  <a:lnTo>
                    <a:pt x="124" y="752"/>
                  </a:lnTo>
                  <a:lnTo>
                    <a:pt x="121" y="751"/>
                  </a:lnTo>
                  <a:lnTo>
                    <a:pt x="118" y="749"/>
                  </a:lnTo>
                  <a:lnTo>
                    <a:pt x="111" y="747"/>
                  </a:lnTo>
                  <a:lnTo>
                    <a:pt x="103" y="744"/>
                  </a:lnTo>
                  <a:lnTo>
                    <a:pt x="91" y="741"/>
                  </a:lnTo>
                  <a:lnTo>
                    <a:pt x="88" y="741"/>
                  </a:lnTo>
                  <a:lnTo>
                    <a:pt x="87" y="740"/>
                  </a:lnTo>
                  <a:lnTo>
                    <a:pt x="86" y="740"/>
                  </a:lnTo>
                  <a:lnTo>
                    <a:pt x="84" y="740"/>
                  </a:lnTo>
                  <a:lnTo>
                    <a:pt x="83" y="741"/>
                  </a:lnTo>
                  <a:lnTo>
                    <a:pt x="81" y="741"/>
                  </a:lnTo>
                  <a:lnTo>
                    <a:pt x="78" y="742"/>
                  </a:lnTo>
                  <a:lnTo>
                    <a:pt x="71" y="746"/>
                  </a:lnTo>
                  <a:lnTo>
                    <a:pt x="68" y="747"/>
                  </a:lnTo>
                  <a:lnTo>
                    <a:pt x="65" y="748"/>
                  </a:lnTo>
                  <a:lnTo>
                    <a:pt x="63" y="749"/>
                  </a:lnTo>
                  <a:lnTo>
                    <a:pt x="60" y="749"/>
                  </a:lnTo>
                  <a:lnTo>
                    <a:pt x="57" y="749"/>
                  </a:lnTo>
                  <a:lnTo>
                    <a:pt x="54" y="749"/>
                  </a:lnTo>
                  <a:lnTo>
                    <a:pt x="52" y="748"/>
                  </a:lnTo>
                  <a:lnTo>
                    <a:pt x="50" y="747"/>
                  </a:lnTo>
                  <a:lnTo>
                    <a:pt x="48" y="746"/>
                  </a:lnTo>
                  <a:lnTo>
                    <a:pt x="46" y="745"/>
                  </a:lnTo>
                  <a:lnTo>
                    <a:pt x="44" y="743"/>
                  </a:lnTo>
                  <a:lnTo>
                    <a:pt x="43" y="742"/>
                  </a:lnTo>
                  <a:lnTo>
                    <a:pt x="41" y="741"/>
                  </a:lnTo>
                  <a:lnTo>
                    <a:pt x="37" y="734"/>
                  </a:lnTo>
                  <a:lnTo>
                    <a:pt x="33" y="730"/>
                  </a:lnTo>
                  <a:lnTo>
                    <a:pt x="30" y="728"/>
                  </a:lnTo>
                  <a:lnTo>
                    <a:pt x="30" y="727"/>
                  </a:lnTo>
                  <a:lnTo>
                    <a:pt x="28" y="725"/>
                  </a:lnTo>
                  <a:lnTo>
                    <a:pt x="26" y="725"/>
                  </a:lnTo>
                  <a:lnTo>
                    <a:pt x="25" y="724"/>
                  </a:lnTo>
                  <a:lnTo>
                    <a:pt x="23" y="723"/>
                  </a:lnTo>
                  <a:lnTo>
                    <a:pt x="21" y="723"/>
                  </a:lnTo>
                  <a:lnTo>
                    <a:pt x="18" y="722"/>
                  </a:lnTo>
                  <a:lnTo>
                    <a:pt x="11" y="721"/>
                  </a:lnTo>
                  <a:lnTo>
                    <a:pt x="9" y="721"/>
                  </a:lnTo>
                  <a:lnTo>
                    <a:pt x="7" y="720"/>
                  </a:lnTo>
                  <a:lnTo>
                    <a:pt x="5" y="720"/>
                  </a:lnTo>
                  <a:lnTo>
                    <a:pt x="3" y="719"/>
                  </a:lnTo>
                  <a:lnTo>
                    <a:pt x="2" y="718"/>
                  </a:lnTo>
                  <a:lnTo>
                    <a:pt x="1" y="718"/>
                  </a:lnTo>
                  <a:lnTo>
                    <a:pt x="0" y="717"/>
                  </a:lnTo>
                  <a:lnTo>
                    <a:pt x="0" y="716"/>
                  </a:lnTo>
                  <a:lnTo>
                    <a:pt x="1" y="716"/>
                  </a:lnTo>
                  <a:lnTo>
                    <a:pt x="1" y="715"/>
                  </a:lnTo>
                  <a:lnTo>
                    <a:pt x="4" y="713"/>
                  </a:lnTo>
                  <a:lnTo>
                    <a:pt x="6" y="713"/>
                  </a:lnTo>
                  <a:lnTo>
                    <a:pt x="7" y="711"/>
                  </a:lnTo>
                  <a:lnTo>
                    <a:pt x="7" y="710"/>
                  </a:lnTo>
                  <a:lnTo>
                    <a:pt x="8" y="709"/>
                  </a:lnTo>
                  <a:lnTo>
                    <a:pt x="8" y="707"/>
                  </a:lnTo>
                  <a:lnTo>
                    <a:pt x="9" y="706"/>
                  </a:lnTo>
                  <a:lnTo>
                    <a:pt x="10" y="704"/>
                  </a:lnTo>
                  <a:lnTo>
                    <a:pt x="10" y="702"/>
                  </a:lnTo>
                  <a:lnTo>
                    <a:pt x="10" y="701"/>
                  </a:lnTo>
                  <a:lnTo>
                    <a:pt x="10" y="699"/>
                  </a:lnTo>
                  <a:lnTo>
                    <a:pt x="9" y="698"/>
                  </a:lnTo>
                  <a:lnTo>
                    <a:pt x="8" y="696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8" name="Freeform 101">
              <a:extLst>
                <a:ext uri="{FF2B5EF4-FFF2-40B4-BE49-F238E27FC236}">
                  <a16:creationId xmlns:a16="http://schemas.microsoft.com/office/drawing/2014/main" id="{6F7FCACB-C042-4C9C-9337-0C016CF44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8" y="2390"/>
              <a:ext cx="473" cy="704"/>
            </a:xfrm>
            <a:custGeom>
              <a:avLst/>
              <a:gdLst>
                <a:gd name="T0" fmla="*/ 144 w 473"/>
                <a:gd name="T1" fmla="*/ 698 h 704"/>
                <a:gd name="T2" fmla="*/ 114 w 473"/>
                <a:gd name="T3" fmla="*/ 681 h 704"/>
                <a:gd name="T4" fmla="*/ 100 w 473"/>
                <a:gd name="T5" fmla="*/ 677 h 704"/>
                <a:gd name="T6" fmla="*/ 75 w 473"/>
                <a:gd name="T7" fmla="*/ 687 h 704"/>
                <a:gd name="T8" fmla="*/ 60 w 473"/>
                <a:gd name="T9" fmla="*/ 683 h 704"/>
                <a:gd name="T10" fmla="*/ 28 w 473"/>
                <a:gd name="T11" fmla="*/ 651 h 704"/>
                <a:gd name="T12" fmla="*/ 13 w 473"/>
                <a:gd name="T13" fmla="*/ 626 h 704"/>
                <a:gd name="T14" fmla="*/ 18 w 473"/>
                <a:gd name="T15" fmla="*/ 612 h 704"/>
                <a:gd name="T16" fmla="*/ 24 w 473"/>
                <a:gd name="T17" fmla="*/ 598 h 704"/>
                <a:gd name="T18" fmla="*/ 7 w 473"/>
                <a:gd name="T19" fmla="*/ 580 h 704"/>
                <a:gd name="T20" fmla="*/ 0 w 473"/>
                <a:gd name="T21" fmla="*/ 565 h 704"/>
                <a:gd name="T22" fmla="*/ 7 w 473"/>
                <a:gd name="T23" fmla="*/ 539 h 704"/>
                <a:gd name="T24" fmla="*/ 9 w 473"/>
                <a:gd name="T25" fmla="*/ 516 h 704"/>
                <a:gd name="T26" fmla="*/ 20 w 473"/>
                <a:gd name="T27" fmla="*/ 484 h 704"/>
                <a:gd name="T28" fmla="*/ 23 w 473"/>
                <a:gd name="T29" fmla="*/ 458 h 704"/>
                <a:gd name="T30" fmla="*/ 23 w 473"/>
                <a:gd name="T31" fmla="*/ 432 h 704"/>
                <a:gd name="T32" fmla="*/ 13 w 473"/>
                <a:gd name="T33" fmla="*/ 411 h 704"/>
                <a:gd name="T34" fmla="*/ 15 w 473"/>
                <a:gd name="T35" fmla="*/ 404 h 704"/>
                <a:gd name="T36" fmla="*/ 29 w 473"/>
                <a:gd name="T37" fmla="*/ 397 h 704"/>
                <a:gd name="T38" fmla="*/ 31 w 473"/>
                <a:gd name="T39" fmla="*/ 385 h 704"/>
                <a:gd name="T40" fmla="*/ 32 w 473"/>
                <a:gd name="T41" fmla="*/ 363 h 704"/>
                <a:gd name="T42" fmla="*/ 38 w 473"/>
                <a:gd name="T43" fmla="*/ 342 h 704"/>
                <a:gd name="T44" fmla="*/ 56 w 473"/>
                <a:gd name="T45" fmla="*/ 334 h 704"/>
                <a:gd name="T46" fmla="*/ 67 w 473"/>
                <a:gd name="T47" fmla="*/ 328 h 704"/>
                <a:gd name="T48" fmla="*/ 65 w 473"/>
                <a:gd name="T49" fmla="*/ 315 h 704"/>
                <a:gd name="T50" fmla="*/ 71 w 473"/>
                <a:gd name="T51" fmla="*/ 307 h 704"/>
                <a:gd name="T52" fmla="*/ 92 w 473"/>
                <a:gd name="T53" fmla="*/ 308 h 704"/>
                <a:gd name="T54" fmla="*/ 125 w 473"/>
                <a:gd name="T55" fmla="*/ 313 h 704"/>
                <a:gd name="T56" fmla="*/ 149 w 473"/>
                <a:gd name="T57" fmla="*/ 308 h 704"/>
                <a:gd name="T58" fmla="*/ 170 w 473"/>
                <a:gd name="T59" fmla="*/ 303 h 704"/>
                <a:gd name="T60" fmla="*/ 194 w 473"/>
                <a:gd name="T61" fmla="*/ 311 h 704"/>
                <a:gd name="T62" fmla="*/ 206 w 473"/>
                <a:gd name="T63" fmla="*/ 315 h 704"/>
                <a:gd name="T64" fmla="*/ 214 w 473"/>
                <a:gd name="T65" fmla="*/ 299 h 704"/>
                <a:gd name="T66" fmla="*/ 225 w 473"/>
                <a:gd name="T67" fmla="*/ 292 h 704"/>
                <a:gd name="T68" fmla="*/ 246 w 473"/>
                <a:gd name="T69" fmla="*/ 293 h 704"/>
                <a:gd name="T70" fmla="*/ 263 w 473"/>
                <a:gd name="T71" fmla="*/ 284 h 704"/>
                <a:gd name="T72" fmla="*/ 270 w 473"/>
                <a:gd name="T73" fmla="*/ 272 h 704"/>
                <a:gd name="T74" fmla="*/ 268 w 473"/>
                <a:gd name="T75" fmla="*/ 253 h 704"/>
                <a:gd name="T76" fmla="*/ 257 w 473"/>
                <a:gd name="T77" fmla="*/ 238 h 704"/>
                <a:gd name="T78" fmla="*/ 227 w 473"/>
                <a:gd name="T79" fmla="*/ 225 h 704"/>
                <a:gd name="T80" fmla="*/ 220 w 473"/>
                <a:gd name="T81" fmla="*/ 210 h 704"/>
                <a:gd name="T82" fmla="*/ 221 w 473"/>
                <a:gd name="T83" fmla="*/ 191 h 704"/>
                <a:gd name="T84" fmla="*/ 243 w 473"/>
                <a:gd name="T85" fmla="*/ 159 h 704"/>
                <a:gd name="T86" fmla="*/ 254 w 473"/>
                <a:gd name="T87" fmla="*/ 133 h 704"/>
                <a:gd name="T88" fmla="*/ 263 w 473"/>
                <a:gd name="T89" fmla="*/ 124 h 704"/>
                <a:gd name="T90" fmla="*/ 276 w 473"/>
                <a:gd name="T91" fmla="*/ 124 h 704"/>
                <a:gd name="T92" fmla="*/ 287 w 473"/>
                <a:gd name="T93" fmla="*/ 126 h 704"/>
                <a:gd name="T94" fmla="*/ 314 w 473"/>
                <a:gd name="T95" fmla="*/ 114 h 704"/>
                <a:gd name="T96" fmla="*/ 348 w 473"/>
                <a:gd name="T97" fmla="*/ 103 h 704"/>
                <a:gd name="T98" fmla="*/ 368 w 473"/>
                <a:gd name="T99" fmla="*/ 87 h 704"/>
                <a:gd name="T100" fmla="*/ 380 w 473"/>
                <a:gd name="T101" fmla="*/ 78 h 704"/>
                <a:gd name="T102" fmla="*/ 404 w 473"/>
                <a:gd name="T103" fmla="*/ 77 h 704"/>
                <a:gd name="T104" fmla="*/ 411 w 473"/>
                <a:gd name="T105" fmla="*/ 70 h 704"/>
                <a:gd name="T106" fmla="*/ 408 w 473"/>
                <a:gd name="T107" fmla="*/ 57 h 704"/>
                <a:gd name="T108" fmla="*/ 405 w 473"/>
                <a:gd name="T109" fmla="*/ 40 h 704"/>
                <a:gd name="T110" fmla="*/ 416 w 473"/>
                <a:gd name="T111" fmla="*/ 28 h 704"/>
                <a:gd name="T112" fmla="*/ 434 w 473"/>
                <a:gd name="T113" fmla="*/ 22 h 704"/>
                <a:gd name="T114" fmla="*/ 450 w 473"/>
                <a:gd name="T115" fmla="*/ 12 h 704"/>
                <a:gd name="T116" fmla="*/ 462 w 473"/>
                <a:gd name="T117" fmla="*/ 0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73" h="704">
                  <a:moveTo>
                    <a:pt x="156" y="704"/>
                  </a:moveTo>
                  <a:lnTo>
                    <a:pt x="155" y="703"/>
                  </a:lnTo>
                  <a:lnTo>
                    <a:pt x="155" y="703"/>
                  </a:lnTo>
                  <a:lnTo>
                    <a:pt x="153" y="702"/>
                  </a:lnTo>
                  <a:lnTo>
                    <a:pt x="151" y="700"/>
                  </a:lnTo>
                  <a:lnTo>
                    <a:pt x="148" y="699"/>
                  </a:lnTo>
                  <a:lnTo>
                    <a:pt x="144" y="698"/>
                  </a:lnTo>
                  <a:lnTo>
                    <a:pt x="135" y="694"/>
                  </a:lnTo>
                  <a:lnTo>
                    <a:pt x="132" y="693"/>
                  </a:lnTo>
                  <a:lnTo>
                    <a:pt x="131" y="692"/>
                  </a:lnTo>
                  <a:lnTo>
                    <a:pt x="127" y="691"/>
                  </a:lnTo>
                  <a:lnTo>
                    <a:pt x="123" y="688"/>
                  </a:lnTo>
                  <a:lnTo>
                    <a:pt x="120" y="686"/>
                  </a:lnTo>
                  <a:lnTo>
                    <a:pt x="114" y="681"/>
                  </a:lnTo>
                  <a:lnTo>
                    <a:pt x="112" y="680"/>
                  </a:lnTo>
                  <a:lnTo>
                    <a:pt x="110" y="679"/>
                  </a:lnTo>
                  <a:lnTo>
                    <a:pt x="109" y="678"/>
                  </a:lnTo>
                  <a:lnTo>
                    <a:pt x="107" y="677"/>
                  </a:lnTo>
                  <a:lnTo>
                    <a:pt x="105" y="677"/>
                  </a:lnTo>
                  <a:lnTo>
                    <a:pt x="103" y="676"/>
                  </a:lnTo>
                  <a:lnTo>
                    <a:pt x="100" y="677"/>
                  </a:lnTo>
                  <a:lnTo>
                    <a:pt x="98" y="677"/>
                  </a:lnTo>
                  <a:lnTo>
                    <a:pt x="95" y="678"/>
                  </a:lnTo>
                  <a:lnTo>
                    <a:pt x="92" y="679"/>
                  </a:lnTo>
                  <a:lnTo>
                    <a:pt x="89" y="681"/>
                  </a:lnTo>
                  <a:lnTo>
                    <a:pt x="79" y="686"/>
                  </a:lnTo>
                  <a:lnTo>
                    <a:pt x="76" y="687"/>
                  </a:lnTo>
                  <a:lnTo>
                    <a:pt x="75" y="687"/>
                  </a:lnTo>
                  <a:lnTo>
                    <a:pt x="73" y="688"/>
                  </a:lnTo>
                  <a:lnTo>
                    <a:pt x="70" y="688"/>
                  </a:lnTo>
                  <a:lnTo>
                    <a:pt x="68" y="687"/>
                  </a:lnTo>
                  <a:lnTo>
                    <a:pt x="65" y="687"/>
                  </a:lnTo>
                  <a:lnTo>
                    <a:pt x="64" y="686"/>
                  </a:lnTo>
                  <a:lnTo>
                    <a:pt x="64" y="685"/>
                  </a:lnTo>
                  <a:lnTo>
                    <a:pt x="60" y="683"/>
                  </a:lnTo>
                  <a:lnTo>
                    <a:pt x="54" y="678"/>
                  </a:lnTo>
                  <a:lnTo>
                    <a:pt x="48" y="672"/>
                  </a:lnTo>
                  <a:lnTo>
                    <a:pt x="45" y="669"/>
                  </a:lnTo>
                  <a:lnTo>
                    <a:pt x="41" y="664"/>
                  </a:lnTo>
                  <a:lnTo>
                    <a:pt x="39" y="662"/>
                  </a:lnTo>
                  <a:lnTo>
                    <a:pt x="30" y="653"/>
                  </a:lnTo>
                  <a:lnTo>
                    <a:pt x="28" y="651"/>
                  </a:lnTo>
                  <a:lnTo>
                    <a:pt x="27" y="650"/>
                  </a:lnTo>
                  <a:lnTo>
                    <a:pt x="22" y="642"/>
                  </a:lnTo>
                  <a:lnTo>
                    <a:pt x="17" y="635"/>
                  </a:lnTo>
                  <a:lnTo>
                    <a:pt x="15" y="632"/>
                  </a:lnTo>
                  <a:lnTo>
                    <a:pt x="14" y="630"/>
                  </a:lnTo>
                  <a:lnTo>
                    <a:pt x="13" y="628"/>
                  </a:lnTo>
                  <a:lnTo>
                    <a:pt x="13" y="626"/>
                  </a:lnTo>
                  <a:lnTo>
                    <a:pt x="12" y="624"/>
                  </a:lnTo>
                  <a:lnTo>
                    <a:pt x="13" y="623"/>
                  </a:lnTo>
                  <a:lnTo>
                    <a:pt x="13" y="622"/>
                  </a:lnTo>
                  <a:lnTo>
                    <a:pt x="14" y="619"/>
                  </a:lnTo>
                  <a:lnTo>
                    <a:pt x="14" y="617"/>
                  </a:lnTo>
                  <a:lnTo>
                    <a:pt x="16" y="615"/>
                  </a:lnTo>
                  <a:lnTo>
                    <a:pt x="18" y="612"/>
                  </a:lnTo>
                  <a:lnTo>
                    <a:pt x="20" y="609"/>
                  </a:lnTo>
                  <a:lnTo>
                    <a:pt x="23" y="604"/>
                  </a:lnTo>
                  <a:lnTo>
                    <a:pt x="24" y="603"/>
                  </a:lnTo>
                  <a:lnTo>
                    <a:pt x="25" y="602"/>
                  </a:lnTo>
                  <a:lnTo>
                    <a:pt x="25" y="601"/>
                  </a:lnTo>
                  <a:lnTo>
                    <a:pt x="25" y="600"/>
                  </a:lnTo>
                  <a:lnTo>
                    <a:pt x="24" y="598"/>
                  </a:lnTo>
                  <a:lnTo>
                    <a:pt x="22" y="594"/>
                  </a:lnTo>
                  <a:lnTo>
                    <a:pt x="20" y="592"/>
                  </a:lnTo>
                  <a:lnTo>
                    <a:pt x="19" y="590"/>
                  </a:lnTo>
                  <a:lnTo>
                    <a:pt x="18" y="589"/>
                  </a:lnTo>
                  <a:lnTo>
                    <a:pt x="16" y="587"/>
                  </a:lnTo>
                  <a:lnTo>
                    <a:pt x="10" y="583"/>
                  </a:lnTo>
                  <a:lnTo>
                    <a:pt x="7" y="580"/>
                  </a:lnTo>
                  <a:lnTo>
                    <a:pt x="5" y="578"/>
                  </a:lnTo>
                  <a:lnTo>
                    <a:pt x="3" y="576"/>
                  </a:lnTo>
                  <a:lnTo>
                    <a:pt x="2" y="573"/>
                  </a:lnTo>
                  <a:lnTo>
                    <a:pt x="1" y="571"/>
                  </a:lnTo>
                  <a:lnTo>
                    <a:pt x="1" y="569"/>
                  </a:lnTo>
                  <a:lnTo>
                    <a:pt x="0" y="567"/>
                  </a:lnTo>
                  <a:lnTo>
                    <a:pt x="0" y="565"/>
                  </a:lnTo>
                  <a:lnTo>
                    <a:pt x="0" y="563"/>
                  </a:lnTo>
                  <a:lnTo>
                    <a:pt x="0" y="560"/>
                  </a:lnTo>
                  <a:lnTo>
                    <a:pt x="1" y="556"/>
                  </a:lnTo>
                  <a:lnTo>
                    <a:pt x="2" y="554"/>
                  </a:lnTo>
                  <a:lnTo>
                    <a:pt x="4" y="547"/>
                  </a:lnTo>
                  <a:lnTo>
                    <a:pt x="6" y="543"/>
                  </a:lnTo>
                  <a:lnTo>
                    <a:pt x="7" y="539"/>
                  </a:lnTo>
                  <a:lnTo>
                    <a:pt x="7" y="533"/>
                  </a:lnTo>
                  <a:lnTo>
                    <a:pt x="10" y="523"/>
                  </a:lnTo>
                  <a:lnTo>
                    <a:pt x="10" y="522"/>
                  </a:lnTo>
                  <a:lnTo>
                    <a:pt x="10" y="521"/>
                  </a:lnTo>
                  <a:lnTo>
                    <a:pt x="10" y="520"/>
                  </a:lnTo>
                  <a:lnTo>
                    <a:pt x="9" y="517"/>
                  </a:lnTo>
                  <a:lnTo>
                    <a:pt x="9" y="516"/>
                  </a:lnTo>
                  <a:lnTo>
                    <a:pt x="9" y="514"/>
                  </a:lnTo>
                  <a:lnTo>
                    <a:pt x="9" y="513"/>
                  </a:lnTo>
                  <a:lnTo>
                    <a:pt x="10" y="511"/>
                  </a:lnTo>
                  <a:lnTo>
                    <a:pt x="13" y="504"/>
                  </a:lnTo>
                  <a:lnTo>
                    <a:pt x="16" y="496"/>
                  </a:lnTo>
                  <a:lnTo>
                    <a:pt x="19" y="488"/>
                  </a:lnTo>
                  <a:lnTo>
                    <a:pt x="20" y="484"/>
                  </a:lnTo>
                  <a:lnTo>
                    <a:pt x="22" y="480"/>
                  </a:lnTo>
                  <a:lnTo>
                    <a:pt x="22" y="477"/>
                  </a:lnTo>
                  <a:lnTo>
                    <a:pt x="23" y="474"/>
                  </a:lnTo>
                  <a:lnTo>
                    <a:pt x="23" y="470"/>
                  </a:lnTo>
                  <a:lnTo>
                    <a:pt x="24" y="467"/>
                  </a:lnTo>
                  <a:lnTo>
                    <a:pt x="23" y="461"/>
                  </a:lnTo>
                  <a:lnTo>
                    <a:pt x="23" y="458"/>
                  </a:lnTo>
                  <a:lnTo>
                    <a:pt x="24" y="455"/>
                  </a:lnTo>
                  <a:lnTo>
                    <a:pt x="25" y="448"/>
                  </a:lnTo>
                  <a:lnTo>
                    <a:pt x="25" y="445"/>
                  </a:lnTo>
                  <a:lnTo>
                    <a:pt x="25" y="442"/>
                  </a:lnTo>
                  <a:lnTo>
                    <a:pt x="24" y="438"/>
                  </a:lnTo>
                  <a:lnTo>
                    <a:pt x="24" y="435"/>
                  </a:lnTo>
                  <a:lnTo>
                    <a:pt x="23" y="432"/>
                  </a:lnTo>
                  <a:lnTo>
                    <a:pt x="22" y="430"/>
                  </a:lnTo>
                  <a:lnTo>
                    <a:pt x="21" y="428"/>
                  </a:lnTo>
                  <a:lnTo>
                    <a:pt x="20" y="425"/>
                  </a:lnTo>
                  <a:lnTo>
                    <a:pt x="19" y="423"/>
                  </a:lnTo>
                  <a:lnTo>
                    <a:pt x="15" y="415"/>
                  </a:lnTo>
                  <a:lnTo>
                    <a:pt x="14" y="413"/>
                  </a:lnTo>
                  <a:lnTo>
                    <a:pt x="13" y="411"/>
                  </a:lnTo>
                  <a:lnTo>
                    <a:pt x="13" y="410"/>
                  </a:lnTo>
                  <a:lnTo>
                    <a:pt x="13" y="409"/>
                  </a:lnTo>
                  <a:lnTo>
                    <a:pt x="13" y="409"/>
                  </a:lnTo>
                  <a:lnTo>
                    <a:pt x="13" y="407"/>
                  </a:lnTo>
                  <a:lnTo>
                    <a:pt x="14" y="406"/>
                  </a:lnTo>
                  <a:lnTo>
                    <a:pt x="14" y="405"/>
                  </a:lnTo>
                  <a:lnTo>
                    <a:pt x="15" y="404"/>
                  </a:lnTo>
                  <a:lnTo>
                    <a:pt x="17" y="403"/>
                  </a:lnTo>
                  <a:lnTo>
                    <a:pt x="19" y="402"/>
                  </a:lnTo>
                  <a:lnTo>
                    <a:pt x="21" y="401"/>
                  </a:lnTo>
                  <a:lnTo>
                    <a:pt x="24" y="400"/>
                  </a:lnTo>
                  <a:lnTo>
                    <a:pt x="26" y="399"/>
                  </a:lnTo>
                  <a:lnTo>
                    <a:pt x="28" y="398"/>
                  </a:lnTo>
                  <a:lnTo>
                    <a:pt x="29" y="397"/>
                  </a:lnTo>
                  <a:lnTo>
                    <a:pt x="30" y="396"/>
                  </a:lnTo>
                  <a:lnTo>
                    <a:pt x="30" y="394"/>
                  </a:lnTo>
                  <a:lnTo>
                    <a:pt x="31" y="392"/>
                  </a:lnTo>
                  <a:lnTo>
                    <a:pt x="31" y="391"/>
                  </a:lnTo>
                  <a:lnTo>
                    <a:pt x="31" y="389"/>
                  </a:lnTo>
                  <a:lnTo>
                    <a:pt x="31" y="387"/>
                  </a:lnTo>
                  <a:lnTo>
                    <a:pt x="31" y="385"/>
                  </a:lnTo>
                  <a:lnTo>
                    <a:pt x="31" y="382"/>
                  </a:lnTo>
                  <a:lnTo>
                    <a:pt x="30" y="372"/>
                  </a:lnTo>
                  <a:lnTo>
                    <a:pt x="29" y="371"/>
                  </a:lnTo>
                  <a:lnTo>
                    <a:pt x="29" y="370"/>
                  </a:lnTo>
                  <a:lnTo>
                    <a:pt x="30" y="370"/>
                  </a:lnTo>
                  <a:lnTo>
                    <a:pt x="30" y="368"/>
                  </a:lnTo>
                  <a:lnTo>
                    <a:pt x="32" y="363"/>
                  </a:lnTo>
                  <a:lnTo>
                    <a:pt x="33" y="361"/>
                  </a:lnTo>
                  <a:lnTo>
                    <a:pt x="33" y="358"/>
                  </a:lnTo>
                  <a:lnTo>
                    <a:pt x="35" y="351"/>
                  </a:lnTo>
                  <a:lnTo>
                    <a:pt x="35" y="348"/>
                  </a:lnTo>
                  <a:lnTo>
                    <a:pt x="36" y="346"/>
                  </a:lnTo>
                  <a:lnTo>
                    <a:pt x="37" y="344"/>
                  </a:lnTo>
                  <a:lnTo>
                    <a:pt x="38" y="342"/>
                  </a:lnTo>
                  <a:lnTo>
                    <a:pt x="39" y="341"/>
                  </a:lnTo>
                  <a:lnTo>
                    <a:pt x="40" y="341"/>
                  </a:lnTo>
                  <a:lnTo>
                    <a:pt x="41" y="340"/>
                  </a:lnTo>
                  <a:lnTo>
                    <a:pt x="41" y="339"/>
                  </a:lnTo>
                  <a:lnTo>
                    <a:pt x="42" y="338"/>
                  </a:lnTo>
                  <a:lnTo>
                    <a:pt x="45" y="337"/>
                  </a:lnTo>
                  <a:lnTo>
                    <a:pt x="56" y="334"/>
                  </a:lnTo>
                  <a:lnTo>
                    <a:pt x="59" y="333"/>
                  </a:lnTo>
                  <a:lnTo>
                    <a:pt x="62" y="333"/>
                  </a:lnTo>
                  <a:lnTo>
                    <a:pt x="63" y="332"/>
                  </a:lnTo>
                  <a:lnTo>
                    <a:pt x="64" y="331"/>
                  </a:lnTo>
                  <a:lnTo>
                    <a:pt x="65" y="330"/>
                  </a:lnTo>
                  <a:lnTo>
                    <a:pt x="66" y="329"/>
                  </a:lnTo>
                  <a:lnTo>
                    <a:pt x="67" y="328"/>
                  </a:lnTo>
                  <a:lnTo>
                    <a:pt x="67" y="327"/>
                  </a:lnTo>
                  <a:lnTo>
                    <a:pt x="67" y="326"/>
                  </a:lnTo>
                  <a:lnTo>
                    <a:pt x="67" y="325"/>
                  </a:lnTo>
                  <a:lnTo>
                    <a:pt x="67" y="323"/>
                  </a:lnTo>
                  <a:lnTo>
                    <a:pt x="65" y="318"/>
                  </a:lnTo>
                  <a:lnTo>
                    <a:pt x="65" y="317"/>
                  </a:lnTo>
                  <a:lnTo>
                    <a:pt x="65" y="315"/>
                  </a:lnTo>
                  <a:lnTo>
                    <a:pt x="65" y="313"/>
                  </a:lnTo>
                  <a:lnTo>
                    <a:pt x="66" y="312"/>
                  </a:lnTo>
                  <a:lnTo>
                    <a:pt x="66" y="310"/>
                  </a:lnTo>
                  <a:lnTo>
                    <a:pt x="67" y="309"/>
                  </a:lnTo>
                  <a:lnTo>
                    <a:pt x="68" y="308"/>
                  </a:lnTo>
                  <a:lnTo>
                    <a:pt x="70" y="307"/>
                  </a:lnTo>
                  <a:lnTo>
                    <a:pt x="71" y="307"/>
                  </a:lnTo>
                  <a:lnTo>
                    <a:pt x="73" y="307"/>
                  </a:lnTo>
                  <a:lnTo>
                    <a:pt x="75" y="306"/>
                  </a:lnTo>
                  <a:lnTo>
                    <a:pt x="76" y="305"/>
                  </a:lnTo>
                  <a:lnTo>
                    <a:pt x="78" y="305"/>
                  </a:lnTo>
                  <a:lnTo>
                    <a:pt x="81" y="305"/>
                  </a:lnTo>
                  <a:lnTo>
                    <a:pt x="83" y="306"/>
                  </a:lnTo>
                  <a:lnTo>
                    <a:pt x="92" y="308"/>
                  </a:lnTo>
                  <a:lnTo>
                    <a:pt x="96" y="309"/>
                  </a:lnTo>
                  <a:lnTo>
                    <a:pt x="98" y="309"/>
                  </a:lnTo>
                  <a:lnTo>
                    <a:pt x="101" y="310"/>
                  </a:lnTo>
                  <a:lnTo>
                    <a:pt x="108" y="310"/>
                  </a:lnTo>
                  <a:lnTo>
                    <a:pt x="112" y="311"/>
                  </a:lnTo>
                  <a:lnTo>
                    <a:pt x="122" y="313"/>
                  </a:lnTo>
                  <a:lnTo>
                    <a:pt x="125" y="313"/>
                  </a:lnTo>
                  <a:lnTo>
                    <a:pt x="128" y="313"/>
                  </a:lnTo>
                  <a:lnTo>
                    <a:pt x="132" y="313"/>
                  </a:lnTo>
                  <a:lnTo>
                    <a:pt x="135" y="312"/>
                  </a:lnTo>
                  <a:lnTo>
                    <a:pt x="138" y="312"/>
                  </a:lnTo>
                  <a:lnTo>
                    <a:pt x="143" y="311"/>
                  </a:lnTo>
                  <a:lnTo>
                    <a:pt x="144" y="310"/>
                  </a:lnTo>
                  <a:lnTo>
                    <a:pt x="149" y="308"/>
                  </a:lnTo>
                  <a:lnTo>
                    <a:pt x="158" y="305"/>
                  </a:lnTo>
                  <a:lnTo>
                    <a:pt x="163" y="303"/>
                  </a:lnTo>
                  <a:lnTo>
                    <a:pt x="166" y="302"/>
                  </a:lnTo>
                  <a:lnTo>
                    <a:pt x="167" y="302"/>
                  </a:lnTo>
                  <a:lnTo>
                    <a:pt x="168" y="302"/>
                  </a:lnTo>
                  <a:lnTo>
                    <a:pt x="169" y="302"/>
                  </a:lnTo>
                  <a:lnTo>
                    <a:pt x="170" y="303"/>
                  </a:lnTo>
                  <a:lnTo>
                    <a:pt x="176" y="306"/>
                  </a:lnTo>
                  <a:lnTo>
                    <a:pt x="179" y="307"/>
                  </a:lnTo>
                  <a:lnTo>
                    <a:pt x="182" y="307"/>
                  </a:lnTo>
                  <a:lnTo>
                    <a:pt x="188" y="308"/>
                  </a:lnTo>
                  <a:lnTo>
                    <a:pt x="190" y="309"/>
                  </a:lnTo>
                  <a:lnTo>
                    <a:pt x="192" y="310"/>
                  </a:lnTo>
                  <a:lnTo>
                    <a:pt x="194" y="311"/>
                  </a:lnTo>
                  <a:lnTo>
                    <a:pt x="199" y="314"/>
                  </a:lnTo>
                  <a:lnTo>
                    <a:pt x="200" y="315"/>
                  </a:lnTo>
                  <a:lnTo>
                    <a:pt x="202" y="316"/>
                  </a:lnTo>
                  <a:lnTo>
                    <a:pt x="203" y="316"/>
                  </a:lnTo>
                  <a:lnTo>
                    <a:pt x="204" y="316"/>
                  </a:lnTo>
                  <a:lnTo>
                    <a:pt x="205" y="316"/>
                  </a:lnTo>
                  <a:lnTo>
                    <a:pt x="206" y="315"/>
                  </a:lnTo>
                  <a:lnTo>
                    <a:pt x="207" y="315"/>
                  </a:lnTo>
                  <a:lnTo>
                    <a:pt x="208" y="313"/>
                  </a:lnTo>
                  <a:lnTo>
                    <a:pt x="209" y="311"/>
                  </a:lnTo>
                  <a:lnTo>
                    <a:pt x="211" y="308"/>
                  </a:lnTo>
                  <a:lnTo>
                    <a:pt x="212" y="306"/>
                  </a:lnTo>
                  <a:lnTo>
                    <a:pt x="214" y="300"/>
                  </a:lnTo>
                  <a:lnTo>
                    <a:pt x="214" y="299"/>
                  </a:lnTo>
                  <a:lnTo>
                    <a:pt x="215" y="298"/>
                  </a:lnTo>
                  <a:lnTo>
                    <a:pt x="216" y="297"/>
                  </a:lnTo>
                  <a:lnTo>
                    <a:pt x="217" y="296"/>
                  </a:lnTo>
                  <a:lnTo>
                    <a:pt x="221" y="294"/>
                  </a:lnTo>
                  <a:lnTo>
                    <a:pt x="223" y="293"/>
                  </a:lnTo>
                  <a:lnTo>
                    <a:pt x="223" y="293"/>
                  </a:lnTo>
                  <a:lnTo>
                    <a:pt x="225" y="292"/>
                  </a:lnTo>
                  <a:lnTo>
                    <a:pt x="226" y="292"/>
                  </a:lnTo>
                  <a:lnTo>
                    <a:pt x="228" y="292"/>
                  </a:lnTo>
                  <a:lnTo>
                    <a:pt x="231" y="292"/>
                  </a:lnTo>
                  <a:lnTo>
                    <a:pt x="236" y="293"/>
                  </a:lnTo>
                  <a:lnTo>
                    <a:pt x="239" y="293"/>
                  </a:lnTo>
                  <a:lnTo>
                    <a:pt x="244" y="293"/>
                  </a:lnTo>
                  <a:lnTo>
                    <a:pt x="246" y="293"/>
                  </a:lnTo>
                  <a:lnTo>
                    <a:pt x="248" y="293"/>
                  </a:lnTo>
                  <a:lnTo>
                    <a:pt x="251" y="292"/>
                  </a:lnTo>
                  <a:lnTo>
                    <a:pt x="253" y="291"/>
                  </a:lnTo>
                  <a:lnTo>
                    <a:pt x="255" y="290"/>
                  </a:lnTo>
                  <a:lnTo>
                    <a:pt x="257" y="289"/>
                  </a:lnTo>
                  <a:lnTo>
                    <a:pt x="261" y="286"/>
                  </a:lnTo>
                  <a:lnTo>
                    <a:pt x="263" y="284"/>
                  </a:lnTo>
                  <a:lnTo>
                    <a:pt x="265" y="283"/>
                  </a:lnTo>
                  <a:lnTo>
                    <a:pt x="266" y="281"/>
                  </a:lnTo>
                  <a:lnTo>
                    <a:pt x="268" y="279"/>
                  </a:lnTo>
                  <a:lnTo>
                    <a:pt x="269" y="277"/>
                  </a:lnTo>
                  <a:lnTo>
                    <a:pt x="269" y="275"/>
                  </a:lnTo>
                  <a:lnTo>
                    <a:pt x="269" y="273"/>
                  </a:lnTo>
                  <a:lnTo>
                    <a:pt x="270" y="272"/>
                  </a:lnTo>
                  <a:lnTo>
                    <a:pt x="270" y="269"/>
                  </a:lnTo>
                  <a:lnTo>
                    <a:pt x="270" y="266"/>
                  </a:lnTo>
                  <a:lnTo>
                    <a:pt x="270" y="263"/>
                  </a:lnTo>
                  <a:lnTo>
                    <a:pt x="270" y="261"/>
                  </a:lnTo>
                  <a:lnTo>
                    <a:pt x="269" y="259"/>
                  </a:lnTo>
                  <a:lnTo>
                    <a:pt x="269" y="256"/>
                  </a:lnTo>
                  <a:lnTo>
                    <a:pt x="268" y="253"/>
                  </a:lnTo>
                  <a:lnTo>
                    <a:pt x="267" y="251"/>
                  </a:lnTo>
                  <a:lnTo>
                    <a:pt x="265" y="247"/>
                  </a:lnTo>
                  <a:lnTo>
                    <a:pt x="262" y="243"/>
                  </a:lnTo>
                  <a:lnTo>
                    <a:pt x="260" y="241"/>
                  </a:lnTo>
                  <a:lnTo>
                    <a:pt x="259" y="240"/>
                  </a:lnTo>
                  <a:lnTo>
                    <a:pt x="257" y="239"/>
                  </a:lnTo>
                  <a:lnTo>
                    <a:pt x="257" y="238"/>
                  </a:lnTo>
                  <a:lnTo>
                    <a:pt x="254" y="237"/>
                  </a:lnTo>
                  <a:lnTo>
                    <a:pt x="251" y="235"/>
                  </a:lnTo>
                  <a:lnTo>
                    <a:pt x="248" y="234"/>
                  </a:lnTo>
                  <a:lnTo>
                    <a:pt x="243" y="232"/>
                  </a:lnTo>
                  <a:lnTo>
                    <a:pt x="238" y="230"/>
                  </a:lnTo>
                  <a:lnTo>
                    <a:pt x="229" y="226"/>
                  </a:lnTo>
                  <a:lnTo>
                    <a:pt x="227" y="225"/>
                  </a:lnTo>
                  <a:lnTo>
                    <a:pt x="226" y="223"/>
                  </a:lnTo>
                  <a:lnTo>
                    <a:pt x="224" y="222"/>
                  </a:lnTo>
                  <a:lnTo>
                    <a:pt x="223" y="220"/>
                  </a:lnTo>
                  <a:lnTo>
                    <a:pt x="223" y="217"/>
                  </a:lnTo>
                  <a:lnTo>
                    <a:pt x="222" y="216"/>
                  </a:lnTo>
                  <a:lnTo>
                    <a:pt x="221" y="213"/>
                  </a:lnTo>
                  <a:lnTo>
                    <a:pt x="220" y="210"/>
                  </a:lnTo>
                  <a:lnTo>
                    <a:pt x="220" y="206"/>
                  </a:lnTo>
                  <a:lnTo>
                    <a:pt x="220" y="204"/>
                  </a:lnTo>
                  <a:lnTo>
                    <a:pt x="220" y="201"/>
                  </a:lnTo>
                  <a:lnTo>
                    <a:pt x="220" y="198"/>
                  </a:lnTo>
                  <a:lnTo>
                    <a:pt x="220" y="195"/>
                  </a:lnTo>
                  <a:lnTo>
                    <a:pt x="221" y="193"/>
                  </a:lnTo>
                  <a:lnTo>
                    <a:pt x="221" y="191"/>
                  </a:lnTo>
                  <a:lnTo>
                    <a:pt x="222" y="188"/>
                  </a:lnTo>
                  <a:lnTo>
                    <a:pt x="223" y="185"/>
                  </a:lnTo>
                  <a:lnTo>
                    <a:pt x="223" y="183"/>
                  </a:lnTo>
                  <a:lnTo>
                    <a:pt x="224" y="181"/>
                  </a:lnTo>
                  <a:lnTo>
                    <a:pt x="226" y="178"/>
                  </a:lnTo>
                  <a:lnTo>
                    <a:pt x="241" y="161"/>
                  </a:lnTo>
                  <a:lnTo>
                    <a:pt x="243" y="159"/>
                  </a:lnTo>
                  <a:lnTo>
                    <a:pt x="244" y="157"/>
                  </a:lnTo>
                  <a:lnTo>
                    <a:pt x="246" y="154"/>
                  </a:lnTo>
                  <a:lnTo>
                    <a:pt x="248" y="147"/>
                  </a:lnTo>
                  <a:lnTo>
                    <a:pt x="251" y="140"/>
                  </a:lnTo>
                  <a:lnTo>
                    <a:pt x="252" y="138"/>
                  </a:lnTo>
                  <a:lnTo>
                    <a:pt x="253" y="135"/>
                  </a:lnTo>
                  <a:lnTo>
                    <a:pt x="254" y="133"/>
                  </a:lnTo>
                  <a:lnTo>
                    <a:pt x="255" y="131"/>
                  </a:lnTo>
                  <a:lnTo>
                    <a:pt x="256" y="129"/>
                  </a:lnTo>
                  <a:lnTo>
                    <a:pt x="257" y="128"/>
                  </a:lnTo>
                  <a:lnTo>
                    <a:pt x="257" y="127"/>
                  </a:lnTo>
                  <a:lnTo>
                    <a:pt x="259" y="126"/>
                  </a:lnTo>
                  <a:lnTo>
                    <a:pt x="260" y="125"/>
                  </a:lnTo>
                  <a:lnTo>
                    <a:pt x="263" y="124"/>
                  </a:lnTo>
                  <a:lnTo>
                    <a:pt x="265" y="123"/>
                  </a:lnTo>
                  <a:lnTo>
                    <a:pt x="267" y="123"/>
                  </a:lnTo>
                  <a:lnTo>
                    <a:pt x="269" y="122"/>
                  </a:lnTo>
                  <a:lnTo>
                    <a:pt x="270" y="122"/>
                  </a:lnTo>
                  <a:lnTo>
                    <a:pt x="272" y="123"/>
                  </a:lnTo>
                  <a:lnTo>
                    <a:pt x="273" y="123"/>
                  </a:lnTo>
                  <a:lnTo>
                    <a:pt x="276" y="124"/>
                  </a:lnTo>
                  <a:lnTo>
                    <a:pt x="277" y="125"/>
                  </a:lnTo>
                  <a:lnTo>
                    <a:pt x="279" y="126"/>
                  </a:lnTo>
                  <a:lnTo>
                    <a:pt x="280" y="126"/>
                  </a:lnTo>
                  <a:lnTo>
                    <a:pt x="282" y="126"/>
                  </a:lnTo>
                  <a:lnTo>
                    <a:pt x="284" y="126"/>
                  </a:lnTo>
                  <a:lnTo>
                    <a:pt x="285" y="126"/>
                  </a:lnTo>
                  <a:lnTo>
                    <a:pt x="287" y="126"/>
                  </a:lnTo>
                  <a:lnTo>
                    <a:pt x="290" y="125"/>
                  </a:lnTo>
                  <a:lnTo>
                    <a:pt x="292" y="124"/>
                  </a:lnTo>
                  <a:lnTo>
                    <a:pt x="294" y="122"/>
                  </a:lnTo>
                  <a:lnTo>
                    <a:pt x="303" y="117"/>
                  </a:lnTo>
                  <a:lnTo>
                    <a:pt x="306" y="116"/>
                  </a:lnTo>
                  <a:lnTo>
                    <a:pt x="311" y="114"/>
                  </a:lnTo>
                  <a:lnTo>
                    <a:pt x="314" y="114"/>
                  </a:lnTo>
                  <a:lnTo>
                    <a:pt x="320" y="112"/>
                  </a:lnTo>
                  <a:lnTo>
                    <a:pt x="323" y="111"/>
                  </a:lnTo>
                  <a:lnTo>
                    <a:pt x="332" y="108"/>
                  </a:lnTo>
                  <a:lnTo>
                    <a:pt x="336" y="107"/>
                  </a:lnTo>
                  <a:lnTo>
                    <a:pt x="338" y="106"/>
                  </a:lnTo>
                  <a:lnTo>
                    <a:pt x="345" y="104"/>
                  </a:lnTo>
                  <a:lnTo>
                    <a:pt x="348" y="103"/>
                  </a:lnTo>
                  <a:lnTo>
                    <a:pt x="350" y="103"/>
                  </a:lnTo>
                  <a:lnTo>
                    <a:pt x="353" y="101"/>
                  </a:lnTo>
                  <a:lnTo>
                    <a:pt x="358" y="98"/>
                  </a:lnTo>
                  <a:lnTo>
                    <a:pt x="360" y="96"/>
                  </a:lnTo>
                  <a:lnTo>
                    <a:pt x="361" y="95"/>
                  </a:lnTo>
                  <a:lnTo>
                    <a:pt x="363" y="93"/>
                  </a:lnTo>
                  <a:lnTo>
                    <a:pt x="368" y="87"/>
                  </a:lnTo>
                  <a:lnTo>
                    <a:pt x="371" y="83"/>
                  </a:lnTo>
                  <a:lnTo>
                    <a:pt x="372" y="81"/>
                  </a:lnTo>
                  <a:lnTo>
                    <a:pt x="373" y="80"/>
                  </a:lnTo>
                  <a:lnTo>
                    <a:pt x="375" y="80"/>
                  </a:lnTo>
                  <a:lnTo>
                    <a:pt x="377" y="79"/>
                  </a:lnTo>
                  <a:lnTo>
                    <a:pt x="378" y="79"/>
                  </a:lnTo>
                  <a:lnTo>
                    <a:pt x="380" y="78"/>
                  </a:lnTo>
                  <a:lnTo>
                    <a:pt x="384" y="79"/>
                  </a:lnTo>
                  <a:lnTo>
                    <a:pt x="393" y="79"/>
                  </a:lnTo>
                  <a:lnTo>
                    <a:pt x="395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402" y="78"/>
                  </a:lnTo>
                  <a:lnTo>
                    <a:pt x="404" y="77"/>
                  </a:lnTo>
                  <a:lnTo>
                    <a:pt x="405" y="76"/>
                  </a:lnTo>
                  <a:lnTo>
                    <a:pt x="406" y="76"/>
                  </a:lnTo>
                  <a:lnTo>
                    <a:pt x="408" y="74"/>
                  </a:lnTo>
                  <a:lnTo>
                    <a:pt x="409" y="73"/>
                  </a:lnTo>
                  <a:lnTo>
                    <a:pt x="409" y="72"/>
                  </a:lnTo>
                  <a:lnTo>
                    <a:pt x="410" y="71"/>
                  </a:lnTo>
                  <a:lnTo>
                    <a:pt x="411" y="70"/>
                  </a:lnTo>
                  <a:lnTo>
                    <a:pt x="411" y="69"/>
                  </a:lnTo>
                  <a:lnTo>
                    <a:pt x="411" y="68"/>
                  </a:lnTo>
                  <a:lnTo>
                    <a:pt x="411" y="66"/>
                  </a:lnTo>
                  <a:lnTo>
                    <a:pt x="411" y="65"/>
                  </a:lnTo>
                  <a:lnTo>
                    <a:pt x="410" y="63"/>
                  </a:lnTo>
                  <a:lnTo>
                    <a:pt x="410" y="61"/>
                  </a:lnTo>
                  <a:lnTo>
                    <a:pt x="408" y="57"/>
                  </a:lnTo>
                  <a:lnTo>
                    <a:pt x="405" y="51"/>
                  </a:lnTo>
                  <a:lnTo>
                    <a:pt x="405" y="49"/>
                  </a:lnTo>
                  <a:lnTo>
                    <a:pt x="405" y="46"/>
                  </a:lnTo>
                  <a:lnTo>
                    <a:pt x="405" y="45"/>
                  </a:lnTo>
                  <a:lnTo>
                    <a:pt x="405" y="43"/>
                  </a:lnTo>
                  <a:lnTo>
                    <a:pt x="405" y="42"/>
                  </a:lnTo>
                  <a:lnTo>
                    <a:pt x="405" y="40"/>
                  </a:lnTo>
                  <a:lnTo>
                    <a:pt x="406" y="39"/>
                  </a:lnTo>
                  <a:lnTo>
                    <a:pt x="406" y="37"/>
                  </a:lnTo>
                  <a:lnTo>
                    <a:pt x="407" y="36"/>
                  </a:lnTo>
                  <a:lnTo>
                    <a:pt x="409" y="35"/>
                  </a:lnTo>
                  <a:lnTo>
                    <a:pt x="411" y="32"/>
                  </a:lnTo>
                  <a:lnTo>
                    <a:pt x="415" y="29"/>
                  </a:lnTo>
                  <a:lnTo>
                    <a:pt x="416" y="28"/>
                  </a:lnTo>
                  <a:lnTo>
                    <a:pt x="417" y="26"/>
                  </a:lnTo>
                  <a:lnTo>
                    <a:pt x="419" y="25"/>
                  </a:lnTo>
                  <a:lnTo>
                    <a:pt x="421" y="24"/>
                  </a:lnTo>
                  <a:lnTo>
                    <a:pt x="424" y="24"/>
                  </a:lnTo>
                  <a:lnTo>
                    <a:pt x="426" y="23"/>
                  </a:lnTo>
                  <a:lnTo>
                    <a:pt x="428" y="22"/>
                  </a:lnTo>
                  <a:lnTo>
                    <a:pt x="434" y="22"/>
                  </a:lnTo>
                  <a:lnTo>
                    <a:pt x="436" y="21"/>
                  </a:lnTo>
                  <a:lnTo>
                    <a:pt x="438" y="21"/>
                  </a:lnTo>
                  <a:lnTo>
                    <a:pt x="439" y="20"/>
                  </a:lnTo>
                  <a:lnTo>
                    <a:pt x="441" y="19"/>
                  </a:lnTo>
                  <a:lnTo>
                    <a:pt x="442" y="18"/>
                  </a:lnTo>
                  <a:lnTo>
                    <a:pt x="444" y="17"/>
                  </a:lnTo>
                  <a:lnTo>
                    <a:pt x="450" y="12"/>
                  </a:lnTo>
                  <a:lnTo>
                    <a:pt x="456" y="8"/>
                  </a:lnTo>
                  <a:lnTo>
                    <a:pt x="458" y="6"/>
                  </a:lnTo>
                  <a:lnTo>
                    <a:pt x="459" y="4"/>
                  </a:lnTo>
                  <a:lnTo>
                    <a:pt x="461" y="2"/>
                  </a:lnTo>
                  <a:lnTo>
                    <a:pt x="462" y="1"/>
                  </a:lnTo>
                  <a:lnTo>
                    <a:pt x="462" y="1"/>
                  </a:lnTo>
                  <a:lnTo>
                    <a:pt x="462" y="0"/>
                  </a:lnTo>
                  <a:lnTo>
                    <a:pt x="473" y="8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9" name="Freeform 102">
              <a:extLst>
                <a:ext uri="{FF2B5EF4-FFF2-40B4-BE49-F238E27FC236}">
                  <a16:creationId xmlns:a16="http://schemas.microsoft.com/office/drawing/2014/main" id="{BF4BBBCF-822E-4E9E-83F4-0B8F31DD6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52"/>
              <a:ext cx="1409" cy="1186"/>
            </a:xfrm>
            <a:custGeom>
              <a:avLst/>
              <a:gdLst>
                <a:gd name="T0" fmla="*/ 608 w 1409"/>
                <a:gd name="T1" fmla="*/ 5 h 1186"/>
                <a:gd name="T2" fmla="*/ 668 w 1409"/>
                <a:gd name="T3" fmla="*/ 13 h 1186"/>
                <a:gd name="T4" fmla="*/ 726 w 1409"/>
                <a:gd name="T5" fmla="*/ 40 h 1186"/>
                <a:gd name="T6" fmla="*/ 690 w 1409"/>
                <a:gd name="T7" fmla="*/ 55 h 1186"/>
                <a:gd name="T8" fmla="*/ 688 w 1409"/>
                <a:gd name="T9" fmla="*/ 95 h 1186"/>
                <a:gd name="T10" fmla="*/ 746 w 1409"/>
                <a:gd name="T11" fmla="*/ 113 h 1186"/>
                <a:gd name="T12" fmla="*/ 724 w 1409"/>
                <a:gd name="T13" fmla="*/ 163 h 1186"/>
                <a:gd name="T14" fmla="*/ 747 w 1409"/>
                <a:gd name="T15" fmla="*/ 226 h 1186"/>
                <a:gd name="T16" fmla="*/ 737 w 1409"/>
                <a:gd name="T17" fmla="*/ 257 h 1186"/>
                <a:gd name="T18" fmla="*/ 793 w 1409"/>
                <a:gd name="T19" fmla="*/ 270 h 1186"/>
                <a:gd name="T20" fmla="*/ 815 w 1409"/>
                <a:gd name="T21" fmla="*/ 221 h 1186"/>
                <a:gd name="T22" fmla="*/ 783 w 1409"/>
                <a:gd name="T23" fmla="*/ 175 h 1186"/>
                <a:gd name="T24" fmla="*/ 821 w 1409"/>
                <a:gd name="T25" fmla="*/ 152 h 1186"/>
                <a:gd name="T26" fmla="*/ 863 w 1409"/>
                <a:gd name="T27" fmla="*/ 189 h 1186"/>
                <a:gd name="T28" fmla="*/ 893 w 1409"/>
                <a:gd name="T29" fmla="*/ 244 h 1186"/>
                <a:gd name="T30" fmla="*/ 918 w 1409"/>
                <a:gd name="T31" fmla="*/ 271 h 1186"/>
                <a:gd name="T32" fmla="*/ 928 w 1409"/>
                <a:gd name="T33" fmla="*/ 287 h 1186"/>
                <a:gd name="T34" fmla="*/ 957 w 1409"/>
                <a:gd name="T35" fmla="*/ 330 h 1186"/>
                <a:gd name="T36" fmla="*/ 1009 w 1409"/>
                <a:gd name="T37" fmla="*/ 393 h 1186"/>
                <a:gd name="T38" fmla="*/ 1004 w 1409"/>
                <a:gd name="T39" fmla="*/ 477 h 1186"/>
                <a:gd name="T40" fmla="*/ 1020 w 1409"/>
                <a:gd name="T41" fmla="*/ 524 h 1186"/>
                <a:gd name="T42" fmla="*/ 1047 w 1409"/>
                <a:gd name="T43" fmla="*/ 542 h 1186"/>
                <a:gd name="T44" fmla="*/ 1011 w 1409"/>
                <a:gd name="T45" fmla="*/ 588 h 1186"/>
                <a:gd name="T46" fmla="*/ 988 w 1409"/>
                <a:gd name="T47" fmla="*/ 635 h 1186"/>
                <a:gd name="T48" fmla="*/ 1046 w 1409"/>
                <a:gd name="T49" fmla="*/ 630 h 1186"/>
                <a:gd name="T50" fmla="*/ 1075 w 1409"/>
                <a:gd name="T51" fmla="*/ 658 h 1186"/>
                <a:gd name="T52" fmla="*/ 1100 w 1409"/>
                <a:gd name="T53" fmla="*/ 694 h 1186"/>
                <a:gd name="T54" fmla="*/ 1167 w 1409"/>
                <a:gd name="T55" fmla="*/ 718 h 1186"/>
                <a:gd name="T56" fmla="*/ 1186 w 1409"/>
                <a:gd name="T57" fmla="*/ 753 h 1186"/>
                <a:gd name="T58" fmla="*/ 1245 w 1409"/>
                <a:gd name="T59" fmla="*/ 779 h 1186"/>
                <a:gd name="T60" fmla="*/ 1315 w 1409"/>
                <a:gd name="T61" fmla="*/ 781 h 1186"/>
                <a:gd name="T62" fmla="*/ 1331 w 1409"/>
                <a:gd name="T63" fmla="*/ 815 h 1186"/>
                <a:gd name="T64" fmla="*/ 1401 w 1409"/>
                <a:gd name="T65" fmla="*/ 874 h 1186"/>
                <a:gd name="T66" fmla="*/ 1361 w 1409"/>
                <a:gd name="T67" fmla="*/ 926 h 1186"/>
                <a:gd name="T68" fmla="*/ 1316 w 1409"/>
                <a:gd name="T69" fmla="*/ 940 h 1186"/>
                <a:gd name="T70" fmla="*/ 1265 w 1409"/>
                <a:gd name="T71" fmla="*/ 914 h 1186"/>
                <a:gd name="T72" fmla="*/ 1211 w 1409"/>
                <a:gd name="T73" fmla="*/ 944 h 1186"/>
                <a:gd name="T74" fmla="*/ 1153 w 1409"/>
                <a:gd name="T75" fmla="*/ 917 h 1186"/>
                <a:gd name="T76" fmla="*/ 1069 w 1409"/>
                <a:gd name="T77" fmla="*/ 883 h 1186"/>
                <a:gd name="T78" fmla="*/ 998 w 1409"/>
                <a:gd name="T79" fmla="*/ 933 h 1186"/>
                <a:gd name="T80" fmla="*/ 948 w 1409"/>
                <a:gd name="T81" fmla="*/ 1011 h 1186"/>
                <a:gd name="T82" fmla="*/ 894 w 1409"/>
                <a:gd name="T83" fmla="*/ 1120 h 1186"/>
                <a:gd name="T84" fmla="*/ 868 w 1409"/>
                <a:gd name="T85" fmla="*/ 1184 h 1186"/>
                <a:gd name="T86" fmla="*/ 850 w 1409"/>
                <a:gd name="T87" fmla="*/ 1151 h 1186"/>
                <a:gd name="T88" fmla="*/ 830 w 1409"/>
                <a:gd name="T89" fmla="*/ 1077 h 1186"/>
                <a:gd name="T90" fmla="*/ 770 w 1409"/>
                <a:gd name="T91" fmla="*/ 1081 h 1186"/>
                <a:gd name="T92" fmla="*/ 697 w 1409"/>
                <a:gd name="T93" fmla="*/ 1058 h 1186"/>
                <a:gd name="T94" fmla="*/ 660 w 1409"/>
                <a:gd name="T95" fmla="*/ 1053 h 1186"/>
                <a:gd name="T96" fmla="*/ 640 w 1409"/>
                <a:gd name="T97" fmla="*/ 1005 h 1186"/>
                <a:gd name="T98" fmla="*/ 567 w 1409"/>
                <a:gd name="T99" fmla="*/ 985 h 1186"/>
                <a:gd name="T100" fmla="*/ 504 w 1409"/>
                <a:gd name="T101" fmla="*/ 978 h 1186"/>
                <a:gd name="T102" fmla="*/ 462 w 1409"/>
                <a:gd name="T103" fmla="*/ 1023 h 1186"/>
                <a:gd name="T104" fmla="*/ 408 w 1409"/>
                <a:gd name="T105" fmla="*/ 1064 h 1186"/>
                <a:gd name="T106" fmla="*/ 378 w 1409"/>
                <a:gd name="T107" fmla="*/ 1062 h 1186"/>
                <a:gd name="T108" fmla="*/ 254 w 1409"/>
                <a:gd name="T109" fmla="*/ 1052 h 1186"/>
                <a:gd name="T110" fmla="*/ 172 w 1409"/>
                <a:gd name="T111" fmla="*/ 1039 h 1186"/>
                <a:gd name="T112" fmla="*/ 90 w 1409"/>
                <a:gd name="T113" fmla="*/ 980 h 1186"/>
                <a:gd name="T114" fmla="*/ 69 w 1409"/>
                <a:gd name="T115" fmla="*/ 957 h 1186"/>
                <a:gd name="T116" fmla="*/ 40 w 1409"/>
                <a:gd name="T117" fmla="*/ 936 h 1186"/>
                <a:gd name="T118" fmla="*/ 4 w 1409"/>
                <a:gd name="T119" fmla="*/ 911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9" h="1186">
                  <a:moveTo>
                    <a:pt x="543" y="0"/>
                  </a:moveTo>
                  <a:lnTo>
                    <a:pt x="543" y="0"/>
                  </a:lnTo>
                  <a:lnTo>
                    <a:pt x="547" y="1"/>
                  </a:lnTo>
                  <a:lnTo>
                    <a:pt x="554" y="3"/>
                  </a:lnTo>
                  <a:lnTo>
                    <a:pt x="558" y="4"/>
                  </a:lnTo>
                  <a:lnTo>
                    <a:pt x="563" y="5"/>
                  </a:lnTo>
                  <a:lnTo>
                    <a:pt x="570" y="5"/>
                  </a:lnTo>
                  <a:lnTo>
                    <a:pt x="575" y="5"/>
                  </a:lnTo>
                  <a:lnTo>
                    <a:pt x="578" y="5"/>
                  </a:lnTo>
                  <a:lnTo>
                    <a:pt x="582" y="4"/>
                  </a:lnTo>
                  <a:lnTo>
                    <a:pt x="589" y="1"/>
                  </a:lnTo>
                  <a:lnTo>
                    <a:pt x="591" y="1"/>
                  </a:lnTo>
                  <a:lnTo>
                    <a:pt x="592" y="1"/>
                  </a:lnTo>
                  <a:lnTo>
                    <a:pt x="595" y="1"/>
                  </a:lnTo>
                  <a:lnTo>
                    <a:pt x="599" y="2"/>
                  </a:lnTo>
                  <a:lnTo>
                    <a:pt x="601" y="2"/>
                  </a:lnTo>
                  <a:lnTo>
                    <a:pt x="608" y="5"/>
                  </a:lnTo>
                  <a:lnTo>
                    <a:pt x="610" y="5"/>
                  </a:lnTo>
                  <a:lnTo>
                    <a:pt x="611" y="5"/>
                  </a:lnTo>
                  <a:lnTo>
                    <a:pt x="613" y="5"/>
                  </a:lnTo>
                  <a:lnTo>
                    <a:pt x="615" y="5"/>
                  </a:lnTo>
                  <a:lnTo>
                    <a:pt x="622" y="4"/>
                  </a:lnTo>
                  <a:lnTo>
                    <a:pt x="625" y="3"/>
                  </a:lnTo>
                  <a:lnTo>
                    <a:pt x="627" y="3"/>
                  </a:lnTo>
                  <a:lnTo>
                    <a:pt x="630" y="3"/>
                  </a:lnTo>
                  <a:lnTo>
                    <a:pt x="635" y="4"/>
                  </a:lnTo>
                  <a:lnTo>
                    <a:pt x="643" y="5"/>
                  </a:lnTo>
                  <a:lnTo>
                    <a:pt x="645" y="5"/>
                  </a:lnTo>
                  <a:lnTo>
                    <a:pt x="647" y="6"/>
                  </a:lnTo>
                  <a:lnTo>
                    <a:pt x="652" y="7"/>
                  </a:lnTo>
                  <a:lnTo>
                    <a:pt x="655" y="8"/>
                  </a:lnTo>
                  <a:lnTo>
                    <a:pt x="658" y="9"/>
                  </a:lnTo>
                  <a:lnTo>
                    <a:pt x="661" y="11"/>
                  </a:lnTo>
                  <a:lnTo>
                    <a:pt x="668" y="13"/>
                  </a:lnTo>
                  <a:lnTo>
                    <a:pt x="685" y="22"/>
                  </a:lnTo>
                  <a:lnTo>
                    <a:pt x="690" y="24"/>
                  </a:lnTo>
                  <a:lnTo>
                    <a:pt x="694" y="26"/>
                  </a:lnTo>
                  <a:lnTo>
                    <a:pt x="698" y="28"/>
                  </a:lnTo>
                  <a:lnTo>
                    <a:pt x="702" y="29"/>
                  </a:lnTo>
                  <a:lnTo>
                    <a:pt x="707" y="31"/>
                  </a:lnTo>
                  <a:lnTo>
                    <a:pt x="711" y="32"/>
                  </a:lnTo>
                  <a:lnTo>
                    <a:pt x="714" y="33"/>
                  </a:lnTo>
                  <a:lnTo>
                    <a:pt x="718" y="33"/>
                  </a:lnTo>
                  <a:lnTo>
                    <a:pt x="722" y="33"/>
                  </a:lnTo>
                  <a:lnTo>
                    <a:pt x="725" y="33"/>
                  </a:lnTo>
                  <a:lnTo>
                    <a:pt x="729" y="33"/>
                  </a:lnTo>
                  <a:lnTo>
                    <a:pt x="730" y="33"/>
                  </a:lnTo>
                  <a:lnTo>
                    <a:pt x="730" y="33"/>
                  </a:lnTo>
                  <a:lnTo>
                    <a:pt x="728" y="35"/>
                  </a:lnTo>
                  <a:lnTo>
                    <a:pt x="727" y="37"/>
                  </a:lnTo>
                  <a:lnTo>
                    <a:pt x="726" y="40"/>
                  </a:lnTo>
                  <a:lnTo>
                    <a:pt x="725" y="43"/>
                  </a:lnTo>
                  <a:lnTo>
                    <a:pt x="725" y="50"/>
                  </a:lnTo>
                  <a:lnTo>
                    <a:pt x="724" y="52"/>
                  </a:lnTo>
                  <a:lnTo>
                    <a:pt x="724" y="53"/>
                  </a:lnTo>
                  <a:lnTo>
                    <a:pt x="723" y="54"/>
                  </a:lnTo>
                  <a:lnTo>
                    <a:pt x="722" y="56"/>
                  </a:lnTo>
                  <a:lnTo>
                    <a:pt x="721" y="56"/>
                  </a:lnTo>
                  <a:lnTo>
                    <a:pt x="720" y="57"/>
                  </a:lnTo>
                  <a:lnTo>
                    <a:pt x="718" y="57"/>
                  </a:lnTo>
                  <a:lnTo>
                    <a:pt x="717" y="58"/>
                  </a:lnTo>
                  <a:lnTo>
                    <a:pt x="715" y="58"/>
                  </a:lnTo>
                  <a:lnTo>
                    <a:pt x="713" y="58"/>
                  </a:lnTo>
                  <a:lnTo>
                    <a:pt x="711" y="57"/>
                  </a:lnTo>
                  <a:lnTo>
                    <a:pt x="702" y="56"/>
                  </a:lnTo>
                  <a:lnTo>
                    <a:pt x="693" y="55"/>
                  </a:lnTo>
                  <a:lnTo>
                    <a:pt x="691" y="55"/>
                  </a:lnTo>
                  <a:lnTo>
                    <a:pt x="690" y="55"/>
                  </a:lnTo>
                  <a:lnTo>
                    <a:pt x="690" y="55"/>
                  </a:lnTo>
                  <a:lnTo>
                    <a:pt x="689" y="56"/>
                  </a:lnTo>
                  <a:lnTo>
                    <a:pt x="688" y="57"/>
                  </a:lnTo>
                  <a:lnTo>
                    <a:pt x="687" y="59"/>
                  </a:lnTo>
                  <a:lnTo>
                    <a:pt x="687" y="61"/>
                  </a:lnTo>
                  <a:lnTo>
                    <a:pt x="686" y="64"/>
                  </a:lnTo>
                  <a:lnTo>
                    <a:pt x="686" y="66"/>
                  </a:lnTo>
                  <a:lnTo>
                    <a:pt x="686" y="68"/>
                  </a:lnTo>
                  <a:lnTo>
                    <a:pt x="687" y="76"/>
                  </a:lnTo>
                  <a:lnTo>
                    <a:pt x="687" y="79"/>
                  </a:lnTo>
                  <a:lnTo>
                    <a:pt x="687" y="80"/>
                  </a:lnTo>
                  <a:lnTo>
                    <a:pt x="687" y="87"/>
                  </a:lnTo>
                  <a:lnTo>
                    <a:pt x="687" y="90"/>
                  </a:lnTo>
                  <a:lnTo>
                    <a:pt x="687" y="91"/>
                  </a:lnTo>
                  <a:lnTo>
                    <a:pt x="687" y="92"/>
                  </a:lnTo>
                  <a:lnTo>
                    <a:pt x="688" y="94"/>
                  </a:lnTo>
                  <a:lnTo>
                    <a:pt x="688" y="95"/>
                  </a:lnTo>
                  <a:lnTo>
                    <a:pt x="689" y="96"/>
                  </a:lnTo>
                  <a:lnTo>
                    <a:pt x="690" y="97"/>
                  </a:lnTo>
                  <a:lnTo>
                    <a:pt x="691" y="97"/>
                  </a:lnTo>
                  <a:lnTo>
                    <a:pt x="693" y="98"/>
                  </a:lnTo>
                  <a:lnTo>
                    <a:pt x="700" y="100"/>
                  </a:lnTo>
                  <a:lnTo>
                    <a:pt x="708" y="102"/>
                  </a:lnTo>
                  <a:lnTo>
                    <a:pt x="718" y="105"/>
                  </a:lnTo>
                  <a:lnTo>
                    <a:pt x="723" y="106"/>
                  </a:lnTo>
                  <a:lnTo>
                    <a:pt x="728" y="107"/>
                  </a:lnTo>
                  <a:lnTo>
                    <a:pt x="732" y="108"/>
                  </a:lnTo>
                  <a:lnTo>
                    <a:pt x="736" y="108"/>
                  </a:lnTo>
                  <a:lnTo>
                    <a:pt x="742" y="110"/>
                  </a:lnTo>
                  <a:lnTo>
                    <a:pt x="743" y="110"/>
                  </a:lnTo>
                  <a:lnTo>
                    <a:pt x="745" y="111"/>
                  </a:lnTo>
                  <a:lnTo>
                    <a:pt x="746" y="111"/>
                  </a:lnTo>
                  <a:lnTo>
                    <a:pt x="746" y="112"/>
                  </a:lnTo>
                  <a:lnTo>
                    <a:pt x="746" y="113"/>
                  </a:lnTo>
                  <a:lnTo>
                    <a:pt x="745" y="113"/>
                  </a:lnTo>
                  <a:lnTo>
                    <a:pt x="745" y="113"/>
                  </a:lnTo>
                  <a:lnTo>
                    <a:pt x="741" y="115"/>
                  </a:lnTo>
                  <a:lnTo>
                    <a:pt x="740" y="117"/>
                  </a:lnTo>
                  <a:lnTo>
                    <a:pt x="738" y="118"/>
                  </a:lnTo>
                  <a:lnTo>
                    <a:pt x="736" y="120"/>
                  </a:lnTo>
                  <a:lnTo>
                    <a:pt x="735" y="123"/>
                  </a:lnTo>
                  <a:lnTo>
                    <a:pt x="732" y="128"/>
                  </a:lnTo>
                  <a:lnTo>
                    <a:pt x="731" y="131"/>
                  </a:lnTo>
                  <a:lnTo>
                    <a:pt x="726" y="138"/>
                  </a:lnTo>
                  <a:lnTo>
                    <a:pt x="725" y="141"/>
                  </a:lnTo>
                  <a:lnTo>
                    <a:pt x="724" y="144"/>
                  </a:lnTo>
                  <a:lnTo>
                    <a:pt x="723" y="147"/>
                  </a:lnTo>
                  <a:lnTo>
                    <a:pt x="723" y="152"/>
                  </a:lnTo>
                  <a:lnTo>
                    <a:pt x="723" y="155"/>
                  </a:lnTo>
                  <a:lnTo>
                    <a:pt x="723" y="158"/>
                  </a:lnTo>
                  <a:lnTo>
                    <a:pt x="724" y="163"/>
                  </a:lnTo>
                  <a:lnTo>
                    <a:pt x="724" y="167"/>
                  </a:lnTo>
                  <a:lnTo>
                    <a:pt x="725" y="175"/>
                  </a:lnTo>
                  <a:lnTo>
                    <a:pt x="729" y="185"/>
                  </a:lnTo>
                  <a:lnTo>
                    <a:pt x="730" y="191"/>
                  </a:lnTo>
                  <a:lnTo>
                    <a:pt x="732" y="195"/>
                  </a:lnTo>
                  <a:lnTo>
                    <a:pt x="733" y="196"/>
                  </a:lnTo>
                  <a:lnTo>
                    <a:pt x="734" y="199"/>
                  </a:lnTo>
                  <a:lnTo>
                    <a:pt x="736" y="202"/>
                  </a:lnTo>
                  <a:lnTo>
                    <a:pt x="741" y="208"/>
                  </a:lnTo>
                  <a:lnTo>
                    <a:pt x="743" y="211"/>
                  </a:lnTo>
                  <a:lnTo>
                    <a:pt x="745" y="215"/>
                  </a:lnTo>
                  <a:lnTo>
                    <a:pt x="746" y="217"/>
                  </a:lnTo>
                  <a:lnTo>
                    <a:pt x="747" y="221"/>
                  </a:lnTo>
                  <a:lnTo>
                    <a:pt x="747" y="223"/>
                  </a:lnTo>
                  <a:lnTo>
                    <a:pt x="747" y="224"/>
                  </a:lnTo>
                  <a:lnTo>
                    <a:pt x="747" y="226"/>
                  </a:lnTo>
                  <a:lnTo>
                    <a:pt x="747" y="226"/>
                  </a:lnTo>
                  <a:lnTo>
                    <a:pt x="747" y="227"/>
                  </a:lnTo>
                  <a:lnTo>
                    <a:pt x="746" y="229"/>
                  </a:lnTo>
                  <a:lnTo>
                    <a:pt x="745" y="230"/>
                  </a:lnTo>
                  <a:lnTo>
                    <a:pt x="739" y="235"/>
                  </a:lnTo>
                  <a:lnTo>
                    <a:pt x="737" y="237"/>
                  </a:lnTo>
                  <a:lnTo>
                    <a:pt x="736" y="238"/>
                  </a:lnTo>
                  <a:lnTo>
                    <a:pt x="736" y="239"/>
                  </a:lnTo>
                  <a:lnTo>
                    <a:pt x="735" y="241"/>
                  </a:lnTo>
                  <a:lnTo>
                    <a:pt x="735" y="243"/>
                  </a:lnTo>
                  <a:lnTo>
                    <a:pt x="734" y="245"/>
                  </a:lnTo>
                  <a:lnTo>
                    <a:pt x="734" y="247"/>
                  </a:lnTo>
                  <a:lnTo>
                    <a:pt x="734" y="249"/>
                  </a:lnTo>
                  <a:lnTo>
                    <a:pt x="734" y="250"/>
                  </a:lnTo>
                  <a:lnTo>
                    <a:pt x="735" y="251"/>
                  </a:lnTo>
                  <a:lnTo>
                    <a:pt x="735" y="253"/>
                  </a:lnTo>
                  <a:lnTo>
                    <a:pt x="736" y="254"/>
                  </a:lnTo>
                  <a:lnTo>
                    <a:pt x="737" y="257"/>
                  </a:lnTo>
                  <a:lnTo>
                    <a:pt x="740" y="260"/>
                  </a:lnTo>
                  <a:lnTo>
                    <a:pt x="742" y="261"/>
                  </a:lnTo>
                  <a:lnTo>
                    <a:pt x="743" y="263"/>
                  </a:lnTo>
                  <a:lnTo>
                    <a:pt x="747" y="267"/>
                  </a:lnTo>
                  <a:lnTo>
                    <a:pt x="757" y="272"/>
                  </a:lnTo>
                  <a:lnTo>
                    <a:pt x="761" y="275"/>
                  </a:lnTo>
                  <a:lnTo>
                    <a:pt x="765" y="277"/>
                  </a:lnTo>
                  <a:lnTo>
                    <a:pt x="769" y="279"/>
                  </a:lnTo>
                  <a:lnTo>
                    <a:pt x="772" y="280"/>
                  </a:lnTo>
                  <a:lnTo>
                    <a:pt x="775" y="281"/>
                  </a:lnTo>
                  <a:lnTo>
                    <a:pt x="778" y="281"/>
                  </a:lnTo>
                  <a:lnTo>
                    <a:pt x="780" y="280"/>
                  </a:lnTo>
                  <a:lnTo>
                    <a:pt x="781" y="280"/>
                  </a:lnTo>
                  <a:lnTo>
                    <a:pt x="784" y="278"/>
                  </a:lnTo>
                  <a:lnTo>
                    <a:pt x="787" y="276"/>
                  </a:lnTo>
                  <a:lnTo>
                    <a:pt x="790" y="273"/>
                  </a:lnTo>
                  <a:lnTo>
                    <a:pt x="793" y="270"/>
                  </a:lnTo>
                  <a:lnTo>
                    <a:pt x="796" y="267"/>
                  </a:lnTo>
                  <a:lnTo>
                    <a:pt x="798" y="265"/>
                  </a:lnTo>
                  <a:lnTo>
                    <a:pt x="800" y="262"/>
                  </a:lnTo>
                  <a:lnTo>
                    <a:pt x="802" y="260"/>
                  </a:lnTo>
                  <a:lnTo>
                    <a:pt x="804" y="256"/>
                  </a:lnTo>
                  <a:lnTo>
                    <a:pt x="806" y="249"/>
                  </a:lnTo>
                  <a:lnTo>
                    <a:pt x="808" y="244"/>
                  </a:lnTo>
                  <a:lnTo>
                    <a:pt x="811" y="240"/>
                  </a:lnTo>
                  <a:lnTo>
                    <a:pt x="814" y="236"/>
                  </a:lnTo>
                  <a:lnTo>
                    <a:pt x="815" y="234"/>
                  </a:lnTo>
                  <a:lnTo>
                    <a:pt x="815" y="232"/>
                  </a:lnTo>
                  <a:lnTo>
                    <a:pt x="815" y="231"/>
                  </a:lnTo>
                  <a:lnTo>
                    <a:pt x="815" y="229"/>
                  </a:lnTo>
                  <a:lnTo>
                    <a:pt x="815" y="227"/>
                  </a:lnTo>
                  <a:lnTo>
                    <a:pt x="815" y="226"/>
                  </a:lnTo>
                  <a:lnTo>
                    <a:pt x="815" y="224"/>
                  </a:lnTo>
                  <a:lnTo>
                    <a:pt x="815" y="221"/>
                  </a:lnTo>
                  <a:lnTo>
                    <a:pt x="814" y="219"/>
                  </a:lnTo>
                  <a:lnTo>
                    <a:pt x="813" y="216"/>
                  </a:lnTo>
                  <a:lnTo>
                    <a:pt x="809" y="212"/>
                  </a:lnTo>
                  <a:lnTo>
                    <a:pt x="808" y="210"/>
                  </a:lnTo>
                  <a:lnTo>
                    <a:pt x="808" y="208"/>
                  </a:lnTo>
                  <a:lnTo>
                    <a:pt x="806" y="203"/>
                  </a:lnTo>
                  <a:lnTo>
                    <a:pt x="805" y="202"/>
                  </a:lnTo>
                  <a:lnTo>
                    <a:pt x="804" y="200"/>
                  </a:lnTo>
                  <a:lnTo>
                    <a:pt x="804" y="198"/>
                  </a:lnTo>
                  <a:lnTo>
                    <a:pt x="802" y="196"/>
                  </a:lnTo>
                  <a:lnTo>
                    <a:pt x="789" y="184"/>
                  </a:lnTo>
                  <a:lnTo>
                    <a:pt x="788" y="183"/>
                  </a:lnTo>
                  <a:lnTo>
                    <a:pt x="787" y="181"/>
                  </a:lnTo>
                  <a:lnTo>
                    <a:pt x="786" y="181"/>
                  </a:lnTo>
                  <a:lnTo>
                    <a:pt x="785" y="179"/>
                  </a:lnTo>
                  <a:lnTo>
                    <a:pt x="784" y="177"/>
                  </a:lnTo>
                  <a:lnTo>
                    <a:pt x="783" y="175"/>
                  </a:lnTo>
                  <a:lnTo>
                    <a:pt x="782" y="174"/>
                  </a:lnTo>
                  <a:lnTo>
                    <a:pt x="782" y="173"/>
                  </a:lnTo>
                  <a:lnTo>
                    <a:pt x="782" y="172"/>
                  </a:lnTo>
                  <a:lnTo>
                    <a:pt x="783" y="172"/>
                  </a:lnTo>
                  <a:lnTo>
                    <a:pt x="783" y="171"/>
                  </a:lnTo>
                  <a:lnTo>
                    <a:pt x="784" y="170"/>
                  </a:lnTo>
                  <a:lnTo>
                    <a:pt x="788" y="166"/>
                  </a:lnTo>
                  <a:lnTo>
                    <a:pt x="792" y="162"/>
                  </a:lnTo>
                  <a:lnTo>
                    <a:pt x="794" y="160"/>
                  </a:lnTo>
                  <a:lnTo>
                    <a:pt x="798" y="158"/>
                  </a:lnTo>
                  <a:lnTo>
                    <a:pt x="803" y="156"/>
                  </a:lnTo>
                  <a:lnTo>
                    <a:pt x="806" y="154"/>
                  </a:lnTo>
                  <a:lnTo>
                    <a:pt x="811" y="153"/>
                  </a:lnTo>
                  <a:lnTo>
                    <a:pt x="813" y="152"/>
                  </a:lnTo>
                  <a:lnTo>
                    <a:pt x="816" y="152"/>
                  </a:lnTo>
                  <a:lnTo>
                    <a:pt x="818" y="152"/>
                  </a:lnTo>
                  <a:lnTo>
                    <a:pt x="821" y="152"/>
                  </a:lnTo>
                  <a:lnTo>
                    <a:pt x="825" y="153"/>
                  </a:lnTo>
                  <a:lnTo>
                    <a:pt x="832" y="156"/>
                  </a:lnTo>
                  <a:lnTo>
                    <a:pt x="837" y="157"/>
                  </a:lnTo>
                  <a:lnTo>
                    <a:pt x="838" y="158"/>
                  </a:lnTo>
                  <a:lnTo>
                    <a:pt x="839" y="158"/>
                  </a:lnTo>
                  <a:lnTo>
                    <a:pt x="841" y="159"/>
                  </a:lnTo>
                  <a:lnTo>
                    <a:pt x="843" y="160"/>
                  </a:lnTo>
                  <a:lnTo>
                    <a:pt x="845" y="163"/>
                  </a:lnTo>
                  <a:lnTo>
                    <a:pt x="848" y="166"/>
                  </a:lnTo>
                  <a:lnTo>
                    <a:pt x="850" y="169"/>
                  </a:lnTo>
                  <a:lnTo>
                    <a:pt x="850" y="170"/>
                  </a:lnTo>
                  <a:lnTo>
                    <a:pt x="853" y="175"/>
                  </a:lnTo>
                  <a:lnTo>
                    <a:pt x="855" y="179"/>
                  </a:lnTo>
                  <a:lnTo>
                    <a:pt x="857" y="181"/>
                  </a:lnTo>
                  <a:lnTo>
                    <a:pt x="861" y="185"/>
                  </a:lnTo>
                  <a:lnTo>
                    <a:pt x="862" y="187"/>
                  </a:lnTo>
                  <a:lnTo>
                    <a:pt x="863" y="189"/>
                  </a:lnTo>
                  <a:lnTo>
                    <a:pt x="865" y="192"/>
                  </a:lnTo>
                  <a:lnTo>
                    <a:pt x="866" y="194"/>
                  </a:lnTo>
                  <a:lnTo>
                    <a:pt x="868" y="195"/>
                  </a:lnTo>
                  <a:lnTo>
                    <a:pt x="870" y="199"/>
                  </a:lnTo>
                  <a:lnTo>
                    <a:pt x="872" y="201"/>
                  </a:lnTo>
                  <a:lnTo>
                    <a:pt x="872" y="203"/>
                  </a:lnTo>
                  <a:lnTo>
                    <a:pt x="874" y="206"/>
                  </a:lnTo>
                  <a:lnTo>
                    <a:pt x="876" y="213"/>
                  </a:lnTo>
                  <a:lnTo>
                    <a:pt x="879" y="221"/>
                  </a:lnTo>
                  <a:lnTo>
                    <a:pt x="881" y="228"/>
                  </a:lnTo>
                  <a:lnTo>
                    <a:pt x="882" y="231"/>
                  </a:lnTo>
                  <a:lnTo>
                    <a:pt x="883" y="233"/>
                  </a:lnTo>
                  <a:lnTo>
                    <a:pt x="884" y="235"/>
                  </a:lnTo>
                  <a:lnTo>
                    <a:pt x="885" y="237"/>
                  </a:lnTo>
                  <a:lnTo>
                    <a:pt x="887" y="238"/>
                  </a:lnTo>
                  <a:lnTo>
                    <a:pt x="892" y="243"/>
                  </a:lnTo>
                  <a:lnTo>
                    <a:pt x="893" y="244"/>
                  </a:lnTo>
                  <a:lnTo>
                    <a:pt x="894" y="246"/>
                  </a:lnTo>
                  <a:lnTo>
                    <a:pt x="895" y="247"/>
                  </a:lnTo>
                  <a:lnTo>
                    <a:pt x="895" y="249"/>
                  </a:lnTo>
                  <a:lnTo>
                    <a:pt x="899" y="255"/>
                  </a:lnTo>
                  <a:lnTo>
                    <a:pt x="900" y="257"/>
                  </a:lnTo>
                  <a:lnTo>
                    <a:pt x="901" y="259"/>
                  </a:lnTo>
                  <a:lnTo>
                    <a:pt x="904" y="261"/>
                  </a:lnTo>
                  <a:lnTo>
                    <a:pt x="906" y="264"/>
                  </a:lnTo>
                  <a:lnTo>
                    <a:pt x="907" y="267"/>
                  </a:lnTo>
                  <a:lnTo>
                    <a:pt x="909" y="268"/>
                  </a:lnTo>
                  <a:lnTo>
                    <a:pt x="910" y="270"/>
                  </a:lnTo>
                  <a:lnTo>
                    <a:pt x="912" y="271"/>
                  </a:lnTo>
                  <a:lnTo>
                    <a:pt x="913" y="271"/>
                  </a:lnTo>
                  <a:lnTo>
                    <a:pt x="914" y="271"/>
                  </a:lnTo>
                  <a:lnTo>
                    <a:pt x="915" y="271"/>
                  </a:lnTo>
                  <a:lnTo>
                    <a:pt x="916" y="271"/>
                  </a:lnTo>
                  <a:lnTo>
                    <a:pt x="918" y="271"/>
                  </a:lnTo>
                  <a:lnTo>
                    <a:pt x="918" y="271"/>
                  </a:lnTo>
                  <a:lnTo>
                    <a:pt x="919" y="270"/>
                  </a:lnTo>
                  <a:lnTo>
                    <a:pt x="921" y="269"/>
                  </a:lnTo>
                  <a:lnTo>
                    <a:pt x="923" y="265"/>
                  </a:lnTo>
                  <a:lnTo>
                    <a:pt x="924" y="263"/>
                  </a:lnTo>
                  <a:lnTo>
                    <a:pt x="925" y="262"/>
                  </a:lnTo>
                  <a:lnTo>
                    <a:pt x="926" y="262"/>
                  </a:lnTo>
                  <a:lnTo>
                    <a:pt x="927" y="263"/>
                  </a:lnTo>
                  <a:lnTo>
                    <a:pt x="928" y="264"/>
                  </a:lnTo>
                  <a:lnTo>
                    <a:pt x="928" y="265"/>
                  </a:lnTo>
                  <a:lnTo>
                    <a:pt x="929" y="266"/>
                  </a:lnTo>
                  <a:lnTo>
                    <a:pt x="929" y="270"/>
                  </a:lnTo>
                  <a:lnTo>
                    <a:pt x="929" y="272"/>
                  </a:lnTo>
                  <a:lnTo>
                    <a:pt x="929" y="276"/>
                  </a:lnTo>
                  <a:lnTo>
                    <a:pt x="929" y="280"/>
                  </a:lnTo>
                  <a:lnTo>
                    <a:pt x="929" y="284"/>
                  </a:lnTo>
                  <a:lnTo>
                    <a:pt x="928" y="287"/>
                  </a:lnTo>
                  <a:lnTo>
                    <a:pt x="926" y="296"/>
                  </a:lnTo>
                  <a:lnTo>
                    <a:pt x="924" y="303"/>
                  </a:lnTo>
                  <a:lnTo>
                    <a:pt x="923" y="308"/>
                  </a:lnTo>
                  <a:lnTo>
                    <a:pt x="923" y="310"/>
                  </a:lnTo>
                  <a:lnTo>
                    <a:pt x="923" y="311"/>
                  </a:lnTo>
                  <a:lnTo>
                    <a:pt x="924" y="312"/>
                  </a:lnTo>
                  <a:lnTo>
                    <a:pt x="924" y="313"/>
                  </a:lnTo>
                  <a:lnTo>
                    <a:pt x="925" y="314"/>
                  </a:lnTo>
                  <a:lnTo>
                    <a:pt x="926" y="316"/>
                  </a:lnTo>
                  <a:lnTo>
                    <a:pt x="928" y="317"/>
                  </a:lnTo>
                  <a:lnTo>
                    <a:pt x="929" y="317"/>
                  </a:lnTo>
                  <a:lnTo>
                    <a:pt x="932" y="319"/>
                  </a:lnTo>
                  <a:lnTo>
                    <a:pt x="937" y="322"/>
                  </a:lnTo>
                  <a:lnTo>
                    <a:pt x="941" y="324"/>
                  </a:lnTo>
                  <a:lnTo>
                    <a:pt x="946" y="326"/>
                  </a:lnTo>
                  <a:lnTo>
                    <a:pt x="950" y="328"/>
                  </a:lnTo>
                  <a:lnTo>
                    <a:pt x="957" y="330"/>
                  </a:lnTo>
                  <a:lnTo>
                    <a:pt x="964" y="332"/>
                  </a:lnTo>
                  <a:lnTo>
                    <a:pt x="968" y="334"/>
                  </a:lnTo>
                  <a:lnTo>
                    <a:pt x="973" y="336"/>
                  </a:lnTo>
                  <a:lnTo>
                    <a:pt x="976" y="338"/>
                  </a:lnTo>
                  <a:lnTo>
                    <a:pt x="979" y="339"/>
                  </a:lnTo>
                  <a:lnTo>
                    <a:pt x="983" y="342"/>
                  </a:lnTo>
                  <a:lnTo>
                    <a:pt x="990" y="348"/>
                  </a:lnTo>
                  <a:lnTo>
                    <a:pt x="993" y="351"/>
                  </a:lnTo>
                  <a:lnTo>
                    <a:pt x="994" y="351"/>
                  </a:lnTo>
                  <a:lnTo>
                    <a:pt x="995" y="353"/>
                  </a:lnTo>
                  <a:lnTo>
                    <a:pt x="996" y="355"/>
                  </a:lnTo>
                  <a:lnTo>
                    <a:pt x="997" y="358"/>
                  </a:lnTo>
                  <a:lnTo>
                    <a:pt x="997" y="361"/>
                  </a:lnTo>
                  <a:lnTo>
                    <a:pt x="1002" y="374"/>
                  </a:lnTo>
                  <a:lnTo>
                    <a:pt x="1004" y="380"/>
                  </a:lnTo>
                  <a:lnTo>
                    <a:pt x="1005" y="384"/>
                  </a:lnTo>
                  <a:lnTo>
                    <a:pt x="1009" y="393"/>
                  </a:lnTo>
                  <a:lnTo>
                    <a:pt x="1013" y="405"/>
                  </a:lnTo>
                  <a:lnTo>
                    <a:pt x="1015" y="407"/>
                  </a:lnTo>
                  <a:lnTo>
                    <a:pt x="1015" y="408"/>
                  </a:lnTo>
                  <a:lnTo>
                    <a:pt x="1006" y="425"/>
                  </a:lnTo>
                  <a:lnTo>
                    <a:pt x="1003" y="430"/>
                  </a:lnTo>
                  <a:lnTo>
                    <a:pt x="1002" y="434"/>
                  </a:lnTo>
                  <a:lnTo>
                    <a:pt x="1001" y="437"/>
                  </a:lnTo>
                  <a:lnTo>
                    <a:pt x="1000" y="439"/>
                  </a:lnTo>
                  <a:lnTo>
                    <a:pt x="999" y="441"/>
                  </a:lnTo>
                  <a:lnTo>
                    <a:pt x="999" y="445"/>
                  </a:lnTo>
                  <a:lnTo>
                    <a:pt x="999" y="448"/>
                  </a:lnTo>
                  <a:lnTo>
                    <a:pt x="1000" y="451"/>
                  </a:lnTo>
                  <a:lnTo>
                    <a:pt x="1001" y="458"/>
                  </a:lnTo>
                  <a:lnTo>
                    <a:pt x="1002" y="462"/>
                  </a:lnTo>
                  <a:lnTo>
                    <a:pt x="1003" y="465"/>
                  </a:lnTo>
                  <a:lnTo>
                    <a:pt x="1003" y="475"/>
                  </a:lnTo>
                  <a:lnTo>
                    <a:pt x="1004" y="477"/>
                  </a:lnTo>
                  <a:lnTo>
                    <a:pt x="1004" y="480"/>
                  </a:lnTo>
                  <a:lnTo>
                    <a:pt x="1005" y="483"/>
                  </a:lnTo>
                  <a:lnTo>
                    <a:pt x="1007" y="487"/>
                  </a:lnTo>
                  <a:lnTo>
                    <a:pt x="1011" y="498"/>
                  </a:lnTo>
                  <a:lnTo>
                    <a:pt x="1014" y="505"/>
                  </a:lnTo>
                  <a:lnTo>
                    <a:pt x="1015" y="508"/>
                  </a:lnTo>
                  <a:lnTo>
                    <a:pt x="1015" y="509"/>
                  </a:lnTo>
                  <a:lnTo>
                    <a:pt x="1016" y="511"/>
                  </a:lnTo>
                  <a:lnTo>
                    <a:pt x="1016" y="513"/>
                  </a:lnTo>
                  <a:lnTo>
                    <a:pt x="1015" y="518"/>
                  </a:lnTo>
                  <a:lnTo>
                    <a:pt x="1015" y="520"/>
                  </a:lnTo>
                  <a:lnTo>
                    <a:pt x="1016" y="521"/>
                  </a:lnTo>
                  <a:lnTo>
                    <a:pt x="1016" y="522"/>
                  </a:lnTo>
                  <a:lnTo>
                    <a:pt x="1017" y="523"/>
                  </a:lnTo>
                  <a:lnTo>
                    <a:pt x="1018" y="524"/>
                  </a:lnTo>
                  <a:lnTo>
                    <a:pt x="1019" y="524"/>
                  </a:lnTo>
                  <a:lnTo>
                    <a:pt x="1020" y="524"/>
                  </a:lnTo>
                  <a:lnTo>
                    <a:pt x="1022" y="525"/>
                  </a:lnTo>
                  <a:lnTo>
                    <a:pt x="1026" y="525"/>
                  </a:lnTo>
                  <a:lnTo>
                    <a:pt x="1032" y="525"/>
                  </a:lnTo>
                  <a:lnTo>
                    <a:pt x="1035" y="524"/>
                  </a:lnTo>
                  <a:lnTo>
                    <a:pt x="1039" y="524"/>
                  </a:lnTo>
                  <a:lnTo>
                    <a:pt x="1041" y="524"/>
                  </a:lnTo>
                  <a:lnTo>
                    <a:pt x="1043" y="524"/>
                  </a:lnTo>
                  <a:lnTo>
                    <a:pt x="1043" y="524"/>
                  </a:lnTo>
                  <a:lnTo>
                    <a:pt x="1045" y="525"/>
                  </a:lnTo>
                  <a:lnTo>
                    <a:pt x="1046" y="526"/>
                  </a:lnTo>
                  <a:lnTo>
                    <a:pt x="1046" y="528"/>
                  </a:lnTo>
                  <a:lnTo>
                    <a:pt x="1047" y="530"/>
                  </a:lnTo>
                  <a:lnTo>
                    <a:pt x="1048" y="532"/>
                  </a:lnTo>
                  <a:lnTo>
                    <a:pt x="1048" y="533"/>
                  </a:lnTo>
                  <a:lnTo>
                    <a:pt x="1048" y="536"/>
                  </a:lnTo>
                  <a:lnTo>
                    <a:pt x="1047" y="539"/>
                  </a:lnTo>
                  <a:lnTo>
                    <a:pt x="1047" y="542"/>
                  </a:lnTo>
                  <a:lnTo>
                    <a:pt x="1046" y="544"/>
                  </a:lnTo>
                  <a:lnTo>
                    <a:pt x="1045" y="548"/>
                  </a:lnTo>
                  <a:lnTo>
                    <a:pt x="1044" y="552"/>
                  </a:lnTo>
                  <a:lnTo>
                    <a:pt x="1043" y="555"/>
                  </a:lnTo>
                  <a:lnTo>
                    <a:pt x="1042" y="558"/>
                  </a:lnTo>
                  <a:lnTo>
                    <a:pt x="1041" y="561"/>
                  </a:lnTo>
                  <a:lnTo>
                    <a:pt x="1039" y="563"/>
                  </a:lnTo>
                  <a:lnTo>
                    <a:pt x="1038" y="565"/>
                  </a:lnTo>
                  <a:lnTo>
                    <a:pt x="1036" y="566"/>
                  </a:lnTo>
                  <a:lnTo>
                    <a:pt x="1033" y="568"/>
                  </a:lnTo>
                  <a:lnTo>
                    <a:pt x="1027" y="573"/>
                  </a:lnTo>
                  <a:lnTo>
                    <a:pt x="1021" y="577"/>
                  </a:lnTo>
                  <a:lnTo>
                    <a:pt x="1020" y="578"/>
                  </a:lnTo>
                  <a:lnTo>
                    <a:pt x="1017" y="579"/>
                  </a:lnTo>
                  <a:lnTo>
                    <a:pt x="1016" y="581"/>
                  </a:lnTo>
                  <a:lnTo>
                    <a:pt x="1013" y="584"/>
                  </a:lnTo>
                  <a:lnTo>
                    <a:pt x="1011" y="588"/>
                  </a:lnTo>
                  <a:lnTo>
                    <a:pt x="1009" y="590"/>
                  </a:lnTo>
                  <a:lnTo>
                    <a:pt x="1005" y="600"/>
                  </a:lnTo>
                  <a:lnTo>
                    <a:pt x="1003" y="604"/>
                  </a:lnTo>
                  <a:lnTo>
                    <a:pt x="1001" y="607"/>
                  </a:lnTo>
                  <a:lnTo>
                    <a:pt x="999" y="609"/>
                  </a:lnTo>
                  <a:lnTo>
                    <a:pt x="997" y="611"/>
                  </a:lnTo>
                  <a:lnTo>
                    <a:pt x="997" y="611"/>
                  </a:lnTo>
                  <a:lnTo>
                    <a:pt x="993" y="614"/>
                  </a:lnTo>
                  <a:lnTo>
                    <a:pt x="991" y="616"/>
                  </a:lnTo>
                  <a:lnTo>
                    <a:pt x="990" y="617"/>
                  </a:lnTo>
                  <a:lnTo>
                    <a:pt x="989" y="619"/>
                  </a:lnTo>
                  <a:lnTo>
                    <a:pt x="988" y="621"/>
                  </a:lnTo>
                  <a:lnTo>
                    <a:pt x="987" y="623"/>
                  </a:lnTo>
                  <a:lnTo>
                    <a:pt x="987" y="625"/>
                  </a:lnTo>
                  <a:lnTo>
                    <a:pt x="987" y="628"/>
                  </a:lnTo>
                  <a:lnTo>
                    <a:pt x="987" y="632"/>
                  </a:lnTo>
                  <a:lnTo>
                    <a:pt x="988" y="635"/>
                  </a:lnTo>
                  <a:lnTo>
                    <a:pt x="989" y="637"/>
                  </a:lnTo>
                  <a:lnTo>
                    <a:pt x="989" y="639"/>
                  </a:lnTo>
                  <a:lnTo>
                    <a:pt x="990" y="639"/>
                  </a:lnTo>
                  <a:lnTo>
                    <a:pt x="991" y="641"/>
                  </a:lnTo>
                  <a:lnTo>
                    <a:pt x="993" y="642"/>
                  </a:lnTo>
                  <a:lnTo>
                    <a:pt x="995" y="642"/>
                  </a:lnTo>
                  <a:lnTo>
                    <a:pt x="997" y="643"/>
                  </a:lnTo>
                  <a:lnTo>
                    <a:pt x="998" y="643"/>
                  </a:lnTo>
                  <a:lnTo>
                    <a:pt x="1001" y="643"/>
                  </a:lnTo>
                  <a:lnTo>
                    <a:pt x="1004" y="643"/>
                  </a:lnTo>
                  <a:lnTo>
                    <a:pt x="1007" y="643"/>
                  </a:lnTo>
                  <a:lnTo>
                    <a:pt x="1010" y="642"/>
                  </a:lnTo>
                  <a:lnTo>
                    <a:pt x="1014" y="641"/>
                  </a:lnTo>
                  <a:lnTo>
                    <a:pt x="1020" y="639"/>
                  </a:lnTo>
                  <a:lnTo>
                    <a:pt x="1037" y="633"/>
                  </a:lnTo>
                  <a:lnTo>
                    <a:pt x="1043" y="631"/>
                  </a:lnTo>
                  <a:lnTo>
                    <a:pt x="1046" y="630"/>
                  </a:lnTo>
                  <a:lnTo>
                    <a:pt x="1048" y="629"/>
                  </a:lnTo>
                  <a:lnTo>
                    <a:pt x="1051" y="629"/>
                  </a:lnTo>
                  <a:lnTo>
                    <a:pt x="1054" y="629"/>
                  </a:lnTo>
                  <a:lnTo>
                    <a:pt x="1056" y="629"/>
                  </a:lnTo>
                  <a:lnTo>
                    <a:pt x="1057" y="629"/>
                  </a:lnTo>
                  <a:lnTo>
                    <a:pt x="1058" y="630"/>
                  </a:lnTo>
                  <a:lnTo>
                    <a:pt x="1060" y="631"/>
                  </a:lnTo>
                  <a:lnTo>
                    <a:pt x="1061" y="632"/>
                  </a:lnTo>
                  <a:lnTo>
                    <a:pt x="1064" y="634"/>
                  </a:lnTo>
                  <a:lnTo>
                    <a:pt x="1065" y="635"/>
                  </a:lnTo>
                  <a:lnTo>
                    <a:pt x="1067" y="640"/>
                  </a:lnTo>
                  <a:lnTo>
                    <a:pt x="1070" y="645"/>
                  </a:lnTo>
                  <a:lnTo>
                    <a:pt x="1072" y="647"/>
                  </a:lnTo>
                  <a:lnTo>
                    <a:pt x="1073" y="650"/>
                  </a:lnTo>
                  <a:lnTo>
                    <a:pt x="1074" y="653"/>
                  </a:lnTo>
                  <a:lnTo>
                    <a:pt x="1074" y="656"/>
                  </a:lnTo>
                  <a:lnTo>
                    <a:pt x="1075" y="658"/>
                  </a:lnTo>
                  <a:lnTo>
                    <a:pt x="1075" y="661"/>
                  </a:lnTo>
                  <a:lnTo>
                    <a:pt x="1075" y="666"/>
                  </a:lnTo>
                  <a:lnTo>
                    <a:pt x="1074" y="675"/>
                  </a:lnTo>
                  <a:lnTo>
                    <a:pt x="1074" y="679"/>
                  </a:lnTo>
                  <a:lnTo>
                    <a:pt x="1074" y="679"/>
                  </a:lnTo>
                  <a:lnTo>
                    <a:pt x="1075" y="681"/>
                  </a:lnTo>
                  <a:lnTo>
                    <a:pt x="1075" y="683"/>
                  </a:lnTo>
                  <a:lnTo>
                    <a:pt x="1076" y="684"/>
                  </a:lnTo>
                  <a:lnTo>
                    <a:pt x="1076" y="685"/>
                  </a:lnTo>
                  <a:lnTo>
                    <a:pt x="1077" y="686"/>
                  </a:lnTo>
                  <a:lnTo>
                    <a:pt x="1078" y="687"/>
                  </a:lnTo>
                  <a:lnTo>
                    <a:pt x="1085" y="688"/>
                  </a:lnTo>
                  <a:lnTo>
                    <a:pt x="1088" y="689"/>
                  </a:lnTo>
                  <a:lnTo>
                    <a:pt x="1090" y="690"/>
                  </a:lnTo>
                  <a:lnTo>
                    <a:pt x="1092" y="691"/>
                  </a:lnTo>
                  <a:lnTo>
                    <a:pt x="1096" y="692"/>
                  </a:lnTo>
                  <a:lnTo>
                    <a:pt x="1100" y="694"/>
                  </a:lnTo>
                  <a:lnTo>
                    <a:pt x="1102" y="695"/>
                  </a:lnTo>
                  <a:lnTo>
                    <a:pt x="1105" y="697"/>
                  </a:lnTo>
                  <a:lnTo>
                    <a:pt x="1107" y="699"/>
                  </a:lnTo>
                  <a:lnTo>
                    <a:pt x="1110" y="702"/>
                  </a:lnTo>
                  <a:lnTo>
                    <a:pt x="1113" y="705"/>
                  </a:lnTo>
                  <a:lnTo>
                    <a:pt x="1115" y="706"/>
                  </a:lnTo>
                  <a:lnTo>
                    <a:pt x="1117" y="708"/>
                  </a:lnTo>
                  <a:lnTo>
                    <a:pt x="1119" y="709"/>
                  </a:lnTo>
                  <a:lnTo>
                    <a:pt x="1121" y="709"/>
                  </a:lnTo>
                  <a:lnTo>
                    <a:pt x="1123" y="710"/>
                  </a:lnTo>
                  <a:lnTo>
                    <a:pt x="1138" y="712"/>
                  </a:lnTo>
                  <a:lnTo>
                    <a:pt x="1145" y="713"/>
                  </a:lnTo>
                  <a:lnTo>
                    <a:pt x="1157" y="714"/>
                  </a:lnTo>
                  <a:lnTo>
                    <a:pt x="1159" y="715"/>
                  </a:lnTo>
                  <a:lnTo>
                    <a:pt x="1162" y="716"/>
                  </a:lnTo>
                  <a:lnTo>
                    <a:pt x="1165" y="717"/>
                  </a:lnTo>
                  <a:lnTo>
                    <a:pt x="1167" y="718"/>
                  </a:lnTo>
                  <a:lnTo>
                    <a:pt x="1170" y="721"/>
                  </a:lnTo>
                  <a:lnTo>
                    <a:pt x="1172" y="723"/>
                  </a:lnTo>
                  <a:lnTo>
                    <a:pt x="1174" y="725"/>
                  </a:lnTo>
                  <a:lnTo>
                    <a:pt x="1175" y="725"/>
                  </a:lnTo>
                  <a:lnTo>
                    <a:pt x="1176" y="726"/>
                  </a:lnTo>
                  <a:lnTo>
                    <a:pt x="1177" y="729"/>
                  </a:lnTo>
                  <a:lnTo>
                    <a:pt x="1178" y="733"/>
                  </a:lnTo>
                  <a:lnTo>
                    <a:pt x="1178" y="736"/>
                  </a:lnTo>
                  <a:lnTo>
                    <a:pt x="1179" y="744"/>
                  </a:lnTo>
                  <a:lnTo>
                    <a:pt x="1179" y="746"/>
                  </a:lnTo>
                  <a:lnTo>
                    <a:pt x="1179" y="747"/>
                  </a:lnTo>
                  <a:lnTo>
                    <a:pt x="1180" y="748"/>
                  </a:lnTo>
                  <a:lnTo>
                    <a:pt x="1180" y="750"/>
                  </a:lnTo>
                  <a:lnTo>
                    <a:pt x="1182" y="751"/>
                  </a:lnTo>
                  <a:lnTo>
                    <a:pt x="1183" y="752"/>
                  </a:lnTo>
                  <a:lnTo>
                    <a:pt x="1185" y="753"/>
                  </a:lnTo>
                  <a:lnTo>
                    <a:pt x="1186" y="753"/>
                  </a:lnTo>
                  <a:lnTo>
                    <a:pt x="1189" y="754"/>
                  </a:lnTo>
                  <a:lnTo>
                    <a:pt x="1192" y="755"/>
                  </a:lnTo>
                  <a:lnTo>
                    <a:pt x="1198" y="755"/>
                  </a:lnTo>
                  <a:lnTo>
                    <a:pt x="1201" y="756"/>
                  </a:lnTo>
                  <a:lnTo>
                    <a:pt x="1203" y="757"/>
                  </a:lnTo>
                  <a:lnTo>
                    <a:pt x="1206" y="758"/>
                  </a:lnTo>
                  <a:lnTo>
                    <a:pt x="1208" y="759"/>
                  </a:lnTo>
                  <a:lnTo>
                    <a:pt x="1210" y="759"/>
                  </a:lnTo>
                  <a:lnTo>
                    <a:pt x="1224" y="770"/>
                  </a:lnTo>
                  <a:lnTo>
                    <a:pt x="1227" y="773"/>
                  </a:lnTo>
                  <a:lnTo>
                    <a:pt x="1231" y="775"/>
                  </a:lnTo>
                  <a:lnTo>
                    <a:pt x="1234" y="776"/>
                  </a:lnTo>
                  <a:lnTo>
                    <a:pt x="1236" y="777"/>
                  </a:lnTo>
                  <a:lnTo>
                    <a:pt x="1239" y="778"/>
                  </a:lnTo>
                  <a:lnTo>
                    <a:pt x="1241" y="779"/>
                  </a:lnTo>
                  <a:lnTo>
                    <a:pt x="1243" y="779"/>
                  </a:lnTo>
                  <a:lnTo>
                    <a:pt x="1245" y="779"/>
                  </a:lnTo>
                  <a:lnTo>
                    <a:pt x="1247" y="778"/>
                  </a:lnTo>
                  <a:lnTo>
                    <a:pt x="1251" y="778"/>
                  </a:lnTo>
                  <a:lnTo>
                    <a:pt x="1260" y="775"/>
                  </a:lnTo>
                  <a:lnTo>
                    <a:pt x="1265" y="774"/>
                  </a:lnTo>
                  <a:lnTo>
                    <a:pt x="1269" y="774"/>
                  </a:lnTo>
                  <a:lnTo>
                    <a:pt x="1275" y="773"/>
                  </a:lnTo>
                  <a:lnTo>
                    <a:pt x="1286" y="772"/>
                  </a:lnTo>
                  <a:lnTo>
                    <a:pt x="1288" y="772"/>
                  </a:lnTo>
                  <a:lnTo>
                    <a:pt x="1289" y="772"/>
                  </a:lnTo>
                  <a:lnTo>
                    <a:pt x="1290" y="772"/>
                  </a:lnTo>
                  <a:lnTo>
                    <a:pt x="1292" y="772"/>
                  </a:lnTo>
                  <a:lnTo>
                    <a:pt x="1294" y="773"/>
                  </a:lnTo>
                  <a:lnTo>
                    <a:pt x="1301" y="776"/>
                  </a:lnTo>
                  <a:lnTo>
                    <a:pt x="1307" y="778"/>
                  </a:lnTo>
                  <a:lnTo>
                    <a:pt x="1309" y="779"/>
                  </a:lnTo>
                  <a:lnTo>
                    <a:pt x="1312" y="781"/>
                  </a:lnTo>
                  <a:lnTo>
                    <a:pt x="1315" y="781"/>
                  </a:lnTo>
                  <a:lnTo>
                    <a:pt x="1318" y="784"/>
                  </a:lnTo>
                  <a:lnTo>
                    <a:pt x="1321" y="786"/>
                  </a:lnTo>
                  <a:lnTo>
                    <a:pt x="1322" y="787"/>
                  </a:lnTo>
                  <a:lnTo>
                    <a:pt x="1323" y="789"/>
                  </a:lnTo>
                  <a:lnTo>
                    <a:pt x="1324" y="790"/>
                  </a:lnTo>
                  <a:lnTo>
                    <a:pt x="1325" y="792"/>
                  </a:lnTo>
                  <a:lnTo>
                    <a:pt x="1325" y="793"/>
                  </a:lnTo>
                  <a:lnTo>
                    <a:pt x="1326" y="794"/>
                  </a:lnTo>
                  <a:lnTo>
                    <a:pt x="1326" y="796"/>
                  </a:lnTo>
                  <a:lnTo>
                    <a:pt x="1327" y="799"/>
                  </a:lnTo>
                  <a:lnTo>
                    <a:pt x="1327" y="805"/>
                  </a:lnTo>
                  <a:lnTo>
                    <a:pt x="1327" y="807"/>
                  </a:lnTo>
                  <a:lnTo>
                    <a:pt x="1328" y="809"/>
                  </a:lnTo>
                  <a:lnTo>
                    <a:pt x="1328" y="811"/>
                  </a:lnTo>
                  <a:lnTo>
                    <a:pt x="1329" y="812"/>
                  </a:lnTo>
                  <a:lnTo>
                    <a:pt x="1330" y="814"/>
                  </a:lnTo>
                  <a:lnTo>
                    <a:pt x="1331" y="815"/>
                  </a:lnTo>
                  <a:lnTo>
                    <a:pt x="1333" y="815"/>
                  </a:lnTo>
                  <a:lnTo>
                    <a:pt x="1335" y="816"/>
                  </a:lnTo>
                  <a:lnTo>
                    <a:pt x="1337" y="817"/>
                  </a:lnTo>
                  <a:lnTo>
                    <a:pt x="1341" y="819"/>
                  </a:lnTo>
                  <a:lnTo>
                    <a:pt x="1346" y="821"/>
                  </a:lnTo>
                  <a:lnTo>
                    <a:pt x="1362" y="829"/>
                  </a:lnTo>
                  <a:lnTo>
                    <a:pt x="1365" y="831"/>
                  </a:lnTo>
                  <a:lnTo>
                    <a:pt x="1369" y="833"/>
                  </a:lnTo>
                  <a:lnTo>
                    <a:pt x="1372" y="835"/>
                  </a:lnTo>
                  <a:lnTo>
                    <a:pt x="1374" y="838"/>
                  </a:lnTo>
                  <a:lnTo>
                    <a:pt x="1378" y="841"/>
                  </a:lnTo>
                  <a:lnTo>
                    <a:pt x="1380" y="845"/>
                  </a:lnTo>
                  <a:lnTo>
                    <a:pt x="1383" y="849"/>
                  </a:lnTo>
                  <a:lnTo>
                    <a:pt x="1391" y="861"/>
                  </a:lnTo>
                  <a:lnTo>
                    <a:pt x="1397" y="869"/>
                  </a:lnTo>
                  <a:lnTo>
                    <a:pt x="1399" y="872"/>
                  </a:lnTo>
                  <a:lnTo>
                    <a:pt x="1401" y="874"/>
                  </a:lnTo>
                  <a:lnTo>
                    <a:pt x="1402" y="877"/>
                  </a:lnTo>
                  <a:lnTo>
                    <a:pt x="1406" y="885"/>
                  </a:lnTo>
                  <a:lnTo>
                    <a:pt x="1407" y="890"/>
                  </a:lnTo>
                  <a:lnTo>
                    <a:pt x="1408" y="893"/>
                  </a:lnTo>
                  <a:lnTo>
                    <a:pt x="1409" y="894"/>
                  </a:lnTo>
                  <a:lnTo>
                    <a:pt x="1408" y="894"/>
                  </a:lnTo>
                  <a:lnTo>
                    <a:pt x="1407" y="894"/>
                  </a:lnTo>
                  <a:lnTo>
                    <a:pt x="1406" y="895"/>
                  </a:lnTo>
                  <a:lnTo>
                    <a:pt x="1403" y="895"/>
                  </a:lnTo>
                  <a:lnTo>
                    <a:pt x="1400" y="898"/>
                  </a:lnTo>
                  <a:lnTo>
                    <a:pt x="1390" y="905"/>
                  </a:lnTo>
                  <a:lnTo>
                    <a:pt x="1379" y="913"/>
                  </a:lnTo>
                  <a:lnTo>
                    <a:pt x="1375" y="916"/>
                  </a:lnTo>
                  <a:lnTo>
                    <a:pt x="1368" y="922"/>
                  </a:lnTo>
                  <a:lnTo>
                    <a:pt x="1365" y="924"/>
                  </a:lnTo>
                  <a:lnTo>
                    <a:pt x="1363" y="925"/>
                  </a:lnTo>
                  <a:lnTo>
                    <a:pt x="1361" y="926"/>
                  </a:lnTo>
                  <a:lnTo>
                    <a:pt x="1360" y="927"/>
                  </a:lnTo>
                  <a:lnTo>
                    <a:pt x="1358" y="928"/>
                  </a:lnTo>
                  <a:lnTo>
                    <a:pt x="1355" y="929"/>
                  </a:lnTo>
                  <a:lnTo>
                    <a:pt x="1350" y="929"/>
                  </a:lnTo>
                  <a:lnTo>
                    <a:pt x="1343" y="930"/>
                  </a:lnTo>
                  <a:lnTo>
                    <a:pt x="1340" y="930"/>
                  </a:lnTo>
                  <a:lnTo>
                    <a:pt x="1339" y="931"/>
                  </a:lnTo>
                  <a:lnTo>
                    <a:pt x="1338" y="932"/>
                  </a:lnTo>
                  <a:lnTo>
                    <a:pt x="1333" y="936"/>
                  </a:lnTo>
                  <a:lnTo>
                    <a:pt x="1332" y="937"/>
                  </a:lnTo>
                  <a:lnTo>
                    <a:pt x="1330" y="938"/>
                  </a:lnTo>
                  <a:lnTo>
                    <a:pt x="1329" y="939"/>
                  </a:lnTo>
                  <a:lnTo>
                    <a:pt x="1327" y="939"/>
                  </a:lnTo>
                  <a:lnTo>
                    <a:pt x="1323" y="940"/>
                  </a:lnTo>
                  <a:lnTo>
                    <a:pt x="1320" y="940"/>
                  </a:lnTo>
                  <a:lnTo>
                    <a:pt x="1318" y="940"/>
                  </a:lnTo>
                  <a:lnTo>
                    <a:pt x="1316" y="940"/>
                  </a:lnTo>
                  <a:lnTo>
                    <a:pt x="1315" y="940"/>
                  </a:lnTo>
                  <a:lnTo>
                    <a:pt x="1314" y="940"/>
                  </a:lnTo>
                  <a:lnTo>
                    <a:pt x="1312" y="939"/>
                  </a:lnTo>
                  <a:lnTo>
                    <a:pt x="1309" y="936"/>
                  </a:lnTo>
                  <a:lnTo>
                    <a:pt x="1308" y="935"/>
                  </a:lnTo>
                  <a:lnTo>
                    <a:pt x="1306" y="934"/>
                  </a:lnTo>
                  <a:lnTo>
                    <a:pt x="1303" y="933"/>
                  </a:lnTo>
                  <a:lnTo>
                    <a:pt x="1301" y="932"/>
                  </a:lnTo>
                  <a:lnTo>
                    <a:pt x="1299" y="931"/>
                  </a:lnTo>
                  <a:lnTo>
                    <a:pt x="1295" y="929"/>
                  </a:lnTo>
                  <a:lnTo>
                    <a:pt x="1287" y="923"/>
                  </a:lnTo>
                  <a:lnTo>
                    <a:pt x="1283" y="921"/>
                  </a:lnTo>
                  <a:lnTo>
                    <a:pt x="1280" y="918"/>
                  </a:lnTo>
                  <a:lnTo>
                    <a:pt x="1276" y="917"/>
                  </a:lnTo>
                  <a:lnTo>
                    <a:pt x="1272" y="916"/>
                  </a:lnTo>
                  <a:lnTo>
                    <a:pt x="1269" y="915"/>
                  </a:lnTo>
                  <a:lnTo>
                    <a:pt x="1265" y="914"/>
                  </a:lnTo>
                  <a:lnTo>
                    <a:pt x="1262" y="914"/>
                  </a:lnTo>
                  <a:lnTo>
                    <a:pt x="1260" y="914"/>
                  </a:lnTo>
                  <a:lnTo>
                    <a:pt x="1259" y="914"/>
                  </a:lnTo>
                  <a:lnTo>
                    <a:pt x="1258" y="915"/>
                  </a:lnTo>
                  <a:lnTo>
                    <a:pt x="1256" y="915"/>
                  </a:lnTo>
                  <a:lnTo>
                    <a:pt x="1252" y="917"/>
                  </a:lnTo>
                  <a:lnTo>
                    <a:pt x="1248" y="919"/>
                  </a:lnTo>
                  <a:lnTo>
                    <a:pt x="1247" y="920"/>
                  </a:lnTo>
                  <a:lnTo>
                    <a:pt x="1245" y="921"/>
                  </a:lnTo>
                  <a:lnTo>
                    <a:pt x="1238" y="928"/>
                  </a:lnTo>
                  <a:lnTo>
                    <a:pt x="1235" y="929"/>
                  </a:lnTo>
                  <a:lnTo>
                    <a:pt x="1223" y="938"/>
                  </a:lnTo>
                  <a:lnTo>
                    <a:pt x="1219" y="940"/>
                  </a:lnTo>
                  <a:lnTo>
                    <a:pt x="1216" y="942"/>
                  </a:lnTo>
                  <a:lnTo>
                    <a:pt x="1214" y="943"/>
                  </a:lnTo>
                  <a:lnTo>
                    <a:pt x="1213" y="943"/>
                  </a:lnTo>
                  <a:lnTo>
                    <a:pt x="1211" y="944"/>
                  </a:lnTo>
                  <a:lnTo>
                    <a:pt x="1208" y="944"/>
                  </a:lnTo>
                  <a:lnTo>
                    <a:pt x="1203" y="945"/>
                  </a:lnTo>
                  <a:lnTo>
                    <a:pt x="1196" y="945"/>
                  </a:lnTo>
                  <a:lnTo>
                    <a:pt x="1194" y="945"/>
                  </a:lnTo>
                  <a:lnTo>
                    <a:pt x="1192" y="944"/>
                  </a:lnTo>
                  <a:lnTo>
                    <a:pt x="1190" y="944"/>
                  </a:lnTo>
                  <a:lnTo>
                    <a:pt x="1188" y="943"/>
                  </a:lnTo>
                  <a:lnTo>
                    <a:pt x="1186" y="942"/>
                  </a:lnTo>
                  <a:lnTo>
                    <a:pt x="1182" y="940"/>
                  </a:lnTo>
                  <a:lnTo>
                    <a:pt x="1179" y="939"/>
                  </a:lnTo>
                  <a:lnTo>
                    <a:pt x="1177" y="937"/>
                  </a:lnTo>
                  <a:lnTo>
                    <a:pt x="1171" y="933"/>
                  </a:lnTo>
                  <a:lnTo>
                    <a:pt x="1168" y="930"/>
                  </a:lnTo>
                  <a:lnTo>
                    <a:pt x="1163" y="927"/>
                  </a:lnTo>
                  <a:lnTo>
                    <a:pt x="1156" y="919"/>
                  </a:lnTo>
                  <a:lnTo>
                    <a:pt x="1154" y="917"/>
                  </a:lnTo>
                  <a:lnTo>
                    <a:pt x="1153" y="917"/>
                  </a:lnTo>
                  <a:lnTo>
                    <a:pt x="1150" y="916"/>
                  </a:lnTo>
                  <a:lnTo>
                    <a:pt x="1144" y="913"/>
                  </a:lnTo>
                  <a:lnTo>
                    <a:pt x="1141" y="911"/>
                  </a:lnTo>
                  <a:lnTo>
                    <a:pt x="1130" y="905"/>
                  </a:lnTo>
                  <a:lnTo>
                    <a:pt x="1122" y="899"/>
                  </a:lnTo>
                  <a:lnTo>
                    <a:pt x="1119" y="898"/>
                  </a:lnTo>
                  <a:lnTo>
                    <a:pt x="1117" y="897"/>
                  </a:lnTo>
                  <a:lnTo>
                    <a:pt x="1114" y="896"/>
                  </a:lnTo>
                  <a:lnTo>
                    <a:pt x="1106" y="894"/>
                  </a:lnTo>
                  <a:lnTo>
                    <a:pt x="1096" y="890"/>
                  </a:lnTo>
                  <a:lnTo>
                    <a:pt x="1092" y="888"/>
                  </a:lnTo>
                  <a:lnTo>
                    <a:pt x="1089" y="887"/>
                  </a:lnTo>
                  <a:lnTo>
                    <a:pt x="1084" y="886"/>
                  </a:lnTo>
                  <a:lnTo>
                    <a:pt x="1080" y="885"/>
                  </a:lnTo>
                  <a:lnTo>
                    <a:pt x="1077" y="884"/>
                  </a:lnTo>
                  <a:lnTo>
                    <a:pt x="1073" y="883"/>
                  </a:lnTo>
                  <a:lnTo>
                    <a:pt x="1069" y="883"/>
                  </a:lnTo>
                  <a:lnTo>
                    <a:pt x="1066" y="883"/>
                  </a:lnTo>
                  <a:lnTo>
                    <a:pt x="1065" y="883"/>
                  </a:lnTo>
                  <a:lnTo>
                    <a:pt x="1062" y="883"/>
                  </a:lnTo>
                  <a:lnTo>
                    <a:pt x="1059" y="883"/>
                  </a:lnTo>
                  <a:lnTo>
                    <a:pt x="1057" y="884"/>
                  </a:lnTo>
                  <a:lnTo>
                    <a:pt x="1054" y="885"/>
                  </a:lnTo>
                  <a:lnTo>
                    <a:pt x="1053" y="886"/>
                  </a:lnTo>
                  <a:lnTo>
                    <a:pt x="1051" y="888"/>
                  </a:lnTo>
                  <a:lnTo>
                    <a:pt x="1047" y="891"/>
                  </a:lnTo>
                  <a:lnTo>
                    <a:pt x="1044" y="894"/>
                  </a:lnTo>
                  <a:lnTo>
                    <a:pt x="1037" y="901"/>
                  </a:lnTo>
                  <a:lnTo>
                    <a:pt x="1024" y="912"/>
                  </a:lnTo>
                  <a:lnTo>
                    <a:pt x="1020" y="916"/>
                  </a:lnTo>
                  <a:lnTo>
                    <a:pt x="1010" y="923"/>
                  </a:lnTo>
                  <a:lnTo>
                    <a:pt x="1005" y="928"/>
                  </a:lnTo>
                  <a:lnTo>
                    <a:pt x="1000" y="931"/>
                  </a:lnTo>
                  <a:lnTo>
                    <a:pt x="998" y="933"/>
                  </a:lnTo>
                  <a:lnTo>
                    <a:pt x="997" y="935"/>
                  </a:lnTo>
                  <a:lnTo>
                    <a:pt x="996" y="937"/>
                  </a:lnTo>
                  <a:lnTo>
                    <a:pt x="995" y="939"/>
                  </a:lnTo>
                  <a:lnTo>
                    <a:pt x="993" y="940"/>
                  </a:lnTo>
                  <a:lnTo>
                    <a:pt x="992" y="943"/>
                  </a:lnTo>
                  <a:lnTo>
                    <a:pt x="990" y="947"/>
                  </a:lnTo>
                  <a:lnTo>
                    <a:pt x="986" y="959"/>
                  </a:lnTo>
                  <a:lnTo>
                    <a:pt x="986" y="962"/>
                  </a:lnTo>
                  <a:lnTo>
                    <a:pt x="984" y="964"/>
                  </a:lnTo>
                  <a:lnTo>
                    <a:pt x="983" y="967"/>
                  </a:lnTo>
                  <a:lnTo>
                    <a:pt x="980" y="972"/>
                  </a:lnTo>
                  <a:lnTo>
                    <a:pt x="975" y="980"/>
                  </a:lnTo>
                  <a:lnTo>
                    <a:pt x="974" y="984"/>
                  </a:lnTo>
                  <a:lnTo>
                    <a:pt x="971" y="987"/>
                  </a:lnTo>
                  <a:lnTo>
                    <a:pt x="968" y="990"/>
                  </a:lnTo>
                  <a:lnTo>
                    <a:pt x="959" y="1000"/>
                  </a:lnTo>
                  <a:lnTo>
                    <a:pt x="948" y="1011"/>
                  </a:lnTo>
                  <a:lnTo>
                    <a:pt x="945" y="1016"/>
                  </a:lnTo>
                  <a:lnTo>
                    <a:pt x="941" y="1019"/>
                  </a:lnTo>
                  <a:lnTo>
                    <a:pt x="940" y="1023"/>
                  </a:lnTo>
                  <a:lnTo>
                    <a:pt x="931" y="1037"/>
                  </a:lnTo>
                  <a:lnTo>
                    <a:pt x="929" y="1042"/>
                  </a:lnTo>
                  <a:lnTo>
                    <a:pt x="922" y="1054"/>
                  </a:lnTo>
                  <a:lnTo>
                    <a:pt x="920" y="1059"/>
                  </a:lnTo>
                  <a:lnTo>
                    <a:pt x="917" y="1068"/>
                  </a:lnTo>
                  <a:lnTo>
                    <a:pt x="912" y="1077"/>
                  </a:lnTo>
                  <a:lnTo>
                    <a:pt x="910" y="1081"/>
                  </a:lnTo>
                  <a:lnTo>
                    <a:pt x="908" y="1086"/>
                  </a:lnTo>
                  <a:lnTo>
                    <a:pt x="906" y="1096"/>
                  </a:lnTo>
                  <a:lnTo>
                    <a:pt x="904" y="1100"/>
                  </a:lnTo>
                  <a:lnTo>
                    <a:pt x="901" y="1104"/>
                  </a:lnTo>
                  <a:lnTo>
                    <a:pt x="897" y="1112"/>
                  </a:lnTo>
                  <a:lnTo>
                    <a:pt x="895" y="1115"/>
                  </a:lnTo>
                  <a:lnTo>
                    <a:pt x="894" y="1120"/>
                  </a:lnTo>
                  <a:lnTo>
                    <a:pt x="891" y="1125"/>
                  </a:lnTo>
                  <a:lnTo>
                    <a:pt x="889" y="1131"/>
                  </a:lnTo>
                  <a:lnTo>
                    <a:pt x="888" y="1133"/>
                  </a:lnTo>
                  <a:lnTo>
                    <a:pt x="887" y="1135"/>
                  </a:lnTo>
                  <a:lnTo>
                    <a:pt x="886" y="1142"/>
                  </a:lnTo>
                  <a:lnTo>
                    <a:pt x="884" y="1154"/>
                  </a:lnTo>
                  <a:lnTo>
                    <a:pt x="884" y="1159"/>
                  </a:lnTo>
                  <a:lnTo>
                    <a:pt x="883" y="1162"/>
                  </a:lnTo>
                  <a:lnTo>
                    <a:pt x="881" y="1166"/>
                  </a:lnTo>
                  <a:lnTo>
                    <a:pt x="880" y="1169"/>
                  </a:lnTo>
                  <a:lnTo>
                    <a:pt x="879" y="1172"/>
                  </a:lnTo>
                  <a:lnTo>
                    <a:pt x="877" y="1175"/>
                  </a:lnTo>
                  <a:lnTo>
                    <a:pt x="875" y="1178"/>
                  </a:lnTo>
                  <a:lnTo>
                    <a:pt x="873" y="1179"/>
                  </a:lnTo>
                  <a:lnTo>
                    <a:pt x="872" y="1181"/>
                  </a:lnTo>
                  <a:lnTo>
                    <a:pt x="869" y="1183"/>
                  </a:lnTo>
                  <a:lnTo>
                    <a:pt x="868" y="1184"/>
                  </a:lnTo>
                  <a:lnTo>
                    <a:pt x="866" y="1185"/>
                  </a:lnTo>
                  <a:lnTo>
                    <a:pt x="864" y="1186"/>
                  </a:lnTo>
                  <a:lnTo>
                    <a:pt x="863" y="1186"/>
                  </a:lnTo>
                  <a:lnTo>
                    <a:pt x="862" y="1186"/>
                  </a:lnTo>
                  <a:lnTo>
                    <a:pt x="861" y="1186"/>
                  </a:lnTo>
                  <a:lnTo>
                    <a:pt x="859" y="1185"/>
                  </a:lnTo>
                  <a:lnTo>
                    <a:pt x="858" y="1185"/>
                  </a:lnTo>
                  <a:lnTo>
                    <a:pt x="856" y="1184"/>
                  </a:lnTo>
                  <a:lnTo>
                    <a:pt x="855" y="1183"/>
                  </a:lnTo>
                  <a:lnTo>
                    <a:pt x="854" y="1181"/>
                  </a:lnTo>
                  <a:lnTo>
                    <a:pt x="854" y="1180"/>
                  </a:lnTo>
                  <a:lnTo>
                    <a:pt x="853" y="1178"/>
                  </a:lnTo>
                  <a:lnTo>
                    <a:pt x="852" y="1178"/>
                  </a:lnTo>
                  <a:lnTo>
                    <a:pt x="852" y="1175"/>
                  </a:lnTo>
                  <a:lnTo>
                    <a:pt x="851" y="1166"/>
                  </a:lnTo>
                  <a:lnTo>
                    <a:pt x="850" y="1155"/>
                  </a:lnTo>
                  <a:lnTo>
                    <a:pt x="850" y="1151"/>
                  </a:lnTo>
                  <a:lnTo>
                    <a:pt x="849" y="1142"/>
                  </a:lnTo>
                  <a:lnTo>
                    <a:pt x="848" y="1136"/>
                  </a:lnTo>
                  <a:lnTo>
                    <a:pt x="847" y="1131"/>
                  </a:lnTo>
                  <a:lnTo>
                    <a:pt x="845" y="1122"/>
                  </a:lnTo>
                  <a:lnTo>
                    <a:pt x="844" y="1119"/>
                  </a:lnTo>
                  <a:lnTo>
                    <a:pt x="844" y="1114"/>
                  </a:lnTo>
                  <a:lnTo>
                    <a:pt x="843" y="1103"/>
                  </a:lnTo>
                  <a:lnTo>
                    <a:pt x="842" y="1100"/>
                  </a:lnTo>
                  <a:lnTo>
                    <a:pt x="842" y="1098"/>
                  </a:lnTo>
                  <a:lnTo>
                    <a:pt x="841" y="1095"/>
                  </a:lnTo>
                  <a:lnTo>
                    <a:pt x="840" y="1092"/>
                  </a:lnTo>
                  <a:lnTo>
                    <a:pt x="838" y="1089"/>
                  </a:lnTo>
                  <a:lnTo>
                    <a:pt x="838" y="1087"/>
                  </a:lnTo>
                  <a:lnTo>
                    <a:pt x="836" y="1083"/>
                  </a:lnTo>
                  <a:lnTo>
                    <a:pt x="833" y="1080"/>
                  </a:lnTo>
                  <a:lnTo>
                    <a:pt x="832" y="1078"/>
                  </a:lnTo>
                  <a:lnTo>
                    <a:pt x="830" y="1077"/>
                  </a:lnTo>
                  <a:lnTo>
                    <a:pt x="828" y="1076"/>
                  </a:lnTo>
                  <a:lnTo>
                    <a:pt x="827" y="1076"/>
                  </a:lnTo>
                  <a:lnTo>
                    <a:pt x="825" y="1075"/>
                  </a:lnTo>
                  <a:lnTo>
                    <a:pt x="823" y="1075"/>
                  </a:lnTo>
                  <a:lnTo>
                    <a:pt x="820" y="1074"/>
                  </a:lnTo>
                  <a:lnTo>
                    <a:pt x="818" y="1074"/>
                  </a:lnTo>
                  <a:lnTo>
                    <a:pt x="816" y="1073"/>
                  </a:lnTo>
                  <a:lnTo>
                    <a:pt x="815" y="1073"/>
                  </a:lnTo>
                  <a:lnTo>
                    <a:pt x="813" y="1074"/>
                  </a:lnTo>
                  <a:lnTo>
                    <a:pt x="811" y="1074"/>
                  </a:lnTo>
                  <a:lnTo>
                    <a:pt x="804" y="1076"/>
                  </a:lnTo>
                  <a:lnTo>
                    <a:pt x="802" y="1076"/>
                  </a:lnTo>
                  <a:lnTo>
                    <a:pt x="798" y="1077"/>
                  </a:lnTo>
                  <a:lnTo>
                    <a:pt x="793" y="1078"/>
                  </a:lnTo>
                  <a:lnTo>
                    <a:pt x="788" y="1079"/>
                  </a:lnTo>
                  <a:lnTo>
                    <a:pt x="780" y="1080"/>
                  </a:lnTo>
                  <a:lnTo>
                    <a:pt x="770" y="1081"/>
                  </a:lnTo>
                  <a:lnTo>
                    <a:pt x="764" y="1082"/>
                  </a:lnTo>
                  <a:lnTo>
                    <a:pt x="756" y="1083"/>
                  </a:lnTo>
                  <a:lnTo>
                    <a:pt x="753" y="1083"/>
                  </a:lnTo>
                  <a:lnTo>
                    <a:pt x="751" y="1083"/>
                  </a:lnTo>
                  <a:lnTo>
                    <a:pt x="747" y="1082"/>
                  </a:lnTo>
                  <a:lnTo>
                    <a:pt x="737" y="1080"/>
                  </a:lnTo>
                  <a:lnTo>
                    <a:pt x="733" y="1078"/>
                  </a:lnTo>
                  <a:lnTo>
                    <a:pt x="729" y="1077"/>
                  </a:lnTo>
                  <a:lnTo>
                    <a:pt x="724" y="1075"/>
                  </a:lnTo>
                  <a:lnTo>
                    <a:pt x="721" y="1073"/>
                  </a:lnTo>
                  <a:lnTo>
                    <a:pt x="717" y="1070"/>
                  </a:lnTo>
                  <a:lnTo>
                    <a:pt x="711" y="1065"/>
                  </a:lnTo>
                  <a:lnTo>
                    <a:pt x="709" y="1064"/>
                  </a:lnTo>
                  <a:lnTo>
                    <a:pt x="708" y="1063"/>
                  </a:lnTo>
                  <a:lnTo>
                    <a:pt x="705" y="1062"/>
                  </a:lnTo>
                  <a:lnTo>
                    <a:pt x="700" y="1059"/>
                  </a:lnTo>
                  <a:lnTo>
                    <a:pt x="697" y="1058"/>
                  </a:lnTo>
                  <a:lnTo>
                    <a:pt x="693" y="1057"/>
                  </a:lnTo>
                  <a:lnTo>
                    <a:pt x="691" y="1056"/>
                  </a:lnTo>
                  <a:lnTo>
                    <a:pt x="690" y="1056"/>
                  </a:lnTo>
                  <a:lnTo>
                    <a:pt x="688" y="1055"/>
                  </a:lnTo>
                  <a:lnTo>
                    <a:pt x="685" y="1055"/>
                  </a:lnTo>
                  <a:lnTo>
                    <a:pt x="682" y="1055"/>
                  </a:lnTo>
                  <a:lnTo>
                    <a:pt x="679" y="1055"/>
                  </a:lnTo>
                  <a:lnTo>
                    <a:pt x="671" y="1056"/>
                  </a:lnTo>
                  <a:lnTo>
                    <a:pt x="669" y="1056"/>
                  </a:lnTo>
                  <a:lnTo>
                    <a:pt x="668" y="1056"/>
                  </a:lnTo>
                  <a:lnTo>
                    <a:pt x="667" y="1056"/>
                  </a:lnTo>
                  <a:lnTo>
                    <a:pt x="665" y="1056"/>
                  </a:lnTo>
                  <a:lnTo>
                    <a:pt x="664" y="1055"/>
                  </a:lnTo>
                  <a:lnTo>
                    <a:pt x="663" y="1055"/>
                  </a:lnTo>
                  <a:lnTo>
                    <a:pt x="662" y="1054"/>
                  </a:lnTo>
                  <a:lnTo>
                    <a:pt x="661" y="1053"/>
                  </a:lnTo>
                  <a:lnTo>
                    <a:pt x="660" y="1053"/>
                  </a:lnTo>
                  <a:lnTo>
                    <a:pt x="659" y="1051"/>
                  </a:lnTo>
                  <a:lnTo>
                    <a:pt x="658" y="1050"/>
                  </a:lnTo>
                  <a:lnTo>
                    <a:pt x="658" y="1048"/>
                  </a:lnTo>
                  <a:lnTo>
                    <a:pt x="657" y="1046"/>
                  </a:lnTo>
                  <a:lnTo>
                    <a:pt x="656" y="1044"/>
                  </a:lnTo>
                  <a:lnTo>
                    <a:pt x="656" y="1034"/>
                  </a:lnTo>
                  <a:lnTo>
                    <a:pt x="655" y="1029"/>
                  </a:lnTo>
                  <a:lnTo>
                    <a:pt x="654" y="1026"/>
                  </a:lnTo>
                  <a:lnTo>
                    <a:pt x="653" y="1023"/>
                  </a:lnTo>
                  <a:lnTo>
                    <a:pt x="652" y="1021"/>
                  </a:lnTo>
                  <a:lnTo>
                    <a:pt x="651" y="1019"/>
                  </a:lnTo>
                  <a:lnTo>
                    <a:pt x="650" y="1017"/>
                  </a:lnTo>
                  <a:lnTo>
                    <a:pt x="649" y="1015"/>
                  </a:lnTo>
                  <a:lnTo>
                    <a:pt x="646" y="1011"/>
                  </a:lnTo>
                  <a:lnTo>
                    <a:pt x="644" y="1008"/>
                  </a:lnTo>
                  <a:lnTo>
                    <a:pt x="642" y="1007"/>
                  </a:lnTo>
                  <a:lnTo>
                    <a:pt x="640" y="1005"/>
                  </a:lnTo>
                  <a:lnTo>
                    <a:pt x="637" y="1004"/>
                  </a:lnTo>
                  <a:lnTo>
                    <a:pt x="635" y="1002"/>
                  </a:lnTo>
                  <a:lnTo>
                    <a:pt x="632" y="1001"/>
                  </a:lnTo>
                  <a:lnTo>
                    <a:pt x="629" y="1000"/>
                  </a:lnTo>
                  <a:lnTo>
                    <a:pt x="626" y="1000"/>
                  </a:lnTo>
                  <a:lnTo>
                    <a:pt x="623" y="1000"/>
                  </a:lnTo>
                  <a:lnTo>
                    <a:pt x="613" y="1000"/>
                  </a:lnTo>
                  <a:lnTo>
                    <a:pt x="610" y="1000"/>
                  </a:lnTo>
                  <a:lnTo>
                    <a:pt x="606" y="1000"/>
                  </a:lnTo>
                  <a:lnTo>
                    <a:pt x="603" y="1000"/>
                  </a:lnTo>
                  <a:lnTo>
                    <a:pt x="599" y="999"/>
                  </a:lnTo>
                  <a:lnTo>
                    <a:pt x="597" y="999"/>
                  </a:lnTo>
                  <a:lnTo>
                    <a:pt x="594" y="998"/>
                  </a:lnTo>
                  <a:lnTo>
                    <a:pt x="591" y="997"/>
                  </a:lnTo>
                  <a:lnTo>
                    <a:pt x="588" y="996"/>
                  </a:lnTo>
                  <a:lnTo>
                    <a:pt x="572" y="987"/>
                  </a:lnTo>
                  <a:lnTo>
                    <a:pt x="567" y="985"/>
                  </a:lnTo>
                  <a:lnTo>
                    <a:pt x="559" y="979"/>
                  </a:lnTo>
                  <a:lnTo>
                    <a:pt x="556" y="977"/>
                  </a:lnTo>
                  <a:lnTo>
                    <a:pt x="553" y="975"/>
                  </a:lnTo>
                  <a:lnTo>
                    <a:pt x="551" y="974"/>
                  </a:lnTo>
                  <a:lnTo>
                    <a:pt x="549" y="974"/>
                  </a:lnTo>
                  <a:lnTo>
                    <a:pt x="547" y="974"/>
                  </a:lnTo>
                  <a:lnTo>
                    <a:pt x="546" y="974"/>
                  </a:lnTo>
                  <a:lnTo>
                    <a:pt x="544" y="974"/>
                  </a:lnTo>
                  <a:lnTo>
                    <a:pt x="543" y="974"/>
                  </a:lnTo>
                  <a:lnTo>
                    <a:pt x="541" y="974"/>
                  </a:lnTo>
                  <a:lnTo>
                    <a:pt x="534" y="976"/>
                  </a:lnTo>
                  <a:lnTo>
                    <a:pt x="531" y="977"/>
                  </a:lnTo>
                  <a:lnTo>
                    <a:pt x="528" y="978"/>
                  </a:lnTo>
                  <a:lnTo>
                    <a:pt x="523" y="978"/>
                  </a:lnTo>
                  <a:lnTo>
                    <a:pt x="517" y="978"/>
                  </a:lnTo>
                  <a:lnTo>
                    <a:pt x="510" y="978"/>
                  </a:lnTo>
                  <a:lnTo>
                    <a:pt x="504" y="978"/>
                  </a:lnTo>
                  <a:lnTo>
                    <a:pt x="496" y="977"/>
                  </a:lnTo>
                  <a:lnTo>
                    <a:pt x="493" y="977"/>
                  </a:lnTo>
                  <a:lnTo>
                    <a:pt x="491" y="977"/>
                  </a:lnTo>
                  <a:lnTo>
                    <a:pt x="489" y="977"/>
                  </a:lnTo>
                  <a:lnTo>
                    <a:pt x="487" y="978"/>
                  </a:lnTo>
                  <a:lnTo>
                    <a:pt x="486" y="979"/>
                  </a:lnTo>
                  <a:lnTo>
                    <a:pt x="485" y="980"/>
                  </a:lnTo>
                  <a:lnTo>
                    <a:pt x="482" y="982"/>
                  </a:lnTo>
                  <a:lnTo>
                    <a:pt x="480" y="984"/>
                  </a:lnTo>
                  <a:lnTo>
                    <a:pt x="478" y="985"/>
                  </a:lnTo>
                  <a:lnTo>
                    <a:pt x="476" y="989"/>
                  </a:lnTo>
                  <a:lnTo>
                    <a:pt x="474" y="993"/>
                  </a:lnTo>
                  <a:lnTo>
                    <a:pt x="471" y="1001"/>
                  </a:lnTo>
                  <a:lnTo>
                    <a:pt x="468" y="1007"/>
                  </a:lnTo>
                  <a:lnTo>
                    <a:pt x="465" y="1016"/>
                  </a:lnTo>
                  <a:lnTo>
                    <a:pt x="463" y="1020"/>
                  </a:lnTo>
                  <a:lnTo>
                    <a:pt x="462" y="1023"/>
                  </a:lnTo>
                  <a:lnTo>
                    <a:pt x="460" y="1025"/>
                  </a:lnTo>
                  <a:lnTo>
                    <a:pt x="453" y="1034"/>
                  </a:lnTo>
                  <a:lnTo>
                    <a:pt x="447" y="1044"/>
                  </a:lnTo>
                  <a:lnTo>
                    <a:pt x="445" y="1048"/>
                  </a:lnTo>
                  <a:lnTo>
                    <a:pt x="443" y="1050"/>
                  </a:lnTo>
                  <a:lnTo>
                    <a:pt x="440" y="1053"/>
                  </a:lnTo>
                  <a:lnTo>
                    <a:pt x="438" y="1054"/>
                  </a:lnTo>
                  <a:lnTo>
                    <a:pt x="436" y="1057"/>
                  </a:lnTo>
                  <a:lnTo>
                    <a:pt x="429" y="1062"/>
                  </a:lnTo>
                  <a:lnTo>
                    <a:pt x="426" y="1063"/>
                  </a:lnTo>
                  <a:lnTo>
                    <a:pt x="423" y="1065"/>
                  </a:lnTo>
                  <a:lnTo>
                    <a:pt x="420" y="1065"/>
                  </a:lnTo>
                  <a:lnTo>
                    <a:pt x="418" y="1065"/>
                  </a:lnTo>
                  <a:lnTo>
                    <a:pt x="415" y="1065"/>
                  </a:lnTo>
                  <a:lnTo>
                    <a:pt x="413" y="1065"/>
                  </a:lnTo>
                  <a:lnTo>
                    <a:pt x="411" y="1065"/>
                  </a:lnTo>
                  <a:lnTo>
                    <a:pt x="408" y="1064"/>
                  </a:lnTo>
                  <a:lnTo>
                    <a:pt x="406" y="1063"/>
                  </a:lnTo>
                  <a:lnTo>
                    <a:pt x="406" y="1062"/>
                  </a:lnTo>
                  <a:lnTo>
                    <a:pt x="402" y="1059"/>
                  </a:lnTo>
                  <a:lnTo>
                    <a:pt x="400" y="1058"/>
                  </a:lnTo>
                  <a:lnTo>
                    <a:pt x="399" y="1057"/>
                  </a:lnTo>
                  <a:lnTo>
                    <a:pt x="397" y="1056"/>
                  </a:lnTo>
                  <a:lnTo>
                    <a:pt x="396" y="1056"/>
                  </a:lnTo>
                  <a:lnTo>
                    <a:pt x="395" y="1056"/>
                  </a:lnTo>
                  <a:lnTo>
                    <a:pt x="394" y="1056"/>
                  </a:lnTo>
                  <a:lnTo>
                    <a:pt x="392" y="1056"/>
                  </a:lnTo>
                  <a:lnTo>
                    <a:pt x="391" y="1057"/>
                  </a:lnTo>
                  <a:lnTo>
                    <a:pt x="386" y="1060"/>
                  </a:lnTo>
                  <a:lnTo>
                    <a:pt x="385" y="1060"/>
                  </a:lnTo>
                  <a:lnTo>
                    <a:pt x="383" y="1061"/>
                  </a:lnTo>
                  <a:lnTo>
                    <a:pt x="382" y="1061"/>
                  </a:lnTo>
                  <a:lnTo>
                    <a:pt x="380" y="1061"/>
                  </a:lnTo>
                  <a:lnTo>
                    <a:pt x="378" y="1062"/>
                  </a:lnTo>
                  <a:lnTo>
                    <a:pt x="376" y="1062"/>
                  </a:lnTo>
                  <a:lnTo>
                    <a:pt x="373" y="1061"/>
                  </a:lnTo>
                  <a:lnTo>
                    <a:pt x="371" y="1061"/>
                  </a:lnTo>
                  <a:lnTo>
                    <a:pt x="362" y="1059"/>
                  </a:lnTo>
                  <a:lnTo>
                    <a:pt x="359" y="1059"/>
                  </a:lnTo>
                  <a:lnTo>
                    <a:pt x="352" y="1058"/>
                  </a:lnTo>
                  <a:lnTo>
                    <a:pt x="348" y="1057"/>
                  </a:lnTo>
                  <a:lnTo>
                    <a:pt x="344" y="1057"/>
                  </a:lnTo>
                  <a:lnTo>
                    <a:pt x="340" y="1057"/>
                  </a:lnTo>
                  <a:lnTo>
                    <a:pt x="330" y="1057"/>
                  </a:lnTo>
                  <a:lnTo>
                    <a:pt x="326" y="1057"/>
                  </a:lnTo>
                  <a:lnTo>
                    <a:pt x="317" y="1057"/>
                  </a:lnTo>
                  <a:lnTo>
                    <a:pt x="309" y="1056"/>
                  </a:lnTo>
                  <a:lnTo>
                    <a:pt x="297" y="1055"/>
                  </a:lnTo>
                  <a:lnTo>
                    <a:pt x="265" y="1053"/>
                  </a:lnTo>
                  <a:lnTo>
                    <a:pt x="258" y="1052"/>
                  </a:lnTo>
                  <a:lnTo>
                    <a:pt x="254" y="1052"/>
                  </a:lnTo>
                  <a:lnTo>
                    <a:pt x="250" y="1052"/>
                  </a:lnTo>
                  <a:lnTo>
                    <a:pt x="247" y="1052"/>
                  </a:lnTo>
                  <a:lnTo>
                    <a:pt x="239" y="1053"/>
                  </a:lnTo>
                  <a:lnTo>
                    <a:pt x="234" y="1053"/>
                  </a:lnTo>
                  <a:lnTo>
                    <a:pt x="230" y="1053"/>
                  </a:lnTo>
                  <a:lnTo>
                    <a:pt x="224" y="1052"/>
                  </a:lnTo>
                  <a:lnTo>
                    <a:pt x="211" y="1051"/>
                  </a:lnTo>
                  <a:lnTo>
                    <a:pt x="206" y="1051"/>
                  </a:lnTo>
                  <a:lnTo>
                    <a:pt x="203" y="1050"/>
                  </a:lnTo>
                  <a:lnTo>
                    <a:pt x="200" y="1049"/>
                  </a:lnTo>
                  <a:lnTo>
                    <a:pt x="196" y="1048"/>
                  </a:lnTo>
                  <a:lnTo>
                    <a:pt x="192" y="1047"/>
                  </a:lnTo>
                  <a:lnTo>
                    <a:pt x="190" y="1046"/>
                  </a:lnTo>
                  <a:lnTo>
                    <a:pt x="186" y="1045"/>
                  </a:lnTo>
                  <a:lnTo>
                    <a:pt x="181" y="1043"/>
                  </a:lnTo>
                  <a:lnTo>
                    <a:pt x="178" y="1042"/>
                  </a:lnTo>
                  <a:lnTo>
                    <a:pt x="172" y="1039"/>
                  </a:lnTo>
                  <a:lnTo>
                    <a:pt x="157" y="1031"/>
                  </a:lnTo>
                  <a:lnTo>
                    <a:pt x="135" y="1019"/>
                  </a:lnTo>
                  <a:lnTo>
                    <a:pt x="128" y="1015"/>
                  </a:lnTo>
                  <a:lnTo>
                    <a:pt x="124" y="1013"/>
                  </a:lnTo>
                  <a:lnTo>
                    <a:pt x="122" y="1011"/>
                  </a:lnTo>
                  <a:lnTo>
                    <a:pt x="119" y="1009"/>
                  </a:lnTo>
                  <a:lnTo>
                    <a:pt x="115" y="1007"/>
                  </a:lnTo>
                  <a:lnTo>
                    <a:pt x="111" y="1003"/>
                  </a:lnTo>
                  <a:lnTo>
                    <a:pt x="107" y="999"/>
                  </a:lnTo>
                  <a:lnTo>
                    <a:pt x="103" y="996"/>
                  </a:lnTo>
                  <a:lnTo>
                    <a:pt x="99" y="993"/>
                  </a:lnTo>
                  <a:lnTo>
                    <a:pt x="97" y="990"/>
                  </a:lnTo>
                  <a:lnTo>
                    <a:pt x="95" y="987"/>
                  </a:lnTo>
                  <a:lnTo>
                    <a:pt x="93" y="985"/>
                  </a:lnTo>
                  <a:lnTo>
                    <a:pt x="92" y="984"/>
                  </a:lnTo>
                  <a:lnTo>
                    <a:pt x="91" y="982"/>
                  </a:lnTo>
                  <a:lnTo>
                    <a:pt x="90" y="980"/>
                  </a:lnTo>
                  <a:lnTo>
                    <a:pt x="89" y="977"/>
                  </a:lnTo>
                  <a:lnTo>
                    <a:pt x="88" y="970"/>
                  </a:lnTo>
                  <a:lnTo>
                    <a:pt x="88" y="969"/>
                  </a:lnTo>
                  <a:lnTo>
                    <a:pt x="87" y="968"/>
                  </a:lnTo>
                  <a:lnTo>
                    <a:pt x="86" y="966"/>
                  </a:lnTo>
                  <a:lnTo>
                    <a:pt x="86" y="965"/>
                  </a:lnTo>
                  <a:lnTo>
                    <a:pt x="85" y="964"/>
                  </a:lnTo>
                  <a:lnTo>
                    <a:pt x="84" y="963"/>
                  </a:lnTo>
                  <a:lnTo>
                    <a:pt x="82" y="963"/>
                  </a:lnTo>
                  <a:lnTo>
                    <a:pt x="80" y="962"/>
                  </a:lnTo>
                  <a:lnTo>
                    <a:pt x="79" y="961"/>
                  </a:lnTo>
                  <a:lnTo>
                    <a:pt x="76" y="961"/>
                  </a:lnTo>
                  <a:lnTo>
                    <a:pt x="75" y="961"/>
                  </a:lnTo>
                  <a:lnTo>
                    <a:pt x="73" y="960"/>
                  </a:lnTo>
                  <a:lnTo>
                    <a:pt x="72" y="959"/>
                  </a:lnTo>
                  <a:lnTo>
                    <a:pt x="70" y="958"/>
                  </a:lnTo>
                  <a:lnTo>
                    <a:pt x="69" y="957"/>
                  </a:lnTo>
                  <a:lnTo>
                    <a:pt x="65" y="953"/>
                  </a:lnTo>
                  <a:lnTo>
                    <a:pt x="65" y="951"/>
                  </a:lnTo>
                  <a:lnTo>
                    <a:pt x="63" y="951"/>
                  </a:lnTo>
                  <a:lnTo>
                    <a:pt x="60" y="949"/>
                  </a:lnTo>
                  <a:lnTo>
                    <a:pt x="58" y="949"/>
                  </a:lnTo>
                  <a:lnTo>
                    <a:pt x="56" y="948"/>
                  </a:lnTo>
                  <a:lnTo>
                    <a:pt x="49" y="946"/>
                  </a:lnTo>
                  <a:lnTo>
                    <a:pt x="48" y="945"/>
                  </a:lnTo>
                  <a:lnTo>
                    <a:pt x="46" y="945"/>
                  </a:lnTo>
                  <a:lnTo>
                    <a:pt x="45" y="944"/>
                  </a:lnTo>
                  <a:lnTo>
                    <a:pt x="45" y="943"/>
                  </a:lnTo>
                  <a:lnTo>
                    <a:pt x="44" y="942"/>
                  </a:lnTo>
                  <a:lnTo>
                    <a:pt x="44" y="940"/>
                  </a:lnTo>
                  <a:lnTo>
                    <a:pt x="43" y="940"/>
                  </a:lnTo>
                  <a:lnTo>
                    <a:pt x="42" y="939"/>
                  </a:lnTo>
                  <a:lnTo>
                    <a:pt x="42" y="937"/>
                  </a:lnTo>
                  <a:lnTo>
                    <a:pt x="40" y="936"/>
                  </a:lnTo>
                  <a:lnTo>
                    <a:pt x="36" y="934"/>
                  </a:lnTo>
                  <a:lnTo>
                    <a:pt x="35" y="933"/>
                  </a:lnTo>
                  <a:lnTo>
                    <a:pt x="33" y="931"/>
                  </a:lnTo>
                  <a:lnTo>
                    <a:pt x="29" y="928"/>
                  </a:lnTo>
                  <a:lnTo>
                    <a:pt x="28" y="926"/>
                  </a:lnTo>
                  <a:lnTo>
                    <a:pt x="27" y="925"/>
                  </a:lnTo>
                  <a:lnTo>
                    <a:pt x="26" y="925"/>
                  </a:lnTo>
                  <a:lnTo>
                    <a:pt x="24" y="924"/>
                  </a:lnTo>
                  <a:lnTo>
                    <a:pt x="20" y="923"/>
                  </a:lnTo>
                  <a:lnTo>
                    <a:pt x="17" y="922"/>
                  </a:lnTo>
                  <a:lnTo>
                    <a:pt x="14" y="921"/>
                  </a:lnTo>
                  <a:lnTo>
                    <a:pt x="12" y="919"/>
                  </a:lnTo>
                  <a:lnTo>
                    <a:pt x="10" y="918"/>
                  </a:lnTo>
                  <a:lnTo>
                    <a:pt x="8" y="917"/>
                  </a:lnTo>
                  <a:lnTo>
                    <a:pt x="8" y="916"/>
                  </a:lnTo>
                  <a:lnTo>
                    <a:pt x="7" y="915"/>
                  </a:lnTo>
                  <a:lnTo>
                    <a:pt x="4" y="911"/>
                  </a:lnTo>
                  <a:lnTo>
                    <a:pt x="4" y="910"/>
                  </a:lnTo>
                  <a:lnTo>
                    <a:pt x="3" y="909"/>
                  </a:lnTo>
                  <a:lnTo>
                    <a:pt x="1" y="907"/>
                  </a:lnTo>
                  <a:lnTo>
                    <a:pt x="0" y="906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0" name="Freeform 103">
              <a:extLst>
                <a:ext uri="{FF2B5EF4-FFF2-40B4-BE49-F238E27FC236}">
                  <a16:creationId xmlns:a16="http://schemas.microsoft.com/office/drawing/2014/main" id="{84D7F57D-124C-4849-B1DC-6DD6A240A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3" y="2652"/>
              <a:ext cx="776" cy="925"/>
            </a:xfrm>
            <a:custGeom>
              <a:avLst/>
              <a:gdLst>
                <a:gd name="T0" fmla="*/ 196 w 776"/>
                <a:gd name="T1" fmla="*/ 906 h 925"/>
                <a:gd name="T2" fmla="*/ 163 w 776"/>
                <a:gd name="T3" fmla="*/ 923 h 925"/>
                <a:gd name="T4" fmla="*/ 114 w 776"/>
                <a:gd name="T5" fmla="*/ 919 h 925"/>
                <a:gd name="T6" fmla="*/ 61 w 776"/>
                <a:gd name="T7" fmla="*/ 883 h 925"/>
                <a:gd name="T8" fmla="*/ 0 w 776"/>
                <a:gd name="T9" fmla="*/ 862 h 925"/>
                <a:gd name="T10" fmla="*/ 16 w 776"/>
                <a:gd name="T11" fmla="*/ 841 h 925"/>
                <a:gd name="T12" fmla="*/ 20 w 776"/>
                <a:gd name="T13" fmla="*/ 827 h 925"/>
                <a:gd name="T14" fmla="*/ 34 w 776"/>
                <a:gd name="T15" fmla="*/ 816 h 925"/>
                <a:gd name="T16" fmla="*/ 56 w 776"/>
                <a:gd name="T17" fmla="*/ 814 h 925"/>
                <a:gd name="T18" fmla="*/ 80 w 776"/>
                <a:gd name="T19" fmla="*/ 822 h 925"/>
                <a:gd name="T20" fmla="*/ 99 w 776"/>
                <a:gd name="T21" fmla="*/ 800 h 925"/>
                <a:gd name="T22" fmla="*/ 134 w 776"/>
                <a:gd name="T23" fmla="*/ 803 h 925"/>
                <a:gd name="T24" fmla="*/ 155 w 776"/>
                <a:gd name="T25" fmla="*/ 799 h 925"/>
                <a:gd name="T26" fmla="*/ 187 w 776"/>
                <a:gd name="T27" fmla="*/ 772 h 925"/>
                <a:gd name="T28" fmla="*/ 217 w 776"/>
                <a:gd name="T29" fmla="*/ 745 h 925"/>
                <a:gd name="T30" fmla="*/ 255 w 776"/>
                <a:gd name="T31" fmla="*/ 737 h 925"/>
                <a:gd name="T32" fmla="*/ 270 w 776"/>
                <a:gd name="T33" fmla="*/ 713 h 925"/>
                <a:gd name="T34" fmla="*/ 290 w 776"/>
                <a:gd name="T35" fmla="*/ 713 h 925"/>
                <a:gd name="T36" fmla="*/ 313 w 776"/>
                <a:gd name="T37" fmla="*/ 694 h 925"/>
                <a:gd name="T38" fmla="*/ 332 w 776"/>
                <a:gd name="T39" fmla="*/ 702 h 925"/>
                <a:gd name="T40" fmla="*/ 360 w 776"/>
                <a:gd name="T41" fmla="*/ 715 h 925"/>
                <a:gd name="T42" fmla="*/ 389 w 776"/>
                <a:gd name="T43" fmla="*/ 703 h 925"/>
                <a:gd name="T44" fmla="*/ 442 w 776"/>
                <a:gd name="T45" fmla="*/ 704 h 925"/>
                <a:gd name="T46" fmla="*/ 460 w 776"/>
                <a:gd name="T47" fmla="*/ 690 h 925"/>
                <a:gd name="T48" fmla="*/ 476 w 776"/>
                <a:gd name="T49" fmla="*/ 668 h 925"/>
                <a:gd name="T50" fmla="*/ 518 w 776"/>
                <a:gd name="T51" fmla="*/ 657 h 925"/>
                <a:gd name="T52" fmla="*/ 533 w 776"/>
                <a:gd name="T53" fmla="*/ 636 h 925"/>
                <a:gd name="T54" fmla="*/ 541 w 776"/>
                <a:gd name="T55" fmla="*/ 617 h 925"/>
                <a:gd name="T56" fmla="*/ 518 w 776"/>
                <a:gd name="T57" fmla="*/ 590 h 925"/>
                <a:gd name="T58" fmla="*/ 533 w 776"/>
                <a:gd name="T59" fmla="*/ 581 h 925"/>
                <a:gd name="T60" fmla="*/ 533 w 776"/>
                <a:gd name="T61" fmla="*/ 557 h 925"/>
                <a:gd name="T62" fmla="*/ 550 w 776"/>
                <a:gd name="T63" fmla="*/ 540 h 925"/>
                <a:gd name="T64" fmla="*/ 559 w 776"/>
                <a:gd name="T65" fmla="*/ 516 h 925"/>
                <a:gd name="T66" fmla="*/ 538 w 776"/>
                <a:gd name="T67" fmla="*/ 496 h 925"/>
                <a:gd name="T68" fmla="*/ 539 w 776"/>
                <a:gd name="T69" fmla="*/ 473 h 925"/>
                <a:gd name="T70" fmla="*/ 564 w 776"/>
                <a:gd name="T71" fmla="*/ 445 h 925"/>
                <a:gd name="T72" fmla="*/ 559 w 776"/>
                <a:gd name="T73" fmla="*/ 425 h 925"/>
                <a:gd name="T74" fmla="*/ 559 w 776"/>
                <a:gd name="T75" fmla="*/ 404 h 925"/>
                <a:gd name="T76" fmla="*/ 570 w 776"/>
                <a:gd name="T77" fmla="*/ 375 h 925"/>
                <a:gd name="T78" fmla="*/ 547 w 776"/>
                <a:gd name="T79" fmla="*/ 365 h 925"/>
                <a:gd name="T80" fmla="*/ 551 w 776"/>
                <a:gd name="T81" fmla="*/ 354 h 925"/>
                <a:gd name="T82" fmla="*/ 524 w 776"/>
                <a:gd name="T83" fmla="*/ 328 h 925"/>
                <a:gd name="T84" fmla="*/ 530 w 776"/>
                <a:gd name="T85" fmla="*/ 284 h 925"/>
                <a:gd name="T86" fmla="*/ 554 w 776"/>
                <a:gd name="T87" fmla="*/ 249 h 925"/>
                <a:gd name="T88" fmla="*/ 592 w 776"/>
                <a:gd name="T89" fmla="*/ 237 h 925"/>
                <a:gd name="T90" fmla="*/ 600 w 776"/>
                <a:gd name="T91" fmla="*/ 224 h 925"/>
                <a:gd name="T92" fmla="*/ 582 w 776"/>
                <a:gd name="T93" fmla="*/ 214 h 925"/>
                <a:gd name="T94" fmla="*/ 602 w 776"/>
                <a:gd name="T95" fmla="*/ 196 h 925"/>
                <a:gd name="T96" fmla="*/ 619 w 776"/>
                <a:gd name="T97" fmla="*/ 206 h 925"/>
                <a:gd name="T98" fmla="*/ 634 w 776"/>
                <a:gd name="T99" fmla="*/ 211 h 925"/>
                <a:gd name="T100" fmla="*/ 642 w 776"/>
                <a:gd name="T101" fmla="*/ 188 h 925"/>
                <a:gd name="T102" fmla="*/ 627 w 776"/>
                <a:gd name="T103" fmla="*/ 164 h 925"/>
                <a:gd name="T104" fmla="*/ 642 w 776"/>
                <a:gd name="T105" fmla="*/ 159 h 925"/>
                <a:gd name="T106" fmla="*/ 663 w 776"/>
                <a:gd name="T107" fmla="*/ 131 h 925"/>
                <a:gd name="T108" fmla="*/ 656 w 776"/>
                <a:gd name="T109" fmla="*/ 113 h 925"/>
                <a:gd name="T110" fmla="*/ 639 w 776"/>
                <a:gd name="T111" fmla="*/ 93 h 925"/>
                <a:gd name="T112" fmla="*/ 651 w 776"/>
                <a:gd name="T113" fmla="*/ 63 h 925"/>
                <a:gd name="T114" fmla="*/ 670 w 776"/>
                <a:gd name="T115" fmla="*/ 47 h 925"/>
                <a:gd name="T116" fmla="*/ 692 w 776"/>
                <a:gd name="T117" fmla="*/ 45 h 925"/>
                <a:gd name="T118" fmla="*/ 735 w 776"/>
                <a:gd name="T119" fmla="*/ 45 h 925"/>
                <a:gd name="T120" fmla="*/ 762 w 776"/>
                <a:gd name="T121" fmla="*/ 39 h 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76" h="925">
                  <a:moveTo>
                    <a:pt x="233" y="906"/>
                  </a:moveTo>
                  <a:lnTo>
                    <a:pt x="232" y="906"/>
                  </a:lnTo>
                  <a:lnTo>
                    <a:pt x="230" y="906"/>
                  </a:lnTo>
                  <a:lnTo>
                    <a:pt x="230" y="905"/>
                  </a:lnTo>
                  <a:lnTo>
                    <a:pt x="229" y="905"/>
                  </a:lnTo>
                  <a:lnTo>
                    <a:pt x="226" y="904"/>
                  </a:lnTo>
                  <a:lnTo>
                    <a:pt x="218" y="904"/>
                  </a:lnTo>
                  <a:lnTo>
                    <a:pt x="213" y="904"/>
                  </a:lnTo>
                  <a:lnTo>
                    <a:pt x="207" y="905"/>
                  </a:lnTo>
                  <a:lnTo>
                    <a:pt x="202" y="905"/>
                  </a:lnTo>
                  <a:lnTo>
                    <a:pt x="196" y="906"/>
                  </a:lnTo>
                  <a:lnTo>
                    <a:pt x="194" y="906"/>
                  </a:lnTo>
                  <a:lnTo>
                    <a:pt x="191" y="907"/>
                  </a:lnTo>
                  <a:lnTo>
                    <a:pt x="189" y="908"/>
                  </a:lnTo>
                  <a:lnTo>
                    <a:pt x="187" y="908"/>
                  </a:lnTo>
                  <a:lnTo>
                    <a:pt x="185" y="910"/>
                  </a:lnTo>
                  <a:lnTo>
                    <a:pt x="182" y="912"/>
                  </a:lnTo>
                  <a:lnTo>
                    <a:pt x="173" y="918"/>
                  </a:lnTo>
                  <a:lnTo>
                    <a:pt x="170" y="920"/>
                  </a:lnTo>
                  <a:lnTo>
                    <a:pt x="168" y="921"/>
                  </a:lnTo>
                  <a:lnTo>
                    <a:pt x="165" y="922"/>
                  </a:lnTo>
                  <a:lnTo>
                    <a:pt x="163" y="923"/>
                  </a:lnTo>
                  <a:lnTo>
                    <a:pt x="162" y="924"/>
                  </a:lnTo>
                  <a:lnTo>
                    <a:pt x="159" y="924"/>
                  </a:lnTo>
                  <a:lnTo>
                    <a:pt x="155" y="925"/>
                  </a:lnTo>
                  <a:lnTo>
                    <a:pt x="152" y="925"/>
                  </a:lnTo>
                  <a:lnTo>
                    <a:pt x="148" y="925"/>
                  </a:lnTo>
                  <a:lnTo>
                    <a:pt x="144" y="925"/>
                  </a:lnTo>
                  <a:lnTo>
                    <a:pt x="138" y="924"/>
                  </a:lnTo>
                  <a:lnTo>
                    <a:pt x="122" y="922"/>
                  </a:lnTo>
                  <a:lnTo>
                    <a:pt x="118" y="921"/>
                  </a:lnTo>
                  <a:lnTo>
                    <a:pt x="116" y="920"/>
                  </a:lnTo>
                  <a:lnTo>
                    <a:pt x="114" y="919"/>
                  </a:lnTo>
                  <a:lnTo>
                    <a:pt x="110" y="917"/>
                  </a:lnTo>
                  <a:lnTo>
                    <a:pt x="106" y="915"/>
                  </a:lnTo>
                  <a:lnTo>
                    <a:pt x="103" y="912"/>
                  </a:lnTo>
                  <a:lnTo>
                    <a:pt x="100" y="909"/>
                  </a:lnTo>
                  <a:lnTo>
                    <a:pt x="89" y="900"/>
                  </a:lnTo>
                  <a:lnTo>
                    <a:pt x="86" y="897"/>
                  </a:lnTo>
                  <a:lnTo>
                    <a:pt x="83" y="895"/>
                  </a:lnTo>
                  <a:lnTo>
                    <a:pt x="81" y="894"/>
                  </a:lnTo>
                  <a:lnTo>
                    <a:pt x="78" y="892"/>
                  </a:lnTo>
                  <a:lnTo>
                    <a:pt x="69" y="888"/>
                  </a:lnTo>
                  <a:lnTo>
                    <a:pt x="61" y="883"/>
                  </a:lnTo>
                  <a:lnTo>
                    <a:pt x="58" y="882"/>
                  </a:lnTo>
                  <a:lnTo>
                    <a:pt x="54" y="880"/>
                  </a:lnTo>
                  <a:lnTo>
                    <a:pt x="50" y="879"/>
                  </a:lnTo>
                  <a:lnTo>
                    <a:pt x="46" y="878"/>
                  </a:lnTo>
                  <a:lnTo>
                    <a:pt x="30" y="875"/>
                  </a:lnTo>
                  <a:lnTo>
                    <a:pt x="26" y="874"/>
                  </a:lnTo>
                  <a:lnTo>
                    <a:pt x="22" y="873"/>
                  </a:lnTo>
                  <a:lnTo>
                    <a:pt x="17" y="872"/>
                  </a:lnTo>
                  <a:lnTo>
                    <a:pt x="14" y="871"/>
                  </a:lnTo>
                  <a:lnTo>
                    <a:pt x="0" y="865"/>
                  </a:lnTo>
                  <a:lnTo>
                    <a:pt x="0" y="862"/>
                  </a:lnTo>
                  <a:lnTo>
                    <a:pt x="2" y="860"/>
                  </a:lnTo>
                  <a:lnTo>
                    <a:pt x="5" y="850"/>
                  </a:lnTo>
                  <a:lnTo>
                    <a:pt x="6" y="849"/>
                  </a:lnTo>
                  <a:lnTo>
                    <a:pt x="7" y="848"/>
                  </a:lnTo>
                  <a:lnTo>
                    <a:pt x="7" y="847"/>
                  </a:lnTo>
                  <a:lnTo>
                    <a:pt x="9" y="847"/>
                  </a:lnTo>
                  <a:lnTo>
                    <a:pt x="11" y="846"/>
                  </a:lnTo>
                  <a:lnTo>
                    <a:pt x="12" y="845"/>
                  </a:lnTo>
                  <a:lnTo>
                    <a:pt x="14" y="843"/>
                  </a:lnTo>
                  <a:lnTo>
                    <a:pt x="16" y="842"/>
                  </a:lnTo>
                  <a:lnTo>
                    <a:pt x="16" y="841"/>
                  </a:lnTo>
                  <a:lnTo>
                    <a:pt x="17" y="841"/>
                  </a:lnTo>
                  <a:lnTo>
                    <a:pt x="16" y="841"/>
                  </a:lnTo>
                  <a:lnTo>
                    <a:pt x="15" y="840"/>
                  </a:lnTo>
                  <a:lnTo>
                    <a:pt x="15" y="839"/>
                  </a:lnTo>
                  <a:lnTo>
                    <a:pt x="15" y="838"/>
                  </a:lnTo>
                  <a:lnTo>
                    <a:pt x="15" y="838"/>
                  </a:lnTo>
                  <a:lnTo>
                    <a:pt x="18" y="835"/>
                  </a:lnTo>
                  <a:lnTo>
                    <a:pt x="19" y="834"/>
                  </a:lnTo>
                  <a:lnTo>
                    <a:pt x="20" y="831"/>
                  </a:lnTo>
                  <a:lnTo>
                    <a:pt x="20" y="830"/>
                  </a:lnTo>
                  <a:lnTo>
                    <a:pt x="20" y="827"/>
                  </a:lnTo>
                  <a:lnTo>
                    <a:pt x="21" y="827"/>
                  </a:lnTo>
                  <a:lnTo>
                    <a:pt x="22" y="827"/>
                  </a:lnTo>
                  <a:lnTo>
                    <a:pt x="25" y="826"/>
                  </a:lnTo>
                  <a:lnTo>
                    <a:pt x="26" y="826"/>
                  </a:lnTo>
                  <a:lnTo>
                    <a:pt x="27" y="825"/>
                  </a:lnTo>
                  <a:lnTo>
                    <a:pt x="28" y="825"/>
                  </a:lnTo>
                  <a:lnTo>
                    <a:pt x="29" y="824"/>
                  </a:lnTo>
                  <a:lnTo>
                    <a:pt x="33" y="820"/>
                  </a:lnTo>
                  <a:lnTo>
                    <a:pt x="34" y="818"/>
                  </a:lnTo>
                  <a:lnTo>
                    <a:pt x="34" y="817"/>
                  </a:lnTo>
                  <a:lnTo>
                    <a:pt x="34" y="816"/>
                  </a:lnTo>
                  <a:lnTo>
                    <a:pt x="35" y="815"/>
                  </a:lnTo>
                  <a:lnTo>
                    <a:pt x="37" y="815"/>
                  </a:lnTo>
                  <a:lnTo>
                    <a:pt x="38" y="814"/>
                  </a:lnTo>
                  <a:lnTo>
                    <a:pt x="40" y="813"/>
                  </a:lnTo>
                  <a:lnTo>
                    <a:pt x="44" y="812"/>
                  </a:lnTo>
                  <a:lnTo>
                    <a:pt x="46" y="812"/>
                  </a:lnTo>
                  <a:lnTo>
                    <a:pt x="48" y="812"/>
                  </a:lnTo>
                  <a:lnTo>
                    <a:pt x="50" y="812"/>
                  </a:lnTo>
                  <a:lnTo>
                    <a:pt x="52" y="812"/>
                  </a:lnTo>
                  <a:lnTo>
                    <a:pt x="54" y="813"/>
                  </a:lnTo>
                  <a:lnTo>
                    <a:pt x="56" y="814"/>
                  </a:lnTo>
                  <a:lnTo>
                    <a:pt x="59" y="815"/>
                  </a:lnTo>
                  <a:lnTo>
                    <a:pt x="63" y="819"/>
                  </a:lnTo>
                  <a:lnTo>
                    <a:pt x="64" y="820"/>
                  </a:lnTo>
                  <a:lnTo>
                    <a:pt x="66" y="821"/>
                  </a:lnTo>
                  <a:lnTo>
                    <a:pt x="68" y="822"/>
                  </a:lnTo>
                  <a:lnTo>
                    <a:pt x="71" y="822"/>
                  </a:lnTo>
                  <a:lnTo>
                    <a:pt x="73" y="823"/>
                  </a:lnTo>
                  <a:lnTo>
                    <a:pt x="76" y="823"/>
                  </a:lnTo>
                  <a:lnTo>
                    <a:pt x="77" y="823"/>
                  </a:lnTo>
                  <a:lnTo>
                    <a:pt x="78" y="823"/>
                  </a:lnTo>
                  <a:lnTo>
                    <a:pt x="80" y="822"/>
                  </a:lnTo>
                  <a:lnTo>
                    <a:pt x="82" y="821"/>
                  </a:lnTo>
                  <a:lnTo>
                    <a:pt x="82" y="819"/>
                  </a:lnTo>
                  <a:lnTo>
                    <a:pt x="84" y="817"/>
                  </a:lnTo>
                  <a:lnTo>
                    <a:pt x="86" y="815"/>
                  </a:lnTo>
                  <a:lnTo>
                    <a:pt x="87" y="814"/>
                  </a:lnTo>
                  <a:lnTo>
                    <a:pt x="91" y="810"/>
                  </a:lnTo>
                  <a:lnTo>
                    <a:pt x="94" y="804"/>
                  </a:lnTo>
                  <a:lnTo>
                    <a:pt x="95" y="803"/>
                  </a:lnTo>
                  <a:lnTo>
                    <a:pt x="97" y="802"/>
                  </a:lnTo>
                  <a:lnTo>
                    <a:pt x="98" y="801"/>
                  </a:lnTo>
                  <a:lnTo>
                    <a:pt x="99" y="800"/>
                  </a:lnTo>
                  <a:lnTo>
                    <a:pt x="100" y="800"/>
                  </a:lnTo>
                  <a:lnTo>
                    <a:pt x="102" y="799"/>
                  </a:lnTo>
                  <a:lnTo>
                    <a:pt x="105" y="799"/>
                  </a:lnTo>
                  <a:lnTo>
                    <a:pt x="115" y="797"/>
                  </a:lnTo>
                  <a:lnTo>
                    <a:pt x="117" y="797"/>
                  </a:lnTo>
                  <a:lnTo>
                    <a:pt x="120" y="797"/>
                  </a:lnTo>
                  <a:lnTo>
                    <a:pt x="123" y="798"/>
                  </a:lnTo>
                  <a:lnTo>
                    <a:pt x="125" y="799"/>
                  </a:lnTo>
                  <a:lnTo>
                    <a:pt x="128" y="800"/>
                  </a:lnTo>
                  <a:lnTo>
                    <a:pt x="131" y="802"/>
                  </a:lnTo>
                  <a:lnTo>
                    <a:pt x="134" y="803"/>
                  </a:lnTo>
                  <a:lnTo>
                    <a:pt x="139" y="806"/>
                  </a:lnTo>
                  <a:lnTo>
                    <a:pt x="140" y="807"/>
                  </a:lnTo>
                  <a:lnTo>
                    <a:pt x="142" y="808"/>
                  </a:lnTo>
                  <a:lnTo>
                    <a:pt x="143" y="808"/>
                  </a:lnTo>
                  <a:lnTo>
                    <a:pt x="145" y="809"/>
                  </a:lnTo>
                  <a:lnTo>
                    <a:pt x="146" y="809"/>
                  </a:lnTo>
                  <a:lnTo>
                    <a:pt x="148" y="808"/>
                  </a:lnTo>
                  <a:lnTo>
                    <a:pt x="149" y="807"/>
                  </a:lnTo>
                  <a:lnTo>
                    <a:pt x="150" y="806"/>
                  </a:lnTo>
                  <a:lnTo>
                    <a:pt x="151" y="804"/>
                  </a:lnTo>
                  <a:lnTo>
                    <a:pt x="155" y="799"/>
                  </a:lnTo>
                  <a:lnTo>
                    <a:pt x="158" y="796"/>
                  </a:lnTo>
                  <a:lnTo>
                    <a:pt x="159" y="794"/>
                  </a:lnTo>
                  <a:lnTo>
                    <a:pt x="162" y="791"/>
                  </a:lnTo>
                  <a:lnTo>
                    <a:pt x="167" y="786"/>
                  </a:lnTo>
                  <a:lnTo>
                    <a:pt x="169" y="784"/>
                  </a:lnTo>
                  <a:lnTo>
                    <a:pt x="171" y="782"/>
                  </a:lnTo>
                  <a:lnTo>
                    <a:pt x="173" y="781"/>
                  </a:lnTo>
                  <a:lnTo>
                    <a:pt x="175" y="780"/>
                  </a:lnTo>
                  <a:lnTo>
                    <a:pt x="182" y="776"/>
                  </a:lnTo>
                  <a:lnTo>
                    <a:pt x="184" y="775"/>
                  </a:lnTo>
                  <a:lnTo>
                    <a:pt x="187" y="772"/>
                  </a:lnTo>
                  <a:lnTo>
                    <a:pt x="190" y="770"/>
                  </a:lnTo>
                  <a:lnTo>
                    <a:pt x="193" y="768"/>
                  </a:lnTo>
                  <a:lnTo>
                    <a:pt x="197" y="763"/>
                  </a:lnTo>
                  <a:lnTo>
                    <a:pt x="199" y="760"/>
                  </a:lnTo>
                  <a:lnTo>
                    <a:pt x="202" y="756"/>
                  </a:lnTo>
                  <a:lnTo>
                    <a:pt x="204" y="754"/>
                  </a:lnTo>
                  <a:lnTo>
                    <a:pt x="205" y="753"/>
                  </a:lnTo>
                  <a:lnTo>
                    <a:pt x="207" y="751"/>
                  </a:lnTo>
                  <a:lnTo>
                    <a:pt x="210" y="748"/>
                  </a:lnTo>
                  <a:lnTo>
                    <a:pt x="214" y="747"/>
                  </a:lnTo>
                  <a:lnTo>
                    <a:pt x="217" y="745"/>
                  </a:lnTo>
                  <a:lnTo>
                    <a:pt x="224" y="743"/>
                  </a:lnTo>
                  <a:lnTo>
                    <a:pt x="228" y="742"/>
                  </a:lnTo>
                  <a:lnTo>
                    <a:pt x="232" y="741"/>
                  </a:lnTo>
                  <a:lnTo>
                    <a:pt x="238" y="740"/>
                  </a:lnTo>
                  <a:lnTo>
                    <a:pt x="241" y="740"/>
                  </a:lnTo>
                  <a:lnTo>
                    <a:pt x="247" y="740"/>
                  </a:lnTo>
                  <a:lnTo>
                    <a:pt x="250" y="740"/>
                  </a:lnTo>
                  <a:lnTo>
                    <a:pt x="252" y="739"/>
                  </a:lnTo>
                  <a:lnTo>
                    <a:pt x="253" y="739"/>
                  </a:lnTo>
                  <a:lnTo>
                    <a:pt x="254" y="738"/>
                  </a:lnTo>
                  <a:lnTo>
                    <a:pt x="255" y="737"/>
                  </a:lnTo>
                  <a:lnTo>
                    <a:pt x="257" y="736"/>
                  </a:lnTo>
                  <a:lnTo>
                    <a:pt x="258" y="734"/>
                  </a:lnTo>
                  <a:lnTo>
                    <a:pt x="259" y="733"/>
                  </a:lnTo>
                  <a:lnTo>
                    <a:pt x="260" y="730"/>
                  </a:lnTo>
                  <a:lnTo>
                    <a:pt x="263" y="725"/>
                  </a:lnTo>
                  <a:lnTo>
                    <a:pt x="264" y="720"/>
                  </a:lnTo>
                  <a:lnTo>
                    <a:pt x="265" y="718"/>
                  </a:lnTo>
                  <a:lnTo>
                    <a:pt x="266" y="716"/>
                  </a:lnTo>
                  <a:lnTo>
                    <a:pt x="267" y="715"/>
                  </a:lnTo>
                  <a:lnTo>
                    <a:pt x="269" y="714"/>
                  </a:lnTo>
                  <a:lnTo>
                    <a:pt x="270" y="713"/>
                  </a:lnTo>
                  <a:lnTo>
                    <a:pt x="271" y="713"/>
                  </a:lnTo>
                  <a:lnTo>
                    <a:pt x="272" y="713"/>
                  </a:lnTo>
                  <a:lnTo>
                    <a:pt x="273" y="713"/>
                  </a:lnTo>
                  <a:lnTo>
                    <a:pt x="275" y="713"/>
                  </a:lnTo>
                  <a:lnTo>
                    <a:pt x="276" y="713"/>
                  </a:lnTo>
                  <a:lnTo>
                    <a:pt x="282" y="713"/>
                  </a:lnTo>
                  <a:lnTo>
                    <a:pt x="284" y="713"/>
                  </a:lnTo>
                  <a:lnTo>
                    <a:pt x="286" y="713"/>
                  </a:lnTo>
                  <a:lnTo>
                    <a:pt x="287" y="713"/>
                  </a:lnTo>
                  <a:lnTo>
                    <a:pt x="288" y="713"/>
                  </a:lnTo>
                  <a:lnTo>
                    <a:pt x="290" y="713"/>
                  </a:lnTo>
                  <a:lnTo>
                    <a:pt x="291" y="712"/>
                  </a:lnTo>
                  <a:lnTo>
                    <a:pt x="293" y="711"/>
                  </a:lnTo>
                  <a:lnTo>
                    <a:pt x="295" y="709"/>
                  </a:lnTo>
                  <a:lnTo>
                    <a:pt x="297" y="708"/>
                  </a:lnTo>
                  <a:lnTo>
                    <a:pt x="299" y="705"/>
                  </a:lnTo>
                  <a:lnTo>
                    <a:pt x="304" y="700"/>
                  </a:lnTo>
                  <a:lnTo>
                    <a:pt x="305" y="699"/>
                  </a:lnTo>
                  <a:lnTo>
                    <a:pt x="306" y="698"/>
                  </a:lnTo>
                  <a:lnTo>
                    <a:pt x="308" y="697"/>
                  </a:lnTo>
                  <a:lnTo>
                    <a:pt x="309" y="696"/>
                  </a:lnTo>
                  <a:lnTo>
                    <a:pt x="313" y="694"/>
                  </a:lnTo>
                  <a:lnTo>
                    <a:pt x="316" y="693"/>
                  </a:lnTo>
                  <a:lnTo>
                    <a:pt x="318" y="692"/>
                  </a:lnTo>
                  <a:lnTo>
                    <a:pt x="321" y="692"/>
                  </a:lnTo>
                  <a:lnTo>
                    <a:pt x="322" y="692"/>
                  </a:lnTo>
                  <a:lnTo>
                    <a:pt x="323" y="692"/>
                  </a:lnTo>
                  <a:lnTo>
                    <a:pt x="324" y="693"/>
                  </a:lnTo>
                  <a:lnTo>
                    <a:pt x="325" y="694"/>
                  </a:lnTo>
                  <a:lnTo>
                    <a:pt x="326" y="695"/>
                  </a:lnTo>
                  <a:lnTo>
                    <a:pt x="328" y="696"/>
                  </a:lnTo>
                  <a:lnTo>
                    <a:pt x="330" y="699"/>
                  </a:lnTo>
                  <a:lnTo>
                    <a:pt x="332" y="702"/>
                  </a:lnTo>
                  <a:lnTo>
                    <a:pt x="333" y="703"/>
                  </a:lnTo>
                  <a:lnTo>
                    <a:pt x="334" y="705"/>
                  </a:lnTo>
                  <a:lnTo>
                    <a:pt x="336" y="707"/>
                  </a:lnTo>
                  <a:lnTo>
                    <a:pt x="343" y="711"/>
                  </a:lnTo>
                  <a:lnTo>
                    <a:pt x="345" y="713"/>
                  </a:lnTo>
                  <a:lnTo>
                    <a:pt x="348" y="713"/>
                  </a:lnTo>
                  <a:lnTo>
                    <a:pt x="350" y="714"/>
                  </a:lnTo>
                  <a:lnTo>
                    <a:pt x="352" y="715"/>
                  </a:lnTo>
                  <a:lnTo>
                    <a:pt x="354" y="715"/>
                  </a:lnTo>
                  <a:lnTo>
                    <a:pt x="356" y="715"/>
                  </a:lnTo>
                  <a:lnTo>
                    <a:pt x="360" y="715"/>
                  </a:lnTo>
                  <a:lnTo>
                    <a:pt x="364" y="714"/>
                  </a:lnTo>
                  <a:lnTo>
                    <a:pt x="366" y="713"/>
                  </a:lnTo>
                  <a:lnTo>
                    <a:pt x="369" y="713"/>
                  </a:lnTo>
                  <a:lnTo>
                    <a:pt x="374" y="710"/>
                  </a:lnTo>
                  <a:lnTo>
                    <a:pt x="376" y="708"/>
                  </a:lnTo>
                  <a:lnTo>
                    <a:pt x="379" y="705"/>
                  </a:lnTo>
                  <a:lnTo>
                    <a:pt x="380" y="704"/>
                  </a:lnTo>
                  <a:lnTo>
                    <a:pt x="382" y="703"/>
                  </a:lnTo>
                  <a:lnTo>
                    <a:pt x="384" y="703"/>
                  </a:lnTo>
                  <a:lnTo>
                    <a:pt x="386" y="703"/>
                  </a:lnTo>
                  <a:lnTo>
                    <a:pt x="389" y="703"/>
                  </a:lnTo>
                  <a:lnTo>
                    <a:pt x="394" y="704"/>
                  </a:lnTo>
                  <a:lnTo>
                    <a:pt x="397" y="705"/>
                  </a:lnTo>
                  <a:lnTo>
                    <a:pt x="402" y="706"/>
                  </a:lnTo>
                  <a:lnTo>
                    <a:pt x="405" y="707"/>
                  </a:lnTo>
                  <a:lnTo>
                    <a:pt x="411" y="708"/>
                  </a:lnTo>
                  <a:lnTo>
                    <a:pt x="416" y="709"/>
                  </a:lnTo>
                  <a:lnTo>
                    <a:pt x="419" y="709"/>
                  </a:lnTo>
                  <a:lnTo>
                    <a:pt x="421" y="709"/>
                  </a:lnTo>
                  <a:lnTo>
                    <a:pt x="426" y="707"/>
                  </a:lnTo>
                  <a:lnTo>
                    <a:pt x="436" y="705"/>
                  </a:lnTo>
                  <a:lnTo>
                    <a:pt x="442" y="704"/>
                  </a:lnTo>
                  <a:lnTo>
                    <a:pt x="445" y="704"/>
                  </a:lnTo>
                  <a:lnTo>
                    <a:pt x="446" y="703"/>
                  </a:lnTo>
                  <a:lnTo>
                    <a:pt x="448" y="702"/>
                  </a:lnTo>
                  <a:lnTo>
                    <a:pt x="456" y="698"/>
                  </a:lnTo>
                  <a:lnTo>
                    <a:pt x="457" y="697"/>
                  </a:lnTo>
                  <a:lnTo>
                    <a:pt x="458" y="696"/>
                  </a:lnTo>
                  <a:lnTo>
                    <a:pt x="459" y="694"/>
                  </a:lnTo>
                  <a:lnTo>
                    <a:pt x="459" y="693"/>
                  </a:lnTo>
                  <a:lnTo>
                    <a:pt x="460" y="692"/>
                  </a:lnTo>
                  <a:lnTo>
                    <a:pt x="460" y="691"/>
                  </a:lnTo>
                  <a:lnTo>
                    <a:pt x="460" y="690"/>
                  </a:lnTo>
                  <a:lnTo>
                    <a:pt x="460" y="684"/>
                  </a:lnTo>
                  <a:lnTo>
                    <a:pt x="460" y="682"/>
                  </a:lnTo>
                  <a:lnTo>
                    <a:pt x="460" y="680"/>
                  </a:lnTo>
                  <a:lnTo>
                    <a:pt x="461" y="678"/>
                  </a:lnTo>
                  <a:lnTo>
                    <a:pt x="462" y="676"/>
                  </a:lnTo>
                  <a:lnTo>
                    <a:pt x="464" y="674"/>
                  </a:lnTo>
                  <a:lnTo>
                    <a:pt x="466" y="672"/>
                  </a:lnTo>
                  <a:lnTo>
                    <a:pt x="468" y="671"/>
                  </a:lnTo>
                  <a:lnTo>
                    <a:pt x="470" y="670"/>
                  </a:lnTo>
                  <a:lnTo>
                    <a:pt x="472" y="669"/>
                  </a:lnTo>
                  <a:lnTo>
                    <a:pt x="476" y="668"/>
                  </a:lnTo>
                  <a:lnTo>
                    <a:pt x="480" y="667"/>
                  </a:lnTo>
                  <a:lnTo>
                    <a:pt x="484" y="667"/>
                  </a:lnTo>
                  <a:lnTo>
                    <a:pt x="492" y="666"/>
                  </a:lnTo>
                  <a:lnTo>
                    <a:pt x="501" y="664"/>
                  </a:lnTo>
                  <a:lnTo>
                    <a:pt x="506" y="663"/>
                  </a:lnTo>
                  <a:lnTo>
                    <a:pt x="511" y="662"/>
                  </a:lnTo>
                  <a:lnTo>
                    <a:pt x="513" y="661"/>
                  </a:lnTo>
                  <a:lnTo>
                    <a:pt x="514" y="660"/>
                  </a:lnTo>
                  <a:lnTo>
                    <a:pt x="515" y="660"/>
                  </a:lnTo>
                  <a:lnTo>
                    <a:pt x="517" y="659"/>
                  </a:lnTo>
                  <a:lnTo>
                    <a:pt x="518" y="657"/>
                  </a:lnTo>
                  <a:lnTo>
                    <a:pt x="520" y="657"/>
                  </a:lnTo>
                  <a:lnTo>
                    <a:pt x="521" y="656"/>
                  </a:lnTo>
                  <a:lnTo>
                    <a:pt x="523" y="654"/>
                  </a:lnTo>
                  <a:lnTo>
                    <a:pt x="524" y="651"/>
                  </a:lnTo>
                  <a:lnTo>
                    <a:pt x="525" y="649"/>
                  </a:lnTo>
                  <a:lnTo>
                    <a:pt x="526" y="647"/>
                  </a:lnTo>
                  <a:lnTo>
                    <a:pt x="528" y="643"/>
                  </a:lnTo>
                  <a:lnTo>
                    <a:pt x="529" y="641"/>
                  </a:lnTo>
                  <a:lnTo>
                    <a:pt x="530" y="639"/>
                  </a:lnTo>
                  <a:lnTo>
                    <a:pt x="531" y="638"/>
                  </a:lnTo>
                  <a:lnTo>
                    <a:pt x="533" y="636"/>
                  </a:lnTo>
                  <a:lnTo>
                    <a:pt x="537" y="633"/>
                  </a:lnTo>
                  <a:lnTo>
                    <a:pt x="539" y="631"/>
                  </a:lnTo>
                  <a:lnTo>
                    <a:pt x="540" y="629"/>
                  </a:lnTo>
                  <a:lnTo>
                    <a:pt x="541" y="628"/>
                  </a:lnTo>
                  <a:lnTo>
                    <a:pt x="542" y="626"/>
                  </a:lnTo>
                  <a:lnTo>
                    <a:pt x="543" y="625"/>
                  </a:lnTo>
                  <a:lnTo>
                    <a:pt x="543" y="623"/>
                  </a:lnTo>
                  <a:lnTo>
                    <a:pt x="543" y="623"/>
                  </a:lnTo>
                  <a:lnTo>
                    <a:pt x="543" y="621"/>
                  </a:lnTo>
                  <a:lnTo>
                    <a:pt x="542" y="619"/>
                  </a:lnTo>
                  <a:lnTo>
                    <a:pt x="541" y="617"/>
                  </a:lnTo>
                  <a:lnTo>
                    <a:pt x="539" y="615"/>
                  </a:lnTo>
                  <a:lnTo>
                    <a:pt x="537" y="613"/>
                  </a:lnTo>
                  <a:lnTo>
                    <a:pt x="536" y="611"/>
                  </a:lnTo>
                  <a:lnTo>
                    <a:pt x="528" y="604"/>
                  </a:lnTo>
                  <a:lnTo>
                    <a:pt x="525" y="601"/>
                  </a:lnTo>
                  <a:lnTo>
                    <a:pt x="522" y="599"/>
                  </a:lnTo>
                  <a:lnTo>
                    <a:pt x="520" y="597"/>
                  </a:lnTo>
                  <a:lnTo>
                    <a:pt x="519" y="595"/>
                  </a:lnTo>
                  <a:lnTo>
                    <a:pt x="518" y="593"/>
                  </a:lnTo>
                  <a:lnTo>
                    <a:pt x="518" y="591"/>
                  </a:lnTo>
                  <a:lnTo>
                    <a:pt x="518" y="590"/>
                  </a:lnTo>
                  <a:lnTo>
                    <a:pt x="518" y="589"/>
                  </a:lnTo>
                  <a:lnTo>
                    <a:pt x="519" y="589"/>
                  </a:lnTo>
                  <a:lnTo>
                    <a:pt x="519" y="589"/>
                  </a:lnTo>
                  <a:lnTo>
                    <a:pt x="520" y="589"/>
                  </a:lnTo>
                  <a:lnTo>
                    <a:pt x="521" y="588"/>
                  </a:lnTo>
                  <a:lnTo>
                    <a:pt x="525" y="587"/>
                  </a:lnTo>
                  <a:lnTo>
                    <a:pt x="526" y="586"/>
                  </a:lnTo>
                  <a:lnTo>
                    <a:pt x="528" y="585"/>
                  </a:lnTo>
                  <a:lnTo>
                    <a:pt x="530" y="584"/>
                  </a:lnTo>
                  <a:lnTo>
                    <a:pt x="532" y="582"/>
                  </a:lnTo>
                  <a:lnTo>
                    <a:pt x="533" y="581"/>
                  </a:lnTo>
                  <a:lnTo>
                    <a:pt x="534" y="579"/>
                  </a:lnTo>
                  <a:lnTo>
                    <a:pt x="535" y="577"/>
                  </a:lnTo>
                  <a:lnTo>
                    <a:pt x="536" y="577"/>
                  </a:lnTo>
                  <a:lnTo>
                    <a:pt x="536" y="575"/>
                  </a:lnTo>
                  <a:lnTo>
                    <a:pt x="536" y="574"/>
                  </a:lnTo>
                  <a:lnTo>
                    <a:pt x="536" y="572"/>
                  </a:lnTo>
                  <a:lnTo>
                    <a:pt x="536" y="569"/>
                  </a:lnTo>
                  <a:lnTo>
                    <a:pt x="535" y="567"/>
                  </a:lnTo>
                  <a:lnTo>
                    <a:pt x="533" y="561"/>
                  </a:lnTo>
                  <a:lnTo>
                    <a:pt x="533" y="559"/>
                  </a:lnTo>
                  <a:lnTo>
                    <a:pt x="533" y="557"/>
                  </a:lnTo>
                  <a:lnTo>
                    <a:pt x="533" y="555"/>
                  </a:lnTo>
                  <a:lnTo>
                    <a:pt x="534" y="554"/>
                  </a:lnTo>
                  <a:lnTo>
                    <a:pt x="535" y="551"/>
                  </a:lnTo>
                  <a:lnTo>
                    <a:pt x="536" y="550"/>
                  </a:lnTo>
                  <a:lnTo>
                    <a:pt x="537" y="548"/>
                  </a:lnTo>
                  <a:lnTo>
                    <a:pt x="537" y="547"/>
                  </a:lnTo>
                  <a:lnTo>
                    <a:pt x="538" y="546"/>
                  </a:lnTo>
                  <a:lnTo>
                    <a:pt x="540" y="545"/>
                  </a:lnTo>
                  <a:lnTo>
                    <a:pt x="542" y="543"/>
                  </a:lnTo>
                  <a:lnTo>
                    <a:pt x="548" y="542"/>
                  </a:lnTo>
                  <a:lnTo>
                    <a:pt x="550" y="540"/>
                  </a:lnTo>
                  <a:lnTo>
                    <a:pt x="553" y="538"/>
                  </a:lnTo>
                  <a:lnTo>
                    <a:pt x="556" y="536"/>
                  </a:lnTo>
                  <a:lnTo>
                    <a:pt x="558" y="534"/>
                  </a:lnTo>
                  <a:lnTo>
                    <a:pt x="559" y="532"/>
                  </a:lnTo>
                  <a:lnTo>
                    <a:pt x="560" y="531"/>
                  </a:lnTo>
                  <a:lnTo>
                    <a:pt x="560" y="529"/>
                  </a:lnTo>
                  <a:lnTo>
                    <a:pt x="560" y="526"/>
                  </a:lnTo>
                  <a:lnTo>
                    <a:pt x="560" y="524"/>
                  </a:lnTo>
                  <a:lnTo>
                    <a:pt x="560" y="520"/>
                  </a:lnTo>
                  <a:lnTo>
                    <a:pt x="560" y="518"/>
                  </a:lnTo>
                  <a:lnTo>
                    <a:pt x="559" y="516"/>
                  </a:lnTo>
                  <a:lnTo>
                    <a:pt x="559" y="515"/>
                  </a:lnTo>
                  <a:lnTo>
                    <a:pt x="558" y="513"/>
                  </a:lnTo>
                  <a:lnTo>
                    <a:pt x="557" y="511"/>
                  </a:lnTo>
                  <a:lnTo>
                    <a:pt x="556" y="509"/>
                  </a:lnTo>
                  <a:lnTo>
                    <a:pt x="555" y="509"/>
                  </a:lnTo>
                  <a:lnTo>
                    <a:pt x="553" y="508"/>
                  </a:lnTo>
                  <a:lnTo>
                    <a:pt x="550" y="505"/>
                  </a:lnTo>
                  <a:lnTo>
                    <a:pt x="545" y="501"/>
                  </a:lnTo>
                  <a:lnTo>
                    <a:pt x="542" y="498"/>
                  </a:lnTo>
                  <a:lnTo>
                    <a:pt x="540" y="497"/>
                  </a:lnTo>
                  <a:lnTo>
                    <a:pt x="538" y="496"/>
                  </a:lnTo>
                  <a:lnTo>
                    <a:pt x="538" y="494"/>
                  </a:lnTo>
                  <a:lnTo>
                    <a:pt x="537" y="493"/>
                  </a:lnTo>
                  <a:lnTo>
                    <a:pt x="537" y="491"/>
                  </a:lnTo>
                  <a:lnTo>
                    <a:pt x="537" y="489"/>
                  </a:lnTo>
                  <a:lnTo>
                    <a:pt x="537" y="487"/>
                  </a:lnTo>
                  <a:lnTo>
                    <a:pt x="537" y="486"/>
                  </a:lnTo>
                  <a:lnTo>
                    <a:pt x="537" y="483"/>
                  </a:lnTo>
                  <a:lnTo>
                    <a:pt x="537" y="481"/>
                  </a:lnTo>
                  <a:lnTo>
                    <a:pt x="537" y="478"/>
                  </a:lnTo>
                  <a:lnTo>
                    <a:pt x="538" y="476"/>
                  </a:lnTo>
                  <a:lnTo>
                    <a:pt x="539" y="473"/>
                  </a:lnTo>
                  <a:lnTo>
                    <a:pt x="540" y="470"/>
                  </a:lnTo>
                  <a:lnTo>
                    <a:pt x="542" y="467"/>
                  </a:lnTo>
                  <a:lnTo>
                    <a:pt x="543" y="464"/>
                  </a:lnTo>
                  <a:lnTo>
                    <a:pt x="545" y="462"/>
                  </a:lnTo>
                  <a:lnTo>
                    <a:pt x="547" y="459"/>
                  </a:lnTo>
                  <a:lnTo>
                    <a:pt x="549" y="456"/>
                  </a:lnTo>
                  <a:lnTo>
                    <a:pt x="551" y="454"/>
                  </a:lnTo>
                  <a:lnTo>
                    <a:pt x="554" y="452"/>
                  </a:lnTo>
                  <a:lnTo>
                    <a:pt x="560" y="448"/>
                  </a:lnTo>
                  <a:lnTo>
                    <a:pt x="563" y="446"/>
                  </a:lnTo>
                  <a:lnTo>
                    <a:pt x="564" y="445"/>
                  </a:lnTo>
                  <a:lnTo>
                    <a:pt x="565" y="444"/>
                  </a:lnTo>
                  <a:lnTo>
                    <a:pt x="566" y="443"/>
                  </a:lnTo>
                  <a:lnTo>
                    <a:pt x="566" y="441"/>
                  </a:lnTo>
                  <a:lnTo>
                    <a:pt x="567" y="441"/>
                  </a:lnTo>
                  <a:lnTo>
                    <a:pt x="567" y="439"/>
                  </a:lnTo>
                  <a:lnTo>
                    <a:pt x="566" y="438"/>
                  </a:lnTo>
                  <a:lnTo>
                    <a:pt x="566" y="436"/>
                  </a:lnTo>
                  <a:lnTo>
                    <a:pt x="565" y="434"/>
                  </a:lnTo>
                  <a:lnTo>
                    <a:pt x="564" y="432"/>
                  </a:lnTo>
                  <a:lnTo>
                    <a:pt x="562" y="430"/>
                  </a:lnTo>
                  <a:lnTo>
                    <a:pt x="559" y="425"/>
                  </a:lnTo>
                  <a:lnTo>
                    <a:pt x="557" y="423"/>
                  </a:lnTo>
                  <a:lnTo>
                    <a:pt x="556" y="421"/>
                  </a:lnTo>
                  <a:lnTo>
                    <a:pt x="555" y="419"/>
                  </a:lnTo>
                  <a:lnTo>
                    <a:pt x="555" y="418"/>
                  </a:lnTo>
                  <a:lnTo>
                    <a:pt x="555" y="415"/>
                  </a:lnTo>
                  <a:lnTo>
                    <a:pt x="555" y="413"/>
                  </a:lnTo>
                  <a:lnTo>
                    <a:pt x="555" y="411"/>
                  </a:lnTo>
                  <a:lnTo>
                    <a:pt x="555" y="409"/>
                  </a:lnTo>
                  <a:lnTo>
                    <a:pt x="556" y="407"/>
                  </a:lnTo>
                  <a:lnTo>
                    <a:pt x="557" y="407"/>
                  </a:lnTo>
                  <a:lnTo>
                    <a:pt x="559" y="404"/>
                  </a:lnTo>
                  <a:lnTo>
                    <a:pt x="565" y="396"/>
                  </a:lnTo>
                  <a:lnTo>
                    <a:pt x="567" y="392"/>
                  </a:lnTo>
                  <a:lnTo>
                    <a:pt x="569" y="388"/>
                  </a:lnTo>
                  <a:lnTo>
                    <a:pt x="570" y="386"/>
                  </a:lnTo>
                  <a:lnTo>
                    <a:pt x="571" y="385"/>
                  </a:lnTo>
                  <a:lnTo>
                    <a:pt x="571" y="383"/>
                  </a:lnTo>
                  <a:lnTo>
                    <a:pt x="571" y="381"/>
                  </a:lnTo>
                  <a:lnTo>
                    <a:pt x="571" y="380"/>
                  </a:lnTo>
                  <a:lnTo>
                    <a:pt x="571" y="379"/>
                  </a:lnTo>
                  <a:lnTo>
                    <a:pt x="570" y="376"/>
                  </a:lnTo>
                  <a:lnTo>
                    <a:pt x="570" y="375"/>
                  </a:lnTo>
                  <a:lnTo>
                    <a:pt x="569" y="374"/>
                  </a:lnTo>
                  <a:lnTo>
                    <a:pt x="568" y="373"/>
                  </a:lnTo>
                  <a:lnTo>
                    <a:pt x="566" y="373"/>
                  </a:lnTo>
                  <a:lnTo>
                    <a:pt x="565" y="373"/>
                  </a:lnTo>
                  <a:lnTo>
                    <a:pt x="559" y="371"/>
                  </a:lnTo>
                  <a:lnTo>
                    <a:pt x="556" y="370"/>
                  </a:lnTo>
                  <a:lnTo>
                    <a:pt x="553" y="369"/>
                  </a:lnTo>
                  <a:lnTo>
                    <a:pt x="551" y="368"/>
                  </a:lnTo>
                  <a:lnTo>
                    <a:pt x="549" y="367"/>
                  </a:lnTo>
                  <a:lnTo>
                    <a:pt x="548" y="366"/>
                  </a:lnTo>
                  <a:lnTo>
                    <a:pt x="547" y="365"/>
                  </a:lnTo>
                  <a:lnTo>
                    <a:pt x="546" y="364"/>
                  </a:lnTo>
                  <a:lnTo>
                    <a:pt x="546" y="363"/>
                  </a:lnTo>
                  <a:lnTo>
                    <a:pt x="546" y="362"/>
                  </a:lnTo>
                  <a:lnTo>
                    <a:pt x="546" y="361"/>
                  </a:lnTo>
                  <a:lnTo>
                    <a:pt x="547" y="360"/>
                  </a:lnTo>
                  <a:lnTo>
                    <a:pt x="548" y="359"/>
                  </a:lnTo>
                  <a:lnTo>
                    <a:pt x="550" y="357"/>
                  </a:lnTo>
                  <a:lnTo>
                    <a:pt x="551" y="356"/>
                  </a:lnTo>
                  <a:lnTo>
                    <a:pt x="551" y="355"/>
                  </a:lnTo>
                  <a:lnTo>
                    <a:pt x="552" y="355"/>
                  </a:lnTo>
                  <a:lnTo>
                    <a:pt x="551" y="354"/>
                  </a:lnTo>
                  <a:lnTo>
                    <a:pt x="551" y="353"/>
                  </a:lnTo>
                  <a:lnTo>
                    <a:pt x="550" y="352"/>
                  </a:lnTo>
                  <a:lnTo>
                    <a:pt x="549" y="351"/>
                  </a:lnTo>
                  <a:lnTo>
                    <a:pt x="537" y="343"/>
                  </a:lnTo>
                  <a:lnTo>
                    <a:pt x="528" y="337"/>
                  </a:lnTo>
                  <a:lnTo>
                    <a:pt x="527" y="335"/>
                  </a:lnTo>
                  <a:lnTo>
                    <a:pt x="525" y="334"/>
                  </a:lnTo>
                  <a:lnTo>
                    <a:pt x="525" y="333"/>
                  </a:lnTo>
                  <a:lnTo>
                    <a:pt x="525" y="331"/>
                  </a:lnTo>
                  <a:lnTo>
                    <a:pt x="524" y="330"/>
                  </a:lnTo>
                  <a:lnTo>
                    <a:pt x="524" y="328"/>
                  </a:lnTo>
                  <a:lnTo>
                    <a:pt x="524" y="327"/>
                  </a:lnTo>
                  <a:lnTo>
                    <a:pt x="524" y="325"/>
                  </a:lnTo>
                  <a:lnTo>
                    <a:pt x="524" y="322"/>
                  </a:lnTo>
                  <a:lnTo>
                    <a:pt x="525" y="314"/>
                  </a:lnTo>
                  <a:lnTo>
                    <a:pt x="527" y="308"/>
                  </a:lnTo>
                  <a:lnTo>
                    <a:pt x="527" y="305"/>
                  </a:lnTo>
                  <a:lnTo>
                    <a:pt x="528" y="299"/>
                  </a:lnTo>
                  <a:lnTo>
                    <a:pt x="528" y="292"/>
                  </a:lnTo>
                  <a:lnTo>
                    <a:pt x="528" y="288"/>
                  </a:lnTo>
                  <a:lnTo>
                    <a:pt x="529" y="286"/>
                  </a:lnTo>
                  <a:lnTo>
                    <a:pt x="530" y="284"/>
                  </a:lnTo>
                  <a:lnTo>
                    <a:pt x="532" y="282"/>
                  </a:lnTo>
                  <a:lnTo>
                    <a:pt x="534" y="278"/>
                  </a:lnTo>
                  <a:lnTo>
                    <a:pt x="536" y="275"/>
                  </a:lnTo>
                  <a:lnTo>
                    <a:pt x="540" y="270"/>
                  </a:lnTo>
                  <a:lnTo>
                    <a:pt x="543" y="267"/>
                  </a:lnTo>
                  <a:lnTo>
                    <a:pt x="544" y="265"/>
                  </a:lnTo>
                  <a:lnTo>
                    <a:pt x="548" y="257"/>
                  </a:lnTo>
                  <a:lnTo>
                    <a:pt x="549" y="254"/>
                  </a:lnTo>
                  <a:lnTo>
                    <a:pt x="551" y="252"/>
                  </a:lnTo>
                  <a:lnTo>
                    <a:pt x="552" y="250"/>
                  </a:lnTo>
                  <a:lnTo>
                    <a:pt x="554" y="249"/>
                  </a:lnTo>
                  <a:lnTo>
                    <a:pt x="555" y="248"/>
                  </a:lnTo>
                  <a:lnTo>
                    <a:pt x="557" y="247"/>
                  </a:lnTo>
                  <a:lnTo>
                    <a:pt x="559" y="245"/>
                  </a:lnTo>
                  <a:lnTo>
                    <a:pt x="561" y="243"/>
                  </a:lnTo>
                  <a:lnTo>
                    <a:pt x="564" y="242"/>
                  </a:lnTo>
                  <a:lnTo>
                    <a:pt x="567" y="241"/>
                  </a:lnTo>
                  <a:lnTo>
                    <a:pt x="571" y="240"/>
                  </a:lnTo>
                  <a:lnTo>
                    <a:pt x="578" y="240"/>
                  </a:lnTo>
                  <a:lnTo>
                    <a:pt x="582" y="239"/>
                  </a:lnTo>
                  <a:lnTo>
                    <a:pt x="588" y="238"/>
                  </a:lnTo>
                  <a:lnTo>
                    <a:pt x="592" y="237"/>
                  </a:lnTo>
                  <a:lnTo>
                    <a:pt x="594" y="237"/>
                  </a:lnTo>
                  <a:lnTo>
                    <a:pt x="596" y="236"/>
                  </a:lnTo>
                  <a:lnTo>
                    <a:pt x="597" y="235"/>
                  </a:lnTo>
                  <a:lnTo>
                    <a:pt x="599" y="233"/>
                  </a:lnTo>
                  <a:lnTo>
                    <a:pt x="600" y="232"/>
                  </a:lnTo>
                  <a:lnTo>
                    <a:pt x="600" y="230"/>
                  </a:lnTo>
                  <a:lnTo>
                    <a:pt x="601" y="229"/>
                  </a:lnTo>
                  <a:lnTo>
                    <a:pt x="601" y="227"/>
                  </a:lnTo>
                  <a:lnTo>
                    <a:pt x="601" y="226"/>
                  </a:lnTo>
                  <a:lnTo>
                    <a:pt x="601" y="226"/>
                  </a:lnTo>
                  <a:lnTo>
                    <a:pt x="600" y="224"/>
                  </a:lnTo>
                  <a:lnTo>
                    <a:pt x="599" y="223"/>
                  </a:lnTo>
                  <a:lnTo>
                    <a:pt x="598" y="222"/>
                  </a:lnTo>
                  <a:lnTo>
                    <a:pt x="597" y="221"/>
                  </a:lnTo>
                  <a:lnTo>
                    <a:pt x="595" y="221"/>
                  </a:lnTo>
                  <a:lnTo>
                    <a:pt x="594" y="220"/>
                  </a:lnTo>
                  <a:lnTo>
                    <a:pt x="592" y="219"/>
                  </a:lnTo>
                  <a:lnTo>
                    <a:pt x="585" y="217"/>
                  </a:lnTo>
                  <a:lnTo>
                    <a:pt x="582" y="216"/>
                  </a:lnTo>
                  <a:lnTo>
                    <a:pt x="582" y="215"/>
                  </a:lnTo>
                  <a:lnTo>
                    <a:pt x="582" y="215"/>
                  </a:lnTo>
                  <a:lnTo>
                    <a:pt x="582" y="214"/>
                  </a:lnTo>
                  <a:lnTo>
                    <a:pt x="582" y="213"/>
                  </a:lnTo>
                  <a:lnTo>
                    <a:pt x="582" y="211"/>
                  </a:lnTo>
                  <a:lnTo>
                    <a:pt x="583" y="210"/>
                  </a:lnTo>
                  <a:lnTo>
                    <a:pt x="586" y="207"/>
                  </a:lnTo>
                  <a:lnTo>
                    <a:pt x="589" y="203"/>
                  </a:lnTo>
                  <a:lnTo>
                    <a:pt x="591" y="202"/>
                  </a:lnTo>
                  <a:lnTo>
                    <a:pt x="593" y="201"/>
                  </a:lnTo>
                  <a:lnTo>
                    <a:pt x="594" y="199"/>
                  </a:lnTo>
                  <a:lnTo>
                    <a:pt x="597" y="198"/>
                  </a:lnTo>
                  <a:lnTo>
                    <a:pt x="600" y="197"/>
                  </a:lnTo>
                  <a:lnTo>
                    <a:pt x="602" y="196"/>
                  </a:lnTo>
                  <a:lnTo>
                    <a:pt x="605" y="195"/>
                  </a:lnTo>
                  <a:lnTo>
                    <a:pt x="606" y="196"/>
                  </a:lnTo>
                  <a:lnTo>
                    <a:pt x="609" y="196"/>
                  </a:lnTo>
                  <a:lnTo>
                    <a:pt x="611" y="196"/>
                  </a:lnTo>
                  <a:lnTo>
                    <a:pt x="612" y="197"/>
                  </a:lnTo>
                  <a:lnTo>
                    <a:pt x="613" y="198"/>
                  </a:lnTo>
                  <a:lnTo>
                    <a:pt x="614" y="198"/>
                  </a:lnTo>
                  <a:lnTo>
                    <a:pt x="615" y="199"/>
                  </a:lnTo>
                  <a:lnTo>
                    <a:pt x="616" y="202"/>
                  </a:lnTo>
                  <a:lnTo>
                    <a:pt x="617" y="205"/>
                  </a:lnTo>
                  <a:lnTo>
                    <a:pt x="619" y="206"/>
                  </a:lnTo>
                  <a:lnTo>
                    <a:pt x="620" y="208"/>
                  </a:lnTo>
                  <a:lnTo>
                    <a:pt x="621" y="210"/>
                  </a:lnTo>
                  <a:lnTo>
                    <a:pt x="622" y="211"/>
                  </a:lnTo>
                  <a:lnTo>
                    <a:pt x="623" y="211"/>
                  </a:lnTo>
                  <a:lnTo>
                    <a:pt x="625" y="212"/>
                  </a:lnTo>
                  <a:lnTo>
                    <a:pt x="626" y="212"/>
                  </a:lnTo>
                  <a:lnTo>
                    <a:pt x="628" y="212"/>
                  </a:lnTo>
                  <a:lnTo>
                    <a:pt x="630" y="212"/>
                  </a:lnTo>
                  <a:lnTo>
                    <a:pt x="631" y="212"/>
                  </a:lnTo>
                  <a:lnTo>
                    <a:pt x="633" y="212"/>
                  </a:lnTo>
                  <a:lnTo>
                    <a:pt x="634" y="211"/>
                  </a:lnTo>
                  <a:lnTo>
                    <a:pt x="636" y="210"/>
                  </a:lnTo>
                  <a:lnTo>
                    <a:pt x="637" y="208"/>
                  </a:lnTo>
                  <a:lnTo>
                    <a:pt x="638" y="207"/>
                  </a:lnTo>
                  <a:lnTo>
                    <a:pt x="639" y="205"/>
                  </a:lnTo>
                  <a:lnTo>
                    <a:pt x="639" y="200"/>
                  </a:lnTo>
                  <a:lnTo>
                    <a:pt x="641" y="195"/>
                  </a:lnTo>
                  <a:lnTo>
                    <a:pt x="642" y="193"/>
                  </a:lnTo>
                  <a:lnTo>
                    <a:pt x="642" y="192"/>
                  </a:lnTo>
                  <a:lnTo>
                    <a:pt x="642" y="191"/>
                  </a:lnTo>
                  <a:lnTo>
                    <a:pt x="642" y="190"/>
                  </a:lnTo>
                  <a:lnTo>
                    <a:pt x="642" y="188"/>
                  </a:lnTo>
                  <a:lnTo>
                    <a:pt x="641" y="187"/>
                  </a:lnTo>
                  <a:lnTo>
                    <a:pt x="640" y="185"/>
                  </a:lnTo>
                  <a:lnTo>
                    <a:pt x="639" y="181"/>
                  </a:lnTo>
                  <a:lnTo>
                    <a:pt x="638" y="179"/>
                  </a:lnTo>
                  <a:lnTo>
                    <a:pt x="636" y="177"/>
                  </a:lnTo>
                  <a:lnTo>
                    <a:pt x="633" y="173"/>
                  </a:lnTo>
                  <a:lnTo>
                    <a:pt x="631" y="171"/>
                  </a:lnTo>
                  <a:lnTo>
                    <a:pt x="629" y="169"/>
                  </a:lnTo>
                  <a:lnTo>
                    <a:pt x="628" y="168"/>
                  </a:lnTo>
                  <a:lnTo>
                    <a:pt x="628" y="166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1"/>
                  </a:lnTo>
                  <a:lnTo>
                    <a:pt x="627" y="160"/>
                  </a:lnTo>
                  <a:lnTo>
                    <a:pt x="628" y="160"/>
                  </a:lnTo>
                  <a:lnTo>
                    <a:pt x="628" y="160"/>
                  </a:lnTo>
                  <a:lnTo>
                    <a:pt x="630" y="160"/>
                  </a:lnTo>
                  <a:lnTo>
                    <a:pt x="634" y="160"/>
                  </a:lnTo>
                  <a:lnTo>
                    <a:pt x="636" y="160"/>
                  </a:lnTo>
                  <a:lnTo>
                    <a:pt x="638" y="160"/>
                  </a:lnTo>
                  <a:lnTo>
                    <a:pt x="639" y="159"/>
                  </a:lnTo>
                  <a:lnTo>
                    <a:pt x="642" y="159"/>
                  </a:lnTo>
                  <a:lnTo>
                    <a:pt x="644" y="158"/>
                  </a:lnTo>
                  <a:lnTo>
                    <a:pt x="646" y="157"/>
                  </a:lnTo>
                  <a:lnTo>
                    <a:pt x="649" y="155"/>
                  </a:lnTo>
                  <a:lnTo>
                    <a:pt x="651" y="152"/>
                  </a:lnTo>
                  <a:lnTo>
                    <a:pt x="654" y="148"/>
                  </a:lnTo>
                  <a:lnTo>
                    <a:pt x="657" y="145"/>
                  </a:lnTo>
                  <a:lnTo>
                    <a:pt x="660" y="141"/>
                  </a:lnTo>
                  <a:lnTo>
                    <a:pt x="661" y="138"/>
                  </a:lnTo>
                  <a:lnTo>
                    <a:pt x="662" y="135"/>
                  </a:lnTo>
                  <a:lnTo>
                    <a:pt x="663" y="132"/>
                  </a:lnTo>
                  <a:lnTo>
                    <a:pt x="663" y="131"/>
                  </a:lnTo>
                  <a:lnTo>
                    <a:pt x="663" y="129"/>
                  </a:lnTo>
                  <a:lnTo>
                    <a:pt x="663" y="127"/>
                  </a:lnTo>
                  <a:lnTo>
                    <a:pt x="663" y="125"/>
                  </a:lnTo>
                  <a:lnTo>
                    <a:pt x="663" y="124"/>
                  </a:lnTo>
                  <a:lnTo>
                    <a:pt x="662" y="123"/>
                  </a:lnTo>
                  <a:lnTo>
                    <a:pt x="662" y="121"/>
                  </a:lnTo>
                  <a:lnTo>
                    <a:pt x="662" y="119"/>
                  </a:lnTo>
                  <a:lnTo>
                    <a:pt x="661" y="118"/>
                  </a:lnTo>
                  <a:lnTo>
                    <a:pt x="660" y="116"/>
                  </a:lnTo>
                  <a:lnTo>
                    <a:pt x="658" y="114"/>
                  </a:lnTo>
                  <a:lnTo>
                    <a:pt x="656" y="113"/>
                  </a:lnTo>
                  <a:lnTo>
                    <a:pt x="653" y="112"/>
                  </a:lnTo>
                  <a:lnTo>
                    <a:pt x="648" y="108"/>
                  </a:lnTo>
                  <a:lnTo>
                    <a:pt x="646" y="107"/>
                  </a:lnTo>
                  <a:lnTo>
                    <a:pt x="644" y="105"/>
                  </a:lnTo>
                  <a:lnTo>
                    <a:pt x="642" y="103"/>
                  </a:lnTo>
                  <a:lnTo>
                    <a:pt x="640" y="101"/>
                  </a:lnTo>
                  <a:lnTo>
                    <a:pt x="639" y="100"/>
                  </a:lnTo>
                  <a:lnTo>
                    <a:pt x="639" y="98"/>
                  </a:lnTo>
                  <a:lnTo>
                    <a:pt x="639" y="96"/>
                  </a:lnTo>
                  <a:lnTo>
                    <a:pt x="639" y="95"/>
                  </a:lnTo>
                  <a:lnTo>
                    <a:pt x="639" y="93"/>
                  </a:lnTo>
                  <a:lnTo>
                    <a:pt x="639" y="92"/>
                  </a:lnTo>
                  <a:lnTo>
                    <a:pt x="639" y="90"/>
                  </a:lnTo>
                  <a:lnTo>
                    <a:pt x="644" y="79"/>
                  </a:lnTo>
                  <a:lnTo>
                    <a:pt x="645" y="74"/>
                  </a:lnTo>
                  <a:lnTo>
                    <a:pt x="646" y="70"/>
                  </a:lnTo>
                  <a:lnTo>
                    <a:pt x="647" y="67"/>
                  </a:lnTo>
                  <a:lnTo>
                    <a:pt x="647" y="65"/>
                  </a:lnTo>
                  <a:lnTo>
                    <a:pt x="648" y="62"/>
                  </a:lnTo>
                  <a:lnTo>
                    <a:pt x="648" y="63"/>
                  </a:lnTo>
                  <a:lnTo>
                    <a:pt x="649" y="63"/>
                  </a:lnTo>
                  <a:lnTo>
                    <a:pt x="651" y="63"/>
                  </a:lnTo>
                  <a:lnTo>
                    <a:pt x="651" y="63"/>
                  </a:lnTo>
                  <a:lnTo>
                    <a:pt x="652" y="63"/>
                  </a:lnTo>
                  <a:lnTo>
                    <a:pt x="653" y="63"/>
                  </a:lnTo>
                  <a:lnTo>
                    <a:pt x="654" y="62"/>
                  </a:lnTo>
                  <a:lnTo>
                    <a:pt x="656" y="61"/>
                  </a:lnTo>
                  <a:lnTo>
                    <a:pt x="658" y="60"/>
                  </a:lnTo>
                  <a:lnTo>
                    <a:pt x="662" y="56"/>
                  </a:lnTo>
                  <a:lnTo>
                    <a:pt x="663" y="55"/>
                  </a:lnTo>
                  <a:lnTo>
                    <a:pt x="668" y="49"/>
                  </a:lnTo>
                  <a:lnTo>
                    <a:pt x="669" y="48"/>
                  </a:lnTo>
                  <a:lnTo>
                    <a:pt x="670" y="47"/>
                  </a:lnTo>
                  <a:lnTo>
                    <a:pt x="672" y="45"/>
                  </a:lnTo>
                  <a:lnTo>
                    <a:pt x="675" y="45"/>
                  </a:lnTo>
                  <a:lnTo>
                    <a:pt x="678" y="44"/>
                  </a:lnTo>
                  <a:lnTo>
                    <a:pt x="680" y="43"/>
                  </a:lnTo>
                  <a:lnTo>
                    <a:pt x="682" y="43"/>
                  </a:lnTo>
                  <a:lnTo>
                    <a:pt x="683" y="43"/>
                  </a:lnTo>
                  <a:lnTo>
                    <a:pt x="685" y="43"/>
                  </a:lnTo>
                  <a:lnTo>
                    <a:pt x="685" y="43"/>
                  </a:lnTo>
                  <a:lnTo>
                    <a:pt x="687" y="44"/>
                  </a:lnTo>
                  <a:lnTo>
                    <a:pt x="690" y="45"/>
                  </a:lnTo>
                  <a:lnTo>
                    <a:pt x="692" y="45"/>
                  </a:lnTo>
                  <a:lnTo>
                    <a:pt x="694" y="46"/>
                  </a:lnTo>
                  <a:lnTo>
                    <a:pt x="696" y="46"/>
                  </a:lnTo>
                  <a:lnTo>
                    <a:pt x="698" y="46"/>
                  </a:lnTo>
                  <a:lnTo>
                    <a:pt x="704" y="45"/>
                  </a:lnTo>
                  <a:lnTo>
                    <a:pt x="708" y="45"/>
                  </a:lnTo>
                  <a:lnTo>
                    <a:pt x="716" y="44"/>
                  </a:lnTo>
                  <a:lnTo>
                    <a:pt x="718" y="43"/>
                  </a:lnTo>
                  <a:lnTo>
                    <a:pt x="719" y="43"/>
                  </a:lnTo>
                  <a:lnTo>
                    <a:pt x="722" y="43"/>
                  </a:lnTo>
                  <a:lnTo>
                    <a:pt x="724" y="43"/>
                  </a:lnTo>
                  <a:lnTo>
                    <a:pt x="735" y="45"/>
                  </a:lnTo>
                  <a:lnTo>
                    <a:pt x="739" y="45"/>
                  </a:lnTo>
                  <a:lnTo>
                    <a:pt x="742" y="46"/>
                  </a:lnTo>
                  <a:lnTo>
                    <a:pt x="747" y="46"/>
                  </a:lnTo>
                  <a:lnTo>
                    <a:pt x="751" y="45"/>
                  </a:lnTo>
                  <a:lnTo>
                    <a:pt x="754" y="45"/>
                  </a:lnTo>
                  <a:lnTo>
                    <a:pt x="756" y="45"/>
                  </a:lnTo>
                  <a:lnTo>
                    <a:pt x="757" y="45"/>
                  </a:lnTo>
                  <a:lnTo>
                    <a:pt x="759" y="44"/>
                  </a:lnTo>
                  <a:lnTo>
                    <a:pt x="760" y="42"/>
                  </a:lnTo>
                  <a:lnTo>
                    <a:pt x="761" y="41"/>
                  </a:lnTo>
                  <a:lnTo>
                    <a:pt x="762" y="39"/>
                  </a:lnTo>
                  <a:lnTo>
                    <a:pt x="763" y="35"/>
                  </a:lnTo>
                  <a:lnTo>
                    <a:pt x="764" y="33"/>
                  </a:lnTo>
                  <a:lnTo>
                    <a:pt x="769" y="12"/>
                  </a:lnTo>
                  <a:lnTo>
                    <a:pt x="771" y="7"/>
                  </a:lnTo>
                  <a:lnTo>
                    <a:pt x="772" y="3"/>
                  </a:lnTo>
                  <a:lnTo>
                    <a:pt x="773" y="1"/>
                  </a:lnTo>
                  <a:lnTo>
                    <a:pt x="774" y="0"/>
                  </a:lnTo>
                  <a:lnTo>
                    <a:pt x="775" y="0"/>
                  </a:lnTo>
                  <a:lnTo>
                    <a:pt x="776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1" name="Freeform 104">
              <a:extLst>
                <a:ext uri="{FF2B5EF4-FFF2-40B4-BE49-F238E27FC236}">
                  <a16:creationId xmlns:a16="http://schemas.microsoft.com/office/drawing/2014/main" id="{8ED00E69-E15B-42D0-BE12-2ACE55D91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0" y="1816"/>
              <a:ext cx="855" cy="1245"/>
            </a:xfrm>
            <a:custGeom>
              <a:avLst/>
              <a:gdLst>
                <a:gd name="T0" fmla="*/ 388 w 855"/>
                <a:gd name="T1" fmla="*/ 20 h 1245"/>
                <a:gd name="T2" fmla="*/ 398 w 855"/>
                <a:gd name="T3" fmla="*/ 62 h 1245"/>
                <a:gd name="T4" fmla="*/ 439 w 855"/>
                <a:gd name="T5" fmla="*/ 59 h 1245"/>
                <a:gd name="T6" fmla="*/ 447 w 855"/>
                <a:gd name="T7" fmla="*/ 122 h 1245"/>
                <a:gd name="T8" fmla="*/ 412 w 855"/>
                <a:gd name="T9" fmla="*/ 130 h 1245"/>
                <a:gd name="T10" fmla="*/ 354 w 855"/>
                <a:gd name="T11" fmla="*/ 178 h 1245"/>
                <a:gd name="T12" fmla="*/ 312 w 855"/>
                <a:gd name="T13" fmla="*/ 249 h 1245"/>
                <a:gd name="T14" fmla="*/ 298 w 855"/>
                <a:gd name="T15" fmla="*/ 328 h 1245"/>
                <a:gd name="T16" fmla="*/ 262 w 855"/>
                <a:gd name="T17" fmla="*/ 406 h 1245"/>
                <a:gd name="T18" fmla="*/ 286 w 855"/>
                <a:gd name="T19" fmla="*/ 446 h 1245"/>
                <a:gd name="T20" fmla="*/ 265 w 855"/>
                <a:gd name="T21" fmla="*/ 496 h 1245"/>
                <a:gd name="T22" fmla="*/ 262 w 855"/>
                <a:gd name="T23" fmla="*/ 544 h 1245"/>
                <a:gd name="T24" fmla="*/ 304 w 855"/>
                <a:gd name="T25" fmla="*/ 560 h 1245"/>
                <a:gd name="T26" fmla="*/ 309 w 855"/>
                <a:gd name="T27" fmla="*/ 594 h 1245"/>
                <a:gd name="T28" fmla="*/ 359 w 855"/>
                <a:gd name="T29" fmla="*/ 573 h 1245"/>
                <a:gd name="T30" fmla="*/ 413 w 855"/>
                <a:gd name="T31" fmla="*/ 551 h 1245"/>
                <a:gd name="T32" fmla="*/ 420 w 855"/>
                <a:gd name="T33" fmla="*/ 602 h 1245"/>
                <a:gd name="T34" fmla="*/ 445 w 855"/>
                <a:gd name="T35" fmla="*/ 608 h 1245"/>
                <a:gd name="T36" fmla="*/ 472 w 855"/>
                <a:gd name="T37" fmla="*/ 582 h 1245"/>
                <a:gd name="T38" fmla="*/ 484 w 855"/>
                <a:gd name="T39" fmla="*/ 544 h 1245"/>
                <a:gd name="T40" fmla="*/ 507 w 855"/>
                <a:gd name="T41" fmla="*/ 552 h 1245"/>
                <a:gd name="T42" fmla="*/ 524 w 855"/>
                <a:gd name="T43" fmla="*/ 604 h 1245"/>
                <a:gd name="T44" fmla="*/ 557 w 855"/>
                <a:gd name="T45" fmla="*/ 649 h 1245"/>
                <a:gd name="T46" fmla="*/ 613 w 855"/>
                <a:gd name="T47" fmla="*/ 671 h 1245"/>
                <a:gd name="T48" fmla="*/ 668 w 855"/>
                <a:gd name="T49" fmla="*/ 664 h 1245"/>
                <a:gd name="T50" fmla="*/ 670 w 855"/>
                <a:gd name="T51" fmla="*/ 724 h 1245"/>
                <a:gd name="T52" fmla="*/ 696 w 855"/>
                <a:gd name="T53" fmla="*/ 766 h 1245"/>
                <a:gd name="T54" fmla="*/ 722 w 855"/>
                <a:gd name="T55" fmla="*/ 766 h 1245"/>
                <a:gd name="T56" fmla="*/ 788 w 855"/>
                <a:gd name="T57" fmla="*/ 836 h 1245"/>
                <a:gd name="T58" fmla="*/ 804 w 855"/>
                <a:gd name="T59" fmla="*/ 887 h 1245"/>
                <a:gd name="T60" fmla="*/ 832 w 855"/>
                <a:gd name="T61" fmla="*/ 886 h 1245"/>
                <a:gd name="T62" fmla="*/ 853 w 855"/>
                <a:gd name="T63" fmla="*/ 921 h 1245"/>
                <a:gd name="T64" fmla="*/ 821 w 855"/>
                <a:gd name="T65" fmla="*/ 942 h 1245"/>
                <a:gd name="T66" fmla="*/ 780 w 855"/>
                <a:gd name="T67" fmla="*/ 961 h 1245"/>
                <a:gd name="T68" fmla="*/ 751 w 855"/>
                <a:gd name="T69" fmla="*/ 1027 h 1245"/>
                <a:gd name="T70" fmla="*/ 707 w 855"/>
                <a:gd name="T71" fmla="*/ 1032 h 1245"/>
                <a:gd name="T72" fmla="*/ 666 w 855"/>
                <a:gd name="T73" fmla="*/ 1026 h 1245"/>
                <a:gd name="T74" fmla="*/ 640 w 855"/>
                <a:gd name="T75" fmla="*/ 1030 h 1245"/>
                <a:gd name="T76" fmla="*/ 648 w 855"/>
                <a:gd name="T77" fmla="*/ 1069 h 1245"/>
                <a:gd name="T78" fmla="*/ 616 w 855"/>
                <a:gd name="T79" fmla="*/ 1086 h 1245"/>
                <a:gd name="T80" fmla="*/ 553 w 855"/>
                <a:gd name="T81" fmla="*/ 1088 h 1245"/>
                <a:gd name="T82" fmla="*/ 535 w 855"/>
                <a:gd name="T83" fmla="*/ 1126 h 1245"/>
                <a:gd name="T84" fmla="*/ 492 w 855"/>
                <a:gd name="T85" fmla="*/ 1117 h 1245"/>
                <a:gd name="T86" fmla="*/ 445 w 855"/>
                <a:gd name="T87" fmla="*/ 1099 h 1245"/>
                <a:gd name="T88" fmla="*/ 426 w 855"/>
                <a:gd name="T89" fmla="*/ 1087 h 1245"/>
                <a:gd name="T90" fmla="*/ 425 w 855"/>
                <a:gd name="T91" fmla="*/ 1150 h 1245"/>
                <a:gd name="T92" fmla="*/ 383 w 855"/>
                <a:gd name="T93" fmla="*/ 1205 h 1245"/>
                <a:gd name="T94" fmla="*/ 317 w 855"/>
                <a:gd name="T95" fmla="*/ 1222 h 1245"/>
                <a:gd name="T96" fmla="*/ 284 w 855"/>
                <a:gd name="T97" fmla="*/ 1245 h 1245"/>
                <a:gd name="T98" fmla="*/ 256 w 855"/>
                <a:gd name="T99" fmla="*/ 1184 h 1245"/>
                <a:gd name="T100" fmla="*/ 190 w 855"/>
                <a:gd name="T101" fmla="*/ 1149 h 1245"/>
                <a:gd name="T102" fmla="*/ 192 w 855"/>
                <a:gd name="T103" fmla="*/ 1098 h 1245"/>
                <a:gd name="T104" fmla="*/ 170 w 855"/>
                <a:gd name="T105" fmla="*/ 1097 h 1245"/>
                <a:gd name="T106" fmla="*/ 140 w 855"/>
                <a:gd name="T107" fmla="*/ 1042 h 1245"/>
                <a:gd name="T108" fmla="*/ 109 w 855"/>
                <a:gd name="T109" fmla="*/ 996 h 1245"/>
                <a:gd name="T110" fmla="*/ 54 w 855"/>
                <a:gd name="T111" fmla="*/ 1002 h 1245"/>
                <a:gd name="T112" fmla="*/ 71 w 855"/>
                <a:gd name="T113" fmla="*/ 1038 h 1245"/>
                <a:gd name="T114" fmla="*/ 74 w 855"/>
                <a:gd name="T115" fmla="*/ 1080 h 1245"/>
                <a:gd name="T116" fmla="*/ 31 w 855"/>
                <a:gd name="T117" fmla="*/ 1113 h 1245"/>
                <a:gd name="T118" fmla="*/ 2 w 855"/>
                <a:gd name="T119" fmla="*/ 1075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55" h="1245">
                  <a:moveTo>
                    <a:pt x="351" y="4"/>
                  </a:moveTo>
                  <a:lnTo>
                    <a:pt x="354" y="4"/>
                  </a:lnTo>
                  <a:lnTo>
                    <a:pt x="357" y="3"/>
                  </a:lnTo>
                  <a:lnTo>
                    <a:pt x="360" y="2"/>
                  </a:lnTo>
                  <a:lnTo>
                    <a:pt x="370" y="0"/>
                  </a:lnTo>
                  <a:lnTo>
                    <a:pt x="373" y="0"/>
                  </a:lnTo>
                  <a:lnTo>
                    <a:pt x="375" y="0"/>
                  </a:lnTo>
                  <a:lnTo>
                    <a:pt x="377" y="0"/>
                  </a:lnTo>
                  <a:lnTo>
                    <a:pt x="379" y="0"/>
                  </a:lnTo>
                  <a:lnTo>
                    <a:pt x="380" y="0"/>
                  </a:lnTo>
                  <a:lnTo>
                    <a:pt x="381" y="1"/>
                  </a:lnTo>
                  <a:lnTo>
                    <a:pt x="382" y="2"/>
                  </a:lnTo>
                  <a:lnTo>
                    <a:pt x="383" y="3"/>
                  </a:lnTo>
                  <a:lnTo>
                    <a:pt x="384" y="4"/>
                  </a:lnTo>
                  <a:lnTo>
                    <a:pt x="385" y="10"/>
                  </a:lnTo>
                  <a:lnTo>
                    <a:pt x="388" y="18"/>
                  </a:lnTo>
                  <a:lnTo>
                    <a:pt x="388" y="20"/>
                  </a:lnTo>
                  <a:lnTo>
                    <a:pt x="388" y="21"/>
                  </a:lnTo>
                  <a:lnTo>
                    <a:pt x="388" y="24"/>
                  </a:lnTo>
                  <a:lnTo>
                    <a:pt x="388" y="27"/>
                  </a:lnTo>
                  <a:lnTo>
                    <a:pt x="387" y="46"/>
                  </a:lnTo>
                  <a:lnTo>
                    <a:pt x="387" y="49"/>
                  </a:lnTo>
                  <a:lnTo>
                    <a:pt x="387" y="52"/>
                  </a:lnTo>
                  <a:lnTo>
                    <a:pt x="388" y="55"/>
                  </a:lnTo>
                  <a:lnTo>
                    <a:pt x="388" y="58"/>
                  </a:lnTo>
                  <a:lnTo>
                    <a:pt x="389" y="59"/>
                  </a:lnTo>
                  <a:lnTo>
                    <a:pt x="390" y="61"/>
                  </a:lnTo>
                  <a:lnTo>
                    <a:pt x="391" y="62"/>
                  </a:lnTo>
                  <a:lnTo>
                    <a:pt x="392" y="62"/>
                  </a:lnTo>
                  <a:lnTo>
                    <a:pt x="393" y="63"/>
                  </a:lnTo>
                  <a:lnTo>
                    <a:pt x="394" y="64"/>
                  </a:lnTo>
                  <a:lnTo>
                    <a:pt x="396" y="64"/>
                  </a:lnTo>
                  <a:lnTo>
                    <a:pt x="397" y="63"/>
                  </a:lnTo>
                  <a:lnTo>
                    <a:pt x="398" y="62"/>
                  </a:lnTo>
                  <a:lnTo>
                    <a:pt x="399" y="62"/>
                  </a:lnTo>
                  <a:lnTo>
                    <a:pt x="403" y="57"/>
                  </a:lnTo>
                  <a:lnTo>
                    <a:pt x="406" y="55"/>
                  </a:lnTo>
                  <a:lnTo>
                    <a:pt x="407" y="54"/>
                  </a:lnTo>
                  <a:lnTo>
                    <a:pt x="409" y="54"/>
                  </a:lnTo>
                  <a:lnTo>
                    <a:pt x="411" y="54"/>
                  </a:lnTo>
                  <a:lnTo>
                    <a:pt x="412" y="53"/>
                  </a:lnTo>
                  <a:lnTo>
                    <a:pt x="416" y="53"/>
                  </a:lnTo>
                  <a:lnTo>
                    <a:pt x="418" y="53"/>
                  </a:lnTo>
                  <a:lnTo>
                    <a:pt x="420" y="53"/>
                  </a:lnTo>
                  <a:lnTo>
                    <a:pt x="423" y="53"/>
                  </a:lnTo>
                  <a:lnTo>
                    <a:pt x="426" y="54"/>
                  </a:lnTo>
                  <a:lnTo>
                    <a:pt x="428" y="54"/>
                  </a:lnTo>
                  <a:lnTo>
                    <a:pt x="431" y="55"/>
                  </a:lnTo>
                  <a:lnTo>
                    <a:pt x="434" y="56"/>
                  </a:lnTo>
                  <a:lnTo>
                    <a:pt x="436" y="58"/>
                  </a:lnTo>
                  <a:lnTo>
                    <a:pt x="439" y="59"/>
                  </a:lnTo>
                  <a:lnTo>
                    <a:pt x="441" y="61"/>
                  </a:lnTo>
                  <a:lnTo>
                    <a:pt x="444" y="63"/>
                  </a:lnTo>
                  <a:lnTo>
                    <a:pt x="445" y="64"/>
                  </a:lnTo>
                  <a:lnTo>
                    <a:pt x="446" y="65"/>
                  </a:lnTo>
                  <a:lnTo>
                    <a:pt x="448" y="68"/>
                  </a:lnTo>
                  <a:lnTo>
                    <a:pt x="449" y="70"/>
                  </a:lnTo>
                  <a:lnTo>
                    <a:pt x="450" y="73"/>
                  </a:lnTo>
                  <a:lnTo>
                    <a:pt x="451" y="75"/>
                  </a:lnTo>
                  <a:lnTo>
                    <a:pt x="452" y="77"/>
                  </a:lnTo>
                  <a:lnTo>
                    <a:pt x="452" y="79"/>
                  </a:lnTo>
                  <a:lnTo>
                    <a:pt x="452" y="80"/>
                  </a:lnTo>
                  <a:lnTo>
                    <a:pt x="451" y="102"/>
                  </a:lnTo>
                  <a:lnTo>
                    <a:pt x="450" y="109"/>
                  </a:lnTo>
                  <a:lnTo>
                    <a:pt x="450" y="113"/>
                  </a:lnTo>
                  <a:lnTo>
                    <a:pt x="448" y="118"/>
                  </a:lnTo>
                  <a:lnTo>
                    <a:pt x="448" y="121"/>
                  </a:lnTo>
                  <a:lnTo>
                    <a:pt x="447" y="122"/>
                  </a:lnTo>
                  <a:lnTo>
                    <a:pt x="446" y="125"/>
                  </a:lnTo>
                  <a:lnTo>
                    <a:pt x="445" y="127"/>
                  </a:lnTo>
                  <a:lnTo>
                    <a:pt x="445" y="127"/>
                  </a:lnTo>
                  <a:lnTo>
                    <a:pt x="444" y="129"/>
                  </a:lnTo>
                  <a:lnTo>
                    <a:pt x="442" y="130"/>
                  </a:lnTo>
                  <a:lnTo>
                    <a:pt x="440" y="130"/>
                  </a:lnTo>
                  <a:lnTo>
                    <a:pt x="437" y="131"/>
                  </a:lnTo>
                  <a:lnTo>
                    <a:pt x="435" y="131"/>
                  </a:lnTo>
                  <a:lnTo>
                    <a:pt x="434" y="131"/>
                  </a:lnTo>
                  <a:lnTo>
                    <a:pt x="431" y="130"/>
                  </a:lnTo>
                  <a:lnTo>
                    <a:pt x="428" y="130"/>
                  </a:lnTo>
                  <a:lnTo>
                    <a:pt x="423" y="129"/>
                  </a:lnTo>
                  <a:lnTo>
                    <a:pt x="420" y="128"/>
                  </a:lnTo>
                  <a:lnTo>
                    <a:pt x="418" y="128"/>
                  </a:lnTo>
                  <a:lnTo>
                    <a:pt x="416" y="128"/>
                  </a:lnTo>
                  <a:lnTo>
                    <a:pt x="414" y="129"/>
                  </a:lnTo>
                  <a:lnTo>
                    <a:pt x="412" y="130"/>
                  </a:lnTo>
                  <a:lnTo>
                    <a:pt x="410" y="133"/>
                  </a:lnTo>
                  <a:lnTo>
                    <a:pt x="406" y="136"/>
                  </a:lnTo>
                  <a:lnTo>
                    <a:pt x="402" y="140"/>
                  </a:lnTo>
                  <a:lnTo>
                    <a:pt x="394" y="150"/>
                  </a:lnTo>
                  <a:lnTo>
                    <a:pt x="391" y="153"/>
                  </a:lnTo>
                  <a:lnTo>
                    <a:pt x="389" y="155"/>
                  </a:lnTo>
                  <a:lnTo>
                    <a:pt x="387" y="156"/>
                  </a:lnTo>
                  <a:lnTo>
                    <a:pt x="384" y="158"/>
                  </a:lnTo>
                  <a:lnTo>
                    <a:pt x="381" y="159"/>
                  </a:lnTo>
                  <a:lnTo>
                    <a:pt x="375" y="162"/>
                  </a:lnTo>
                  <a:lnTo>
                    <a:pt x="373" y="163"/>
                  </a:lnTo>
                  <a:lnTo>
                    <a:pt x="370" y="165"/>
                  </a:lnTo>
                  <a:lnTo>
                    <a:pt x="367" y="166"/>
                  </a:lnTo>
                  <a:lnTo>
                    <a:pt x="365" y="167"/>
                  </a:lnTo>
                  <a:lnTo>
                    <a:pt x="363" y="169"/>
                  </a:lnTo>
                  <a:lnTo>
                    <a:pt x="357" y="176"/>
                  </a:lnTo>
                  <a:lnTo>
                    <a:pt x="354" y="178"/>
                  </a:lnTo>
                  <a:lnTo>
                    <a:pt x="352" y="179"/>
                  </a:lnTo>
                  <a:lnTo>
                    <a:pt x="348" y="183"/>
                  </a:lnTo>
                  <a:lnTo>
                    <a:pt x="345" y="185"/>
                  </a:lnTo>
                  <a:lnTo>
                    <a:pt x="343" y="189"/>
                  </a:lnTo>
                  <a:lnTo>
                    <a:pt x="337" y="194"/>
                  </a:lnTo>
                  <a:lnTo>
                    <a:pt x="324" y="211"/>
                  </a:lnTo>
                  <a:lnTo>
                    <a:pt x="320" y="214"/>
                  </a:lnTo>
                  <a:lnTo>
                    <a:pt x="319" y="218"/>
                  </a:lnTo>
                  <a:lnTo>
                    <a:pt x="318" y="220"/>
                  </a:lnTo>
                  <a:lnTo>
                    <a:pt x="317" y="223"/>
                  </a:lnTo>
                  <a:lnTo>
                    <a:pt x="316" y="226"/>
                  </a:lnTo>
                  <a:lnTo>
                    <a:pt x="315" y="231"/>
                  </a:lnTo>
                  <a:lnTo>
                    <a:pt x="314" y="239"/>
                  </a:lnTo>
                  <a:lnTo>
                    <a:pt x="314" y="241"/>
                  </a:lnTo>
                  <a:lnTo>
                    <a:pt x="314" y="244"/>
                  </a:lnTo>
                  <a:lnTo>
                    <a:pt x="313" y="246"/>
                  </a:lnTo>
                  <a:lnTo>
                    <a:pt x="312" y="249"/>
                  </a:lnTo>
                  <a:lnTo>
                    <a:pt x="309" y="258"/>
                  </a:lnTo>
                  <a:lnTo>
                    <a:pt x="307" y="261"/>
                  </a:lnTo>
                  <a:lnTo>
                    <a:pt x="306" y="264"/>
                  </a:lnTo>
                  <a:lnTo>
                    <a:pt x="306" y="267"/>
                  </a:lnTo>
                  <a:lnTo>
                    <a:pt x="305" y="270"/>
                  </a:lnTo>
                  <a:lnTo>
                    <a:pt x="305" y="274"/>
                  </a:lnTo>
                  <a:lnTo>
                    <a:pt x="306" y="288"/>
                  </a:lnTo>
                  <a:lnTo>
                    <a:pt x="307" y="297"/>
                  </a:lnTo>
                  <a:lnTo>
                    <a:pt x="307" y="303"/>
                  </a:lnTo>
                  <a:lnTo>
                    <a:pt x="307" y="306"/>
                  </a:lnTo>
                  <a:lnTo>
                    <a:pt x="306" y="309"/>
                  </a:lnTo>
                  <a:lnTo>
                    <a:pt x="306" y="313"/>
                  </a:lnTo>
                  <a:lnTo>
                    <a:pt x="305" y="315"/>
                  </a:lnTo>
                  <a:lnTo>
                    <a:pt x="303" y="319"/>
                  </a:lnTo>
                  <a:lnTo>
                    <a:pt x="302" y="322"/>
                  </a:lnTo>
                  <a:lnTo>
                    <a:pt x="300" y="325"/>
                  </a:lnTo>
                  <a:lnTo>
                    <a:pt x="298" y="328"/>
                  </a:lnTo>
                  <a:lnTo>
                    <a:pt x="296" y="331"/>
                  </a:lnTo>
                  <a:lnTo>
                    <a:pt x="295" y="333"/>
                  </a:lnTo>
                  <a:lnTo>
                    <a:pt x="280" y="349"/>
                  </a:lnTo>
                  <a:lnTo>
                    <a:pt x="277" y="354"/>
                  </a:lnTo>
                  <a:lnTo>
                    <a:pt x="275" y="358"/>
                  </a:lnTo>
                  <a:lnTo>
                    <a:pt x="273" y="361"/>
                  </a:lnTo>
                  <a:lnTo>
                    <a:pt x="270" y="365"/>
                  </a:lnTo>
                  <a:lnTo>
                    <a:pt x="267" y="371"/>
                  </a:lnTo>
                  <a:lnTo>
                    <a:pt x="266" y="374"/>
                  </a:lnTo>
                  <a:lnTo>
                    <a:pt x="265" y="376"/>
                  </a:lnTo>
                  <a:lnTo>
                    <a:pt x="265" y="379"/>
                  </a:lnTo>
                  <a:lnTo>
                    <a:pt x="264" y="381"/>
                  </a:lnTo>
                  <a:lnTo>
                    <a:pt x="263" y="384"/>
                  </a:lnTo>
                  <a:lnTo>
                    <a:pt x="263" y="394"/>
                  </a:lnTo>
                  <a:lnTo>
                    <a:pt x="262" y="403"/>
                  </a:lnTo>
                  <a:lnTo>
                    <a:pt x="262" y="405"/>
                  </a:lnTo>
                  <a:lnTo>
                    <a:pt x="262" y="406"/>
                  </a:lnTo>
                  <a:lnTo>
                    <a:pt x="262" y="407"/>
                  </a:lnTo>
                  <a:lnTo>
                    <a:pt x="263" y="409"/>
                  </a:lnTo>
                  <a:lnTo>
                    <a:pt x="263" y="410"/>
                  </a:lnTo>
                  <a:lnTo>
                    <a:pt x="263" y="412"/>
                  </a:lnTo>
                  <a:lnTo>
                    <a:pt x="264" y="414"/>
                  </a:lnTo>
                  <a:lnTo>
                    <a:pt x="266" y="416"/>
                  </a:lnTo>
                  <a:lnTo>
                    <a:pt x="269" y="418"/>
                  </a:lnTo>
                  <a:lnTo>
                    <a:pt x="278" y="428"/>
                  </a:lnTo>
                  <a:lnTo>
                    <a:pt x="280" y="431"/>
                  </a:lnTo>
                  <a:lnTo>
                    <a:pt x="282" y="434"/>
                  </a:lnTo>
                  <a:lnTo>
                    <a:pt x="283" y="436"/>
                  </a:lnTo>
                  <a:lnTo>
                    <a:pt x="284" y="438"/>
                  </a:lnTo>
                  <a:lnTo>
                    <a:pt x="285" y="439"/>
                  </a:lnTo>
                  <a:lnTo>
                    <a:pt x="286" y="440"/>
                  </a:lnTo>
                  <a:lnTo>
                    <a:pt x="286" y="442"/>
                  </a:lnTo>
                  <a:lnTo>
                    <a:pt x="286" y="444"/>
                  </a:lnTo>
                  <a:lnTo>
                    <a:pt x="286" y="446"/>
                  </a:lnTo>
                  <a:lnTo>
                    <a:pt x="286" y="447"/>
                  </a:lnTo>
                  <a:lnTo>
                    <a:pt x="286" y="450"/>
                  </a:lnTo>
                  <a:lnTo>
                    <a:pt x="285" y="452"/>
                  </a:lnTo>
                  <a:lnTo>
                    <a:pt x="284" y="455"/>
                  </a:lnTo>
                  <a:lnTo>
                    <a:pt x="283" y="459"/>
                  </a:lnTo>
                  <a:lnTo>
                    <a:pt x="281" y="462"/>
                  </a:lnTo>
                  <a:lnTo>
                    <a:pt x="279" y="463"/>
                  </a:lnTo>
                  <a:lnTo>
                    <a:pt x="274" y="470"/>
                  </a:lnTo>
                  <a:lnTo>
                    <a:pt x="270" y="475"/>
                  </a:lnTo>
                  <a:lnTo>
                    <a:pt x="267" y="479"/>
                  </a:lnTo>
                  <a:lnTo>
                    <a:pt x="266" y="481"/>
                  </a:lnTo>
                  <a:lnTo>
                    <a:pt x="265" y="483"/>
                  </a:lnTo>
                  <a:lnTo>
                    <a:pt x="265" y="484"/>
                  </a:lnTo>
                  <a:lnTo>
                    <a:pt x="264" y="487"/>
                  </a:lnTo>
                  <a:lnTo>
                    <a:pt x="264" y="489"/>
                  </a:lnTo>
                  <a:lnTo>
                    <a:pt x="265" y="494"/>
                  </a:lnTo>
                  <a:lnTo>
                    <a:pt x="265" y="496"/>
                  </a:lnTo>
                  <a:lnTo>
                    <a:pt x="264" y="497"/>
                  </a:lnTo>
                  <a:lnTo>
                    <a:pt x="264" y="501"/>
                  </a:lnTo>
                  <a:lnTo>
                    <a:pt x="263" y="504"/>
                  </a:lnTo>
                  <a:lnTo>
                    <a:pt x="262" y="508"/>
                  </a:lnTo>
                  <a:lnTo>
                    <a:pt x="257" y="517"/>
                  </a:lnTo>
                  <a:lnTo>
                    <a:pt x="256" y="519"/>
                  </a:lnTo>
                  <a:lnTo>
                    <a:pt x="255" y="521"/>
                  </a:lnTo>
                  <a:lnTo>
                    <a:pt x="255" y="523"/>
                  </a:lnTo>
                  <a:lnTo>
                    <a:pt x="255" y="527"/>
                  </a:lnTo>
                  <a:lnTo>
                    <a:pt x="255" y="528"/>
                  </a:lnTo>
                  <a:lnTo>
                    <a:pt x="255" y="530"/>
                  </a:lnTo>
                  <a:lnTo>
                    <a:pt x="255" y="530"/>
                  </a:lnTo>
                  <a:lnTo>
                    <a:pt x="255" y="532"/>
                  </a:lnTo>
                  <a:lnTo>
                    <a:pt x="257" y="535"/>
                  </a:lnTo>
                  <a:lnTo>
                    <a:pt x="259" y="539"/>
                  </a:lnTo>
                  <a:lnTo>
                    <a:pt x="261" y="541"/>
                  </a:lnTo>
                  <a:lnTo>
                    <a:pt x="262" y="544"/>
                  </a:lnTo>
                  <a:lnTo>
                    <a:pt x="263" y="546"/>
                  </a:lnTo>
                  <a:lnTo>
                    <a:pt x="267" y="551"/>
                  </a:lnTo>
                  <a:lnTo>
                    <a:pt x="272" y="556"/>
                  </a:lnTo>
                  <a:lnTo>
                    <a:pt x="274" y="558"/>
                  </a:lnTo>
                  <a:lnTo>
                    <a:pt x="276" y="561"/>
                  </a:lnTo>
                  <a:lnTo>
                    <a:pt x="278" y="562"/>
                  </a:lnTo>
                  <a:lnTo>
                    <a:pt x="279" y="563"/>
                  </a:lnTo>
                  <a:lnTo>
                    <a:pt x="281" y="564"/>
                  </a:lnTo>
                  <a:lnTo>
                    <a:pt x="283" y="564"/>
                  </a:lnTo>
                  <a:lnTo>
                    <a:pt x="284" y="564"/>
                  </a:lnTo>
                  <a:lnTo>
                    <a:pt x="286" y="564"/>
                  </a:lnTo>
                  <a:lnTo>
                    <a:pt x="288" y="564"/>
                  </a:lnTo>
                  <a:lnTo>
                    <a:pt x="294" y="563"/>
                  </a:lnTo>
                  <a:lnTo>
                    <a:pt x="296" y="562"/>
                  </a:lnTo>
                  <a:lnTo>
                    <a:pt x="300" y="561"/>
                  </a:lnTo>
                  <a:lnTo>
                    <a:pt x="303" y="560"/>
                  </a:lnTo>
                  <a:lnTo>
                    <a:pt x="304" y="560"/>
                  </a:lnTo>
                  <a:lnTo>
                    <a:pt x="305" y="560"/>
                  </a:lnTo>
                  <a:lnTo>
                    <a:pt x="305" y="561"/>
                  </a:lnTo>
                  <a:lnTo>
                    <a:pt x="306" y="561"/>
                  </a:lnTo>
                  <a:lnTo>
                    <a:pt x="307" y="562"/>
                  </a:lnTo>
                  <a:lnTo>
                    <a:pt x="307" y="564"/>
                  </a:lnTo>
                  <a:lnTo>
                    <a:pt x="307" y="564"/>
                  </a:lnTo>
                  <a:lnTo>
                    <a:pt x="307" y="567"/>
                  </a:lnTo>
                  <a:lnTo>
                    <a:pt x="307" y="572"/>
                  </a:lnTo>
                  <a:lnTo>
                    <a:pt x="305" y="580"/>
                  </a:lnTo>
                  <a:lnTo>
                    <a:pt x="305" y="582"/>
                  </a:lnTo>
                  <a:lnTo>
                    <a:pt x="305" y="586"/>
                  </a:lnTo>
                  <a:lnTo>
                    <a:pt x="305" y="587"/>
                  </a:lnTo>
                  <a:lnTo>
                    <a:pt x="306" y="589"/>
                  </a:lnTo>
                  <a:lnTo>
                    <a:pt x="307" y="591"/>
                  </a:lnTo>
                  <a:lnTo>
                    <a:pt x="307" y="592"/>
                  </a:lnTo>
                  <a:lnTo>
                    <a:pt x="308" y="593"/>
                  </a:lnTo>
                  <a:lnTo>
                    <a:pt x="309" y="594"/>
                  </a:lnTo>
                  <a:lnTo>
                    <a:pt x="309" y="594"/>
                  </a:lnTo>
                  <a:lnTo>
                    <a:pt x="311" y="595"/>
                  </a:lnTo>
                  <a:lnTo>
                    <a:pt x="312" y="595"/>
                  </a:lnTo>
                  <a:lnTo>
                    <a:pt x="315" y="595"/>
                  </a:lnTo>
                  <a:lnTo>
                    <a:pt x="324" y="595"/>
                  </a:lnTo>
                  <a:lnTo>
                    <a:pt x="332" y="595"/>
                  </a:lnTo>
                  <a:lnTo>
                    <a:pt x="334" y="594"/>
                  </a:lnTo>
                  <a:lnTo>
                    <a:pt x="337" y="594"/>
                  </a:lnTo>
                  <a:lnTo>
                    <a:pt x="338" y="593"/>
                  </a:lnTo>
                  <a:lnTo>
                    <a:pt x="340" y="592"/>
                  </a:lnTo>
                  <a:lnTo>
                    <a:pt x="341" y="590"/>
                  </a:lnTo>
                  <a:lnTo>
                    <a:pt x="343" y="586"/>
                  </a:lnTo>
                  <a:lnTo>
                    <a:pt x="344" y="585"/>
                  </a:lnTo>
                  <a:lnTo>
                    <a:pt x="346" y="583"/>
                  </a:lnTo>
                  <a:lnTo>
                    <a:pt x="349" y="580"/>
                  </a:lnTo>
                  <a:lnTo>
                    <a:pt x="352" y="578"/>
                  </a:lnTo>
                  <a:lnTo>
                    <a:pt x="359" y="573"/>
                  </a:lnTo>
                  <a:lnTo>
                    <a:pt x="367" y="566"/>
                  </a:lnTo>
                  <a:lnTo>
                    <a:pt x="371" y="564"/>
                  </a:lnTo>
                  <a:lnTo>
                    <a:pt x="376" y="560"/>
                  </a:lnTo>
                  <a:lnTo>
                    <a:pt x="378" y="558"/>
                  </a:lnTo>
                  <a:lnTo>
                    <a:pt x="380" y="557"/>
                  </a:lnTo>
                  <a:lnTo>
                    <a:pt x="383" y="556"/>
                  </a:lnTo>
                  <a:lnTo>
                    <a:pt x="387" y="554"/>
                  </a:lnTo>
                  <a:lnTo>
                    <a:pt x="391" y="552"/>
                  </a:lnTo>
                  <a:lnTo>
                    <a:pt x="393" y="552"/>
                  </a:lnTo>
                  <a:lnTo>
                    <a:pt x="394" y="552"/>
                  </a:lnTo>
                  <a:lnTo>
                    <a:pt x="399" y="551"/>
                  </a:lnTo>
                  <a:lnTo>
                    <a:pt x="404" y="550"/>
                  </a:lnTo>
                  <a:lnTo>
                    <a:pt x="407" y="550"/>
                  </a:lnTo>
                  <a:lnTo>
                    <a:pt x="409" y="550"/>
                  </a:lnTo>
                  <a:lnTo>
                    <a:pt x="411" y="550"/>
                  </a:lnTo>
                  <a:lnTo>
                    <a:pt x="412" y="551"/>
                  </a:lnTo>
                  <a:lnTo>
                    <a:pt x="413" y="551"/>
                  </a:lnTo>
                  <a:lnTo>
                    <a:pt x="415" y="552"/>
                  </a:lnTo>
                  <a:lnTo>
                    <a:pt x="418" y="553"/>
                  </a:lnTo>
                  <a:lnTo>
                    <a:pt x="420" y="555"/>
                  </a:lnTo>
                  <a:lnTo>
                    <a:pt x="421" y="556"/>
                  </a:lnTo>
                  <a:lnTo>
                    <a:pt x="422" y="558"/>
                  </a:lnTo>
                  <a:lnTo>
                    <a:pt x="423" y="561"/>
                  </a:lnTo>
                  <a:lnTo>
                    <a:pt x="423" y="563"/>
                  </a:lnTo>
                  <a:lnTo>
                    <a:pt x="424" y="564"/>
                  </a:lnTo>
                  <a:lnTo>
                    <a:pt x="424" y="565"/>
                  </a:lnTo>
                  <a:lnTo>
                    <a:pt x="424" y="567"/>
                  </a:lnTo>
                  <a:lnTo>
                    <a:pt x="423" y="573"/>
                  </a:lnTo>
                  <a:lnTo>
                    <a:pt x="423" y="578"/>
                  </a:lnTo>
                  <a:lnTo>
                    <a:pt x="420" y="588"/>
                  </a:lnTo>
                  <a:lnTo>
                    <a:pt x="420" y="594"/>
                  </a:lnTo>
                  <a:lnTo>
                    <a:pt x="419" y="597"/>
                  </a:lnTo>
                  <a:lnTo>
                    <a:pt x="419" y="599"/>
                  </a:lnTo>
                  <a:lnTo>
                    <a:pt x="420" y="602"/>
                  </a:lnTo>
                  <a:lnTo>
                    <a:pt x="420" y="604"/>
                  </a:lnTo>
                  <a:lnTo>
                    <a:pt x="421" y="607"/>
                  </a:lnTo>
                  <a:lnTo>
                    <a:pt x="423" y="610"/>
                  </a:lnTo>
                  <a:lnTo>
                    <a:pt x="424" y="613"/>
                  </a:lnTo>
                  <a:lnTo>
                    <a:pt x="426" y="616"/>
                  </a:lnTo>
                  <a:lnTo>
                    <a:pt x="428" y="618"/>
                  </a:lnTo>
                  <a:lnTo>
                    <a:pt x="430" y="619"/>
                  </a:lnTo>
                  <a:lnTo>
                    <a:pt x="432" y="620"/>
                  </a:lnTo>
                  <a:lnTo>
                    <a:pt x="434" y="620"/>
                  </a:lnTo>
                  <a:lnTo>
                    <a:pt x="434" y="620"/>
                  </a:lnTo>
                  <a:lnTo>
                    <a:pt x="435" y="620"/>
                  </a:lnTo>
                  <a:lnTo>
                    <a:pt x="436" y="619"/>
                  </a:lnTo>
                  <a:lnTo>
                    <a:pt x="437" y="618"/>
                  </a:lnTo>
                  <a:lnTo>
                    <a:pt x="439" y="616"/>
                  </a:lnTo>
                  <a:lnTo>
                    <a:pt x="443" y="611"/>
                  </a:lnTo>
                  <a:lnTo>
                    <a:pt x="444" y="609"/>
                  </a:lnTo>
                  <a:lnTo>
                    <a:pt x="445" y="608"/>
                  </a:lnTo>
                  <a:lnTo>
                    <a:pt x="450" y="602"/>
                  </a:lnTo>
                  <a:lnTo>
                    <a:pt x="452" y="600"/>
                  </a:lnTo>
                  <a:lnTo>
                    <a:pt x="453" y="599"/>
                  </a:lnTo>
                  <a:lnTo>
                    <a:pt x="454" y="598"/>
                  </a:lnTo>
                  <a:lnTo>
                    <a:pt x="455" y="594"/>
                  </a:lnTo>
                  <a:lnTo>
                    <a:pt x="456" y="592"/>
                  </a:lnTo>
                  <a:lnTo>
                    <a:pt x="457" y="591"/>
                  </a:lnTo>
                  <a:lnTo>
                    <a:pt x="458" y="589"/>
                  </a:lnTo>
                  <a:lnTo>
                    <a:pt x="459" y="588"/>
                  </a:lnTo>
                  <a:lnTo>
                    <a:pt x="461" y="587"/>
                  </a:lnTo>
                  <a:lnTo>
                    <a:pt x="466" y="586"/>
                  </a:lnTo>
                  <a:lnTo>
                    <a:pt x="467" y="585"/>
                  </a:lnTo>
                  <a:lnTo>
                    <a:pt x="468" y="583"/>
                  </a:lnTo>
                  <a:lnTo>
                    <a:pt x="469" y="582"/>
                  </a:lnTo>
                  <a:lnTo>
                    <a:pt x="470" y="582"/>
                  </a:lnTo>
                  <a:lnTo>
                    <a:pt x="471" y="582"/>
                  </a:lnTo>
                  <a:lnTo>
                    <a:pt x="472" y="582"/>
                  </a:lnTo>
                  <a:lnTo>
                    <a:pt x="473" y="582"/>
                  </a:lnTo>
                  <a:lnTo>
                    <a:pt x="476" y="583"/>
                  </a:lnTo>
                  <a:lnTo>
                    <a:pt x="477" y="584"/>
                  </a:lnTo>
                  <a:lnTo>
                    <a:pt x="478" y="583"/>
                  </a:lnTo>
                  <a:lnTo>
                    <a:pt x="479" y="583"/>
                  </a:lnTo>
                  <a:lnTo>
                    <a:pt x="480" y="583"/>
                  </a:lnTo>
                  <a:lnTo>
                    <a:pt x="482" y="582"/>
                  </a:lnTo>
                  <a:lnTo>
                    <a:pt x="484" y="580"/>
                  </a:lnTo>
                  <a:lnTo>
                    <a:pt x="486" y="578"/>
                  </a:lnTo>
                  <a:lnTo>
                    <a:pt x="488" y="575"/>
                  </a:lnTo>
                  <a:lnTo>
                    <a:pt x="489" y="574"/>
                  </a:lnTo>
                  <a:lnTo>
                    <a:pt x="490" y="572"/>
                  </a:lnTo>
                  <a:lnTo>
                    <a:pt x="490" y="570"/>
                  </a:lnTo>
                  <a:lnTo>
                    <a:pt x="490" y="567"/>
                  </a:lnTo>
                  <a:lnTo>
                    <a:pt x="490" y="565"/>
                  </a:lnTo>
                  <a:lnTo>
                    <a:pt x="489" y="563"/>
                  </a:lnTo>
                  <a:lnTo>
                    <a:pt x="484" y="544"/>
                  </a:lnTo>
                  <a:lnTo>
                    <a:pt x="484" y="541"/>
                  </a:lnTo>
                  <a:lnTo>
                    <a:pt x="484" y="540"/>
                  </a:lnTo>
                  <a:lnTo>
                    <a:pt x="484" y="539"/>
                  </a:lnTo>
                  <a:lnTo>
                    <a:pt x="485" y="537"/>
                  </a:lnTo>
                  <a:lnTo>
                    <a:pt x="486" y="536"/>
                  </a:lnTo>
                  <a:lnTo>
                    <a:pt x="487" y="535"/>
                  </a:lnTo>
                  <a:lnTo>
                    <a:pt x="489" y="534"/>
                  </a:lnTo>
                  <a:lnTo>
                    <a:pt x="491" y="534"/>
                  </a:lnTo>
                  <a:lnTo>
                    <a:pt x="492" y="534"/>
                  </a:lnTo>
                  <a:lnTo>
                    <a:pt x="494" y="534"/>
                  </a:lnTo>
                  <a:lnTo>
                    <a:pt x="496" y="535"/>
                  </a:lnTo>
                  <a:lnTo>
                    <a:pt x="497" y="536"/>
                  </a:lnTo>
                  <a:lnTo>
                    <a:pt x="498" y="537"/>
                  </a:lnTo>
                  <a:lnTo>
                    <a:pt x="499" y="538"/>
                  </a:lnTo>
                  <a:lnTo>
                    <a:pt x="500" y="540"/>
                  </a:lnTo>
                  <a:lnTo>
                    <a:pt x="503" y="546"/>
                  </a:lnTo>
                  <a:lnTo>
                    <a:pt x="507" y="552"/>
                  </a:lnTo>
                  <a:lnTo>
                    <a:pt x="508" y="556"/>
                  </a:lnTo>
                  <a:lnTo>
                    <a:pt x="510" y="560"/>
                  </a:lnTo>
                  <a:lnTo>
                    <a:pt x="510" y="564"/>
                  </a:lnTo>
                  <a:lnTo>
                    <a:pt x="511" y="566"/>
                  </a:lnTo>
                  <a:lnTo>
                    <a:pt x="511" y="572"/>
                  </a:lnTo>
                  <a:lnTo>
                    <a:pt x="511" y="574"/>
                  </a:lnTo>
                  <a:lnTo>
                    <a:pt x="511" y="577"/>
                  </a:lnTo>
                  <a:lnTo>
                    <a:pt x="512" y="580"/>
                  </a:lnTo>
                  <a:lnTo>
                    <a:pt x="513" y="585"/>
                  </a:lnTo>
                  <a:lnTo>
                    <a:pt x="514" y="587"/>
                  </a:lnTo>
                  <a:lnTo>
                    <a:pt x="518" y="594"/>
                  </a:lnTo>
                  <a:lnTo>
                    <a:pt x="519" y="596"/>
                  </a:lnTo>
                  <a:lnTo>
                    <a:pt x="521" y="598"/>
                  </a:lnTo>
                  <a:lnTo>
                    <a:pt x="522" y="599"/>
                  </a:lnTo>
                  <a:lnTo>
                    <a:pt x="523" y="600"/>
                  </a:lnTo>
                  <a:lnTo>
                    <a:pt x="523" y="602"/>
                  </a:lnTo>
                  <a:lnTo>
                    <a:pt x="524" y="604"/>
                  </a:lnTo>
                  <a:lnTo>
                    <a:pt x="524" y="609"/>
                  </a:lnTo>
                  <a:lnTo>
                    <a:pt x="525" y="611"/>
                  </a:lnTo>
                  <a:lnTo>
                    <a:pt x="525" y="614"/>
                  </a:lnTo>
                  <a:lnTo>
                    <a:pt x="525" y="616"/>
                  </a:lnTo>
                  <a:lnTo>
                    <a:pt x="526" y="617"/>
                  </a:lnTo>
                  <a:lnTo>
                    <a:pt x="528" y="619"/>
                  </a:lnTo>
                  <a:lnTo>
                    <a:pt x="535" y="626"/>
                  </a:lnTo>
                  <a:lnTo>
                    <a:pt x="536" y="628"/>
                  </a:lnTo>
                  <a:lnTo>
                    <a:pt x="538" y="631"/>
                  </a:lnTo>
                  <a:lnTo>
                    <a:pt x="541" y="636"/>
                  </a:lnTo>
                  <a:lnTo>
                    <a:pt x="543" y="638"/>
                  </a:lnTo>
                  <a:lnTo>
                    <a:pt x="545" y="641"/>
                  </a:lnTo>
                  <a:lnTo>
                    <a:pt x="546" y="643"/>
                  </a:lnTo>
                  <a:lnTo>
                    <a:pt x="548" y="644"/>
                  </a:lnTo>
                  <a:lnTo>
                    <a:pt x="550" y="646"/>
                  </a:lnTo>
                  <a:lnTo>
                    <a:pt x="552" y="647"/>
                  </a:lnTo>
                  <a:lnTo>
                    <a:pt x="557" y="649"/>
                  </a:lnTo>
                  <a:lnTo>
                    <a:pt x="559" y="651"/>
                  </a:lnTo>
                  <a:lnTo>
                    <a:pt x="561" y="652"/>
                  </a:lnTo>
                  <a:lnTo>
                    <a:pt x="564" y="654"/>
                  </a:lnTo>
                  <a:lnTo>
                    <a:pt x="568" y="658"/>
                  </a:lnTo>
                  <a:lnTo>
                    <a:pt x="570" y="659"/>
                  </a:lnTo>
                  <a:lnTo>
                    <a:pt x="573" y="662"/>
                  </a:lnTo>
                  <a:lnTo>
                    <a:pt x="576" y="663"/>
                  </a:lnTo>
                  <a:lnTo>
                    <a:pt x="586" y="667"/>
                  </a:lnTo>
                  <a:lnTo>
                    <a:pt x="591" y="669"/>
                  </a:lnTo>
                  <a:lnTo>
                    <a:pt x="593" y="670"/>
                  </a:lnTo>
                  <a:lnTo>
                    <a:pt x="595" y="671"/>
                  </a:lnTo>
                  <a:lnTo>
                    <a:pt x="604" y="672"/>
                  </a:lnTo>
                  <a:lnTo>
                    <a:pt x="605" y="672"/>
                  </a:lnTo>
                  <a:lnTo>
                    <a:pt x="607" y="673"/>
                  </a:lnTo>
                  <a:lnTo>
                    <a:pt x="609" y="672"/>
                  </a:lnTo>
                  <a:lnTo>
                    <a:pt x="611" y="672"/>
                  </a:lnTo>
                  <a:lnTo>
                    <a:pt x="613" y="671"/>
                  </a:lnTo>
                  <a:lnTo>
                    <a:pt x="617" y="669"/>
                  </a:lnTo>
                  <a:lnTo>
                    <a:pt x="623" y="667"/>
                  </a:lnTo>
                  <a:lnTo>
                    <a:pt x="627" y="666"/>
                  </a:lnTo>
                  <a:lnTo>
                    <a:pt x="631" y="664"/>
                  </a:lnTo>
                  <a:lnTo>
                    <a:pt x="644" y="660"/>
                  </a:lnTo>
                  <a:lnTo>
                    <a:pt x="647" y="659"/>
                  </a:lnTo>
                  <a:lnTo>
                    <a:pt x="653" y="657"/>
                  </a:lnTo>
                  <a:lnTo>
                    <a:pt x="655" y="657"/>
                  </a:lnTo>
                  <a:lnTo>
                    <a:pt x="657" y="657"/>
                  </a:lnTo>
                  <a:lnTo>
                    <a:pt x="659" y="657"/>
                  </a:lnTo>
                  <a:lnTo>
                    <a:pt x="660" y="657"/>
                  </a:lnTo>
                  <a:lnTo>
                    <a:pt x="661" y="657"/>
                  </a:lnTo>
                  <a:lnTo>
                    <a:pt x="662" y="658"/>
                  </a:lnTo>
                  <a:lnTo>
                    <a:pt x="663" y="659"/>
                  </a:lnTo>
                  <a:lnTo>
                    <a:pt x="664" y="660"/>
                  </a:lnTo>
                  <a:lnTo>
                    <a:pt x="666" y="662"/>
                  </a:lnTo>
                  <a:lnTo>
                    <a:pt x="668" y="664"/>
                  </a:lnTo>
                  <a:lnTo>
                    <a:pt x="670" y="666"/>
                  </a:lnTo>
                  <a:lnTo>
                    <a:pt x="671" y="669"/>
                  </a:lnTo>
                  <a:lnTo>
                    <a:pt x="672" y="672"/>
                  </a:lnTo>
                  <a:lnTo>
                    <a:pt x="673" y="676"/>
                  </a:lnTo>
                  <a:lnTo>
                    <a:pt x="673" y="680"/>
                  </a:lnTo>
                  <a:lnTo>
                    <a:pt x="674" y="684"/>
                  </a:lnTo>
                  <a:lnTo>
                    <a:pt x="674" y="687"/>
                  </a:lnTo>
                  <a:lnTo>
                    <a:pt x="675" y="689"/>
                  </a:lnTo>
                  <a:lnTo>
                    <a:pt x="675" y="693"/>
                  </a:lnTo>
                  <a:lnTo>
                    <a:pt x="674" y="696"/>
                  </a:lnTo>
                  <a:lnTo>
                    <a:pt x="674" y="699"/>
                  </a:lnTo>
                  <a:lnTo>
                    <a:pt x="673" y="700"/>
                  </a:lnTo>
                  <a:lnTo>
                    <a:pt x="672" y="711"/>
                  </a:lnTo>
                  <a:lnTo>
                    <a:pt x="671" y="716"/>
                  </a:lnTo>
                  <a:lnTo>
                    <a:pt x="670" y="719"/>
                  </a:lnTo>
                  <a:lnTo>
                    <a:pt x="670" y="722"/>
                  </a:lnTo>
                  <a:lnTo>
                    <a:pt x="670" y="724"/>
                  </a:lnTo>
                  <a:lnTo>
                    <a:pt x="670" y="727"/>
                  </a:lnTo>
                  <a:lnTo>
                    <a:pt x="670" y="731"/>
                  </a:lnTo>
                  <a:lnTo>
                    <a:pt x="671" y="734"/>
                  </a:lnTo>
                  <a:lnTo>
                    <a:pt x="671" y="738"/>
                  </a:lnTo>
                  <a:lnTo>
                    <a:pt x="672" y="743"/>
                  </a:lnTo>
                  <a:lnTo>
                    <a:pt x="673" y="745"/>
                  </a:lnTo>
                  <a:lnTo>
                    <a:pt x="674" y="748"/>
                  </a:lnTo>
                  <a:lnTo>
                    <a:pt x="675" y="751"/>
                  </a:lnTo>
                  <a:lnTo>
                    <a:pt x="677" y="753"/>
                  </a:lnTo>
                  <a:lnTo>
                    <a:pt x="679" y="755"/>
                  </a:lnTo>
                  <a:lnTo>
                    <a:pt x="681" y="756"/>
                  </a:lnTo>
                  <a:lnTo>
                    <a:pt x="683" y="758"/>
                  </a:lnTo>
                  <a:lnTo>
                    <a:pt x="685" y="760"/>
                  </a:lnTo>
                  <a:lnTo>
                    <a:pt x="688" y="762"/>
                  </a:lnTo>
                  <a:lnTo>
                    <a:pt x="690" y="763"/>
                  </a:lnTo>
                  <a:lnTo>
                    <a:pt x="694" y="765"/>
                  </a:lnTo>
                  <a:lnTo>
                    <a:pt x="696" y="766"/>
                  </a:lnTo>
                  <a:lnTo>
                    <a:pt x="697" y="766"/>
                  </a:lnTo>
                  <a:lnTo>
                    <a:pt x="699" y="766"/>
                  </a:lnTo>
                  <a:lnTo>
                    <a:pt x="701" y="766"/>
                  </a:lnTo>
                  <a:lnTo>
                    <a:pt x="703" y="765"/>
                  </a:lnTo>
                  <a:lnTo>
                    <a:pt x="704" y="765"/>
                  </a:lnTo>
                  <a:lnTo>
                    <a:pt x="705" y="764"/>
                  </a:lnTo>
                  <a:lnTo>
                    <a:pt x="708" y="761"/>
                  </a:lnTo>
                  <a:lnTo>
                    <a:pt x="709" y="761"/>
                  </a:lnTo>
                  <a:lnTo>
                    <a:pt x="711" y="760"/>
                  </a:lnTo>
                  <a:lnTo>
                    <a:pt x="712" y="760"/>
                  </a:lnTo>
                  <a:lnTo>
                    <a:pt x="713" y="760"/>
                  </a:lnTo>
                  <a:lnTo>
                    <a:pt x="714" y="760"/>
                  </a:lnTo>
                  <a:lnTo>
                    <a:pt x="715" y="760"/>
                  </a:lnTo>
                  <a:lnTo>
                    <a:pt x="716" y="761"/>
                  </a:lnTo>
                  <a:lnTo>
                    <a:pt x="718" y="762"/>
                  </a:lnTo>
                  <a:lnTo>
                    <a:pt x="720" y="764"/>
                  </a:lnTo>
                  <a:lnTo>
                    <a:pt x="722" y="766"/>
                  </a:lnTo>
                  <a:lnTo>
                    <a:pt x="724" y="768"/>
                  </a:lnTo>
                  <a:lnTo>
                    <a:pt x="728" y="772"/>
                  </a:lnTo>
                  <a:lnTo>
                    <a:pt x="730" y="776"/>
                  </a:lnTo>
                  <a:lnTo>
                    <a:pt x="732" y="779"/>
                  </a:lnTo>
                  <a:lnTo>
                    <a:pt x="733" y="781"/>
                  </a:lnTo>
                  <a:lnTo>
                    <a:pt x="737" y="788"/>
                  </a:lnTo>
                  <a:lnTo>
                    <a:pt x="738" y="790"/>
                  </a:lnTo>
                  <a:lnTo>
                    <a:pt x="741" y="796"/>
                  </a:lnTo>
                  <a:lnTo>
                    <a:pt x="743" y="798"/>
                  </a:lnTo>
                  <a:lnTo>
                    <a:pt x="744" y="799"/>
                  </a:lnTo>
                  <a:lnTo>
                    <a:pt x="746" y="801"/>
                  </a:lnTo>
                  <a:lnTo>
                    <a:pt x="748" y="802"/>
                  </a:lnTo>
                  <a:lnTo>
                    <a:pt x="767" y="816"/>
                  </a:lnTo>
                  <a:lnTo>
                    <a:pt x="771" y="819"/>
                  </a:lnTo>
                  <a:lnTo>
                    <a:pt x="774" y="822"/>
                  </a:lnTo>
                  <a:lnTo>
                    <a:pt x="783" y="831"/>
                  </a:lnTo>
                  <a:lnTo>
                    <a:pt x="788" y="836"/>
                  </a:lnTo>
                  <a:lnTo>
                    <a:pt x="790" y="839"/>
                  </a:lnTo>
                  <a:lnTo>
                    <a:pt x="795" y="844"/>
                  </a:lnTo>
                  <a:lnTo>
                    <a:pt x="798" y="849"/>
                  </a:lnTo>
                  <a:lnTo>
                    <a:pt x="803" y="857"/>
                  </a:lnTo>
                  <a:lnTo>
                    <a:pt x="806" y="863"/>
                  </a:lnTo>
                  <a:lnTo>
                    <a:pt x="808" y="865"/>
                  </a:lnTo>
                  <a:lnTo>
                    <a:pt x="809" y="868"/>
                  </a:lnTo>
                  <a:lnTo>
                    <a:pt x="809" y="869"/>
                  </a:lnTo>
                  <a:lnTo>
                    <a:pt x="809" y="870"/>
                  </a:lnTo>
                  <a:lnTo>
                    <a:pt x="809" y="872"/>
                  </a:lnTo>
                  <a:lnTo>
                    <a:pt x="809" y="873"/>
                  </a:lnTo>
                  <a:lnTo>
                    <a:pt x="808" y="876"/>
                  </a:lnTo>
                  <a:lnTo>
                    <a:pt x="806" y="880"/>
                  </a:lnTo>
                  <a:lnTo>
                    <a:pt x="805" y="881"/>
                  </a:lnTo>
                  <a:lnTo>
                    <a:pt x="804" y="884"/>
                  </a:lnTo>
                  <a:lnTo>
                    <a:pt x="804" y="886"/>
                  </a:lnTo>
                  <a:lnTo>
                    <a:pt x="804" y="887"/>
                  </a:lnTo>
                  <a:lnTo>
                    <a:pt x="804" y="888"/>
                  </a:lnTo>
                  <a:lnTo>
                    <a:pt x="805" y="891"/>
                  </a:lnTo>
                  <a:lnTo>
                    <a:pt x="806" y="894"/>
                  </a:lnTo>
                  <a:lnTo>
                    <a:pt x="807" y="895"/>
                  </a:lnTo>
                  <a:lnTo>
                    <a:pt x="808" y="896"/>
                  </a:lnTo>
                  <a:lnTo>
                    <a:pt x="809" y="897"/>
                  </a:lnTo>
                  <a:lnTo>
                    <a:pt x="810" y="898"/>
                  </a:lnTo>
                  <a:lnTo>
                    <a:pt x="811" y="898"/>
                  </a:lnTo>
                  <a:lnTo>
                    <a:pt x="813" y="898"/>
                  </a:lnTo>
                  <a:lnTo>
                    <a:pt x="814" y="898"/>
                  </a:lnTo>
                  <a:lnTo>
                    <a:pt x="816" y="896"/>
                  </a:lnTo>
                  <a:lnTo>
                    <a:pt x="821" y="892"/>
                  </a:lnTo>
                  <a:lnTo>
                    <a:pt x="824" y="890"/>
                  </a:lnTo>
                  <a:lnTo>
                    <a:pt x="826" y="888"/>
                  </a:lnTo>
                  <a:lnTo>
                    <a:pt x="828" y="887"/>
                  </a:lnTo>
                  <a:lnTo>
                    <a:pt x="830" y="886"/>
                  </a:lnTo>
                  <a:lnTo>
                    <a:pt x="832" y="886"/>
                  </a:lnTo>
                  <a:lnTo>
                    <a:pt x="834" y="886"/>
                  </a:lnTo>
                  <a:lnTo>
                    <a:pt x="836" y="886"/>
                  </a:lnTo>
                  <a:lnTo>
                    <a:pt x="837" y="886"/>
                  </a:lnTo>
                  <a:lnTo>
                    <a:pt x="838" y="886"/>
                  </a:lnTo>
                  <a:lnTo>
                    <a:pt x="839" y="886"/>
                  </a:lnTo>
                  <a:lnTo>
                    <a:pt x="840" y="887"/>
                  </a:lnTo>
                  <a:lnTo>
                    <a:pt x="841" y="888"/>
                  </a:lnTo>
                  <a:lnTo>
                    <a:pt x="843" y="891"/>
                  </a:lnTo>
                  <a:lnTo>
                    <a:pt x="845" y="894"/>
                  </a:lnTo>
                  <a:lnTo>
                    <a:pt x="847" y="898"/>
                  </a:lnTo>
                  <a:lnTo>
                    <a:pt x="851" y="906"/>
                  </a:lnTo>
                  <a:lnTo>
                    <a:pt x="854" y="912"/>
                  </a:lnTo>
                  <a:lnTo>
                    <a:pt x="855" y="914"/>
                  </a:lnTo>
                  <a:lnTo>
                    <a:pt x="855" y="915"/>
                  </a:lnTo>
                  <a:lnTo>
                    <a:pt x="854" y="916"/>
                  </a:lnTo>
                  <a:lnTo>
                    <a:pt x="854" y="919"/>
                  </a:lnTo>
                  <a:lnTo>
                    <a:pt x="853" y="921"/>
                  </a:lnTo>
                  <a:lnTo>
                    <a:pt x="851" y="923"/>
                  </a:lnTo>
                  <a:lnTo>
                    <a:pt x="850" y="926"/>
                  </a:lnTo>
                  <a:lnTo>
                    <a:pt x="847" y="930"/>
                  </a:lnTo>
                  <a:lnTo>
                    <a:pt x="844" y="934"/>
                  </a:lnTo>
                  <a:lnTo>
                    <a:pt x="843" y="936"/>
                  </a:lnTo>
                  <a:lnTo>
                    <a:pt x="842" y="937"/>
                  </a:lnTo>
                  <a:lnTo>
                    <a:pt x="840" y="938"/>
                  </a:lnTo>
                  <a:lnTo>
                    <a:pt x="839" y="939"/>
                  </a:lnTo>
                  <a:lnTo>
                    <a:pt x="837" y="940"/>
                  </a:lnTo>
                  <a:lnTo>
                    <a:pt x="835" y="941"/>
                  </a:lnTo>
                  <a:lnTo>
                    <a:pt x="834" y="942"/>
                  </a:lnTo>
                  <a:lnTo>
                    <a:pt x="832" y="942"/>
                  </a:lnTo>
                  <a:lnTo>
                    <a:pt x="831" y="943"/>
                  </a:lnTo>
                  <a:lnTo>
                    <a:pt x="829" y="943"/>
                  </a:lnTo>
                  <a:lnTo>
                    <a:pt x="828" y="943"/>
                  </a:lnTo>
                  <a:lnTo>
                    <a:pt x="825" y="943"/>
                  </a:lnTo>
                  <a:lnTo>
                    <a:pt x="821" y="942"/>
                  </a:lnTo>
                  <a:lnTo>
                    <a:pt x="818" y="941"/>
                  </a:lnTo>
                  <a:lnTo>
                    <a:pt x="811" y="939"/>
                  </a:lnTo>
                  <a:lnTo>
                    <a:pt x="808" y="938"/>
                  </a:lnTo>
                  <a:lnTo>
                    <a:pt x="805" y="938"/>
                  </a:lnTo>
                  <a:lnTo>
                    <a:pt x="803" y="938"/>
                  </a:lnTo>
                  <a:lnTo>
                    <a:pt x="801" y="938"/>
                  </a:lnTo>
                  <a:lnTo>
                    <a:pt x="800" y="939"/>
                  </a:lnTo>
                  <a:lnTo>
                    <a:pt x="799" y="940"/>
                  </a:lnTo>
                  <a:lnTo>
                    <a:pt x="798" y="942"/>
                  </a:lnTo>
                  <a:lnTo>
                    <a:pt x="795" y="947"/>
                  </a:lnTo>
                  <a:lnTo>
                    <a:pt x="793" y="949"/>
                  </a:lnTo>
                  <a:lnTo>
                    <a:pt x="792" y="951"/>
                  </a:lnTo>
                  <a:lnTo>
                    <a:pt x="791" y="953"/>
                  </a:lnTo>
                  <a:lnTo>
                    <a:pt x="789" y="955"/>
                  </a:lnTo>
                  <a:lnTo>
                    <a:pt x="787" y="957"/>
                  </a:lnTo>
                  <a:lnTo>
                    <a:pt x="786" y="958"/>
                  </a:lnTo>
                  <a:lnTo>
                    <a:pt x="780" y="961"/>
                  </a:lnTo>
                  <a:lnTo>
                    <a:pt x="777" y="964"/>
                  </a:lnTo>
                  <a:lnTo>
                    <a:pt x="776" y="966"/>
                  </a:lnTo>
                  <a:lnTo>
                    <a:pt x="772" y="971"/>
                  </a:lnTo>
                  <a:lnTo>
                    <a:pt x="767" y="975"/>
                  </a:lnTo>
                  <a:lnTo>
                    <a:pt x="765" y="977"/>
                  </a:lnTo>
                  <a:lnTo>
                    <a:pt x="764" y="979"/>
                  </a:lnTo>
                  <a:lnTo>
                    <a:pt x="764" y="981"/>
                  </a:lnTo>
                  <a:lnTo>
                    <a:pt x="764" y="983"/>
                  </a:lnTo>
                  <a:lnTo>
                    <a:pt x="764" y="985"/>
                  </a:lnTo>
                  <a:lnTo>
                    <a:pt x="763" y="992"/>
                  </a:lnTo>
                  <a:lnTo>
                    <a:pt x="763" y="994"/>
                  </a:lnTo>
                  <a:lnTo>
                    <a:pt x="762" y="997"/>
                  </a:lnTo>
                  <a:lnTo>
                    <a:pt x="761" y="1002"/>
                  </a:lnTo>
                  <a:lnTo>
                    <a:pt x="759" y="1005"/>
                  </a:lnTo>
                  <a:lnTo>
                    <a:pt x="756" y="1013"/>
                  </a:lnTo>
                  <a:lnTo>
                    <a:pt x="753" y="1021"/>
                  </a:lnTo>
                  <a:lnTo>
                    <a:pt x="751" y="1027"/>
                  </a:lnTo>
                  <a:lnTo>
                    <a:pt x="750" y="1028"/>
                  </a:lnTo>
                  <a:lnTo>
                    <a:pt x="749" y="1030"/>
                  </a:lnTo>
                  <a:lnTo>
                    <a:pt x="747" y="1031"/>
                  </a:lnTo>
                  <a:lnTo>
                    <a:pt x="746" y="1032"/>
                  </a:lnTo>
                  <a:lnTo>
                    <a:pt x="745" y="1033"/>
                  </a:lnTo>
                  <a:lnTo>
                    <a:pt x="743" y="1034"/>
                  </a:lnTo>
                  <a:lnTo>
                    <a:pt x="741" y="1035"/>
                  </a:lnTo>
                  <a:lnTo>
                    <a:pt x="733" y="1037"/>
                  </a:lnTo>
                  <a:lnTo>
                    <a:pt x="729" y="1038"/>
                  </a:lnTo>
                  <a:lnTo>
                    <a:pt x="725" y="1038"/>
                  </a:lnTo>
                  <a:lnTo>
                    <a:pt x="722" y="1038"/>
                  </a:lnTo>
                  <a:lnTo>
                    <a:pt x="719" y="1038"/>
                  </a:lnTo>
                  <a:lnTo>
                    <a:pt x="717" y="1037"/>
                  </a:lnTo>
                  <a:lnTo>
                    <a:pt x="713" y="1036"/>
                  </a:lnTo>
                  <a:lnTo>
                    <a:pt x="710" y="1035"/>
                  </a:lnTo>
                  <a:lnTo>
                    <a:pt x="708" y="1034"/>
                  </a:lnTo>
                  <a:lnTo>
                    <a:pt x="707" y="1032"/>
                  </a:lnTo>
                  <a:lnTo>
                    <a:pt x="705" y="1031"/>
                  </a:lnTo>
                  <a:lnTo>
                    <a:pt x="703" y="1029"/>
                  </a:lnTo>
                  <a:lnTo>
                    <a:pt x="698" y="1025"/>
                  </a:lnTo>
                  <a:lnTo>
                    <a:pt x="695" y="1023"/>
                  </a:lnTo>
                  <a:lnTo>
                    <a:pt x="693" y="1020"/>
                  </a:lnTo>
                  <a:lnTo>
                    <a:pt x="689" y="1017"/>
                  </a:lnTo>
                  <a:lnTo>
                    <a:pt x="686" y="1017"/>
                  </a:lnTo>
                  <a:lnTo>
                    <a:pt x="685" y="1016"/>
                  </a:lnTo>
                  <a:lnTo>
                    <a:pt x="684" y="1016"/>
                  </a:lnTo>
                  <a:lnTo>
                    <a:pt x="681" y="1015"/>
                  </a:lnTo>
                  <a:lnTo>
                    <a:pt x="678" y="1015"/>
                  </a:lnTo>
                  <a:lnTo>
                    <a:pt x="677" y="1016"/>
                  </a:lnTo>
                  <a:lnTo>
                    <a:pt x="675" y="1017"/>
                  </a:lnTo>
                  <a:lnTo>
                    <a:pt x="673" y="1017"/>
                  </a:lnTo>
                  <a:lnTo>
                    <a:pt x="672" y="1019"/>
                  </a:lnTo>
                  <a:lnTo>
                    <a:pt x="670" y="1021"/>
                  </a:lnTo>
                  <a:lnTo>
                    <a:pt x="666" y="1026"/>
                  </a:lnTo>
                  <a:lnTo>
                    <a:pt x="665" y="1028"/>
                  </a:lnTo>
                  <a:lnTo>
                    <a:pt x="664" y="1028"/>
                  </a:lnTo>
                  <a:lnTo>
                    <a:pt x="663" y="1029"/>
                  </a:lnTo>
                  <a:lnTo>
                    <a:pt x="662" y="1029"/>
                  </a:lnTo>
                  <a:lnTo>
                    <a:pt x="661" y="1030"/>
                  </a:lnTo>
                  <a:lnTo>
                    <a:pt x="661" y="1030"/>
                  </a:lnTo>
                  <a:lnTo>
                    <a:pt x="660" y="1030"/>
                  </a:lnTo>
                  <a:lnTo>
                    <a:pt x="658" y="1030"/>
                  </a:lnTo>
                  <a:lnTo>
                    <a:pt x="656" y="1030"/>
                  </a:lnTo>
                  <a:lnTo>
                    <a:pt x="650" y="1028"/>
                  </a:lnTo>
                  <a:lnTo>
                    <a:pt x="650" y="1028"/>
                  </a:lnTo>
                  <a:lnTo>
                    <a:pt x="648" y="1028"/>
                  </a:lnTo>
                  <a:lnTo>
                    <a:pt x="646" y="1028"/>
                  </a:lnTo>
                  <a:lnTo>
                    <a:pt x="644" y="1028"/>
                  </a:lnTo>
                  <a:lnTo>
                    <a:pt x="642" y="1029"/>
                  </a:lnTo>
                  <a:lnTo>
                    <a:pt x="641" y="1029"/>
                  </a:lnTo>
                  <a:lnTo>
                    <a:pt x="640" y="1030"/>
                  </a:lnTo>
                  <a:lnTo>
                    <a:pt x="639" y="1031"/>
                  </a:lnTo>
                  <a:lnTo>
                    <a:pt x="639" y="1031"/>
                  </a:lnTo>
                  <a:lnTo>
                    <a:pt x="638" y="1032"/>
                  </a:lnTo>
                  <a:lnTo>
                    <a:pt x="638" y="1033"/>
                  </a:lnTo>
                  <a:lnTo>
                    <a:pt x="638" y="1034"/>
                  </a:lnTo>
                  <a:lnTo>
                    <a:pt x="638" y="1035"/>
                  </a:lnTo>
                  <a:lnTo>
                    <a:pt x="638" y="1037"/>
                  </a:lnTo>
                  <a:lnTo>
                    <a:pt x="639" y="1038"/>
                  </a:lnTo>
                  <a:lnTo>
                    <a:pt x="639" y="1040"/>
                  </a:lnTo>
                  <a:lnTo>
                    <a:pt x="645" y="1051"/>
                  </a:lnTo>
                  <a:lnTo>
                    <a:pt x="647" y="1056"/>
                  </a:lnTo>
                  <a:lnTo>
                    <a:pt x="648" y="1058"/>
                  </a:lnTo>
                  <a:lnTo>
                    <a:pt x="648" y="1061"/>
                  </a:lnTo>
                  <a:lnTo>
                    <a:pt x="648" y="1063"/>
                  </a:lnTo>
                  <a:lnTo>
                    <a:pt x="649" y="1065"/>
                  </a:lnTo>
                  <a:lnTo>
                    <a:pt x="648" y="1067"/>
                  </a:lnTo>
                  <a:lnTo>
                    <a:pt x="648" y="1069"/>
                  </a:lnTo>
                  <a:lnTo>
                    <a:pt x="647" y="1071"/>
                  </a:lnTo>
                  <a:lnTo>
                    <a:pt x="646" y="1073"/>
                  </a:lnTo>
                  <a:lnTo>
                    <a:pt x="644" y="1075"/>
                  </a:lnTo>
                  <a:lnTo>
                    <a:pt x="643" y="1077"/>
                  </a:lnTo>
                  <a:lnTo>
                    <a:pt x="640" y="1080"/>
                  </a:lnTo>
                  <a:lnTo>
                    <a:pt x="639" y="1082"/>
                  </a:lnTo>
                  <a:lnTo>
                    <a:pt x="638" y="1083"/>
                  </a:lnTo>
                  <a:lnTo>
                    <a:pt x="636" y="1084"/>
                  </a:lnTo>
                  <a:lnTo>
                    <a:pt x="634" y="1085"/>
                  </a:lnTo>
                  <a:lnTo>
                    <a:pt x="632" y="1085"/>
                  </a:lnTo>
                  <a:lnTo>
                    <a:pt x="630" y="1086"/>
                  </a:lnTo>
                  <a:lnTo>
                    <a:pt x="627" y="1086"/>
                  </a:lnTo>
                  <a:lnTo>
                    <a:pt x="625" y="1086"/>
                  </a:lnTo>
                  <a:lnTo>
                    <a:pt x="622" y="1087"/>
                  </a:lnTo>
                  <a:lnTo>
                    <a:pt x="620" y="1087"/>
                  </a:lnTo>
                  <a:lnTo>
                    <a:pt x="617" y="1086"/>
                  </a:lnTo>
                  <a:lnTo>
                    <a:pt x="616" y="1086"/>
                  </a:lnTo>
                  <a:lnTo>
                    <a:pt x="613" y="1085"/>
                  </a:lnTo>
                  <a:lnTo>
                    <a:pt x="611" y="1085"/>
                  </a:lnTo>
                  <a:lnTo>
                    <a:pt x="606" y="1084"/>
                  </a:lnTo>
                  <a:lnTo>
                    <a:pt x="604" y="1083"/>
                  </a:lnTo>
                  <a:lnTo>
                    <a:pt x="603" y="1082"/>
                  </a:lnTo>
                  <a:lnTo>
                    <a:pt x="600" y="1082"/>
                  </a:lnTo>
                  <a:lnTo>
                    <a:pt x="597" y="1081"/>
                  </a:lnTo>
                  <a:lnTo>
                    <a:pt x="593" y="1081"/>
                  </a:lnTo>
                  <a:lnTo>
                    <a:pt x="590" y="1081"/>
                  </a:lnTo>
                  <a:lnTo>
                    <a:pt x="586" y="1081"/>
                  </a:lnTo>
                  <a:lnTo>
                    <a:pt x="580" y="1082"/>
                  </a:lnTo>
                  <a:lnTo>
                    <a:pt x="576" y="1083"/>
                  </a:lnTo>
                  <a:lnTo>
                    <a:pt x="573" y="1083"/>
                  </a:lnTo>
                  <a:lnTo>
                    <a:pt x="569" y="1085"/>
                  </a:lnTo>
                  <a:lnTo>
                    <a:pt x="562" y="1086"/>
                  </a:lnTo>
                  <a:lnTo>
                    <a:pt x="556" y="1087"/>
                  </a:lnTo>
                  <a:lnTo>
                    <a:pt x="553" y="1088"/>
                  </a:lnTo>
                  <a:lnTo>
                    <a:pt x="552" y="1089"/>
                  </a:lnTo>
                  <a:lnTo>
                    <a:pt x="551" y="1090"/>
                  </a:lnTo>
                  <a:lnTo>
                    <a:pt x="550" y="1091"/>
                  </a:lnTo>
                  <a:lnTo>
                    <a:pt x="549" y="1092"/>
                  </a:lnTo>
                  <a:lnTo>
                    <a:pt x="549" y="1093"/>
                  </a:lnTo>
                  <a:lnTo>
                    <a:pt x="549" y="1095"/>
                  </a:lnTo>
                  <a:lnTo>
                    <a:pt x="548" y="1097"/>
                  </a:lnTo>
                  <a:lnTo>
                    <a:pt x="548" y="1103"/>
                  </a:lnTo>
                  <a:lnTo>
                    <a:pt x="547" y="1107"/>
                  </a:lnTo>
                  <a:lnTo>
                    <a:pt x="547" y="1108"/>
                  </a:lnTo>
                  <a:lnTo>
                    <a:pt x="546" y="1110"/>
                  </a:lnTo>
                  <a:lnTo>
                    <a:pt x="544" y="1113"/>
                  </a:lnTo>
                  <a:lnTo>
                    <a:pt x="543" y="1115"/>
                  </a:lnTo>
                  <a:lnTo>
                    <a:pt x="541" y="1119"/>
                  </a:lnTo>
                  <a:lnTo>
                    <a:pt x="538" y="1121"/>
                  </a:lnTo>
                  <a:lnTo>
                    <a:pt x="536" y="1124"/>
                  </a:lnTo>
                  <a:lnTo>
                    <a:pt x="535" y="1126"/>
                  </a:lnTo>
                  <a:lnTo>
                    <a:pt x="533" y="1128"/>
                  </a:lnTo>
                  <a:lnTo>
                    <a:pt x="531" y="1130"/>
                  </a:lnTo>
                  <a:lnTo>
                    <a:pt x="528" y="1131"/>
                  </a:lnTo>
                  <a:lnTo>
                    <a:pt x="526" y="1132"/>
                  </a:lnTo>
                  <a:lnTo>
                    <a:pt x="525" y="1133"/>
                  </a:lnTo>
                  <a:lnTo>
                    <a:pt x="524" y="1133"/>
                  </a:lnTo>
                  <a:lnTo>
                    <a:pt x="522" y="1133"/>
                  </a:lnTo>
                  <a:lnTo>
                    <a:pt x="520" y="1132"/>
                  </a:lnTo>
                  <a:lnTo>
                    <a:pt x="517" y="1130"/>
                  </a:lnTo>
                  <a:lnTo>
                    <a:pt x="510" y="1125"/>
                  </a:lnTo>
                  <a:lnTo>
                    <a:pt x="507" y="1122"/>
                  </a:lnTo>
                  <a:lnTo>
                    <a:pt x="504" y="1120"/>
                  </a:lnTo>
                  <a:lnTo>
                    <a:pt x="502" y="1119"/>
                  </a:lnTo>
                  <a:lnTo>
                    <a:pt x="500" y="1119"/>
                  </a:lnTo>
                  <a:lnTo>
                    <a:pt x="498" y="1118"/>
                  </a:lnTo>
                  <a:lnTo>
                    <a:pt x="495" y="1117"/>
                  </a:lnTo>
                  <a:lnTo>
                    <a:pt x="492" y="1117"/>
                  </a:lnTo>
                  <a:lnTo>
                    <a:pt x="490" y="1116"/>
                  </a:lnTo>
                  <a:lnTo>
                    <a:pt x="485" y="1116"/>
                  </a:lnTo>
                  <a:lnTo>
                    <a:pt x="479" y="1115"/>
                  </a:lnTo>
                  <a:lnTo>
                    <a:pt x="476" y="1114"/>
                  </a:lnTo>
                  <a:lnTo>
                    <a:pt x="469" y="1111"/>
                  </a:lnTo>
                  <a:lnTo>
                    <a:pt x="466" y="1110"/>
                  </a:lnTo>
                  <a:lnTo>
                    <a:pt x="463" y="1110"/>
                  </a:lnTo>
                  <a:lnTo>
                    <a:pt x="459" y="1109"/>
                  </a:lnTo>
                  <a:lnTo>
                    <a:pt x="453" y="1109"/>
                  </a:lnTo>
                  <a:lnTo>
                    <a:pt x="451" y="1108"/>
                  </a:lnTo>
                  <a:lnTo>
                    <a:pt x="450" y="1108"/>
                  </a:lnTo>
                  <a:lnTo>
                    <a:pt x="449" y="1107"/>
                  </a:lnTo>
                  <a:lnTo>
                    <a:pt x="448" y="1107"/>
                  </a:lnTo>
                  <a:lnTo>
                    <a:pt x="447" y="1106"/>
                  </a:lnTo>
                  <a:lnTo>
                    <a:pt x="446" y="1104"/>
                  </a:lnTo>
                  <a:lnTo>
                    <a:pt x="445" y="1102"/>
                  </a:lnTo>
                  <a:lnTo>
                    <a:pt x="445" y="1099"/>
                  </a:lnTo>
                  <a:lnTo>
                    <a:pt x="444" y="1092"/>
                  </a:lnTo>
                  <a:lnTo>
                    <a:pt x="444" y="1089"/>
                  </a:lnTo>
                  <a:lnTo>
                    <a:pt x="444" y="1088"/>
                  </a:lnTo>
                  <a:lnTo>
                    <a:pt x="443" y="1086"/>
                  </a:lnTo>
                  <a:lnTo>
                    <a:pt x="441" y="1085"/>
                  </a:lnTo>
                  <a:lnTo>
                    <a:pt x="440" y="1084"/>
                  </a:lnTo>
                  <a:lnTo>
                    <a:pt x="439" y="1083"/>
                  </a:lnTo>
                  <a:lnTo>
                    <a:pt x="438" y="1082"/>
                  </a:lnTo>
                  <a:lnTo>
                    <a:pt x="436" y="1082"/>
                  </a:lnTo>
                  <a:lnTo>
                    <a:pt x="435" y="1082"/>
                  </a:lnTo>
                  <a:lnTo>
                    <a:pt x="434" y="1082"/>
                  </a:lnTo>
                  <a:lnTo>
                    <a:pt x="432" y="1083"/>
                  </a:lnTo>
                  <a:lnTo>
                    <a:pt x="430" y="1084"/>
                  </a:lnTo>
                  <a:lnTo>
                    <a:pt x="429" y="1084"/>
                  </a:lnTo>
                  <a:lnTo>
                    <a:pt x="428" y="1085"/>
                  </a:lnTo>
                  <a:lnTo>
                    <a:pt x="427" y="1085"/>
                  </a:lnTo>
                  <a:lnTo>
                    <a:pt x="426" y="1087"/>
                  </a:lnTo>
                  <a:lnTo>
                    <a:pt x="424" y="1090"/>
                  </a:lnTo>
                  <a:lnTo>
                    <a:pt x="418" y="1100"/>
                  </a:lnTo>
                  <a:lnTo>
                    <a:pt x="416" y="1104"/>
                  </a:lnTo>
                  <a:lnTo>
                    <a:pt x="415" y="1106"/>
                  </a:lnTo>
                  <a:lnTo>
                    <a:pt x="414" y="1109"/>
                  </a:lnTo>
                  <a:lnTo>
                    <a:pt x="414" y="1112"/>
                  </a:lnTo>
                  <a:lnTo>
                    <a:pt x="414" y="1115"/>
                  </a:lnTo>
                  <a:lnTo>
                    <a:pt x="414" y="1119"/>
                  </a:lnTo>
                  <a:lnTo>
                    <a:pt x="415" y="1121"/>
                  </a:lnTo>
                  <a:lnTo>
                    <a:pt x="416" y="1125"/>
                  </a:lnTo>
                  <a:lnTo>
                    <a:pt x="417" y="1129"/>
                  </a:lnTo>
                  <a:lnTo>
                    <a:pt x="418" y="1132"/>
                  </a:lnTo>
                  <a:lnTo>
                    <a:pt x="421" y="1138"/>
                  </a:lnTo>
                  <a:lnTo>
                    <a:pt x="423" y="1144"/>
                  </a:lnTo>
                  <a:lnTo>
                    <a:pt x="424" y="1146"/>
                  </a:lnTo>
                  <a:lnTo>
                    <a:pt x="424" y="1148"/>
                  </a:lnTo>
                  <a:lnTo>
                    <a:pt x="425" y="1150"/>
                  </a:lnTo>
                  <a:lnTo>
                    <a:pt x="425" y="1153"/>
                  </a:lnTo>
                  <a:lnTo>
                    <a:pt x="425" y="1155"/>
                  </a:lnTo>
                  <a:lnTo>
                    <a:pt x="424" y="1157"/>
                  </a:lnTo>
                  <a:lnTo>
                    <a:pt x="423" y="1158"/>
                  </a:lnTo>
                  <a:lnTo>
                    <a:pt x="423" y="1159"/>
                  </a:lnTo>
                  <a:lnTo>
                    <a:pt x="422" y="1161"/>
                  </a:lnTo>
                  <a:lnTo>
                    <a:pt x="421" y="1163"/>
                  </a:lnTo>
                  <a:lnTo>
                    <a:pt x="414" y="1168"/>
                  </a:lnTo>
                  <a:lnTo>
                    <a:pt x="410" y="1173"/>
                  </a:lnTo>
                  <a:lnTo>
                    <a:pt x="407" y="1175"/>
                  </a:lnTo>
                  <a:lnTo>
                    <a:pt x="405" y="1176"/>
                  </a:lnTo>
                  <a:lnTo>
                    <a:pt x="403" y="1178"/>
                  </a:lnTo>
                  <a:lnTo>
                    <a:pt x="400" y="1181"/>
                  </a:lnTo>
                  <a:lnTo>
                    <a:pt x="396" y="1189"/>
                  </a:lnTo>
                  <a:lnTo>
                    <a:pt x="391" y="1195"/>
                  </a:lnTo>
                  <a:lnTo>
                    <a:pt x="387" y="1201"/>
                  </a:lnTo>
                  <a:lnTo>
                    <a:pt x="383" y="1205"/>
                  </a:lnTo>
                  <a:lnTo>
                    <a:pt x="381" y="1208"/>
                  </a:lnTo>
                  <a:lnTo>
                    <a:pt x="379" y="1209"/>
                  </a:lnTo>
                  <a:lnTo>
                    <a:pt x="378" y="1209"/>
                  </a:lnTo>
                  <a:lnTo>
                    <a:pt x="377" y="1211"/>
                  </a:lnTo>
                  <a:lnTo>
                    <a:pt x="374" y="1212"/>
                  </a:lnTo>
                  <a:lnTo>
                    <a:pt x="372" y="1213"/>
                  </a:lnTo>
                  <a:lnTo>
                    <a:pt x="370" y="1214"/>
                  </a:lnTo>
                  <a:lnTo>
                    <a:pt x="368" y="1214"/>
                  </a:lnTo>
                  <a:lnTo>
                    <a:pt x="366" y="1215"/>
                  </a:lnTo>
                  <a:lnTo>
                    <a:pt x="364" y="1215"/>
                  </a:lnTo>
                  <a:lnTo>
                    <a:pt x="355" y="1215"/>
                  </a:lnTo>
                  <a:lnTo>
                    <a:pt x="353" y="1215"/>
                  </a:lnTo>
                  <a:lnTo>
                    <a:pt x="343" y="1217"/>
                  </a:lnTo>
                  <a:lnTo>
                    <a:pt x="337" y="1218"/>
                  </a:lnTo>
                  <a:lnTo>
                    <a:pt x="334" y="1219"/>
                  </a:lnTo>
                  <a:lnTo>
                    <a:pt x="320" y="1221"/>
                  </a:lnTo>
                  <a:lnTo>
                    <a:pt x="317" y="1222"/>
                  </a:lnTo>
                  <a:lnTo>
                    <a:pt x="311" y="1222"/>
                  </a:lnTo>
                  <a:lnTo>
                    <a:pt x="309" y="1222"/>
                  </a:lnTo>
                  <a:lnTo>
                    <a:pt x="308" y="1223"/>
                  </a:lnTo>
                  <a:lnTo>
                    <a:pt x="307" y="1224"/>
                  </a:lnTo>
                  <a:lnTo>
                    <a:pt x="305" y="1225"/>
                  </a:lnTo>
                  <a:lnTo>
                    <a:pt x="302" y="1228"/>
                  </a:lnTo>
                  <a:lnTo>
                    <a:pt x="299" y="1230"/>
                  </a:lnTo>
                  <a:lnTo>
                    <a:pt x="298" y="1232"/>
                  </a:lnTo>
                  <a:lnTo>
                    <a:pt x="297" y="1233"/>
                  </a:lnTo>
                  <a:lnTo>
                    <a:pt x="293" y="1239"/>
                  </a:lnTo>
                  <a:lnTo>
                    <a:pt x="291" y="1241"/>
                  </a:lnTo>
                  <a:lnTo>
                    <a:pt x="290" y="1243"/>
                  </a:lnTo>
                  <a:lnTo>
                    <a:pt x="288" y="1243"/>
                  </a:lnTo>
                  <a:lnTo>
                    <a:pt x="287" y="1244"/>
                  </a:lnTo>
                  <a:lnTo>
                    <a:pt x="286" y="1245"/>
                  </a:lnTo>
                  <a:lnTo>
                    <a:pt x="285" y="1245"/>
                  </a:lnTo>
                  <a:lnTo>
                    <a:pt x="284" y="1245"/>
                  </a:lnTo>
                  <a:lnTo>
                    <a:pt x="283" y="1245"/>
                  </a:lnTo>
                  <a:lnTo>
                    <a:pt x="282" y="1245"/>
                  </a:lnTo>
                  <a:lnTo>
                    <a:pt x="281" y="1245"/>
                  </a:lnTo>
                  <a:lnTo>
                    <a:pt x="281" y="1244"/>
                  </a:lnTo>
                  <a:lnTo>
                    <a:pt x="281" y="1243"/>
                  </a:lnTo>
                  <a:lnTo>
                    <a:pt x="279" y="1241"/>
                  </a:lnTo>
                  <a:lnTo>
                    <a:pt x="275" y="1229"/>
                  </a:lnTo>
                  <a:lnTo>
                    <a:pt x="271" y="1220"/>
                  </a:lnTo>
                  <a:lnTo>
                    <a:pt x="270" y="1216"/>
                  </a:lnTo>
                  <a:lnTo>
                    <a:pt x="268" y="1210"/>
                  </a:lnTo>
                  <a:lnTo>
                    <a:pt x="263" y="1197"/>
                  </a:lnTo>
                  <a:lnTo>
                    <a:pt x="263" y="1194"/>
                  </a:lnTo>
                  <a:lnTo>
                    <a:pt x="262" y="1191"/>
                  </a:lnTo>
                  <a:lnTo>
                    <a:pt x="261" y="1189"/>
                  </a:lnTo>
                  <a:lnTo>
                    <a:pt x="260" y="1187"/>
                  </a:lnTo>
                  <a:lnTo>
                    <a:pt x="259" y="1187"/>
                  </a:lnTo>
                  <a:lnTo>
                    <a:pt x="256" y="1184"/>
                  </a:lnTo>
                  <a:lnTo>
                    <a:pt x="249" y="1178"/>
                  </a:lnTo>
                  <a:lnTo>
                    <a:pt x="245" y="1175"/>
                  </a:lnTo>
                  <a:lnTo>
                    <a:pt x="242" y="1174"/>
                  </a:lnTo>
                  <a:lnTo>
                    <a:pt x="239" y="1172"/>
                  </a:lnTo>
                  <a:lnTo>
                    <a:pt x="234" y="1170"/>
                  </a:lnTo>
                  <a:lnTo>
                    <a:pt x="230" y="1168"/>
                  </a:lnTo>
                  <a:lnTo>
                    <a:pt x="223" y="1166"/>
                  </a:lnTo>
                  <a:lnTo>
                    <a:pt x="216" y="1164"/>
                  </a:lnTo>
                  <a:lnTo>
                    <a:pt x="212" y="1162"/>
                  </a:lnTo>
                  <a:lnTo>
                    <a:pt x="207" y="1160"/>
                  </a:lnTo>
                  <a:lnTo>
                    <a:pt x="203" y="1158"/>
                  </a:lnTo>
                  <a:lnTo>
                    <a:pt x="198" y="1155"/>
                  </a:lnTo>
                  <a:lnTo>
                    <a:pt x="195" y="1153"/>
                  </a:lnTo>
                  <a:lnTo>
                    <a:pt x="194" y="1153"/>
                  </a:lnTo>
                  <a:lnTo>
                    <a:pt x="192" y="1152"/>
                  </a:lnTo>
                  <a:lnTo>
                    <a:pt x="191" y="1150"/>
                  </a:lnTo>
                  <a:lnTo>
                    <a:pt x="190" y="1149"/>
                  </a:lnTo>
                  <a:lnTo>
                    <a:pt x="190" y="1148"/>
                  </a:lnTo>
                  <a:lnTo>
                    <a:pt x="189" y="1147"/>
                  </a:lnTo>
                  <a:lnTo>
                    <a:pt x="189" y="1146"/>
                  </a:lnTo>
                  <a:lnTo>
                    <a:pt x="189" y="1144"/>
                  </a:lnTo>
                  <a:lnTo>
                    <a:pt x="190" y="1139"/>
                  </a:lnTo>
                  <a:lnTo>
                    <a:pt x="192" y="1132"/>
                  </a:lnTo>
                  <a:lnTo>
                    <a:pt x="194" y="1123"/>
                  </a:lnTo>
                  <a:lnTo>
                    <a:pt x="195" y="1120"/>
                  </a:lnTo>
                  <a:lnTo>
                    <a:pt x="195" y="1116"/>
                  </a:lnTo>
                  <a:lnTo>
                    <a:pt x="195" y="1112"/>
                  </a:lnTo>
                  <a:lnTo>
                    <a:pt x="195" y="1108"/>
                  </a:lnTo>
                  <a:lnTo>
                    <a:pt x="195" y="1106"/>
                  </a:lnTo>
                  <a:lnTo>
                    <a:pt x="195" y="1102"/>
                  </a:lnTo>
                  <a:lnTo>
                    <a:pt x="194" y="1101"/>
                  </a:lnTo>
                  <a:lnTo>
                    <a:pt x="194" y="1100"/>
                  </a:lnTo>
                  <a:lnTo>
                    <a:pt x="193" y="1099"/>
                  </a:lnTo>
                  <a:lnTo>
                    <a:pt x="192" y="1098"/>
                  </a:lnTo>
                  <a:lnTo>
                    <a:pt x="191" y="1098"/>
                  </a:lnTo>
                  <a:lnTo>
                    <a:pt x="190" y="1099"/>
                  </a:lnTo>
                  <a:lnTo>
                    <a:pt x="189" y="1101"/>
                  </a:lnTo>
                  <a:lnTo>
                    <a:pt x="187" y="1105"/>
                  </a:lnTo>
                  <a:lnTo>
                    <a:pt x="185" y="1106"/>
                  </a:lnTo>
                  <a:lnTo>
                    <a:pt x="184" y="1107"/>
                  </a:lnTo>
                  <a:lnTo>
                    <a:pt x="184" y="1107"/>
                  </a:lnTo>
                  <a:lnTo>
                    <a:pt x="182" y="1107"/>
                  </a:lnTo>
                  <a:lnTo>
                    <a:pt x="181" y="1107"/>
                  </a:lnTo>
                  <a:lnTo>
                    <a:pt x="180" y="1107"/>
                  </a:lnTo>
                  <a:lnTo>
                    <a:pt x="179" y="1107"/>
                  </a:lnTo>
                  <a:lnTo>
                    <a:pt x="178" y="1107"/>
                  </a:lnTo>
                  <a:lnTo>
                    <a:pt x="176" y="1106"/>
                  </a:lnTo>
                  <a:lnTo>
                    <a:pt x="175" y="1104"/>
                  </a:lnTo>
                  <a:lnTo>
                    <a:pt x="173" y="1103"/>
                  </a:lnTo>
                  <a:lnTo>
                    <a:pt x="172" y="1100"/>
                  </a:lnTo>
                  <a:lnTo>
                    <a:pt x="170" y="1097"/>
                  </a:lnTo>
                  <a:lnTo>
                    <a:pt x="167" y="1095"/>
                  </a:lnTo>
                  <a:lnTo>
                    <a:pt x="166" y="1093"/>
                  </a:lnTo>
                  <a:lnTo>
                    <a:pt x="165" y="1091"/>
                  </a:lnTo>
                  <a:lnTo>
                    <a:pt x="161" y="1085"/>
                  </a:lnTo>
                  <a:lnTo>
                    <a:pt x="161" y="1083"/>
                  </a:lnTo>
                  <a:lnTo>
                    <a:pt x="160" y="1082"/>
                  </a:lnTo>
                  <a:lnTo>
                    <a:pt x="159" y="1080"/>
                  </a:lnTo>
                  <a:lnTo>
                    <a:pt x="158" y="1079"/>
                  </a:lnTo>
                  <a:lnTo>
                    <a:pt x="153" y="1074"/>
                  </a:lnTo>
                  <a:lnTo>
                    <a:pt x="151" y="1073"/>
                  </a:lnTo>
                  <a:lnTo>
                    <a:pt x="150" y="1071"/>
                  </a:lnTo>
                  <a:lnTo>
                    <a:pt x="149" y="1069"/>
                  </a:lnTo>
                  <a:lnTo>
                    <a:pt x="148" y="1067"/>
                  </a:lnTo>
                  <a:lnTo>
                    <a:pt x="147" y="1064"/>
                  </a:lnTo>
                  <a:lnTo>
                    <a:pt x="145" y="1057"/>
                  </a:lnTo>
                  <a:lnTo>
                    <a:pt x="142" y="1049"/>
                  </a:lnTo>
                  <a:lnTo>
                    <a:pt x="140" y="1042"/>
                  </a:lnTo>
                  <a:lnTo>
                    <a:pt x="138" y="1039"/>
                  </a:lnTo>
                  <a:lnTo>
                    <a:pt x="138" y="1037"/>
                  </a:lnTo>
                  <a:lnTo>
                    <a:pt x="136" y="1035"/>
                  </a:lnTo>
                  <a:lnTo>
                    <a:pt x="134" y="1031"/>
                  </a:lnTo>
                  <a:lnTo>
                    <a:pt x="132" y="1030"/>
                  </a:lnTo>
                  <a:lnTo>
                    <a:pt x="131" y="1028"/>
                  </a:lnTo>
                  <a:lnTo>
                    <a:pt x="129" y="1025"/>
                  </a:lnTo>
                  <a:lnTo>
                    <a:pt x="128" y="1023"/>
                  </a:lnTo>
                  <a:lnTo>
                    <a:pt x="127" y="1021"/>
                  </a:lnTo>
                  <a:lnTo>
                    <a:pt x="123" y="1017"/>
                  </a:lnTo>
                  <a:lnTo>
                    <a:pt x="121" y="1015"/>
                  </a:lnTo>
                  <a:lnTo>
                    <a:pt x="119" y="1011"/>
                  </a:lnTo>
                  <a:lnTo>
                    <a:pt x="116" y="1006"/>
                  </a:lnTo>
                  <a:lnTo>
                    <a:pt x="116" y="1005"/>
                  </a:lnTo>
                  <a:lnTo>
                    <a:pt x="114" y="1002"/>
                  </a:lnTo>
                  <a:lnTo>
                    <a:pt x="111" y="999"/>
                  </a:lnTo>
                  <a:lnTo>
                    <a:pt x="109" y="996"/>
                  </a:lnTo>
                  <a:lnTo>
                    <a:pt x="107" y="995"/>
                  </a:lnTo>
                  <a:lnTo>
                    <a:pt x="105" y="994"/>
                  </a:lnTo>
                  <a:lnTo>
                    <a:pt x="104" y="994"/>
                  </a:lnTo>
                  <a:lnTo>
                    <a:pt x="103" y="993"/>
                  </a:lnTo>
                  <a:lnTo>
                    <a:pt x="98" y="992"/>
                  </a:lnTo>
                  <a:lnTo>
                    <a:pt x="91" y="989"/>
                  </a:lnTo>
                  <a:lnTo>
                    <a:pt x="87" y="988"/>
                  </a:lnTo>
                  <a:lnTo>
                    <a:pt x="84" y="988"/>
                  </a:lnTo>
                  <a:lnTo>
                    <a:pt x="82" y="988"/>
                  </a:lnTo>
                  <a:lnTo>
                    <a:pt x="79" y="988"/>
                  </a:lnTo>
                  <a:lnTo>
                    <a:pt x="77" y="989"/>
                  </a:lnTo>
                  <a:lnTo>
                    <a:pt x="72" y="990"/>
                  </a:lnTo>
                  <a:lnTo>
                    <a:pt x="69" y="992"/>
                  </a:lnTo>
                  <a:lnTo>
                    <a:pt x="64" y="994"/>
                  </a:lnTo>
                  <a:lnTo>
                    <a:pt x="60" y="996"/>
                  </a:lnTo>
                  <a:lnTo>
                    <a:pt x="58" y="998"/>
                  </a:lnTo>
                  <a:lnTo>
                    <a:pt x="54" y="1002"/>
                  </a:lnTo>
                  <a:lnTo>
                    <a:pt x="50" y="1006"/>
                  </a:lnTo>
                  <a:lnTo>
                    <a:pt x="49" y="1007"/>
                  </a:lnTo>
                  <a:lnTo>
                    <a:pt x="49" y="1008"/>
                  </a:lnTo>
                  <a:lnTo>
                    <a:pt x="48" y="1008"/>
                  </a:lnTo>
                  <a:lnTo>
                    <a:pt x="48" y="1009"/>
                  </a:lnTo>
                  <a:lnTo>
                    <a:pt x="48" y="1010"/>
                  </a:lnTo>
                  <a:lnTo>
                    <a:pt x="49" y="1011"/>
                  </a:lnTo>
                  <a:lnTo>
                    <a:pt x="50" y="1013"/>
                  </a:lnTo>
                  <a:lnTo>
                    <a:pt x="51" y="1015"/>
                  </a:lnTo>
                  <a:lnTo>
                    <a:pt x="52" y="1017"/>
                  </a:lnTo>
                  <a:lnTo>
                    <a:pt x="53" y="1017"/>
                  </a:lnTo>
                  <a:lnTo>
                    <a:pt x="54" y="1019"/>
                  </a:lnTo>
                  <a:lnTo>
                    <a:pt x="55" y="1020"/>
                  </a:lnTo>
                  <a:lnTo>
                    <a:pt x="68" y="1032"/>
                  </a:lnTo>
                  <a:lnTo>
                    <a:pt x="70" y="1034"/>
                  </a:lnTo>
                  <a:lnTo>
                    <a:pt x="70" y="1036"/>
                  </a:lnTo>
                  <a:lnTo>
                    <a:pt x="71" y="1038"/>
                  </a:lnTo>
                  <a:lnTo>
                    <a:pt x="72" y="1039"/>
                  </a:lnTo>
                  <a:lnTo>
                    <a:pt x="74" y="1044"/>
                  </a:lnTo>
                  <a:lnTo>
                    <a:pt x="74" y="1046"/>
                  </a:lnTo>
                  <a:lnTo>
                    <a:pt x="75" y="1048"/>
                  </a:lnTo>
                  <a:lnTo>
                    <a:pt x="79" y="1052"/>
                  </a:lnTo>
                  <a:lnTo>
                    <a:pt x="80" y="1055"/>
                  </a:lnTo>
                  <a:lnTo>
                    <a:pt x="81" y="1057"/>
                  </a:lnTo>
                  <a:lnTo>
                    <a:pt x="81" y="1060"/>
                  </a:lnTo>
                  <a:lnTo>
                    <a:pt x="81" y="1062"/>
                  </a:lnTo>
                  <a:lnTo>
                    <a:pt x="81" y="1063"/>
                  </a:lnTo>
                  <a:lnTo>
                    <a:pt x="81" y="1065"/>
                  </a:lnTo>
                  <a:lnTo>
                    <a:pt x="81" y="1067"/>
                  </a:lnTo>
                  <a:lnTo>
                    <a:pt x="81" y="1068"/>
                  </a:lnTo>
                  <a:lnTo>
                    <a:pt x="81" y="1070"/>
                  </a:lnTo>
                  <a:lnTo>
                    <a:pt x="80" y="1072"/>
                  </a:lnTo>
                  <a:lnTo>
                    <a:pt x="77" y="1076"/>
                  </a:lnTo>
                  <a:lnTo>
                    <a:pt x="74" y="1080"/>
                  </a:lnTo>
                  <a:lnTo>
                    <a:pt x="72" y="1085"/>
                  </a:lnTo>
                  <a:lnTo>
                    <a:pt x="70" y="1092"/>
                  </a:lnTo>
                  <a:lnTo>
                    <a:pt x="68" y="1096"/>
                  </a:lnTo>
                  <a:lnTo>
                    <a:pt x="66" y="1098"/>
                  </a:lnTo>
                  <a:lnTo>
                    <a:pt x="64" y="1101"/>
                  </a:lnTo>
                  <a:lnTo>
                    <a:pt x="62" y="1103"/>
                  </a:lnTo>
                  <a:lnTo>
                    <a:pt x="59" y="1106"/>
                  </a:lnTo>
                  <a:lnTo>
                    <a:pt x="56" y="1109"/>
                  </a:lnTo>
                  <a:lnTo>
                    <a:pt x="53" y="1112"/>
                  </a:lnTo>
                  <a:lnTo>
                    <a:pt x="50" y="1114"/>
                  </a:lnTo>
                  <a:lnTo>
                    <a:pt x="47" y="1116"/>
                  </a:lnTo>
                  <a:lnTo>
                    <a:pt x="46" y="1116"/>
                  </a:lnTo>
                  <a:lnTo>
                    <a:pt x="44" y="1117"/>
                  </a:lnTo>
                  <a:lnTo>
                    <a:pt x="41" y="1117"/>
                  </a:lnTo>
                  <a:lnTo>
                    <a:pt x="38" y="1116"/>
                  </a:lnTo>
                  <a:lnTo>
                    <a:pt x="35" y="1115"/>
                  </a:lnTo>
                  <a:lnTo>
                    <a:pt x="31" y="1113"/>
                  </a:lnTo>
                  <a:lnTo>
                    <a:pt x="27" y="1111"/>
                  </a:lnTo>
                  <a:lnTo>
                    <a:pt x="23" y="1108"/>
                  </a:lnTo>
                  <a:lnTo>
                    <a:pt x="13" y="1103"/>
                  </a:lnTo>
                  <a:lnTo>
                    <a:pt x="9" y="1099"/>
                  </a:lnTo>
                  <a:lnTo>
                    <a:pt x="8" y="1097"/>
                  </a:lnTo>
                  <a:lnTo>
                    <a:pt x="6" y="1096"/>
                  </a:lnTo>
                  <a:lnTo>
                    <a:pt x="3" y="1093"/>
                  </a:lnTo>
                  <a:lnTo>
                    <a:pt x="2" y="1090"/>
                  </a:lnTo>
                  <a:lnTo>
                    <a:pt x="1" y="1089"/>
                  </a:lnTo>
                  <a:lnTo>
                    <a:pt x="1" y="1087"/>
                  </a:lnTo>
                  <a:lnTo>
                    <a:pt x="0" y="1086"/>
                  </a:lnTo>
                  <a:lnTo>
                    <a:pt x="0" y="1085"/>
                  </a:lnTo>
                  <a:lnTo>
                    <a:pt x="0" y="1083"/>
                  </a:lnTo>
                  <a:lnTo>
                    <a:pt x="0" y="1081"/>
                  </a:lnTo>
                  <a:lnTo>
                    <a:pt x="1" y="1079"/>
                  </a:lnTo>
                  <a:lnTo>
                    <a:pt x="1" y="1077"/>
                  </a:lnTo>
                  <a:lnTo>
                    <a:pt x="2" y="1075"/>
                  </a:lnTo>
                  <a:lnTo>
                    <a:pt x="2" y="1074"/>
                  </a:lnTo>
                  <a:lnTo>
                    <a:pt x="3" y="1073"/>
                  </a:lnTo>
                  <a:lnTo>
                    <a:pt x="5" y="1071"/>
                  </a:lnTo>
                  <a:lnTo>
                    <a:pt x="11" y="1066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2" name="Freeform 105">
              <a:extLst>
                <a:ext uri="{FF2B5EF4-FFF2-40B4-BE49-F238E27FC236}">
                  <a16:creationId xmlns:a16="http://schemas.microsoft.com/office/drawing/2014/main" id="{E0FB7679-86C0-4755-8720-B3F88EDAE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1677"/>
              <a:ext cx="429" cy="1205"/>
            </a:xfrm>
            <a:custGeom>
              <a:avLst/>
              <a:gdLst>
                <a:gd name="T0" fmla="*/ 91 w 429"/>
                <a:gd name="T1" fmla="*/ 1196 h 1205"/>
                <a:gd name="T2" fmla="*/ 76 w 429"/>
                <a:gd name="T3" fmla="*/ 1170 h 1205"/>
                <a:gd name="T4" fmla="*/ 67 w 429"/>
                <a:gd name="T5" fmla="*/ 1127 h 1205"/>
                <a:gd name="T6" fmla="*/ 80 w 429"/>
                <a:gd name="T7" fmla="*/ 1095 h 1205"/>
                <a:gd name="T8" fmla="*/ 90 w 429"/>
                <a:gd name="T9" fmla="*/ 1086 h 1205"/>
                <a:gd name="T10" fmla="*/ 62 w 429"/>
                <a:gd name="T11" fmla="*/ 1080 h 1205"/>
                <a:gd name="T12" fmla="*/ 32 w 429"/>
                <a:gd name="T13" fmla="*/ 1069 h 1205"/>
                <a:gd name="T14" fmla="*/ 30 w 429"/>
                <a:gd name="T15" fmla="*/ 1043 h 1205"/>
                <a:gd name="T16" fmla="*/ 34 w 429"/>
                <a:gd name="T17" fmla="*/ 1030 h 1205"/>
                <a:gd name="T18" fmla="*/ 62 w 429"/>
                <a:gd name="T19" fmla="*/ 1032 h 1205"/>
                <a:gd name="T20" fmla="*/ 69 w 429"/>
                <a:gd name="T21" fmla="*/ 1018 h 1205"/>
                <a:gd name="T22" fmla="*/ 75 w 429"/>
                <a:gd name="T23" fmla="*/ 999 h 1205"/>
                <a:gd name="T24" fmla="*/ 77 w 429"/>
                <a:gd name="T25" fmla="*/ 963 h 1205"/>
                <a:gd name="T26" fmla="*/ 77 w 429"/>
                <a:gd name="T27" fmla="*/ 941 h 1205"/>
                <a:gd name="T28" fmla="*/ 98 w 429"/>
                <a:gd name="T29" fmla="*/ 912 h 1205"/>
                <a:gd name="T30" fmla="*/ 103 w 429"/>
                <a:gd name="T31" fmla="*/ 884 h 1205"/>
                <a:gd name="T32" fmla="*/ 94 w 429"/>
                <a:gd name="T33" fmla="*/ 861 h 1205"/>
                <a:gd name="T34" fmla="*/ 71 w 429"/>
                <a:gd name="T35" fmla="*/ 853 h 1205"/>
                <a:gd name="T36" fmla="*/ 67 w 429"/>
                <a:gd name="T37" fmla="*/ 847 h 1205"/>
                <a:gd name="T38" fmla="*/ 67 w 429"/>
                <a:gd name="T39" fmla="*/ 822 h 1205"/>
                <a:gd name="T40" fmla="*/ 59 w 429"/>
                <a:gd name="T41" fmla="*/ 801 h 1205"/>
                <a:gd name="T42" fmla="*/ 34 w 429"/>
                <a:gd name="T43" fmla="*/ 764 h 1205"/>
                <a:gd name="T44" fmla="*/ 19 w 429"/>
                <a:gd name="T45" fmla="*/ 732 h 1205"/>
                <a:gd name="T46" fmla="*/ 18 w 429"/>
                <a:gd name="T47" fmla="*/ 709 h 1205"/>
                <a:gd name="T48" fmla="*/ 31 w 429"/>
                <a:gd name="T49" fmla="*/ 686 h 1205"/>
                <a:gd name="T50" fmla="*/ 29 w 429"/>
                <a:gd name="T51" fmla="*/ 657 h 1205"/>
                <a:gd name="T52" fmla="*/ 14 w 429"/>
                <a:gd name="T53" fmla="*/ 598 h 1205"/>
                <a:gd name="T54" fmla="*/ 0 w 429"/>
                <a:gd name="T55" fmla="*/ 547 h 1205"/>
                <a:gd name="T56" fmla="*/ 3 w 429"/>
                <a:gd name="T57" fmla="*/ 538 h 1205"/>
                <a:gd name="T58" fmla="*/ 23 w 429"/>
                <a:gd name="T59" fmla="*/ 531 h 1205"/>
                <a:gd name="T60" fmla="*/ 44 w 429"/>
                <a:gd name="T61" fmla="*/ 510 h 1205"/>
                <a:gd name="T62" fmla="*/ 64 w 429"/>
                <a:gd name="T63" fmla="*/ 489 h 1205"/>
                <a:gd name="T64" fmla="*/ 64 w 429"/>
                <a:gd name="T65" fmla="*/ 457 h 1205"/>
                <a:gd name="T66" fmla="*/ 69 w 429"/>
                <a:gd name="T67" fmla="*/ 432 h 1205"/>
                <a:gd name="T68" fmla="*/ 67 w 429"/>
                <a:gd name="T69" fmla="*/ 406 h 1205"/>
                <a:gd name="T70" fmla="*/ 84 w 429"/>
                <a:gd name="T71" fmla="*/ 367 h 1205"/>
                <a:gd name="T72" fmla="*/ 103 w 429"/>
                <a:gd name="T73" fmla="*/ 308 h 1205"/>
                <a:gd name="T74" fmla="*/ 105 w 429"/>
                <a:gd name="T75" fmla="*/ 297 h 1205"/>
                <a:gd name="T76" fmla="*/ 127 w 429"/>
                <a:gd name="T77" fmla="*/ 274 h 1205"/>
                <a:gd name="T78" fmla="*/ 154 w 429"/>
                <a:gd name="T79" fmla="*/ 266 h 1205"/>
                <a:gd name="T80" fmla="*/ 180 w 429"/>
                <a:gd name="T81" fmla="*/ 253 h 1205"/>
                <a:gd name="T82" fmla="*/ 192 w 429"/>
                <a:gd name="T83" fmla="*/ 254 h 1205"/>
                <a:gd name="T84" fmla="*/ 212 w 429"/>
                <a:gd name="T85" fmla="*/ 266 h 1205"/>
                <a:gd name="T86" fmla="*/ 218 w 429"/>
                <a:gd name="T87" fmla="*/ 251 h 1205"/>
                <a:gd name="T88" fmla="*/ 215 w 429"/>
                <a:gd name="T89" fmla="*/ 214 h 1205"/>
                <a:gd name="T90" fmla="*/ 207 w 429"/>
                <a:gd name="T91" fmla="*/ 182 h 1205"/>
                <a:gd name="T92" fmla="*/ 171 w 429"/>
                <a:gd name="T93" fmla="*/ 159 h 1205"/>
                <a:gd name="T94" fmla="*/ 156 w 429"/>
                <a:gd name="T95" fmla="*/ 142 h 1205"/>
                <a:gd name="T96" fmla="*/ 134 w 429"/>
                <a:gd name="T97" fmla="*/ 83 h 1205"/>
                <a:gd name="T98" fmla="*/ 109 w 429"/>
                <a:gd name="T99" fmla="*/ 57 h 1205"/>
                <a:gd name="T100" fmla="*/ 100 w 429"/>
                <a:gd name="T101" fmla="*/ 44 h 1205"/>
                <a:gd name="T102" fmla="*/ 108 w 429"/>
                <a:gd name="T103" fmla="*/ 20 h 1205"/>
                <a:gd name="T104" fmla="*/ 127 w 429"/>
                <a:gd name="T105" fmla="*/ 0 h 1205"/>
                <a:gd name="T106" fmla="*/ 166 w 429"/>
                <a:gd name="T107" fmla="*/ 23 h 1205"/>
                <a:gd name="T108" fmla="*/ 196 w 429"/>
                <a:gd name="T109" fmla="*/ 30 h 1205"/>
                <a:gd name="T110" fmla="*/ 243 w 429"/>
                <a:gd name="T111" fmla="*/ 45 h 1205"/>
                <a:gd name="T112" fmla="*/ 280 w 429"/>
                <a:gd name="T113" fmla="*/ 54 h 1205"/>
                <a:gd name="T114" fmla="*/ 313 w 429"/>
                <a:gd name="T115" fmla="*/ 71 h 1205"/>
                <a:gd name="T116" fmla="*/ 343 w 429"/>
                <a:gd name="T117" fmla="*/ 71 h 1205"/>
                <a:gd name="T118" fmla="*/ 358 w 429"/>
                <a:gd name="T119" fmla="*/ 94 h 1205"/>
                <a:gd name="T120" fmla="*/ 380 w 429"/>
                <a:gd name="T121" fmla="*/ 122 h 1205"/>
                <a:gd name="T122" fmla="*/ 410 w 429"/>
                <a:gd name="T123" fmla="*/ 140 h 1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29" h="1205">
                  <a:moveTo>
                    <a:pt x="89" y="1205"/>
                  </a:moveTo>
                  <a:lnTo>
                    <a:pt x="90" y="1204"/>
                  </a:lnTo>
                  <a:lnTo>
                    <a:pt x="91" y="1202"/>
                  </a:lnTo>
                  <a:lnTo>
                    <a:pt x="91" y="1201"/>
                  </a:lnTo>
                  <a:lnTo>
                    <a:pt x="91" y="1201"/>
                  </a:lnTo>
                  <a:lnTo>
                    <a:pt x="91" y="1199"/>
                  </a:lnTo>
                  <a:lnTo>
                    <a:pt x="91" y="1198"/>
                  </a:lnTo>
                  <a:lnTo>
                    <a:pt x="91" y="1196"/>
                  </a:lnTo>
                  <a:lnTo>
                    <a:pt x="90" y="1192"/>
                  </a:lnTo>
                  <a:lnTo>
                    <a:pt x="89" y="1190"/>
                  </a:lnTo>
                  <a:lnTo>
                    <a:pt x="87" y="1186"/>
                  </a:lnTo>
                  <a:lnTo>
                    <a:pt x="85" y="1183"/>
                  </a:lnTo>
                  <a:lnTo>
                    <a:pt x="80" y="1177"/>
                  </a:lnTo>
                  <a:lnTo>
                    <a:pt x="78" y="1174"/>
                  </a:lnTo>
                  <a:lnTo>
                    <a:pt x="77" y="1171"/>
                  </a:lnTo>
                  <a:lnTo>
                    <a:pt x="76" y="1170"/>
                  </a:lnTo>
                  <a:lnTo>
                    <a:pt x="74" y="1166"/>
                  </a:lnTo>
                  <a:lnTo>
                    <a:pt x="73" y="1160"/>
                  </a:lnTo>
                  <a:lnTo>
                    <a:pt x="69" y="1150"/>
                  </a:lnTo>
                  <a:lnTo>
                    <a:pt x="68" y="1142"/>
                  </a:lnTo>
                  <a:lnTo>
                    <a:pt x="68" y="1138"/>
                  </a:lnTo>
                  <a:lnTo>
                    <a:pt x="67" y="1133"/>
                  </a:lnTo>
                  <a:lnTo>
                    <a:pt x="67" y="1130"/>
                  </a:lnTo>
                  <a:lnTo>
                    <a:pt x="67" y="1127"/>
                  </a:lnTo>
                  <a:lnTo>
                    <a:pt x="67" y="1122"/>
                  </a:lnTo>
                  <a:lnTo>
                    <a:pt x="68" y="1119"/>
                  </a:lnTo>
                  <a:lnTo>
                    <a:pt x="69" y="1116"/>
                  </a:lnTo>
                  <a:lnTo>
                    <a:pt x="70" y="1113"/>
                  </a:lnTo>
                  <a:lnTo>
                    <a:pt x="75" y="1106"/>
                  </a:lnTo>
                  <a:lnTo>
                    <a:pt x="76" y="1103"/>
                  </a:lnTo>
                  <a:lnTo>
                    <a:pt x="79" y="1098"/>
                  </a:lnTo>
                  <a:lnTo>
                    <a:pt x="80" y="1095"/>
                  </a:lnTo>
                  <a:lnTo>
                    <a:pt x="82" y="1093"/>
                  </a:lnTo>
                  <a:lnTo>
                    <a:pt x="84" y="1092"/>
                  </a:lnTo>
                  <a:lnTo>
                    <a:pt x="85" y="1090"/>
                  </a:lnTo>
                  <a:lnTo>
                    <a:pt x="89" y="1088"/>
                  </a:lnTo>
                  <a:lnTo>
                    <a:pt x="89" y="1088"/>
                  </a:lnTo>
                  <a:lnTo>
                    <a:pt x="90" y="1088"/>
                  </a:lnTo>
                  <a:lnTo>
                    <a:pt x="90" y="1087"/>
                  </a:lnTo>
                  <a:lnTo>
                    <a:pt x="90" y="1086"/>
                  </a:lnTo>
                  <a:lnTo>
                    <a:pt x="89" y="1086"/>
                  </a:lnTo>
                  <a:lnTo>
                    <a:pt x="87" y="1085"/>
                  </a:lnTo>
                  <a:lnTo>
                    <a:pt x="86" y="1085"/>
                  </a:lnTo>
                  <a:lnTo>
                    <a:pt x="80" y="1083"/>
                  </a:lnTo>
                  <a:lnTo>
                    <a:pt x="76" y="1083"/>
                  </a:lnTo>
                  <a:lnTo>
                    <a:pt x="72" y="1082"/>
                  </a:lnTo>
                  <a:lnTo>
                    <a:pt x="67" y="1081"/>
                  </a:lnTo>
                  <a:lnTo>
                    <a:pt x="62" y="1080"/>
                  </a:lnTo>
                  <a:lnTo>
                    <a:pt x="52" y="1077"/>
                  </a:lnTo>
                  <a:lnTo>
                    <a:pt x="44" y="1075"/>
                  </a:lnTo>
                  <a:lnTo>
                    <a:pt x="37" y="1073"/>
                  </a:lnTo>
                  <a:lnTo>
                    <a:pt x="35" y="1072"/>
                  </a:lnTo>
                  <a:lnTo>
                    <a:pt x="34" y="1072"/>
                  </a:lnTo>
                  <a:lnTo>
                    <a:pt x="33" y="1071"/>
                  </a:lnTo>
                  <a:lnTo>
                    <a:pt x="32" y="1070"/>
                  </a:lnTo>
                  <a:lnTo>
                    <a:pt x="32" y="1069"/>
                  </a:lnTo>
                  <a:lnTo>
                    <a:pt x="31" y="1067"/>
                  </a:lnTo>
                  <a:lnTo>
                    <a:pt x="31" y="1066"/>
                  </a:lnTo>
                  <a:lnTo>
                    <a:pt x="31" y="1065"/>
                  </a:lnTo>
                  <a:lnTo>
                    <a:pt x="31" y="1062"/>
                  </a:lnTo>
                  <a:lnTo>
                    <a:pt x="31" y="1055"/>
                  </a:lnTo>
                  <a:lnTo>
                    <a:pt x="31" y="1054"/>
                  </a:lnTo>
                  <a:lnTo>
                    <a:pt x="31" y="1051"/>
                  </a:lnTo>
                  <a:lnTo>
                    <a:pt x="30" y="1043"/>
                  </a:lnTo>
                  <a:lnTo>
                    <a:pt x="30" y="1041"/>
                  </a:lnTo>
                  <a:lnTo>
                    <a:pt x="30" y="1039"/>
                  </a:lnTo>
                  <a:lnTo>
                    <a:pt x="31" y="1036"/>
                  </a:lnTo>
                  <a:lnTo>
                    <a:pt x="31" y="1034"/>
                  </a:lnTo>
                  <a:lnTo>
                    <a:pt x="32" y="1032"/>
                  </a:lnTo>
                  <a:lnTo>
                    <a:pt x="33" y="1031"/>
                  </a:lnTo>
                  <a:lnTo>
                    <a:pt x="34" y="1030"/>
                  </a:lnTo>
                  <a:lnTo>
                    <a:pt x="34" y="1030"/>
                  </a:lnTo>
                  <a:lnTo>
                    <a:pt x="35" y="1030"/>
                  </a:lnTo>
                  <a:lnTo>
                    <a:pt x="37" y="1030"/>
                  </a:lnTo>
                  <a:lnTo>
                    <a:pt x="46" y="1031"/>
                  </a:lnTo>
                  <a:lnTo>
                    <a:pt x="55" y="1032"/>
                  </a:lnTo>
                  <a:lnTo>
                    <a:pt x="57" y="1033"/>
                  </a:lnTo>
                  <a:lnTo>
                    <a:pt x="59" y="1033"/>
                  </a:lnTo>
                  <a:lnTo>
                    <a:pt x="61" y="1033"/>
                  </a:lnTo>
                  <a:lnTo>
                    <a:pt x="62" y="1032"/>
                  </a:lnTo>
                  <a:lnTo>
                    <a:pt x="64" y="1032"/>
                  </a:lnTo>
                  <a:lnTo>
                    <a:pt x="65" y="1031"/>
                  </a:lnTo>
                  <a:lnTo>
                    <a:pt x="66" y="1031"/>
                  </a:lnTo>
                  <a:lnTo>
                    <a:pt x="67" y="1029"/>
                  </a:lnTo>
                  <a:lnTo>
                    <a:pt x="68" y="1028"/>
                  </a:lnTo>
                  <a:lnTo>
                    <a:pt x="68" y="1027"/>
                  </a:lnTo>
                  <a:lnTo>
                    <a:pt x="69" y="1025"/>
                  </a:lnTo>
                  <a:lnTo>
                    <a:pt x="69" y="1018"/>
                  </a:lnTo>
                  <a:lnTo>
                    <a:pt x="70" y="1015"/>
                  </a:lnTo>
                  <a:lnTo>
                    <a:pt x="71" y="1012"/>
                  </a:lnTo>
                  <a:lnTo>
                    <a:pt x="72" y="1010"/>
                  </a:lnTo>
                  <a:lnTo>
                    <a:pt x="74" y="1008"/>
                  </a:lnTo>
                  <a:lnTo>
                    <a:pt x="74" y="1008"/>
                  </a:lnTo>
                  <a:lnTo>
                    <a:pt x="74" y="1007"/>
                  </a:lnTo>
                  <a:lnTo>
                    <a:pt x="74" y="1005"/>
                  </a:lnTo>
                  <a:lnTo>
                    <a:pt x="75" y="999"/>
                  </a:lnTo>
                  <a:lnTo>
                    <a:pt x="76" y="996"/>
                  </a:lnTo>
                  <a:lnTo>
                    <a:pt x="78" y="988"/>
                  </a:lnTo>
                  <a:lnTo>
                    <a:pt x="80" y="982"/>
                  </a:lnTo>
                  <a:lnTo>
                    <a:pt x="80" y="978"/>
                  </a:lnTo>
                  <a:lnTo>
                    <a:pt x="80" y="975"/>
                  </a:lnTo>
                  <a:lnTo>
                    <a:pt x="80" y="974"/>
                  </a:lnTo>
                  <a:lnTo>
                    <a:pt x="80" y="973"/>
                  </a:lnTo>
                  <a:lnTo>
                    <a:pt x="77" y="963"/>
                  </a:lnTo>
                  <a:lnTo>
                    <a:pt x="76" y="961"/>
                  </a:lnTo>
                  <a:lnTo>
                    <a:pt x="75" y="958"/>
                  </a:lnTo>
                  <a:lnTo>
                    <a:pt x="75" y="956"/>
                  </a:lnTo>
                  <a:lnTo>
                    <a:pt x="75" y="953"/>
                  </a:lnTo>
                  <a:lnTo>
                    <a:pt x="75" y="950"/>
                  </a:lnTo>
                  <a:lnTo>
                    <a:pt x="76" y="947"/>
                  </a:lnTo>
                  <a:lnTo>
                    <a:pt x="76" y="944"/>
                  </a:lnTo>
                  <a:lnTo>
                    <a:pt x="77" y="941"/>
                  </a:lnTo>
                  <a:lnTo>
                    <a:pt x="79" y="939"/>
                  </a:lnTo>
                  <a:lnTo>
                    <a:pt x="80" y="936"/>
                  </a:lnTo>
                  <a:lnTo>
                    <a:pt x="81" y="934"/>
                  </a:lnTo>
                  <a:lnTo>
                    <a:pt x="83" y="932"/>
                  </a:lnTo>
                  <a:lnTo>
                    <a:pt x="90" y="925"/>
                  </a:lnTo>
                  <a:lnTo>
                    <a:pt x="96" y="917"/>
                  </a:lnTo>
                  <a:lnTo>
                    <a:pt x="97" y="915"/>
                  </a:lnTo>
                  <a:lnTo>
                    <a:pt x="98" y="912"/>
                  </a:lnTo>
                  <a:lnTo>
                    <a:pt x="100" y="910"/>
                  </a:lnTo>
                  <a:lnTo>
                    <a:pt x="100" y="907"/>
                  </a:lnTo>
                  <a:lnTo>
                    <a:pt x="102" y="904"/>
                  </a:lnTo>
                  <a:lnTo>
                    <a:pt x="103" y="900"/>
                  </a:lnTo>
                  <a:lnTo>
                    <a:pt x="103" y="895"/>
                  </a:lnTo>
                  <a:lnTo>
                    <a:pt x="103" y="891"/>
                  </a:lnTo>
                  <a:lnTo>
                    <a:pt x="103" y="888"/>
                  </a:lnTo>
                  <a:lnTo>
                    <a:pt x="103" y="884"/>
                  </a:lnTo>
                  <a:lnTo>
                    <a:pt x="102" y="875"/>
                  </a:lnTo>
                  <a:lnTo>
                    <a:pt x="102" y="873"/>
                  </a:lnTo>
                  <a:lnTo>
                    <a:pt x="101" y="870"/>
                  </a:lnTo>
                  <a:lnTo>
                    <a:pt x="100" y="868"/>
                  </a:lnTo>
                  <a:lnTo>
                    <a:pt x="99" y="865"/>
                  </a:lnTo>
                  <a:lnTo>
                    <a:pt x="97" y="863"/>
                  </a:lnTo>
                  <a:lnTo>
                    <a:pt x="96" y="862"/>
                  </a:lnTo>
                  <a:lnTo>
                    <a:pt x="94" y="861"/>
                  </a:lnTo>
                  <a:lnTo>
                    <a:pt x="92" y="859"/>
                  </a:lnTo>
                  <a:lnTo>
                    <a:pt x="91" y="858"/>
                  </a:lnTo>
                  <a:lnTo>
                    <a:pt x="89" y="857"/>
                  </a:lnTo>
                  <a:lnTo>
                    <a:pt x="87" y="856"/>
                  </a:lnTo>
                  <a:lnTo>
                    <a:pt x="85" y="855"/>
                  </a:lnTo>
                  <a:lnTo>
                    <a:pt x="78" y="853"/>
                  </a:lnTo>
                  <a:lnTo>
                    <a:pt x="75" y="853"/>
                  </a:lnTo>
                  <a:lnTo>
                    <a:pt x="71" y="853"/>
                  </a:lnTo>
                  <a:lnTo>
                    <a:pt x="69" y="852"/>
                  </a:lnTo>
                  <a:lnTo>
                    <a:pt x="69" y="852"/>
                  </a:lnTo>
                  <a:lnTo>
                    <a:pt x="69" y="851"/>
                  </a:lnTo>
                  <a:lnTo>
                    <a:pt x="68" y="851"/>
                  </a:lnTo>
                  <a:lnTo>
                    <a:pt x="68" y="850"/>
                  </a:lnTo>
                  <a:lnTo>
                    <a:pt x="67" y="850"/>
                  </a:lnTo>
                  <a:lnTo>
                    <a:pt x="67" y="849"/>
                  </a:lnTo>
                  <a:lnTo>
                    <a:pt x="67" y="847"/>
                  </a:lnTo>
                  <a:lnTo>
                    <a:pt x="68" y="844"/>
                  </a:lnTo>
                  <a:lnTo>
                    <a:pt x="69" y="839"/>
                  </a:lnTo>
                  <a:lnTo>
                    <a:pt x="69" y="838"/>
                  </a:lnTo>
                  <a:lnTo>
                    <a:pt x="69" y="835"/>
                  </a:lnTo>
                  <a:lnTo>
                    <a:pt x="69" y="832"/>
                  </a:lnTo>
                  <a:lnTo>
                    <a:pt x="69" y="831"/>
                  </a:lnTo>
                  <a:lnTo>
                    <a:pt x="69" y="829"/>
                  </a:lnTo>
                  <a:lnTo>
                    <a:pt x="67" y="822"/>
                  </a:lnTo>
                  <a:lnTo>
                    <a:pt x="66" y="820"/>
                  </a:lnTo>
                  <a:lnTo>
                    <a:pt x="66" y="818"/>
                  </a:lnTo>
                  <a:lnTo>
                    <a:pt x="65" y="811"/>
                  </a:lnTo>
                  <a:lnTo>
                    <a:pt x="64" y="809"/>
                  </a:lnTo>
                  <a:lnTo>
                    <a:pt x="63" y="807"/>
                  </a:lnTo>
                  <a:lnTo>
                    <a:pt x="62" y="805"/>
                  </a:lnTo>
                  <a:lnTo>
                    <a:pt x="60" y="803"/>
                  </a:lnTo>
                  <a:lnTo>
                    <a:pt x="59" y="801"/>
                  </a:lnTo>
                  <a:lnTo>
                    <a:pt x="53" y="793"/>
                  </a:lnTo>
                  <a:lnTo>
                    <a:pt x="49" y="789"/>
                  </a:lnTo>
                  <a:lnTo>
                    <a:pt x="44" y="782"/>
                  </a:lnTo>
                  <a:lnTo>
                    <a:pt x="42" y="781"/>
                  </a:lnTo>
                  <a:lnTo>
                    <a:pt x="41" y="778"/>
                  </a:lnTo>
                  <a:lnTo>
                    <a:pt x="38" y="773"/>
                  </a:lnTo>
                  <a:lnTo>
                    <a:pt x="35" y="767"/>
                  </a:lnTo>
                  <a:lnTo>
                    <a:pt x="34" y="764"/>
                  </a:lnTo>
                  <a:lnTo>
                    <a:pt x="31" y="755"/>
                  </a:lnTo>
                  <a:lnTo>
                    <a:pt x="30" y="752"/>
                  </a:lnTo>
                  <a:lnTo>
                    <a:pt x="29" y="750"/>
                  </a:lnTo>
                  <a:lnTo>
                    <a:pt x="28" y="748"/>
                  </a:lnTo>
                  <a:lnTo>
                    <a:pt x="26" y="746"/>
                  </a:lnTo>
                  <a:lnTo>
                    <a:pt x="21" y="737"/>
                  </a:lnTo>
                  <a:lnTo>
                    <a:pt x="20" y="735"/>
                  </a:lnTo>
                  <a:lnTo>
                    <a:pt x="19" y="732"/>
                  </a:lnTo>
                  <a:lnTo>
                    <a:pt x="18" y="729"/>
                  </a:lnTo>
                  <a:lnTo>
                    <a:pt x="18" y="726"/>
                  </a:lnTo>
                  <a:lnTo>
                    <a:pt x="17" y="723"/>
                  </a:lnTo>
                  <a:lnTo>
                    <a:pt x="17" y="719"/>
                  </a:lnTo>
                  <a:lnTo>
                    <a:pt x="17" y="717"/>
                  </a:lnTo>
                  <a:lnTo>
                    <a:pt x="17" y="714"/>
                  </a:lnTo>
                  <a:lnTo>
                    <a:pt x="18" y="712"/>
                  </a:lnTo>
                  <a:lnTo>
                    <a:pt x="18" y="709"/>
                  </a:lnTo>
                  <a:lnTo>
                    <a:pt x="19" y="706"/>
                  </a:lnTo>
                  <a:lnTo>
                    <a:pt x="20" y="703"/>
                  </a:lnTo>
                  <a:lnTo>
                    <a:pt x="21" y="702"/>
                  </a:lnTo>
                  <a:lnTo>
                    <a:pt x="22" y="700"/>
                  </a:lnTo>
                  <a:lnTo>
                    <a:pt x="23" y="696"/>
                  </a:lnTo>
                  <a:lnTo>
                    <a:pt x="29" y="690"/>
                  </a:lnTo>
                  <a:lnTo>
                    <a:pt x="30" y="688"/>
                  </a:lnTo>
                  <a:lnTo>
                    <a:pt x="31" y="686"/>
                  </a:lnTo>
                  <a:lnTo>
                    <a:pt x="32" y="684"/>
                  </a:lnTo>
                  <a:lnTo>
                    <a:pt x="32" y="681"/>
                  </a:lnTo>
                  <a:lnTo>
                    <a:pt x="32" y="680"/>
                  </a:lnTo>
                  <a:lnTo>
                    <a:pt x="32" y="677"/>
                  </a:lnTo>
                  <a:lnTo>
                    <a:pt x="32" y="673"/>
                  </a:lnTo>
                  <a:lnTo>
                    <a:pt x="30" y="665"/>
                  </a:lnTo>
                  <a:lnTo>
                    <a:pt x="29" y="661"/>
                  </a:lnTo>
                  <a:lnTo>
                    <a:pt x="29" y="657"/>
                  </a:lnTo>
                  <a:lnTo>
                    <a:pt x="28" y="650"/>
                  </a:lnTo>
                  <a:lnTo>
                    <a:pt x="27" y="640"/>
                  </a:lnTo>
                  <a:lnTo>
                    <a:pt x="27" y="636"/>
                  </a:lnTo>
                  <a:lnTo>
                    <a:pt x="26" y="632"/>
                  </a:lnTo>
                  <a:lnTo>
                    <a:pt x="25" y="628"/>
                  </a:lnTo>
                  <a:lnTo>
                    <a:pt x="22" y="617"/>
                  </a:lnTo>
                  <a:lnTo>
                    <a:pt x="16" y="604"/>
                  </a:lnTo>
                  <a:lnTo>
                    <a:pt x="14" y="598"/>
                  </a:lnTo>
                  <a:lnTo>
                    <a:pt x="12" y="594"/>
                  </a:lnTo>
                  <a:lnTo>
                    <a:pt x="12" y="589"/>
                  </a:lnTo>
                  <a:lnTo>
                    <a:pt x="9" y="576"/>
                  </a:lnTo>
                  <a:lnTo>
                    <a:pt x="7" y="571"/>
                  </a:lnTo>
                  <a:lnTo>
                    <a:pt x="5" y="563"/>
                  </a:lnTo>
                  <a:lnTo>
                    <a:pt x="1" y="554"/>
                  </a:lnTo>
                  <a:lnTo>
                    <a:pt x="0" y="551"/>
                  </a:lnTo>
                  <a:lnTo>
                    <a:pt x="0" y="547"/>
                  </a:lnTo>
                  <a:lnTo>
                    <a:pt x="0" y="544"/>
                  </a:lnTo>
                  <a:lnTo>
                    <a:pt x="0" y="544"/>
                  </a:lnTo>
                  <a:lnTo>
                    <a:pt x="0" y="542"/>
                  </a:lnTo>
                  <a:lnTo>
                    <a:pt x="0" y="541"/>
                  </a:lnTo>
                  <a:lnTo>
                    <a:pt x="0" y="540"/>
                  </a:lnTo>
                  <a:lnTo>
                    <a:pt x="1" y="539"/>
                  </a:lnTo>
                  <a:lnTo>
                    <a:pt x="2" y="538"/>
                  </a:lnTo>
                  <a:lnTo>
                    <a:pt x="3" y="538"/>
                  </a:lnTo>
                  <a:lnTo>
                    <a:pt x="4" y="537"/>
                  </a:lnTo>
                  <a:lnTo>
                    <a:pt x="6" y="536"/>
                  </a:lnTo>
                  <a:lnTo>
                    <a:pt x="9" y="535"/>
                  </a:lnTo>
                  <a:lnTo>
                    <a:pt x="12" y="534"/>
                  </a:lnTo>
                  <a:lnTo>
                    <a:pt x="18" y="533"/>
                  </a:lnTo>
                  <a:lnTo>
                    <a:pt x="21" y="533"/>
                  </a:lnTo>
                  <a:lnTo>
                    <a:pt x="23" y="532"/>
                  </a:lnTo>
                  <a:lnTo>
                    <a:pt x="23" y="531"/>
                  </a:lnTo>
                  <a:lnTo>
                    <a:pt x="25" y="530"/>
                  </a:lnTo>
                  <a:lnTo>
                    <a:pt x="27" y="529"/>
                  </a:lnTo>
                  <a:lnTo>
                    <a:pt x="30" y="526"/>
                  </a:lnTo>
                  <a:lnTo>
                    <a:pt x="32" y="524"/>
                  </a:lnTo>
                  <a:lnTo>
                    <a:pt x="34" y="522"/>
                  </a:lnTo>
                  <a:lnTo>
                    <a:pt x="36" y="519"/>
                  </a:lnTo>
                  <a:lnTo>
                    <a:pt x="38" y="517"/>
                  </a:lnTo>
                  <a:lnTo>
                    <a:pt x="44" y="510"/>
                  </a:lnTo>
                  <a:lnTo>
                    <a:pt x="46" y="508"/>
                  </a:lnTo>
                  <a:lnTo>
                    <a:pt x="55" y="501"/>
                  </a:lnTo>
                  <a:lnTo>
                    <a:pt x="57" y="499"/>
                  </a:lnTo>
                  <a:lnTo>
                    <a:pt x="59" y="497"/>
                  </a:lnTo>
                  <a:lnTo>
                    <a:pt x="61" y="495"/>
                  </a:lnTo>
                  <a:lnTo>
                    <a:pt x="62" y="493"/>
                  </a:lnTo>
                  <a:lnTo>
                    <a:pt x="63" y="491"/>
                  </a:lnTo>
                  <a:lnTo>
                    <a:pt x="64" y="489"/>
                  </a:lnTo>
                  <a:lnTo>
                    <a:pt x="65" y="486"/>
                  </a:lnTo>
                  <a:lnTo>
                    <a:pt x="66" y="483"/>
                  </a:lnTo>
                  <a:lnTo>
                    <a:pt x="67" y="481"/>
                  </a:lnTo>
                  <a:lnTo>
                    <a:pt x="67" y="478"/>
                  </a:lnTo>
                  <a:lnTo>
                    <a:pt x="67" y="476"/>
                  </a:lnTo>
                  <a:lnTo>
                    <a:pt x="66" y="465"/>
                  </a:lnTo>
                  <a:lnTo>
                    <a:pt x="65" y="463"/>
                  </a:lnTo>
                  <a:lnTo>
                    <a:pt x="64" y="457"/>
                  </a:lnTo>
                  <a:lnTo>
                    <a:pt x="64" y="454"/>
                  </a:lnTo>
                  <a:lnTo>
                    <a:pt x="63" y="453"/>
                  </a:lnTo>
                  <a:lnTo>
                    <a:pt x="63" y="450"/>
                  </a:lnTo>
                  <a:lnTo>
                    <a:pt x="64" y="448"/>
                  </a:lnTo>
                  <a:lnTo>
                    <a:pt x="64" y="445"/>
                  </a:lnTo>
                  <a:lnTo>
                    <a:pt x="65" y="442"/>
                  </a:lnTo>
                  <a:lnTo>
                    <a:pt x="68" y="435"/>
                  </a:lnTo>
                  <a:lnTo>
                    <a:pt x="69" y="432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8" y="426"/>
                  </a:lnTo>
                  <a:lnTo>
                    <a:pt x="67" y="416"/>
                  </a:lnTo>
                  <a:lnTo>
                    <a:pt x="67" y="413"/>
                  </a:lnTo>
                  <a:lnTo>
                    <a:pt x="66" y="410"/>
                  </a:lnTo>
                  <a:lnTo>
                    <a:pt x="67" y="408"/>
                  </a:lnTo>
                  <a:lnTo>
                    <a:pt x="67" y="406"/>
                  </a:lnTo>
                  <a:lnTo>
                    <a:pt x="68" y="404"/>
                  </a:lnTo>
                  <a:lnTo>
                    <a:pt x="69" y="402"/>
                  </a:lnTo>
                  <a:lnTo>
                    <a:pt x="71" y="397"/>
                  </a:lnTo>
                  <a:lnTo>
                    <a:pt x="73" y="395"/>
                  </a:lnTo>
                  <a:lnTo>
                    <a:pt x="77" y="385"/>
                  </a:lnTo>
                  <a:lnTo>
                    <a:pt x="80" y="379"/>
                  </a:lnTo>
                  <a:lnTo>
                    <a:pt x="81" y="375"/>
                  </a:lnTo>
                  <a:lnTo>
                    <a:pt x="84" y="367"/>
                  </a:lnTo>
                  <a:lnTo>
                    <a:pt x="91" y="346"/>
                  </a:lnTo>
                  <a:lnTo>
                    <a:pt x="94" y="338"/>
                  </a:lnTo>
                  <a:lnTo>
                    <a:pt x="98" y="328"/>
                  </a:lnTo>
                  <a:lnTo>
                    <a:pt x="100" y="324"/>
                  </a:lnTo>
                  <a:lnTo>
                    <a:pt x="101" y="320"/>
                  </a:lnTo>
                  <a:lnTo>
                    <a:pt x="102" y="317"/>
                  </a:lnTo>
                  <a:lnTo>
                    <a:pt x="103" y="313"/>
                  </a:lnTo>
                  <a:lnTo>
                    <a:pt x="103" y="308"/>
                  </a:lnTo>
                  <a:lnTo>
                    <a:pt x="103" y="306"/>
                  </a:lnTo>
                  <a:lnTo>
                    <a:pt x="103" y="302"/>
                  </a:lnTo>
                  <a:lnTo>
                    <a:pt x="103" y="299"/>
                  </a:lnTo>
                  <a:lnTo>
                    <a:pt x="103" y="298"/>
                  </a:lnTo>
                  <a:lnTo>
                    <a:pt x="102" y="298"/>
                  </a:lnTo>
                  <a:lnTo>
                    <a:pt x="103" y="298"/>
                  </a:lnTo>
                  <a:lnTo>
                    <a:pt x="103" y="298"/>
                  </a:lnTo>
                  <a:lnTo>
                    <a:pt x="105" y="297"/>
                  </a:lnTo>
                  <a:lnTo>
                    <a:pt x="107" y="295"/>
                  </a:lnTo>
                  <a:lnTo>
                    <a:pt x="109" y="295"/>
                  </a:lnTo>
                  <a:lnTo>
                    <a:pt x="110" y="293"/>
                  </a:lnTo>
                  <a:lnTo>
                    <a:pt x="117" y="284"/>
                  </a:lnTo>
                  <a:lnTo>
                    <a:pt x="119" y="283"/>
                  </a:lnTo>
                  <a:lnTo>
                    <a:pt x="122" y="280"/>
                  </a:lnTo>
                  <a:lnTo>
                    <a:pt x="125" y="277"/>
                  </a:lnTo>
                  <a:lnTo>
                    <a:pt x="127" y="274"/>
                  </a:lnTo>
                  <a:lnTo>
                    <a:pt x="130" y="272"/>
                  </a:lnTo>
                  <a:lnTo>
                    <a:pt x="133" y="272"/>
                  </a:lnTo>
                  <a:lnTo>
                    <a:pt x="135" y="271"/>
                  </a:lnTo>
                  <a:lnTo>
                    <a:pt x="137" y="269"/>
                  </a:lnTo>
                  <a:lnTo>
                    <a:pt x="139" y="268"/>
                  </a:lnTo>
                  <a:lnTo>
                    <a:pt x="142" y="268"/>
                  </a:lnTo>
                  <a:lnTo>
                    <a:pt x="147" y="267"/>
                  </a:lnTo>
                  <a:lnTo>
                    <a:pt x="154" y="266"/>
                  </a:lnTo>
                  <a:lnTo>
                    <a:pt x="159" y="265"/>
                  </a:lnTo>
                  <a:lnTo>
                    <a:pt x="163" y="264"/>
                  </a:lnTo>
                  <a:lnTo>
                    <a:pt x="166" y="263"/>
                  </a:lnTo>
                  <a:lnTo>
                    <a:pt x="170" y="261"/>
                  </a:lnTo>
                  <a:lnTo>
                    <a:pt x="171" y="260"/>
                  </a:lnTo>
                  <a:lnTo>
                    <a:pt x="174" y="258"/>
                  </a:lnTo>
                  <a:lnTo>
                    <a:pt x="178" y="254"/>
                  </a:lnTo>
                  <a:lnTo>
                    <a:pt x="180" y="253"/>
                  </a:lnTo>
                  <a:lnTo>
                    <a:pt x="181" y="251"/>
                  </a:lnTo>
                  <a:lnTo>
                    <a:pt x="182" y="251"/>
                  </a:lnTo>
                  <a:lnTo>
                    <a:pt x="184" y="250"/>
                  </a:lnTo>
                  <a:lnTo>
                    <a:pt x="186" y="250"/>
                  </a:lnTo>
                  <a:lnTo>
                    <a:pt x="187" y="250"/>
                  </a:lnTo>
                  <a:lnTo>
                    <a:pt x="189" y="251"/>
                  </a:lnTo>
                  <a:lnTo>
                    <a:pt x="191" y="252"/>
                  </a:lnTo>
                  <a:lnTo>
                    <a:pt x="192" y="254"/>
                  </a:lnTo>
                  <a:lnTo>
                    <a:pt x="200" y="261"/>
                  </a:lnTo>
                  <a:lnTo>
                    <a:pt x="203" y="263"/>
                  </a:lnTo>
                  <a:lnTo>
                    <a:pt x="204" y="264"/>
                  </a:lnTo>
                  <a:lnTo>
                    <a:pt x="205" y="265"/>
                  </a:lnTo>
                  <a:lnTo>
                    <a:pt x="206" y="266"/>
                  </a:lnTo>
                  <a:lnTo>
                    <a:pt x="208" y="266"/>
                  </a:lnTo>
                  <a:lnTo>
                    <a:pt x="210" y="266"/>
                  </a:lnTo>
                  <a:lnTo>
                    <a:pt x="212" y="266"/>
                  </a:lnTo>
                  <a:lnTo>
                    <a:pt x="214" y="265"/>
                  </a:lnTo>
                  <a:lnTo>
                    <a:pt x="215" y="264"/>
                  </a:lnTo>
                  <a:lnTo>
                    <a:pt x="216" y="262"/>
                  </a:lnTo>
                  <a:lnTo>
                    <a:pt x="217" y="261"/>
                  </a:lnTo>
                  <a:lnTo>
                    <a:pt x="218" y="259"/>
                  </a:lnTo>
                  <a:lnTo>
                    <a:pt x="219" y="257"/>
                  </a:lnTo>
                  <a:lnTo>
                    <a:pt x="219" y="254"/>
                  </a:lnTo>
                  <a:lnTo>
                    <a:pt x="218" y="251"/>
                  </a:lnTo>
                  <a:lnTo>
                    <a:pt x="217" y="249"/>
                  </a:lnTo>
                  <a:lnTo>
                    <a:pt x="216" y="242"/>
                  </a:lnTo>
                  <a:lnTo>
                    <a:pt x="215" y="238"/>
                  </a:lnTo>
                  <a:lnTo>
                    <a:pt x="214" y="233"/>
                  </a:lnTo>
                  <a:lnTo>
                    <a:pt x="214" y="229"/>
                  </a:lnTo>
                  <a:lnTo>
                    <a:pt x="213" y="227"/>
                  </a:lnTo>
                  <a:lnTo>
                    <a:pt x="214" y="224"/>
                  </a:lnTo>
                  <a:lnTo>
                    <a:pt x="215" y="214"/>
                  </a:lnTo>
                  <a:lnTo>
                    <a:pt x="215" y="210"/>
                  </a:lnTo>
                  <a:lnTo>
                    <a:pt x="215" y="205"/>
                  </a:lnTo>
                  <a:lnTo>
                    <a:pt x="215" y="201"/>
                  </a:lnTo>
                  <a:lnTo>
                    <a:pt x="214" y="197"/>
                  </a:lnTo>
                  <a:lnTo>
                    <a:pt x="213" y="193"/>
                  </a:lnTo>
                  <a:lnTo>
                    <a:pt x="212" y="190"/>
                  </a:lnTo>
                  <a:lnTo>
                    <a:pt x="210" y="186"/>
                  </a:lnTo>
                  <a:lnTo>
                    <a:pt x="207" y="182"/>
                  </a:lnTo>
                  <a:lnTo>
                    <a:pt x="205" y="180"/>
                  </a:lnTo>
                  <a:lnTo>
                    <a:pt x="203" y="177"/>
                  </a:lnTo>
                  <a:lnTo>
                    <a:pt x="200" y="174"/>
                  </a:lnTo>
                  <a:lnTo>
                    <a:pt x="197" y="173"/>
                  </a:lnTo>
                  <a:lnTo>
                    <a:pt x="194" y="170"/>
                  </a:lnTo>
                  <a:lnTo>
                    <a:pt x="180" y="162"/>
                  </a:lnTo>
                  <a:lnTo>
                    <a:pt x="177" y="160"/>
                  </a:lnTo>
                  <a:lnTo>
                    <a:pt x="171" y="159"/>
                  </a:lnTo>
                  <a:lnTo>
                    <a:pt x="169" y="157"/>
                  </a:lnTo>
                  <a:lnTo>
                    <a:pt x="166" y="155"/>
                  </a:lnTo>
                  <a:lnTo>
                    <a:pt x="164" y="153"/>
                  </a:lnTo>
                  <a:lnTo>
                    <a:pt x="162" y="151"/>
                  </a:lnTo>
                  <a:lnTo>
                    <a:pt x="160" y="149"/>
                  </a:lnTo>
                  <a:lnTo>
                    <a:pt x="159" y="147"/>
                  </a:lnTo>
                  <a:lnTo>
                    <a:pt x="158" y="145"/>
                  </a:lnTo>
                  <a:lnTo>
                    <a:pt x="156" y="142"/>
                  </a:lnTo>
                  <a:lnTo>
                    <a:pt x="155" y="140"/>
                  </a:lnTo>
                  <a:lnTo>
                    <a:pt x="150" y="127"/>
                  </a:lnTo>
                  <a:lnTo>
                    <a:pt x="145" y="114"/>
                  </a:lnTo>
                  <a:lnTo>
                    <a:pt x="142" y="108"/>
                  </a:lnTo>
                  <a:lnTo>
                    <a:pt x="140" y="102"/>
                  </a:lnTo>
                  <a:lnTo>
                    <a:pt x="137" y="93"/>
                  </a:lnTo>
                  <a:lnTo>
                    <a:pt x="136" y="87"/>
                  </a:lnTo>
                  <a:lnTo>
                    <a:pt x="134" y="83"/>
                  </a:lnTo>
                  <a:lnTo>
                    <a:pt x="132" y="79"/>
                  </a:lnTo>
                  <a:lnTo>
                    <a:pt x="130" y="78"/>
                  </a:lnTo>
                  <a:lnTo>
                    <a:pt x="129" y="76"/>
                  </a:lnTo>
                  <a:lnTo>
                    <a:pt x="127" y="74"/>
                  </a:lnTo>
                  <a:lnTo>
                    <a:pt x="125" y="72"/>
                  </a:lnTo>
                  <a:lnTo>
                    <a:pt x="124" y="70"/>
                  </a:lnTo>
                  <a:lnTo>
                    <a:pt x="118" y="65"/>
                  </a:lnTo>
                  <a:lnTo>
                    <a:pt x="109" y="57"/>
                  </a:lnTo>
                  <a:lnTo>
                    <a:pt x="107" y="56"/>
                  </a:lnTo>
                  <a:lnTo>
                    <a:pt x="105" y="54"/>
                  </a:lnTo>
                  <a:lnTo>
                    <a:pt x="103" y="52"/>
                  </a:lnTo>
                  <a:lnTo>
                    <a:pt x="102" y="50"/>
                  </a:lnTo>
                  <a:lnTo>
                    <a:pt x="101" y="48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100" y="44"/>
                  </a:lnTo>
                  <a:lnTo>
                    <a:pt x="100" y="41"/>
                  </a:lnTo>
                  <a:lnTo>
                    <a:pt x="100" y="39"/>
                  </a:lnTo>
                  <a:lnTo>
                    <a:pt x="100" y="37"/>
                  </a:lnTo>
                  <a:lnTo>
                    <a:pt x="101" y="34"/>
                  </a:lnTo>
                  <a:lnTo>
                    <a:pt x="102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8" y="20"/>
                  </a:lnTo>
                  <a:lnTo>
                    <a:pt x="110" y="16"/>
                  </a:lnTo>
                  <a:lnTo>
                    <a:pt x="113" y="12"/>
                  </a:lnTo>
                  <a:lnTo>
                    <a:pt x="115" y="10"/>
                  </a:lnTo>
                  <a:lnTo>
                    <a:pt x="117" y="7"/>
                  </a:lnTo>
                  <a:lnTo>
                    <a:pt x="121" y="5"/>
                  </a:lnTo>
                  <a:lnTo>
                    <a:pt x="125" y="2"/>
                  </a:lnTo>
                  <a:lnTo>
                    <a:pt x="126" y="1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30" y="1"/>
                  </a:lnTo>
                  <a:lnTo>
                    <a:pt x="133" y="3"/>
                  </a:lnTo>
                  <a:lnTo>
                    <a:pt x="137" y="7"/>
                  </a:lnTo>
                  <a:lnTo>
                    <a:pt x="142" y="10"/>
                  </a:lnTo>
                  <a:lnTo>
                    <a:pt x="148" y="13"/>
                  </a:lnTo>
                  <a:lnTo>
                    <a:pt x="160" y="20"/>
                  </a:lnTo>
                  <a:lnTo>
                    <a:pt x="166" y="23"/>
                  </a:lnTo>
                  <a:lnTo>
                    <a:pt x="172" y="26"/>
                  </a:lnTo>
                  <a:lnTo>
                    <a:pt x="174" y="27"/>
                  </a:lnTo>
                  <a:lnTo>
                    <a:pt x="177" y="28"/>
                  </a:lnTo>
                  <a:lnTo>
                    <a:pt x="180" y="29"/>
                  </a:lnTo>
                  <a:lnTo>
                    <a:pt x="182" y="30"/>
                  </a:lnTo>
                  <a:lnTo>
                    <a:pt x="186" y="30"/>
                  </a:lnTo>
                  <a:lnTo>
                    <a:pt x="194" y="30"/>
                  </a:lnTo>
                  <a:lnTo>
                    <a:pt x="196" y="30"/>
                  </a:lnTo>
                  <a:lnTo>
                    <a:pt x="199" y="30"/>
                  </a:lnTo>
                  <a:lnTo>
                    <a:pt x="203" y="31"/>
                  </a:lnTo>
                  <a:lnTo>
                    <a:pt x="213" y="34"/>
                  </a:lnTo>
                  <a:lnTo>
                    <a:pt x="216" y="34"/>
                  </a:lnTo>
                  <a:lnTo>
                    <a:pt x="219" y="35"/>
                  </a:lnTo>
                  <a:lnTo>
                    <a:pt x="235" y="42"/>
                  </a:lnTo>
                  <a:lnTo>
                    <a:pt x="239" y="44"/>
                  </a:lnTo>
                  <a:lnTo>
                    <a:pt x="243" y="45"/>
                  </a:lnTo>
                  <a:lnTo>
                    <a:pt x="249" y="46"/>
                  </a:lnTo>
                  <a:lnTo>
                    <a:pt x="255" y="48"/>
                  </a:lnTo>
                  <a:lnTo>
                    <a:pt x="260" y="49"/>
                  </a:lnTo>
                  <a:lnTo>
                    <a:pt x="268" y="50"/>
                  </a:lnTo>
                  <a:lnTo>
                    <a:pt x="272" y="50"/>
                  </a:lnTo>
                  <a:lnTo>
                    <a:pt x="274" y="51"/>
                  </a:lnTo>
                  <a:lnTo>
                    <a:pt x="277" y="52"/>
                  </a:lnTo>
                  <a:lnTo>
                    <a:pt x="280" y="54"/>
                  </a:lnTo>
                  <a:lnTo>
                    <a:pt x="283" y="55"/>
                  </a:lnTo>
                  <a:lnTo>
                    <a:pt x="286" y="58"/>
                  </a:lnTo>
                  <a:lnTo>
                    <a:pt x="288" y="59"/>
                  </a:lnTo>
                  <a:lnTo>
                    <a:pt x="302" y="67"/>
                  </a:lnTo>
                  <a:lnTo>
                    <a:pt x="304" y="68"/>
                  </a:lnTo>
                  <a:lnTo>
                    <a:pt x="307" y="69"/>
                  </a:lnTo>
                  <a:lnTo>
                    <a:pt x="310" y="70"/>
                  </a:lnTo>
                  <a:lnTo>
                    <a:pt x="313" y="71"/>
                  </a:lnTo>
                  <a:lnTo>
                    <a:pt x="315" y="71"/>
                  </a:lnTo>
                  <a:lnTo>
                    <a:pt x="319" y="71"/>
                  </a:lnTo>
                  <a:lnTo>
                    <a:pt x="323" y="71"/>
                  </a:lnTo>
                  <a:lnTo>
                    <a:pt x="333" y="70"/>
                  </a:lnTo>
                  <a:lnTo>
                    <a:pt x="338" y="70"/>
                  </a:lnTo>
                  <a:lnTo>
                    <a:pt x="340" y="70"/>
                  </a:lnTo>
                  <a:lnTo>
                    <a:pt x="341" y="70"/>
                  </a:lnTo>
                  <a:lnTo>
                    <a:pt x="343" y="71"/>
                  </a:lnTo>
                  <a:lnTo>
                    <a:pt x="345" y="72"/>
                  </a:lnTo>
                  <a:lnTo>
                    <a:pt x="346" y="73"/>
                  </a:lnTo>
                  <a:lnTo>
                    <a:pt x="347" y="74"/>
                  </a:lnTo>
                  <a:lnTo>
                    <a:pt x="349" y="75"/>
                  </a:lnTo>
                  <a:lnTo>
                    <a:pt x="350" y="77"/>
                  </a:lnTo>
                  <a:lnTo>
                    <a:pt x="351" y="79"/>
                  </a:lnTo>
                  <a:lnTo>
                    <a:pt x="355" y="90"/>
                  </a:lnTo>
                  <a:lnTo>
                    <a:pt x="358" y="94"/>
                  </a:lnTo>
                  <a:lnTo>
                    <a:pt x="360" y="98"/>
                  </a:lnTo>
                  <a:lnTo>
                    <a:pt x="363" y="102"/>
                  </a:lnTo>
                  <a:lnTo>
                    <a:pt x="365" y="106"/>
                  </a:lnTo>
                  <a:lnTo>
                    <a:pt x="368" y="110"/>
                  </a:lnTo>
                  <a:lnTo>
                    <a:pt x="371" y="113"/>
                  </a:lnTo>
                  <a:lnTo>
                    <a:pt x="374" y="116"/>
                  </a:lnTo>
                  <a:lnTo>
                    <a:pt x="377" y="119"/>
                  </a:lnTo>
                  <a:lnTo>
                    <a:pt x="380" y="122"/>
                  </a:lnTo>
                  <a:lnTo>
                    <a:pt x="385" y="125"/>
                  </a:lnTo>
                  <a:lnTo>
                    <a:pt x="388" y="129"/>
                  </a:lnTo>
                  <a:lnTo>
                    <a:pt x="392" y="131"/>
                  </a:lnTo>
                  <a:lnTo>
                    <a:pt x="395" y="133"/>
                  </a:lnTo>
                  <a:lnTo>
                    <a:pt x="398" y="135"/>
                  </a:lnTo>
                  <a:lnTo>
                    <a:pt x="402" y="136"/>
                  </a:lnTo>
                  <a:lnTo>
                    <a:pt x="407" y="138"/>
                  </a:lnTo>
                  <a:lnTo>
                    <a:pt x="410" y="140"/>
                  </a:lnTo>
                  <a:lnTo>
                    <a:pt x="412" y="141"/>
                  </a:lnTo>
                  <a:lnTo>
                    <a:pt x="415" y="142"/>
                  </a:lnTo>
                  <a:lnTo>
                    <a:pt x="417" y="142"/>
                  </a:lnTo>
                  <a:lnTo>
                    <a:pt x="421" y="143"/>
                  </a:lnTo>
                  <a:lnTo>
                    <a:pt x="423" y="143"/>
                  </a:lnTo>
                  <a:lnTo>
                    <a:pt x="426" y="143"/>
                  </a:lnTo>
                  <a:lnTo>
                    <a:pt x="429" y="143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3" name="Freeform 106">
              <a:extLst>
                <a:ext uri="{FF2B5EF4-FFF2-40B4-BE49-F238E27FC236}">
                  <a16:creationId xmlns:a16="http://schemas.microsoft.com/office/drawing/2014/main" id="{C3649D17-D643-4F9D-9448-A783553AC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" y="2728"/>
              <a:ext cx="989" cy="818"/>
            </a:xfrm>
            <a:custGeom>
              <a:avLst/>
              <a:gdLst>
                <a:gd name="T0" fmla="*/ 657 w 989"/>
                <a:gd name="T1" fmla="*/ 20 h 818"/>
                <a:gd name="T2" fmla="*/ 704 w 989"/>
                <a:gd name="T3" fmla="*/ 27 h 818"/>
                <a:gd name="T4" fmla="*/ 787 w 989"/>
                <a:gd name="T5" fmla="*/ 25 h 818"/>
                <a:gd name="T6" fmla="*/ 848 w 989"/>
                <a:gd name="T7" fmla="*/ 50 h 818"/>
                <a:gd name="T8" fmla="*/ 894 w 989"/>
                <a:gd name="T9" fmla="*/ 50 h 818"/>
                <a:gd name="T10" fmla="*/ 935 w 989"/>
                <a:gd name="T11" fmla="*/ 97 h 818"/>
                <a:gd name="T12" fmla="*/ 964 w 989"/>
                <a:gd name="T13" fmla="*/ 140 h 818"/>
                <a:gd name="T14" fmla="*/ 988 w 989"/>
                <a:gd name="T15" fmla="*/ 168 h 818"/>
                <a:gd name="T16" fmla="*/ 969 w 989"/>
                <a:gd name="T17" fmla="*/ 228 h 818"/>
                <a:gd name="T18" fmla="*/ 869 w 989"/>
                <a:gd name="T19" fmla="*/ 276 h 818"/>
                <a:gd name="T20" fmla="*/ 816 w 989"/>
                <a:gd name="T21" fmla="*/ 309 h 818"/>
                <a:gd name="T22" fmla="*/ 797 w 989"/>
                <a:gd name="T23" fmla="*/ 367 h 818"/>
                <a:gd name="T24" fmla="*/ 784 w 989"/>
                <a:gd name="T25" fmla="*/ 437 h 818"/>
                <a:gd name="T26" fmla="*/ 775 w 989"/>
                <a:gd name="T27" fmla="*/ 490 h 818"/>
                <a:gd name="T28" fmla="*/ 758 w 989"/>
                <a:gd name="T29" fmla="*/ 564 h 818"/>
                <a:gd name="T30" fmla="*/ 706 w 989"/>
                <a:gd name="T31" fmla="*/ 605 h 818"/>
                <a:gd name="T32" fmla="*/ 640 w 989"/>
                <a:gd name="T33" fmla="*/ 613 h 818"/>
                <a:gd name="T34" fmla="*/ 618 w 989"/>
                <a:gd name="T35" fmla="*/ 660 h 818"/>
                <a:gd name="T36" fmla="*/ 600 w 989"/>
                <a:gd name="T37" fmla="*/ 720 h 818"/>
                <a:gd name="T38" fmla="*/ 536 w 989"/>
                <a:gd name="T39" fmla="*/ 732 h 818"/>
                <a:gd name="T40" fmla="*/ 490 w 989"/>
                <a:gd name="T41" fmla="*/ 780 h 818"/>
                <a:gd name="T42" fmla="*/ 421 w 989"/>
                <a:gd name="T43" fmla="*/ 817 h 818"/>
                <a:gd name="T44" fmla="*/ 378 w 989"/>
                <a:gd name="T45" fmla="*/ 755 h 818"/>
                <a:gd name="T46" fmla="*/ 340 w 989"/>
                <a:gd name="T47" fmla="*/ 723 h 818"/>
                <a:gd name="T48" fmla="*/ 314 w 989"/>
                <a:gd name="T49" fmla="*/ 700 h 818"/>
                <a:gd name="T50" fmla="*/ 256 w 989"/>
                <a:gd name="T51" fmla="*/ 703 h 818"/>
                <a:gd name="T52" fmla="*/ 205 w 989"/>
                <a:gd name="T53" fmla="*/ 679 h 818"/>
                <a:gd name="T54" fmla="*/ 189 w 989"/>
                <a:gd name="T55" fmla="*/ 650 h 818"/>
                <a:gd name="T56" fmla="*/ 132 w 989"/>
                <a:gd name="T57" fmla="*/ 633 h 818"/>
                <a:gd name="T58" fmla="*/ 91 w 989"/>
                <a:gd name="T59" fmla="*/ 611 h 818"/>
                <a:gd name="T60" fmla="*/ 86 w 989"/>
                <a:gd name="T61" fmla="*/ 574 h 818"/>
                <a:gd name="T62" fmla="*/ 59 w 989"/>
                <a:gd name="T63" fmla="*/ 554 h 818"/>
                <a:gd name="T64" fmla="*/ 3 w 989"/>
                <a:gd name="T65" fmla="*/ 563 h 818"/>
                <a:gd name="T66" fmla="*/ 10 w 989"/>
                <a:gd name="T67" fmla="*/ 535 h 818"/>
                <a:gd name="T68" fmla="*/ 49 w 989"/>
                <a:gd name="T69" fmla="*/ 490 h 818"/>
                <a:gd name="T70" fmla="*/ 60 w 989"/>
                <a:gd name="T71" fmla="*/ 454 h 818"/>
                <a:gd name="T72" fmla="*/ 31 w 989"/>
                <a:gd name="T73" fmla="*/ 448 h 818"/>
                <a:gd name="T74" fmla="*/ 17 w 989"/>
                <a:gd name="T75" fmla="*/ 404 h 818"/>
                <a:gd name="T76" fmla="*/ 19 w 989"/>
                <a:gd name="T77" fmla="*/ 349 h 818"/>
                <a:gd name="T78" fmla="*/ 45 w 989"/>
                <a:gd name="T79" fmla="*/ 320 h 818"/>
                <a:gd name="T80" fmla="*/ 102 w 989"/>
                <a:gd name="T81" fmla="*/ 303 h 818"/>
                <a:gd name="T82" fmla="*/ 143 w 989"/>
                <a:gd name="T83" fmla="*/ 277 h 818"/>
                <a:gd name="T84" fmla="*/ 172 w 989"/>
                <a:gd name="T85" fmla="*/ 238 h 818"/>
                <a:gd name="T86" fmla="*/ 163 w 989"/>
                <a:gd name="T87" fmla="*/ 192 h 818"/>
                <a:gd name="T88" fmla="*/ 187 w 989"/>
                <a:gd name="T89" fmla="*/ 172 h 818"/>
                <a:gd name="T90" fmla="*/ 200 w 989"/>
                <a:gd name="T91" fmla="*/ 197 h 818"/>
                <a:gd name="T92" fmla="*/ 251 w 989"/>
                <a:gd name="T93" fmla="*/ 208 h 818"/>
                <a:gd name="T94" fmla="*/ 285 w 989"/>
                <a:gd name="T95" fmla="*/ 209 h 818"/>
                <a:gd name="T96" fmla="*/ 299 w 989"/>
                <a:gd name="T97" fmla="*/ 177 h 818"/>
                <a:gd name="T98" fmla="*/ 351 w 989"/>
                <a:gd name="T99" fmla="*/ 171 h 818"/>
                <a:gd name="T100" fmla="*/ 385 w 989"/>
                <a:gd name="T101" fmla="*/ 171 h 818"/>
                <a:gd name="T102" fmla="*/ 392 w 989"/>
                <a:gd name="T103" fmla="*/ 139 h 818"/>
                <a:gd name="T104" fmla="*/ 393 w 989"/>
                <a:gd name="T105" fmla="*/ 116 h 818"/>
                <a:gd name="T106" fmla="*/ 417 w 989"/>
                <a:gd name="T107" fmla="*/ 109 h 818"/>
                <a:gd name="T108" fmla="*/ 450 w 989"/>
                <a:gd name="T109" fmla="*/ 117 h 818"/>
                <a:gd name="T110" fmla="*/ 492 w 989"/>
                <a:gd name="T111" fmla="*/ 121 h 818"/>
                <a:gd name="T112" fmla="*/ 511 w 989"/>
                <a:gd name="T113" fmla="*/ 71 h 818"/>
                <a:gd name="T114" fmla="*/ 540 w 989"/>
                <a:gd name="T115" fmla="*/ 37 h 818"/>
                <a:gd name="T116" fmla="*/ 576 w 989"/>
                <a:gd name="T117" fmla="*/ 31 h 818"/>
                <a:gd name="T118" fmla="*/ 600 w 989"/>
                <a:gd name="T119" fmla="*/ 9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89" h="818">
                  <a:moveTo>
                    <a:pt x="616" y="0"/>
                  </a:moveTo>
                  <a:lnTo>
                    <a:pt x="620" y="0"/>
                  </a:lnTo>
                  <a:lnTo>
                    <a:pt x="624" y="0"/>
                  </a:lnTo>
                  <a:lnTo>
                    <a:pt x="628" y="1"/>
                  </a:lnTo>
                  <a:lnTo>
                    <a:pt x="633" y="3"/>
                  </a:lnTo>
                  <a:lnTo>
                    <a:pt x="636" y="3"/>
                  </a:lnTo>
                  <a:lnTo>
                    <a:pt x="640" y="5"/>
                  </a:lnTo>
                  <a:lnTo>
                    <a:pt x="643" y="7"/>
                  </a:lnTo>
                  <a:lnTo>
                    <a:pt x="646" y="9"/>
                  </a:lnTo>
                  <a:lnTo>
                    <a:pt x="648" y="11"/>
                  </a:lnTo>
                  <a:lnTo>
                    <a:pt x="651" y="14"/>
                  </a:lnTo>
                  <a:lnTo>
                    <a:pt x="654" y="16"/>
                  </a:lnTo>
                  <a:lnTo>
                    <a:pt x="655" y="17"/>
                  </a:lnTo>
                  <a:lnTo>
                    <a:pt x="657" y="20"/>
                  </a:lnTo>
                  <a:lnTo>
                    <a:pt x="660" y="26"/>
                  </a:lnTo>
                  <a:lnTo>
                    <a:pt x="661" y="28"/>
                  </a:lnTo>
                  <a:lnTo>
                    <a:pt x="663" y="30"/>
                  </a:lnTo>
                  <a:lnTo>
                    <a:pt x="664" y="32"/>
                  </a:lnTo>
                  <a:lnTo>
                    <a:pt x="665" y="33"/>
                  </a:lnTo>
                  <a:lnTo>
                    <a:pt x="667" y="34"/>
                  </a:lnTo>
                  <a:lnTo>
                    <a:pt x="669" y="35"/>
                  </a:lnTo>
                  <a:lnTo>
                    <a:pt x="670" y="35"/>
                  </a:lnTo>
                  <a:lnTo>
                    <a:pt x="673" y="35"/>
                  </a:lnTo>
                  <a:lnTo>
                    <a:pt x="676" y="35"/>
                  </a:lnTo>
                  <a:lnTo>
                    <a:pt x="678" y="35"/>
                  </a:lnTo>
                  <a:lnTo>
                    <a:pt x="682" y="34"/>
                  </a:lnTo>
                  <a:lnTo>
                    <a:pt x="686" y="33"/>
                  </a:lnTo>
                  <a:lnTo>
                    <a:pt x="704" y="27"/>
                  </a:lnTo>
                  <a:lnTo>
                    <a:pt x="713" y="25"/>
                  </a:lnTo>
                  <a:lnTo>
                    <a:pt x="719" y="24"/>
                  </a:lnTo>
                  <a:lnTo>
                    <a:pt x="730" y="22"/>
                  </a:lnTo>
                  <a:lnTo>
                    <a:pt x="737" y="21"/>
                  </a:lnTo>
                  <a:lnTo>
                    <a:pt x="745" y="20"/>
                  </a:lnTo>
                  <a:lnTo>
                    <a:pt x="753" y="20"/>
                  </a:lnTo>
                  <a:lnTo>
                    <a:pt x="758" y="20"/>
                  </a:lnTo>
                  <a:lnTo>
                    <a:pt x="761" y="20"/>
                  </a:lnTo>
                  <a:lnTo>
                    <a:pt x="763" y="21"/>
                  </a:lnTo>
                  <a:lnTo>
                    <a:pt x="772" y="23"/>
                  </a:lnTo>
                  <a:lnTo>
                    <a:pt x="773" y="24"/>
                  </a:lnTo>
                  <a:lnTo>
                    <a:pt x="777" y="24"/>
                  </a:lnTo>
                  <a:lnTo>
                    <a:pt x="784" y="25"/>
                  </a:lnTo>
                  <a:lnTo>
                    <a:pt x="787" y="25"/>
                  </a:lnTo>
                  <a:lnTo>
                    <a:pt x="791" y="25"/>
                  </a:lnTo>
                  <a:lnTo>
                    <a:pt x="793" y="26"/>
                  </a:lnTo>
                  <a:lnTo>
                    <a:pt x="795" y="27"/>
                  </a:lnTo>
                  <a:lnTo>
                    <a:pt x="799" y="29"/>
                  </a:lnTo>
                  <a:lnTo>
                    <a:pt x="801" y="31"/>
                  </a:lnTo>
                  <a:lnTo>
                    <a:pt x="811" y="38"/>
                  </a:lnTo>
                  <a:lnTo>
                    <a:pt x="815" y="40"/>
                  </a:lnTo>
                  <a:lnTo>
                    <a:pt x="818" y="42"/>
                  </a:lnTo>
                  <a:lnTo>
                    <a:pt x="819" y="44"/>
                  </a:lnTo>
                  <a:lnTo>
                    <a:pt x="823" y="45"/>
                  </a:lnTo>
                  <a:lnTo>
                    <a:pt x="826" y="46"/>
                  </a:lnTo>
                  <a:lnTo>
                    <a:pt x="829" y="47"/>
                  </a:lnTo>
                  <a:lnTo>
                    <a:pt x="843" y="49"/>
                  </a:lnTo>
                  <a:lnTo>
                    <a:pt x="848" y="50"/>
                  </a:lnTo>
                  <a:lnTo>
                    <a:pt x="854" y="51"/>
                  </a:lnTo>
                  <a:lnTo>
                    <a:pt x="857" y="51"/>
                  </a:lnTo>
                  <a:lnTo>
                    <a:pt x="861" y="51"/>
                  </a:lnTo>
                  <a:lnTo>
                    <a:pt x="863" y="51"/>
                  </a:lnTo>
                  <a:lnTo>
                    <a:pt x="864" y="50"/>
                  </a:lnTo>
                  <a:lnTo>
                    <a:pt x="868" y="50"/>
                  </a:lnTo>
                  <a:lnTo>
                    <a:pt x="875" y="48"/>
                  </a:lnTo>
                  <a:lnTo>
                    <a:pt x="879" y="48"/>
                  </a:lnTo>
                  <a:lnTo>
                    <a:pt x="880" y="48"/>
                  </a:lnTo>
                  <a:lnTo>
                    <a:pt x="884" y="48"/>
                  </a:lnTo>
                  <a:lnTo>
                    <a:pt x="886" y="48"/>
                  </a:lnTo>
                  <a:lnTo>
                    <a:pt x="888" y="48"/>
                  </a:lnTo>
                  <a:lnTo>
                    <a:pt x="891" y="49"/>
                  </a:lnTo>
                  <a:lnTo>
                    <a:pt x="894" y="50"/>
                  </a:lnTo>
                  <a:lnTo>
                    <a:pt x="896" y="52"/>
                  </a:lnTo>
                  <a:lnTo>
                    <a:pt x="897" y="53"/>
                  </a:lnTo>
                  <a:lnTo>
                    <a:pt x="899" y="56"/>
                  </a:lnTo>
                  <a:lnTo>
                    <a:pt x="901" y="58"/>
                  </a:lnTo>
                  <a:lnTo>
                    <a:pt x="902" y="59"/>
                  </a:lnTo>
                  <a:lnTo>
                    <a:pt x="908" y="70"/>
                  </a:lnTo>
                  <a:lnTo>
                    <a:pt x="910" y="74"/>
                  </a:lnTo>
                  <a:lnTo>
                    <a:pt x="912" y="77"/>
                  </a:lnTo>
                  <a:lnTo>
                    <a:pt x="914" y="80"/>
                  </a:lnTo>
                  <a:lnTo>
                    <a:pt x="916" y="82"/>
                  </a:lnTo>
                  <a:lnTo>
                    <a:pt x="919" y="84"/>
                  </a:lnTo>
                  <a:lnTo>
                    <a:pt x="920" y="86"/>
                  </a:lnTo>
                  <a:lnTo>
                    <a:pt x="923" y="89"/>
                  </a:lnTo>
                  <a:lnTo>
                    <a:pt x="935" y="97"/>
                  </a:lnTo>
                  <a:lnTo>
                    <a:pt x="939" y="100"/>
                  </a:lnTo>
                  <a:lnTo>
                    <a:pt x="941" y="102"/>
                  </a:lnTo>
                  <a:lnTo>
                    <a:pt x="943" y="104"/>
                  </a:lnTo>
                  <a:lnTo>
                    <a:pt x="945" y="106"/>
                  </a:lnTo>
                  <a:lnTo>
                    <a:pt x="950" y="113"/>
                  </a:lnTo>
                  <a:lnTo>
                    <a:pt x="952" y="115"/>
                  </a:lnTo>
                  <a:lnTo>
                    <a:pt x="953" y="116"/>
                  </a:lnTo>
                  <a:lnTo>
                    <a:pt x="954" y="119"/>
                  </a:lnTo>
                  <a:lnTo>
                    <a:pt x="954" y="121"/>
                  </a:lnTo>
                  <a:lnTo>
                    <a:pt x="959" y="131"/>
                  </a:lnTo>
                  <a:lnTo>
                    <a:pt x="961" y="135"/>
                  </a:lnTo>
                  <a:lnTo>
                    <a:pt x="962" y="137"/>
                  </a:lnTo>
                  <a:lnTo>
                    <a:pt x="963" y="139"/>
                  </a:lnTo>
                  <a:lnTo>
                    <a:pt x="964" y="140"/>
                  </a:lnTo>
                  <a:lnTo>
                    <a:pt x="965" y="142"/>
                  </a:lnTo>
                  <a:lnTo>
                    <a:pt x="967" y="144"/>
                  </a:lnTo>
                  <a:lnTo>
                    <a:pt x="969" y="145"/>
                  </a:lnTo>
                  <a:lnTo>
                    <a:pt x="971" y="147"/>
                  </a:lnTo>
                  <a:lnTo>
                    <a:pt x="974" y="149"/>
                  </a:lnTo>
                  <a:lnTo>
                    <a:pt x="977" y="150"/>
                  </a:lnTo>
                  <a:lnTo>
                    <a:pt x="979" y="151"/>
                  </a:lnTo>
                  <a:lnTo>
                    <a:pt x="982" y="152"/>
                  </a:lnTo>
                  <a:lnTo>
                    <a:pt x="983" y="153"/>
                  </a:lnTo>
                  <a:lnTo>
                    <a:pt x="984" y="153"/>
                  </a:lnTo>
                  <a:lnTo>
                    <a:pt x="984" y="154"/>
                  </a:lnTo>
                  <a:lnTo>
                    <a:pt x="986" y="157"/>
                  </a:lnTo>
                  <a:lnTo>
                    <a:pt x="987" y="162"/>
                  </a:lnTo>
                  <a:lnTo>
                    <a:pt x="988" y="168"/>
                  </a:lnTo>
                  <a:lnTo>
                    <a:pt x="988" y="171"/>
                  </a:lnTo>
                  <a:lnTo>
                    <a:pt x="989" y="174"/>
                  </a:lnTo>
                  <a:lnTo>
                    <a:pt x="989" y="179"/>
                  </a:lnTo>
                  <a:lnTo>
                    <a:pt x="989" y="184"/>
                  </a:lnTo>
                  <a:lnTo>
                    <a:pt x="989" y="188"/>
                  </a:lnTo>
                  <a:lnTo>
                    <a:pt x="988" y="192"/>
                  </a:lnTo>
                  <a:lnTo>
                    <a:pt x="988" y="196"/>
                  </a:lnTo>
                  <a:lnTo>
                    <a:pt x="986" y="200"/>
                  </a:lnTo>
                  <a:lnTo>
                    <a:pt x="984" y="206"/>
                  </a:lnTo>
                  <a:lnTo>
                    <a:pt x="982" y="208"/>
                  </a:lnTo>
                  <a:lnTo>
                    <a:pt x="980" y="211"/>
                  </a:lnTo>
                  <a:lnTo>
                    <a:pt x="978" y="215"/>
                  </a:lnTo>
                  <a:lnTo>
                    <a:pt x="972" y="223"/>
                  </a:lnTo>
                  <a:lnTo>
                    <a:pt x="969" y="228"/>
                  </a:lnTo>
                  <a:lnTo>
                    <a:pt x="965" y="230"/>
                  </a:lnTo>
                  <a:lnTo>
                    <a:pt x="963" y="233"/>
                  </a:lnTo>
                  <a:lnTo>
                    <a:pt x="959" y="236"/>
                  </a:lnTo>
                  <a:lnTo>
                    <a:pt x="955" y="238"/>
                  </a:lnTo>
                  <a:lnTo>
                    <a:pt x="952" y="241"/>
                  </a:lnTo>
                  <a:lnTo>
                    <a:pt x="945" y="244"/>
                  </a:lnTo>
                  <a:lnTo>
                    <a:pt x="930" y="251"/>
                  </a:lnTo>
                  <a:lnTo>
                    <a:pt x="916" y="258"/>
                  </a:lnTo>
                  <a:lnTo>
                    <a:pt x="908" y="263"/>
                  </a:lnTo>
                  <a:lnTo>
                    <a:pt x="903" y="264"/>
                  </a:lnTo>
                  <a:lnTo>
                    <a:pt x="897" y="267"/>
                  </a:lnTo>
                  <a:lnTo>
                    <a:pt x="883" y="272"/>
                  </a:lnTo>
                  <a:lnTo>
                    <a:pt x="874" y="275"/>
                  </a:lnTo>
                  <a:lnTo>
                    <a:pt x="869" y="276"/>
                  </a:lnTo>
                  <a:lnTo>
                    <a:pt x="866" y="277"/>
                  </a:lnTo>
                  <a:lnTo>
                    <a:pt x="850" y="281"/>
                  </a:lnTo>
                  <a:lnTo>
                    <a:pt x="842" y="283"/>
                  </a:lnTo>
                  <a:lnTo>
                    <a:pt x="840" y="284"/>
                  </a:lnTo>
                  <a:lnTo>
                    <a:pt x="836" y="285"/>
                  </a:lnTo>
                  <a:lnTo>
                    <a:pt x="834" y="286"/>
                  </a:lnTo>
                  <a:lnTo>
                    <a:pt x="832" y="287"/>
                  </a:lnTo>
                  <a:lnTo>
                    <a:pt x="829" y="289"/>
                  </a:lnTo>
                  <a:lnTo>
                    <a:pt x="827" y="291"/>
                  </a:lnTo>
                  <a:lnTo>
                    <a:pt x="825" y="293"/>
                  </a:lnTo>
                  <a:lnTo>
                    <a:pt x="824" y="295"/>
                  </a:lnTo>
                  <a:lnTo>
                    <a:pt x="821" y="298"/>
                  </a:lnTo>
                  <a:lnTo>
                    <a:pt x="818" y="307"/>
                  </a:lnTo>
                  <a:lnTo>
                    <a:pt x="816" y="309"/>
                  </a:lnTo>
                  <a:lnTo>
                    <a:pt x="812" y="314"/>
                  </a:lnTo>
                  <a:lnTo>
                    <a:pt x="806" y="323"/>
                  </a:lnTo>
                  <a:lnTo>
                    <a:pt x="803" y="328"/>
                  </a:lnTo>
                  <a:lnTo>
                    <a:pt x="800" y="332"/>
                  </a:lnTo>
                  <a:lnTo>
                    <a:pt x="798" y="336"/>
                  </a:lnTo>
                  <a:lnTo>
                    <a:pt x="797" y="339"/>
                  </a:lnTo>
                  <a:lnTo>
                    <a:pt x="796" y="343"/>
                  </a:lnTo>
                  <a:lnTo>
                    <a:pt x="795" y="347"/>
                  </a:lnTo>
                  <a:lnTo>
                    <a:pt x="795" y="351"/>
                  </a:lnTo>
                  <a:lnTo>
                    <a:pt x="795" y="354"/>
                  </a:lnTo>
                  <a:lnTo>
                    <a:pt x="795" y="356"/>
                  </a:lnTo>
                  <a:lnTo>
                    <a:pt x="797" y="363"/>
                  </a:lnTo>
                  <a:lnTo>
                    <a:pt x="797" y="365"/>
                  </a:lnTo>
                  <a:lnTo>
                    <a:pt x="797" y="367"/>
                  </a:lnTo>
                  <a:lnTo>
                    <a:pt x="797" y="371"/>
                  </a:lnTo>
                  <a:lnTo>
                    <a:pt x="796" y="374"/>
                  </a:lnTo>
                  <a:lnTo>
                    <a:pt x="795" y="381"/>
                  </a:lnTo>
                  <a:lnTo>
                    <a:pt x="795" y="387"/>
                  </a:lnTo>
                  <a:lnTo>
                    <a:pt x="794" y="390"/>
                  </a:lnTo>
                  <a:lnTo>
                    <a:pt x="792" y="396"/>
                  </a:lnTo>
                  <a:lnTo>
                    <a:pt x="788" y="405"/>
                  </a:lnTo>
                  <a:lnTo>
                    <a:pt x="787" y="409"/>
                  </a:lnTo>
                  <a:lnTo>
                    <a:pt x="786" y="411"/>
                  </a:lnTo>
                  <a:lnTo>
                    <a:pt x="786" y="415"/>
                  </a:lnTo>
                  <a:lnTo>
                    <a:pt x="785" y="420"/>
                  </a:lnTo>
                  <a:lnTo>
                    <a:pt x="784" y="425"/>
                  </a:lnTo>
                  <a:lnTo>
                    <a:pt x="784" y="435"/>
                  </a:lnTo>
                  <a:lnTo>
                    <a:pt x="784" y="437"/>
                  </a:lnTo>
                  <a:lnTo>
                    <a:pt x="783" y="440"/>
                  </a:lnTo>
                  <a:lnTo>
                    <a:pt x="783" y="442"/>
                  </a:lnTo>
                  <a:lnTo>
                    <a:pt x="782" y="445"/>
                  </a:lnTo>
                  <a:lnTo>
                    <a:pt x="778" y="453"/>
                  </a:lnTo>
                  <a:lnTo>
                    <a:pt x="776" y="456"/>
                  </a:lnTo>
                  <a:lnTo>
                    <a:pt x="774" y="465"/>
                  </a:lnTo>
                  <a:lnTo>
                    <a:pt x="773" y="467"/>
                  </a:lnTo>
                  <a:lnTo>
                    <a:pt x="773" y="470"/>
                  </a:lnTo>
                  <a:lnTo>
                    <a:pt x="772" y="473"/>
                  </a:lnTo>
                  <a:lnTo>
                    <a:pt x="772" y="476"/>
                  </a:lnTo>
                  <a:lnTo>
                    <a:pt x="773" y="479"/>
                  </a:lnTo>
                  <a:lnTo>
                    <a:pt x="774" y="486"/>
                  </a:lnTo>
                  <a:lnTo>
                    <a:pt x="775" y="489"/>
                  </a:lnTo>
                  <a:lnTo>
                    <a:pt x="775" y="490"/>
                  </a:lnTo>
                  <a:lnTo>
                    <a:pt x="774" y="492"/>
                  </a:lnTo>
                  <a:lnTo>
                    <a:pt x="774" y="501"/>
                  </a:lnTo>
                  <a:lnTo>
                    <a:pt x="773" y="513"/>
                  </a:lnTo>
                  <a:lnTo>
                    <a:pt x="773" y="518"/>
                  </a:lnTo>
                  <a:lnTo>
                    <a:pt x="773" y="522"/>
                  </a:lnTo>
                  <a:lnTo>
                    <a:pt x="772" y="525"/>
                  </a:lnTo>
                  <a:lnTo>
                    <a:pt x="772" y="528"/>
                  </a:lnTo>
                  <a:lnTo>
                    <a:pt x="771" y="532"/>
                  </a:lnTo>
                  <a:lnTo>
                    <a:pt x="770" y="535"/>
                  </a:lnTo>
                  <a:lnTo>
                    <a:pt x="768" y="540"/>
                  </a:lnTo>
                  <a:lnTo>
                    <a:pt x="766" y="547"/>
                  </a:lnTo>
                  <a:lnTo>
                    <a:pt x="761" y="555"/>
                  </a:lnTo>
                  <a:lnTo>
                    <a:pt x="760" y="562"/>
                  </a:lnTo>
                  <a:lnTo>
                    <a:pt x="758" y="564"/>
                  </a:lnTo>
                  <a:lnTo>
                    <a:pt x="756" y="569"/>
                  </a:lnTo>
                  <a:lnTo>
                    <a:pt x="751" y="576"/>
                  </a:lnTo>
                  <a:lnTo>
                    <a:pt x="749" y="581"/>
                  </a:lnTo>
                  <a:lnTo>
                    <a:pt x="746" y="584"/>
                  </a:lnTo>
                  <a:lnTo>
                    <a:pt x="743" y="588"/>
                  </a:lnTo>
                  <a:lnTo>
                    <a:pt x="739" y="591"/>
                  </a:lnTo>
                  <a:lnTo>
                    <a:pt x="736" y="594"/>
                  </a:lnTo>
                  <a:lnTo>
                    <a:pt x="731" y="597"/>
                  </a:lnTo>
                  <a:lnTo>
                    <a:pt x="727" y="599"/>
                  </a:lnTo>
                  <a:lnTo>
                    <a:pt x="722" y="601"/>
                  </a:lnTo>
                  <a:lnTo>
                    <a:pt x="717" y="603"/>
                  </a:lnTo>
                  <a:lnTo>
                    <a:pt x="711" y="604"/>
                  </a:lnTo>
                  <a:lnTo>
                    <a:pt x="708" y="605"/>
                  </a:lnTo>
                  <a:lnTo>
                    <a:pt x="706" y="605"/>
                  </a:lnTo>
                  <a:lnTo>
                    <a:pt x="704" y="606"/>
                  </a:lnTo>
                  <a:lnTo>
                    <a:pt x="701" y="606"/>
                  </a:lnTo>
                  <a:lnTo>
                    <a:pt x="695" y="606"/>
                  </a:lnTo>
                  <a:lnTo>
                    <a:pt x="685" y="606"/>
                  </a:lnTo>
                  <a:lnTo>
                    <a:pt x="681" y="606"/>
                  </a:lnTo>
                  <a:lnTo>
                    <a:pt x="677" y="606"/>
                  </a:lnTo>
                  <a:lnTo>
                    <a:pt x="662" y="608"/>
                  </a:lnTo>
                  <a:lnTo>
                    <a:pt x="657" y="608"/>
                  </a:lnTo>
                  <a:lnTo>
                    <a:pt x="653" y="609"/>
                  </a:lnTo>
                  <a:lnTo>
                    <a:pt x="650" y="610"/>
                  </a:lnTo>
                  <a:lnTo>
                    <a:pt x="647" y="611"/>
                  </a:lnTo>
                  <a:lnTo>
                    <a:pt x="645" y="611"/>
                  </a:lnTo>
                  <a:lnTo>
                    <a:pt x="642" y="612"/>
                  </a:lnTo>
                  <a:lnTo>
                    <a:pt x="640" y="613"/>
                  </a:lnTo>
                  <a:lnTo>
                    <a:pt x="638" y="615"/>
                  </a:lnTo>
                  <a:lnTo>
                    <a:pt x="636" y="615"/>
                  </a:lnTo>
                  <a:lnTo>
                    <a:pt x="635" y="617"/>
                  </a:lnTo>
                  <a:lnTo>
                    <a:pt x="633" y="618"/>
                  </a:lnTo>
                  <a:lnTo>
                    <a:pt x="631" y="620"/>
                  </a:lnTo>
                  <a:lnTo>
                    <a:pt x="630" y="622"/>
                  </a:lnTo>
                  <a:lnTo>
                    <a:pt x="628" y="625"/>
                  </a:lnTo>
                  <a:lnTo>
                    <a:pt x="627" y="626"/>
                  </a:lnTo>
                  <a:lnTo>
                    <a:pt x="626" y="629"/>
                  </a:lnTo>
                  <a:lnTo>
                    <a:pt x="625" y="631"/>
                  </a:lnTo>
                  <a:lnTo>
                    <a:pt x="624" y="637"/>
                  </a:lnTo>
                  <a:lnTo>
                    <a:pt x="621" y="646"/>
                  </a:lnTo>
                  <a:lnTo>
                    <a:pt x="619" y="655"/>
                  </a:lnTo>
                  <a:lnTo>
                    <a:pt x="618" y="660"/>
                  </a:lnTo>
                  <a:lnTo>
                    <a:pt x="617" y="663"/>
                  </a:lnTo>
                  <a:lnTo>
                    <a:pt x="616" y="668"/>
                  </a:lnTo>
                  <a:lnTo>
                    <a:pt x="614" y="680"/>
                  </a:lnTo>
                  <a:lnTo>
                    <a:pt x="614" y="683"/>
                  </a:lnTo>
                  <a:lnTo>
                    <a:pt x="613" y="689"/>
                  </a:lnTo>
                  <a:lnTo>
                    <a:pt x="612" y="694"/>
                  </a:lnTo>
                  <a:lnTo>
                    <a:pt x="611" y="698"/>
                  </a:lnTo>
                  <a:lnTo>
                    <a:pt x="609" y="703"/>
                  </a:lnTo>
                  <a:lnTo>
                    <a:pt x="607" y="708"/>
                  </a:lnTo>
                  <a:lnTo>
                    <a:pt x="605" y="711"/>
                  </a:lnTo>
                  <a:lnTo>
                    <a:pt x="604" y="715"/>
                  </a:lnTo>
                  <a:lnTo>
                    <a:pt x="602" y="717"/>
                  </a:lnTo>
                  <a:lnTo>
                    <a:pt x="602" y="718"/>
                  </a:lnTo>
                  <a:lnTo>
                    <a:pt x="600" y="720"/>
                  </a:lnTo>
                  <a:lnTo>
                    <a:pt x="598" y="721"/>
                  </a:lnTo>
                  <a:lnTo>
                    <a:pt x="597" y="722"/>
                  </a:lnTo>
                  <a:lnTo>
                    <a:pt x="594" y="724"/>
                  </a:lnTo>
                  <a:lnTo>
                    <a:pt x="592" y="725"/>
                  </a:lnTo>
                  <a:lnTo>
                    <a:pt x="590" y="726"/>
                  </a:lnTo>
                  <a:lnTo>
                    <a:pt x="589" y="726"/>
                  </a:lnTo>
                  <a:lnTo>
                    <a:pt x="586" y="727"/>
                  </a:lnTo>
                  <a:lnTo>
                    <a:pt x="583" y="727"/>
                  </a:lnTo>
                  <a:lnTo>
                    <a:pt x="560" y="728"/>
                  </a:lnTo>
                  <a:lnTo>
                    <a:pt x="556" y="728"/>
                  </a:lnTo>
                  <a:lnTo>
                    <a:pt x="552" y="728"/>
                  </a:lnTo>
                  <a:lnTo>
                    <a:pt x="545" y="729"/>
                  </a:lnTo>
                  <a:lnTo>
                    <a:pt x="539" y="731"/>
                  </a:lnTo>
                  <a:lnTo>
                    <a:pt x="536" y="732"/>
                  </a:lnTo>
                  <a:lnTo>
                    <a:pt x="534" y="732"/>
                  </a:lnTo>
                  <a:lnTo>
                    <a:pt x="533" y="733"/>
                  </a:lnTo>
                  <a:lnTo>
                    <a:pt x="531" y="734"/>
                  </a:lnTo>
                  <a:lnTo>
                    <a:pt x="529" y="735"/>
                  </a:lnTo>
                  <a:lnTo>
                    <a:pt x="528" y="736"/>
                  </a:lnTo>
                  <a:lnTo>
                    <a:pt x="525" y="738"/>
                  </a:lnTo>
                  <a:lnTo>
                    <a:pt x="516" y="746"/>
                  </a:lnTo>
                  <a:lnTo>
                    <a:pt x="511" y="751"/>
                  </a:lnTo>
                  <a:lnTo>
                    <a:pt x="508" y="756"/>
                  </a:lnTo>
                  <a:lnTo>
                    <a:pt x="504" y="761"/>
                  </a:lnTo>
                  <a:lnTo>
                    <a:pt x="502" y="763"/>
                  </a:lnTo>
                  <a:lnTo>
                    <a:pt x="498" y="771"/>
                  </a:lnTo>
                  <a:lnTo>
                    <a:pt x="493" y="777"/>
                  </a:lnTo>
                  <a:lnTo>
                    <a:pt x="490" y="780"/>
                  </a:lnTo>
                  <a:lnTo>
                    <a:pt x="488" y="783"/>
                  </a:lnTo>
                  <a:lnTo>
                    <a:pt x="484" y="787"/>
                  </a:lnTo>
                  <a:lnTo>
                    <a:pt x="477" y="795"/>
                  </a:lnTo>
                  <a:lnTo>
                    <a:pt x="474" y="798"/>
                  </a:lnTo>
                  <a:lnTo>
                    <a:pt x="470" y="801"/>
                  </a:lnTo>
                  <a:lnTo>
                    <a:pt x="466" y="804"/>
                  </a:lnTo>
                  <a:lnTo>
                    <a:pt x="463" y="806"/>
                  </a:lnTo>
                  <a:lnTo>
                    <a:pt x="459" y="807"/>
                  </a:lnTo>
                  <a:lnTo>
                    <a:pt x="453" y="809"/>
                  </a:lnTo>
                  <a:lnTo>
                    <a:pt x="442" y="813"/>
                  </a:lnTo>
                  <a:lnTo>
                    <a:pt x="434" y="816"/>
                  </a:lnTo>
                  <a:lnTo>
                    <a:pt x="429" y="817"/>
                  </a:lnTo>
                  <a:lnTo>
                    <a:pt x="422" y="818"/>
                  </a:lnTo>
                  <a:lnTo>
                    <a:pt x="421" y="817"/>
                  </a:lnTo>
                  <a:lnTo>
                    <a:pt x="420" y="814"/>
                  </a:lnTo>
                  <a:lnTo>
                    <a:pt x="419" y="809"/>
                  </a:lnTo>
                  <a:lnTo>
                    <a:pt x="415" y="801"/>
                  </a:lnTo>
                  <a:lnTo>
                    <a:pt x="414" y="798"/>
                  </a:lnTo>
                  <a:lnTo>
                    <a:pt x="412" y="796"/>
                  </a:lnTo>
                  <a:lnTo>
                    <a:pt x="410" y="793"/>
                  </a:lnTo>
                  <a:lnTo>
                    <a:pt x="404" y="785"/>
                  </a:lnTo>
                  <a:lnTo>
                    <a:pt x="396" y="773"/>
                  </a:lnTo>
                  <a:lnTo>
                    <a:pt x="393" y="769"/>
                  </a:lnTo>
                  <a:lnTo>
                    <a:pt x="391" y="765"/>
                  </a:lnTo>
                  <a:lnTo>
                    <a:pt x="387" y="762"/>
                  </a:lnTo>
                  <a:lnTo>
                    <a:pt x="385" y="759"/>
                  </a:lnTo>
                  <a:lnTo>
                    <a:pt x="382" y="757"/>
                  </a:lnTo>
                  <a:lnTo>
                    <a:pt x="378" y="755"/>
                  </a:lnTo>
                  <a:lnTo>
                    <a:pt x="375" y="753"/>
                  </a:lnTo>
                  <a:lnTo>
                    <a:pt x="359" y="745"/>
                  </a:lnTo>
                  <a:lnTo>
                    <a:pt x="354" y="743"/>
                  </a:lnTo>
                  <a:lnTo>
                    <a:pt x="350" y="741"/>
                  </a:lnTo>
                  <a:lnTo>
                    <a:pt x="348" y="740"/>
                  </a:lnTo>
                  <a:lnTo>
                    <a:pt x="346" y="739"/>
                  </a:lnTo>
                  <a:lnTo>
                    <a:pt x="344" y="739"/>
                  </a:lnTo>
                  <a:lnTo>
                    <a:pt x="343" y="738"/>
                  </a:lnTo>
                  <a:lnTo>
                    <a:pt x="342" y="736"/>
                  </a:lnTo>
                  <a:lnTo>
                    <a:pt x="341" y="735"/>
                  </a:lnTo>
                  <a:lnTo>
                    <a:pt x="341" y="733"/>
                  </a:lnTo>
                  <a:lnTo>
                    <a:pt x="340" y="731"/>
                  </a:lnTo>
                  <a:lnTo>
                    <a:pt x="340" y="729"/>
                  </a:lnTo>
                  <a:lnTo>
                    <a:pt x="340" y="723"/>
                  </a:lnTo>
                  <a:lnTo>
                    <a:pt x="339" y="720"/>
                  </a:lnTo>
                  <a:lnTo>
                    <a:pt x="339" y="718"/>
                  </a:lnTo>
                  <a:lnTo>
                    <a:pt x="338" y="717"/>
                  </a:lnTo>
                  <a:lnTo>
                    <a:pt x="338" y="716"/>
                  </a:lnTo>
                  <a:lnTo>
                    <a:pt x="337" y="714"/>
                  </a:lnTo>
                  <a:lnTo>
                    <a:pt x="336" y="713"/>
                  </a:lnTo>
                  <a:lnTo>
                    <a:pt x="335" y="711"/>
                  </a:lnTo>
                  <a:lnTo>
                    <a:pt x="334" y="710"/>
                  </a:lnTo>
                  <a:lnTo>
                    <a:pt x="331" y="708"/>
                  </a:lnTo>
                  <a:lnTo>
                    <a:pt x="328" y="705"/>
                  </a:lnTo>
                  <a:lnTo>
                    <a:pt x="325" y="705"/>
                  </a:lnTo>
                  <a:lnTo>
                    <a:pt x="322" y="703"/>
                  </a:lnTo>
                  <a:lnTo>
                    <a:pt x="320" y="702"/>
                  </a:lnTo>
                  <a:lnTo>
                    <a:pt x="314" y="700"/>
                  </a:lnTo>
                  <a:lnTo>
                    <a:pt x="307" y="697"/>
                  </a:lnTo>
                  <a:lnTo>
                    <a:pt x="305" y="696"/>
                  </a:lnTo>
                  <a:lnTo>
                    <a:pt x="303" y="696"/>
                  </a:lnTo>
                  <a:lnTo>
                    <a:pt x="302" y="696"/>
                  </a:lnTo>
                  <a:lnTo>
                    <a:pt x="301" y="696"/>
                  </a:lnTo>
                  <a:lnTo>
                    <a:pt x="299" y="696"/>
                  </a:lnTo>
                  <a:lnTo>
                    <a:pt x="288" y="697"/>
                  </a:lnTo>
                  <a:lnTo>
                    <a:pt x="282" y="698"/>
                  </a:lnTo>
                  <a:lnTo>
                    <a:pt x="278" y="698"/>
                  </a:lnTo>
                  <a:lnTo>
                    <a:pt x="273" y="699"/>
                  </a:lnTo>
                  <a:lnTo>
                    <a:pt x="264" y="702"/>
                  </a:lnTo>
                  <a:lnTo>
                    <a:pt x="260" y="702"/>
                  </a:lnTo>
                  <a:lnTo>
                    <a:pt x="258" y="703"/>
                  </a:lnTo>
                  <a:lnTo>
                    <a:pt x="256" y="703"/>
                  </a:lnTo>
                  <a:lnTo>
                    <a:pt x="254" y="703"/>
                  </a:lnTo>
                  <a:lnTo>
                    <a:pt x="252" y="702"/>
                  </a:lnTo>
                  <a:lnTo>
                    <a:pt x="249" y="701"/>
                  </a:lnTo>
                  <a:lnTo>
                    <a:pt x="247" y="700"/>
                  </a:lnTo>
                  <a:lnTo>
                    <a:pt x="244" y="699"/>
                  </a:lnTo>
                  <a:lnTo>
                    <a:pt x="240" y="697"/>
                  </a:lnTo>
                  <a:lnTo>
                    <a:pt x="237" y="694"/>
                  </a:lnTo>
                  <a:lnTo>
                    <a:pt x="223" y="683"/>
                  </a:lnTo>
                  <a:lnTo>
                    <a:pt x="221" y="683"/>
                  </a:lnTo>
                  <a:lnTo>
                    <a:pt x="219" y="682"/>
                  </a:lnTo>
                  <a:lnTo>
                    <a:pt x="216" y="681"/>
                  </a:lnTo>
                  <a:lnTo>
                    <a:pt x="214" y="680"/>
                  </a:lnTo>
                  <a:lnTo>
                    <a:pt x="211" y="679"/>
                  </a:lnTo>
                  <a:lnTo>
                    <a:pt x="205" y="679"/>
                  </a:lnTo>
                  <a:lnTo>
                    <a:pt x="202" y="678"/>
                  </a:lnTo>
                  <a:lnTo>
                    <a:pt x="199" y="677"/>
                  </a:lnTo>
                  <a:lnTo>
                    <a:pt x="198" y="677"/>
                  </a:lnTo>
                  <a:lnTo>
                    <a:pt x="196" y="676"/>
                  </a:lnTo>
                  <a:lnTo>
                    <a:pt x="195" y="675"/>
                  </a:lnTo>
                  <a:lnTo>
                    <a:pt x="193" y="674"/>
                  </a:lnTo>
                  <a:lnTo>
                    <a:pt x="193" y="672"/>
                  </a:lnTo>
                  <a:lnTo>
                    <a:pt x="192" y="671"/>
                  </a:lnTo>
                  <a:lnTo>
                    <a:pt x="192" y="670"/>
                  </a:lnTo>
                  <a:lnTo>
                    <a:pt x="192" y="668"/>
                  </a:lnTo>
                  <a:lnTo>
                    <a:pt x="191" y="660"/>
                  </a:lnTo>
                  <a:lnTo>
                    <a:pt x="191" y="657"/>
                  </a:lnTo>
                  <a:lnTo>
                    <a:pt x="190" y="653"/>
                  </a:lnTo>
                  <a:lnTo>
                    <a:pt x="189" y="650"/>
                  </a:lnTo>
                  <a:lnTo>
                    <a:pt x="188" y="649"/>
                  </a:lnTo>
                  <a:lnTo>
                    <a:pt x="187" y="649"/>
                  </a:lnTo>
                  <a:lnTo>
                    <a:pt x="185" y="647"/>
                  </a:lnTo>
                  <a:lnTo>
                    <a:pt x="183" y="645"/>
                  </a:lnTo>
                  <a:lnTo>
                    <a:pt x="180" y="642"/>
                  </a:lnTo>
                  <a:lnTo>
                    <a:pt x="178" y="641"/>
                  </a:lnTo>
                  <a:lnTo>
                    <a:pt x="175" y="640"/>
                  </a:lnTo>
                  <a:lnTo>
                    <a:pt x="172" y="639"/>
                  </a:lnTo>
                  <a:lnTo>
                    <a:pt x="170" y="638"/>
                  </a:lnTo>
                  <a:lnTo>
                    <a:pt x="158" y="637"/>
                  </a:lnTo>
                  <a:lnTo>
                    <a:pt x="151" y="636"/>
                  </a:lnTo>
                  <a:lnTo>
                    <a:pt x="136" y="634"/>
                  </a:lnTo>
                  <a:lnTo>
                    <a:pt x="134" y="633"/>
                  </a:lnTo>
                  <a:lnTo>
                    <a:pt x="132" y="633"/>
                  </a:lnTo>
                  <a:lnTo>
                    <a:pt x="130" y="632"/>
                  </a:lnTo>
                  <a:lnTo>
                    <a:pt x="128" y="630"/>
                  </a:lnTo>
                  <a:lnTo>
                    <a:pt x="126" y="629"/>
                  </a:lnTo>
                  <a:lnTo>
                    <a:pt x="123" y="626"/>
                  </a:lnTo>
                  <a:lnTo>
                    <a:pt x="120" y="623"/>
                  </a:lnTo>
                  <a:lnTo>
                    <a:pt x="118" y="621"/>
                  </a:lnTo>
                  <a:lnTo>
                    <a:pt x="115" y="619"/>
                  </a:lnTo>
                  <a:lnTo>
                    <a:pt x="113" y="618"/>
                  </a:lnTo>
                  <a:lnTo>
                    <a:pt x="109" y="616"/>
                  </a:lnTo>
                  <a:lnTo>
                    <a:pt x="105" y="615"/>
                  </a:lnTo>
                  <a:lnTo>
                    <a:pt x="103" y="614"/>
                  </a:lnTo>
                  <a:lnTo>
                    <a:pt x="101" y="613"/>
                  </a:lnTo>
                  <a:lnTo>
                    <a:pt x="98" y="612"/>
                  </a:lnTo>
                  <a:lnTo>
                    <a:pt x="91" y="611"/>
                  </a:lnTo>
                  <a:lnTo>
                    <a:pt x="90" y="610"/>
                  </a:lnTo>
                  <a:lnTo>
                    <a:pt x="89" y="609"/>
                  </a:lnTo>
                  <a:lnTo>
                    <a:pt x="89" y="608"/>
                  </a:lnTo>
                  <a:lnTo>
                    <a:pt x="88" y="607"/>
                  </a:lnTo>
                  <a:lnTo>
                    <a:pt x="88" y="605"/>
                  </a:lnTo>
                  <a:lnTo>
                    <a:pt x="87" y="603"/>
                  </a:lnTo>
                  <a:lnTo>
                    <a:pt x="87" y="603"/>
                  </a:lnTo>
                  <a:lnTo>
                    <a:pt x="87" y="599"/>
                  </a:lnTo>
                  <a:lnTo>
                    <a:pt x="88" y="590"/>
                  </a:lnTo>
                  <a:lnTo>
                    <a:pt x="88" y="585"/>
                  </a:lnTo>
                  <a:lnTo>
                    <a:pt x="88" y="582"/>
                  </a:lnTo>
                  <a:lnTo>
                    <a:pt x="87" y="580"/>
                  </a:lnTo>
                  <a:lnTo>
                    <a:pt x="87" y="577"/>
                  </a:lnTo>
                  <a:lnTo>
                    <a:pt x="86" y="574"/>
                  </a:lnTo>
                  <a:lnTo>
                    <a:pt x="85" y="571"/>
                  </a:lnTo>
                  <a:lnTo>
                    <a:pt x="83" y="569"/>
                  </a:lnTo>
                  <a:lnTo>
                    <a:pt x="80" y="564"/>
                  </a:lnTo>
                  <a:lnTo>
                    <a:pt x="78" y="559"/>
                  </a:lnTo>
                  <a:lnTo>
                    <a:pt x="77" y="558"/>
                  </a:lnTo>
                  <a:lnTo>
                    <a:pt x="74" y="556"/>
                  </a:lnTo>
                  <a:lnTo>
                    <a:pt x="73" y="555"/>
                  </a:lnTo>
                  <a:lnTo>
                    <a:pt x="71" y="554"/>
                  </a:lnTo>
                  <a:lnTo>
                    <a:pt x="70" y="553"/>
                  </a:lnTo>
                  <a:lnTo>
                    <a:pt x="69" y="553"/>
                  </a:lnTo>
                  <a:lnTo>
                    <a:pt x="67" y="553"/>
                  </a:lnTo>
                  <a:lnTo>
                    <a:pt x="64" y="553"/>
                  </a:lnTo>
                  <a:lnTo>
                    <a:pt x="61" y="553"/>
                  </a:lnTo>
                  <a:lnTo>
                    <a:pt x="59" y="554"/>
                  </a:lnTo>
                  <a:lnTo>
                    <a:pt x="56" y="555"/>
                  </a:lnTo>
                  <a:lnTo>
                    <a:pt x="50" y="557"/>
                  </a:lnTo>
                  <a:lnTo>
                    <a:pt x="33" y="563"/>
                  </a:lnTo>
                  <a:lnTo>
                    <a:pt x="27" y="565"/>
                  </a:lnTo>
                  <a:lnTo>
                    <a:pt x="23" y="566"/>
                  </a:lnTo>
                  <a:lnTo>
                    <a:pt x="20" y="567"/>
                  </a:lnTo>
                  <a:lnTo>
                    <a:pt x="17" y="567"/>
                  </a:lnTo>
                  <a:lnTo>
                    <a:pt x="14" y="567"/>
                  </a:lnTo>
                  <a:lnTo>
                    <a:pt x="11" y="567"/>
                  </a:lnTo>
                  <a:lnTo>
                    <a:pt x="10" y="567"/>
                  </a:lnTo>
                  <a:lnTo>
                    <a:pt x="8" y="566"/>
                  </a:lnTo>
                  <a:lnTo>
                    <a:pt x="6" y="566"/>
                  </a:lnTo>
                  <a:lnTo>
                    <a:pt x="4" y="565"/>
                  </a:lnTo>
                  <a:lnTo>
                    <a:pt x="3" y="563"/>
                  </a:lnTo>
                  <a:lnTo>
                    <a:pt x="2" y="563"/>
                  </a:lnTo>
                  <a:lnTo>
                    <a:pt x="2" y="561"/>
                  </a:lnTo>
                  <a:lnTo>
                    <a:pt x="1" y="559"/>
                  </a:lnTo>
                  <a:lnTo>
                    <a:pt x="0" y="556"/>
                  </a:lnTo>
                  <a:lnTo>
                    <a:pt x="0" y="552"/>
                  </a:lnTo>
                  <a:lnTo>
                    <a:pt x="0" y="549"/>
                  </a:lnTo>
                  <a:lnTo>
                    <a:pt x="0" y="547"/>
                  </a:lnTo>
                  <a:lnTo>
                    <a:pt x="1" y="545"/>
                  </a:lnTo>
                  <a:lnTo>
                    <a:pt x="2" y="543"/>
                  </a:lnTo>
                  <a:lnTo>
                    <a:pt x="3" y="541"/>
                  </a:lnTo>
                  <a:lnTo>
                    <a:pt x="4" y="540"/>
                  </a:lnTo>
                  <a:lnTo>
                    <a:pt x="6" y="538"/>
                  </a:lnTo>
                  <a:lnTo>
                    <a:pt x="10" y="535"/>
                  </a:lnTo>
                  <a:lnTo>
                    <a:pt x="10" y="535"/>
                  </a:lnTo>
                  <a:lnTo>
                    <a:pt x="12" y="533"/>
                  </a:lnTo>
                  <a:lnTo>
                    <a:pt x="14" y="531"/>
                  </a:lnTo>
                  <a:lnTo>
                    <a:pt x="16" y="528"/>
                  </a:lnTo>
                  <a:lnTo>
                    <a:pt x="18" y="524"/>
                  </a:lnTo>
                  <a:lnTo>
                    <a:pt x="22" y="514"/>
                  </a:lnTo>
                  <a:lnTo>
                    <a:pt x="24" y="512"/>
                  </a:lnTo>
                  <a:lnTo>
                    <a:pt x="26" y="508"/>
                  </a:lnTo>
                  <a:lnTo>
                    <a:pt x="29" y="505"/>
                  </a:lnTo>
                  <a:lnTo>
                    <a:pt x="30" y="503"/>
                  </a:lnTo>
                  <a:lnTo>
                    <a:pt x="33" y="502"/>
                  </a:lnTo>
                  <a:lnTo>
                    <a:pt x="34" y="501"/>
                  </a:lnTo>
                  <a:lnTo>
                    <a:pt x="40" y="497"/>
                  </a:lnTo>
                  <a:lnTo>
                    <a:pt x="46" y="492"/>
                  </a:lnTo>
                  <a:lnTo>
                    <a:pt x="49" y="490"/>
                  </a:lnTo>
                  <a:lnTo>
                    <a:pt x="51" y="489"/>
                  </a:lnTo>
                  <a:lnTo>
                    <a:pt x="52" y="487"/>
                  </a:lnTo>
                  <a:lnTo>
                    <a:pt x="54" y="485"/>
                  </a:lnTo>
                  <a:lnTo>
                    <a:pt x="55" y="482"/>
                  </a:lnTo>
                  <a:lnTo>
                    <a:pt x="56" y="479"/>
                  </a:lnTo>
                  <a:lnTo>
                    <a:pt x="57" y="476"/>
                  </a:lnTo>
                  <a:lnTo>
                    <a:pt x="58" y="472"/>
                  </a:lnTo>
                  <a:lnTo>
                    <a:pt x="59" y="468"/>
                  </a:lnTo>
                  <a:lnTo>
                    <a:pt x="60" y="466"/>
                  </a:lnTo>
                  <a:lnTo>
                    <a:pt x="60" y="463"/>
                  </a:lnTo>
                  <a:lnTo>
                    <a:pt x="61" y="460"/>
                  </a:lnTo>
                  <a:lnTo>
                    <a:pt x="61" y="457"/>
                  </a:lnTo>
                  <a:lnTo>
                    <a:pt x="61" y="456"/>
                  </a:lnTo>
                  <a:lnTo>
                    <a:pt x="60" y="454"/>
                  </a:lnTo>
                  <a:lnTo>
                    <a:pt x="59" y="452"/>
                  </a:lnTo>
                  <a:lnTo>
                    <a:pt x="59" y="450"/>
                  </a:lnTo>
                  <a:lnTo>
                    <a:pt x="58" y="449"/>
                  </a:lnTo>
                  <a:lnTo>
                    <a:pt x="56" y="448"/>
                  </a:lnTo>
                  <a:lnTo>
                    <a:pt x="56" y="448"/>
                  </a:lnTo>
                  <a:lnTo>
                    <a:pt x="54" y="448"/>
                  </a:lnTo>
                  <a:lnTo>
                    <a:pt x="52" y="448"/>
                  </a:lnTo>
                  <a:lnTo>
                    <a:pt x="48" y="448"/>
                  </a:lnTo>
                  <a:lnTo>
                    <a:pt x="45" y="449"/>
                  </a:lnTo>
                  <a:lnTo>
                    <a:pt x="39" y="449"/>
                  </a:lnTo>
                  <a:lnTo>
                    <a:pt x="35" y="449"/>
                  </a:lnTo>
                  <a:lnTo>
                    <a:pt x="33" y="448"/>
                  </a:lnTo>
                  <a:lnTo>
                    <a:pt x="32" y="448"/>
                  </a:lnTo>
                  <a:lnTo>
                    <a:pt x="31" y="448"/>
                  </a:lnTo>
                  <a:lnTo>
                    <a:pt x="30" y="447"/>
                  </a:lnTo>
                  <a:lnTo>
                    <a:pt x="29" y="446"/>
                  </a:lnTo>
                  <a:lnTo>
                    <a:pt x="29" y="445"/>
                  </a:lnTo>
                  <a:lnTo>
                    <a:pt x="28" y="444"/>
                  </a:lnTo>
                  <a:lnTo>
                    <a:pt x="28" y="442"/>
                  </a:lnTo>
                  <a:lnTo>
                    <a:pt x="29" y="437"/>
                  </a:lnTo>
                  <a:lnTo>
                    <a:pt x="29" y="435"/>
                  </a:lnTo>
                  <a:lnTo>
                    <a:pt x="28" y="433"/>
                  </a:lnTo>
                  <a:lnTo>
                    <a:pt x="28" y="432"/>
                  </a:lnTo>
                  <a:lnTo>
                    <a:pt x="27" y="429"/>
                  </a:lnTo>
                  <a:lnTo>
                    <a:pt x="24" y="422"/>
                  </a:lnTo>
                  <a:lnTo>
                    <a:pt x="20" y="411"/>
                  </a:lnTo>
                  <a:lnTo>
                    <a:pt x="18" y="407"/>
                  </a:lnTo>
                  <a:lnTo>
                    <a:pt x="17" y="404"/>
                  </a:lnTo>
                  <a:lnTo>
                    <a:pt x="17" y="401"/>
                  </a:lnTo>
                  <a:lnTo>
                    <a:pt x="16" y="399"/>
                  </a:lnTo>
                  <a:lnTo>
                    <a:pt x="16" y="389"/>
                  </a:lnTo>
                  <a:lnTo>
                    <a:pt x="15" y="386"/>
                  </a:lnTo>
                  <a:lnTo>
                    <a:pt x="14" y="382"/>
                  </a:lnTo>
                  <a:lnTo>
                    <a:pt x="13" y="375"/>
                  </a:lnTo>
                  <a:lnTo>
                    <a:pt x="12" y="372"/>
                  </a:lnTo>
                  <a:lnTo>
                    <a:pt x="12" y="369"/>
                  </a:lnTo>
                  <a:lnTo>
                    <a:pt x="12" y="365"/>
                  </a:lnTo>
                  <a:lnTo>
                    <a:pt x="13" y="363"/>
                  </a:lnTo>
                  <a:lnTo>
                    <a:pt x="14" y="361"/>
                  </a:lnTo>
                  <a:lnTo>
                    <a:pt x="15" y="358"/>
                  </a:lnTo>
                  <a:lnTo>
                    <a:pt x="16" y="354"/>
                  </a:lnTo>
                  <a:lnTo>
                    <a:pt x="19" y="349"/>
                  </a:lnTo>
                  <a:lnTo>
                    <a:pt x="28" y="332"/>
                  </a:lnTo>
                  <a:lnTo>
                    <a:pt x="28" y="333"/>
                  </a:lnTo>
                  <a:lnTo>
                    <a:pt x="29" y="333"/>
                  </a:lnTo>
                  <a:lnTo>
                    <a:pt x="30" y="333"/>
                  </a:lnTo>
                  <a:lnTo>
                    <a:pt x="31" y="333"/>
                  </a:lnTo>
                  <a:lnTo>
                    <a:pt x="32" y="333"/>
                  </a:lnTo>
                  <a:lnTo>
                    <a:pt x="33" y="333"/>
                  </a:lnTo>
                  <a:lnTo>
                    <a:pt x="34" y="332"/>
                  </a:lnTo>
                  <a:lnTo>
                    <a:pt x="35" y="331"/>
                  </a:lnTo>
                  <a:lnTo>
                    <a:pt x="37" y="331"/>
                  </a:lnTo>
                  <a:lnTo>
                    <a:pt x="38" y="329"/>
                  </a:lnTo>
                  <a:lnTo>
                    <a:pt x="40" y="327"/>
                  </a:lnTo>
                  <a:lnTo>
                    <a:pt x="44" y="321"/>
                  </a:lnTo>
                  <a:lnTo>
                    <a:pt x="45" y="320"/>
                  </a:lnTo>
                  <a:lnTo>
                    <a:pt x="46" y="318"/>
                  </a:lnTo>
                  <a:lnTo>
                    <a:pt x="49" y="316"/>
                  </a:lnTo>
                  <a:lnTo>
                    <a:pt x="52" y="313"/>
                  </a:lnTo>
                  <a:lnTo>
                    <a:pt x="54" y="312"/>
                  </a:lnTo>
                  <a:lnTo>
                    <a:pt x="55" y="311"/>
                  </a:lnTo>
                  <a:lnTo>
                    <a:pt x="56" y="310"/>
                  </a:lnTo>
                  <a:lnTo>
                    <a:pt x="58" y="310"/>
                  </a:lnTo>
                  <a:lnTo>
                    <a:pt x="64" y="310"/>
                  </a:lnTo>
                  <a:lnTo>
                    <a:pt x="67" y="309"/>
                  </a:lnTo>
                  <a:lnTo>
                    <a:pt x="81" y="307"/>
                  </a:lnTo>
                  <a:lnTo>
                    <a:pt x="84" y="306"/>
                  </a:lnTo>
                  <a:lnTo>
                    <a:pt x="90" y="305"/>
                  </a:lnTo>
                  <a:lnTo>
                    <a:pt x="100" y="303"/>
                  </a:lnTo>
                  <a:lnTo>
                    <a:pt x="102" y="303"/>
                  </a:lnTo>
                  <a:lnTo>
                    <a:pt x="111" y="303"/>
                  </a:lnTo>
                  <a:lnTo>
                    <a:pt x="113" y="303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9" y="301"/>
                  </a:lnTo>
                  <a:lnTo>
                    <a:pt x="121" y="300"/>
                  </a:lnTo>
                  <a:lnTo>
                    <a:pt x="124" y="299"/>
                  </a:lnTo>
                  <a:lnTo>
                    <a:pt x="125" y="297"/>
                  </a:lnTo>
                  <a:lnTo>
                    <a:pt x="126" y="297"/>
                  </a:lnTo>
                  <a:lnTo>
                    <a:pt x="128" y="296"/>
                  </a:lnTo>
                  <a:lnTo>
                    <a:pt x="130" y="293"/>
                  </a:lnTo>
                  <a:lnTo>
                    <a:pt x="134" y="289"/>
                  </a:lnTo>
                  <a:lnTo>
                    <a:pt x="138" y="283"/>
                  </a:lnTo>
                  <a:lnTo>
                    <a:pt x="143" y="277"/>
                  </a:lnTo>
                  <a:lnTo>
                    <a:pt x="147" y="269"/>
                  </a:lnTo>
                  <a:lnTo>
                    <a:pt x="150" y="266"/>
                  </a:lnTo>
                  <a:lnTo>
                    <a:pt x="152" y="264"/>
                  </a:lnTo>
                  <a:lnTo>
                    <a:pt x="154" y="263"/>
                  </a:lnTo>
                  <a:lnTo>
                    <a:pt x="157" y="261"/>
                  </a:lnTo>
                  <a:lnTo>
                    <a:pt x="161" y="256"/>
                  </a:lnTo>
                  <a:lnTo>
                    <a:pt x="168" y="251"/>
                  </a:lnTo>
                  <a:lnTo>
                    <a:pt x="169" y="249"/>
                  </a:lnTo>
                  <a:lnTo>
                    <a:pt x="170" y="247"/>
                  </a:lnTo>
                  <a:lnTo>
                    <a:pt x="170" y="246"/>
                  </a:lnTo>
                  <a:lnTo>
                    <a:pt x="171" y="245"/>
                  </a:lnTo>
                  <a:lnTo>
                    <a:pt x="172" y="243"/>
                  </a:lnTo>
                  <a:lnTo>
                    <a:pt x="172" y="241"/>
                  </a:lnTo>
                  <a:lnTo>
                    <a:pt x="172" y="238"/>
                  </a:lnTo>
                  <a:lnTo>
                    <a:pt x="171" y="236"/>
                  </a:lnTo>
                  <a:lnTo>
                    <a:pt x="171" y="234"/>
                  </a:lnTo>
                  <a:lnTo>
                    <a:pt x="170" y="232"/>
                  </a:lnTo>
                  <a:lnTo>
                    <a:pt x="168" y="226"/>
                  </a:lnTo>
                  <a:lnTo>
                    <a:pt x="165" y="220"/>
                  </a:lnTo>
                  <a:lnTo>
                    <a:pt x="164" y="217"/>
                  </a:lnTo>
                  <a:lnTo>
                    <a:pt x="163" y="213"/>
                  </a:lnTo>
                  <a:lnTo>
                    <a:pt x="162" y="209"/>
                  </a:lnTo>
                  <a:lnTo>
                    <a:pt x="161" y="207"/>
                  </a:lnTo>
                  <a:lnTo>
                    <a:pt x="161" y="203"/>
                  </a:lnTo>
                  <a:lnTo>
                    <a:pt x="161" y="200"/>
                  </a:lnTo>
                  <a:lnTo>
                    <a:pt x="161" y="197"/>
                  </a:lnTo>
                  <a:lnTo>
                    <a:pt x="162" y="194"/>
                  </a:lnTo>
                  <a:lnTo>
                    <a:pt x="163" y="192"/>
                  </a:lnTo>
                  <a:lnTo>
                    <a:pt x="165" y="188"/>
                  </a:lnTo>
                  <a:lnTo>
                    <a:pt x="171" y="178"/>
                  </a:lnTo>
                  <a:lnTo>
                    <a:pt x="173" y="175"/>
                  </a:lnTo>
                  <a:lnTo>
                    <a:pt x="174" y="173"/>
                  </a:lnTo>
                  <a:lnTo>
                    <a:pt x="175" y="173"/>
                  </a:lnTo>
                  <a:lnTo>
                    <a:pt x="176" y="172"/>
                  </a:lnTo>
                  <a:lnTo>
                    <a:pt x="177" y="172"/>
                  </a:lnTo>
                  <a:lnTo>
                    <a:pt x="179" y="171"/>
                  </a:lnTo>
                  <a:lnTo>
                    <a:pt x="181" y="170"/>
                  </a:lnTo>
                  <a:lnTo>
                    <a:pt x="182" y="170"/>
                  </a:lnTo>
                  <a:lnTo>
                    <a:pt x="183" y="170"/>
                  </a:lnTo>
                  <a:lnTo>
                    <a:pt x="185" y="170"/>
                  </a:lnTo>
                  <a:lnTo>
                    <a:pt x="186" y="171"/>
                  </a:lnTo>
                  <a:lnTo>
                    <a:pt x="187" y="172"/>
                  </a:lnTo>
                  <a:lnTo>
                    <a:pt x="188" y="173"/>
                  </a:lnTo>
                  <a:lnTo>
                    <a:pt x="190" y="174"/>
                  </a:lnTo>
                  <a:lnTo>
                    <a:pt x="191" y="176"/>
                  </a:lnTo>
                  <a:lnTo>
                    <a:pt x="191" y="177"/>
                  </a:lnTo>
                  <a:lnTo>
                    <a:pt x="191" y="180"/>
                  </a:lnTo>
                  <a:lnTo>
                    <a:pt x="192" y="187"/>
                  </a:lnTo>
                  <a:lnTo>
                    <a:pt x="192" y="190"/>
                  </a:lnTo>
                  <a:lnTo>
                    <a:pt x="193" y="192"/>
                  </a:lnTo>
                  <a:lnTo>
                    <a:pt x="194" y="194"/>
                  </a:lnTo>
                  <a:lnTo>
                    <a:pt x="195" y="195"/>
                  </a:lnTo>
                  <a:lnTo>
                    <a:pt x="196" y="195"/>
                  </a:lnTo>
                  <a:lnTo>
                    <a:pt x="197" y="196"/>
                  </a:lnTo>
                  <a:lnTo>
                    <a:pt x="198" y="196"/>
                  </a:lnTo>
                  <a:lnTo>
                    <a:pt x="200" y="197"/>
                  </a:lnTo>
                  <a:lnTo>
                    <a:pt x="206" y="197"/>
                  </a:lnTo>
                  <a:lnTo>
                    <a:pt x="210" y="198"/>
                  </a:lnTo>
                  <a:lnTo>
                    <a:pt x="213" y="198"/>
                  </a:lnTo>
                  <a:lnTo>
                    <a:pt x="216" y="199"/>
                  </a:lnTo>
                  <a:lnTo>
                    <a:pt x="223" y="202"/>
                  </a:lnTo>
                  <a:lnTo>
                    <a:pt x="226" y="203"/>
                  </a:lnTo>
                  <a:lnTo>
                    <a:pt x="232" y="204"/>
                  </a:lnTo>
                  <a:lnTo>
                    <a:pt x="237" y="204"/>
                  </a:lnTo>
                  <a:lnTo>
                    <a:pt x="239" y="205"/>
                  </a:lnTo>
                  <a:lnTo>
                    <a:pt x="242" y="205"/>
                  </a:lnTo>
                  <a:lnTo>
                    <a:pt x="245" y="206"/>
                  </a:lnTo>
                  <a:lnTo>
                    <a:pt x="247" y="207"/>
                  </a:lnTo>
                  <a:lnTo>
                    <a:pt x="249" y="207"/>
                  </a:lnTo>
                  <a:lnTo>
                    <a:pt x="251" y="208"/>
                  </a:lnTo>
                  <a:lnTo>
                    <a:pt x="254" y="210"/>
                  </a:lnTo>
                  <a:lnTo>
                    <a:pt x="257" y="213"/>
                  </a:lnTo>
                  <a:lnTo>
                    <a:pt x="264" y="218"/>
                  </a:lnTo>
                  <a:lnTo>
                    <a:pt x="267" y="220"/>
                  </a:lnTo>
                  <a:lnTo>
                    <a:pt x="269" y="221"/>
                  </a:lnTo>
                  <a:lnTo>
                    <a:pt x="271" y="221"/>
                  </a:lnTo>
                  <a:lnTo>
                    <a:pt x="272" y="221"/>
                  </a:lnTo>
                  <a:lnTo>
                    <a:pt x="273" y="220"/>
                  </a:lnTo>
                  <a:lnTo>
                    <a:pt x="275" y="219"/>
                  </a:lnTo>
                  <a:lnTo>
                    <a:pt x="278" y="218"/>
                  </a:lnTo>
                  <a:lnTo>
                    <a:pt x="280" y="216"/>
                  </a:lnTo>
                  <a:lnTo>
                    <a:pt x="282" y="214"/>
                  </a:lnTo>
                  <a:lnTo>
                    <a:pt x="283" y="212"/>
                  </a:lnTo>
                  <a:lnTo>
                    <a:pt x="285" y="209"/>
                  </a:lnTo>
                  <a:lnTo>
                    <a:pt x="288" y="207"/>
                  </a:lnTo>
                  <a:lnTo>
                    <a:pt x="290" y="203"/>
                  </a:lnTo>
                  <a:lnTo>
                    <a:pt x="291" y="201"/>
                  </a:lnTo>
                  <a:lnTo>
                    <a:pt x="293" y="198"/>
                  </a:lnTo>
                  <a:lnTo>
                    <a:pt x="294" y="196"/>
                  </a:lnTo>
                  <a:lnTo>
                    <a:pt x="294" y="195"/>
                  </a:lnTo>
                  <a:lnTo>
                    <a:pt x="295" y="191"/>
                  </a:lnTo>
                  <a:lnTo>
                    <a:pt x="295" y="185"/>
                  </a:lnTo>
                  <a:lnTo>
                    <a:pt x="296" y="183"/>
                  </a:lnTo>
                  <a:lnTo>
                    <a:pt x="296" y="181"/>
                  </a:lnTo>
                  <a:lnTo>
                    <a:pt x="296" y="180"/>
                  </a:lnTo>
                  <a:lnTo>
                    <a:pt x="297" y="179"/>
                  </a:lnTo>
                  <a:lnTo>
                    <a:pt x="298" y="178"/>
                  </a:lnTo>
                  <a:lnTo>
                    <a:pt x="299" y="177"/>
                  </a:lnTo>
                  <a:lnTo>
                    <a:pt x="300" y="176"/>
                  </a:lnTo>
                  <a:lnTo>
                    <a:pt x="303" y="175"/>
                  </a:lnTo>
                  <a:lnTo>
                    <a:pt x="309" y="174"/>
                  </a:lnTo>
                  <a:lnTo>
                    <a:pt x="316" y="173"/>
                  </a:lnTo>
                  <a:lnTo>
                    <a:pt x="320" y="171"/>
                  </a:lnTo>
                  <a:lnTo>
                    <a:pt x="323" y="171"/>
                  </a:lnTo>
                  <a:lnTo>
                    <a:pt x="327" y="170"/>
                  </a:lnTo>
                  <a:lnTo>
                    <a:pt x="333" y="169"/>
                  </a:lnTo>
                  <a:lnTo>
                    <a:pt x="337" y="169"/>
                  </a:lnTo>
                  <a:lnTo>
                    <a:pt x="340" y="169"/>
                  </a:lnTo>
                  <a:lnTo>
                    <a:pt x="344" y="169"/>
                  </a:lnTo>
                  <a:lnTo>
                    <a:pt x="347" y="170"/>
                  </a:lnTo>
                  <a:lnTo>
                    <a:pt x="350" y="170"/>
                  </a:lnTo>
                  <a:lnTo>
                    <a:pt x="351" y="171"/>
                  </a:lnTo>
                  <a:lnTo>
                    <a:pt x="353" y="172"/>
                  </a:lnTo>
                  <a:lnTo>
                    <a:pt x="358" y="173"/>
                  </a:lnTo>
                  <a:lnTo>
                    <a:pt x="360" y="173"/>
                  </a:lnTo>
                  <a:lnTo>
                    <a:pt x="363" y="174"/>
                  </a:lnTo>
                  <a:lnTo>
                    <a:pt x="364" y="174"/>
                  </a:lnTo>
                  <a:lnTo>
                    <a:pt x="367" y="175"/>
                  </a:lnTo>
                  <a:lnTo>
                    <a:pt x="369" y="175"/>
                  </a:lnTo>
                  <a:lnTo>
                    <a:pt x="372" y="174"/>
                  </a:lnTo>
                  <a:lnTo>
                    <a:pt x="374" y="174"/>
                  </a:lnTo>
                  <a:lnTo>
                    <a:pt x="377" y="174"/>
                  </a:lnTo>
                  <a:lnTo>
                    <a:pt x="379" y="173"/>
                  </a:lnTo>
                  <a:lnTo>
                    <a:pt x="381" y="173"/>
                  </a:lnTo>
                  <a:lnTo>
                    <a:pt x="383" y="172"/>
                  </a:lnTo>
                  <a:lnTo>
                    <a:pt x="385" y="171"/>
                  </a:lnTo>
                  <a:lnTo>
                    <a:pt x="386" y="170"/>
                  </a:lnTo>
                  <a:lnTo>
                    <a:pt x="387" y="168"/>
                  </a:lnTo>
                  <a:lnTo>
                    <a:pt x="390" y="165"/>
                  </a:lnTo>
                  <a:lnTo>
                    <a:pt x="391" y="163"/>
                  </a:lnTo>
                  <a:lnTo>
                    <a:pt x="393" y="161"/>
                  </a:lnTo>
                  <a:lnTo>
                    <a:pt x="394" y="159"/>
                  </a:lnTo>
                  <a:lnTo>
                    <a:pt x="395" y="157"/>
                  </a:lnTo>
                  <a:lnTo>
                    <a:pt x="395" y="155"/>
                  </a:lnTo>
                  <a:lnTo>
                    <a:pt x="396" y="153"/>
                  </a:lnTo>
                  <a:lnTo>
                    <a:pt x="395" y="151"/>
                  </a:lnTo>
                  <a:lnTo>
                    <a:pt x="395" y="149"/>
                  </a:lnTo>
                  <a:lnTo>
                    <a:pt x="395" y="146"/>
                  </a:lnTo>
                  <a:lnTo>
                    <a:pt x="394" y="144"/>
                  </a:lnTo>
                  <a:lnTo>
                    <a:pt x="392" y="139"/>
                  </a:lnTo>
                  <a:lnTo>
                    <a:pt x="386" y="128"/>
                  </a:lnTo>
                  <a:lnTo>
                    <a:pt x="386" y="126"/>
                  </a:lnTo>
                  <a:lnTo>
                    <a:pt x="385" y="125"/>
                  </a:lnTo>
                  <a:lnTo>
                    <a:pt x="385" y="123"/>
                  </a:lnTo>
                  <a:lnTo>
                    <a:pt x="385" y="122"/>
                  </a:lnTo>
                  <a:lnTo>
                    <a:pt x="385" y="121"/>
                  </a:lnTo>
                  <a:lnTo>
                    <a:pt x="385" y="120"/>
                  </a:lnTo>
                  <a:lnTo>
                    <a:pt x="386" y="119"/>
                  </a:lnTo>
                  <a:lnTo>
                    <a:pt x="386" y="119"/>
                  </a:lnTo>
                  <a:lnTo>
                    <a:pt x="387" y="118"/>
                  </a:lnTo>
                  <a:lnTo>
                    <a:pt x="388" y="117"/>
                  </a:lnTo>
                  <a:lnTo>
                    <a:pt x="389" y="117"/>
                  </a:lnTo>
                  <a:lnTo>
                    <a:pt x="391" y="116"/>
                  </a:lnTo>
                  <a:lnTo>
                    <a:pt x="393" y="116"/>
                  </a:lnTo>
                  <a:lnTo>
                    <a:pt x="395" y="116"/>
                  </a:lnTo>
                  <a:lnTo>
                    <a:pt x="397" y="116"/>
                  </a:lnTo>
                  <a:lnTo>
                    <a:pt x="397" y="116"/>
                  </a:lnTo>
                  <a:lnTo>
                    <a:pt x="403" y="118"/>
                  </a:lnTo>
                  <a:lnTo>
                    <a:pt x="405" y="118"/>
                  </a:lnTo>
                  <a:lnTo>
                    <a:pt x="407" y="118"/>
                  </a:lnTo>
                  <a:lnTo>
                    <a:pt x="408" y="118"/>
                  </a:lnTo>
                  <a:lnTo>
                    <a:pt x="408" y="118"/>
                  </a:lnTo>
                  <a:lnTo>
                    <a:pt x="409" y="117"/>
                  </a:lnTo>
                  <a:lnTo>
                    <a:pt x="410" y="117"/>
                  </a:lnTo>
                  <a:lnTo>
                    <a:pt x="411" y="116"/>
                  </a:lnTo>
                  <a:lnTo>
                    <a:pt x="412" y="116"/>
                  </a:lnTo>
                  <a:lnTo>
                    <a:pt x="413" y="114"/>
                  </a:lnTo>
                  <a:lnTo>
                    <a:pt x="417" y="109"/>
                  </a:lnTo>
                  <a:lnTo>
                    <a:pt x="419" y="107"/>
                  </a:lnTo>
                  <a:lnTo>
                    <a:pt x="420" y="105"/>
                  </a:lnTo>
                  <a:lnTo>
                    <a:pt x="422" y="105"/>
                  </a:lnTo>
                  <a:lnTo>
                    <a:pt x="424" y="104"/>
                  </a:lnTo>
                  <a:lnTo>
                    <a:pt x="425" y="103"/>
                  </a:lnTo>
                  <a:lnTo>
                    <a:pt x="428" y="103"/>
                  </a:lnTo>
                  <a:lnTo>
                    <a:pt x="431" y="104"/>
                  </a:lnTo>
                  <a:lnTo>
                    <a:pt x="432" y="104"/>
                  </a:lnTo>
                  <a:lnTo>
                    <a:pt x="433" y="105"/>
                  </a:lnTo>
                  <a:lnTo>
                    <a:pt x="436" y="105"/>
                  </a:lnTo>
                  <a:lnTo>
                    <a:pt x="440" y="108"/>
                  </a:lnTo>
                  <a:lnTo>
                    <a:pt x="442" y="111"/>
                  </a:lnTo>
                  <a:lnTo>
                    <a:pt x="445" y="113"/>
                  </a:lnTo>
                  <a:lnTo>
                    <a:pt x="450" y="117"/>
                  </a:lnTo>
                  <a:lnTo>
                    <a:pt x="452" y="119"/>
                  </a:lnTo>
                  <a:lnTo>
                    <a:pt x="454" y="120"/>
                  </a:lnTo>
                  <a:lnTo>
                    <a:pt x="455" y="122"/>
                  </a:lnTo>
                  <a:lnTo>
                    <a:pt x="457" y="123"/>
                  </a:lnTo>
                  <a:lnTo>
                    <a:pt x="460" y="124"/>
                  </a:lnTo>
                  <a:lnTo>
                    <a:pt x="464" y="125"/>
                  </a:lnTo>
                  <a:lnTo>
                    <a:pt x="466" y="126"/>
                  </a:lnTo>
                  <a:lnTo>
                    <a:pt x="469" y="126"/>
                  </a:lnTo>
                  <a:lnTo>
                    <a:pt x="472" y="126"/>
                  </a:lnTo>
                  <a:lnTo>
                    <a:pt x="476" y="126"/>
                  </a:lnTo>
                  <a:lnTo>
                    <a:pt x="480" y="125"/>
                  </a:lnTo>
                  <a:lnTo>
                    <a:pt x="488" y="123"/>
                  </a:lnTo>
                  <a:lnTo>
                    <a:pt x="490" y="122"/>
                  </a:lnTo>
                  <a:lnTo>
                    <a:pt x="492" y="121"/>
                  </a:lnTo>
                  <a:lnTo>
                    <a:pt x="493" y="120"/>
                  </a:lnTo>
                  <a:lnTo>
                    <a:pt x="494" y="119"/>
                  </a:lnTo>
                  <a:lnTo>
                    <a:pt x="496" y="118"/>
                  </a:lnTo>
                  <a:lnTo>
                    <a:pt x="497" y="116"/>
                  </a:lnTo>
                  <a:lnTo>
                    <a:pt x="498" y="115"/>
                  </a:lnTo>
                  <a:lnTo>
                    <a:pt x="500" y="109"/>
                  </a:lnTo>
                  <a:lnTo>
                    <a:pt x="503" y="101"/>
                  </a:lnTo>
                  <a:lnTo>
                    <a:pt x="506" y="93"/>
                  </a:lnTo>
                  <a:lnTo>
                    <a:pt x="508" y="90"/>
                  </a:lnTo>
                  <a:lnTo>
                    <a:pt x="509" y="85"/>
                  </a:lnTo>
                  <a:lnTo>
                    <a:pt x="510" y="82"/>
                  </a:lnTo>
                  <a:lnTo>
                    <a:pt x="510" y="80"/>
                  </a:lnTo>
                  <a:lnTo>
                    <a:pt x="511" y="73"/>
                  </a:lnTo>
                  <a:lnTo>
                    <a:pt x="511" y="71"/>
                  </a:lnTo>
                  <a:lnTo>
                    <a:pt x="511" y="69"/>
                  </a:lnTo>
                  <a:lnTo>
                    <a:pt x="511" y="67"/>
                  </a:lnTo>
                  <a:lnTo>
                    <a:pt x="512" y="65"/>
                  </a:lnTo>
                  <a:lnTo>
                    <a:pt x="514" y="63"/>
                  </a:lnTo>
                  <a:lnTo>
                    <a:pt x="519" y="59"/>
                  </a:lnTo>
                  <a:lnTo>
                    <a:pt x="523" y="54"/>
                  </a:lnTo>
                  <a:lnTo>
                    <a:pt x="524" y="52"/>
                  </a:lnTo>
                  <a:lnTo>
                    <a:pt x="527" y="49"/>
                  </a:lnTo>
                  <a:lnTo>
                    <a:pt x="533" y="46"/>
                  </a:lnTo>
                  <a:lnTo>
                    <a:pt x="534" y="45"/>
                  </a:lnTo>
                  <a:lnTo>
                    <a:pt x="536" y="43"/>
                  </a:lnTo>
                  <a:lnTo>
                    <a:pt x="538" y="41"/>
                  </a:lnTo>
                  <a:lnTo>
                    <a:pt x="539" y="39"/>
                  </a:lnTo>
                  <a:lnTo>
                    <a:pt x="540" y="37"/>
                  </a:lnTo>
                  <a:lnTo>
                    <a:pt x="542" y="35"/>
                  </a:lnTo>
                  <a:lnTo>
                    <a:pt x="545" y="30"/>
                  </a:lnTo>
                  <a:lnTo>
                    <a:pt x="546" y="28"/>
                  </a:lnTo>
                  <a:lnTo>
                    <a:pt x="547" y="27"/>
                  </a:lnTo>
                  <a:lnTo>
                    <a:pt x="548" y="26"/>
                  </a:lnTo>
                  <a:lnTo>
                    <a:pt x="550" y="26"/>
                  </a:lnTo>
                  <a:lnTo>
                    <a:pt x="552" y="26"/>
                  </a:lnTo>
                  <a:lnTo>
                    <a:pt x="555" y="26"/>
                  </a:lnTo>
                  <a:lnTo>
                    <a:pt x="558" y="27"/>
                  </a:lnTo>
                  <a:lnTo>
                    <a:pt x="565" y="29"/>
                  </a:lnTo>
                  <a:lnTo>
                    <a:pt x="568" y="30"/>
                  </a:lnTo>
                  <a:lnTo>
                    <a:pt x="572" y="31"/>
                  </a:lnTo>
                  <a:lnTo>
                    <a:pt x="575" y="31"/>
                  </a:lnTo>
                  <a:lnTo>
                    <a:pt x="576" y="31"/>
                  </a:lnTo>
                  <a:lnTo>
                    <a:pt x="578" y="31"/>
                  </a:lnTo>
                  <a:lnTo>
                    <a:pt x="579" y="30"/>
                  </a:lnTo>
                  <a:lnTo>
                    <a:pt x="581" y="30"/>
                  </a:lnTo>
                  <a:lnTo>
                    <a:pt x="582" y="29"/>
                  </a:lnTo>
                  <a:lnTo>
                    <a:pt x="584" y="28"/>
                  </a:lnTo>
                  <a:lnTo>
                    <a:pt x="586" y="27"/>
                  </a:lnTo>
                  <a:lnTo>
                    <a:pt x="587" y="26"/>
                  </a:lnTo>
                  <a:lnTo>
                    <a:pt x="589" y="25"/>
                  </a:lnTo>
                  <a:lnTo>
                    <a:pt x="590" y="24"/>
                  </a:lnTo>
                  <a:lnTo>
                    <a:pt x="591" y="22"/>
                  </a:lnTo>
                  <a:lnTo>
                    <a:pt x="594" y="18"/>
                  </a:lnTo>
                  <a:lnTo>
                    <a:pt x="597" y="14"/>
                  </a:lnTo>
                  <a:lnTo>
                    <a:pt x="598" y="11"/>
                  </a:lnTo>
                  <a:lnTo>
                    <a:pt x="600" y="9"/>
                  </a:lnTo>
                  <a:lnTo>
                    <a:pt x="601" y="7"/>
                  </a:lnTo>
                  <a:lnTo>
                    <a:pt x="601" y="4"/>
                  </a:lnTo>
                  <a:lnTo>
                    <a:pt x="602" y="3"/>
                  </a:lnTo>
                  <a:lnTo>
                    <a:pt x="602" y="2"/>
                  </a:lnTo>
                  <a:lnTo>
                    <a:pt x="602" y="2"/>
                  </a:lnTo>
                  <a:lnTo>
                    <a:pt x="604" y="2"/>
                  </a:lnTo>
                  <a:lnTo>
                    <a:pt x="608" y="2"/>
                  </a:lnTo>
                  <a:lnTo>
                    <a:pt x="610" y="1"/>
                  </a:lnTo>
                  <a:lnTo>
                    <a:pt x="612" y="0"/>
                  </a:lnTo>
                  <a:lnTo>
                    <a:pt x="613" y="0"/>
                  </a:lnTo>
                  <a:lnTo>
                    <a:pt x="614" y="0"/>
                  </a:lnTo>
                  <a:lnTo>
                    <a:pt x="616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4" name="Freeform 107">
              <a:extLst>
                <a:ext uri="{FF2B5EF4-FFF2-40B4-BE49-F238E27FC236}">
                  <a16:creationId xmlns:a16="http://schemas.microsoft.com/office/drawing/2014/main" id="{0081525A-36CE-491F-B875-5C6F70754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9" y="1811"/>
              <a:ext cx="1156" cy="1071"/>
            </a:xfrm>
            <a:custGeom>
              <a:avLst/>
              <a:gdLst>
                <a:gd name="T0" fmla="*/ 263 w 1156"/>
                <a:gd name="T1" fmla="*/ 20 h 1071"/>
                <a:gd name="T2" fmla="*/ 261 w 1156"/>
                <a:gd name="T3" fmla="*/ 62 h 1071"/>
                <a:gd name="T4" fmla="*/ 283 w 1156"/>
                <a:gd name="T5" fmla="*/ 115 h 1071"/>
                <a:gd name="T6" fmla="*/ 253 w 1156"/>
                <a:gd name="T7" fmla="*/ 143 h 1071"/>
                <a:gd name="T8" fmla="*/ 176 w 1156"/>
                <a:gd name="T9" fmla="*/ 181 h 1071"/>
                <a:gd name="T10" fmla="*/ 176 w 1156"/>
                <a:gd name="T11" fmla="*/ 212 h 1071"/>
                <a:gd name="T12" fmla="*/ 232 w 1156"/>
                <a:gd name="T13" fmla="*/ 247 h 1071"/>
                <a:gd name="T14" fmla="*/ 273 w 1156"/>
                <a:gd name="T15" fmla="*/ 275 h 1071"/>
                <a:gd name="T16" fmla="*/ 314 w 1156"/>
                <a:gd name="T17" fmla="*/ 352 h 1071"/>
                <a:gd name="T18" fmla="*/ 367 w 1156"/>
                <a:gd name="T19" fmla="*/ 395 h 1071"/>
                <a:gd name="T20" fmla="*/ 421 w 1156"/>
                <a:gd name="T21" fmla="*/ 390 h 1071"/>
                <a:gd name="T22" fmla="*/ 498 w 1156"/>
                <a:gd name="T23" fmla="*/ 356 h 1071"/>
                <a:gd name="T24" fmla="*/ 504 w 1156"/>
                <a:gd name="T25" fmla="*/ 331 h 1071"/>
                <a:gd name="T26" fmla="*/ 484 w 1156"/>
                <a:gd name="T27" fmla="*/ 310 h 1071"/>
                <a:gd name="T28" fmla="*/ 520 w 1156"/>
                <a:gd name="T29" fmla="*/ 302 h 1071"/>
                <a:gd name="T30" fmla="*/ 563 w 1156"/>
                <a:gd name="T31" fmla="*/ 365 h 1071"/>
                <a:gd name="T32" fmla="*/ 611 w 1156"/>
                <a:gd name="T33" fmla="*/ 371 h 1071"/>
                <a:gd name="T34" fmla="*/ 643 w 1156"/>
                <a:gd name="T35" fmla="*/ 386 h 1071"/>
                <a:gd name="T36" fmla="*/ 690 w 1156"/>
                <a:gd name="T37" fmla="*/ 413 h 1071"/>
                <a:gd name="T38" fmla="*/ 723 w 1156"/>
                <a:gd name="T39" fmla="*/ 453 h 1071"/>
                <a:gd name="T40" fmla="*/ 742 w 1156"/>
                <a:gd name="T41" fmla="*/ 426 h 1071"/>
                <a:gd name="T42" fmla="*/ 809 w 1156"/>
                <a:gd name="T43" fmla="*/ 436 h 1071"/>
                <a:gd name="T44" fmla="*/ 886 w 1156"/>
                <a:gd name="T45" fmla="*/ 467 h 1071"/>
                <a:gd name="T46" fmla="*/ 903 w 1156"/>
                <a:gd name="T47" fmla="*/ 445 h 1071"/>
                <a:gd name="T48" fmla="*/ 921 w 1156"/>
                <a:gd name="T49" fmla="*/ 484 h 1071"/>
                <a:gd name="T50" fmla="*/ 938 w 1156"/>
                <a:gd name="T51" fmla="*/ 513 h 1071"/>
                <a:gd name="T52" fmla="*/ 933 w 1156"/>
                <a:gd name="T53" fmla="*/ 573 h 1071"/>
                <a:gd name="T54" fmla="*/ 977 w 1156"/>
                <a:gd name="T55" fmla="*/ 678 h 1071"/>
                <a:gd name="T56" fmla="*/ 1032 w 1156"/>
                <a:gd name="T57" fmla="*/ 701 h 1071"/>
                <a:gd name="T58" fmla="*/ 1086 w 1156"/>
                <a:gd name="T59" fmla="*/ 719 h 1071"/>
                <a:gd name="T60" fmla="*/ 1120 w 1156"/>
                <a:gd name="T61" fmla="*/ 770 h 1071"/>
                <a:gd name="T62" fmla="*/ 1155 w 1156"/>
                <a:gd name="T63" fmla="*/ 873 h 1071"/>
                <a:gd name="T64" fmla="*/ 1132 w 1156"/>
                <a:gd name="T65" fmla="*/ 916 h 1071"/>
                <a:gd name="T66" fmla="*/ 1065 w 1156"/>
                <a:gd name="T67" fmla="*/ 942 h 1071"/>
                <a:gd name="T68" fmla="*/ 971 w 1156"/>
                <a:gd name="T69" fmla="*/ 940 h 1071"/>
                <a:gd name="T70" fmla="*/ 928 w 1156"/>
                <a:gd name="T71" fmla="*/ 942 h 1071"/>
                <a:gd name="T72" fmla="*/ 915 w 1156"/>
                <a:gd name="T73" fmla="*/ 986 h 1071"/>
                <a:gd name="T74" fmla="*/ 855 w 1156"/>
                <a:gd name="T75" fmla="*/ 1065 h 1071"/>
                <a:gd name="T76" fmla="*/ 805 w 1156"/>
                <a:gd name="T77" fmla="*/ 1064 h 1071"/>
                <a:gd name="T78" fmla="*/ 773 w 1156"/>
                <a:gd name="T79" fmla="*/ 1017 h 1071"/>
                <a:gd name="T80" fmla="*/ 722 w 1156"/>
                <a:gd name="T81" fmla="*/ 965 h 1071"/>
                <a:gd name="T82" fmla="*/ 653 w 1156"/>
                <a:gd name="T83" fmla="*/ 961 h 1071"/>
                <a:gd name="T84" fmla="*/ 587 w 1156"/>
                <a:gd name="T85" fmla="*/ 937 h 1071"/>
                <a:gd name="T86" fmla="*/ 497 w 1156"/>
                <a:gd name="T87" fmla="*/ 947 h 1071"/>
                <a:gd name="T88" fmla="*/ 448 w 1156"/>
                <a:gd name="T89" fmla="*/ 917 h 1071"/>
                <a:gd name="T90" fmla="*/ 418 w 1156"/>
                <a:gd name="T91" fmla="*/ 891 h 1071"/>
                <a:gd name="T92" fmla="*/ 387 w 1156"/>
                <a:gd name="T93" fmla="*/ 899 h 1071"/>
                <a:gd name="T94" fmla="*/ 379 w 1156"/>
                <a:gd name="T95" fmla="*/ 854 h 1071"/>
                <a:gd name="T96" fmla="*/ 311 w 1156"/>
                <a:gd name="T97" fmla="*/ 781 h 1071"/>
                <a:gd name="T98" fmla="*/ 282 w 1156"/>
                <a:gd name="T99" fmla="*/ 771 h 1071"/>
                <a:gd name="T100" fmla="*/ 252 w 1156"/>
                <a:gd name="T101" fmla="*/ 739 h 1071"/>
                <a:gd name="T102" fmla="*/ 253 w 1156"/>
                <a:gd name="T103" fmla="*/ 677 h 1071"/>
                <a:gd name="T104" fmla="*/ 208 w 1156"/>
                <a:gd name="T105" fmla="*/ 671 h 1071"/>
                <a:gd name="T106" fmla="*/ 145 w 1156"/>
                <a:gd name="T107" fmla="*/ 659 h 1071"/>
                <a:gd name="T108" fmla="*/ 106 w 1156"/>
                <a:gd name="T109" fmla="*/ 619 h 1071"/>
                <a:gd name="T110" fmla="*/ 91 w 1156"/>
                <a:gd name="T111" fmla="*/ 569 h 1071"/>
                <a:gd name="T112" fmla="*/ 65 w 1156"/>
                <a:gd name="T113" fmla="*/ 544 h 1071"/>
                <a:gd name="T114" fmla="*/ 58 w 1156"/>
                <a:gd name="T115" fmla="*/ 589 h 1071"/>
                <a:gd name="T116" fmla="*/ 34 w 1156"/>
                <a:gd name="T117" fmla="*/ 604 h 1071"/>
                <a:gd name="T118" fmla="*/ 4 w 1156"/>
                <a:gd name="T119" fmla="*/ 615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56" h="1071">
                  <a:moveTo>
                    <a:pt x="237" y="0"/>
                  </a:moveTo>
                  <a:lnTo>
                    <a:pt x="238" y="0"/>
                  </a:lnTo>
                  <a:lnTo>
                    <a:pt x="240" y="1"/>
                  </a:lnTo>
                  <a:lnTo>
                    <a:pt x="242" y="1"/>
                  </a:lnTo>
                  <a:lnTo>
                    <a:pt x="243" y="2"/>
                  </a:lnTo>
                  <a:lnTo>
                    <a:pt x="244" y="2"/>
                  </a:lnTo>
                  <a:lnTo>
                    <a:pt x="247" y="4"/>
                  </a:lnTo>
                  <a:lnTo>
                    <a:pt x="249" y="5"/>
                  </a:lnTo>
                  <a:lnTo>
                    <a:pt x="251" y="7"/>
                  </a:lnTo>
                  <a:lnTo>
                    <a:pt x="253" y="10"/>
                  </a:lnTo>
                  <a:lnTo>
                    <a:pt x="254" y="11"/>
                  </a:lnTo>
                  <a:lnTo>
                    <a:pt x="255" y="13"/>
                  </a:lnTo>
                  <a:lnTo>
                    <a:pt x="256" y="15"/>
                  </a:lnTo>
                  <a:lnTo>
                    <a:pt x="257" y="17"/>
                  </a:lnTo>
                  <a:lnTo>
                    <a:pt x="257" y="18"/>
                  </a:lnTo>
                  <a:lnTo>
                    <a:pt x="260" y="19"/>
                  </a:lnTo>
                  <a:lnTo>
                    <a:pt x="263" y="20"/>
                  </a:lnTo>
                  <a:lnTo>
                    <a:pt x="265" y="20"/>
                  </a:lnTo>
                  <a:lnTo>
                    <a:pt x="266" y="21"/>
                  </a:lnTo>
                  <a:lnTo>
                    <a:pt x="267" y="22"/>
                  </a:lnTo>
                  <a:lnTo>
                    <a:pt x="268" y="23"/>
                  </a:lnTo>
                  <a:lnTo>
                    <a:pt x="269" y="25"/>
                  </a:lnTo>
                  <a:lnTo>
                    <a:pt x="269" y="25"/>
                  </a:lnTo>
                  <a:lnTo>
                    <a:pt x="270" y="27"/>
                  </a:lnTo>
                  <a:lnTo>
                    <a:pt x="270" y="29"/>
                  </a:lnTo>
                  <a:lnTo>
                    <a:pt x="269" y="31"/>
                  </a:lnTo>
                  <a:lnTo>
                    <a:pt x="269" y="33"/>
                  </a:lnTo>
                  <a:lnTo>
                    <a:pt x="268" y="36"/>
                  </a:lnTo>
                  <a:lnTo>
                    <a:pt x="264" y="46"/>
                  </a:lnTo>
                  <a:lnTo>
                    <a:pt x="263" y="51"/>
                  </a:lnTo>
                  <a:lnTo>
                    <a:pt x="262" y="54"/>
                  </a:lnTo>
                  <a:lnTo>
                    <a:pt x="261" y="57"/>
                  </a:lnTo>
                  <a:lnTo>
                    <a:pt x="261" y="59"/>
                  </a:lnTo>
                  <a:lnTo>
                    <a:pt x="261" y="62"/>
                  </a:lnTo>
                  <a:lnTo>
                    <a:pt x="261" y="65"/>
                  </a:lnTo>
                  <a:lnTo>
                    <a:pt x="262" y="68"/>
                  </a:lnTo>
                  <a:lnTo>
                    <a:pt x="263" y="70"/>
                  </a:lnTo>
                  <a:lnTo>
                    <a:pt x="264" y="73"/>
                  </a:lnTo>
                  <a:lnTo>
                    <a:pt x="265" y="76"/>
                  </a:lnTo>
                  <a:lnTo>
                    <a:pt x="266" y="79"/>
                  </a:lnTo>
                  <a:lnTo>
                    <a:pt x="268" y="81"/>
                  </a:lnTo>
                  <a:lnTo>
                    <a:pt x="276" y="90"/>
                  </a:lnTo>
                  <a:lnTo>
                    <a:pt x="278" y="93"/>
                  </a:lnTo>
                  <a:lnTo>
                    <a:pt x="279" y="96"/>
                  </a:lnTo>
                  <a:lnTo>
                    <a:pt x="281" y="98"/>
                  </a:lnTo>
                  <a:lnTo>
                    <a:pt x="281" y="99"/>
                  </a:lnTo>
                  <a:lnTo>
                    <a:pt x="282" y="101"/>
                  </a:lnTo>
                  <a:lnTo>
                    <a:pt x="283" y="104"/>
                  </a:lnTo>
                  <a:lnTo>
                    <a:pt x="283" y="107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83" y="118"/>
                  </a:lnTo>
                  <a:lnTo>
                    <a:pt x="282" y="121"/>
                  </a:lnTo>
                  <a:lnTo>
                    <a:pt x="282" y="124"/>
                  </a:lnTo>
                  <a:lnTo>
                    <a:pt x="281" y="126"/>
                  </a:lnTo>
                  <a:lnTo>
                    <a:pt x="279" y="127"/>
                  </a:lnTo>
                  <a:lnTo>
                    <a:pt x="279" y="128"/>
                  </a:lnTo>
                  <a:lnTo>
                    <a:pt x="278" y="130"/>
                  </a:lnTo>
                  <a:lnTo>
                    <a:pt x="276" y="132"/>
                  </a:lnTo>
                  <a:lnTo>
                    <a:pt x="274" y="133"/>
                  </a:lnTo>
                  <a:lnTo>
                    <a:pt x="272" y="134"/>
                  </a:lnTo>
                  <a:lnTo>
                    <a:pt x="269" y="136"/>
                  </a:lnTo>
                  <a:lnTo>
                    <a:pt x="267" y="136"/>
                  </a:lnTo>
                  <a:lnTo>
                    <a:pt x="262" y="138"/>
                  </a:lnTo>
                  <a:lnTo>
                    <a:pt x="260" y="138"/>
                  </a:lnTo>
                  <a:lnTo>
                    <a:pt x="257" y="139"/>
                  </a:lnTo>
                  <a:lnTo>
                    <a:pt x="254" y="141"/>
                  </a:lnTo>
                  <a:lnTo>
                    <a:pt x="253" y="143"/>
                  </a:lnTo>
                  <a:lnTo>
                    <a:pt x="252" y="145"/>
                  </a:lnTo>
                  <a:lnTo>
                    <a:pt x="251" y="146"/>
                  </a:lnTo>
                  <a:lnTo>
                    <a:pt x="247" y="151"/>
                  </a:lnTo>
                  <a:lnTo>
                    <a:pt x="245" y="153"/>
                  </a:lnTo>
                  <a:lnTo>
                    <a:pt x="243" y="155"/>
                  </a:lnTo>
                  <a:lnTo>
                    <a:pt x="242" y="157"/>
                  </a:lnTo>
                  <a:lnTo>
                    <a:pt x="241" y="158"/>
                  </a:lnTo>
                  <a:lnTo>
                    <a:pt x="239" y="159"/>
                  </a:lnTo>
                  <a:lnTo>
                    <a:pt x="237" y="160"/>
                  </a:lnTo>
                  <a:lnTo>
                    <a:pt x="235" y="161"/>
                  </a:lnTo>
                  <a:lnTo>
                    <a:pt x="233" y="162"/>
                  </a:lnTo>
                  <a:lnTo>
                    <a:pt x="228" y="164"/>
                  </a:lnTo>
                  <a:lnTo>
                    <a:pt x="215" y="168"/>
                  </a:lnTo>
                  <a:lnTo>
                    <a:pt x="199" y="172"/>
                  </a:lnTo>
                  <a:lnTo>
                    <a:pt x="191" y="175"/>
                  </a:lnTo>
                  <a:lnTo>
                    <a:pt x="178" y="180"/>
                  </a:lnTo>
                  <a:lnTo>
                    <a:pt x="176" y="181"/>
                  </a:lnTo>
                  <a:lnTo>
                    <a:pt x="174" y="183"/>
                  </a:lnTo>
                  <a:lnTo>
                    <a:pt x="173" y="183"/>
                  </a:lnTo>
                  <a:lnTo>
                    <a:pt x="171" y="185"/>
                  </a:lnTo>
                  <a:lnTo>
                    <a:pt x="170" y="186"/>
                  </a:lnTo>
                  <a:lnTo>
                    <a:pt x="169" y="188"/>
                  </a:lnTo>
                  <a:lnTo>
                    <a:pt x="168" y="190"/>
                  </a:lnTo>
                  <a:lnTo>
                    <a:pt x="167" y="192"/>
                  </a:lnTo>
                  <a:lnTo>
                    <a:pt x="167" y="194"/>
                  </a:lnTo>
                  <a:lnTo>
                    <a:pt x="167" y="195"/>
                  </a:lnTo>
                  <a:lnTo>
                    <a:pt x="168" y="197"/>
                  </a:lnTo>
                  <a:lnTo>
                    <a:pt x="169" y="199"/>
                  </a:lnTo>
                  <a:lnTo>
                    <a:pt x="169" y="201"/>
                  </a:lnTo>
                  <a:lnTo>
                    <a:pt x="171" y="204"/>
                  </a:lnTo>
                  <a:lnTo>
                    <a:pt x="172" y="206"/>
                  </a:lnTo>
                  <a:lnTo>
                    <a:pt x="174" y="208"/>
                  </a:lnTo>
                  <a:lnTo>
                    <a:pt x="175" y="210"/>
                  </a:lnTo>
                  <a:lnTo>
                    <a:pt x="176" y="212"/>
                  </a:lnTo>
                  <a:lnTo>
                    <a:pt x="178" y="215"/>
                  </a:lnTo>
                  <a:lnTo>
                    <a:pt x="182" y="217"/>
                  </a:lnTo>
                  <a:lnTo>
                    <a:pt x="191" y="226"/>
                  </a:lnTo>
                  <a:lnTo>
                    <a:pt x="194" y="229"/>
                  </a:lnTo>
                  <a:lnTo>
                    <a:pt x="197" y="232"/>
                  </a:lnTo>
                  <a:lnTo>
                    <a:pt x="202" y="239"/>
                  </a:lnTo>
                  <a:lnTo>
                    <a:pt x="205" y="240"/>
                  </a:lnTo>
                  <a:lnTo>
                    <a:pt x="208" y="243"/>
                  </a:lnTo>
                  <a:lnTo>
                    <a:pt x="209" y="245"/>
                  </a:lnTo>
                  <a:lnTo>
                    <a:pt x="213" y="247"/>
                  </a:lnTo>
                  <a:lnTo>
                    <a:pt x="216" y="249"/>
                  </a:lnTo>
                  <a:lnTo>
                    <a:pt x="220" y="250"/>
                  </a:lnTo>
                  <a:lnTo>
                    <a:pt x="222" y="250"/>
                  </a:lnTo>
                  <a:lnTo>
                    <a:pt x="224" y="250"/>
                  </a:lnTo>
                  <a:lnTo>
                    <a:pt x="226" y="250"/>
                  </a:lnTo>
                  <a:lnTo>
                    <a:pt x="228" y="249"/>
                  </a:lnTo>
                  <a:lnTo>
                    <a:pt x="232" y="247"/>
                  </a:lnTo>
                  <a:lnTo>
                    <a:pt x="236" y="247"/>
                  </a:lnTo>
                  <a:lnTo>
                    <a:pt x="238" y="247"/>
                  </a:lnTo>
                  <a:lnTo>
                    <a:pt x="240" y="247"/>
                  </a:lnTo>
                  <a:lnTo>
                    <a:pt x="242" y="247"/>
                  </a:lnTo>
                  <a:lnTo>
                    <a:pt x="243" y="247"/>
                  </a:lnTo>
                  <a:lnTo>
                    <a:pt x="245" y="248"/>
                  </a:lnTo>
                  <a:lnTo>
                    <a:pt x="247" y="249"/>
                  </a:lnTo>
                  <a:lnTo>
                    <a:pt x="250" y="250"/>
                  </a:lnTo>
                  <a:lnTo>
                    <a:pt x="252" y="251"/>
                  </a:lnTo>
                  <a:lnTo>
                    <a:pt x="254" y="252"/>
                  </a:lnTo>
                  <a:lnTo>
                    <a:pt x="256" y="254"/>
                  </a:lnTo>
                  <a:lnTo>
                    <a:pt x="258" y="256"/>
                  </a:lnTo>
                  <a:lnTo>
                    <a:pt x="261" y="259"/>
                  </a:lnTo>
                  <a:lnTo>
                    <a:pt x="264" y="262"/>
                  </a:lnTo>
                  <a:lnTo>
                    <a:pt x="265" y="263"/>
                  </a:lnTo>
                  <a:lnTo>
                    <a:pt x="270" y="272"/>
                  </a:lnTo>
                  <a:lnTo>
                    <a:pt x="273" y="275"/>
                  </a:lnTo>
                  <a:lnTo>
                    <a:pt x="281" y="285"/>
                  </a:lnTo>
                  <a:lnTo>
                    <a:pt x="284" y="289"/>
                  </a:lnTo>
                  <a:lnTo>
                    <a:pt x="287" y="295"/>
                  </a:lnTo>
                  <a:lnTo>
                    <a:pt x="288" y="297"/>
                  </a:lnTo>
                  <a:lnTo>
                    <a:pt x="289" y="299"/>
                  </a:lnTo>
                  <a:lnTo>
                    <a:pt x="291" y="305"/>
                  </a:lnTo>
                  <a:lnTo>
                    <a:pt x="292" y="307"/>
                  </a:lnTo>
                  <a:lnTo>
                    <a:pt x="298" y="318"/>
                  </a:lnTo>
                  <a:lnTo>
                    <a:pt x="299" y="320"/>
                  </a:lnTo>
                  <a:lnTo>
                    <a:pt x="299" y="324"/>
                  </a:lnTo>
                  <a:lnTo>
                    <a:pt x="302" y="333"/>
                  </a:lnTo>
                  <a:lnTo>
                    <a:pt x="306" y="343"/>
                  </a:lnTo>
                  <a:lnTo>
                    <a:pt x="308" y="345"/>
                  </a:lnTo>
                  <a:lnTo>
                    <a:pt x="309" y="347"/>
                  </a:lnTo>
                  <a:lnTo>
                    <a:pt x="311" y="349"/>
                  </a:lnTo>
                  <a:lnTo>
                    <a:pt x="312" y="351"/>
                  </a:lnTo>
                  <a:lnTo>
                    <a:pt x="314" y="352"/>
                  </a:lnTo>
                  <a:lnTo>
                    <a:pt x="316" y="353"/>
                  </a:lnTo>
                  <a:lnTo>
                    <a:pt x="322" y="357"/>
                  </a:lnTo>
                  <a:lnTo>
                    <a:pt x="326" y="359"/>
                  </a:lnTo>
                  <a:lnTo>
                    <a:pt x="334" y="363"/>
                  </a:lnTo>
                  <a:lnTo>
                    <a:pt x="337" y="365"/>
                  </a:lnTo>
                  <a:lnTo>
                    <a:pt x="340" y="365"/>
                  </a:lnTo>
                  <a:lnTo>
                    <a:pt x="342" y="367"/>
                  </a:lnTo>
                  <a:lnTo>
                    <a:pt x="344" y="369"/>
                  </a:lnTo>
                  <a:lnTo>
                    <a:pt x="346" y="372"/>
                  </a:lnTo>
                  <a:lnTo>
                    <a:pt x="347" y="375"/>
                  </a:lnTo>
                  <a:lnTo>
                    <a:pt x="350" y="378"/>
                  </a:lnTo>
                  <a:lnTo>
                    <a:pt x="351" y="380"/>
                  </a:lnTo>
                  <a:lnTo>
                    <a:pt x="352" y="383"/>
                  </a:lnTo>
                  <a:lnTo>
                    <a:pt x="354" y="385"/>
                  </a:lnTo>
                  <a:lnTo>
                    <a:pt x="357" y="388"/>
                  </a:lnTo>
                  <a:lnTo>
                    <a:pt x="361" y="390"/>
                  </a:lnTo>
                  <a:lnTo>
                    <a:pt x="367" y="395"/>
                  </a:lnTo>
                  <a:lnTo>
                    <a:pt x="369" y="397"/>
                  </a:lnTo>
                  <a:lnTo>
                    <a:pt x="371" y="398"/>
                  </a:lnTo>
                  <a:lnTo>
                    <a:pt x="375" y="399"/>
                  </a:lnTo>
                  <a:lnTo>
                    <a:pt x="379" y="400"/>
                  </a:lnTo>
                  <a:lnTo>
                    <a:pt x="379" y="400"/>
                  </a:lnTo>
                  <a:lnTo>
                    <a:pt x="381" y="400"/>
                  </a:lnTo>
                  <a:lnTo>
                    <a:pt x="384" y="401"/>
                  </a:lnTo>
                  <a:lnTo>
                    <a:pt x="386" y="401"/>
                  </a:lnTo>
                  <a:lnTo>
                    <a:pt x="389" y="400"/>
                  </a:lnTo>
                  <a:lnTo>
                    <a:pt x="398" y="399"/>
                  </a:lnTo>
                  <a:lnTo>
                    <a:pt x="402" y="399"/>
                  </a:lnTo>
                  <a:lnTo>
                    <a:pt x="407" y="398"/>
                  </a:lnTo>
                  <a:lnTo>
                    <a:pt x="410" y="397"/>
                  </a:lnTo>
                  <a:lnTo>
                    <a:pt x="413" y="396"/>
                  </a:lnTo>
                  <a:lnTo>
                    <a:pt x="416" y="394"/>
                  </a:lnTo>
                  <a:lnTo>
                    <a:pt x="419" y="392"/>
                  </a:lnTo>
                  <a:lnTo>
                    <a:pt x="421" y="390"/>
                  </a:lnTo>
                  <a:lnTo>
                    <a:pt x="424" y="387"/>
                  </a:lnTo>
                  <a:lnTo>
                    <a:pt x="436" y="376"/>
                  </a:lnTo>
                  <a:lnTo>
                    <a:pt x="439" y="374"/>
                  </a:lnTo>
                  <a:lnTo>
                    <a:pt x="442" y="372"/>
                  </a:lnTo>
                  <a:lnTo>
                    <a:pt x="445" y="370"/>
                  </a:lnTo>
                  <a:lnTo>
                    <a:pt x="448" y="367"/>
                  </a:lnTo>
                  <a:lnTo>
                    <a:pt x="451" y="365"/>
                  </a:lnTo>
                  <a:lnTo>
                    <a:pt x="455" y="364"/>
                  </a:lnTo>
                  <a:lnTo>
                    <a:pt x="463" y="361"/>
                  </a:lnTo>
                  <a:lnTo>
                    <a:pt x="469" y="358"/>
                  </a:lnTo>
                  <a:lnTo>
                    <a:pt x="471" y="357"/>
                  </a:lnTo>
                  <a:lnTo>
                    <a:pt x="474" y="356"/>
                  </a:lnTo>
                  <a:lnTo>
                    <a:pt x="477" y="355"/>
                  </a:lnTo>
                  <a:lnTo>
                    <a:pt x="480" y="355"/>
                  </a:lnTo>
                  <a:lnTo>
                    <a:pt x="481" y="355"/>
                  </a:lnTo>
                  <a:lnTo>
                    <a:pt x="493" y="356"/>
                  </a:lnTo>
                  <a:lnTo>
                    <a:pt x="498" y="356"/>
                  </a:lnTo>
                  <a:lnTo>
                    <a:pt x="503" y="356"/>
                  </a:lnTo>
                  <a:lnTo>
                    <a:pt x="504" y="356"/>
                  </a:lnTo>
                  <a:lnTo>
                    <a:pt x="506" y="355"/>
                  </a:lnTo>
                  <a:lnTo>
                    <a:pt x="507" y="355"/>
                  </a:lnTo>
                  <a:lnTo>
                    <a:pt x="508" y="354"/>
                  </a:lnTo>
                  <a:lnTo>
                    <a:pt x="509" y="353"/>
                  </a:lnTo>
                  <a:lnTo>
                    <a:pt x="510" y="351"/>
                  </a:lnTo>
                  <a:lnTo>
                    <a:pt x="510" y="348"/>
                  </a:lnTo>
                  <a:lnTo>
                    <a:pt x="511" y="345"/>
                  </a:lnTo>
                  <a:lnTo>
                    <a:pt x="510" y="342"/>
                  </a:lnTo>
                  <a:lnTo>
                    <a:pt x="510" y="340"/>
                  </a:lnTo>
                  <a:lnTo>
                    <a:pt x="509" y="337"/>
                  </a:lnTo>
                  <a:lnTo>
                    <a:pt x="508" y="336"/>
                  </a:lnTo>
                  <a:lnTo>
                    <a:pt x="508" y="334"/>
                  </a:lnTo>
                  <a:lnTo>
                    <a:pt x="507" y="333"/>
                  </a:lnTo>
                  <a:lnTo>
                    <a:pt x="505" y="331"/>
                  </a:lnTo>
                  <a:lnTo>
                    <a:pt x="504" y="331"/>
                  </a:lnTo>
                  <a:lnTo>
                    <a:pt x="502" y="330"/>
                  </a:lnTo>
                  <a:lnTo>
                    <a:pt x="500" y="329"/>
                  </a:lnTo>
                  <a:lnTo>
                    <a:pt x="497" y="328"/>
                  </a:lnTo>
                  <a:lnTo>
                    <a:pt x="492" y="327"/>
                  </a:lnTo>
                  <a:lnTo>
                    <a:pt x="491" y="326"/>
                  </a:lnTo>
                  <a:lnTo>
                    <a:pt x="489" y="326"/>
                  </a:lnTo>
                  <a:lnTo>
                    <a:pt x="487" y="325"/>
                  </a:lnTo>
                  <a:lnTo>
                    <a:pt x="486" y="324"/>
                  </a:lnTo>
                  <a:lnTo>
                    <a:pt x="486" y="323"/>
                  </a:lnTo>
                  <a:lnTo>
                    <a:pt x="485" y="322"/>
                  </a:lnTo>
                  <a:lnTo>
                    <a:pt x="484" y="321"/>
                  </a:lnTo>
                  <a:lnTo>
                    <a:pt x="484" y="319"/>
                  </a:lnTo>
                  <a:lnTo>
                    <a:pt x="483" y="318"/>
                  </a:lnTo>
                  <a:lnTo>
                    <a:pt x="483" y="316"/>
                  </a:lnTo>
                  <a:lnTo>
                    <a:pt x="483" y="314"/>
                  </a:lnTo>
                  <a:lnTo>
                    <a:pt x="484" y="312"/>
                  </a:lnTo>
                  <a:lnTo>
                    <a:pt x="484" y="310"/>
                  </a:lnTo>
                  <a:lnTo>
                    <a:pt x="485" y="308"/>
                  </a:lnTo>
                  <a:lnTo>
                    <a:pt x="486" y="307"/>
                  </a:lnTo>
                  <a:lnTo>
                    <a:pt x="488" y="305"/>
                  </a:lnTo>
                  <a:lnTo>
                    <a:pt x="490" y="303"/>
                  </a:lnTo>
                  <a:lnTo>
                    <a:pt x="492" y="301"/>
                  </a:lnTo>
                  <a:lnTo>
                    <a:pt x="493" y="300"/>
                  </a:lnTo>
                  <a:lnTo>
                    <a:pt x="495" y="299"/>
                  </a:lnTo>
                  <a:lnTo>
                    <a:pt x="497" y="298"/>
                  </a:lnTo>
                  <a:lnTo>
                    <a:pt x="499" y="297"/>
                  </a:lnTo>
                  <a:lnTo>
                    <a:pt x="501" y="297"/>
                  </a:lnTo>
                  <a:lnTo>
                    <a:pt x="503" y="297"/>
                  </a:lnTo>
                  <a:lnTo>
                    <a:pt x="504" y="297"/>
                  </a:lnTo>
                  <a:lnTo>
                    <a:pt x="507" y="297"/>
                  </a:lnTo>
                  <a:lnTo>
                    <a:pt x="510" y="298"/>
                  </a:lnTo>
                  <a:lnTo>
                    <a:pt x="515" y="299"/>
                  </a:lnTo>
                  <a:lnTo>
                    <a:pt x="517" y="301"/>
                  </a:lnTo>
                  <a:lnTo>
                    <a:pt x="520" y="302"/>
                  </a:lnTo>
                  <a:lnTo>
                    <a:pt x="522" y="304"/>
                  </a:lnTo>
                  <a:lnTo>
                    <a:pt x="525" y="306"/>
                  </a:lnTo>
                  <a:lnTo>
                    <a:pt x="533" y="312"/>
                  </a:lnTo>
                  <a:lnTo>
                    <a:pt x="536" y="315"/>
                  </a:lnTo>
                  <a:lnTo>
                    <a:pt x="538" y="317"/>
                  </a:lnTo>
                  <a:lnTo>
                    <a:pt x="539" y="319"/>
                  </a:lnTo>
                  <a:lnTo>
                    <a:pt x="541" y="322"/>
                  </a:lnTo>
                  <a:lnTo>
                    <a:pt x="549" y="337"/>
                  </a:lnTo>
                  <a:lnTo>
                    <a:pt x="549" y="340"/>
                  </a:lnTo>
                  <a:lnTo>
                    <a:pt x="550" y="342"/>
                  </a:lnTo>
                  <a:lnTo>
                    <a:pt x="552" y="350"/>
                  </a:lnTo>
                  <a:lnTo>
                    <a:pt x="553" y="353"/>
                  </a:lnTo>
                  <a:lnTo>
                    <a:pt x="555" y="355"/>
                  </a:lnTo>
                  <a:lnTo>
                    <a:pt x="557" y="358"/>
                  </a:lnTo>
                  <a:lnTo>
                    <a:pt x="559" y="362"/>
                  </a:lnTo>
                  <a:lnTo>
                    <a:pt x="561" y="364"/>
                  </a:lnTo>
                  <a:lnTo>
                    <a:pt x="563" y="365"/>
                  </a:lnTo>
                  <a:lnTo>
                    <a:pt x="564" y="366"/>
                  </a:lnTo>
                  <a:lnTo>
                    <a:pt x="566" y="367"/>
                  </a:lnTo>
                  <a:lnTo>
                    <a:pt x="568" y="368"/>
                  </a:lnTo>
                  <a:lnTo>
                    <a:pt x="570" y="369"/>
                  </a:lnTo>
                  <a:lnTo>
                    <a:pt x="572" y="370"/>
                  </a:lnTo>
                  <a:lnTo>
                    <a:pt x="578" y="373"/>
                  </a:lnTo>
                  <a:lnTo>
                    <a:pt x="590" y="377"/>
                  </a:lnTo>
                  <a:lnTo>
                    <a:pt x="593" y="378"/>
                  </a:lnTo>
                  <a:lnTo>
                    <a:pt x="595" y="378"/>
                  </a:lnTo>
                  <a:lnTo>
                    <a:pt x="596" y="378"/>
                  </a:lnTo>
                  <a:lnTo>
                    <a:pt x="599" y="378"/>
                  </a:lnTo>
                  <a:lnTo>
                    <a:pt x="600" y="377"/>
                  </a:lnTo>
                  <a:lnTo>
                    <a:pt x="602" y="377"/>
                  </a:lnTo>
                  <a:lnTo>
                    <a:pt x="603" y="376"/>
                  </a:lnTo>
                  <a:lnTo>
                    <a:pt x="605" y="376"/>
                  </a:lnTo>
                  <a:lnTo>
                    <a:pt x="609" y="372"/>
                  </a:lnTo>
                  <a:lnTo>
                    <a:pt x="611" y="371"/>
                  </a:lnTo>
                  <a:lnTo>
                    <a:pt x="613" y="370"/>
                  </a:lnTo>
                  <a:lnTo>
                    <a:pt x="614" y="369"/>
                  </a:lnTo>
                  <a:lnTo>
                    <a:pt x="616" y="369"/>
                  </a:lnTo>
                  <a:lnTo>
                    <a:pt x="617" y="369"/>
                  </a:lnTo>
                  <a:lnTo>
                    <a:pt x="619" y="368"/>
                  </a:lnTo>
                  <a:lnTo>
                    <a:pt x="621" y="369"/>
                  </a:lnTo>
                  <a:lnTo>
                    <a:pt x="623" y="369"/>
                  </a:lnTo>
                  <a:lnTo>
                    <a:pt x="626" y="370"/>
                  </a:lnTo>
                  <a:lnTo>
                    <a:pt x="629" y="371"/>
                  </a:lnTo>
                  <a:lnTo>
                    <a:pt x="630" y="372"/>
                  </a:lnTo>
                  <a:lnTo>
                    <a:pt x="631" y="372"/>
                  </a:lnTo>
                  <a:lnTo>
                    <a:pt x="632" y="373"/>
                  </a:lnTo>
                  <a:lnTo>
                    <a:pt x="634" y="374"/>
                  </a:lnTo>
                  <a:lnTo>
                    <a:pt x="636" y="376"/>
                  </a:lnTo>
                  <a:lnTo>
                    <a:pt x="638" y="377"/>
                  </a:lnTo>
                  <a:lnTo>
                    <a:pt x="640" y="380"/>
                  </a:lnTo>
                  <a:lnTo>
                    <a:pt x="643" y="386"/>
                  </a:lnTo>
                  <a:lnTo>
                    <a:pt x="645" y="388"/>
                  </a:lnTo>
                  <a:lnTo>
                    <a:pt x="648" y="391"/>
                  </a:lnTo>
                  <a:lnTo>
                    <a:pt x="649" y="392"/>
                  </a:lnTo>
                  <a:lnTo>
                    <a:pt x="650" y="393"/>
                  </a:lnTo>
                  <a:lnTo>
                    <a:pt x="652" y="394"/>
                  </a:lnTo>
                  <a:lnTo>
                    <a:pt x="655" y="396"/>
                  </a:lnTo>
                  <a:lnTo>
                    <a:pt x="658" y="397"/>
                  </a:lnTo>
                  <a:lnTo>
                    <a:pt x="669" y="400"/>
                  </a:lnTo>
                  <a:lnTo>
                    <a:pt x="673" y="401"/>
                  </a:lnTo>
                  <a:lnTo>
                    <a:pt x="675" y="402"/>
                  </a:lnTo>
                  <a:lnTo>
                    <a:pt x="679" y="404"/>
                  </a:lnTo>
                  <a:lnTo>
                    <a:pt x="681" y="405"/>
                  </a:lnTo>
                  <a:lnTo>
                    <a:pt x="684" y="407"/>
                  </a:lnTo>
                  <a:lnTo>
                    <a:pt x="686" y="409"/>
                  </a:lnTo>
                  <a:lnTo>
                    <a:pt x="686" y="410"/>
                  </a:lnTo>
                  <a:lnTo>
                    <a:pt x="688" y="411"/>
                  </a:lnTo>
                  <a:lnTo>
                    <a:pt x="690" y="413"/>
                  </a:lnTo>
                  <a:lnTo>
                    <a:pt x="691" y="416"/>
                  </a:lnTo>
                  <a:lnTo>
                    <a:pt x="693" y="420"/>
                  </a:lnTo>
                  <a:lnTo>
                    <a:pt x="697" y="428"/>
                  </a:lnTo>
                  <a:lnTo>
                    <a:pt x="697" y="432"/>
                  </a:lnTo>
                  <a:lnTo>
                    <a:pt x="699" y="433"/>
                  </a:lnTo>
                  <a:lnTo>
                    <a:pt x="700" y="436"/>
                  </a:lnTo>
                  <a:lnTo>
                    <a:pt x="703" y="439"/>
                  </a:lnTo>
                  <a:lnTo>
                    <a:pt x="705" y="442"/>
                  </a:lnTo>
                  <a:lnTo>
                    <a:pt x="707" y="444"/>
                  </a:lnTo>
                  <a:lnTo>
                    <a:pt x="708" y="445"/>
                  </a:lnTo>
                  <a:lnTo>
                    <a:pt x="711" y="447"/>
                  </a:lnTo>
                  <a:lnTo>
                    <a:pt x="713" y="449"/>
                  </a:lnTo>
                  <a:lnTo>
                    <a:pt x="715" y="450"/>
                  </a:lnTo>
                  <a:lnTo>
                    <a:pt x="717" y="451"/>
                  </a:lnTo>
                  <a:lnTo>
                    <a:pt x="719" y="452"/>
                  </a:lnTo>
                  <a:lnTo>
                    <a:pt x="721" y="453"/>
                  </a:lnTo>
                  <a:lnTo>
                    <a:pt x="723" y="453"/>
                  </a:lnTo>
                  <a:lnTo>
                    <a:pt x="726" y="453"/>
                  </a:lnTo>
                  <a:lnTo>
                    <a:pt x="728" y="452"/>
                  </a:lnTo>
                  <a:lnTo>
                    <a:pt x="729" y="451"/>
                  </a:lnTo>
                  <a:lnTo>
                    <a:pt x="731" y="450"/>
                  </a:lnTo>
                  <a:lnTo>
                    <a:pt x="735" y="447"/>
                  </a:lnTo>
                  <a:lnTo>
                    <a:pt x="739" y="444"/>
                  </a:lnTo>
                  <a:lnTo>
                    <a:pt x="740" y="444"/>
                  </a:lnTo>
                  <a:lnTo>
                    <a:pt x="742" y="442"/>
                  </a:lnTo>
                  <a:lnTo>
                    <a:pt x="742" y="441"/>
                  </a:lnTo>
                  <a:lnTo>
                    <a:pt x="743" y="439"/>
                  </a:lnTo>
                  <a:lnTo>
                    <a:pt x="743" y="435"/>
                  </a:lnTo>
                  <a:lnTo>
                    <a:pt x="743" y="434"/>
                  </a:lnTo>
                  <a:lnTo>
                    <a:pt x="743" y="433"/>
                  </a:lnTo>
                  <a:lnTo>
                    <a:pt x="741" y="429"/>
                  </a:lnTo>
                  <a:lnTo>
                    <a:pt x="741" y="428"/>
                  </a:lnTo>
                  <a:lnTo>
                    <a:pt x="742" y="427"/>
                  </a:lnTo>
                  <a:lnTo>
                    <a:pt x="742" y="426"/>
                  </a:lnTo>
                  <a:lnTo>
                    <a:pt x="743" y="426"/>
                  </a:lnTo>
                  <a:lnTo>
                    <a:pt x="744" y="426"/>
                  </a:lnTo>
                  <a:lnTo>
                    <a:pt x="747" y="426"/>
                  </a:lnTo>
                  <a:lnTo>
                    <a:pt x="750" y="426"/>
                  </a:lnTo>
                  <a:lnTo>
                    <a:pt x="754" y="427"/>
                  </a:lnTo>
                  <a:lnTo>
                    <a:pt x="763" y="430"/>
                  </a:lnTo>
                  <a:lnTo>
                    <a:pt x="767" y="431"/>
                  </a:lnTo>
                  <a:lnTo>
                    <a:pt x="771" y="432"/>
                  </a:lnTo>
                  <a:lnTo>
                    <a:pt x="776" y="432"/>
                  </a:lnTo>
                  <a:lnTo>
                    <a:pt x="779" y="433"/>
                  </a:lnTo>
                  <a:lnTo>
                    <a:pt x="792" y="433"/>
                  </a:lnTo>
                  <a:lnTo>
                    <a:pt x="797" y="433"/>
                  </a:lnTo>
                  <a:lnTo>
                    <a:pt x="801" y="433"/>
                  </a:lnTo>
                  <a:lnTo>
                    <a:pt x="803" y="433"/>
                  </a:lnTo>
                  <a:lnTo>
                    <a:pt x="805" y="434"/>
                  </a:lnTo>
                  <a:lnTo>
                    <a:pt x="807" y="435"/>
                  </a:lnTo>
                  <a:lnTo>
                    <a:pt x="809" y="436"/>
                  </a:lnTo>
                  <a:lnTo>
                    <a:pt x="822" y="444"/>
                  </a:lnTo>
                  <a:lnTo>
                    <a:pt x="830" y="447"/>
                  </a:lnTo>
                  <a:lnTo>
                    <a:pt x="833" y="449"/>
                  </a:lnTo>
                  <a:lnTo>
                    <a:pt x="835" y="451"/>
                  </a:lnTo>
                  <a:lnTo>
                    <a:pt x="851" y="462"/>
                  </a:lnTo>
                  <a:lnTo>
                    <a:pt x="854" y="463"/>
                  </a:lnTo>
                  <a:lnTo>
                    <a:pt x="856" y="464"/>
                  </a:lnTo>
                  <a:lnTo>
                    <a:pt x="858" y="466"/>
                  </a:lnTo>
                  <a:lnTo>
                    <a:pt x="863" y="467"/>
                  </a:lnTo>
                  <a:lnTo>
                    <a:pt x="868" y="468"/>
                  </a:lnTo>
                  <a:lnTo>
                    <a:pt x="870" y="468"/>
                  </a:lnTo>
                  <a:lnTo>
                    <a:pt x="873" y="469"/>
                  </a:lnTo>
                  <a:lnTo>
                    <a:pt x="877" y="469"/>
                  </a:lnTo>
                  <a:lnTo>
                    <a:pt x="879" y="469"/>
                  </a:lnTo>
                  <a:lnTo>
                    <a:pt x="882" y="468"/>
                  </a:lnTo>
                  <a:lnTo>
                    <a:pt x="884" y="468"/>
                  </a:lnTo>
                  <a:lnTo>
                    <a:pt x="886" y="467"/>
                  </a:lnTo>
                  <a:lnTo>
                    <a:pt x="888" y="467"/>
                  </a:lnTo>
                  <a:lnTo>
                    <a:pt x="889" y="467"/>
                  </a:lnTo>
                  <a:lnTo>
                    <a:pt x="890" y="465"/>
                  </a:lnTo>
                  <a:lnTo>
                    <a:pt x="891" y="464"/>
                  </a:lnTo>
                  <a:lnTo>
                    <a:pt x="892" y="462"/>
                  </a:lnTo>
                  <a:lnTo>
                    <a:pt x="893" y="461"/>
                  </a:lnTo>
                  <a:lnTo>
                    <a:pt x="894" y="460"/>
                  </a:lnTo>
                  <a:lnTo>
                    <a:pt x="894" y="458"/>
                  </a:lnTo>
                  <a:lnTo>
                    <a:pt x="896" y="453"/>
                  </a:lnTo>
                  <a:lnTo>
                    <a:pt x="898" y="450"/>
                  </a:lnTo>
                  <a:lnTo>
                    <a:pt x="898" y="448"/>
                  </a:lnTo>
                  <a:lnTo>
                    <a:pt x="899" y="447"/>
                  </a:lnTo>
                  <a:lnTo>
                    <a:pt x="900" y="446"/>
                  </a:lnTo>
                  <a:lnTo>
                    <a:pt x="901" y="446"/>
                  </a:lnTo>
                  <a:lnTo>
                    <a:pt x="902" y="445"/>
                  </a:lnTo>
                  <a:lnTo>
                    <a:pt x="902" y="445"/>
                  </a:lnTo>
                  <a:lnTo>
                    <a:pt x="903" y="445"/>
                  </a:lnTo>
                  <a:lnTo>
                    <a:pt x="905" y="445"/>
                  </a:lnTo>
                  <a:lnTo>
                    <a:pt x="907" y="446"/>
                  </a:lnTo>
                  <a:lnTo>
                    <a:pt x="910" y="446"/>
                  </a:lnTo>
                  <a:lnTo>
                    <a:pt x="912" y="447"/>
                  </a:lnTo>
                  <a:lnTo>
                    <a:pt x="913" y="448"/>
                  </a:lnTo>
                  <a:lnTo>
                    <a:pt x="914" y="449"/>
                  </a:lnTo>
                  <a:lnTo>
                    <a:pt x="915" y="450"/>
                  </a:lnTo>
                  <a:lnTo>
                    <a:pt x="916" y="451"/>
                  </a:lnTo>
                  <a:lnTo>
                    <a:pt x="917" y="453"/>
                  </a:lnTo>
                  <a:lnTo>
                    <a:pt x="918" y="454"/>
                  </a:lnTo>
                  <a:lnTo>
                    <a:pt x="919" y="456"/>
                  </a:lnTo>
                  <a:lnTo>
                    <a:pt x="920" y="458"/>
                  </a:lnTo>
                  <a:lnTo>
                    <a:pt x="921" y="461"/>
                  </a:lnTo>
                  <a:lnTo>
                    <a:pt x="921" y="465"/>
                  </a:lnTo>
                  <a:lnTo>
                    <a:pt x="921" y="468"/>
                  </a:lnTo>
                  <a:lnTo>
                    <a:pt x="921" y="478"/>
                  </a:lnTo>
                  <a:lnTo>
                    <a:pt x="921" y="484"/>
                  </a:lnTo>
                  <a:lnTo>
                    <a:pt x="921" y="487"/>
                  </a:lnTo>
                  <a:lnTo>
                    <a:pt x="921" y="489"/>
                  </a:lnTo>
                  <a:lnTo>
                    <a:pt x="922" y="490"/>
                  </a:lnTo>
                  <a:lnTo>
                    <a:pt x="922" y="491"/>
                  </a:lnTo>
                  <a:lnTo>
                    <a:pt x="923" y="494"/>
                  </a:lnTo>
                  <a:lnTo>
                    <a:pt x="924" y="496"/>
                  </a:lnTo>
                  <a:lnTo>
                    <a:pt x="924" y="498"/>
                  </a:lnTo>
                  <a:lnTo>
                    <a:pt x="925" y="499"/>
                  </a:lnTo>
                  <a:lnTo>
                    <a:pt x="925" y="501"/>
                  </a:lnTo>
                  <a:lnTo>
                    <a:pt x="927" y="502"/>
                  </a:lnTo>
                  <a:lnTo>
                    <a:pt x="929" y="504"/>
                  </a:lnTo>
                  <a:lnTo>
                    <a:pt x="931" y="506"/>
                  </a:lnTo>
                  <a:lnTo>
                    <a:pt x="935" y="509"/>
                  </a:lnTo>
                  <a:lnTo>
                    <a:pt x="936" y="511"/>
                  </a:lnTo>
                  <a:lnTo>
                    <a:pt x="937" y="512"/>
                  </a:lnTo>
                  <a:lnTo>
                    <a:pt x="938" y="512"/>
                  </a:lnTo>
                  <a:lnTo>
                    <a:pt x="938" y="513"/>
                  </a:lnTo>
                  <a:lnTo>
                    <a:pt x="938" y="515"/>
                  </a:lnTo>
                  <a:lnTo>
                    <a:pt x="938" y="516"/>
                  </a:lnTo>
                  <a:lnTo>
                    <a:pt x="938" y="517"/>
                  </a:lnTo>
                  <a:lnTo>
                    <a:pt x="938" y="519"/>
                  </a:lnTo>
                  <a:lnTo>
                    <a:pt x="937" y="521"/>
                  </a:lnTo>
                  <a:lnTo>
                    <a:pt x="935" y="527"/>
                  </a:lnTo>
                  <a:lnTo>
                    <a:pt x="932" y="534"/>
                  </a:lnTo>
                  <a:lnTo>
                    <a:pt x="929" y="542"/>
                  </a:lnTo>
                  <a:lnTo>
                    <a:pt x="928" y="544"/>
                  </a:lnTo>
                  <a:lnTo>
                    <a:pt x="927" y="546"/>
                  </a:lnTo>
                  <a:lnTo>
                    <a:pt x="927" y="549"/>
                  </a:lnTo>
                  <a:lnTo>
                    <a:pt x="927" y="552"/>
                  </a:lnTo>
                  <a:lnTo>
                    <a:pt x="927" y="556"/>
                  </a:lnTo>
                  <a:lnTo>
                    <a:pt x="928" y="559"/>
                  </a:lnTo>
                  <a:lnTo>
                    <a:pt x="929" y="563"/>
                  </a:lnTo>
                  <a:lnTo>
                    <a:pt x="931" y="569"/>
                  </a:lnTo>
                  <a:lnTo>
                    <a:pt x="933" y="573"/>
                  </a:lnTo>
                  <a:lnTo>
                    <a:pt x="935" y="576"/>
                  </a:lnTo>
                  <a:lnTo>
                    <a:pt x="936" y="580"/>
                  </a:lnTo>
                  <a:lnTo>
                    <a:pt x="939" y="587"/>
                  </a:lnTo>
                  <a:lnTo>
                    <a:pt x="943" y="594"/>
                  </a:lnTo>
                  <a:lnTo>
                    <a:pt x="947" y="605"/>
                  </a:lnTo>
                  <a:lnTo>
                    <a:pt x="955" y="622"/>
                  </a:lnTo>
                  <a:lnTo>
                    <a:pt x="961" y="637"/>
                  </a:lnTo>
                  <a:lnTo>
                    <a:pt x="966" y="646"/>
                  </a:lnTo>
                  <a:lnTo>
                    <a:pt x="967" y="648"/>
                  </a:lnTo>
                  <a:lnTo>
                    <a:pt x="968" y="651"/>
                  </a:lnTo>
                  <a:lnTo>
                    <a:pt x="969" y="654"/>
                  </a:lnTo>
                  <a:lnTo>
                    <a:pt x="971" y="666"/>
                  </a:lnTo>
                  <a:lnTo>
                    <a:pt x="973" y="671"/>
                  </a:lnTo>
                  <a:lnTo>
                    <a:pt x="974" y="672"/>
                  </a:lnTo>
                  <a:lnTo>
                    <a:pt x="975" y="674"/>
                  </a:lnTo>
                  <a:lnTo>
                    <a:pt x="976" y="676"/>
                  </a:lnTo>
                  <a:lnTo>
                    <a:pt x="977" y="678"/>
                  </a:lnTo>
                  <a:lnTo>
                    <a:pt x="979" y="680"/>
                  </a:lnTo>
                  <a:lnTo>
                    <a:pt x="980" y="682"/>
                  </a:lnTo>
                  <a:lnTo>
                    <a:pt x="981" y="683"/>
                  </a:lnTo>
                  <a:lnTo>
                    <a:pt x="983" y="685"/>
                  </a:lnTo>
                  <a:lnTo>
                    <a:pt x="985" y="686"/>
                  </a:lnTo>
                  <a:lnTo>
                    <a:pt x="987" y="687"/>
                  </a:lnTo>
                  <a:lnTo>
                    <a:pt x="990" y="689"/>
                  </a:lnTo>
                  <a:lnTo>
                    <a:pt x="993" y="690"/>
                  </a:lnTo>
                  <a:lnTo>
                    <a:pt x="994" y="691"/>
                  </a:lnTo>
                  <a:lnTo>
                    <a:pt x="1006" y="694"/>
                  </a:lnTo>
                  <a:lnTo>
                    <a:pt x="1010" y="695"/>
                  </a:lnTo>
                  <a:lnTo>
                    <a:pt x="1019" y="696"/>
                  </a:lnTo>
                  <a:lnTo>
                    <a:pt x="1022" y="697"/>
                  </a:lnTo>
                  <a:lnTo>
                    <a:pt x="1025" y="697"/>
                  </a:lnTo>
                  <a:lnTo>
                    <a:pt x="1027" y="698"/>
                  </a:lnTo>
                  <a:lnTo>
                    <a:pt x="1030" y="699"/>
                  </a:lnTo>
                  <a:lnTo>
                    <a:pt x="1032" y="701"/>
                  </a:lnTo>
                  <a:lnTo>
                    <a:pt x="1035" y="703"/>
                  </a:lnTo>
                  <a:lnTo>
                    <a:pt x="1039" y="707"/>
                  </a:lnTo>
                  <a:lnTo>
                    <a:pt x="1044" y="712"/>
                  </a:lnTo>
                  <a:lnTo>
                    <a:pt x="1047" y="715"/>
                  </a:lnTo>
                  <a:lnTo>
                    <a:pt x="1048" y="716"/>
                  </a:lnTo>
                  <a:lnTo>
                    <a:pt x="1050" y="716"/>
                  </a:lnTo>
                  <a:lnTo>
                    <a:pt x="1053" y="718"/>
                  </a:lnTo>
                  <a:lnTo>
                    <a:pt x="1057" y="719"/>
                  </a:lnTo>
                  <a:lnTo>
                    <a:pt x="1061" y="720"/>
                  </a:lnTo>
                  <a:lnTo>
                    <a:pt x="1063" y="721"/>
                  </a:lnTo>
                  <a:lnTo>
                    <a:pt x="1065" y="721"/>
                  </a:lnTo>
                  <a:lnTo>
                    <a:pt x="1068" y="721"/>
                  </a:lnTo>
                  <a:lnTo>
                    <a:pt x="1070" y="721"/>
                  </a:lnTo>
                  <a:lnTo>
                    <a:pt x="1072" y="721"/>
                  </a:lnTo>
                  <a:lnTo>
                    <a:pt x="1079" y="720"/>
                  </a:lnTo>
                  <a:lnTo>
                    <a:pt x="1084" y="719"/>
                  </a:lnTo>
                  <a:lnTo>
                    <a:pt x="1086" y="719"/>
                  </a:lnTo>
                  <a:lnTo>
                    <a:pt x="1089" y="719"/>
                  </a:lnTo>
                  <a:lnTo>
                    <a:pt x="1092" y="720"/>
                  </a:lnTo>
                  <a:lnTo>
                    <a:pt x="1094" y="720"/>
                  </a:lnTo>
                  <a:lnTo>
                    <a:pt x="1096" y="721"/>
                  </a:lnTo>
                  <a:lnTo>
                    <a:pt x="1099" y="722"/>
                  </a:lnTo>
                  <a:lnTo>
                    <a:pt x="1102" y="723"/>
                  </a:lnTo>
                  <a:lnTo>
                    <a:pt x="1105" y="725"/>
                  </a:lnTo>
                  <a:lnTo>
                    <a:pt x="1106" y="727"/>
                  </a:lnTo>
                  <a:lnTo>
                    <a:pt x="1107" y="727"/>
                  </a:lnTo>
                  <a:lnTo>
                    <a:pt x="1109" y="729"/>
                  </a:lnTo>
                  <a:lnTo>
                    <a:pt x="1110" y="731"/>
                  </a:lnTo>
                  <a:lnTo>
                    <a:pt x="1111" y="734"/>
                  </a:lnTo>
                  <a:lnTo>
                    <a:pt x="1112" y="735"/>
                  </a:lnTo>
                  <a:lnTo>
                    <a:pt x="1113" y="740"/>
                  </a:lnTo>
                  <a:lnTo>
                    <a:pt x="1115" y="745"/>
                  </a:lnTo>
                  <a:lnTo>
                    <a:pt x="1117" y="756"/>
                  </a:lnTo>
                  <a:lnTo>
                    <a:pt x="1120" y="770"/>
                  </a:lnTo>
                  <a:lnTo>
                    <a:pt x="1127" y="792"/>
                  </a:lnTo>
                  <a:lnTo>
                    <a:pt x="1130" y="806"/>
                  </a:lnTo>
                  <a:lnTo>
                    <a:pt x="1131" y="809"/>
                  </a:lnTo>
                  <a:lnTo>
                    <a:pt x="1132" y="812"/>
                  </a:lnTo>
                  <a:lnTo>
                    <a:pt x="1134" y="816"/>
                  </a:lnTo>
                  <a:lnTo>
                    <a:pt x="1136" y="821"/>
                  </a:lnTo>
                  <a:lnTo>
                    <a:pt x="1137" y="824"/>
                  </a:lnTo>
                  <a:lnTo>
                    <a:pt x="1138" y="828"/>
                  </a:lnTo>
                  <a:lnTo>
                    <a:pt x="1140" y="837"/>
                  </a:lnTo>
                  <a:lnTo>
                    <a:pt x="1141" y="841"/>
                  </a:lnTo>
                  <a:lnTo>
                    <a:pt x="1142" y="845"/>
                  </a:lnTo>
                  <a:lnTo>
                    <a:pt x="1144" y="851"/>
                  </a:lnTo>
                  <a:lnTo>
                    <a:pt x="1146" y="855"/>
                  </a:lnTo>
                  <a:lnTo>
                    <a:pt x="1147" y="858"/>
                  </a:lnTo>
                  <a:lnTo>
                    <a:pt x="1151" y="864"/>
                  </a:lnTo>
                  <a:lnTo>
                    <a:pt x="1153" y="870"/>
                  </a:lnTo>
                  <a:lnTo>
                    <a:pt x="1155" y="873"/>
                  </a:lnTo>
                  <a:lnTo>
                    <a:pt x="1155" y="875"/>
                  </a:lnTo>
                  <a:lnTo>
                    <a:pt x="1156" y="878"/>
                  </a:lnTo>
                  <a:lnTo>
                    <a:pt x="1156" y="881"/>
                  </a:lnTo>
                  <a:lnTo>
                    <a:pt x="1156" y="884"/>
                  </a:lnTo>
                  <a:lnTo>
                    <a:pt x="1155" y="886"/>
                  </a:lnTo>
                  <a:lnTo>
                    <a:pt x="1154" y="888"/>
                  </a:lnTo>
                  <a:lnTo>
                    <a:pt x="1152" y="894"/>
                  </a:lnTo>
                  <a:lnTo>
                    <a:pt x="1151" y="900"/>
                  </a:lnTo>
                  <a:lnTo>
                    <a:pt x="1150" y="907"/>
                  </a:lnTo>
                  <a:lnTo>
                    <a:pt x="1149" y="908"/>
                  </a:lnTo>
                  <a:lnTo>
                    <a:pt x="1148" y="909"/>
                  </a:lnTo>
                  <a:lnTo>
                    <a:pt x="1147" y="910"/>
                  </a:lnTo>
                  <a:lnTo>
                    <a:pt x="1146" y="911"/>
                  </a:lnTo>
                  <a:lnTo>
                    <a:pt x="1144" y="911"/>
                  </a:lnTo>
                  <a:lnTo>
                    <a:pt x="1142" y="912"/>
                  </a:lnTo>
                  <a:lnTo>
                    <a:pt x="1140" y="913"/>
                  </a:lnTo>
                  <a:lnTo>
                    <a:pt x="1132" y="916"/>
                  </a:lnTo>
                  <a:lnTo>
                    <a:pt x="1129" y="917"/>
                  </a:lnTo>
                  <a:lnTo>
                    <a:pt x="1125" y="919"/>
                  </a:lnTo>
                  <a:lnTo>
                    <a:pt x="1121" y="920"/>
                  </a:lnTo>
                  <a:lnTo>
                    <a:pt x="1112" y="925"/>
                  </a:lnTo>
                  <a:lnTo>
                    <a:pt x="1107" y="928"/>
                  </a:lnTo>
                  <a:lnTo>
                    <a:pt x="1102" y="931"/>
                  </a:lnTo>
                  <a:lnTo>
                    <a:pt x="1093" y="937"/>
                  </a:lnTo>
                  <a:lnTo>
                    <a:pt x="1089" y="940"/>
                  </a:lnTo>
                  <a:lnTo>
                    <a:pt x="1085" y="942"/>
                  </a:lnTo>
                  <a:lnTo>
                    <a:pt x="1083" y="942"/>
                  </a:lnTo>
                  <a:lnTo>
                    <a:pt x="1081" y="943"/>
                  </a:lnTo>
                  <a:lnTo>
                    <a:pt x="1078" y="943"/>
                  </a:lnTo>
                  <a:lnTo>
                    <a:pt x="1075" y="943"/>
                  </a:lnTo>
                  <a:lnTo>
                    <a:pt x="1073" y="943"/>
                  </a:lnTo>
                  <a:lnTo>
                    <a:pt x="1072" y="943"/>
                  </a:lnTo>
                  <a:lnTo>
                    <a:pt x="1069" y="943"/>
                  </a:lnTo>
                  <a:lnTo>
                    <a:pt x="1065" y="942"/>
                  </a:lnTo>
                  <a:lnTo>
                    <a:pt x="1054" y="939"/>
                  </a:lnTo>
                  <a:lnTo>
                    <a:pt x="1050" y="938"/>
                  </a:lnTo>
                  <a:lnTo>
                    <a:pt x="1048" y="938"/>
                  </a:lnTo>
                  <a:lnTo>
                    <a:pt x="1044" y="937"/>
                  </a:lnTo>
                  <a:lnTo>
                    <a:pt x="1036" y="936"/>
                  </a:lnTo>
                  <a:lnTo>
                    <a:pt x="1027" y="934"/>
                  </a:lnTo>
                  <a:lnTo>
                    <a:pt x="1024" y="934"/>
                  </a:lnTo>
                  <a:lnTo>
                    <a:pt x="1020" y="934"/>
                  </a:lnTo>
                  <a:lnTo>
                    <a:pt x="1015" y="935"/>
                  </a:lnTo>
                  <a:lnTo>
                    <a:pt x="1007" y="937"/>
                  </a:lnTo>
                  <a:lnTo>
                    <a:pt x="993" y="940"/>
                  </a:lnTo>
                  <a:lnTo>
                    <a:pt x="987" y="941"/>
                  </a:lnTo>
                  <a:lnTo>
                    <a:pt x="981" y="941"/>
                  </a:lnTo>
                  <a:lnTo>
                    <a:pt x="980" y="941"/>
                  </a:lnTo>
                  <a:lnTo>
                    <a:pt x="977" y="941"/>
                  </a:lnTo>
                  <a:lnTo>
                    <a:pt x="974" y="941"/>
                  </a:lnTo>
                  <a:lnTo>
                    <a:pt x="971" y="940"/>
                  </a:lnTo>
                  <a:lnTo>
                    <a:pt x="970" y="940"/>
                  </a:lnTo>
                  <a:lnTo>
                    <a:pt x="968" y="939"/>
                  </a:lnTo>
                  <a:lnTo>
                    <a:pt x="962" y="936"/>
                  </a:lnTo>
                  <a:lnTo>
                    <a:pt x="960" y="935"/>
                  </a:lnTo>
                  <a:lnTo>
                    <a:pt x="958" y="934"/>
                  </a:lnTo>
                  <a:lnTo>
                    <a:pt x="954" y="934"/>
                  </a:lnTo>
                  <a:lnTo>
                    <a:pt x="952" y="934"/>
                  </a:lnTo>
                  <a:lnTo>
                    <a:pt x="949" y="934"/>
                  </a:lnTo>
                  <a:lnTo>
                    <a:pt x="947" y="934"/>
                  </a:lnTo>
                  <a:lnTo>
                    <a:pt x="944" y="935"/>
                  </a:lnTo>
                  <a:lnTo>
                    <a:pt x="941" y="935"/>
                  </a:lnTo>
                  <a:lnTo>
                    <a:pt x="939" y="936"/>
                  </a:lnTo>
                  <a:lnTo>
                    <a:pt x="937" y="937"/>
                  </a:lnTo>
                  <a:lnTo>
                    <a:pt x="936" y="938"/>
                  </a:lnTo>
                  <a:lnTo>
                    <a:pt x="933" y="939"/>
                  </a:lnTo>
                  <a:lnTo>
                    <a:pt x="930" y="941"/>
                  </a:lnTo>
                  <a:lnTo>
                    <a:pt x="928" y="942"/>
                  </a:lnTo>
                  <a:lnTo>
                    <a:pt x="925" y="944"/>
                  </a:lnTo>
                  <a:lnTo>
                    <a:pt x="925" y="946"/>
                  </a:lnTo>
                  <a:lnTo>
                    <a:pt x="923" y="948"/>
                  </a:lnTo>
                  <a:lnTo>
                    <a:pt x="922" y="951"/>
                  </a:lnTo>
                  <a:lnTo>
                    <a:pt x="920" y="953"/>
                  </a:lnTo>
                  <a:lnTo>
                    <a:pt x="920" y="955"/>
                  </a:lnTo>
                  <a:lnTo>
                    <a:pt x="919" y="956"/>
                  </a:lnTo>
                  <a:lnTo>
                    <a:pt x="919" y="959"/>
                  </a:lnTo>
                  <a:lnTo>
                    <a:pt x="918" y="961"/>
                  </a:lnTo>
                  <a:lnTo>
                    <a:pt x="918" y="964"/>
                  </a:lnTo>
                  <a:lnTo>
                    <a:pt x="919" y="970"/>
                  </a:lnTo>
                  <a:lnTo>
                    <a:pt x="919" y="973"/>
                  </a:lnTo>
                  <a:lnTo>
                    <a:pt x="919" y="976"/>
                  </a:lnTo>
                  <a:lnTo>
                    <a:pt x="918" y="978"/>
                  </a:lnTo>
                  <a:lnTo>
                    <a:pt x="918" y="980"/>
                  </a:lnTo>
                  <a:lnTo>
                    <a:pt x="917" y="983"/>
                  </a:lnTo>
                  <a:lnTo>
                    <a:pt x="915" y="986"/>
                  </a:lnTo>
                  <a:lnTo>
                    <a:pt x="913" y="989"/>
                  </a:lnTo>
                  <a:lnTo>
                    <a:pt x="911" y="994"/>
                  </a:lnTo>
                  <a:lnTo>
                    <a:pt x="904" y="1002"/>
                  </a:lnTo>
                  <a:lnTo>
                    <a:pt x="902" y="1005"/>
                  </a:lnTo>
                  <a:lnTo>
                    <a:pt x="895" y="1014"/>
                  </a:lnTo>
                  <a:lnTo>
                    <a:pt x="888" y="1023"/>
                  </a:lnTo>
                  <a:lnTo>
                    <a:pt x="886" y="1025"/>
                  </a:lnTo>
                  <a:lnTo>
                    <a:pt x="883" y="1030"/>
                  </a:lnTo>
                  <a:lnTo>
                    <a:pt x="879" y="1037"/>
                  </a:lnTo>
                  <a:lnTo>
                    <a:pt x="871" y="1048"/>
                  </a:lnTo>
                  <a:lnTo>
                    <a:pt x="869" y="1051"/>
                  </a:lnTo>
                  <a:lnTo>
                    <a:pt x="868" y="1054"/>
                  </a:lnTo>
                  <a:lnTo>
                    <a:pt x="865" y="1056"/>
                  </a:lnTo>
                  <a:lnTo>
                    <a:pt x="862" y="1058"/>
                  </a:lnTo>
                  <a:lnTo>
                    <a:pt x="860" y="1060"/>
                  </a:lnTo>
                  <a:lnTo>
                    <a:pt x="857" y="1063"/>
                  </a:lnTo>
                  <a:lnTo>
                    <a:pt x="855" y="1065"/>
                  </a:lnTo>
                  <a:lnTo>
                    <a:pt x="851" y="1067"/>
                  </a:lnTo>
                  <a:lnTo>
                    <a:pt x="848" y="1067"/>
                  </a:lnTo>
                  <a:lnTo>
                    <a:pt x="845" y="1068"/>
                  </a:lnTo>
                  <a:lnTo>
                    <a:pt x="843" y="1069"/>
                  </a:lnTo>
                  <a:lnTo>
                    <a:pt x="840" y="1070"/>
                  </a:lnTo>
                  <a:lnTo>
                    <a:pt x="837" y="1070"/>
                  </a:lnTo>
                  <a:lnTo>
                    <a:pt x="834" y="1070"/>
                  </a:lnTo>
                  <a:lnTo>
                    <a:pt x="832" y="1071"/>
                  </a:lnTo>
                  <a:lnTo>
                    <a:pt x="829" y="1070"/>
                  </a:lnTo>
                  <a:lnTo>
                    <a:pt x="819" y="1070"/>
                  </a:lnTo>
                  <a:lnTo>
                    <a:pt x="818" y="1070"/>
                  </a:lnTo>
                  <a:lnTo>
                    <a:pt x="817" y="1070"/>
                  </a:lnTo>
                  <a:lnTo>
                    <a:pt x="816" y="1069"/>
                  </a:lnTo>
                  <a:lnTo>
                    <a:pt x="813" y="1068"/>
                  </a:lnTo>
                  <a:lnTo>
                    <a:pt x="811" y="1067"/>
                  </a:lnTo>
                  <a:lnTo>
                    <a:pt x="808" y="1066"/>
                  </a:lnTo>
                  <a:lnTo>
                    <a:pt x="805" y="1064"/>
                  </a:lnTo>
                  <a:lnTo>
                    <a:pt x="803" y="1062"/>
                  </a:lnTo>
                  <a:lnTo>
                    <a:pt x="801" y="1061"/>
                  </a:lnTo>
                  <a:lnTo>
                    <a:pt x="799" y="1059"/>
                  </a:lnTo>
                  <a:lnTo>
                    <a:pt x="798" y="1057"/>
                  </a:lnTo>
                  <a:lnTo>
                    <a:pt x="797" y="1056"/>
                  </a:lnTo>
                  <a:lnTo>
                    <a:pt x="796" y="1054"/>
                  </a:lnTo>
                  <a:lnTo>
                    <a:pt x="795" y="1052"/>
                  </a:lnTo>
                  <a:lnTo>
                    <a:pt x="793" y="1048"/>
                  </a:lnTo>
                  <a:lnTo>
                    <a:pt x="788" y="1038"/>
                  </a:lnTo>
                  <a:lnTo>
                    <a:pt x="788" y="1036"/>
                  </a:lnTo>
                  <a:lnTo>
                    <a:pt x="787" y="1033"/>
                  </a:lnTo>
                  <a:lnTo>
                    <a:pt x="786" y="1032"/>
                  </a:lnTo>
                  <a:lnTo>
                    <a:pt x="784" y="1030"/>
                  </a:lnTo>
                  <a:lnTo>
                    <a:pt x="779" y="1023"/>
                  </a:lnTo>
                  <a:lnTo>
                    <a:pt x="777" y="1021"/>
                  </a:lnTo>
                  <a:lnTo>
                    <a:pt x="775" y="1019"/>
                  </a:lnTo>
                  <a:lnTo>
                    <a:pt x="773" y="1017"/>
                  </a:lnTo>
                  <a:lnTo>
                    <a:pt x="769" y="1014"/>
                  </a:lnTo>
                  <a:lnTo>
                    <a:pt x="757" y="1006"/>
                  </a:lnTo>
                  <a:lnTo>
                    <a:pt x="754" y="1003"/>
                  </a:lnTo>
                  <a:lnTo>
                    <a:pt x="753" y="1001"/>
                  </a:lnTo>
                  <a:lnTo>
                    <a:pt x="750" y="999"/>
                  </a:lnTo>
                  <a:lnTo>
                    <a:pt x="748" y="997"/>
                  </a:lnTo>
                  <a:lnTo>
                    <a:pt x="746" y="994"/>
                  </a:lnTo>
                  <a:lnTo>
                    <a:pt x="744" y="991"/>
                  </a:lnTo>
                  <a:lnTo>
                    <a:pt x="742" y="987"/>
                  </a:lnTo>
                  <a:lnTo>
                    <a:pt x="736" y="976"/>
                  </a:lnTo>
                  <a:lnTo>
                    <a:pt x="735" y="975"/>
                  </a:lnTo>
                  <a:lnTo>
                    <a:pt x="733" y="973"/>
                  </a:lnTo>
                  <a:lnTo>
                    <a:pt x="731" y="970"/>
                  </a:lnTo>
                  <a:lnTo>
                    <a:pt x="730" y="969"/>
                  </a:lnTo>
                  <a:lnTo>
                    <a:pt x="728" y="967"/>
                  </a:lnTo>
                  <a:lnTo>
                    <a:pt x="725" y="966"/>
                  </a:lnTo>
                  <a:lnTo>
                    <a:pt x="722" y="965"/>
                  </a:lnTo>
                  <a:lnTo>
                    <a:pt x="720" y="965"/>
                  </a:lnTo>
                  <a:lnTo>
                    <a:pt x="718" y="965"/>
                  </a:lnTo>
                  <a:lnTo>
                    <a:pt x="714" y="965"/>
                  </a:lnTo>
                  <a:lnTo>
                    <a:pt x="713" y="965"/>
                  </a:lnTo>
                  <a:lnTo>
                    <a:pt x="709" y="965"/>
                  </a:lnTo>
                  <a:lnTo>
                    <a:pt x="702" y="967"/>
                  </a:lnTo>
                  <a:lnTo>
                    <a:pt x="698" y="967"/>
                  </a:lnTo>
                  <a:lnTo>
                    <a:pt x="697" y="968"/>
                  </a:lnTo>
                  <a:lnTo>
                    <a:pt x="695" y="968"/>
                  </a:lnTo>
                  <a:lnTo>
                    <a:pt x="691" y="968"/>
                  </a:lnTo>
                  <a:lnTo>
                    <a:pt x="688" y="968"/>
                  </a:lnTo>
                  <a:lnTo>
                    <a:pt x="682" y="967"/>
                  </a:lnTo>
                  <a:lnTo>
                    <a:pt x="677" y="966"/>
                  </a:lnTo>
                  <a:lnTo>
                    <a:pt x="663" y="964"/>
                  </a:lnTo>
                  <a:lnTo>
                    <a:pt x="660" y="963"/>
                  </a:lnTo>
                  <a:lnTo>
                    <a:pt x="657" y="962"/>
                  </a:lnTo>
                  <a:lnTo>
                    <a:pt x="653" y="961"/>
                  </a:lnTo>
                  <a:lnTo>
                    <a:pt x="652" y="959"/>
                  </a:lnTo>
                  <a:lnTo>
                    <a:pt x="649" y="957"/>
                  </a:lnTo>
                  <a:lnTo>
                    <a:pt x="645" y="955"/>
                  </a:lnTo>
                  <a:lnTo>
                    <a:pt x="635" y="948"/>
                  </a:lnTo>
                  <a:lnTo>
                    <a:pt x="633" y="946"/>
                  </a:lnTo>
                  <a:lnTo>
                    <a:pt x="629" y="944"/>
                  </a:lnTo>
                  <a:lnTo>
                    <a:pt x="627" y="943"/>
                  </a:lnTo>
                  <a:lnTo>
                    <a:pt x="625" y="942"/>
                  </a:lnTo>
                  <a:lnTo>
                    <a:pt x="621" y="942"/>
                  </a:lnTo>
                  <a:lnTo>
                    <a:pt x="618" y="942"/>
                  </a:lnTo>
                  <a:lnTo>
                    <a:pt x="611" y="941"/>
                  </a:lnTo>
                  <a:lnTo>
                    <a:pt x="607" y="941"/>
                  </a:lnTo>
                  <a:lnTo>
                    <a:pt x="606" y="940"/>
                  </a:lnTo>
                  <a:lnTo>
                    <a:pt x="597" y="938"/>
                  </a:lnTo>
                  <a:lnTo>
                    <a:pt x="595" y="937"/>
                  </a:lnTo>
                  <a:lnTo>
                    <a:pt x="592" y="937"/>
                  </a:lnTo>
                  <a:lnTo>
                    <a:pt x="587" y="937"/>
                  </a:lnTo>
                  <a:lnTo>
                    <a:pt x="579" y="937"/>
                  </a:lnTo>
                  <a:lnTo>
                    <a:pt x="571" y="938"/>
                  </a:lnTo>
                  <a:lnTo>
                    <a:pt x="564" y="939"/>
                  </a:lnTo>
                  <a:lnTo>
                    <a:pt x="553" y="941"/>
                  </a:lnTo>
                  <a:lnTo>
                    <a:pt x="547" y="942"/>
                  </a:lnTo>
                  <a:lnTo>
                    <a:pt x="538" y="944"/>
                  </a:lnTo>
                  <a:lnTo>
                    <a:pt x="520" y="950"/>
                  </a:lnTo>
                  <a:lnTo>
                    <a:pt x="516" y="951"/>
                  </a:lnTo>
                  <a:lnTo>
                    <a:pt x="512" y="952"/>
                  </a:lnTo>
                  <a:lnTo>
                    <a:pt x="510" y="952"/>
                  </a:lnTo>
                  <a:lnTo>
                    <a:pt x="507" y="952"/>
                  </a:lnTo>
                  <a:lnTo>
                    <a:pt x="504" y="952"/>
                  </a:lnTo>
                  <a:lnTo>
                    <a:pt x="503" y="952"/>
                  </a:lnTo>
                  <a:lnTo>
                    <a:pt x="501" y="951"/>
                  </a:lnTo>
                  <a:lnTo>
                    <a:pt x="499" y="950"/>
                  </a:lnTo>
                  <a:lnTo>
                    <a:pt x="498" y="949"/>
                  </a:lnTo>
                  <a:lnTo>
                    <a:pt x="497" y="947"/>
                  </a:lnTo>
                  <a:lnTo>
                    <a:pt x="495" y="945"/>
                  </a:lnTo>
                  <a:lnTo>
                    <a:pt x="494" y="943"/>
                  </a:lnTo>
                  <a:lnTo>
                    <a:pt x="491" y="937"/>
                  </a:lnTo>
                  <a:lnTo>
                    <a:pt x="489" y="934"/>
                  </a:lnTo>
                  <a:lnTo>
                    <a:pt x="488" y="933"/>
                  </a:lnTo>
                  <a:lnTo>
                    <a:pt x="485" y="931"/>
                  </a:lnTo>
                  <a:lnTo>
                    <a:pt x="482" y="928"/>
                  </a:lnTo>
                  <a:lnTo>
                    <a:pt x="480" y="926"/>
                  </a:lnTo>
                  <a:lnTo>
                    <a:pt x="477" y="924"/>
                  </a:lnTo>
                  <a:lnTo>
                    <a:pt x="474" y="922"/>
                  </a:lnTo>
                  <a:lnTo>
                    <a:pt x="470" y="920"/>
                  </a:lnTo>
                  <a:lnTo>
                    <a:pt x="467" y="920"/>
                  </a:lnTo>
                  <a:lnTo>
                    <a:pt x="462" y="918"/>
                  </a:lnTo>
                  <a:lnTo>
                    <a:pt x="458" y="917"/>
                  </a:lnTo>
                  <a:lnTo>
                    <a:pt x="454" y="917"/>
                  </a:lnTo>
                  <a:lnTo>
                    <a:pt x="450" y="917"/>
                  </a:lnTo>
                  <a:lnTo>
                    <a:pt x="448" y="917"/>
                  </a:lnTo>
                  <a:lnTo>
                    <a:pt x="447" y="917"/>
                  </a:lnTo>
                  <a:lnTo>
                    <a:pt x="446" y="917"/>
                  </a:lnTo>
                  <a:lnTo>
                    <a:pt x="444" y="918"/>
                  </a:lnTo>
                  <a:lnTo>
                    <a:pt x="442" y="919"/>
                  </a:lnTo>
                  <a:lnTo>
                    <a:pt x="438" y="919"/>
                  </a:lnTo>
                  <a:lnTo>
                    <a:pt x="436" y="919"/>
                  </a:lnTo>
                  <a:lnTo>
                    <a:pt x="436" y="919"/>
                  </a:lnTo>
                  <a:lnTo>
                    <a:pt x="435" y="917"/>
                  </a:lnTo>
                  <a:lnTo>
                    <a:pt x="432" y="911"/>
                  </a:lnTo>
                  <a:lnTo>
                    <a:pt x="428" y="903"/>
                  </a:lnTo>
                  <a:lnTo>
                    <a:pt x="426" y="899"/>
                  </a:lnTo>
                  <a:lnTo>
                    <a:pt x="424" y="896"/>
                  </a:lnTo>
                  <a:lnTo>
                    <a:pt x="422" y="893"/>
                  </a:lnTo>
                  <a:lnTo>
                    <a:pt x="421" y="892"/>
                  </a:lnTo>
                  <a:lnTo>
                    <a:pt x="420" y="891"/>
                  </a:lnTo>
                  <a:lnTo>
                    <a:pt x="419" y="891"/>
                  </a:lnTo>
                  <a:lnTo>
                    <a:pt x="418" y="891"/>
                  </a:lnTo>
                  <a:lnTo>
                    <a:pt x="417" y="891"/>
                  </a:lnTo>
                  <a:lnTo>
                    <a:pt x="415" y="891"/>
                  </a:lnTo>
                  <a:lnTo>
                    <a:pt x="413" y="891"/>
                  </a:lnTo>
                  <a:lnTo>
                    <a:pt x="411" y="891"/>
                  </a:lnTo>
                  <a:lnTo>
                    <a:pt x="409" y="892"/>
                  </a:lnTo>
                  <a:lnTo>
                    <a:pt x="407" y="893"/>
                  </a:lnTo>
                  <a:lnTo>
                    <a:pt x="405" y="895"/>
                  </a:lnTo>
                  <a:lnTo>
                    <a:pt x="402" y="897"/>
                  </a:lnTo>
                  <a:lnTo>
                    <a:pt x="397" y="901"/>
                  </a:lnTo>
                  <a:lnTo>
                    <a:pt x="395" y="903"/>
                  </a:lnTo>
                  <a:lnTo>
                    <a:pt x="394" y="903"/>
                  </a:lnTo>
                  <a:lnTo>
                    <a:pt x="392" y="903"/>
                  </a:lnTo>
                  <a:lnTo>
                    <a:pt x="391" y="903"/>
                  </a:lnTo>
                  <a:lnTo>
                    <a:pt x="390" y="902"/>
                  </a:lnTo>
                  <a:lnTo>
                    <a:pt x="389" y="901"/>
                  </a:lnTo>
                  <a:lnTo>
                    <a:pt x="388" y="900"/>
                  </a:lnTo>
                  <a:lnTo>
                    <a:pt x="387" y="899"/>
                  </a:lnTo>
                  <a:lnTo>
                    <a:pt x="386" y="896"/>
                  </a:lnTo>
                  <a:lnTo>
                    <a:pt x="385" y="893"/>
                  </a:lnTo>
                  <a:lnTo>
                    <a:pt x="385" y="892"/>
                  </a:lnTo>
                  <a:lnTo>
                    <a:pt x="385" y="891"/>
                  </a:lnTo>
                  <a:lnTo>
                    <a:pt x="385" y="889"/>
                  </a:lnTo>
                  <a:lnTo>
                    <a:pt x="386" y="886"/>
                  </a:lnTo>
                  <a:lnTo>
                    <a:pt x="387" y="885"/>
                  </a:lnTo>
                  <a:lnTo>
                    <a:pt x="389" y="881"/>
                  </a:lnTo>
                  <a:lnTo>
                    <a:pt x="390" y="878"/>
                  </a:lnTo>
                  <a:lnTo>
                    <a:pt x="390" y="877"/>
                  </a:lnTo>
                  <a:lnTo>
                    <a:pt x="390" y="875"/>
                  </a:lnTo>
                  <a:lnTo>
                    <a:pt x="390" y="874"/>
                  </a:lnTo>
                  <a:lnTo>
                    <a:pt x="390" y="873"/>
                  </a:lnTo>
                  <a:lnTo>
                    <a:pt x="389" y="870"/>
                  </a:lnTo>
                  <a:lnTo>
                    <a:pt x="387" y="868"/>
                  </a:lnTo>
                  <a:lnTo>
                    <a:pt x="384" y="862"/>
                  </a:lnTo>
                  <a:lnTo>
                    <a:pt x="379" y="854"/>
                  </a:lnTo>
                  <a:lnTo>
                    <a:pt x="376" y="849"/>
                  </a:lnTo>
                  <a:lnTo>
                    <a:pt x="371" y="844"/>
                  </a:lnTo>
                  <a:lnTo>
                    <a:pt x="369" y="841"/>
                  </a:lnTo>
                  <a:lnTo>
                    <a:pt x="364" y="836"/>
                  </a:lnTo>
                  <a:lnTo>
                    <a:pt x="355" y="827"/>
                  </a:lnTo>
                  <a:lnTo>
                    <a:pt x="352" y="824"/>
                  </a:lnTo>
                  <a:lnTo>
                    <a:pt x="348" y="821"/>
                  </a:lnTo>
                  <a:lnTo>
                    <a:pt x="329" y="807"/>
                  </a:lnTo>
                  <a:lnTo>
                    <a:pt x="327" y="806"/>
                  </a:lnTo>
                  <a:lnTo>
                    <a:pt x="325" y="804"/>
                  </a:lnTo>
                  <a:lnTo>
                    <a:pt x="324" y="803"/>
                  </a:lnTo>
                  <a:lnTo>
                    <a:pt x="322" y="801"/>
                  </a:lnTo>
                  <a:lnTo>
                    <a:pt x="319" y="795"/>
                  </a:lnTo>
                  <a:lnTo>
                    <a:pt x="318" y="793"/>
                  </a:lnTo>
                  <a:lnTo>
                    <a:pt x="314" y="786"/>
                  </a:lnTo>
                  <a:lnTo>
                    <a:pt x="313" y="784"/>
                  </a:lnTo>
                  <a:lnTo>
                    <a:pt x="311" y="781"/>
                  </a:lnTo>
                  <a:lnTo>
                    <a:pt x="309" y="777"/>
                  </a:lnTo>
                  <a:lnTo>
                    <a:pt x="305" y="773"/>
                  </a:lnTo>
                  <a:lnTo>
                    <a:pt x="303" y="771"/>
                  </a:lnTo>
                  <a:lnTo>
                    <a:pt x="301" y="769"/>
                  </a:lnTo>
                  <a:lnTo>
                    <a:pt x="299" y="767"/>
                  </a:lnTo>
                  <a:lnTo>
                    <a:pt x="297" y="766"/>
                  </a:lnTo>
                  <a:lnTo>
                    <a:pt x="296" y="765"/>
                  </a:lnTo>
                  <a:lnTo>
                    <a:pt x="295" y="765"/>
                  </a:lnTo>
                  <a:lnTo>
                    <a:pt x="294" y="765"/>
                  </a:lnTo>
                  <a:lnTo>
                    <a:pt x="293" y="765"/>
                  </a:lnTo>
                  <a:lnTo>
                    <a:pt x="292" y="765"/>
                  </a:lnTo>
                  <a:lnTo>
                    <a:pt x="290" y="766"/>
                  </a:lnTo>
                  <a:lnTo>
                    <a:pt x="289" y="766"/>
                  </a:lnTo>
                  <a:lnTo>
                    <a:pt x="286" y="769"/>
                  </a:lnTo>
                  <a:lnTo>
                    <a:pt x="285" y="770"/>
                  </a:lnTo>
                  <a:lnTo>
                    <a:pt x="284" y="770"/>
                  </a:lnTo>
                  <a:lnTo>
                    <a:pt x="282" y="771"/>
                  </a:lnTo>
                  <a:lnTo>
                    <a:pt x="280" y="771"/>
                  </a:lnTo>
                  <a:lnTo>
                    <a:pt x="278" y="771"/>
                  </a:lnTo>
                  <a:lnTo>
                    <a:pt x="277" y="771"/>
                  </a:lnTo>
                  <a:lnTo>
                    <a:pt x="275" y="770"/>
                  </a:lnTo>
                  <a:lnTo>
                    <a:pt x="271" y="768"/>
                  </a:lnTo>
                  <a:lnTo>
                    <a:pt x="269" y="767"/>
                  </a:lnTo>
                  <a:lnTo>
                    <a:pt x="266" y="765"/>
                  </a:lnTo>
                  <a:lnTo>
                    <a:pt x="264" y="763"/>
                  </a:lnTo>
                  <a:lnTo>
                    <a:pt x="262" y="761"/>
                  </a:lnTo>
                  <a:lnTo>
                    <a:pt x="260" y="760"/>
                  </a:lnTo>
                  <a:lnTo>
                    <a:pt x="258" y="758"/>
                  </a:lnTo>
                  <a:lnTo>
                    <a:pt x="256" y="756"/>
                  </a:lnTo>
                  <a:lnTo>
                    <a:pt x="255" y="753"/>
                  </a:lnTo>
                  <a:lnTo>
                    <a:pt x="254" y="750"/>
                  </a:lnTo>
                  <a:lnTo>
                    <a:pt x="253" y="748"/>
                  </a:lnTo>
                  <a:lnTo>
                    <a:pt x="252" y="743"/>
                  </a:lnTo>
                  <a:lnTo>
                    <a:pt x="252" y="739"/>
                  </a:lnTo>
                  <a:lnTo>
                    <a:pt x="251" y="736"/>
                  </a:lnTo>
                  <a:lnTo>
                    <a:pt x="251" y="732"/>
                  </a:lnTo>
                  <a:lnTo>
                    <a:pt x="251" y="729"/>
                  </a:lnTo>
                  <a:lnTo>
                    <a:pt x="251" y="727"/>
                  </a:lnTo>
                  <a:lnTo>
                    <a:pt x="251" y="724"/>
                  </a:lnTo>
                  <a:lnTo>
                    <a:pt x="252" y="721"/>
                  </a:lnTo>
                  <a:lnTo>
                    <a:pt x="253" y="716"/>
                  </a:lnTo>
                  <a:lnTo>
                    <a:pt x="254" y="705"/>
                  </a:lnTo>
                  <a:lnTo>
                    <a:pt x="255" y="704"/>
                  </a:lnTo>
                  <a:lnTo>
                    <a:pt x="255" y="701"/>
                  </a:lnTo>
                  <a:lnTo>
                    <a:pt x="256" y="698"/>
                  </a:lnTo>
                  <a:lnTo>
                    <a:pt x="256" y="694"/>
                  </a:lnTo>
                  <a:lnTo>
                    <a:pt x="255" y="692"/>
                  </a:lnTo>
                  <a:lnTo>
                    <a:pt x="255" y="689"/>
                  </a:lnTo>
                  <a:lnTo>
                    <a:pt x="254" y="685"/>
                  </a:lnTo>
                  <a:lnTo>
                    <a:pt x="254" y="681"/>
                  </a:lnTo>
                  <a:lnTo>
                    <a:pt x="253" y="677"/>
                  </a:lnTo>
                  <a:lnTo>
                    <a:pt x="252" y="674"/>
                  </a:lnTo>
                  <a:lnTo>
                    <a:pt x="251" y="671"/>
                  </a:lnTo>
                  <a:lnTo>
                    <a:pt x="249" y="669"/>
                  </a:lnTo>
                  <a:lnTo>
                    <a:pt x="247" y="667"/>
                  </a:lnTo>
                  <a:lnTo>
                    <a:pt x="245" y="665"/>
                  </a:lnTo>
                  <a:lnTo>
                    <a:pt x="244" y="664"/>
                  </a:lnTo>
                  <a:lnTo>
                    <a:pt x="243" y="663"/>
                  </a:lnTo>
                  <a:lnTo>
                    <a:pt x="242" y="662"/>
                  </a:lnTo>
                  <a:lnTo>
                    <a:pt x="241" y="662"/>
                  </a:lnTo>
                  <a:lnTo>
                    <a:pt x="240" y="662"/>
                  </a:lnTo>
                  <a:lnTo>
                    <a:pt x="238" y="662"/>
                  </a:lnTo>
                  <a:lnTo>
                    <a:pt x="236" y="662"/>
                  </a:lnTo>
                  <a:lnTo>
                    <a:pt x="234" y="662"/>
                  </a:lnTo>
                  <a:lnTo>
                    <a:pt x="228" y="664"/>
                  </a:lnTo>
                  <a:lnTo>
                    <a:pt x="225" y="665"/>
                  </a:lnTo>
                  <a:lnTo>
                    <a:pt x="212" y="669"/>
                  </a:lnTo>
                  <a:lnTo>
                    <a:pt x="208" y="671"/>
                  </a:lnTo>
                  <a:lnTo>
                    <a:pt x="204" y="672"/>
                  </a:lnTo>
                  <a:lnTo>
                    <a:pt x="198" y="674"/>
                  </a:lnTo>
                  <a:lnTo>
                    <a:pt x="194" y="676"/>
                  </a:lnTo>
                  <a:lnTo>
                    <a:pt x="192" y="677"/>
                  </a:lnTo>
                  <a:lnTo>
                    <a:pt x="190" y="677"/>
                  </a:lnTo>
                  <a:lnTo>
                    <a:pt x="188" y="678"/>
                  </a:lnTo>
                  <a:lnTo>
                    <a:pt x="186" y="677"/>
                  </a:lnTo>
                  <a:lnTo>
                    <a:pt x="185" y="677"/>
                  </a:lnTo>
                  <a:lnTo>
                    <a:pt x="176" y="676"/>
                  </a:lnTo>
                  <a:lnTo>
                    <a:pt x="174" y="675"/>
                  </a:lnTo>
                  <a:lnTo>
                    <a:pt x="172" y="674"/>
                  </a:lnTo>
                  <a:lnTo>
                    <a:pt x="167" y="672"/>
                  </a:lnTo>
                  <a:lnTo>
                    <a:pt x="157" y="668"/>
                  </a:lnTo>
                  <a:lnTo>
                    <a:pt x="154" y="667"/>
                  </a:lnTo>
                  <a:lnTo>
                    <a:pt x="151" y="664"/>
                  </a:lnTo>
                  <a:lnTo>
                    <a:pt x="149" y="663"/>
                  </a:lnTo>
                  <a:lnTo>
                    <a:pt x="145" y="659"/>
                  </a:lnTo>
                  <a:lnTo>
                    <a:pt x="142" y="657"/>
                  </a:lnTo>
                  <a:lnTo>
                    <a:pt x="140" y="656"/>
                  </a:lnTo>
                  <a:lnTo>
                    <a:pt x="138" y="654"/>
                  </a:lnTo>
                  <a:lnTo>
                    <a:pt x="133" y="652"/>
                  </a:lnTo>
                  <a:lnTo>
                    <a:pt x="131" y="651"/>
                  </a:lnTo>
                  <a:lnTo>
                    <a:pt x="129" y="649"/>
                  </a:lnTo>
                  <a:lnTo>
                    <a:pt x="127" y="648"/>
                  </a:lnTo>
                  <a:lnTo>
                    <a:pt x="126" y="646"/>
                  </a:lnTo>
                  <a:lnTo>
                    <a:pt x="124" y="643"/>
                  </a:lnTo>
                  <a:lnTo>
                    <a:pt x="122" y="641"/>
                  </a:lnTo>
                  <a:lnTo>
                    <a:pt x="119" y="636"/>
                  </a:lnTo>
                  <a:lnTo>
                    <a:pt x="117" y="633"/>
                  </a:lnTo>
                  <a:lnTo>
                    <a:pt x="116" y="631"/>
                  </a:lnTo>
                  <a:lnTo>
                    <a:pt x="109" y="624"/>
                  </a:lnTo>
                  <a:lnTo>
                    <a:pt x="107" y="622"/>
                  </a:lnTo>
                  <a:lnTo>
                    <a:pt x="106" y="621"/>
                  </a:lnTo>
                  <a:lnTo>
                    <a:pt x="106" y="619"/>
                  </a:lnTo>
                  <a:lnTo>
                    <a:pt x="106" y="616"/>
                  </a:lnTo>
                  <a:lnTo>
                    <a:pt x="105" y="614"/>
                  </a:lnTo>
                  <a:lnTo>
                    <a:pt x="105" y="609"/>
                  </a:lnTo>
                  <a:lnTo>
                    <a:pt x="104" y="607"/>
                  </a:lnTo>
                  <a:lnTo>
                    <a:pt x="104" y="605"/>
                  </a:lnTo>
                  <a:lnTo>
                    <a:pt x="103" y="604"/>
                  </a:lnTo>
                  <a:lnTo>
                    <a:pt x="102" y="603"/>
                  </a:lnTo>
                  <a:lnTo>
                    <a:pt x="100" y="601"/>
                  </a:lnTo>
                  <a:lnTo>
                    <a:pt x="99" y="599"/>
                  </a:lnTo>
                  <a:lnTo>
                    <a:pt x="95" y="592"/>
                  </a:lnTo>
                  <a:lnTo>
                    <a:pt x="94" y="590"/>
                  </a:lnTo>
                  <a:lnTo>
                    <a:pt x="93" y="585"/>
                  </a:lnTo>
                  <a:lnTo>
                    <a:pt x="92" y="582"/>
                  </a:lnTo>
                  <a:lnTo>
                    <a:pt x="92" y="579"/>
                  </a:lnTo>
                  <a:lnTo>
                    <a:pt x="92" y="577"/>
                  </a:lnTo>
                  <a:lnTo>
                    <a:pt x="92" y="571"/>
                  </a:lnTo>
                  <a:lnTo>
                    <a:pt x="91" y="569"/>
                  </a:lnTo>
                  <a:lnTo>
                    <a:pt x="91" y="565"/>
                  </a:lnTo>
                  <a:lnTo>
                    <a:pt x="89" y="561"/>
                  </a:lnTo>
                  <a:lnTo>
                    <a:pt x="88" y="557"/>
                  </a:lnTo>
                  <a:lnTo>
                    <a:pt x="84" y="551"/>
                  </a:lnTo>
                  <a:lnTo>
                    <a:pt x="81" y="545"/>
                  </a:lnTo>
                  <a:lnTo>
                    <a:pt x="80" y="543"/>
                  </a:lnTo>
                  <a:lnTo>
                    <a:pt x="79" y="542"/>
                  </a:lnTo>
                  <a:lnTo>
                    <a:pt x="78" y="541"/>
                  </a:lnTo>
                  <a:lnTo>
                    <a:pt x="77" y="540"/>
                  </a:lnTo>
                  <a:lnTo>
                    <a:pt x="75" y="539"/>
                  </a:lnTo>
                  <a:lnTo>
                    <a:pt x="73" y="539"/>
                  </a:lnTo>
                  <a:lnTo>
                    <a:pt x="72" y="539"/>
                  </a:lnTo>
                  <a:lnTo>
                    <a:pt x="70" y="539"/>
                  </a:lnTo>
                  <a:lnTo>
                    <a:pt x="68" y="540"/>
                  </a:lnTo>
                  <a:lnTo>
                    <a:pt x="67" y="541"/>
                  </a:lnTo>
                  <a:lnTo>
                    <a:pt x="66" y="542"/>
                  </a:lnTo>
                  <a:lnTo>
                    <a:pt x="65" y="544"/>
                  </a:lnTo>
                  <a:lnTo>
                    <a:pt x="65" y="545"/>
                  </a:lnTo>
                  <a:lnTo>
                    <a:pt x="65" y="546"/>
                  </a:lnTo>
                  <a:lnTo>
                    <a:pt x="65" y="549"/>
                  </a:lnTo>
                  <a:lnTo>
                    <a:pt x="70" y="568"/>
                  </a:lnTo>
                  <a:lnTo>
                    <a:pt x="71" y="570"/>
                  </a:lnTo>
                  <a:lnTo>
                    <a:pt x="71" y="572"/>
                  </a:lnTo>
                  <a:lnTo>
                    <a:pt x="71" y="575"/>
                  </a:lnTo>
                  <a:lnTo>
                    <a:pt x="71" y="577"/>
                  </a:lnTo>
                  <a:lnTo>
                    <a:pt x="70" y="579"/>
                  </a:lnTo>
                  <a:lnTo>
                    <a:pt x="69" y="580"/>
                  </a:lnTo>
                  <a:lnTo>
                    <a:pt x="67" y="583"/>
                  </a:lnTo>
                  <a:lnTo>
                    <a:pt x="65" y="585"/>
                  </a:lnTo>
                  <a:lnTo>
                    <a:pt x="63" y="587"/>
                  </a:lnTo>
                  <a:lnTo>
                    <a:pt x="61" y="588"/>
                  </a:lnTo>
                  <a:lnTo>
                    <a:pt x="60" y="588"/>
                  </a:lnTo>
                  <a:lnTo>
                    <a:pt x="59" y="588"/>
                  </a:lnTo>
                  <a:lnTo>
                    <a:pt x="58" y="589"/>
                  </a:lnTo>
                  <a:lnTo>
                    <a:pt x="57" y="588"/>
                  </a:lnTo>
                  <a:lnTo>
                    <a:pt x="54" y="587"/>
                  </a:lnTo>
                  <a:lnTo>
                    <a:pt x="53" y="587"/>
                  </a:lnTo>
                  <a:lnTo>
                    <a:pt x="52" y="587"/>
                  </a:lnTo>
                  <a:lnTo>
                    <a:pt x="51" y="587"/>
                  </a:lnTo>
                  <a:lnTo>
                    <a:pt x="50" y="587"/>
                  </a:lnTo>
                  <a:lnTo>
                    <a:pt x="49" y="588"/>
                  </a:lnTo>
                  <a:lnTo>
                    <a:pt x="48" y="590"/>
                  </a:lnTo>
                  <a:lnTo>
                    <a:pt x="47" y="591"/>
                  </a:lnTo>
                  <a:lnTo>
                    <a:pt x="42" y="592"/>
                  </a:lnTo>
                  <a:lnTo>
                    <a:pt x="40" y="593"/>
                  </a:lnTo>
                  <a:lnTo>
                    <a:pt x="39" y="594"/>
                  </a:lnTo>
                  <a:lnTo>
                    <a:pt x="38" y="596"/>
                  </a:lnTo>
                  <a:lnTo>
                    <a:pt x="37" y="597"/>
                  </a:lnTo>
                  <a:lnTo>
                    <a:pt x="36" y="599"/>
                  </a:lnTo>
                  <a:lnTo>
                    <a:pt x="35" y="603"/>
                  </a:lnTo>
                  <a:lnTo>
                    <a:pt x="34" y="604"/>
                  </a:lnTo>
                  <a:lnTo>
                    <a:pt x="33" y="605"/>
                  </a:lnTo>
                  <a:lnTo>
                    <a:pt x="31" y="607"/>
                  </a:lnTo>
                  <a:lnTo>
                    <a:pt x="26" y="613"/>
                  </a:lnTo>
                  <a:lnTo>
                    <a:pt x="25" y="614"/>
                  </a:lnTo>
                  <a:lnTo>
                    <a:pt x="24" y="616"/>
                  </a:lnTo>
                  <a:lnTo>
                    <a:pt x="20" y="621"/>
                  </a:lnTo>
                  <a:lnTo>
                    <a:pt x="18" y="623"/>
                  </a:lnTo>
                  <a:lnTo>
                    <a:pt x="17" y="624"/>
                  </a:lnTo>
                  <a:lnTo>
                    <a:pt x="16" y="625"/>
                  </a:lnTo>
                  <a:lnTo>
                    <a:pt x="15" y="625"/>
                  </a:lnTo>
                  <a:lnTo>
                    <a:pt x="15" y="625"/>
                  </a:lnTo>
                  <a:lnTo>
                    <a:pt x="13" y="625"/>
                  </a:lnTo>
                  <a:lnTo>
                    <a:pt x="11" y="624"/>
                  </a:lnTo>
                  <a:lnTo>
                    <a:pt x="9" y="623"/>
                  </a:lnTo>
                  <a:lnTo>
                    <a:pt x="7" y="621"/>
                  </a:lnTo>
                  <a:lnTo>
                    <a:pt x="5" y="618"/>
                  </a:lnTo>
                  <a:lnTo>
                    <a:pt x="4" y="615"/>
                  </a:lnTo>
                  <a:lnTo>
                    <a:pt x="2" y="612"/>
                  </a:lnTo>
                  <a:lnTo>
                    <a:pt x="1" y="609"/>
                  </a:lnTo>
                  <a:lnTo>
                    <a:pt x="1" y="607"/>
                  </a:lnTo>
                  <a:lnTo>
                    <a:pt x="0" y="604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5" name="Freeform 108">
              <a:extLst>
                <a:ext uri="{FF2B5EF4-FFF2-40B4-BE49-F238E27FC236}">
                  <a16:creationId xmlns:a16="http://schemas.microsoft.com/office/drawing/2014/main" id="{A4D5154B-6A2C-40E8-A05E-81F150EF2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5" y="1811"/>
              <a:ext cx="401" cy="604"/>
            </a:xfrm>
            <a:custGeom>
              <a:avLst/>
              <a:gdLst>
                <a:gd name="T0" fmla="*/ 168 w 401"/>
                <a:gd name="T1" fmla="*/ 583 h 604"/>
                <a:gd name="T2" fmla="*/ 168 w 401"/>
                <a:gd name="T3" fmla="*/ 568 h 604"/>
                <a:gd name="T4" fmla="*/ 163 w 401"/>
                <a:gd name="T5" fmla="*/ 558 h 604"/>
                <a:gd name="T6" fmla="*/ 154 w 401"/>
                <a:gd name="T7" fmla="*/ 555 h 604"/>
                <a:gd name="T8" fmla="*/ 138 w 401"/>
                <a:gd name="T9" fmla="*/ 557 h 604"/>
                <a:gd name="T10" fmla="*/ 123 w 401"/>
                <a:gd name="T11" fmla="*/ 563 h 604"/>
                <a:gd name="T12" fmla="*/ 97 w 401"/>
                <a:gd name="T13" fmla="*/ 583 h 604"/>
                <a:gd name="T14" fmla="*/ 86 w 401"/>
                <a:gd name="T15" fmla="*/ 595 h 604"/>
                <a:gd name="T16" fmla="*/ 77 w 401"/>
                <a:gd name="T17" fmla="*/ 600 h 604"/>
                <a:gd name="T18" fmla="*/ 54 w 401"/>
                <a:gd name="T19" fmla="*/ 599 h 604"/>
                <a:gd name="T20" fmla="*/ 51 w 401"/>
                <a:gd name="T21" fmla="*/ 594 h 604"/>
                <a:gd name="T22" fmla="*/ 52 w 401"/>
                <a:gd name="T23" fmla="*/ 577 h 604"/>
                <a:gd name="T24" fmla="*/ 51 w 401"/>
                <a:gd name="T25" fmla="*/ 566 h 604"/>
                <a:gd name="T26" fmla="*/ 45 w 401"/>
                <a:gd name="T27" fmla="*/ 566 h 604"/>
                <a:gd name="T28" fmla="*/ 29 w 401"/>
                <a:gd name="T29" fmla="*/ 569 h 604"/>
                <a:gd name="T30" fmla="*/ 21 w 401"/>
                <a:gd name="T31" fmla="*/ 566 h 604"/>
                <a:gd name="T32" fmla="*/ 7 w 401"/>
                <a:gd name="T33" fmla="*/ 549 h 604"/>
                <a:gd name="T34" fmla="*/ 0 w 401"/>
                <a:gd name="T35" fmla="*/ 535 h 604"/>
                <a:gd name="T36" fmla="*/ 0 w 401"/>
                <a:gd name="T37" fmla="*/ 526 h 604"/>
                <a:gd name="T38" fmla="*/ 9 w 401"/>
                <a:gd name="T39" fmla="*/ 506 h 604"/>
                <a:gd name="T40" fmla="*/ 9 w 401"/>
                <a:gd name="T41" fmla="*/ 492 h 604"/>
                <a:gd name="T42" fmla="*/ 15 w 401"/>
                <a:gd name="T43" fmla="*/ 480 h 604"/>
                <a:gd name="T44" fmla="*/ 29 w 401"/>
                <a:gd name="T45" fmla="*/ 460 h 604"/>
                <a:gd name="T46" fmla="*/ 31 w 401"/>
                <a:gd name="T47" fmla="*/ 449 h 604"/>
                <a:gd name="T48" fmla="*/ 28 w 401"/>
                <a:gd name="T49" fmla="*/ 441 h 604"/>
                <a:gd name="T50" fmla="*/ 11 w 401"/>
                <a:gd name="T51" fmla="*/ 421 h 604"/>
                <a:gd name="T52" fmla="*/ 7 w 401"/>
                <a:gd name="T53" fmla="*/ 412 h 604"/>
                <a:gd name="T54" fmla="*/ 8 w 401"/>
                <a:gd name="T55" fmla="*/ 389 h 604"/>
                <a:gd name="T56" fmla="*/ 12 w 401"/>
                <a:gd name="T57" fmla="*/ 376 h 604"/>
                <a:gd name="T58" fmla="*/ 25 w 401"/>
                <a:gd name="T59" fmla="*/ 354 h 604"/>
                <a:gd name="T60" fmla="*/ 47 w 401"/>
                <a:gd name="T61" fmla="*/ 327 h 604"/>
                <a:gd name="T62" fmla="*/ 52 w 401"/>
                <a:gd name="T63" fmla="*/ 311 h 604"/>
                <a:gd name="T64" fmla="*/ 50 w 401"/>
                <a:gd name="T65" fmla="*/ 275 h 604"/>
                <a:gd name="T66" fmla="*/ 57 w 401"/>
                <a:gd name="T67" fmla="*/ 254 h 604"/>
                <a:gd name="T68" fmla="*/ 60 w 401"/>
                <a:gd name="T69" fmla="*/ 236 h 604"/>
                <a:gd name="T70" fmla="*/ 65 w 401"/>
                <a:gd name="T71" fmla="*/ 219 h 604"/>
                <a:gd name="T72" fmla="*/ 93 w 401"/>
                <a:gd name="T73" fmla="*/ 188 h 604"/>
                <a:gd name="T74" fmla="*/ 110 w 401"/>
                <a:gd name="T75" fmla="*/ 172 h 604"/>
                <a:gd name="T76" fmla="*/ 126 w 401"/>
                <a:gd name="T77" fmla="*/ 164 h 604"/>
                <a:gd name="T78" fmla="*/ 139 w 401"/>
                <a:gd name="T79" fmla="*/ 155 h 604"/>
                <a:gd name="T80" fmla="*/ 159 w 401"/>
                <a:gd name="T81" fmla="*/ 134 h 604"/>
                <a:gd name="T82" fmla="*/ 173 w 401"/>
                <a:gd name="T83" fmla="*/ 135 h 604"/>
                <a:gd name="T84" fmla="*/ 185 w 401"/>
                <a:gd name="T85" fmla="*/ 135 h 604"/>
                <a:gd name="T86" fmla="*/ 191 w 401"/>
                <a:gd name="T87" fmla="*/ 130 h 604"/>
                <a:gd name="T88" fmla="*/ 195 w 401"/>
                <a:gd name="T89" fmla="*/ 114 h 604"/>
                <a:gd name="T90" fmla="*/ 199 w 401"/>
                <a:gd name="T91" fmla="*/ 86 h 604"/>
                <a:gd name="T92" fmla="*/ 208 w 401"/>
                <a:gd name="T93" fmla="*/ 81 h 604"/>
                <a:gd name="T94" fmla="*/ 229 w 401"/>
                <a:gd name="T95" fmla="*/ 66 h 604"/>
                <a:gd name="T96" fmla="*/ 252 w 401"/>
                <a:gd name="T97" fmla="*/ 60 h 604"/>
                <a:gd name="T98" fmla="*/ 285 w 401"/>
                <a:gd name="T99" fmla="*/ 61 h 604"/>
                <a:gd name="T100" fmla="*/ 308 w 401"/>
                <a:gd name="T101" fmla="*/ 57 h 604"/>
                <a:gd name="T102" fmla="*/ 322 w 401"/>
                <a:gd name="T103" fmla="*/ 58 h 604"/>
                <a:gd name="T104" fmla="*/ 338 w 401"/>
                <a:gd name="T105" fmla="*/ 61 h 604"/>
                <a:gd name="T106" fmla="*/ 356 w 401"/>
                <a:gd name="T107" fmla="*/ 55 h 604"/>
                <a:gd name="T108" fmla="*/ 376 w 401"/>
                <a:gd name="T109" fmla="*/ 37 h 604"/>
                <a:gd name="T110" fmla="*/ 387 w 401"/>
                <a:gd name="T111" fmla="*/ 22 h 604"/>
                <a:gd name="T112" fmla="*/ 394 w 401"/>
                <a:gd name="T113" fmla="*/ 2 h 604"/>
                <a:gd name="T114" fmla="*/ 401 w 401"/>
                <a:gd name="T115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" h="604">
                  <a:moveTo>
                    <a:pt x="164" y="604"/>
                  </a:moveTo>
                  <a:lnTo>
                    <a:pt x="164" y="602"/>
                  </a:lnTo>
                  <a:lnTo>
                    <a:pt x="165" y="599"/>
                  </a:lnTo>
                  <a:lnTo>
                    <a:pt x="165" y="593"/>
                  </a:lnTo>
                  <a:lnTo>
                    <a:pt x="168" y="583"/>
                  </a:lnTo>
                  <a:lnTo>
                    <a:pt x="168" y="578"/>
                  </a:lnTo>
                  <a:lnTo>
                    <a:pt x="169" y="572"/>
                  </a:lnTo>
                  <a:lnTo>
                    <a:pt x="169" y="570"/>
                  </a:lnTo>
                  <a:lnTo>
                    <a:pt x="169" y="569"/>
                  </a:lnTo>
                  <a:lnTo>
                    <a:pt x="168" y="568"/>
                  </a:lnTo>
                  <a:lnTo>
                    <a:pt x="168" y="566"/>
                  </a:lnTo>
                  <a:lnTo>
                    <a:pt x="167" y="563"/>
                  </a:lnTo>
                  <a:lnTo>
                    <a:pt x="166" y="561"/>
                  </a:lnTo>
                  <a:lnTo>
                    <a:pt x="165" y="560"/>
                  </a:lnTo>
                  <a:lnTo>
                    <a:pt x="163" y="558"/>
                  </a:lnTo>
                  <a:lnTo>
                    <a:pt x="160" y="557"/>
                  </a:lnTo>
                  <a:lnTo>
                    <a:pt x="158" y="556"/>
                  </a:lnTo>
                  <a:lnTo>
                    <a:pt x="157" y="556"/>
                  </a:lnTo>
                  <a:lnTo>
                    <a:pt x="156" y="555"/>
                  </a:lnTo>
                  <a:lnTo>
                    <a:pt x="154" y="555"/>
                  </a:lnTo>
                  <a:lnTo>
                    <a:pt x="152" y="555"/>
                  </a:lnTo>
                  <a:lnTo>
                    <a:pt x="149" y="555"/>
                  </a:lnTo>
                  <a:lnTo>
                    <a:pt x="144" y="556"/>
                  </a:lnTo>
                  <a:lnTo>
                    <a:pt x="139" y="557"/>
                  </a:lnTo>
                  <a:lnTo>
                    <a:pt x="138" y="557"/>
                  </a:lnTo>
                  <a:lnTo>
                    <a:pt x="136" y="557"/>
                  </a:lnTo>
                  <a:lnTo>
                    <a:pt x="132" y="559"/>
                  </a:lnTo>
                  <a:lnTo>
                    <a:pt x="128" y="561"/>
                  </a:lnTo>
                  <a:lnTo>
                    <a:pt x="125" y="562"/>
                  </a:lnTo>
                  <a:lnTo>
                    <a:pt x="123" y="563"/>
                  </a:lnTo>
                  <a:lnTo>
                    <a:pt x="121" y="565"/>
                  </a:lnTo>
                  <a:lnTo>
                    <a:pt x="116" y="569"/>
                  </a:lnTo>
                  <a:lnTo>
                    <a:pt x="112" y="571"/>
                  </a:lnTo>
                  <a:lnTo>
                    <a:pt x="104" y="578"/>
                  </a:lnTo>
                  <a:lnTo>
                    <a:pt x="97" y="583"/>
                  </a:lnTo>
                  <a:lnTo>
                    <a:pt x="94" y="585"/>
                  </a:lnTo>
                  <a:lnTo>
                    <a:pt x="91" y="588"/>
                  </a:lnTo>
                  <a:lnTo>
                    <a:pt x="89" y="590"/>
                  </a:lnTo>
                  <a:lnTo>
                    <a:pt x="88" y="591"/>
                  </a:lnTo>
                  <a:lnTo>
                    <a:pt x="86" y="595"/>
                  </a:lnTo>
                  <a:lnTo>
                    <a:pt x="85" y="597"/>
                  </a:lnTo>
                  <a:lnTo>
                    <a:pt x="83" y="598"/>
                  </a:lnTo>
                  <a:lnTo>
                    <a:pt x="82" y="599"/>
                  </a:lnTo>
                  <a:lnTo>
                    <a:pt x="79" y="599"/>
                  </a:lnTo>
                  <a:lnTo>
                    <a:pt x="77" y="600"/>
                  </a:lnTo>
                  <a:lnTo>
                    <a:pt x="69" y="600"/>
                  </a:lnTo>
                  <a:lnTo>
                    <a:pt x="60" y="600"/>
                  </a:lnTo>
                  <a:lnTo>
                    <a:pt x="57" y="600"/>
                  </a:lnTo>
                  <a:lnTo>
                    <a:pt x="56" y="600"/>
                  </a:lnTo>
                  <a:lnTo>
                    <a:pt x="54" y="599"/>
                  </a:lnTo>
                  <a:lnTo>
                    <a:pt x="54" y="599"/>
                  </a:lnTo>
                  <a:lnTo>
                    <a:pt x="53" y="598"/>
                  </a:lnTo>
                  <a:lnTo>
                    <a:pt x="52" y="597"/>
                  </a:lnTo>
                  <a:lnTo>
                    <a:pt x="52" y="596"/>
                  </a:lnTo>
                  <a:lnTo>
                    <a:pt x="51" y="594"/>
                  </a:lnTo>
                  <a:lnTo>
                    <a:pt x="50" y="592"/>
                  </a:lnTo>
                  <a:lnTo>
                    <a:pt x="50" y="591"/>
                  </a:lnTo>
                  <a:lnTo>
                    <a:pt x="50" y="587"/>
                  </a:lnTo>
                  <a:lnTo>
                    <a:pt x="50" y="585"/>
                  </a:lnTo>
                  <a:lnTo>
                    <a:pt x="52" y="577"/>
                  </a:lnTo>
                  <a:lnTo>
                    <a:pt x="52" y="572"/>
                  </a:lnTo>
                  <a:lnTo>
                    <a:pt x="52" y="569"/>
                  </a:lnTo>
                  <a:lnTo>
                    <a:pt x="52" y="569"/>
                  </a:lnTo>
                  <a:lnTo>
                    <a:pt x="52" y="567"/>
                  </a:lnTo>
                  <a:lnTo>
                    <a:pt x="51" y="566"/>
                  </a:lnTo>
                  <a:lnTo>
                    <a:pt x="50" y="566"/>
                  </a:lnTo>
                  <a:lnTo>
                    <a:pt x="50" y="565"/>
                  </a:lnTo>
                  <a:lnTo>
                    <a:pt x="49" y="565"/>
                  </a:lnTo>
                  <a:lnTo>
                    <a:pt x="48" y="565"/>
                  </a:lnTo>
                  <a:lnTo>
                    <a:pt x="45" y="566"/>
                  </a:lnTo>
                  <a:lnTo>
                    <a:pt x="41" y="567"/>
                  </a:lnTo>
                  <a:lnTo>
                    <a:pt x="39" y="568"/>
                  </a:lnTo>
                  <a:lnTo>
                    <a:pt x="33" y="569"/>
                  </a:lnTo>
                  <a:lnTo>
                    <a:pt x="31" y="569"/>
                  </a:lnTo>
                  <a:lnTo>
                    <a:pt x="29" y="569"/>
                  </a:lnTo>
                  <a:lnTo>
                    <a:pt x="28" y="569"/>
                  </a:lnTo>
                  <a:lnTo>
                    <a:pt x="26" y="569"/>
                  </a:lnTo>
                  <a:lnTo>
                    <a:pt x="24" y="568"/>
                  </a:lnTo>
                  <a:lnTo>
                    <a:pt x="23" y="567"/>
                  </a:lnTo>
                  <a:lnTo>
                    <a:pt x="21" y="566"/>
                  </a:lnTo>
                  <a:lnTo>
                    <a:pt x="19" y="563"/>
                  </a:lnTo>
                  <a:lnTo>
                    <a:pt x="17" y="561"/>
                  </a:lnTo>
                  <a:lnTo>
                    <a:pt x="12" y="556"/>
                  </a:lnTo>
                  <a:lnTo>
                    <a:pt x="8" y="551"/>
                  </a:lnTo>
                  <a:lnTo>
                    <a:pt x="7" y="549"/>
                  </a:lnTo>
                  <a:lnTo>
                    <a:pt x="6" y="546"/>
                  </a:lnTo>
                  <a:lnTo>
                    <a:pt x="4" y="544"/>
                  </a:lnTo>
                  <a:lnTo>
                    <a:pt x="2" y="540"/>
                  </a:lnTo>
                  <a:lnTo>
                    <a:pt x="0" y="537"/>
                  </a:lnTo>
                  <a:lnTo>
                    <a:pt x="0" y="535"/>
                  </a:lnTo>
                  <a:lnTo>
                    <a:pt x="0" y="535"/>
                  </a:lnTo>
                  <a:lnTo>
                    <a:pt x="0" y="533"/>
                  </a:lnTo>
                  <a:lnTo>
                    <a:pt x="0" y="532"/>
                  </a:lnTo>
                  <a:lnTo>
                    <a:pt x="0" y="528"/>
                  </a:lnTo>
                  <a:lnTo>
                    <a:pt x="0" y="526"/>
                  </a:lnTo>
                  <a:lnTo>
                    <a:pt x="1" y="524"/>
                  </a:lnTo>
                  <a:lnTo>
                    <a:pt x="2" y="522"/>
                  </a:lnTo>
                  <a:lnTo>
                    <a:pt x="7" y="513"/>
                  </a:lnTo>
                  <a:lnTo>
                    <a:pt x="8" y="509"/>
                  </a:lnTo>
                  <a:lnTo>
                    <a:pt x="9" y="506"/>
                  </a:lnTo>
                  <a:lnTo>
                    <a:pt x="9" y="502"/>
                  </a:lnTo>
                  <a:lnTo>
                    <a:pt x="10" y="501"/>
                  </a:lnTo>
                  <a:lnTo>
                    <a:pt x="10" y="499"/>
                  </a:lnTo>
                  <a:lnTo>
                    <a:pt x="9" y="494"/>
                  </a:lnTo>
                  <a:lnTo>
                    <a:pt x="9" y="492"/>
                  </a:lnTo>
                  <a:lnTo>
                    <a:pt x="10" y="489"/>
                  </a:lnTo>
                  <a:lnTo>
                    <a:pt x="10" y="488"/>
                  </a:lnTo>
                  <a:lnTo>
                    <a:pt x="11" y="486"/>
                  </a:lnTo>
                  <a:lnTo>
                    <a:pt x="12" y="484"/>
                  </a:lnTo>
                  <a:lnTo>
                    <a:pt x="15" y="480"/>
                  </a:lnTo>
                  <a:lnTo>
                    <a:pt x="19" y="475"/>
                  </a:lnTo>
                  <a:lnTo>
                    <a:pt x="24" y="468"/>
                  </a:lnTo>
                  <a:lnTo>
                    <a:pt x="26" y="467"/>
                  </a:lnTo>
                  <a:lnTo>
                    <a:pt x="28" y="464"/>
                  </a:lnTo>
                  <a:lnTo>
                    <a:pt x="29" y="460"/>
                  </a:lnTo>
                  <a:lnTo>
                    <a:pt x="30" y="457"/>
                  </a:lnTo>
                  <a:lnTo>
                    <a:pt x="31" y="455"/>
                  </a:lnTo>
                  <a:lnTo>
                    <a:pt x="31" y="452"/>
                  </a:lnTo>
                  <a:lnTo>
                    <a:pt x="31" y="451"/>
                  </a:lnTo>
                  <a:lnTo>
                    <a:pt x="31" y="449"/>
                  </a:lnTo>
                  <a:lnTo>
                    <a:pt x="31" y="447"/>
                  </a:lnTo>
                  <a:lnTo>
                    <a:pt x="31" y="445"/>
                  </a:lnTo>
                  <a:lnTo>
                    <a:pt x="30" y="444"/>
                  </a:lnTo>
                  <a:lnTo>
                    <a:pt x="29" y="443"/>
                  </a:lnTo>
                  <a:lnTo>
                    <a:pt x="28" y="441"/>
                  </a:lnTo>
                  <a:lnTo>
                    <a:pt x="27" y="439"/>
                  </a:lnTo>
                  <a:lnTo>
                    <a:pt x="25" y="436"/>
                  </a:lnTo>
                  <a:lnTo>
                    <a:pt x="23" y="433"/>
                  </a:lnTo>
                  <a:lnTo>
                    <a:pt x="14" y="423"/>
                  </a:lnTo>
                  <a:lnTo>
                    <a:pt x="11" y="421"/>
                  </a:lnTo>
                  <a:lnTo>
                    <a:pt x="9" y="419"/>
                  </a:lnTo>
                  <a:lnTo>
                    <a:pt x="8" y="417"/>
                  </a:lnTo>
                  <a:lnTo>
                    <a:pt x="8" y="415"/>
                  </a:lnTo>
                  <a:lnTo>
                    <a:pt x="8" y="414"/>
                  </a:lnTo>
                  <a:lnTo>
                    <a:pt x="7" y="412"/>
                  </a:lnTo>
                  <a:lnTo>
                    <a:pt x="7" y="411"/>
                  </a:lnTo>
                  <a:lnTo>
                    <a:pt x="7" y="410"/>
                  </a:lnTo>
                  <a:lnTo>
                    <a:pt x="7" y="408"/>
                  </a:lnTo>
                  <a:lnTo>
                    <a:pt x="8" y="399"/>
                  </a:lnTo>
                  <a:lnTo>
                    <a:pt x="8" y="389"/>
                  </a:lnTo>
                  <a:lnTo>
                    <a:pt x="9" y="386"/>
                  </a:lnTo>
                  <a:lnTo>
                    <a:pt x="10" y="384"/>
                  </a:lnTo>
                  <a:lnTo>
                    <a:pt x="10" y="381"/>
                  </a:lnTo>
                  <a:lnTo>
                    <a:pt x="11" y="379"/>
                  </a:lnTo>
                  <a:lnTo>
                    <a:pt x="12" y="376"/>
                  </a:lnTo>
                  <a:lnTo>
                    <a:pt x="15" y="370"/>
                  </a:lnTo>
                  <a:lnTo>
                    <a:pt x="18" y="366"/>
                  </a:lnTo>
                  <a:lnTo>
                    <a:pt x="20" y="363"/>
                  </a:lnTo>
                  <a:lnTo>
                    <a:pt x="22" y="359"/>
                  </a:lnTo>
                  <a:lnTo>
                    <a:pt x="25" y="354"/>
                  </a:lnTo>
                  <a:lnTo>
                    <a:pt x="40" y="338"/>
                  </a:lnTo>
                  <a:lnTo>
                    <a:pt x="41" y="336"/>
                  </a:lnTo>
                  <a:lnTo>
                    <a:pt x="43" y="333"/>
                  </a:lnTo>
                  <a:lnTo>
                    <a:pt x="45" y="330"/>
                  </a:lnTo>
                  <a:lnTo>
                    <a:pt x="47" y="327"/>
                  </a:lnTo>
                  <a:lnTo>
                    <a:pt x="48" y="324"/>
                  </a:lnTo>
                  <a:lnTo>
                    <a:pt x="50" y="320"/>
                  </a:lnTo>
                  <a:lnTo>
                    <a:pt x="51" y="318"/>
                  </a:lnTo>
                  <a:lnTo>
                    <a:pt x="51" y="314"/>
                  </a:lnTo>
                  <a:lnTo>
                    <a:pt x="52" y="311"/>
                  </a:lnTo>
                  <a:lnTo>
                    <a:pt x="52" y="308"/>
                  </a:lnTo>
                  <a:lnTo>
                    <a:pt x="52" y="302"/>
                  </a:lnTo>
                  <a:lnTo>
                    <a:pt x="51" y="293"/>
                  </a:lnTo>
                  <a:lnTo>
                    <a:pt x="50" y="279"/>
                  </a:lnTo>
                  <a:lnTo>
                    <a:pt x="50" y="275"/>
                  </a:lnTo>
                  <a:lnTo>
                    <a:pt x="51" y="272"/>
                  </a:lnTo>
                  <a:lnTo>
                    <a:pt x="51" y="269"/>
                  </a:lnTo>
                  <a:lnTo>
                    <a:pt x="52" y="266"/>
                  </a:lnTo>
                  <a:lnTo>
                    <a:pt x="54" y="263"/>
                  </a:lnTo>
                  <a:lnTo>
                    <a:pt x="57" y="254"/>
                  </a:lnTo>
                  <a:lnTo>
                    <a:pt x="58" y="251"/>
                  </a:lnTo>
                  <a:lnTo>
                    <a:pt x="59" y="249"/>
                  </a:lnTo>
                  <a:lnTo>
                    <a:pt x="59" y="246"/>
                  </a:lnTo>
                  <a:lnTo>
                    <a:pt x="59" y="244"/>
                  </a:lnTo>
                  <a:lnTo>
                    <a:pt x="60" y="236"/>
                  </a:lnTo>
                  <a:lnTo>
                    <a:pt x="61" y="231"/>
                  </a:lnTo>
                  <a:lnTo>
                    <a:pt x="62" y="228"/>
                  </a:lnTo>
                  <a:lnTo>
                    <a:pt x="63" y="225"/>
                  </a:lnTo>
                  <a:lnTo>
                    <a:pt x="64" y="223"/>
                  </a:lnTo>
                  <a:lnTo>
                    <a:pt x="65" y="219"/>
                  </a:lnTo>
                  <a:lnTo>
                    <a:pt x="69" y="216"/>
                  </a:lnTo>
                  <a:lnTo>
                    <a:pt x="82" y="199"/>
                  </a:lnTo>
                  <a:lnTo>
                    <a:pt x="88" y="194"/>
                  </a:lnTo>
                  <a:lnTo>
                    <a:pt x="90" y="190"/>
                  </a:lnTo>
                  <a:lnTo>
                    <a:pt x="93" y="188"/>
                  </a:lnTo>
                  <a:lnTo>
                    <a:pt x="97" y="184"/>
                  </a:lnTo>
                  <a:lnTo>
                    <a:pt x="99" y="183"/>
                  </a:lnTo>
                  <a:lnTo>
                    <a:pt x="102" y="181"/>
                  </a:lnTo>
                  <a:lnTo>
                    <a:pt x="108" y="174"/>
                  </a:lnTo>
                  <a:lnTo>
                    <a:pt x="110" y="172"/>
                  </a:lnTo>
                  <a:lnTo>
                    <a:pt x="112" y="171"/>
                  </a:lnTo>
                  <a:lnTo>
                    <a:pt x="115" y="170"/>
                  </a:lnTo>
                  <a:lnTo>
                    <a:pt x="118" y="168"/>
                  </a:lnTo>
                  <a:lnTo>
                    <a:pt x="120" y="167"/>
                  </a:lnTo>
                  <a:lnTo>
                    <a:pt x="126" y="164"/>
                  </a:lnTo>
                  <a:lnTo>
                    <a:pt x="129" y="163"/>
                  </a:lnTo>
                  <a:lnTo>
                    <a:pt x="132" y="161"/>
                  </a:lnTo>
                  <a:lnTo>
                    <a:pt x="134" y="160"/>
                  </a:lnTo>
                  <a:lnTo>
                    <a:pt x="136" y="158"/>
                  </a:lnTo>
                  <a:lnTo>
                    <a:pt x="139" y="155"/>
                  </a:lnTo>
                  <a:lnTo>
                    <a:pt x="147" y="145"/>
                  </a:lnTo>
                  <a:lnTo>
                    <a:pt x="151" y="141"/>
                  </a:lnTo>
                  <a:lnTo>
                    <a:pt x="155" y="138"/>
                  </a:lnTo>
                  <a:lnTo>
                    <a:pt x="157" y="135"/>
                  </a:lnTo>
                  <a:lnTo>
                    <a:pt x="159" y="134"/>
                  </a:lnTo>
                  <a:lnTo>
                    <a:pt x="161" y="133"/>
                  </a:lnTo>
                  <a:lnTo>
                    <a:pt x="163" y="133"/>
                  </a:lnTo>
                  <a:lnTo>
                    <a:pt x="165" y="133"/>
                  </a:lnTo>
                  <a:lnTo>
                    <a:pt x="168" y="134"/>
                  </a:lnTo>
                  <a:lnTo>
                    <a:pt x="173" y="135"/>
                  </a:lnTo>
                  <a:lnTo>
                    <a:pt x="176" y="135"/>
                  </a:lnTo>
                  <a:lnTo>
                    <a:pt x="179" y="136"/>
                  </a:lnTo>
                  <a:lnTo>
                    <a:pt x="180" y="136"/>
                  </a:lnTo>
                  <a:lnTo>
                    <a:pt x="182" y="136"/>
                  </a:lnTo>
                  <a:lnTo>
                    <a:pt x="185" y="135"/>
                  </a:lnTo>
                  <a:lnTo>
                    <a:pt x="187" y="135"/>
                  </a:lnTo>
                  <a:lnTo>
                    <a:pt x="189" y="134"/>
                  </a:lnTo>
                  <a:lnTo>
                    <a:pt x="190" y="132"/>
                  </a:lnTo>
                  <a:lnTo>
                    <a:pt x="190" y="132"/>
                  </a:lnTo>
                  <a:lnTo>
                    <a:pt x="191" y="130"/>
                  </a:lnTo>
                  <a:lnTo>
                    <a:pt x="192" y="127"/>
                  </a:lnTo>
                  <a:lnTo>
                    <a:pt x="193" y="126"/>
                  </a:lnTo>
                  <a:lnTo>
                    <a:pt x="193" y="123"/>
                  </a:lnTo>
                  <a:lnTo>
                    <a:pt x="195" y="118"/>
                  </a:lnTo>
                  <a:lnTo>
                    <a:pt x="195" y="114"/>
                  </a:lnTo>
                  <a:lnTo>
                    <a:pt x="196" y="107"/>
                  </a:lnTo>
                  <a:lnTo>
                    <a:pt x="197" y="85"/>
                  </a:lnTo>
                  <a:lnTo>
                    <a:pt x="198" y="85"/>
                  </a:lnTo>
                  <a:lnTo>
                    <a:pt x="198" y="86"/>
                  </a:lnTo>
                  <a:lnTo>
                    <a:pt x="199" y="86"/>
                  </a:lnTo>
                  <a:lnTo>
                    <a:pt x="200" y="85"/>
                  </a:lnTo>
                  <a:lnTo>
                    <a:pt x="202" y="85"/>
                  </a:lnTo>
                  <a:lnTo>
                    <a:pt x="203" y="83"/>
                  </a:lnTo>
                  <a:lnTo>
                    <a:pt x="205" y="82"/>
                  </a:lnTo>
                  <a:lnTo>
                    <a:pt x="208" y="81"/>
                  </a:lnTo>
                  <a:lnTo>
                    <a:pt x="214" y="75"/>
                  </a:lnTo>
                  <a:lnTo>
                    <a:pt x="217" y="72"/>
                  </a:lnTo>
                  <a:lnTo>
                    <a:pt x="220" y="70"/>
                  </a:lnTo>
                  <a:lnTo>
                    <a:pt x="224" y="69"/>
                  </a:lnTo>
                  <a:lnTo>
                    <a:pt x="229" y="66"/>
                  </a:lnTo>
                  <a:lnTo>
                    <a:pt x="234" y="64"/>
                  </a:lnTo>
                  <a:lnTo>
                    <a:pt x="239" y="63"/>
                  </a:lnTo>
                  <a:lnTo>
                    <a:pt x="245" y="61"/>
                  </a:lnTo>
                  <a:lnTo>
                    <a:pt x="248" y="61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60" y="60"/>
                  </a:lnTo>
                  <a:lnTo>
                    <a:pt x="267" y="60"/>
                  </a:lnTo>
                  <a:lnTo>
                    <a:pt x="281" y="61"/>
                  </a:lnTo>
                  <a:lnTo>
                    <a:pt x="285" y="61"/>
                  </a:lnTo>
                  <a:lnTo>
                    <a:pt x="289" y="60"/>
                  </a:lnTo>
                  <a:lnTo>
                    <a:pt x="293" y="60"/>
                  </a:lnTo>
                  <a:lnTo>
                    <a:pt x="296" y="60"/>
                  </a:lnTo>
                  <a:lnTo>
                    <a:pt x="299" y="59"/>
                  </a:lnTo>
                  <a:lnTo>
                    <a:pt x="308" y="57"/>
                  </a:lnTo>
                  <a:lnTo>
                    <a:pt x="311" y="57"/>
                  </a:lnTo>
                  <a:lnTo>
                    <a:pt x="314" y="57"/>
                  </a:lnTo>
                  <a:lnTo>
                    <a:pt x="316" y="57"/>
                  </a:lnTo>
                  <a:lnTo>
                    <a:pt x="319" y="57"/>
                  </a:lnTo>
                  <a:lnTo>
                    <a:pt x="322" y="58"/>
                  </a:lnTo>
                  <a:lnTo>
                    <a:pt x="327" y="59"/>
                  </a:lnTo>
                  <a:lnTo>
                    <a:pt x="328" y="60"/>
                  </a:lnTo>
                  <a:lnTo>
                    <a:pt x="331" y="61"/>
                  </a:lnTo>
                  <a:lnTo>
                    <a:pt x="334" y="61"/>
                  </a:lnTo>
                  <a:lnTo>
                    <a:pt x="338" y="61"/>
                  </a:lnTo>
                  <a:lnTo>
                    <a:pt x="340" y="61"/>
                  </a:lnTo>
                  <a:lnTo>
                    <a:pt x="344" y="60"/>
                  </a:lnTo>
                  <a:lnTo>
                    <a:pt x="348" y="59"/>
                  </a:lnTo>
                  <a:lnTo>
                    <a:pt x="352" y="57"/>
                  </a:lnTo>
                  <a:lnTo>
                    <a:pt x="356" y="55"/>
                  </a:lnTo>
                  <a:lnTo>
                    <a:pt x="360" y="52"/>
                  </a:lnTo>
                  <a:lnTo>
                    <a:pt x="363" y="49"/>
                  </a:lnTo>
                  <a:lnTo>
                    <a:pt x="368" y="46"/>
                  </a:lnTo>
                  <a:lnTo>
                    <a:pt x="372" y="41"/>
                  </a:lnTo>
                  <a:lnTo>
                    <a:pt x="376" y="37"/>
                  </a:lnTo>
                  <a:lnTo>
                    <a:pt x="380" y="33"/>
                  </a:lnTo>
                  <a:lnTo>
                    <a:pt x="383" y="30"/>
                  </a:lnTo>
                  <a:lnTo>
                    <a:pt x="384" y="27"/>
                  </a:lnTo>
                  <a:lnTo>
                    <a:pt x="386" y="25"/>
                  </a:lnTo>
                  <a:lnTo>
                    <a:pt x="387" y="22"/>
                  </a:lnTo>
                  <a:lnTo>
                    <a:pt x="388" y="20"/>
                  </a:lnTo>
                  <a:lnTo>
                    <a:pt x="389" y="17"/>
                  </a:lnTo>
                  <a:lnTo>
                    <a:pt x="393" y="6"/>
                  </a:lnTo>
                  <a:lnTo>
                    <a:pt x="394" y="3"/>
                  </a:lnTo>
                  <a:lnTo>
                    <a:pt x="394" y="2"/>
                  </a:lnTo>
                  <a:lnTo>
                    <a:pt x="395" y="1"/>
                  </a:lnTo>
                  <a:lnTo>
                    <a:pt x="396" y="1"/>
                  </a:lnTo>
                  <a:lnTo>
                    <a:pt x="397" y="0"/>
                  </a:lnTo>
                  <a:lnTo>
                    <a:pt x="399" y="0"/>
                  </a:lnTo>
                  <a:lnTo>
                    <a:pt x="401" y="0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6" name="Rectangle 109">
              <a:extLst>
                <a:ext uri="{FF2B5EF4-FFF2-40B4-BE49-F238E27FC236}">
                  <a16:creationId xmlns:a16="http://schemas.microsoft.com/office/drawing/2014/main" id="{079EC8F9-C98C-4C14-9D09-37DAF6F912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6" y="3208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H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7" name="Rectangle 110">
              <a:extLst>
                <a:ext uri="{FF2B5EF4-FFF2-40B4-BE49-F238E27FC236}">
                  <a16:creationId xmlns:a16="http://schemas.microsoft.com/office/drawing/2014/main" id="{DD73AD22-2CBC-4858-979B-32829EB0EC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3149"/>
              <a:ext cx="9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I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8" name="Rectangle 111">
              <a:extLst>
                <a:ext uri="{FF2B5EF4-FFF2-40B4-BE49-F238E27FC236}">
                  <a16:creationId xmlns:a16="http://schemas.microsoft.com/office/drawing/2014/main" id="{9910DDFB-D5E7-4F4F-B384-4DA5ECD7C9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" y="3037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T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9" name="Rectangle 112">
              <a:extLst>
                <a:ext uri="{FF2B5EF4-FFF2-40B4-BE49-F238E27FC236}">
                  <a16:creationId xmlns:a16="http://schemas.microsoft.com/office/drawing/2014/main" id="{E51F94D1-9DDA-4E9A-A6D9-FDDF23E0BA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5" y="2986"/>
              <a:ext cx="8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I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0" name="Rectangle 113">
              <a:extLst>
                <a:ext uri="{FF2B5EF4-FFF2-40B4-BE49-F238E27FC236}">
                  <a16:creationId xmlns:a16="http://schemas.microsoft.com/office/drawing/2014/main" id="{EC652E0D-648E-4A06-AFCC-1252FF0716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0" y="2580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B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1" name="Rectangle 114">
              <a:extLst>
                <a:ext uri="{FF2B5EF4-FFF2-40B4-BE49-F238E27FC236}">
                  <a16:creationId xmlns:a16="http://schemas.microsoft.com/office/drawing/2014/main" id="{BDCF7ACC-DF78-44C9-97E5-70D9454818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1" y="2953"/>
              <a:ext cx="90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I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2" name="Rectangle 115">
              <a:extLst>
                <a:ext uri="{FF2B5EF4-FFF2-40B4-BE49-F238E27FC236}">
                  <a16:creationId xmlns:a16="http://schemas.microsoft.com/office/drawing/2014/main" id="{E8E460E9-F421-4A78-B5DB-32998B61B1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4" y="3492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N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3" name="Rectangle 116">
              <a:extLst>
                <a:ext uri="{FF2B5EF4-FFF2-40B4-BE49-F238E27FC236}">
                  <a16:creationId xmlns:a16="http://schemas.microsoft.com/office/drawing/2014/main" id="{0AAB2F2D-47CB-43D3-8C7F-6285450B6B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1" y="2776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R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4" name="Rectangle 117">
              <a:extLst>
                <a:ext uri="{FF2B5EF4-FFF2-40B4-BE49-F238E27FC236}">
                  <a16:creationId xmlns:a16="http://schemas.microsoft.com/office/drawing/2014/main" id="{5C7AC808-E061-47A0-86CD-7355BB0683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30" y="3374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B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5" name="Rectangle 118">
              <a:extLst>
                <a:ext uri="{FF2B5EF4-FFF2-40B4-BE49-F238E27FC236}">
                  <a16:creationId xmlns:a16="http://schemas.microsoft.com/office/drawing/2014/main" id="{C090EABD-75C4-4BA2-B2D9-4DAECA2A1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7" y="3671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K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6" name="Rectangle 119">
              <a:extLst>
                <a:ext uri="{FF2B5EF4-FFF2-40B4-BE49-F238E27FC236}">
                  <a16:creationId xmlns:a16="http://schemas.microsoft.com/office/drawing/2014/main" id="{9A34D0F3-6255-455A-9283-FBDCF011F7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7" y="1242"/>
              <a:ext cx="8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I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7" name="Rectangle 120">
              <a:extLst>
                <a:ext uri="{FF2B5EF4-FFF2-40B4-BE49-F238E27FC236}">
                  <a16:creationId xmlns:a16="http://schemas.microsoft.com/office/drawing/2014/main" id="{9EFD8001-9DC4-4437-9463-524D21132D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6" y="3190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8" name="Rectangle 121">
              <a:extLst>
                <a:ext uri="{FF2B5EF4-FFF2-40B4-BE49-F238E27FC236}">
                  <a16:creationId xmlns:a16="http://schemas.microsoft.com/office/drawing/2014/main" id="{106F566D-D6F1-475F-A48C-04254700AD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" y="1911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V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9" name="Rectangle 122">
              <a:extLst>
                <a:ext uri="{FF2B5EF4-FFF2-40B4-BE49-F238E27FC236}">
                  <a16:creationId xmlns:a16="http://schemas.microsoft.com/office/drawing/2014/main" id="{3EB5C7A7-C4F3-44C5-96DC-860B9A812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3" y="2542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C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0" name="Rectangle 123">
              <a:extLst>
                <a:ext uri="{FF2B5EF4-FFF2-40B4-BE49-F238E27FC236}">
                  <a16:creationId xmlns:a16="http://schemas.microsoft.com/office/drawing/2014/main" id="{213CE3F3-2775-411C-AB5A-AF5C8394E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9" y="3380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T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1" name="Rectangle 124">
              <a:extLst>
                <a:ext uri="{FF2B5EF4-FFF2-40B4-BE49-F238E27FC236}">
                  <a16:creationId xmlns:a16="http://schemas.microsoft.com/office/drawing/2014/main" id="{68327CA8-253E-414D-A000-0CFD4A21D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1" y="2100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R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2" name="Rectangle 125">
              <a:extLst>
                <a:ext uri="{FF2B5EF4-FFF2-40B4-BE49-F238E27FC236}">
                  <a16:creationId xmlns:a16="http://schemas.microsoft.com/office/drawing/2014/main" id="{0C4B71E7-FCDA-4EC8-A0C6-5525CE7DD8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1" y="2927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3" name="Rectangle 126">
              <a:extLst>
                <a:ext uri="{FF2B5EF4-FFF2-40B4-BE49-F238E27FC236}">
                  <a16:creationId xmlns:a16="http://schemas.microsoft.com/office/drawing/2014/main" id="{2A6B1EB0-D79C-4581-B93F-3ABD9F7B8E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4" y="2431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C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4" name="Rectangle 127">
              <a:extLst>
                <a:ext uri="{FF2B5EF4-FFF2-40B4-BE49-F238E27FC236}">
                  <a16:creationId xmlns:a16="http://schemas.microsoft.com/office/drawing/2014/main" id="{A3E6EF98-7280-4FFB-9075-0DF05F4291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506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Y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5" name="Rectangle 128">
              <a:extLst>
                <a:ext uri="{FF2B5EF4-FFF2-40B4-BE49-F238E27FC236}">
                  <a16:creationId xmlns:a16="http://schemas.microsoft.com/office/drawing/2014/main" id="{4B6DDC5E-AD14-4B60-954C-62D395429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3" y="2524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N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6" name="Rectangle 129">
              <a:extLst>
                <a:ext uri="{FF2B5EF4-FFF2-40B4-BE49-F238E27FC236}">
                  <a16:creationId xmlns:a16="http://schemas.microsoft.com/office/drawing/2014/main" id="{CE706F22-1DDF-4EAB-9925-0C4C7B16C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2856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7" name="Rectangle 130">
              <a:extLst>
                <a:ext uri="{FF2B5EF4-FFF2-40B4-BE49-F238E27FC236}">
                  <a16:creationId xmlns:a16="http://schemas.microsoft.com/office/drawing/2014/main" id="{549FD3CC-B1A4-47C6-AD9E-CAC5DF99F3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8" y="2297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S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8" name="Rectangle 131">
              <a:extLst>
                <a:ext uri="{FF2B5EF4-FFF2-40B4-BE49-F238E27FC236}">
                  <a16:creationId xmlns:a16="http://schemas.microsoft.com/office/drawing/2014/main" id="{07CC0D23-2C65-4CB3-95A2-91448943E7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1" y="2194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9" name="Rectangle 132">
              <a:extLst>
                <a:ext uri="{FF2B5EF4-FFF2-40B4-BE49-F238E27FC236}">
                  <a16:creationId xmlns:a16="http://schemas.microsoft.com/office/drawing/2014/main" id="{1ED96209-72BC-45C5-BE9C-D9E8C4926A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1" y="1618"/>
              <a:ext cx="10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T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0" name="Rectangle 133">
              <a:extLst>
                <a:ext uri="{FF2B5EF4-FFF2-40B4-BE49-F238E27FC236}">
                  <a16:creationId xmlns:a16="http://schemas.microsoft.com/office/drawing/2014/main" id="{34D5002B-81D1-4930-AABB-A4F5FF8F24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3" y="2579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B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1" name="Rectangle 134">
              <a:extLst>
                <a:ext uri="{FF2B5EF4-FFF2-40B4-BE49-F238E27FC236}">
                  <a16:creationId xmlns:a16="http://schemas.microsoft.com/office/drawing/2014/main" id="{23AFAAF5-0FAE-4D26-A6EC-0883ED5B2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5" y="1532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U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2" name="Rectangle 135">
              <a:extLst>
                <a:ext uri="{FF2B5EF4-FFF2-40B4-BE49-F238E27FC236}">
                  <a16:creationId xmlns:a16="http://schemas.microsoft.com/office/drawing/2014/main" id="{63BE1FF8-1C1E-4D86-9BC9-EF5C8F960A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8" y="2884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S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3" name="Rectangle 136">
              <a:extLst>
                <a:ext uri="{FF2B5EF4-FFF2-40B4-BE49-F238E27FC236}">
                  <a16:creationId xmlns:a16="http://schemas.microsoft.com/office/drawing/2014/main" id="{7CA6B1D0-C086-4DEF-A23C-D6731D462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7" y="3078"/>
              <a:ext cx="10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L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4" name="Rectangle 137">
              <a:extLst>
                <a:ext uri="{FF2B5EF4-FFF2-40B4-BE49-F238E27FC236}">
                  <a16:creationId xmlns:a16="http://schemas.microsoft.com/office/drawing/2014/main" id="{4ABC55CD-50EE-4A22-B234-E82A2191AE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2" y="2173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5" name="Rectangle 138">
              <a:extLst>
                <a:ext uri="{FF2B5EF4-FFF2-40B4-BE49-F238E27FC236}">
                  <a16:creationId xmlns:a16="http://schemas.microsoft.com/office/drawing/2014/main" id="{1C27446A-29FA-40D4-899F-344E39EEC2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4" y="2606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M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6" name="Rectangle 139">
              <a:extLst>
                <a:ext uri="{FF2B5EF4-FFF2-40B4-BE49-F238E27FC236}">
                  <a16:creationId xmlns:a16="http://schemas.microsoft.com/office/drawing/2014/main" id="{32FAB849-6D83-4AFB-8FAA-E0414A2B54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5" y="1808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N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7" name="Rectangle 140">
              <a:extLst>
                <a:ext uri="{FF2B5EF4-FFF2-40B4-BE49-F238E27FC236}">
                  <a16:creationId xmlns:a16="http://schemas.microsoft.com/office/drawing/2014/main" id="{63CB6C54-1AF1-489C-AA8D-B228A5C49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2" y="2693"/>
              <a:ext cx="10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J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8" name="Rectangle 141">
              <a:extLst>
                <a:ext uri="{FF2B5EF4-FFF2-40B4-BE49-F238E27FC236}">
                  <a16:creationId xmlns:a16="http://schemas.microsoft.com/office/drawing/2014/main" id="{2BFA3C6B-181E-4CF4-AF16-B3F964845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3" y="3041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9" name="Rectangle 142">
              <a:extLst>
                <a:ext uri="{FF2B5EF4-FFF2-40B4-BE49-F238E27FC236}">
                  <a16:creationId xmlns:a16="http://schemas.microsoft.com/office/drawing/2014/main" id="{B38FB588-8DFF-4D44-9273-C9F0C5F56A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4" y="1413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L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0" name="Rectangle 143">
              <a:extLst>
                <a:ext uri="{FF2B5EF4-FFF2-40B4-BE49-F238E27FC236}">
                  <a16:creationId xmlns:a16="http://schemas.microsoft.com/office/drawing/2014/main" id="{3FB9CB22-11AB-4BB3-96B6-C3503DCC13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6" y="2273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P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1" name="Rectangle 144">
              <a:extLst>
                <a:ext uri="{FF2B5EF4-FFF2-40B4-BE49-F238E27FC236}">
                  <a16:creationId xmlns:a16="http://schemas.microsoft.com/office/drawing/2014/main" id="{3DF34AF5-1249-4555-9ED6-96AB642FFE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" y="2768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2" name="Rectangle 145">
              <a:extLst>
                <a:ext uri="{FF2B5EF4-FFF2-40B4-BE49-F238E27FC236}">
                  <a16:creationId xmlns:a16="http://schemas.microsoft.com/office/drawing/2014/main" id="{8C7BAA65-E85B-45FC-A824-38C8316888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5" y="3505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V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3" name="Rectangle 146">
              <a:extLst>
                <a:ext uri="{FF2B5EF4-FFF2-40B4-BE49-F238E27FC236}">
                  <a16:creationId xmlns:a16="http://schemas.microsoft.com/office/drawing/2014/main" id="{6EAB117D-10DA-4A5A-8498-117A589E0C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3" y="3417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4" name="Rectangle 147">
              <a:extLst>
                <a:ext uri="{FF2B5EF4-FFF2-40B4-BE49-F238E27FC236}">
                  <a16:creationId xmlns:a16="http://schemas.microsoft.com/office/drawing/2014/main" id="{FF080F1B-D23D-4936-A539-901354434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" y="2065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H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5" name="Rectangle 148">
              <a:extLst>
                <a:ext uri="{FF2B5EF4-FFF2-40B4-BE49-F238E27FC236}">
                  <a16:creationId xmlns:a16="http://schemas.microsoft.com/office/drawing/2014/main" id="{B4CA04EC-D4BD-4248-9EFA-C3FADB2840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2" y="1708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C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6" name="Rectangle 149">
              <a:extLst>
                <a:ext uri="{FF2B5EF4-FFF2-40B4-BE49-F238E27FC236}">
                  <a16:creationId xmlns:a16="http://schemas.microsoft.com/office/drawing/2014/main" id="{6D772F59-99EC-4422-90F1-54A5B5E85C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9" y="2548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J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7" name="Rectangle 150">
              <a:extLst>
                <a:ext uri="{FF2B5EF4-FFF2-40B4-BE49-F238E27FC236}">
                  <a16:creationId xmlns:a16="http://schemas.microsoft.com/office/drawing/2014/main" id="{7754FEEE-8999-4772-9E0A-F13868B96C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2" y="3301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H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8" name="Rectangle 151">
              <a:extLst>
                <a:ext uri="{FF2B5EF4-FFF2-40B4-BE49-F238E27FC236}">
                  <a16:creationId xmlns:a16="http://schemas.microsoft.com/office/drawing/2014/main" id="{A420B4F4-886D-42B5-8251-CBBF526012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4" y="2341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9" name="Rectangle 152">
              <a:extLst>
                <a:ext uri="{FF2B5EF4-FFF2-40B4-BE49-F238E27FC236}">
                  <a16:creationId xmlns:a16="http://schemas.microsoft.com/office/drawing/2014/main" id="{01B2DAA3-E725-4727-BBEF-D024272055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8" y="1944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K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0" name="Rectangle 153">
              <a:extLst>
                <a:ext uri="{FF2B5EF4-FFF2-40B4-BE49-F238E27FC236}">
                  <a16:creationId xmlns:a16="http://schemas.microsoft.com/office/drawing/2014/main" id="{C6C8D75D-D757-4F16-AAA8-498603146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2" y="1663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V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1" name="Rectangle 154">
              <a:extLst>
                <a:ext uri="{FF2B5EF4-FFF2-40B4-BE49-F238E27FC236}">
                  <a16:creationId xmlns:a16="http://schemas.microsoft.com/office/drawing/2014/main" id="{A41E177D-B0A1-43E7-B5A5-201FB102C8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8" y="1689"/>
              <a:ext cx="130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B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2" name="Rectangle 155">
              <a:extLst>
                <a:ext uri="{FF2B5EF4-FFF2-40B4-BE49-F238E27FC236}">
                  <a16:creationId xmlns:a16="http://schemas.microsoft.com/office/drawing/2014/main" id="{245197E8-CF61-48AF-85B2-D94DA799DD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4" y="3065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Y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3" name="Rectangle 156">
              <a:extLst>
                <a:ext uri="{FF2B5EF4-FFF2-40B4-BE49-F238E27FC236}">
                  <a16:creationId xmlns:a16="http://schemas.microsoft.com/office/drawing/2014/main" id="{4C884601-80B3-4E8C-8ABA-4DF4483CBC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0" y="2349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H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4" name="Rectangle 157">
              <a:extLst>
                <a:ext uri="{FF2B5EF4-FFF2-40B4-BE49-F238E27FC236}">
                  <a16:creationId xmlns:a16="http://schemas.microsoft.com/office/drawing/2014/main" id="{224E9182-F80A-4413-9999-B35D42F988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3" y="2119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U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5" name="Rectangle 158">
              <a:extLst>
                <a:ext uri="{FF2B5EF4-FFF2-40B4-BE49-F238E27FC236}">
                  <a16:creationId xmlns:a16="http://schemas.microsoft.com/office/drawing/2014/main" id="{9E8851E1-C1BF-4296-8B5B-D3B51382BF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9" y="1185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C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6" name="Rectangle 159">
              <a:extLst>
                <a:ext uri="{FF2B5EF4-FFF2-40B4-BE49-F238E27FC236}">
                  <a16:creationId xmlns:a16="http://schemas.microsoft.com/office/drawing/2014/main" id="{DB019279-0721-4155-84FE-D87C6EF3D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1" y="2068"/>
              <a:ext cx="120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A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7" name="Rectangle 160">
              <a:extLst>
                <a:ext uri="{FF2B5EF4-FFF2-40B4-BE49-F238E27FC236}">
                  <a16:creationId xmlns:a16="http://schemas.microsoft.com/office/drawing/2014/main" id="{6A83829A-0554-426A-B470-FAD9BF18F3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916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K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8" name="Rectangle 161">
              <a:extLst>
                <a:ext uri="{FF2B5EF4-FFF2-40B4-BE49-F238E27FC236}">
                  <a16:creationId xmlns:a16="http://schemas.microsoft.com/office/drawing/2014/main" id="{A5442111-F281-4F29-AE4E-1170EC3A22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8" y="2753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9" name="Rectangle 162">
              <a:extLst>
                <a:ext uri="{FF2B5EF4-FFF2-40B4-BE49-F238E27FC236}">
                  <a16:creationId xmlns:a16="http://schemas.microsoft.com/office/drawing/2014/main" id="{12399239-493F-49A4-A920-302968E22A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" y="2798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K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0" name="Rectangle 163">
              <a:extLst>
                <a:ext uri="{FF2B5EF4-FFF2-40B4-BE49-F238E27FC236}">
                  <a16:creationId xmlns:a16="http://schemas.microsoft.com/office/drawing/2014/main" id="{7C3D73B9-B4CB-43D3-B14E-836451AB0F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9" y="1933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B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1" name="Rectangle 164">
              <a:extLst>
                <a:ext uri="{FF2B5EF4-FFF2-40B4-BE49-F238E27FC236}">
                  <a16:creationId xmlns:a16="http://schemas.microsoft.com/office/drawing/2014/main" id="{6C4EE39C-5A87-40E5-8D8C-AEF8A8648B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1" y="1670"/>
              <a:ext cx="120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2" name="Rectangle 165">
              <a:extLst>
                <a:ext uri="{FF2B5EF4-FFF2-40B4-BE49-F238E27FC236}">
                  <a16:creationId xmlns:a16="http://schemas.microsoft.com/office/drawing/2014/main" id="{7CF4C098-A627-45A5-8274-9F659BB0B3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9" y="1855"/>
              <a:ext cx="10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E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3" name="Rectangle 166">
              <a:extLst>
                <a:ext uri="{FF2B5EF4-FFF2-40B4-BE49-F238E27FC236}">
                  <a16:creationId xmlns:a16="http://schemas.microsoft.com/office/drawing/2014/main" id="{7F0AD749-6ED2-4E83-9676-BA35E4A5B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8" y="2779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V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4" name="Rectangle 167">
              <a:extLst>
                <a:ext uri="{FF2B5EF4-FFF2-40B4-BE49-F238E27FC236}">
                  <a16:creationId xmlns:a16="http://schemas.microsoft.com/office/drawing/2014/main" id="{BAA5FD0A-FCD5-4097-A920-C7B99A2357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1" y="2227"/>
              <a:ext cx="11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Y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5" name="Rectangle 168">
              <a:extLst>
                <a:ext uri="{FF2B5EF4-FFF2-40B4-BE49-F238E27FC236}">
                  <a16:creationId xmlns:a16="http://schemas.microsoft.com/office/drawing/2014/main" id="{4ABF428C-854A-4D7D-93B3-20A4BCD10B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" y="1905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6" name="Rectangle 169">
              <a:extLst>
                <a:ext uri="{FF2B5EF4-FFF2-40B4-BE49-F238E27FC236}">
                  <a16:creationId xmlns:a16="http://schemas.microsoft.com/office/drawing/2014/main" id="{5BB90900-3DB5-45A4-AC51-4DC84C346A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3" y="2997"/>
              <a:ext cx="130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M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7" name="Rectangle 170">
              <a:extLst>
                <a:ext uri="{FF2B5EF4-FFF2-40B4-BE49-F238E27FC236}">
                  <a16:creationId xmlns:a16="http://schemas.microsoft.com/office/drawing/2014/main" id="{4AB19EA0-8346-4185-AD88-D3657DCFB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3" y="1953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D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8" name="Rectangle 171">
              <a:extLst>
                <a:ext uri="{FF2B5EF4-FFF2-40B4-BE49-F238E27FC236}">
                  <a16:creationId xmlns:a16="http://schemas.microsoft.com/office/drawing/2014/main" id="{80CE4E59-0913-4244-8EF4-A5AC463660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2" y="2148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9" name="Rectangle 172">
              <a:extLst>
                <a:ext uri="{FF2B5EF4-FFF2-40B4-BE49-F238E27FC236}">
                  <a16:creationId xmlns:a16="http://schemas.microsoft.com/office/drawing/2014/main" id="{CEC98B6D-1BAF-4B8C-A56C-67B5C8017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9" y="2288"/>
              <a:ext cx="118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0" name="Rectangle 173">
              <a:extLst>
                <a:ext uri="{FF2B5EF4-FFF2-40B4-BE49-F238E27FC236}">
                  <a16:creationId xmlns:a16="http://schemas.microsoft.com/office/drawing/2014/main" id="{26E68BCE-C9A6-4E3B-9B67-9D3F7F011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5" y="1777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E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1" name="Rectangle 174">
              <a:extLst>
                <a:ext uri="{FF2B5EF4-FFF2-40B4-BE49-F238E27FC236}">
                  <a16:creationId xmlns:a16="http://schemas.microsoft.com/office/drawing/2014/main" id="{C07949D6-31A9-4E64-A376-650007167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1" y="1458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M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2" name="Rectangle 175">
              <a:extLst>
                <a:ext uri="{FF2B5EF4-FFF2-40B4-BE49-F238E27FC236}">
                  <a16:creationId xmlns:a16="http://schemas.microsoft.com/office/drawing/2014/main" id="{8F4FEA7A-968F-4C20-ABB8-5218A74D8C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" y="2322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Z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3" name="Rectangle 176">
              <a:extLst>
                <a:ext uri="{FF2B5EF4-FFF2-40B4-BE49-F238E27FC236}">
                  <a16:creationId xmlns:a16="http://schemas.microsoft.com/office/drawing/2014/main" id="{6CF107D0-7541-49DB-A496-780EC158F4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9" y="2399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4" name="Rectangle 177">
              <a:extLst>
                <a:ext uri="{FF2B5EF4-FFF2-40B4-BE49-F238E27FC236}">
                  <a16:creationId xmlns:a16="http://schemas.microsoft.com/office/drawing/2014/main" id="{D7D1158B-A4B9-4464-B35D-948DBA3D61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9" y="1445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P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5" name="Rectangle 178">
              <a:extLst>
                <a:ext uri="{FF2B5EF4-FFF2-40B4-BE49-F238E27FC236}">
                  <a16:creationId xmlns:a16="http://schemas.microsoft.com/office/drawing/2014/main" id="{7E7B933E-52D4-4A50-B11E-46E1E3E74D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3" y="2091"/>
              <a:ext cx="138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H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6" name="Rectangle 179">
              <a:extLst>
                <a:ext uri="{FF2B5EF4-FFF2-40B4-BE49-F238E27FC236}">
                  <a16:creationId xmlns:a16="http://schemas.microsoft.com/office/drawing/2014/main" id="{369C528F-C1E2-466A-A810-DF74B0F93D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2" y="2337"/>
              <a:ext cx="9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I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7" name="Rectangle 180">
              <a:extLst>
                <a:ext uri="{FF2B5EF4-FFF2-40B4-BE49-F238E27FC236}">
                  <a16:creationId xmlns:a16="http://schemas.microsoft.com/office/drawing/2014/main" id="{4A0D5EC5-52E5-4DC3-B470-958065B853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4" y="1322"/>
              <a:ext cx="11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N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8" name="Rectangle 181">
              <a:extLst>
                <a:ext uri="{FF2B5EF4-FFF2-40B4-BE49-F238E27FC236}">
                  <a16:creationId xmlns:a16="http://schemas.microsoft.com/office/drawing/2014/main" id="{1848F106-9599-4345-83FE-2F8EF9E914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6" y="1375"/>
              <a:ext cx="114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L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9" name="Rectangle 182">
              <a:extLst>
                <a:ext uri="{FF2B5EF4-FFF2-40B4-BE49-F238E27FC236}">
                  <a16:creationId xmlns:a16="http://schemas.microsoft.com/office/drawing/2014/main" id="{3F021AC9-171A-4FB1-B42D-E3882ADDBF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5" y="1517"/>
              <a:ext cx="13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O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0" name="Rectangle 183">
              <a:extLst>
                <a:ext uri="{FF2B5EF4-FFF2-40B4-BE49-F238E27FC236}">
                  <a16:creationId xmlns:a16="http://schemas.microsoft.com/office/drawing/2014/main" id="{B6D2AA1D-10D7-4549-85DB-1C19D06497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1" y="2365"/>
              <a:ext cx="122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V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1" name="Rectangle 184">
              <a:extLst>
                <a:ext uri="{FF2B5EF4-FFF2-40B4-BE49-F238E27FC236}">
                  <a16:creationId xmlns:a16="http://schemas.microsoft.com/office/drawing/2014/main" id="{AEAA069B-A5D9-4846-A093-E66E6E9E1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4" y="2508"/>
              <a:ext cx="126" cy="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M</a:t>
              </a:r>
              <a:endParaRPr kumimoji="0" lang="cs-CZ" altLang="cs-CZ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2" name="Rectangle 185">
              <a:extLst>
                <a:ext uri="{FF2B5EF4-FFF2-40B4-BE49-F238E27FC236}">
                  <a16:creationId xmlns:a16="http://schemas.microsoft.com/office/drawing/2014/main" id="{3FF22B6A-5A23-43A2-8C67-7FE6C6DAA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95"/>
              <a:ext cx="143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cs-CZ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M</a:t>
              </a:r>
              <a:endPara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53" name="TextBox 6">
            <a:extLst>
              <a:ext uri="{FF2B5EF4-FFF2-40B4-BE49-F238E27FC236}">
                <a16:creationId xmlns:a16="http://schemas.microsoft.com/office/drawing/2014/main" id="{7D999A84-CE7E-471E-A7AF-20FA5D33FDFE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272591" y="614228"/>
            <a:ext cx="11862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; hodnocen je počet hospitalizací na lůžku akutní péče s hlavní hospitalizační diagnózou C81–C96, případně s hlavní hospitalizační diagnózou Z51 (radioterapie, chemoterapie) v kombinaci s diagnózou C80–C96 na pozici vedlejší hospitalizační diagnózy. Rok hospitalizace je určen dle data zahájení hospitalizačního pobytu.</a:t>
            </a:r>
          </a:p>
        </p:txBody>
      </p:sp>
      <p:sp>
        <p:nvSpPr>
          <p:cNvPr id="854" name="Rectangle 20">
            <a:extLst>
              <a:ext uri="{FF2B5EF4-FFF2-40B4-BE49-F238E27FC236}">
                <a16:creationId xmlns:a16="http://schemas.microsoft.com/office/drawing/2014/main" id="{4DA3C1DA-7FAD-41F7-B19F-49358C2B8569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9602617" y="3083243"/>
            <a:ext cx="2199523" cy="31360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yvatelé Jihomoravského kraje tvoří většinu hospitalizací na lůžku akutní péče ve FNB (60,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%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.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ostatních krajů tvoří největší podíl obyvatelé Kraje Vysočina (14,7 %) a obyvatelé Zlínského kraje (14,3 %).</a:t>
            </a:r>
          </a:p>
        </p:txBody>
      </p:sp>
    </p:spTree>
    <p:extLst>
      <p:ext uri="{BB962C8B-B14F-4D97-AF65-F5344CB8AC3E}">
        <p14:creationId xmlns:p14="http://schemas.microsoft.com/office/powerpoint/2010/main" val="41593661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71040" y="525981"/>
            <a:ext cx="11117744" cy="890837"/>
          </a:xfrm>
        </p:spPr>
        <p:txBody>
          <a:bodyPr>
            <a:noAutofit/>
          </a:bodyPr>
          <a:lstStyle/>
          <a:p>
            <a:pPr algn="ctr"/>
            <a:r>
              <a:rPr lang="cs-CZ" sz="4800" dirty="0">
                <a:solidFill>
                  <a:schemeClr val="tx1"/>
                </a:solidFill>
              </a:rPr>
              <a:t>Použité hlavní zkratky </a:t>
            </a:r>
            <a:endParaRPr lang="en-US" sz="4800" u="sng" dirty="0">
              <a:solidFill>
                <a:schemeClr val="tx1"/>
              </a:solidFill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FD40992-51F9-463D-A952-83670D334A22}"/>
              </a:ext>
            </a:extLst>
          </p:cNvPr>
          <p:cNvSpPr txBox="1"/>
          <p:nvPr/>
        </p:nvSpPr>
        <p:spPr>
          <a:xfrm>
            <a:off x="471040" y="1316334"/>
            <a:ext cx="951578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b="1" dirty="0"/>
              <a:t>FNB: </a:t>
            </a:r>
            <a:r>
              <a:rPr lang="cs-CZ" sz="2800" dirty="0"/>
              <a:t>Fakultní nemocnice Brno </a:t>
            </a:r>
          </a:p>
          <a:p>
            <a:endParaRPr lang="cs-CZ" sz="2800" dirty="0"/>
          </a:p>
          <a:p>
            <a:r>
              <a:rPr lang="cs-CZ" sz="2800" b="1" dirty="0"/>
              <a:t>NOC Brno: </a:t>
            </a:r>
            <a:r>
              <a:rPr lang="cs-CZ" sz="2800" dirty="0"/>
              <a:t>Národní onkologické centrum Brno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cs-CZ" sz="2800" dirty="0"/>
              <a:t>Masarykův onkologický ústav 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cs-CZ" sz="2800" dirty="0"/>
              <a:t>Fakultní nemocnice Brno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cs-CZ" sz="2800" dirty="0"/>
              <a:t>Fakultní nemocnice u sv. Anny </a:t>
            </a:r>
          </a:p>
          <a:p>
            <a:endParaRPr lang="cs-CZ" sz="2800" dirty="0"/>
          </a:p>
          <a:p>
            <a:r>
              <a:rPr lang="cs-CZ" sz="2800" b="1" dirty="0"/>
              <a:t>KOC ČR: </a:t>
            </a:r>
            <a:r>
              <a:rPr lang="cs-CZ" sz="2800" dirty="0"/>
              <a:t>Komplexní onkologická centra ČR</a:t>
            </a:r>
          </a:p>
          <a:p>
            <a:endParaRPr lang="cs-CZ" sz="2800" dirty="0"/>
          </a:p>
          <a:p>
            <a:r>
              <a:rPr lang="cs-CZ" sz="2800" b="1" dirty="0"/>
              <a:t>NZIS: </a:t>
            </a:r>
            <a:r>
              <a:rPr lang="cs-CZ" sz="2800" dirty="0"/>
              <a:t>Národní zdravotnický informační systém </a:t>
            </a:r>
          </a:p>
          <a:p>
            <a:r>
              <a:rPr lang="cs-CZ" sz="2800" b="1" dirty="0"/>
              <a:t>NOR ČR: </a:t>
            </a:r>
            <a:r>
              <a:rPr lang="cs-CZ" sz="2800" dirty="0"/>
              <a:t>Národní onkologický registr </a:t>
            </a:r>
          </a:p>
          <a:p>
            <a:r>
              <a:rPr lang="cs-CZ" sz="2800" b="1" dirty="0"/>
              <a:t>NRHZS: </a:t>
            </a:r>
            <a:r>
              <a:rPr lang="cs-CZ" sz="2800" dirty="0"/>
              <a:t>Národní registr hrazených zdravotních služeb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3323708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A681969A-27C7-4821-AE1F-746F76E88F0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Spádová oblast FNB (2021)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B4568619-1D95-4051-8536-CCD8E0DAAD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2478878"/>
              </p:ext>
            </p:extLst>
          </p:nvPr>
        </p:nvGraphicFramePr>
        <p:xfrm>
          <a:off x="349692" y="998185"/>
          <a:ext cx="10150141" cy="462153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396191">
                  <a:extLst>
                    <a:ext uri="{9D8B030D-6E8A-4147-A177-3AD203B41FA5}">
                      <a16:colId xmlns:a16="http://schemas.microsoft.com/office/drawing/2014/main" val="1472727146"/>
                    </a:ext>
                  </a:extLst>
                </a:gridCol>
                <a:gridCol w="2584650">
                  <a:extLst>
                    <a:ext uri="{9D8B030D-6E8A-4147-A177-3AD203B41FA5}">
                      <a16:colId xmlns:a16="http://schemas.microsoft.com/office/drawing/2014/main" val="1607327229"/>
                    </a:ext>
                  </a:extLst>
                </a:gridCol>
                <a:gridCol w="2584650">
                  <a:extLst>
                    <a:ext uri="{9D8B030D-6E8A-4147-A177-3AD203B41FA5}">
                      <a16:colId xmlns:a16="http://schemas.microsoft.com/office/drawing/2014/main" val="1055568885"/>
                    </a:ext>
                  </a:extLst>
                </a:gridCol>
                <a:gridCol w="2584650">
                  <a:extLst>
                    <a:ext uri="{9D8B030D-6E8A-4147-A177-3AD203B41FA5}">
                      <a16:colId xmlns:a16="http://schemas.microsoft.com/office/drawing/2014/main" val="15898948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 fontAlgn="b"/>
                      <a: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Kraj bydliště pacienta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mbulantní ošetření</a:t>
                      </a:r>
                      <a:b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u odbornosti 402</a:t>
                      </a:r>
                      <a:b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(klinická onkologie)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Onkologické hospitalizace celkem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714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Onkologické hospitalizace</a:t>
                      </a:r>
                      <a:b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cs-CZ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 operací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714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665152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Počet záznamů (2021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63 (100 %)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6 (100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 (100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730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Jihomoravský kraj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1 %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7 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,1 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72060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u="none" strike="noStrike" dirty="0">
                          <a:solidFill>
                            <a:srgbClr val="D71440"/>
                          </a:solidFill>
                          <a:effectLst/>
                        </a:rPr>
                        <a:t>Brno</a:t>
                      </a:r>
                      <a:endParaRPr lang="cs-CZ" sz="1400" b="0" i="0" u="none" strike="noStrike" dirty="0">
                        <a:solidFill>
                          <a:srgbClr val="D7144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34,1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30,6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36,6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66227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0" u="none" strike="noStrike" dirty="0">
                          <a:solidFill>
                            <a:srgbClr val="D71440"/>
                          </a:solidFill>
                          <a:effectLst/>
                        </a:rPr>
                        <a:t>Mimo Brno</a:t>
                      </a:r>
                      <a:endParaRPr lang="cs-CZ" sz="1400" b="0" i="0" u="none" strike="noStrike" dirty="0">
                        <a:solidFill>
                          <a:srgbClr val="D7144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41,0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41,1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D71440"/>
                          </a:solidFill>
                          <a:effectLst/>
                          <a:latin typeface="Calibri" panose="020F0502020204030204" pitchFamily="34" charset="0"/>
                        </a:rPr>
                        <a:t>41,5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787975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Hlavní město Prah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170679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Střed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95545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Jihoče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631195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Plzeň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50629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Karlovar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000853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Úst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47167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Liber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99332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Královéhrade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708866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Pardubi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472383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Kraj Vysočin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1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1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91756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Olomouc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389068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Zlín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9499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Moravskoslezský kraj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 %</a:t>
                      </a:r>
                    </a:p>
                  </a:txBody>
                  <a:tcPr marL="9525" marR="9525" marT="9525" marB="0" anchor="b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 %</a:t>
                      </a:r>
                    </a:p>
                  </a:txBody>
                  <a:tcPr marL="9525" marR="9525" marT="9525" marB="0" anchor="ctr">
                    <a:lnT w="3175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4490324"/>
                  </a:ext>
                </a:extLst>
              </a:tr>
            </a:tbl>
          </a:graphicData>
        </a:graphic>
      </p:graphicFrame>
      <p:sp>
        <p:nvSpPr>
          <p:cNvPr id="19" name="TextBox 6">
            <a:extLst>
              <a:ext uri="{FF2B5EF4-FFF2-40B4-BE49-F238E27FC236}">
                <a16:creationId xmlns:a16="http://schemas.microsoft.com/office/drawing/2014/main" id="{D58E58A1-800A-40EA-AB8F-AD60A15DF28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2591" y="614228"/>
            <a:ext cx="118625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</a:t>
            </a:r>
          </a:p>
        </p:txBody>
      </p:sp>
    </p:spTree>
    <p:extLst>
      <p:ext uri="{BB962C8B-B14F-4D97-AF65-F5344CB8AC3E}">
        <p14:creationId xmlns:p14="http://schemas.microsoft.com/office/powerpoint/2010/main" val="7880782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7978" y="1786760"/>
            <a:ext cx="11117744" cy="2060026"/>
          </a:xfrm>
        </p:spPr>
        <p:txBody>
          <a:bodyPr>
            <a:noAutofit/>
          </a:bodyPr>
          <a:lstStyle/>
          <a:p>
            <a:pPr algn="ctr"/>
            <a:r>
              <a:rPr lang="cs-CZ" sz="3400" dirty="0"/>
              <a:t>Dlouhodobé výsledky onkologické léčby ve FNB </a:t>
            </a:r>
            <a:br>
              <a:rPr lang="cs-CZ" sz="3400" dirty="0"/>
            </a:br>
            <a:r>
              <a:rPr lang="cs-CZ" sz="3400" dirty="0"/>
              <a:t>jsou nadprůměrné </a:t>
            </a:r>
            <a:endParaRPr lang="en-US" sz="3400" dirty="0"/>
          </a:p>
        </p:txBody>
      </p:sp>
      <p:sp>
        <p:nvSpPr>
          <p:cNvPr id="3" name="Šipka: dolů 2">
            <a:extLst>
              <a:ext uri="{FF2B5EF4-FFF2-40B4-BE49-F238E27FC236}">
                <a16:creationId xmlns:a16="http://schemas.microsoft.com/office/drawing/2014/main" id="{8B1F4CE3-976E-4EC3-ADFE-BAAE096C5523}"/>
              </a:ext>
            </a:extLst>
          </p:cNvPr>
          <p:cNvSpPr/>
          <p:nvPr/>
        </p:nvSpPr>
        <p:spPr>
          <a:xfrm>
            <a:off x="5131278" y="3268716"/>
            <a:ext cx="1650124" cy="7252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77584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7518" y="81135"/>
            <a:ext cx="11785090" cy="631595"/>
          </a:xfrm>
        </p:spPr>
        <p:txBody>
          <a:bodyPr>
            <a:noAutofit/>
          </a:bodyPr>
          <a:lstStyle/>
          <a:p>
            <a:r>
              <a:rPr lang="cs-CZ" sz="2400" dirty="0"/>
              <a:t>Relativní 5leté přežití: onkologičtí pacienti primárně léčení v FNB* (2015–2019)</a:t>
            </a:r>
            <a:endParaRPr lang="en-US" sz="2400" dirty="0">
              <a:solidFill>
                <a:srgbClr val="DA2128"/>
              </a:solidFill>
            </a:endParaRPr>
          </a:p>
        </p:txBody>
      </p:sp>
      <p:graphicFrame>
        <p:nvGraphicFramePr>
          <p:cNvPr id="5" name="Group 392">
            <a:extLst>
              <a:ext uri="{FF2B5EF4-FFF2-40B4-BE49-F238E27FC236}">
                <a16:creationId xmlns:a16="http://schemas.microsoft.com/office/drawing/2014/main" id="{995F8B59-B005-4DD6-8B27-CAECD7ABB64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488669"/>
              </p:ext>
            </p:extLst>
          </p:nvPr>
        </p:nvGraphicFramePr>
        <p:xfrm>
          <a:off x="0" y="944841"/>
          <a:ext cx="8025926" cy="5302623"/>
        </p:xfrm>
        <a:graphic>
          <a:graphicData uri="http://schemas.openxmlformats.org/drawingml/2006/table">
            <a:tbl>
              <a:tblPr/>
              <a:tblGrid>
                <a:gridCol w="2553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205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21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1623">
                <a:tc>
                  <a:txBody>
                    <a:bodyPr/>
                    <a:lstStyle/>
                    <a:p>
                      <a:pPr algn="ctr" fontAlgn="t"/>
                      <a:endParaRPr lang="cs-CZ" sz="10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cs-CZ" sz="10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Počet</a:t>
                      </a:r>
                      <a:r>
                        <a:rPr lang="cs-CZ" sz="1000" b="1" i="0" u="none" strike="noStrike" baseline="0" dirty="0">
                          <a:solidFill>
                            <a:srgbClr val="000000"/>
                          </a:solidFill>
                          <a:latin typeface="Arial"/>
                        </a:rPr>
                        <a:t> pacientů</a:t>
                      </a:r>
                      <a:endParaRPr lang="cs-CZ" sz="10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štítné žlázy (C73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1" i="0" u="none" strike="noStrike" kern="1200" dirty="0">
                        <a:solidFill>
                          <a:srgbClr val="0066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varlete (C62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prostaty (C61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1" i="0" u="none" strike="noStrike" kern="1200" dirty="0">
                        <a:solidFill>
                          <a:srgbClr val="0066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6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prsu (C50) u žen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1" i="0" u="none" strike="noStrike" dirty="0">
                        <a:solidFill>
                          <a:srgbClr val="0066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4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dgkinův lymfom (C81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6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houbný melanom kůže (C43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dělohy (C54, C55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3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ledviny (C64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Hodgkinův lymfom (C82–C86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hrdla děložního (C53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tl. střeva a konečníku (C18–C20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highlight>
                          <a:srgbClr val="FF9B05"/>
                        </a:highlight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6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</a:t>
                      </a:r>
                      <a:r>
                        <a:rPr lang="cs-CZ" sz="1100" b="0" i="0" u="none" strike="noStrike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čového</a:t>
                      </a: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ěchýře (C67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cs-CZ" sz="1000" b="1" i="0" u="none" strike="noStrike" kern="1200" dirty="0">
                        <a:solidFill>
                          <a:srgbClr val="0066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</a:t>
                      </a:r>
                      <a:r>
                        <a:rPr lang="cs-CZ" sz="1100" b="0" i="0" u="none" strike="noStrike" kern="1200" dirty="0">
                          <a:solidFill>
                            <a:schemeClr val="tx1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jivových</a:t>
                      </a: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 </a:t>
                      </a:r>
                      <a:r>
                        <a:rPr lang="cs-CZ" sz="1100" b="0" i="0" u="none" strike="noStrike" dirty="0" err="1">
                          <a:solidFill>
                            <a:schemeClr val="tx1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ěk</a:t>
                      </a: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tkání (C47, C49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1" i="0" u="none" strike="noStrike" kern="1200" dirty="0">
                        <a:solidFill>
                          <a:srgbClr val="0066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hrtanu (C32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chemeClr val="tx1"/>
                        </a:solidFill>
                        <a:highlight>
                          <a:srgbClr val="FF6600"/>
                        </a:highlight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hlavy a krku (C00–C14,C30–C31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0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vaječníku (C56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nohočetný myelom (C90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7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ukémie (C91–C95</a:t>
                      </a:r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3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žaludku (C16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cs-CZ" sz="1000" b="1" i="0" u="none" strike="noStrike" kern="1200" dirty="0">
                        <a:solidFill>
                          <a:srgbClr val="006600"/>
                        </a:solidFill>
                        <a:highlight>
                          <a:srgbClr val="FF9B05"/>
                        </a:highlight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žlučníku a žluč. cest (C23, C24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mozku a míchy (C70–C72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průdušnice a plíce (C33, C34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1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jícnu (C15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jater a 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ahep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9B05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žluč. cest (C22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highlight>
                          <a:srgbClr val="FF9B05"/>
                        </a:highlight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1240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N slinivky břišní (C25)</a:t>
                      </a:r>
                    </a:p>
                  </a:txBody>
                  <a:tcPr marL="7620" marR="7620" marT="7620" marB="0" anchor="b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4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</a:t>
                      </a:r>
                    </a:p>
                  </a:txBody>
                  <a:tcPr marL="6350" marR="6350" marT="6350" marB="0" anchor="ctr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9" name="TextovéPole 20">
            <a:extLst>
              <a:ext uri="{FF2B5EF4-FFF2-40B4-BE49-F238E27FC236}">
                <a16:creationId xmlns:a16="http://schemas.microsoft.com/office/drawing/2014/main" id="{CE866B0A-FB4C-45A1-9A7F-4882345C605C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44391" y="629864"/>
            <a:ext cx="38481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lativní 5leté přežití [%]</a:t>
            </a:r>
          </a:p>
        </p:txBody>
      </p:sp>
      <p:sp>
        <p:nvSpPr>
          <p:cNvPr id="10" name="TextovéPole 21">
            <a:extLst>
              <a:ext uri="{FF2B5EF4-FFF2-40B4-BE49-F238E27FC236}">
                <a16:creationId xmlns:a16="http://schemas.microsoft.com/office/drawing/2014/main" id="{21253E6E-6627-4E5C-81AB-2488A42008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7797" y="1055227"/>
            <a:ext cx="15843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agnóza</a:t>
            </a:r>
          </a:p>
        </p:txBody>
      </p:sp>
      <p:sp>
        <p:nvSpPr>
          <p:cNvPr id="14" name="TextovéPole 20">
            <a:extLst>
              <a:ext uri="{FF2B5EF4-FFF2-40B4-BE49-F238E27FC236}">
                <a16:creationId xmlns:a16="http://schemas.microsoft.com/office/drawing/2014/main" id="{D7EA53C3-FA56-4BBC-97E5-329F81505D52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146177" y="3877726"/>
            <a:ext cx="3868485" cy="2092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váděné hodnoty 5letého přežití pro jednotlivé diagnózy jsou </a:t>
            </a:r>
            <a:r>
              <a:rPr kumimoji="0" lang="pl-PL" altLang="cs-CZ" sz="13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andardizovány</a:t>
            </a:r>
            <a:r>
              <a:rPr kumimoji="0" lang="pl-PL" altLang="cs-CZ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k </a:t>
            </a:r>
            <a:r>
              <a:rPr kumimoji="0" lang="pl-PL" altLang="cs-CZ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ěku</a:t>
            </a:r>
            <a:r>
              <a:rPr kumimoji="0" lang="pl-PL" altLang="cs-CZ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pacientů a zastoupení klinických </a:t>
            </a:r>
            <a:r>
              <a:rPr kumimoji="0" lang="pl-PL" altLang="cs-CZ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adií </a:t>
            </a:r>
            <a:r>
              <a:rPr kumimoji="0" lang="pl-PL" altLang="cs-CZ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případně jiných rizikových kategorií).</a:t>
            </a:r>
            <a:br>
              <a:rPr kumimoji="0" lang="pl-PL" altLang="cs-CZ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pl-PL" altLang="cs-CZ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agnózy jsou řazeny sestupně dle celorepublikového 5letého přežití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pl-PL" altLang="cs-CZ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pl-PL" altLang="cs-CZ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váděny jsou pouze hodnoty přežití diagnóz s dostatečným počtem hodnocených pacientů (</a:t>
            </a:r>
            <a:r>
              <a:rPr kumimoji="0" lang="pl-PL" altLang="cs-CZ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 ≥ 50</a:t>
            </a:r>
            <a:r>
              <a:rPr kumimoji="0" lang="pl-PL" altLang="cs-CZ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.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F8454A48-80C5-4D54-8C9D-EAD914053EC3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8637886" y="2395277"/>
            <a:ext cx="3031966" cy="1031094"/>
            <a:chOff x="9214808" y="3199675"/>
            <a:chExt cx="2717800" cy="770343"/>
          </a:xfrm>
        </p:grpSpPr>
        <p:sp>
          <p:nvSpPr>
            <p:cNvPr id="18" name="TextovéPole 29">
              <a:extLst>
                <a:ext uri="{FF2B5EF4-FFF2-40B4-BE49-F238E27FC236}">
                  <a16:creationId xmlns:a16="http://schemas.microsoft.com/office/drawing/2014/main" id="{F7AC6A87-31F5-4BE6-90D4-418C0BF1777F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9600571" y="3199675"/>
              <a:ext cx="2332037" cy="4828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éčení pacienti </a:t>
              </a:r>
              <a:r>
                <a:rPr kumimoji="0" lang="pl-PL" altLang="cs-CZ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FNB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TextovéPole 30">
              <a:extLst>
                <a:ext uri="{FF2B5EF4-FFF2-40B4-BE49-F238E27FC236}">
                  <a16:creationId xmlns:a16="http://schemas.microsoft.com/office/drawing/2014/main" id="{8E52E189-D3B6-43FC-890A-77755046077B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9600571" y="3600686"/>
              <a:ext cx="22159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cs-CZ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éčení pacienti </a:t>
              </a:r>
              <a:r>
                <a:rPr kumimoji="0" lang="pl-PL" altLang="cs-CZ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ČR</a:t>
              </a:r>
            </a:p>
          </p:txBody>
        </p:sp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711E592B-5D3E-4119-9F62-0471D95FE8F8}"/>
                </a:ext>
              </a:extLst>
            </p:cNvPr>
            <p:cNvSpPr/>
            <p:nvPr/>
          </p:nvSpPr>
          <p:spPr>
            <a:xfrm rot="2700000">
              <a:off x="9214809" y="3715627"/>
              <a:ext cx="144462" cy="144463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90482109-6CBD-49D6-AFB9-D9BABD5821E5}"/>
                </a:ext>
              </a:extLst>
            </p:cNvPr>
            <p:cNvSpPr/>
            <p:nvPr/>
          </p:nvSpPr>
          <p:spPr bwMode="auto">
            <a:xfrm>
              <a:off x="9219571" y="3332459"/>
              <a:ext cx="136525" cy="136524"/>
            </a:xfrm>
            <a:prstGeom prst="rect">
              <a:avLst/>
            </a:prstGeom>
            <a:solidFill>
              <a:srgbClr val="8C2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aphicFrame>
        <p:nvGraphicFramePr>
          <p:cNvPr id="40" name="Object 2">
            <a:extLst>
              <a:ext uri="{FF2B5EF4-FFF2-40B4-BE49-F238E27FC236}">
                <a16:creationId xmlns:a16="http://schemas.microsoft.com/office/drawing/2014/main" id="{E1B9EE72-940C-4475-8057-8466F80E8B3D}"/>
              </a:ext>
            </a:extLst>
          </p:cNvPr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2544623" y="1104948"/>
          <a:ext cx="5173434" cy="53691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41" name="TextovéPole 20">
            <a:extLst>
              <a:ext uri="{FF2B5EF4-FFF2-40B4-BE49-F238E27FC236}">
                <a16:creationId xmlns:a16="http://schemas.microsoft.com/office/drawing/2014/main" id="{66D94A40-0966-401B-80BA-EA728908E661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28061" y="958337"/>
            <a:ext cx="3669237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* Zahrnuti jsou léčení pacienti, u nichž celá nebo alespoň část primární léčby (diagnostika / odpovědnost za léčbu / operace / radioterapie / chemoterapie / hormonální léčba / jiná léčba) proběhla v ZZ.</a:t>
            </a:r>
          </a:p>
        </p:txBody>
      </p:sp>
      <p:sp>
        <p:nvSpPr>
          <p:cNvPr id="43" name="TextovéPole 6">
            <a:extLst>
              <a:ext uri="{FF2B5EF4-FFF2-40B4-BE49-F238E27FC236}">
                <a16:creationId xmlns:a16="http://schemas.microsoft.com/office/drawing/2014/main" id="{F43018EE-F536-4898-8D2B-FC32648D93F4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769015" y="6247464"/>
            <a:ext cx="3290062" cy="156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droj: Národní onkologický registr České republiky</a:t>
            </a:r>
          </a:p>
        </p:txBody>
      </p:sp>
    </p:spTree>
    <p:extLst>
      <p:ext uri="{BB962C8B-B14F-4D97-AF65-F5344CB8AC3E}">
        <p14:creationId xmlns:p14="http://schemas.microsoft.com/office/powerpoint/2010/main" val="31540970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82816" y="1881353"/>
            <a:ext cx="11626367" cy="2060026"/>
          </a:xfrm>
        </p:spPr>
        <p:txBody>
          <a:bodyPr>
            <a:noAutofit/>
          </a:bodyPr>
          <a:lstStyle/>
          <a:p>
            <a:pPr algn="ctr"/>
            <a:r>
              <a:rPr lang="cs-CZ" sz="9000" dirty="0">
                <a:solidFill>
                  <a:schemeClr val="tx1"/>
                </a:solidFill>
              </a:rPr>
              <a:t>DĚKUJI ZA POZORNOST </a:t>
            </a:r>
            <a:endParaRPr lang="en-US" sz="9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4085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71040" y="525981"/>
            <a:ext cx="11117744" cy="2577199"/>
          </a:xfrm>
        </p:spPr>
        <p:txBody>
          <a:bodyPr>
            <a:noAutofit/>
          </a:bodyPr>
          <a:lstStyle/>
          <a:p>
            <a:pPr algn="ctr"/>
            <a:r>
              <a:rPr lang="cs-CZ" sz="3400" dirty="0"/>
              <a:t>Populační onkologická zátěž demograficky stárnoucí české populace významně roste a v budoucích letech je nutné počítat s dalším nárůstem počtu pacientů. </a:t>
            </a:r>
            <a:br>
              <a:rPr lang="cs-CZ" sz="3400" dirty="0"/>
            </a:br>
            <a:r>
              <a:rPr lang="cs-CZ" sz="3400" u="sng" dirty="0"/>
              <a:t>Jihomoravský kraj není výjimkou</a:t>
            </a:r>
            <a:endParaRPr lang="en-US" sz="3400" u="sng" dirty="0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009367F-B909-46DE-ACE0-56342AEE78F9}"/>
              </a:ext>
            </a:extLst>
          </p:cNvPr>
          <p:cNvSpPr txBox="1"/>
          <p:nvPr/>
        </p:nvSpPr>
        <p:spPr>
          <a:xfrm>
            <a:off x="395997" y="3895062"/>
            <a:ext cx="41405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voj v JMK za období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4 -&gt; 2019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: doprava 9">
            <a:extLst>
              <a:ext uri="{FF2B5EF4-FFF2-40B4-BE49-F238E27FC236}">
                <a16:creationId xmlns:a16="http://schemas.microsoft.com/office/drawing/2014/main" id="{D5872505-F18F-4D65-89BB-EC24C2070BFE}"/>
              </a:ext>
            </a:extLst>
          </p:cNvPr>
          <p:cNvSpPr/>
          <p:nvPr/>
        </p:nvSpPr>
        <p:spPr>
          <a:xfrm>
            <a:off x="4599898" y="3996763"/>
            <a:ext cx="340963" cy="82141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BFAE2C9A-D509-4689-8536-E27595AE5E79}"/>
              </a:ext>
            </a:extLst>
          </p:cNvPr>
          <p:cNvSpPr txBox="1"/>
          <p:nvPr/>
        </p:nvSpPr>
        <p:spPr>
          <a:xfrm>
            <a:off x="4954995" y="4001584"/>
            <a:ext cx="21038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,1 %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7076DF59-8FA1-471A-BC91-40B1DC0440DD}"/>
              </a:ext>
            </a:extLst>
          </p:cNvPr>
          <p:cNvSpPr txBox="1"/>
          <p:nvPr/>
        </p:nvSpPr>
        <p:spPr>
          <a:xfrm>
            <a:off x="7230663" y="3991997"/>
            <a:ext cx="22188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ale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3,4 %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5B00795F-07C2-4941-8F18-D1EC8D157997}"/>
              </a:ext>
            </a:extLst>
          </p:cNvPr>
          <p:cNvSpPr txBox="1"/>
          <p:nvPr/>
        </p:nvSpPr>
        <p:spPr>
          <a:xfrm>
            <a:off x="9636848" y="3986374"/>
            <a:ext cx="22188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tali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0,6 %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D42293E8-9A84-4773-8504-E227B827EBA6}"/>
              </a:ext>
            </a:extLst>
          </p:cNvPr>
          <p:cNvSpPr txBox="1"/>
          <p:nvPr/>
        </p:nvSpPr>
        <p:spPr>
          <a:xfrm>
            <a:off x="5140980" y="3539552"/>
            <a:ext cx="64898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á roční změna hlavních epidemiologických ukazatelů</a:t>
            </a: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: dolů 4">
            <a:extLst>
              <a:ext uri="{FF2B5EF4-FFF2-40B4-BE49-F238E27FC236}">
                <a16:creationId xmlns:a16="http://schemas.microsoft.com/office/drawing/2014/main" id="{461DE152-A926-4F37-95E7-B8070E69ADB4}"/>
              </a:ext>
            </a:extLst>
          </p:cNvPr>
          <p:cNvSpPr/>
          <p:nvPr/>
        </p:nvSpPr>
        <p:spPr>
          <a:xfrm>
            <a:off x="5199033" y="2597680"/>
            <a:ext cx="1593443" cy="6385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43F30071-6D80-4F9D-90DA-9C743312AD6A}"/>
              </a:ext>
            </a:extLst>
          </p:cNvPr>
          <p:cNvCxnSpPr/>
          <p:nvPr/>
        </p:nvCxnSpPr>
        <p:spPr>
          <a:xfrm>
            <a:off x="0" y="5339255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E32EFA3-74D5-420E-84D7-249DB0974ECC}"/>
              </a:ext>
            </a:extLst>
          </p:cNvPr>
          <p:cNvSpPr txBox="1"/>
          <p:nvPr/>
        </p:nvSpPr>
        <p:spPr>
          <a:xfrm>
            <a:off x="98155" y="5371599"/>
            <a:ext cx="119956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Onkologická zátěž populace JMK významně roste v důsledku stárnutí populace. Do tohoto trendu se také promítá narůstající počet časně zachycených zhoubných nádorů s lepší léčebnou prognózou, celkově zlepšované výsledky léčby a prodlužující se přežití onkologických pacientů. Základní epidemiologické trendy a zátěž populace se v JMK neliší od celé populace ČR. V přepočtu na 100 tis. obyvatel (ZN bez C44) jsou aktuální hodnoty epidemiologických parametrů přibližně shodné s populací ČR (incidence: 523,8/100tis.; mortalita: 248,7/100tis.; prevalence: 4 392/100tis.)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53442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94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34120" y="3678238"/>
          <a:ext cx="3981450" cy="2959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288000" y="900000"/>
            <a:ext cx="43542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onkologický registr, </a:t>
            </a:r>
            <a:r>
              <a:rPr kumimoji="0" lang="cs-CZ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ý statistický úřa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777827" y="1224000"/>
            <a:ext cx="125888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ůměrná roční změna</a:t>
            </a:r>
            <a:endParaRPr kumimoji="0" lang="en-US" alt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01</a:t>
            </a:r>
            <a:r>
              <a:rPr kumimoji="0" lang="cs-CZ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4</a:t>
            </a:r>
            <a:r>
              <a:rPr kumimoji="0" lang="en-US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–20</a:t>
            </a:r>
            <a:r>
              <a:rPr kumimoji="0" lang="cs-CZ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19</a:t>
            </a:r>
            <a:endParaRPr kumimoji="0" lang="en-US" alt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8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31040" y="1872000"/>
            <a:ext cx="1079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,1 %</a:t>
            </a:r>
          </a:p>
        </p:txBody>
      </p:sp>
      <p:sp>
        <p:nvSpPr>
          <p:cNvPr id="11" name="Rectangle 8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831040" y="2268000"/>
            <a:ext cx="1079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0,6 %</a:t>
            </a:r>
          </a:p>
        </p:txBody>
      </p:sp>
      <p:sp>
        <p:nvSpPr>
          <p:cNvPr id="12" name="Rectangle 8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831040" y="2664000"/>
            <a:ext cx="1079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3,4 %</a:t>
            </a:r>
          </a:p>
        </p:txBody>
      </p:sp>
      <p:sp>
        <p:nvSpPr>
          <p:cNvPr id="43" name="Text Box 19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6200000">
            <a:off x="-745112" y="4895024"/>
            <a:ext cx="2176462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řípadů na 100 000 osob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" name="Group 239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020981" y="3898250"/>
            <a:ext cx="2527300" cy="166689"/>
            <a:chOff x="3536" y="2341"/>
            <a:chExt cx="1592" cy="105"/>
          </a:xfrm>
        </p:grpSpPr>
        <p:sp>
          <p:nvSpPr>
            <p:cNvPr id="45" name="Text Box 212"/>
            <p:cNvSpPr txBox="1">
              <a:spLocks noChangeArrowheads="1"/>
            </p:cNvSpPr>
            <p:nvPr/>
          </p:nvSpPr>
          <p:spPr bwMode="auto">
            <a:xfrm>
              <a:off x="3681" y="2341"/>
              <a:ext cx="660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cidence </a:t>
              </a:r>
            </a:p>
          </p:txBody>
        </p:sp>
        <p:sp>
          <p:nvSpPr>
            <p:cNvPr id="57" name="Line 214"/>
            <p:cNvSpPr>
              <a:spLocks noChangeShapeType="1"/>
            </p:cNvSpPr>
            <p:nvPr/>
          </p:nvSpPr>
          <p:spPr bwMode="auto">
            <a:xfrm>
              <a:off x="3536" y="2388"/>
              <a:ext cx="113" cy="0"/>
            </a:xfrm>
            <a:prstGeom prst="line">
              <a:avLst/>
            </a:prstGeom>
            <a:noFill/>
            <a:ln w="25400">
              <a:solidFill>
                <a:srgbClr val="CC99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Text Box 226"/>
            <p:cNvSpPr txBox="1">
              <a:spLocks noChangeArrowheads="1"/>
            </p:cNvSpPr>
            <p:nvPr/>
          </p:nvSpPr>
          <p:spPr bwMode="auto">
            <a:xfrm>
              <a:off x="4468" y="2341"/>
              <a:ext cx="660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ortalita</a:t>
              </a:r>
              <a:r>
                <a:rPr kumimoji="0" lang="en-US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r>
                <a:rPr kumimoji="0" lang="cs-CZ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,2 </a:t>
              </a:r>
              <a:endPara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Line 231"/>
            <p:cNvSpPr>
              <a:spLocks noChangeShapeType="1"/>
            </p:cNvSpPr>
            <p:nvPr/>
          </p:nvSpPr>
          <p:spPr bwMode="auto">
            <a:xfrm>
              <a:off x="4332" y="2388"/>
              <a:ext cx="113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0" name="Text Box 24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16200000">
            <a:off x="3820365" y="4809041"/>
            <a:ext cx="217646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žijících osob s onemocněním nebo jeho historií na 100 000 osob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 Box 243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029543" y="3899124"/>
            <a:ext cx="919939" cy="343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ale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Line 248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5810468" y="3989784"/>
            <a:ext cx="179388" cy="0"/>
          </a:xfrm>
          <a:prstGeom prst="line">
            <a:avLst/>
          </a:prstGeom>
          <a:solidFill>
            <a:srgbClr val="339966"/>
          </a:solidFill>
          <a:ln w="25400">
            <a:solidFill>
              <a:srgbClr val="339966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8" name="Rectangle 25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914619" y="3392550"/>
            <a:ext cx="33131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 a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rtalita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ectangle 25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231031" y="3365562"/>
            <a:ext cx="33131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alen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Autofit/>
          </a:bodyPr>
          <a:lstStyle/>
          <a:p>
            <a:r>
              <a:rPr lang="cs-CZ" dirty="0"/>
              <a:t>JMK: </a:t>
            </a:r>
            <a:r>
              <a:rPr lang="en-US" dirty="0" err="1"/>
              <a:t>Celková</a:t>
            </a:r>
            <a:r>
              <a:rPr lang="en-US" dirty="0"/>
              <a:t> </a:t>
            </a:r>
            <a:r>
              <a:rPr lang="en-US" dirty="0" err="1"/>
              <a:t>zátěž</a:t>
            </a:r>
            <a:r>
              <a:rPr lang="en-US" dirty="0"/>
              <a:t> </a:t>
            </a:r>
            <a:r>
              <a:rPr lang="en-US" dirty="0" err="1"/>
              <a:t>zhoubnými</a:t>
            </a:r>
            <a:r>
              <a:rPr lang="en-US" dirty="0"/>
              <a:t> </a:t>
            </a:r>
            <a:r>
              <a:rPr lang="en-US" dirty="0" err="1"/>
              <a:t>novotvary</a:t>
            </a:r>
            <a:r>
              <a:rPr lang="en-US" dirty="0"/>
              <a:t> </a:t>
            </a:r>
            <a:r>
              <a:rPr lang="cs-CZ" dirty="0"/>
              <a:t>bez </a:t>
            </a:r>
            <a:r>
              <a:rPr lang="cs-CZ" dirty="0" err="1"/>
              <a:t>nemelanomového</a:t>
            </a:r>
            <a:r>
              <a:rPr lang="cs-CZ" dirty="0"/>
              <a:t> kožního zhoubného novotvaru </a:t>
            </a:r>
            <a:r>
              <a:rPr lang="en-US" dirty="0"/>
              <a:t>(C00–C97</a:t>
            </a:r>
            <a:r>
              <a:rPr lang="cs-CZ" dirty="0"/>
              <a:t> bez C44</a:t>
            </a:r>
            <a:r>
              <a:rPr lang="en-US" dirty="0"/>
              <a:t>)</a:t>
            </a:r>
          </a:p>
        </p:txBody>
      </p:sp>
      <p:sp>
        <p:nvSpPr>
          <p:cNvPr id="34" name="TextovéPole 7">
            <a:extLst>
              <a:ext uri="{FF2B5EF4-FFF2-40B4-BE49-F238E27FC236}">
                <a16:creationId xmlns:a16="http://schemas.microsoft.com/office/drawing/2014/main" id="{B4ABF148-5C3E-4F5A-85B9-1AB1B507B39F}"/>
              </a:ext>
            </a:extLst>
          </p:cNvPr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236696" y="4011899"/>
            <a:ext cx="570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23,8</a:t>
            </a:r>
          </a:p>
        </p:txBody>
      </p:sp>
      <p:sp>
        <p:nvSpPr>
          <p:cNvPr id="35" name="TextovéPole 7">
            <a:extLst>
              <a:ext uri="{FF2B5EF4-FFF2-40B4-BE49-F238E27FC236}">
                <a16:creationId xmlns:a16="http://schemas.microsoft.com/office/drawing/2014/main" id="{B6B91EB4-055B-44AC-B856-A8B2FFC16527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231209" y="5071302"/>
            <a:ext cx="57092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8,7</a:t>
            </a:r>
          </a:p>
        </p:txBody>
      </p:sp>
      <p:sp>
        <p:nvSpPr>
          <p:cNvPr id="36" name="TextovéPole 7">
            <a:extLst>
              <a:ext uri="{FF2B5EF4-FFF2-40B4-BE49-F238E27FC236}">
                <a16:creationId xmlns:a16="http://schemas.microsoft.com/office/drawing/2014/main" id="{7508AD33-994E-4AB4-BABD-4F5E9CCCE0D3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18993" y="4005251"/>
            <a:ext cx="43304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3399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392</a:t>
            </a:r>
          </a:p>
        </p:txBody>
      </p:sp>
      <p:sp>
        <p:nvSpPr>
          <p:cNvPr id="37" name="Zaoblený obdélník 33">
            <a:extLst>
              <a:ext uri="{FF2B5EF4-FFF2-40B4-BE49-F238E27FC236}">
                <a16:creationId xmlns:a16="http://schemas.microsoft.com/office/drawing/2014/main" id="{AA811E68-5A9C-4C9C-8CD6-65D4A1138BB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895575" y="996313"/>
            <a:ext cx="3192424" cy="5600436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ce 2020 bylo v JMK nově diagnostikováno 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254 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ů se zhoubným novotvarem bez </a:t>
            </a:r>
            <a:r>
              <a:rPr kumimoji="0" lang="cs-CZ" alt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melanomového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ožního zhoubného novotvaru, což je 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23,8 na 100 000 osob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e stejném roce zemřelo 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969 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v souvislosti se zhoubným novotvarem, což je 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8,7 na 100 000 osob</a:t>
            </a: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cs-CZ" alt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em k 31</a:t>
            </a: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2</a:t>
            </a: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0 v Jihomoravském kraji žilo 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399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2 443 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e zhoubným novotvarem nebo s minulostí tohoto onemocnění, což je 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399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392 na 100 000 osob</a:t>
            </a: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cs-CZ" alt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datech je jasně patrný dlouhodobý rozevírající se časový trend incidence a mortality, který významně navyšuje prevalenci nemocných. </a:t>
            </a:r>
          </a:p>
        </p:txBody>
      </p:sp>
      <p:graphicFrame>
        <p:nvGraphicFramePr>
          <p:cNvPr id="5" name="Object 240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5077043" y="3705450"/>
          <a:ext cx="3508375" cy="295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graphicFrame>
        <p:nvGraphicFramePr>
          <p:cNvPr id="29" name="Group 192">
            <a:extLst>
              <a:ext uri="{FF2B5EF4-FFF2-40B4-BE49-F238E27FC236}">
                <a16:creationId xmlns:a16="http://schemas.microsoft.com/office/drawing/2014/main" id="{EB2EB326-D319-4532-8B3B-5949B7F6A1FC}"/>
              </a:ext>
            </a:extLst>
          </p:cNvPr>
          <p:cNvGraphicFramePr>
            <a:graphicFrameLocks noGrp="1"/>
          </p:cNvGraphicFramePr>
          <p:nvPr>
            <p:custDataLst>
              <p:tags r:id="rId20"/>
            </p:custDataLst>
          </p:nvPr>
        </p:nvGraphicFramePr>
        <p:xfrm>
          <a:off x="354005" y="1296000"/>
          <a:ext cx="6429331" cy="1742124"/>
        </p:xfrm>
        <a:graphic>
          <a:graphicData uri="http://schemas.openxmlformats.org/drawingml/2006/table">
            <a:tbl>
              <a:tblPr/>
              <a:tblGrid>
                <a:gridCol w="10677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01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01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01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01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701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7019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7019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70196">
                  <a:extLst>
                    <a:ext uri="{9D8B030D-6E8A-4147-A177-3AD203B41FA5}">
                      <a16:colId xmlns:a16="http://schemas.microsoft.com/office/drawing/2014/main" val="3275137423"/>
                    </a:ext>
                  </a:extLst>
                </a:gridCol>
              </a:tblGrid>
              <a:tr h="40798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solutní poče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3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4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5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6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7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8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</a:t>
                      </a:r>
                      <a:r>
                        <a:rPr kumimoji="1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0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98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I</a:t>
                      </a:r>
                      <a:r>
                        <a:rPr kumimoji="1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nc</a:t>
                      </a: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idence</a:t>
                      </a:r>
                      <a:r>
                        <a:rPr kumimoji="1" lang="cs-CZ" sz="14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 2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 4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 5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 8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 6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 7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 2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98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M</a:t>
                      </a:r>
                      <a:r>
                        <a:rPr kumimoji="1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ort</a:t>
                      </a: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lita</a:t>
                      </a:r>
                      <a:r>
                        <a:rPr kumimoji="1" lang="cs-CZ" sz="14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8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9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8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9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8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9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9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9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798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valence</a:t>
                      </a:r>
                      <a:r>
                        <a:rPr kumimoji="1" lang="cs-CZ" sz="14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1 9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3 5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5 2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7 0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8 6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9 9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1 5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2 4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2C8B165F-FFB1-4E9A-9852-3A5F8A348621}"/>
              </a:ext>
            </a:extLst>
          </p:cNvPr>
          <p:cNvSpPr txBox="1"/>
          <p:nvPr/>
        </p:nvSpPr>
        <p:spPr>
          <a:xfrm>
            <a:off x="7549733" y="3365562"/>
            <a:ext cx="7954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600" b="1" dirty="0">
                <a:solidFill>
                  <a:srgbClr val="FF0000"/>
                </a:solidFill>
                <a:latin typeface="Arial Black" panose="020B0A04020102020204" pitchFamily="34" charset="0"/>
              </a:rPr>
              <a:t>!</a:t>
            </a:r>
            <a:endParaRPr lang="en-US" sz="3600" b="1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28338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71040" y="735725"/>
            <a:ext cx="11117744" cy="1642240"/>
          </a:xfrm>
        </p:spPr>
        <p:txBody>
          <a:bodyPr>
            <a:noAutofit/>
          </a:bodyPr>
          <a:lstStyle/>
          <a:p>
            <a:pPr algn="ctr"/>
            <a:r>
              <a:rPr lang="cs-CZ" sz="3400" dirty="0"/>
              <a:t>Velmi výrazný růst zátěže registrujeme u novotvarů mízní </a:t>
            </a:r>
            <a:br>
              <a:rPr lang="cs-CZ" sz="3400" dirty="0"/>
            </a:br>
            <a:r>
              <a:rPr lang="cs-CZ" sz="3400" dirty="0"/>
              <a:t>a krvetvorné tkáně </a:t>
            </a:r>
            <a:endParaRPr lang="en-US" sz="3400" dirty="0"/>
          </a:p>
        </p:txBody>
      </p:sp>
      <p:sp>
        <p:nvSpPr>
          <p:cNvPr id="5" name="Šipka: dolů 4">
            <a:extLst>
              <a:ext uri="{FF2B5EF4-FFF2-40B4-BE49-F238E27FC236}">
                <a16:creationId xmlns:a16="http://schemas.microsoft.com/office/drawing/2014/main" id="{461DE152-A926-4F37-95E7-B8070E69ADB4}"/>
              </a:ext>
            </a:extLst>
          </p:cNvPr>
          <p:cNvSpPr/>
          <p:nvPr/>
        </p:nvSpPr>
        <p:spPr>
          <a:xfrm>
            <a:off x="5198469" y="2117667"/>
            <a:ext cx="1593443" cy="6385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AC721718-7AFD-4B1C-A25B-A822ABD7858B}"/>
              </a:ext>
            </a:extLst>
          </p:cNvPr>
          <p:cNvSpPr txBox="1"/>
          <p:nvPr/>
        </p:nvSpPr>
        <p:spPr>
          <a:xfrm>
            <a:off x="129087" y="3513406"/>
            <a:ext cx="41405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2800" b="1" dirty="0"/>
              <a:t>Vývoj v JMK za období</a:t>
            </a:r>
          </a:p>
          <a:p>
            <a:pPr algn="r"/>
            <a:r>
              <a:rPr lang="cs-CZ" sz="2800" b="1" dirty="0"/>
              <a:t>2014 -&gt; 2019  </a:t>
            </a:r>
            <a:endParaRPr lang="en-US" sz="2800" b="1" dirty="0"/>
          </a:p>
        </p:txBody>
      </p:sp>
      <p:sp>
        <p:nvSpPr>
          <p:cNvPr id="18" name="Šipka: doprava 17">
            <a:extLst>
              <a:ext uri="{FF2B5EF4-FFF2-40B4-BE49-F238E27FC236}">
                <a16:creationId xmlns:a16="http://schemas.microsoft.com/office/drawing/2014/main" id="{D8A43248-5092-4473-9B5E-24F55C1CF8E3}"/>
              </a:ext>
            </a:extLst>
          </p:cNvPr>
          <p:cNvSpPr/>
          <p:nvPr/>
        </p:nvSpPr>
        <p:spPr>
          <a:xfrm>
            <a:off x="4332988" y="3615107"/>
            <a:ext cx="340963" cy="82141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F6BC7B9D-34E1-447B-838A-3F2B00BEB402}"/>
              </a:ext>
            </a:extLst>
          </p:cNvPr>
          <p:cNvSpPr txBox="1"/>
          <p:nvPr/>
        </p:nvSpPr>
        <p:spPr>
          <a:xfrm>
            <a:off x="4688085" y="3619928"/>
            <a:ext cx="21038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u="sng" dirty="0"/>
              <a:t>Incidence</a:t>
            </a:r>
          </a:p>
          <a:p>
            <a:pPr algn="ctr"/>
            <a:r>
              <a:rPr lang="cs-CZ" sz="2400" dirty="0"/>
              <a:t>+4,0 %</a:t>
            </a:r>
            <a:endParaRPr lang="en-US" sz="2400" b="1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556A82A-2644-40B7-934A-EB71CE429F99}"/>
              </a:ext>
            </a:extLst>
          </p:cNvPr>
          <p:cNvSpPr txBox="1"/>
          <p:nvPr/>
        </p:nvSpPr>
        <p:spPr>
          <a:xfrm>
            <a:off x="6963753" y="3610341"/>
            <a:ext cx="22188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u="sng" dirty="0"/>
              <a:t>Prevalence</a:t>
            </a:r>
          </a:p>
          <a:p>
            <a:pPr algn="ctr"/>
            <a:r>
              <a:rPr lang="cs-CZ" sz="2400" dirty="0"/>
              <a:t>+5,0 %</a:t>
            </a:r>
            <a:endParaRPr lang="en-US" sz="2400" b="1" dirty="0"/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454425A7-6E02-468C-8A83-C660618F907A}"/>
              </a:ext>
            </a:extLst>
          </p:cNvPr>
          <p:cNvSpPr txBox="1"/>
          <p:nvPr/>
        </p:nvSpPr>
        <p:spPr>
          <a:xfrm>
            <a:off x="9369938" y="3604718"/>
            <a:ext cx="22188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u="sng" dirty="0"/>
              <a:t>Mortalita</a:t>
            </a:r>
          </a:p>
          <a:p>
            <a:pPr algn="ctr"/>
            <a:r>
              <a:rPr lang="cs-CZ" sz="2400" dirty="0"/>
              <a:t>+2,8 %</a:t>
            </a:r>
            <a:endParaRPr lang="en-US" sz="2400" b="1" dirty="0"/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7290BE76-C014-479A-865C-4111677897AC}"/>
              </a:ext>
            </a:extLst>
          </p:cNvPr>
          <p:cNvSpPr txBox="1"/>
          <p:nvPr/>
        </p:nvSpPr>
        <p:spPr>
          <a:xfrm>
            <a:off x="4874070" y="3157896"/>
            <a:ext cx="64898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i="1" dirty="0"/>
              <a:t>Průměrná roční změna hlavních epidemiologických ukazatelů</a:t>
            </a:r>
            <a:endParaRPr lang="en-US" sz="2000" i="1" dirty="0"/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9DCA5DFF-0F3E-4FC8-860B-2A2E9D6888E3}"/>
              </a:ext>
            </a:extLst>
          </p:cNvPr>
          <p:cNvSpPr txBox="1"/>
          <p:nvPr/>
        </p:nvSpPr>
        <p:spPr>
          <a:xfrm>
            <a:off x="346194" y="5745838"/>
            <a:ext cx="117167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Epidemiologická zátěž JMK novotvary mízní a krvetvorné tkáně velmi významně roste. V přepočtu na 100 tis. obyvatel jsou aktuální hodnoty epidemiologických parametrů přibližně shodné s populací ČR, kromě prevalence, která je významně vyšší (incidence: 54,4/100tis. obyv.; mortalita: 23,0/100tis. obyv.; prevalence: 451/100tis. obyv.).  </a:t>
            </a:r>
            <a:endParaRPr lang="en-US" dirty="0"/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573165B1-61A1-42EE-9A45-4CE593AC102F}"/>
              </a:ext>
            </a:extLst>
          </p:cNvPr>
          <p:cNvCxnSpPr/>
          <p:nvPr/>
        </p:nvCxnSpPr>
        <p:spPr>
          <a:xfrm>
            <a:off x="0" y="5696601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85058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40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193155" y="3705450"/>
          <a:ext cx="3508375" cy="295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4" name="Object 19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3170" y="3687863"/>
          <a:ext cx="3981450" cy="2959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288000" y="653725"/>
            <a:ext cx="43943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onkologický registr, </a:t>
            </a:r>
            <a:r>
              <a:rPr kumimoji="0" lang="cs-CZ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ý statistický úřa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3" name="Group 192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414816" y="1246514"/>
          <a:ext cx="6925320" cy="1742124"/>
        </p:xfrm>
        <a:graphic>
          <a:graphicData uri="http://schemas.openxmlformats.org/drawingml/2006/table">
            <a:tbl>
              <a:tblPr/>
              <a:tblGrid>
                <a:gridCol w="11501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18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18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18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189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18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189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189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1898">
                  <a:extLst>
                    <a:ext uri="{9D8B030D-6E8A-4147-A177-3AD203B41FA5}">
                      <a16:colId xmlns:a16="http://schemas.microsoft.com/office/drawing/2014/main" val="1548871194"/>
                    </a:ext>
                  </a:extLst>
                </a:gridCol>
              </a:tblGrid>
              <a:tr h="40798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solutní poče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3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4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5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6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7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8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</a:t>
                      </a:r>
                      <a:r>
                        <a:rPr kumimoji="1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0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98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I</a:t>
                      </a:r>
                      <a:r>
                        <a:rPr kumimoji="1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nc</a:t>
                      </a: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idence</a:t>
                      </a:r>
                      <a:r>
                        <a:rPr kumimoji="1" lang="cs-CZ" sz="14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98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M</a:t>
                      </a:r>
                      <a:r>
                        <a:rPr kumimoji="1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ort</a:t>
                      </a: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lita</a:t>
                      </a:r>
                      <a:r>
                        <a:rPr kumimoji="1" lang="cs-CZ" sz="14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798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valence</a:t>
                      </a:r>
                      <a:r>
                        <a:rPr kumimoji="1" lang="cs-CZ" sz="14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endParaRPr kumimoji="1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 8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 0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 2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 4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 6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 9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 2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 3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Rectangle 8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364610" y="1183130"/>
            <a:ext cx="125888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eziroční změna</a:t>
            </a:r>
            <a:endParaRPr kumimoji="0" lang="en-US" alt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01</a:t>
            </a:r>
            <a:r>
              <a:rPr kumimoji="0" lang="cs-CZ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4</a:t>
            </a:r>
            <a:r>
              <a:rPr kumimoji="0" lang="en-US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–20</a:t>
            </a:r>
            <a:r>
              <a:rPr kumimoji="0" lang="cs-CZ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19*</a:t>
            </a:r>
            <a:endParaRPr kumimoji="0" lang="en-US" alt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8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417823" y="1808580"/>
            <a:ext cx="1079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  <a:r>
              <a:rPr lang="cs-CZ" altLang="cs-CZ" sz="1400" b="1" i="1" dirty="0">
                <a:latin typeface="Calibri" panose="020F0502020204030204"/>
              </a:rPr>
              <a:t>4,0</a:t>
            </a:r>
            <a:r>
              <a:rPr kumimoji="0" lang="cs-CZ" altLang="cs-CZ" sz="1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%</a:t>
            </a:r>
          </a:p>
        </p:txBody>
      </p:sp>
      <p:sp>
        <p:nvSpPr>
          <p:cNvPr id="11" name="Rectangle 8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417823" y="2221396"/>
            <a:ext cx="1079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2,8</a:t>
            </a:r>
            <a:r>
              <a:rPr lang="cs-CZ" altLang="cs-CZ" sz="1400" b="1" i="1" dirty="0">
                <a:latin typeface="Calibri" panose="020F0502020204030204"/>
              </a:rPr>
              <a:t> </a:t>
            </a:r>
            <a:r>
              <a:rPr kumimoji="0" lang="cs-CZ" altLang="cs-CZ" sz="1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12" name="Rectangle 8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417823" y="2634212"/>
            <a:ext cx="1079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5,0</a:t>
            </a:r>
            <a:r>
              <a:rPr lang="cs-CZ" altLang="cs-CZ" sz="1400" b="1" i="1" dirty="0">
                <a:latin typeface="Calibri" panose="020F0502020204030204"/>
              </a:rPr>
              <a:t> </a:t>
            </a:r>
            <a:r>
              <a:rPr kumimoji="0" lang="cs-CZ" altLang="cs-CZ" sz="1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43" name="Text Box 19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16200000">
            <a:off x="-726062" y="4895024"/>
            <a:ext cx="2176462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řípadů na 100 000 osob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" name="Group 239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040031" y="3898250"/>
            <a:ext cx="2527300" cy="166689"/>
            <a:chOff x="3536" y="2341"/>
            <a:chExt cx="1592" cy="105"/>
          </a:xfrm>
        </p:grpSpPr>
        <p:sp>
          <p:nvSpPr>
            <p:cNvPr id="45" name="Text Box 212"/>
            <p:cNvSpPr txBox="1">
              <a:spLocks noChangeArrowheads="1"/>
            </p:cNvSpPr>
            <p:nvPr/>
          </p:nvSpPr>
          <p:spPr bwMode="auto">
            <a:xfrm>
              <a:off x="3681" y="2341"/>
              <a:ext cx="660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cidence </a:t>
              </a:r>
            </a:p>
          </p:txBody>
        </p:sp>
        <p:sp>
          <p:nvSpPr>
            <p:cNvPr id="57" name="Line 214"/>
            <p:cNvSpPr>
              <a:spLocks noChangeShapeType="1"/>
            </p:cNvSpPr>
            <p:nvPr/>
          </p:nvSpPr>
          <p:spPr bwMode="auto">
            <a:xfrm>
              <a:off x="3536" y="2388"/>
              <a:ext cx="113" cy="0"/>
            </a:xfrm>
            <a:prstGeom prst="line">
              <a:avLst/>
            </a:prstGeom>
            <a:noFill/>
            <a:ln w="25400">
              <a:solidFill>
                <a:srgbClr val="CC99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Text Box 226"/>
            <p:cNvSpPr txBox="1">
              <a:spLocks noChangeArrowheads="1"/>
            </p:cNvSpPr>
            <p:nvPr/>
          </p:nvSpPr>
          <p:spPr bwMode="auto">
            <a:xfrm>
              <a:off x="4468" y="2341"/>
              <a:ext cx="660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ortalit</a:t>
              </a: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</a:t>
              </a:r>
              <a:r>
                <a:rPr kumimoji="0" lang="cs-CZ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Line 231"/>
            <p:cNvSpPr>
              <a:spLocks noChangeShapeType="1"/>
            </p:cNvSpPr>
            <p:nvPr/>
          </p:nvSpPr>
          <p:spPr bwMode="auto">
            <a:xfrm>
              <a:off x="4332" y="2388"/>
              <a:ext cx="113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0" name="Text Box 24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6200000">
            <a:off x="3936477" y="4809041"/>
            <a:ext cx="217646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žijících osob s onemocněním nebo jeho historií na 100 000 osob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 Box 24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029543" y="3899124"/>
            <a:ext cx="919939" cy="343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ale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Line 248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5810468" y="3989784"/>
            <a:ext cx="179388" cy="0"/>
          </a:xfrm>
          <a:prstGeom prst="line">
            <a:avLst/>
          </a:prstGeom>
          <a:solidFill>
            <a:srgbClr val="339966"/>
          </a:solidFill>
          <a:ln w="25400">
            <a:solidFill>
              <a:srgbClr val="339966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8" name="Rectangle 25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933669" y="3445100"/>
            <a:ext cx="33131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 a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rtalit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ectangle 25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347143" y="3418112"/>
            <a:ext cx="33131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alen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rmAutofit/>
          </a:bodyPr>
          <a:lstStyle/>
          <a:p>
            <a:r>
              <a:rPr lang="cs-CZ" dirty="0"/>
              <a:t>JMK: </a:t>
            </a:r>
            <a:r>
              <a:rPr lang="en-US" dirty="0" err="1"/>
              <a:t>Celková</a:t>
            </a:r>
            <a:r>
              <a:rPr lang="en-US" dirty="0"/>
              <a:t> </a:t>
            </a:r>
            <a:r>
              <a:rPr lang="en-US" dirty="0" err="1"/>
              <a:t>zátěž</a:t>
            </a:r>
            <a:r>
              <a:rPr lang="en-US" dirty="0"/>
              <a:t> </a:t>
            </a:r>
            <a:r>
              <a:rPr lang="cs-CZ" dirty="0"/>
              <a:t>novotvary mízní a krvetvorné tkáně</a:t>
            </a:r>
            <a:endParaRPr lang="en-US" dirty="0"/>
          </a:p>
        </p:txBody>
      </p:sp>
      <p:sp>
        <p:nvSpPr>
          <p:cNvPr id="34" name="TextovéPole 7">
            <a:extLst>
              <a:ext uri="{FF2B5EF4-FFF2-40B4-BE49-F238E27FC236}">
                <a16:creationId xmlns:a16="http://schemas.microsoft.com/office/drawing/2014/main" id="{B4ABF148-5C3E-4F5A-85B9-1AB1B507B39F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243770" y="4249659"/>
            <a:ext cx="570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altLang="cs-CZ" sz="1200" b="1" dirty="0">
                <a:solidFill>
                  <a:srgbClr val="CC9900"/>
                </a:solidFill>
                <a:latin typeface="Calibri" panose="020F0502020204030204"/>
              </a:rPr>
              <a:t>54,4</a:t>
            </a:r>
            <a:endParaRPr kumimoji="0" lang="cs-CZ" altLang="cs-CZ" sz="1200" b="1" i="0" u="none" strike="noStrike" kern="1200" cap="none" spc="0" normalizeH="0" baseline="0" noProof="0" dirty="0">
              <a:ln>
                <a:noFill/>
              </a:ln>
              <a:solidFill>
                <a:srgbClr val="CC99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ovéPole 7">
            <a:extLst>
              <a:ext uri="{FF2B5EF4-FFF2-40B4-BE49-F238E27FC236}">
                <a16:creationId xmlns:a16="http://schemas.microsoft.com/office/drawing/2014/main" id="{B6B91EB4-055B-44AC-B856-A8B2FFC16527}"/>
              </a:ext>
            </a:extLst>
          </p:cNvPr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243429" y="5281578"/>
            <a:ext cx="57092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,0</a:t>
            </a:r>
          </a:p>
        </p:txBody>
      </p:sp>
      <p:sp>
        <p:nvSpPr>
          <p:cNvPr id="36" name="TextovéPole 7">
            <a:extLst>
              <a:ext uri="{FF2B5EF4-FFF2-40B4-BE49-F238E27FC236}">
                <a16:creationId xmlns:a16="http://schemas.microsoft.com/office/drawing/2014/main" id="{7508AD33-994E-4AB4-BABD-4F5E9CCCE0D3}"/>
              </a:ext>
            </a:extLst>
          </p:cNvPr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515246" y="3986335"/>
            <a:ext cx="43304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altLang="cs-CZ" sz="1200" b="1" dirty="0">
                <a:solidFill>
                  <a:srgbClr val="339966"/>
                </a:solidFill>
                <a:latin typeface="Calibri" panose="020F0502020204030204"/>
              </a:rPr>
              <a:t>451</a:t>
            </a:r>
            <a:endParaRPr kumimoji="0" lang="cs-CZ" altLang="cs-CZ" sz="1200" b="1" i="0" u="none" strike="noStrike" kern="1200" cap="none" spc="0" normalizeH="0" baseline="0" noProof="0" dirty="0">
              <a:ln>
                <a:noFill/>
              </a:ln>
              <a:solidFill>
                <a:srgbClr val="33996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Zaoblený obdélník 33">
            <a:extLst>
              <a:ext uri="{FF2B5EF4-FFF2-40B4-BE49-F238E27FC236}">
                <a16:creationId xmlns:a16="http://schemas.microsoft.com/office/drawing/2014/main" id="{AA811E68-5A9C-4C9C-8CD6-65D4A1138BB3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8756578" y="1049889"/>
            <a:ext cx="3452594" cy="5611486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ce 2020 bylo v </a:t>
            </a:r>
            <a:r>
              <a:rPr lang="cs-CZ" altLang="cs-CZ" sz="1600" dirty="0">
                <a:solidFill>
                  <a:prstClr val="black"/>
                </a:solidFill>
                <a:latin typeface="Calibri" panose="020F0502020204030204"/>
              </a:rPr>
              <a:t>Jihomoravském kraji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 diagnostikováno </a:t>
            </a:r>
            <a:r>
              <a:rPr lang="cs-CZ" altLang="cs-CZ" sz="1600" b="1" dirty="0">
                <a:solidFill>
                  <a:srgbClr val="CC9900"/>
                </a:solidFill>
                <a:latin typeface="Calibri" panose="020F0502020204030204"/>
              </a:rPr>
              <a:t>650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ů s novotvarem mízní a krvetvorné tkáně, což je </a:t>
            </a:r>
            <a:r>
              <a:rPr lang="cs-CZ" altLang="cs-CZ" sz="1600" b="1" dirty="0">
                <a:solidFill>
                  <a:srgbClr val="CC9900"/>
                </a:solidFill>
                <a:latin typeface="Calibri" panose="020F0502020204030204"/>
              </a:rPr>
              <a:t>54,4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 100 000 osob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e stejném roce zemřelo 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75 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v souvislosti s novotvarem mízní nebo krvetvorné tkáně, což je </a:t>
            </a:r>
            <a:r>
              <a:rPr lang="cs-CZ" altLang="cs-CZ" sz="1600" b="1" dirty="0">
                <a:solidFill>
                  <a:prstClr val="black"/>
                </a:solidFill>
                <a:latin typeface="Calibri" panose="020F0502020204030204"/>
              </a:rPr>
              <a:t>23,0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 100 000 osob</a:t>
            </a: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cs-CZ" alt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em k 31</a:t>
            </a: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2</a:t>
            </a: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0 v </a:t>
            </a:r>
            <a:r>
              <a:rPr lang="cs-CZ" altLang="cs-CZ" sz="1600" dirty="0">
                <a:solidFill>
                  <a:prstClr val="black"/>
                </a:solidFill>
                <a:latin typeface="Calibri" panose="020F0502020204030204"/>
              </a:rPr>
              <a:t>Jihomoravském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raji v žilo </a:t>
            </a:r>
            <a:r>
              <a:rPr lang="cs-CZ" altLang="cs-CZ" sz="1600" b="1" dirty="0">
                <a:solidFill>
                  <a:srgbClr val="339966"/>
                </a:solidFill>
                <a:latin typeface="Calibri" panose="020F0502020204030204"/>
              </a:rPr>
              <a:t>5 382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399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 novotvarem mízní nebo krvetvorné tkáně nebo s minulostí tohoto onemocnění, což je </a:t>
            </a: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399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1 na 100 000 osob</a:t>
            </a:r>
            <a:r>
              <a:rPr kumimoji="0" lang="en-US" alt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399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cs-CZ" altLang="cs-CZ" sz="1600" b="1" i="0" u="none" strike="noStrike" kern="1200" cap="none" spc="0" normalizeH="0" baseline="0" noProof="0" dirty="0">
              <a:ln>
                <a:noFill/>
              </a:ln>
              <a:solidFill>
                <a:srgbClr val="33996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600" b="1" i="0" u="none" strike="noStrike" kern="1200" cap="none" spc="0" normalizeH="0" baseline="0" noProof="0" dirty="0">
              <a:ln>
                <a:noFill/>
              </a:ln>
              <a:solidFill>
                <a:srgbClr val="33996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datech je jasně patrný dlouhodobý rozevírající se časový trend incidence a mortality, který významně navyšuje prevalenci nemocných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600" b="1" i="0" u="none" strike="noStrike" kern="1200" cap="none" spc="0" normalizeH="0" baseline="0" noProof="0" dirty="0">
              <a:ln>
                <a:noFill/>
              </a:ln>
              <a:solidFill>
                <a:srgbClr val="33996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4DC716BC-CDB6-4A05-937E-3A43A3CC0D3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428594" y="3065917"/>
            <a:ext cx="505780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* Meziroční změna je hodnocena na základě lineární trendu</a:t>
            </a:r>
          </a:p>
        </p:txBody>
      </p:sp>
    </p:spTree>
    <p:extLst>
      <p:ext uri="{BB962C8B-B14F-4D97-AF65-F5344CB8AC3E}">
        <p14:creationId xmlns:p14="http://schemas.microsoft.com/office/powerpoint/2010/main" val="8948580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71040" y="567561"/>
            <a:ext cx="11117744" cy="1642240"/>
          </a:xfrm>
        </p:spPr>
        <p:txBody>
          <a:bodyPr>
            <a:noAutofit/>
          </a:bodyPr>
          <a:lstStyle/>
          <a:p>
            <a:pPr algn="ctr"/>
            <a:r>
              <a:rPr lang="cs-CZ" sz="3400" dirty="0"/>
              <a:t>Počet nádorových onemocnění dále nevyhnutelně poroste </a:t>
            </a:r>
            <a:br>
              <a:rPr lang="cs-CZ" sz="3400" dirty="0"/>
            </a:br>
            <a:r>
              <a:rPr lang="cs-CZ" sz="3400" dirty="0"/>
              <a:t>v důsledku stárnutí populace </a:t>
            </a:r>
            <a:endParaRPr lang="en-US" sz="3400" dirty="0"/>
          </a:p>
        </p:txBody>
      </p:sp>
      <p:sp>
        <p:nvSpPr>
          <p:cNvPr id="5" name="Šipka: dolů 4">
            <a:extLst>
              <a:ext uri="{FF2B5EF4-FFF2-40B4-BE49-F238E27FC236}">
                <a16:creationId xmlns:a16="http://schemas.microsoft.com/office/drawing/2014/main" id="{461DE152-A926-4F37-95E7-B8070E69ADB4}"/>
              </a:ext>
            </a:extLst>
          </p:cNvPr>
          <p:cNvSpPr/>
          <p:nvPr/>
        </p:nvSpPr>
        <p:spPr>
          <a:xfrm>
            <a:off x="5112792" y="1792581"/>
            <a:ext cx="1593443" cy="6385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5D350727-69E4-476A-A61D-D8BDDF06743E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796159" y="2552229"/>
            <a:ext cx="10515600" cy="5383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Dlouhodobá předpověď prevalence: zhoubné novotvary (C00–C97 bez C44)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39102064-2409-4C0A-9D92-CA70DF12285D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86408757"/>
              </p:ext>
            </p:extLst>
          </p:nvPr>
        </p:nvGraphicFramePr>
        <p:xfrm>
          <a:off x="302994" y="3090593"/>
          <a:ext cx="8252427" cy="1645920"/>
        </p:xfrm>
        <a:graphic>
          <a:graphicData uri="http://schemas.openxmlformats.org/drawingml/2006/table">
            <a:tbl>
              <a:tblPr firstRow="1" bandRow="1"/>
              <a:tblGrid>
                <a:gridCol w="1189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0428">
                  <a:extLst>
                    <a:ext uri="{9D8B030D-6E8A-4147-A177-3AD203B41FA5}">
                      <a16:colId xmlns:a16="http://schemas.microsoft.com/office/drawing/2014/main" val="2943807555"/>
                    </a:ext>
                  </a:extLst>
                </a:gridCol>
                <a:gridCol w="1261241">
                  <a:extLst>
                    <a:ext uri="{9D8B030D-6E8A-4147-A177-3AD203B41FA5}">
                      <a16:colId xmlns:a16="http://schemas.microsoft.com/office/drawing/2014/main" val="2083713745"/>
                    </a:ext>
                  </a:extLst>
                </a:gridCol>
                <a:gridCol w="1387365">
                  <a:extLst>
                    <a:ext uri="{9D8B030D-6E8A-4147-A177-3AD203B41FA5}">
                      <a16:colId xmlns:a16="http://schemas.microsoft.com/office/drawing/2014/main" val="4190011973"/>
                    </a:ext>
                  </a:extLst>
                </a:gridCol>
                <a:gridCol w="1345325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  <a:gridCol w="1618593">
                  <a:extLst>
                    <a:ext uri="{9D8B030D-6E8A-4147-A177-3AD203B41FA5}">
                      <a16:colId xmlns:a16="http://schemas.microsoft.com/office/drawing/2014/main" val="2098660654"/>
                    </a:ext>
                  </a:extLst>
                </a:gridCol>
              </a:tblGrid>
              <a:tr h="195041">
                <a:tc rowSpan="2">
                  <a:txBody>
                    <a:bodyPr/>
                    <a:lstStyle/>
                    <a:p>
                      <a:pPr algn="ctr"/>
                      <a:r>
                        <a:rPr lang="cs-CZ" sz="1800" b="1" noProof="0" dirty="0">
                          <a:solidFill>
                            <a:schemeClr val="tx1"/>
                          </a:solidFill>
                        </a:rPr>
                        <a:t>Predikce vývoje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800" noProof="0" dirty="0">
                          <a:solidFill>
                            <a:schemeClr val="tx1"/>
                          </a:solidFill>
                        </a:rPr>
                        <a:t>Pozorovaná prevalen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800" noProof="0" dirty="0">
                          <a:solidFill>
                            <a:schemeClr val="tx1"/>
                          </a:solidFill>
                        </a:rPr>
                        <a:t>Předpověď intervalové prevalenc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145518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800" b="1" noProof="0" dirty="0">
                          <a:solidFill>
                            <a:schemeClr val="tx1"/>
                          </a:solidFill>
                        </a:rPr>
                        <a:t>Rok 201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800" b="1" noProof="0" dirty="0">
                          <a:solidFill>
                            <a:schemeClr val="tx1"/>
                          </a:solidFill>
                        </a:rPr>
                        <a:t>Rok 202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noProof="0" dirty="0">
                          <a:solidFill>
                            <a:schemeClr val="tx1"/>
                          </a:solidFill>
                        </a:rPr>
                        <a:t>Rok 20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800" b="1" noProof="0" dirty="0">
                          <a:solidFill>
                            <a:schemeClr val="tx1"/>
                          </a:solidFill>
                        </a:rPr>
                        <a:t>Rok </a:t>
                      </a:r>
                      <a:r>
                        <a:rPr lang="en-US" sz="1800" b="1" noProof="0" dirty="0">
                          <a:solidFill>
                            <a:schemeClr val="tx1"/>
                          </a:solidFill>
                        </a:rPr>
                        <a:t>2030</a:t>
                      </a:r>
                      <a:endParaRPr lang="cs-CZ" sz="18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800" b="1" noProof="0" dirty="0">
                          <a:solidFill>
                            <a:schemeClr val="tx1"/>
                          </a:solidFill>
                        </a:rPr>
                        <a:t>Rok 2040</a:t>
                      </a:r>
                      <a:endParaRPr lang="cs-CZ" sz="18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145518">
                <a:tc>
                  <a:txBody>
                    <a:bodyPr/>
                    <a:lstStyle/>
                    <a:p>
                      <a:pPr algn="ctr"/>
                      <a:r>
                        <a:rPr lang="cs-CZ" sz="1800" b="1" noProof="0" dirty="0">
                          <a:solidFill>
                            <a:schemeClr val="tx1"/>
                          </a:solidFill>
                        </a:rPr>
                        <a:t>Realistický scénář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1 5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0 tisí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5 tisí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 tisí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 tisí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901314"/>
                  </a:ext>
                </a:extLst>
              </a:tr>
            </a:tbl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E0D35BFD-3F53-4995-AFF7-4ABCFC938BAA}"/>
              </a:ext>
            </a:extLst>
          </p:cNvPr>
          <p:cNvSpPr txBox="1"/>
          <p:nvPr/>
        </p:nvSpPr>
        <p:spPr>
          <a:xfrm>
            <a:off x="8797158" y="4164488"/>
            <a:ext cx="2871131" cy="461665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bg1"/>
                </a:solidFill>
                <a:latin typeface="Arial Black" panose="020B0A04020102020204" pitchFamily="34" charset="0"/>
              </a:rPr>
              <a:t>+ 35% za 10 let </a:t>
            </a:r>
            <a:endParaRPr lang="en-US" sz="2400" b="1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91F38ACE-E2F3-4BEB-B251-4D92351F85B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3584954"/>
              </p:ext>
            </p:extLst>
          </p:nvPr>
        </p:nvGraphicFramePr>
        <p:xfrm>
          <a:off x="4629659" y="5462559"/>
          <a:ext cx="7270675" cy="12496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00947">
                  <a:extLst>
                    <a:ext uri="{9D8B030D-6E8A-4147-A177-3AD203B41FA5}">
                      <a16:colId xmlns:a16="http://schemas.microsoft.com/office/drawing/2014/main" val="2765753559"/>
                    </a:ext>
                  </a:extLst>
                </a:gridCol>
                <a:gridCol w="1258449">
                  <a:extLst>
                    <a:ext uri="{9D8B030D-6E8A-4147-A177-3AD203B41FA5}">
                      <a16:colId xmlns:a16="http://schemas.microsoft.com/office/drawing/2014/main" val="2950578564"/>
                    </a:ext>
                  </a:extLst>
                </a:gridCol>
                <a:gridCol w="1320748">
                  <a:extLst>
                    <a:ext uri="{9D8B030D-6E8A-4147-A177-3AD203B41FA5}">
                      <a16:colId xmlns:a16="http://schemas.microsoft.com/office/drawing/2014/main" val="2984655169"/>
                    </a:ext>
                  </a:extLst>
                </a:gridCol>
                <a:gridCol w="1258447">
                  <a:extLst>
                    <a:ext uri="{9D8B030D-6E8A-4147-A177-3AD203B41FA5}">
                      <a16:colId xmlns:a16="http://schemas.microsoft.com/office/drawing/2014/main" val="3874475901"/>
                    </a:ext>
                  </a:extLst>
                </a:gridCol>
                <a:gridCol w="1232084">
                  <a:extLst>
                    <a:ext uri="{9D8B030D-6E8A-4147-A177-3AD203B41FA5}">
                      <a16:colId xmlns:a16="http://schemas.microsoft.com/office/drawing/2014/main" val="1823650083"/>
                    </a:ext>
                  </a:extLst>
                </a:gridCol>
              </a:tblGrid>
              <a:tr h="2866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Jihomoravský kraj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30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40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50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61172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algn="r" fontAlgn="t"/>
                      <a:r>
                        <a:rPr lang="cs-CZ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čet obyvatel ve věku 6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3 58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9 68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1 11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47 07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85866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čet obyvatel ve věku 7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4 64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0 74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6 28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9 13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657658"/>
                  </a:ext>
                </a:extLst>
              </a:tr>
              <a:tr h="230409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čet obyvatel ve věku 8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 17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5 62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4 39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9 26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51127"/>
                  </a:ext>
                </a:extLst>
              </a:tr>
            </a:tbl>
          </a:graphicData>
        </a:graphic>
      </p:graphicFrame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B9BFCF47-D4CA-42B1-B995-1AA8B057174A}"/>
              </a:ext>
            </a:extLst>
          </p:cNvPr>
          <p:cNvCxnSpPr/>
          <p:nvPr/>
        </p:nvCxnSpPr>
        <p:spPr>
          <a:xfrm>
            <a:off x="0" y="5360270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431CF93E-A055-4D91-8F7D-47878F9C85C6}"/>
              </a:ext>
            </a:extLst>
          </p:cNvPr>
          <p:cNvSpPr txBox="1"/>
          <p:nvPr/>
        </p:nvSpPr>
        <p:spPr>
          <a:xfrm>
            <a:off x="750999" y="5813795"/>
            <a:ext cx="2871131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sz="2400" dirty="0"/>
              <a:t>Vývoj počtu seniorů </a:t>
            </a:r>
          </a:p>
          <a:p>
            <a:pPr algn="r"/>
            <a:r>
              <a:rPr lang="cs-CZ" sz="2400" dirty="0"/>
              <a:t>v populaci JMK</a:t>
            </a:r>
            <a:endParaRPr lang="en-US" sz="2400" dirty="0"/>
          </a:p>
        </p:txBody>
      </p:sp>
      <p:sp>
        <p:nvSpPr>
          <p:cNvPr id="7" name="Šipka: doprava 6">
            <a:extLst>
              <a:ext uri="{FF2B5EF4-FFF2-40B4-BE49-F238E27FC236}">
                <a16:creationId xmlns:a16="http://schemas.microsoft.com/office/drawing/2014/main" id="{01985CE6-12DE-4E8A-9F59-D1ACDBE882A1}"/>
              </a:ext>
            </a:extLst>
          </p:cNvPr>
          <p:cNvSpPr/>
          <p:nvPr/>
        </p:nvSpPr>
        <p:spPr>
          <a:xfrm>
            <a:off x="3810828" y="5878304"/>
            <a:ext cx="441435" cy="731936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030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7978" y="1786760"/>
            <a:ext cx="11117744" cy="1642240"/>
          </a:xfrm>
        </p:spPr>
        <p:txBody>
          <a:bodyPr>
            <a:noAutofit/>
          </a:bodyPr>
          <a:lstStyle/>
          <a:p>
            <a:pPr algn="ctr"/>
            <a:r>
              <a:rPr lang="cs-CZ" sz="3400" dirty="0"/>
              <a:t>Poskytovatelé zdravotních služeb v JMK kapacitně zvládají péči o naprostou většinu onkologických pacientů a dosahují nadprůměrných výsledků, které se v čase dále zlepšují. </a:t>
            </a:r>
            <a:endParaRPr lang="en-US" sz="3400" dirty="0"/>
          </a:p>
        </p:txBody>
      </p:sp>
      <p:sp>
        <p:nvSpPr>
          <p:cNvPr id="3" name="Šipka: dolů 2">
            <a:extLst>
              <a:ext uri="{FF2B5EF4-FFF2-40B4-BE49-F238E27FC236}">
                <a16:creationId xmlns:a16="http://schemas.microsoft.com/office/drawing/2014/main" id="{8B1F4CE3-976E-4EC3-ADFE-BAAE096C5523}"/>
              </a:ext>
            </a:extLst>
          </p:cNvPr>
          <p:cNvSpPr/>
          <p:nvPr/>
        </p:nvSpPr>
        <p:spPr>
          <a:xfrm>
            <a:off x="5141788" y="3552496"/>
            <a:ext cx="1650124" cy="7252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9409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dirty="0"/>
              <a:t>Migrace za onkologickými hospitalizacemi v letech 2017–2021</a:t>
            </a:r>
            <a:endParaRPr lang="en-US" dirty="0"/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5706F5F6-E033-4762-A015-7A96DDD86B3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88000" y="615521"/>
            <a:ext cx="11862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NRHZS; hodnocen je počet hospitalizací na lůžku akutní péče s hlavní hospitalizační diagnózou C00–C97, případně s hlavní hospitalizační diagnózou Z51 (radioterapie, chemoterapie) v kombinaci s diagnózou C00–C97 na pozici vedlejší hospitalizační diagnózy. Rok hospitalizace je určen dle data zahájení hospitalizačního pobytu.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2728F939-505C-4DA5-8AB8-CB3783F84F60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47828472"/>
              </p:ext>
            </p:extLst>
          </p:nvPr>
        </p:nvGraphicFramePr>
        <p:xfrm>
          <a:off x="391236" y="1867225"/>
          <a:ext cx="11263956" cy="479884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03087">
                  <a:extLst>
                    <a:ext uri="{9D8B030D-6E8A-4147-A177-3AD203B41FA5}">
                      <a16:colId xmlns:a16="http://schemas.microsoft.com/office/drawing/2014/main" val="973337137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45281129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616200405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171354958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804551917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473264101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2739769814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369951239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631709780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980702491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423492683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4150821643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933207648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3163661102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516342931"/>
                    </a:ext>
                  </a:extLst>
                </a:gridCol>
                <a:gridCol w="603087">
                  <a:extLst>
                    <a:ext uri="{9D8B030D-6E8A-4147-A177-3AD203B41FA5}">
                      <a16:colId xmlns:a16="http://schemas.microsoft.com/office/drawing/2014/main" val="1923126440"/>
                    </a:ext>
                  </a:extLst>
                </a:gridCol>
                <a:gridCol w="1614564">
                  <a:extLst>
                    <a:ext uri="{9D8B030D-6E8A-4147-A177-3AD203B41FA5}">
                      <a16:colId xmlns:a16="http://schemas.microsoft.com/office/drawing/2014/main" val="2957339432"/>
                    </a:ext>
                  </a:extLst>
                </a:gridCol>
              </a:tblGrid>
              <a:tr h="299928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B>
                      <a:noFill/>
                    </a:lnB>
                    <a:solidFill>
                      <a:srgbClr val="2E5980"/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aj zdravotnického zařízení</a:t>
                      </a:r>
                    </a:p>
                  </a:txBody>
                  <a:tcPr marL="9525" marR="9525" marT="9525" marB="0" anchor="ctr">
                    <a:lnB>
                      <a:noFill/>
                    </a:lnB>
                    <a:solidFill>
                      <a:srgbClr val="2E598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elkem hospitalizací (N / rok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5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107332"/>
                  </a:ext>
                </a:extLst>
              </a:tr>
              <a:tr h="299928"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R>
                      <a:noFill/>
                    </a:ln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HA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H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V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B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K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M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LK</a:t>
                      </a:r>
                      <a:endParaRPr lang="cs-CZ" sz="14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Z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S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elkem (N / rok)</a:t>
                      </a:r>
                    </a:p>
                  </a:txBody>
                  <a:tcPr marL="9525" marR="9525" marT="9525" marB="0" anchor="ctr"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5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137414"/>
                  </a:ext>
                </a:extLst>
              </a:tr>
              <a:tr h="299928">
                <a:tc rowSpan="14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aj bydliště</a:t>
                      </a:r>
                    </a:p>
                  </a:txBody>
                  <a:tcPr marL="9525" marR="9525" marT="9525" marB="0" vert="vert270" anchor="ctr">
                    <a:lnR>
                      <a:noFill/>
                    </a:ln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HA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26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0450016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T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872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574337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HC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,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64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52820065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72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1036456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V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88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5184928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08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5358154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B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22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90723561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K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94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60926961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91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35916572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YS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9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07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09723426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M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,0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892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2054327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7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23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43254458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ZL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9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62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71337290"/>
                  </a:ext>
                </a:extLst>
              </a:tr>
              <a:tr h="299928"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SK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4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C6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60 (10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05196266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DDC8108E-3F2D-41C9-A8C6-6CA2B24A595F}"/>
              </a:ext>
            </a:extLst>
          </p:cNvPr>
          <p:cNvSpPr txBox="1"/>
          <p:nvPr/>
        </p:nvSpPr>
        <p:spPr>
          <a:xfrm>
            <a:off x="391236" y="1156138"/>
            <a:ext cx="11263956" cy="36933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Migrace za péčí v jiných krajích je u onkologických pacientů s bydlištěm v JMK minimální.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" name="Šipka: dolů 5">
            <a:extLst>
              <a:ext uri="{FF2B5EF4-FFF2-40B4-BE49-F238E27FC236}">
                <a16:creationId xmlns:a16="http://schemas.microsoft.com/office/drawing/2014/main" id="{DC5B76E3-7702-44E8-8185-D1EE19BFD3AC}"/>
              </a:ext>
            </a:extLst>
          </p:cNvPr>
          <p:cNvSpPr/>
          <p:nvPr/>
        </p:nvSpPr>
        <p:spPr>
          <a:xfrm>
            <a:off x="7588468" y="1525470"/>
            <a:ext cx="630621" cy="555578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784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832</TotalTime>
  <Words>3551</Words>
  <Application>Microsoft Office PowerPoint</Application>
  <PresentationFormat>Širokoúhlá obrazovka</PresentationFormat>
  <Paragraphs>996</Paragraphs>
  <Slides>23</Slides>
  <Notes>5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23</vt:i4>
      </vt:variant>
    </vt:vector>
  </HeadingPairs>
  <TitlesOfParts>
    <vt:vector size="30" baseType="lpstr">
      <vt:lpstr>Arial</vt:lpstr>
      <vt:lpstr>Arial Black</vt:lpstr>
      <vt:lpstr>Calibri</vt:lpstr>
      <vt:lpstr>Calibri Light</vt:lpstr>
      <vt:lpstr>Wingdings</vt:lpstr>
      <vt:lpstr>1_Motiv Office</vt:lpstr>
      <vt:lpstr>2_Motiv Office</vt:lpstr>
      <vt:lpstr>NOP ČR 2030:  Fakultní nemocnice Brno</vt:lpstr>
      <vt:lpstr>Použité hlavní zkratky </vt:lpstr>
      <vt:lpstr>Populační onkologická zátěž demograficky stárnoucí české populace významně roste a v budoucích letech je nutné počítat s dalším nárůstem počtu pacientů.  Jihomoravský kraj není výjimkou</vt:lpstr>
      <vt:lpstr>JMK: Celková zátěž zhoubnými novotvary bez nemelanomového kožního zhoubného novotvaru (C00–C97 bez C44)</vt:lpstr>
      <vt:lpstr>Velmi výrazný růst zátěže registrujeme u novotvarů mízní  a krvetvorné tkáně </vt:lpstr>
      <vt:lpstr>JMK: Celková zátěž novotvary mízní a krvetvorné tkáně</vt:lpstr>
      <vt:lpstr>Počet nádorových onemocnění dále nevyhnutelně poroste  v důsledku stárnutí populace </vt:lpstr>
      <vt:lpstr>Poskytovatelé zdravotních služeb v JMK kapacitně zvládají péči o naprostou většinu onkologických pacientů a dosahují nadprůměrných výsledků, které se v čase dále zlepšují. </vt:lpstr>
      <vt:lpstr>Migrace za onkologickými hospitalizacemi v letech 2017–2021</vt:lpstr>
      <vt:lpstr>Vývoj 5letého relativního přežití pacientů v JMK</vt:lpstr>
      <vt:lpstr>Fakultní nemocnice Brno (FNB) je součástí Národního onkologického centra Brno (NOC Brno) a objemem léčby patří mezi deset největších onkologických center ČR.   U hematoonkologických diagnóz je FNB kapacitně  největším centrem ČR. </vt:lpstr>
      <vt:lpstr>Primární léčba nádorů: pozice nemocnic v ČR v období 2011 - 2021</vt:lpstr>
      <vt:lpstr>Zastoupení NOC Brno a FN Brno v primární léčbě  zhoubných nádorů dospělých (bez C44)</vt:lpstr>
      <vt:lpstr>Příklad velkého objemu protinádorové chirurgické léčby ve FNB   DRG báze 07-I01 Velká resekce slinivky břišní  </vt:lpstr>
      <vt:lpstr>Srovnání objemu léčby v hematoonkologických centrech ČR </vt:lpstr>
      <vt:lpstr>FNB: celková zátěž zhoubnými novotvary (C00–C97, bez C44)</vt:lpstr>
      <vt:lpstr>Spádová oblast onkologické péče ve FNB  pokrývá nejen Jihomoravský kraj.</vt:lpstr>
      <vt:lpstr>Spádová oblast FNB (2021): akutní lůžková péče – solidní ZN</vt:lpstr>
      <vt:lpstr>Spádová oblast FNB (2021): akutní lůžková péče – hematoonkologie</vt:lpstr>
      <vt:lpstr>Spádová oblast FNB (2021)</vt:lpstr>
      <vt:lpstr>Dlouhodobé výsledky onkologické léčby ve FNB  jsou nadprůměrné </vt:lpstr>
      <vt:lpstr>Relativní 5leté přežití: onkologičtí pacienti primárně léčení v FNB* (2015–2019)</vt:lpstr>
      <vt:lpstr>DĚKUJI ZA POZORNOS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785</cp:revision>
  <cp:lastPrinted>2019-08-02T13:14:10Z</cp:lastPrinted>
  <dcterms:created xsi:type="dcterms:W3CDTF">2019-07-27T10:04:23Z</dcterms:created>
  <dcterms:modified xsi:type="dcterms:W3CDTF">2022-10-02T18:31:05Z</dcterms:modified>
</cp:coreProperties>
</file>